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1"/>
    <p:sldMasterId id="2147483744" r:id="rId2"/>
  </p:sldMasterIdLst>
  <p:notesMasterIdLst>
    <p:notesMasterId r:id="rId46"/>
  </p:notesMasterIdLst>
  <p:sldIdLst>
    <p:sldId id="480" r:id="rId3"/>
    <p:sldId id="481" r:id="rId4"/>
    <p:sldId id="482" r:id="rId5"/>
    <p:sldId id="483" r:id="rId6"/>
    <p:sldId id="484" r:id="rId7"/>
    <p:sldId id="485" r:id="rId8"/>
    <p:sldId id="486" r:id="rId9"/>
    <p:sldId id="523" r:id="rId10"/>
    <p:sldId id="488" r:id="rId11"/>
    <p:sldId id="489" r:id="rId12"/>
    <p:sldId id="490" r:id="rId13"/>
    <p:sldId id="491" r:id="rId14"/>
    <p:sldId id="524" r:id="rId15"/>
    <p:sldId id="493" r:id="rId16"/>
    <p:sldId id="494" r:id="rId17"/>
    <p:sldId id="495" r:id="rId18"/>
    <p:sldId id="496" r:id="rId19"/>
    <p:sldId id="497" r:id="rId20"/>
    <p:sldId id="498" r:id="rId21"/>
    <p:sldId id="499" r:id="rId22"/>
    <p:sldId id="500" r:id="rId23"/>
    <p:sldId id="501" r:id="rId24"/>
    <p:sldId id="502" r:id="rId25"/>
    <p:sldId id="503" r:id="rId26"/>
    <p:sldId id="504" r:id="rId27"/>
    <p:sldId id="505" r:id="rId28"/>
    <p:sldId id="506" r:id="rId29"/>
    <p:sldId id="507" r:id="rId30"/>
    <p:sldId id="508" r:id="rId31"/>
    <p:sldId id="509" r:id="rId32"/>
    <p:sldId id="510" r:id="rId33"/>
    <p:sldId id="511" r:id="rId34"/>
    <p:sldId id="512" r:id="rId35"/>
    <p:sldId id="513" r:id="rId36"/>
    <p:sldId id="514" r:id="rId37"/>
    <p:sldId id="515" r:id="rId38"/>
    <p:sldId id="516" r:id="rId39"/>
    <p:sldId id="517" r:id="rId40"/>
    <p:sldId id="518" r:id="rId41"/>
    <p:sldId id="519" r:id="rId42"/>
    <p:sldId id="520" r:id="rId43"/>
    <p:sldId id="521" r:id="rId44"/>
    <p:sldId id="522"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4660"/>
  </p:normalViewPr>
  <p:slideViewPr>
    <p:cSldViewPr snapToGrid="0">
      <p:cViewPr varScale="1">
        <p:scale>
          <a:sx n="117" d="100"/>
          <a:sy n="117" d="100"/>
        </p:scale>
        <p:origin x="-354" y="-102"/>
      </p:cViewPr>
      <p:guideLst>
        <p:guide orient="horz" pos="2160"/>
        <p:guide pos="3840"/>
      </p:guideLst>
    </p:cSldViewPr>
  </p:slideViewPr>
  <p:notesTextViewPr>
    <p:cViewPr>
      <p:scale>
        <a:sx n="1" d="1"/>
        <a:sy n="1" d="1"/>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oleObject" Target="file:///\\cib.net\shareny\soft\ED_ExcelTools\Transfert\ftenga\Presentation\Material%20Marketing%20presentation.xls"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ay%202016%20Vegas%20Excel%20FT.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ay%202016%20Vegas%20Excel%20FT.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ay%202016%20Vegas%20Excel%20FT.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ib.net\shareny\soft\ED_ExcelTools\Transfert\ftenga\Presentation\Material%20Marketing%20presentation.xls"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eanRev_VIX.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ib.net\shareny\soft\ED_ExcelTools\Transfert\ftenga\Presentation\Material%20Marketing%20presentation.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ib.net\shareny\soft\ED_ExcelTools\Transfert\ftenga\Presentation\Material%20Marketing%20presentation.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ftenga\AppData\Local\Microsoft\Windows\Temporary%20Internet%20Files\Content.Outlook\A6P0K297\MeanReversion%20ES1%20no%20signal.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Book3"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ib.net\shareny\soft\ED_ExcelTools\Transfert\ftenga\Presentation\Material%20Marketing%20presentation.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ib.net\shareny\soft\ED_ExcelTools\Transfert\ftenga\Presentation\Material%20Marketing%20presentation.xls"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ib.net\shareny\soft\ED_ExcelTools\Transfert\ftenga\MeanReversion\May%202016%20Vegas%20Excel%20F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VIX</a:t>
            </a:r>
            <a:r>
              <a:rPr lang="en-US" baseline="0" dirty="0"/>
              <a:t> Index historical values</a:t>
            </a:r>
            <a:endParaRPr lang="en-US" dirty="0"/>
          </a:p>
        </c:rich>
      </c:tx>
      <c:layout/>
      <c:overlay val="0"/>
    </c:title>
    <c:autoTitleDeleted val="0"/>
    <c:plotArea>
      <c:layout/>
      <c:lineChart>
        <c:grouping val="standard"/>
        <c:varyColors val="0"/>
        <c:ser>
          <c:idx val="0"/>
          <c:order val="0"/>
          <c:tx>
            <c:strRef>
              <c:f>Sheet1!$AA$4</c:f>
              <c:strCache>
                <c:ptCount val="1"/>
                <c:pt idx="0">
                  <c:v>VIX Index</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A$5:$AA$2522</c:f>
              <c:numCache>
                <c:formatCode>General</c:formatCode>
                <c:ptCount val="2518"/>
                <c:pt idx="0">
                  <c:v>11.99</c:v>
                </c:pt>
                <c:pt idx="1">
                  <c:v>11.78</c:v>
                </c:pt>
                <c:pt idx="2">
                  <c:v>12.49</c:v>
                </c:pt>
                <c:pt idx="3">
                  <c:v>14.19</c:v>
                </c:pt>
                <c:pt idx="4">
                  <c:v>13.57</c:v>
                </c:pt>
                <c:pt idx="5">
                  <c:v>13.35</c:v>
                </c:pt>
                <c:pt idx="6">
                  <c:v>16.260000000000002</c:v>
                </c:pt>
                <c:pt idx="7">
                  <c:v>16.989999999999998</c:v>
                </c:pt>
                <c:pt idx="8">
                  <c:v>17.18</c:v>
                </c:pt>
                <c:pt idx="9">
                  <c:v>17.72</c:v>
                </c:pt>
                <c:pt idx="10">
                  <c:v>18.260000000000002</c:v>
                </c:pt>
                <c:pt idx="11">
                  <c:v>17.36</c:v>
                </c:pt>
                <c:pt idx="12">
                  <c:v>15.5</c:v>
                </c:pt>
                <c:pt idx="13">
                  <c:v>14.26</c:v>
                </c:pt>
                <c:pt idx="14">
                  <c:v>18.66</c:v>
                </c:pt>
                <c:pt idx="15">
                  <c:v>16.440000000000001</c:v>
                </c:pt>
                <c:pt idx="16">
                  <c:v>14.52</c:v>
                </c:pt>
                <c:pt idx="17">
                  <c:v>14.32</c:v>
                </c:pt>
                <c:pt idx="18">
                  <c:v>16.649999999999999</c:v>
                </c:pt>
                <c:pt idx="19">
                  <c:v>17.34</c:v>
                </c:pt>
                <c:pt idx="20">
                  <c:v>17.8</c:v>
                </c:pt>
                <c:pt idx="21">
                  <c:v>18.350000000000001</c:v>
                </c:pt>
                <c:pt idx="22">
                  <c:v>18.12</c:v>
                </c:pt>
                <c:pt idx="23">
                  <c:v>20.96</c:v>
                </c:pt>
                <c:pt idx="24">
                  <c:v>23.81</c:v>
                </c:pt>
                <c:pt idx="25">
                  <c:v>21.46</c:v>
                </c:pt>
                <c:pt idx="26">
                  <c:v>15.9</c:v>
                </c:pt>
                <c:pt idx="27">
                  <c:v>17.25</c:v>
                </c:pt>
                <c:pt idx="28">
                  <c:v>17.829999999999998</c:v>
                </c:pt>
                <c:pt idx="29">
                  <c:v>16.690000000000001</c:v>
                </c:pt>
                <c:pt idx="30">
                  <c:v>15.52</c:v>
                </c:pt>
                <c:pt idx="31">
                  <c:v>15.88</c:v>
                </c:pt>
                <c:pt idx="32">
                  <c:v>15.89</c:v>
                </c:pt>
                <c:pt idx="33">
                  <c:v>15.62</c:v>
                </c:pt>
                <c:pt idx="34">
                  <c:v>16.399999999999999</c:v>
                </c:pt>
                <c:pt idx="35">
                  <c:v>15.79</c:v>
                </c:pt>
                <c:pt idx="36">
                  <c:v>13.03</c:v>
                </c:pt>
                <c:pt idx="37">
                  <c:v>13.08</c:v>
                </c:pt>
                <c:pt idx="38">
                  <c:v>13.05</c:v>
                </c:pt>
                <c:pt idx="39">
                  <c:v>14.15</c:v>
                </c:pt>
                <c:pt idx="40">
                  <c:v>13.65</c:v>
                </c:pt>
                <c:pt idx="41">
                  <c:v>13.97</c:v>
                </c:pt>
                <c:pt idx="42">
                  <c:v>14.02</c:v>
                </c:pt>
                <c:pt idx="43">
                  <c:v>13.14</c:v>
                </c:pt>
                <c:pt idx="44">
                  <c:v>14.49</c:v>
                </c:pt>
                <c:pt idx="45">
                  <c:v>17.79</c:v>
                </c:pt>
                <c:pt idx="46">
                  <c:v>18.05</c:v>
                </c:pt>
                <c:pt idx="47">
                  <c:v>18.64</c:v>
                </c:pt>
                <c:pt idx="48">
                  <c:v>17.739999999999998</c:v>
                </c:pt>
                <c:pt idx="49">
                  <c:v>15.55</c:v>
                </c:pt>
                <c:pt idx="50">
                  <c:v>16.21</c:v>
                </c:pt>
                <c:pt idx="51">
                  <c:v>17.399999999999999</c:v>
                </c:pt>
                <c:pt idx="52">
                  <c:v>14.98</c:v>
                </c:pt>
                <c:pt idx="53">
                  <c:v>14.85</c:v>
                </c:pt>
                <c:pt idx="54">
                  <c:v>14.62</c:v>
                </c:pt>
                <c:pt idx="55">
                  <c:v>14.94</c:v>
                </c:pt>
                <c:pt idx="56">
                  <c:v>14.33</c:v>
                </c:pt>
                <c:pt idx="57">
                  <c:v>14.95</c:v>
                </c:pt>
                <c:pt idx="58">
                  <c:v>15.05</c:v>
                </c:pt>
                <c:pt idx="59">
                  <c:v>14.34</c:v>
                </c:pt>
                <c:pt idx="60">
                  <c:v>14.46</c:v>
                </c:pt>
                <c:pt idx="61">
                  <c:v>14.34</c:v>
                </c:pt>
                <c:pt idx="62">
                  <c:v>15.23</c:v>
                </c:pt>
                <c:pt idx="63">
                  <c:v>15.23</c:v>
                </c:pt>
                <c:pt idx="64">
                  <c:v>15.2</c:v>
                </c:pt>
                <c:pt idx="65">
                  <c:v>14.46</c:v>
                </c:pt>
                <c:pt idx="66">
                  <c:v>14.3</c:v>
                </c:pt>
                <c:pt idx="67">
                  <c:v>14.26</c:v>
                </c:pt>
                <c:pt idx="68">
                  <c:v>13.42</c:v>
                </c:pt>
                <c:pt idx="69">
                  <c:v>12.41</c:v>
                </c:pt>
                <c:pt idx="70">
                  <c:v>12.24</c:v>
                </c:pt>
                <c:pt idx="71">
                  <c:v>11.64</c:v>
                </c:pt>
                <c:pt idx="72">
                  <c:v>12.22</c:v>
                </c:pt>
                <c:pt idx="73">
                  <c:v>12.19</c:v>
                </c:pt>
                <c:pt idx="74">
                  <c:v>12.4</c:v>
                </c:pt>
                <c:pt idx="75">
                  <c:v>12.4</c:v>
                </c:pt>
                <c:pt idx="76">
                  <c:v>12.31</c:v>
                </c:pt>
                <c:pt idx="77">
                  <c:v>12.18</c:v>
                </c:pt>
                <c:pt idx="78">
                  <c:v>12.28</c:v>
                </c:pt>
                <c:pt idx="79">
                  <c:v>12.22</c:v>
                </c:pt>
                <c:pt idx="80">
                  <c:v>12.31</c:v>
                </c:pt>
                <c:pt idx="81">
                  <c:v>11.96</c:v>
                </c:pt>
                <c:pt idx="82">
                  <c:v>12.63</c:v>
                </c:pt>
                <c:pt idx="83">
                  <c:v>13.74</c:v>
                </c:pt>
                <c:pt idx="84">
                  <c:v>13.88</c:v>
                </c:pt>
                <c:pt idx="85">
                  <c:v>13.16</c:v>
                </c:pt>
                <c:pt idx="86">
                  <c:v>12.99</c:v>
                </c:pt>
                <c:pt idx="87">
                  <c:v>11.92</c:v>
                </c:pt>
                <c:pt idx="88">
                  <c:v>11.18</c:v>
                </c:pt>
                <c:pt idx="89">
                  <c:v>11.55</c:v>
                </c:pt>
                <c:pt idx="90">
                  <c:v>11.76</c:v>
                </c:pt>
                <c:pt idx="91">
                  <c:v>11.78</c:v>
                </c:pt>
                <c:pt idx="92">
                  <c:v>11.98</c:v>
                </c:pt>
                <c:pt idx="93">
                  <c:v>11.39</c:v>
                </c:pt>
                <c:pt idx="94">
                  <c:v>12.25</c:v>
                </c:pt>
                <c:pt idx="95">
                  <c:v>12.59</c:v>
                </c:pt>
                <c:pt idx="96">
                  <c:v>12.12</c:v>
                </c:pt>
                <c:pt idx="97">
                  <c:v>11.53</c:v>
                </c:pt>
                <c:pt idx="98">
                  <c:v>11.58</c:v>
                </c:pt>
                <c:pt idx="99">
                  <c:v>11.72</c:v>
                </c:pt>
                <c:pt idx="100">
                  <c:v>11.98</c:v>
                </c:pt>
                <c:pt idx="101">
                  <c:v>12.57</c:v>
                </c:pt>
                <c:pt idx="102">
                  <c:v>12.24</c:v>
                </c:pt>
                <c:pt idx="103">
                  <c:v>11.86</c:v>
                </c:pt>
                <c:pt idx="104">
                  <c:v>11.98</c:v>
                </c:pt>
                <c:pt idx="105">
                  <c:v>11.56</c:v>
                </c:pt>
                <c:pt idx="106">
                  <c:v>11.68</c:v>
                </c:pt>
                <c:pt idx="107">
                  <c:v>11.52</c:v>
                </c:pt>
                <c:pt idx="108">
                  <c:v>11.62</c:v>
                </c:pt>
                <c:pt idx="109">
                  <c:v>11.09</c:v>
                </c:pt>
                <c:pt idx="110">
                  <c:v>10.75</c:v>
                </c:pt>
                <c:pt idx="111">
                  <c:v>11.09</c:v>
                </c:pt>
                <c:pt idx="112">
                  <c:v>11.73</c:v>
                </c:pt>
                <c:pt idx="113">
                  <c:v>11.34</c:v>
                </c:pt>
                <c:pt idx="114">
                  <c:v>10.9</c:v>
                </c:pt>
                <c:pt idx="115">
                  <c:v>10.63</c:v>
                </c:pt>
                <c:pt idx="116">
                  <c:v>11.08</c:v>
                </c:pt>
                <c:pt idx="117">
                  <c:v>10.78</c:v>
                </c:pt>
                <c:pt idx="118">
                  <c:v>10.66</c:v>
                </c:pt>
                <c:pt idx="119">
                  <c:v>10.56</c:v>
                </c:pt>
                <c:pt idx="120">
                  <c:v>10.8</c:v>
                </c:pt>
                <c:pt idx="121">
                  <c:v>11.2</c:v>
                </c:pt>
                <c:pt idx="122">
                  <c:v>11.1</c:v>
                </c:pt>
                <c:pt idx="123">
                  <c:v>11.51</c:v>
                </c:pt>
                <c:pt idx="124">
                  <c:v>11.42</c:v>
                </c:pt>
                <c:pt idx="125">
                  <c:v>11.16</c:v>
                </c:pt>
                <c:pt idx="126">
                  <c:v>11.16</c:v>
                </c:pt>
                <c:pt idx="127">
                  <c:v>11.09</c:v>
                </c:pt>
                <c:pt idx="128">
                  <c:v>10.75</c:v>
                </c:pt>
                <c:pt idx="129">
                  <c:v>11.01</c:v>
                </c:pt>
                <c:pt idx="130">
                  <c:v>10.79</c:v>
                </c:pt>
                <c:pt idx="131">
                  <c:v>10.86</c:v>
                </c:pt>
                <c:pt idx="132">
                  <c:v>10.5</c:v>
                </c:pt>
                <c:pt idx="133">
                  <c:v>10.31</c:v>
                </c:pt>
                <c:pt idx="134">
                  <c:v>10.16</c:v>
                </c:pt>
                <c:pt idx="135">
                  <c:v>10.050000000000001</c:v>
                </c:pt>
                <c:pt idx="136">
                  <c:v>9.9700000000000006</c:v>
                </c:pt>
                <c:pt idx="137">
                  <c:v>9.9</c:v>
                </c:pt>
                <c:pt idx="138">
                  <c:v>10.14</c:v>
                </c:pt>
                <c:pt idx="139">
                  <c:v>10.73</c:v>
                </c:pt>
                <c:pt idx="140">
                  <c:v>12.3</c:v>
                </c:pt>
                <c:pt idx="141">
                  <c:v>11.62</c:v>
                </c:pt>
                <c:pt idx="142">
                  <c:v>10.83</c:v>
                </c:pt>
                <c:pt idx="143">
                  <c:v>10.91</c:v>
                </c:pt>
                <c:pt idx="144">
                  <c:v>11.66</c:v>
                </c:pt>
                <c:pt idx="145">
                  <c:v>11.23</c:v>
                </c:pt>
                <c:pt idx="146">
                  <c:v>11.27</c:v>
                </c:pt>
                <c:pt idx="147">
                  <c:v>11.33</c:v>
                </c:pt>
                <c:pt idx="148">
                  <c:v>12.67</c:v>
                </c:pt>
                <c:pt idx="149">
                  <c:v>12.07</c:v>
                </c:pt>
                <c:pt idx="150">
                  <c:v>10.71</c:v>
                </c:pt>
                <c:pt idx="151">
                  <c:v>10.65</c:v>
                </c:pt>
                <c:pt idx="152">
                  <c:v>10.18</c:v>
                </c:pt>
                <c:pt idx="153">
                  <c:v>9.9700000000000006</c:v>
                </c:pt>
                <c:pt idx="154">
                  <c:v>10.050000000000001</c:v>
                </c:pt>
                <c:pt idx="155">
                  <c:v>10.6</c:v>
                </c:pt>
                <c:pt idx="156">
                  <c:v>10.3</c:v>
                </c:pt>
                <c:pt idx="157">
                  <c:v>10.26</c:v>
                </c:pt>
                <c:pt idx="158">
                  <c:v>10.53</c:v>
                </c:pt>
                <c:pt idx="159">
                  <c:v>11.36</c:v>
                </c:pt>
                <c:pt idx="160">
                  <c:v>11.26</c:v>
                </c:pt>
                <c:pt idx="161">
                  <c:v>10.64</c:v>
                </c:pt>
                <c:pt idx="162">
                  <c:v>10.99</c:v>
                </c:pt>
                <c:pt idx="163">
                  <c:v>11.56</c:v>
                </c:pt>
                <c:pt idx="164">
                  <c:v>12.04</c:v>
                </c:pt>
                <c:pt idx="165">
                  <c:v>11.51</c:v>
                </c:pt>
                <c:pt idx="166">
                  <c:v>12.14</c:v>
                </c:pt>
                <c:pt idx="167">
                  <c:v>12</c:v>
                </c:pt>
                <c:pt idx="168">
                  <c:v>11.91</c:v>
                </c:pt>
                <c:pt idx="169">
                  <c:v>11.47</c:v>
                </c:pt>
                <c:pt idx="170">
                  <c:v>10.87</c:v>
                </c:pt>
                <c:pt idx="171">
                  <c:v>10.15</c:v>
                </c:pt>
                <c:pt idx="172">
                  <c:v>10.74</c:v>
                </c:pt>
                <c:pt idx="173">
                  <c:v>10.59</c:v>
                </c:pt>
                <c:pt idx="174">
                  <c:v>10.85</c:v>
                </c:pt>
                <c:pt idx="175">
                  <c:v>10.4</c:v>
                </c:pt>
                <c:pt idx="176">
                  <c:v>10.77</c:v>
                </c:pt>
                <c:pt idx="177">
                  <c:v>10.34</c:v>
                </c:pt>
                <c:pt idx="178">
                  <c:v>9.89</c:v>
                </c:pt>
                <c:pt idx="179">
                  <c:v>11.22</c:v>
                </c:pt>
                <c:pt idx="180">
                  <c:v>11.13</c:v>
                </c:pt>
                <c:pt idx="181">
                  <c:v>11.45</c:v>
                </c:pt>
                <c:pt idx="182">
                  <c:v>10.96</c:v>
                </c:pt>
                <c:pt idx="183">
                  <c:v>10.42</c:v>
                </c:pt>
                <c:pt idx="184">
                  <c:v>10.31</c:v>
                </c:pt>
                <c:pt idx="185">
                  <c:v>10.08</c:v>
                </c:pt>
                <c:pt idx="186">
                  <c:v>10.55</c:v>
                </c:pt>
                <c:pt idx="187">
                  <c:v>10.65</c:v>
                </c:pt>
                <c:pt idx="188">
                  <c:v>10.32</c:v>
                </c:pt>
                <c:pt idx="189">
                  <c:v>10.44</c:v>
                </c:pt>
                <c:pt idx="190">
                  <c:v>11.1</c:v>
                </c:pt>
                <c:pt idx="191">
                  <c:v>11.61</c:v>
                </c:pt>
                <c:pt idx="192">
                  <c:v>10.34</c:v>
                </c:pt>
                <c:pt idx="193">
                  <c:v>10.23</c:v>
                </c:pt>
                <c:pt idx="194">
                  <c:v>10.220000000000001</c:v>
                </c:pt>
                <c:pt idx="195">
                  <c:v>10.02</c:v>
                </c:pt>
                <c:pt idx="196">
                  <c:v>10.24</c:v>
                </c:pt>
                <c:pt idx="197">
                  <c:v>10.199999999999999</c:v>
                </c:pt>
                <c:pt idx="198">
                  <c:v>10.18</c:v>
                </c:pt>
                <c:pt idx="199">
                  <c:v>10.58</c:v>
                </c:pt>
                <c:pt idx="200">
                  <c:v>11.15</c:v>
                </c:pt>
                <c:pt idx="201">
                  <c:v>18.309999999999999</c:v>
                </c:pt>
                <c:pt idx="202">
                  <c:v>15.42</c:v>
                </c:pt>
                <c:pt idx="203">
                  <c:v>15.82</c:v>
                </c:pt>
                <c:pt idx="204">
                  <c:v>18.61</c:v>
                </c:pt>
                <c:pt idx="205">
                  <c:v>19.63</c:v>
                </c:pt>
                <c:pt idx="206">
                  <c:v>15.96</c:v>
                </c:pt>
                <c:pt idx="207">
                  <c:v>15.24</c:v>
                </c:pt>
                <c:pt idx="208">
                  <c:v>14.29</c:v>
                </c:pt>
                <c:pt idx="209">
                  <c:v>14.09</c:v>
                </c:pt>
                <c:pt idx="210">
                  <c:v>13.99</c:v>
                </c:pt>
                <c:pt idx="211">
                  <c:v>18.13</c:v>
                </c:pt>
                <c:pt idx="212">
                  <c:v>17.27</c:v>
                </c:pt>
                <c:pt idx="213">
                  <c:v>16.43</c:v>
                </c:pt>
                <c:pt idx="214">
                  <c:v>16.79</c:v>
                </c:pt>
                <c:pt idx="215">
                  <c:v>14.59</c:v>
                </c:pt>
                <c:pt idx="216">
                  <c:v>13.27</c:v>
                </c:pt>
                <c:pt idx="217">
                  <c:v>12.19</c:v>
                </c:pt>
                <c:pt idx="218">
                  <c:v>12.93</c:v>
                </c:pt>
                <c:pt idx="219">
                  <c:v>12.95</c:v>
                </c:pt>
                <c:pt idx="220">
                  <c:v>13.16</c:v>
                </c:pt>
                <c:pt idx="221">
                  <c:v>13.48</c:v>
                </c:pt>
                <c:pt idx="222">
                  <c:v>14.98</c:v>
                </c:pt>
                <c:pt idx="223">
                  <c:v>15.14</c:v>
                </c:pt>
                <c:pt idx="224">
                  <c:v>14.64</c:v>
                </c:pt>
                <c:pt idx="225">
                  <c:v>14.53</c:v>
                </c:pt>
                <c:pt idx="226">
                  <c:v>13.46</c:v>
                </c:pt>
                <c:pt idx="227">
                  <c:v>13.24</c:v>
                </c:pt>
                <c:pt idx="228">
                  <c:v>13.23</c:v>
                </c:pt>
                <c:pt idx="229">
                  <c:v>13.14</c:v>
                </c:pt>
                <c:pt idx="230">
                  <c:v>12.68</c:v>
                </c:pt>
                <c:pt idx="231">
                  <c:v>13.49</c:v>
                </c:pt>
                <c:pt idx="232">
                  <c:v>12.71</c:v>
                </c:pt>
                <c:pt idx="233">
                  <c:v>12.2</c:v>
                </c:pt>
                <c:pt idx="234">
                  <c:v>11.98</c:v>
                </c:pt>
                <c:pt idx="235">
                  <c:v>12.14</c:v>
                </c:pt>
                <c:pt idx="236">
                  <c:v>12.42</c:v>
                </c:pt>
                <c:pt idx="237">
                  <c:v>12.54</c:v>
                </c:pt>
                <c:pt idx="238">
                  <c:v>12.07</c:v>
                </c:pt>
                <c:pt idx="239">
                  <c:v>13.04</c:v>
                </c:pt>
                <c:pt idx="240">
                  <c:v>13.12</c:v>
                </c:pt>
                <c:pt idx="241">
                  <c:v>13.21</c:v>
                </c:pt>
                <c:pt idx="242">
                  <c:v>12.79</c:v>
                </c:pt>
                <c:pt idx="243">
                  <c:v>12.45</c:v>
                </c:pt>
                <c:pt idx="244">
                  <c:v>14.22</c:v>
                </c:pt>
                <c:pt idx="245">
                  <c:v>13.51</c:v>
                </c:pt>
                <c:pt idx="246">
                  <c:v>13.08</c:v>
                </c:pt>
                <c:pt idx="247">
                  <c:v>13.09</c:v>
                </c:pt>
                <c:pt idx="248">
                  <c:v>12.91</c:v>
                </c:pt>
                <c:pt idx="249">
                  <c:v>13.15</c:v>
                </c:pt>
                <c:pt idx="250">
                  <c:v>13.21</c:v>
                </c:pt>
                <c:pt idx="251">
                  <c:v>12.88</c:v>
                </c:pt>
                <c:pt idx="252">
                  <c:v>13.6</c:v>
                </c:pt>
                <c:pt idx="253">
                  <c:v>12.95</c:v>
                </c:pt>
                <c:pt idx="254">
                  <c:v>13.96</c:v>
                </c:pt>
                <c:pt idx="255">
                  <c:v>14.01</c:v>
                </c:pt>
                <c:pt idx="256">
                  <c:v>13.5</c:v>
                </c:pt>
                <c:pt idx="257">
                  <c:v>13.51</c:v>
                </c:pt>
                <c:pt idx="258">
                  <c:v>12.76</c:v>
                </c:pt>
                <c:pt idx="259">
                  <c:v>13.3</c:v>
                </c:pt>
                <c:pt idx="260">
                  <c:v>13.06</c:v>
                </c:pt>
                <c:pt idx="261">
                  <c:v>13.24</c:v>
                </c:pt>
                <c:pt idx="262">
                  <c:v>14.08</c:v>
                </c:pt>
                <c:pt idx="263">
                  <c:v>13.34</c:v>
                </c:pt>
                <c:pt idx="264">
                  <c:v>13.53</c:v>
                </c:pt>
                <c:pt idx="265">
                  <c:v>12.83</c:v>
                </c:pt>
                <c:pt idx="266">
                  <c:v>13.05</c:v>
                </c:pt>
                <c:pt idx="267">
                  <c:v>12.78</c:v>
                </c:pt>
                <c:pt idx="268">
                  <c:v>13.29</c:v>
                </c:pt>
                <c:pt idx="269">
                  <c:v>13.63</c:v>
                </c:pt>
                <c:pt idx="270">
                  <c:v>14.87</c:v>
                </c:pt>
                <c:pt idx="271">
                  <c:v>17.059999999999999</c:v>
                </c:pt>
                <c:pt idx="272">
                  <c:v>14.84</c:v>
                </c:pt>
                <c:pt idx="273">
                  <c:v>14.71</c:v>
                </c:pt>
                <c:pt idx="274">
                  <c:v>16.670000000000002</c:v>
                </c:pt>
                <c:pt idx="275">
                  <c:v>14.73</c:v>
                </c:pt>
                <c:pt idx="276">
                  <c:v>13.64</c:v>
                </c:pt>
                <c:pt idx="277">
                  <c:v>13.94</c:v>
                </c:pt>
                <c:pt idx="278">
                  <c:v>13.42</c:v>
                </c:pt>
                <c:pt idx="279">
                  <c:v>12.85</c:v>
                </c:pt>
                <c:pt idx="280">
                  <c:v>14.67</c:v>
                </c:pt>
                <c:pt idx="281">
                  <c:v>14.21</c:v>
                </c:pt>
                <c:pt idx="282">
                  <c:v>15.75</c:v>
                </c:pt>
                <c:pt idx="283">
                  <c:v>16.649999999999999</c:v>
                </c:pt>
                <c:pt idx="284">
                  <c:v>18.89</c:v>
                </c:pt>
                <c:pt idx="285">
                  <c:v>15.53</c:v>
                </c:pt>
                <c:pt idx="286">
                  <c:v>15.54</c:v>
                </c:pt>
                <c:pt idx="287">
                  <c:v>16.23</c:v>
                </c:pt>
                <c:pt idx="288">
                  <c:v>15.4</c:v>
                </c:pt>
                <c:pt idx="289">
                  <c:v>14.92</c:v>
                </c:pt>
                <c:pt idx="290">
                  <c:v>15.48</c:v>
                </c:pt>
                <c:pt idx="291">
                  <c:v>14.72</c:v>
                </c:pt>
                <c:pt idx="292">
                  <c:v>15.16</c:v>
                </c:pt>
                <c:pt idx="293">
                  <c:v>17.57</c:v>
                </c:pt>
                <c:pt idx="294">
                  <c:v>16.64</c:v>
                </c:pt>
                <c:pt idx="295">
                  <c:v>15.54</c:v>
                </c:pt>
                <c:pt idx="296">
                  <c:v>15.15</c:v>
                </c:pt>
                <c:pt idx="297">
                  <c:v>15.59</c:v>
                </c:pt>
                <c:pt idx="298">
                  <c:v>15.63</c:v>
                </c:pt>
                <c:pt idx="299">
                  <c:v>16</c:v>
                </c:pt>
                <c:pt idx="300">
                  <c:v>15.23</c:v>
                </c:pt>
                <c:pt idx="301">
                  <c:v>16.95</c:v>
                </c:pt>
                <c:pt idx="302">
                  <c:v>16.809999999999999</c:v>
                </c:pt>
                <c:pt idx="303">
                  <c:v>18.55</c:v>
                </c:pt>
                <c:pt idx="304">
                  <c:v>18.100000000000001</c:v>
                </c:pt>
                <c:pt idx="305">
                  <c:v>20.74</c:v>
                </c:pt>
                <c:pt idx="306">
                  <c:v>24.17</c:v>
                </c:pt>
                <c:pt idx="307">
                  <c:v>20.87</c:v>
                </c:pt>
                <c:pt idx="308">
                  <c:v>23.52</c:v>
                </c:pt>
                <c:pt idx="309">
                  <c:v>23.67</c:v>
                </c:pt>
                <c:pt idx="310">
                  <c:v>21.22</c:v>
                </c:pt>
                <c:pt idx="311">
                  <c:v>25.16</c:v>
                </c:pt>
                <c:pt idx="312">
                  <c:v>22.94</c:v>
                </c:pt>
                <c:pt idx="313">
                  <c:v>21.56</c:v>
                </c:pt>
                <c:pt idx="314">
                  <c:v>21.45</c:v>
                </c:pt>
                <c:pt idx="315">
                  <c:v>26.48</c:v>
                </c:pt>
                <c:pt idx="316">
                  <c:v>28.3</c:v>
                </c:pt>
                <c:pt idx="317">
                  <c:v>26.57</c:v>
                </c:pt>
                <c:pt idx="318">
                  <c:v>27.68</c:v>
                </c:pt>
                <c:pt idx="319">
                  <c:v>30.67</c:v>
                </c:pt>
                <c:pt idx="320">
                  <c:v>30.83</c:v>
                </c:pt>
                <c:pt idx="321">
                  <c:v>29.99</c:v>
                </c:pt>
                <c:pt idx="322">
                  <c:v>26.33</c:v>
                </c:pt>
                <c:pt idx="323">
                  <c:v>25.25</c:v>
                </c:pt>
                <c:pt idx="324">
                  <c:v>22.89</c:v>
                </c:pt>
                <c:pt idx="325">
                  <c:v>22.62</c:v>
                </c:pt>
                <c:pt idx="326">
                  <c:v>20.72</c:v>
                </c:pt>
                <c:pt idx="327">
                  <c:v>22.72</c:v>
                </c:pt>
                <c:pt idx="328">
                  <c:v>26.3</c:v>
                </c:pt>
                <c:pt idx="329">
                  <c:v>23.81</c:v>
                </c:pt>
                <c:pt idx="330">
                  <c:v>25.06</c:v>
                </c:pt>
                <c:pt idx="331">
                  <c:v>23.38</c:v>
                </c:pt>
                <c:pt idx="332">
                  <c:v>22.78</c:v>
                </c:pt>
                <c:pt idx="333">
                  <c:v>24.58</c:v>
                </c:pt>
                <c:pt idx="334">
                  <c:v>23.99</c:v>
                </c:pt>
                <c:pt idx="335">
                  <c:v>26.23</c:v>
                </c:pt>
                <c:pt idx="336">
                  <c:v>27.38</c:v>
                </c:pt>
                <c:pt idx="337">
                  <c:v>25.27</c:v>
                </c:pt>
                <c:pt idx="338">
                  <c:v>24.96</c:v>
                </c:pt>
                <c:pt idx="339">
                  <c:v>24.76</c:v>
                </c:pt>
                <c:pt idx="340">
                  <c:v>24.92</c:v>
                </c:pt>
                <c:pt idx="341">
                  <c:v>26.48</c:v>
                </c:pt>
                <c:pt idx="342">
                  <c:v>20.350000000000001</c:v>
                </c:pt>
                <c:pt idx="343">
                  <c:v>20.03</c:v>
                </c:pt>
                <c:pt idx="344">
                  <c:v>20.45</c:v>
                </c:pt>
                <c:pt idx="345">
                  <c:v>19</c:v>
                </c:pt>
                <c:pt idx="346">
                  <c:v>19.37</c:v>
                </c:pt>
                <c:pt idx="347">
                  <c:v>18.600000000000001</c:v>
                </c:pt>
                <c:pt idx="348">
                  <c:v>17.63</c:v>
                </c:pt>
                <c:pt idx="349">
                  <c:v>17</c:v>
                </c:pt>
                <c:pt idx="350">
                  <c:v>18</c:v>
                </c:pt>
                <c:pt idx="351">
                  <c:v>17.84</c:v>
                </c:pt>
                <c:pt idx="352">
                  <c:v>18.489999999999998</c:v>
                </c:pt>
                <c:pt idx="353">
                  <c:v>18.8</c:v>
                </c:pt>
                <c:pt idx="354">
                  <c:v>18.440000000000001</c:v>
                </c:pt>
                <c:pt idx="355">
                  <c:v>16.91</c:v>
                </c:pt>
                <c:pt idx="356">
                  <c:v>17.46</c:v>
                </c:pt>
                <c:pt idx="357">
                  <c:v>16.12</c:v>
                </c:pt>
                <c:pt idx="358">
                  <c:v>16.670000000000002</c:v>
                </c:pt>
                <c:pt idx="359">
                  <c:v>18.88</c:v>
                </c:pt>
                <c:pt idx="360">
                  <c:v>17.73</c:v>
                </c:pt>
                <c:pt idx="361">
                  <c:v>19.25</c:v>
                </c:pt>
                <c:pt idx="362">
                  <c:v>20.02</c:v>
                </c:pt>
                <c:pt idx="363">
                  <c:v>18.54</c:v>
                </c:pt>
                <c:pt idx="364">
                  <c:v>18.5</c:v>
                </c:pt>
                <c:pt idx="365">
                  <c:v>22.96</c:v>
                </c:pt>
                <c:pt idx="366">
                  <c:v>21.64</c:v>
                </c:pt>
                <c:pt idx="367">
                  <c:v>20.41</c:v>
                </c:pt>
                <c:pt idx="368">
                  <c:v>20.8</c:v>
                </c:pt>
                <c:pt idx="369">
                  <c:v>21.17</c:v>
                </c:pt>
                <c:pt idx="370">
                  <c:v>19.559999999999999</c:v>
                </c:pt>
                <c:pt idx="371">
                  <c:v>19.87</c:v>
                </c:pt>
                <c:pt idx="372">
                  <c:v>21.07</c:v>
                </c:pt>
                <c:pt idx="373">
                  <c:v>18.53</c:v>
                </c:pt>
                <c:pt idx="374">
                  <c:v>23.21</c:v>
                </c:pt>
                <c:pt idx="375">
                  <c:v>23.01</c:v>
                </c:pt>
                <c:pt idx="376">
                  <c:v>24.31</c:v>
                </c:pt>
                <c:pt idx="377">
                  <c:v>21.39</c:v>
                </c:pt>
                <c:pt idx="378">
                  <c:v>26.49</c:v>
                </c:pt>
                <c:pt idx="379">
                  <c:v>26.16</c:v>
                </c:pt>
                <c:pt idx="380">
                  <c:v>28.5</c:v>
                </c:pt>
                <c:pt idx="381">
                  <c:v>31.09</c:v>
                </c:pt>
                <c:pt idx="382">
                  <c:v>24.1</c:v>
                </c:pt>
                <c:pt idx="383">
                  <c:v>25.94</c:v>
                </c:pt>
                <c:pt idx="384">
                  <c:v>28.06</c:v>
                </c:pt>
                <c:pt idx="385">
                  <c:v>25.49</c:v>
                </c:pt>
                <c:pt idx="386">
                  <c:v>26.01</c:v>
                </c:pt>
                <c:pt idx="387">
                  <c:v>24.88</c:v>
                </c:pt>
                <c:pt idx="388">
                  <c:v>26.84</c:v>
                </c:pt>
                <c:pt idx="389">
                  <c:v>25.61</c:v>
                </c:pt>
                <c:pt idx="390">
                  <c:v>28.91</c:v>
                </c:pt>
                <c:pt idx="391">
                  <c:v>26.28</c:v>
                </c:pt>
                <c:pt idx="392">
                  <c:v>24.11</c:v>
                </c:pt>
                <c:pt idx="393">
                  <c:v>23.97</c:v>
                </c:pt>
                <c:pt idx="394">
                  <c:v>22.87</c:v>
                </c:pt>
                <c:pt idx="395">
                  <c:v>23.61</c:v>
                </c:pt>
                <c:pt idx="396">
                  <c:v>23.79</c:v>
                </c:pt>
                <c:pt idx="397">
                  <c:v>22.53</c:v>
                </c:pt>
                <c:pt idx="398">
                  <c:v>20.96</c:v>
                </c:pt>
                <c:pt idx="399">
                  <c:v>20.85</c:v>
                </c:pt>
                <c:pt idx="400">
                  <c:v>20.74</c:v>
                </c:pt>
                <c:pt idx="401">
                  <c:v>23.59</c:v>
                </c:pt>
                <c:pt idx="402">
                  <c:v>22.47</c:v>
                </c:pt>
                <c:pt idx="403">
                  <c:v>22.56</c:v>
                </c:pt>
                <c:pt idx="404">
                  <c:v>23.27</c:v>
                </c:pt>
                <c:pt idx="405">
                  <c:v>24.52</c:v>
                </c:pt>
                <c:pt idx="406">
                  <c:v>22.64</c:v>
                </c:pt>
                <c:pt idx="407">
                  <c:v>21.68</c:v>
                </c:pt>
                <c:pt idx="408">
                  <c:v>20.58</c:v>
                </c:pt>
                <c:pt idx="409">
                  <c:v>18.47</c:v>
                </c:pt>
                <c:pt idx="410">
                  <c:v>18.600000000000001</c:v>
                </c:pt>
                <c:pt idx="411">
                  <c:v>18.66</c:v>
                </c:pt>
                <c:pt idx="412">
                  <c:v>20.260000000000002</c:v>
                </c:pt>
                <c:pt idx="413">
                  <c:v>20.74</c:v>
                </c:pt>
                <c:pt idx="414">
                  <c:v>22.5</c:v>
                </c:pt>
                <c:pt idx="415">
                  <c:v>23.17</c:v>
                </c:pt>
                <c:pt idx="416">
                  <c:v>22.49</c:v>
                </c:pt>
                <c:pt idx="417">
                  <c:v>23.94</c:v>
                </c:pt>
                <c:pt idx="418">
                  <c:v>23.79</c:v>
                </c:pt>
                <c:pt idx="419">
                  <c:v>25.43</c:v>
                </c:pt>
                <c:pt idx="420">
                  <c:v>24.12</c:v>
                </c:pt>
                <c:pt idx="421">
                  <c:v>23.45</c:v>
                </c:pt>
                <c:pt idx="422">
                  <c:v>23.68</c:v>
                </c:pt>
                <c:pt idx="423">
                  <c:v>22.9</c:v>
                </c:pt>
                <c:pt idx="424">
                  <c:v>23.34</c:v>
                </c:pt>
                <c:pt idx="425">
                  <c:v>24.38</c:v>
                </c:pt>
                <c:pt idx="426">
                  <c:v>28.46</c:v>
                </c:pt>
                <c:pt idx="427">
                  <c:v>27.18</c:v>
                </c:pt>
                <c:pt idx="428">
                  <c:v>31.01</c:v>
                </c:pt>
                <c:pt idx="429">
                  <c:v>29.02</c:v>
                </c:pt>
                <c:pt idx="430">
                  <c:v>27.78</c:v>
                </c:pt>
                <c:pt idx="431">
                  <c:v>29.08</c:v>
                </c:pt>
                <c:pt idx="432">
                  <c:v>27.78</c:v>
                </c:pt>
                <c:pt idx="433">
                  <c:v>27.32</c:v>
                </c:pt>
                <c:pt idx="434">
                  <c:v>27.62</c:v>
                </c:pt>
                <c:pt idx="435">
                  <c:v>26.2</c:v>
                </c:pt>
                <c:pt idx="436">
                  <c:v>24.02</c:v>
                </c:pt>
                <c:pt idx="437">
                  <c:v>25.99</c:v>
                </c:pt>
                <c:pt idx="438">
                  <c:v>28.24</c:v>
                </c:pt>
                <c:pt idx="439">
                  <c:v>28.97</c:v>
                </c:pt>
                <c:pt idx="440">
                  <c:v>27.66</c:v>
                </c:pt>
                <c:pt idx="441">
                  <c:v>28.01</c:v>
                </c:pt>
                <c:pt idx="442">
                  <c:v>27.6</c:v>
                </c:pt>
                <c:pt idx="443">
                  <c:v>26.33</c:v>
                </c:pt>
                <c:pt idx="444">
                  <c:v>24.88</c:v>
                </c:pt>
                <c:pt idx="445">
                  <c:v>25.54</c:v>
                </c:pt>
                <c:pt idx="446">
                  <c:v>25.02</c:v>
                </c:pt>
                <c:pt idx="447">
                  <c:v>25.59</c:v>
                </c:pt>
                <c:pt idx="448">
                  <c:v>24.4</c:v>
                </c:pt>
                <c:pt idx="449">
                  <c:v>25.12</c:v>
                </c:pt>
                <c:pt idx="450">
                  <c:v>24.06</c:v>
                </c:pt>
                <c:pt idx="451">
                  <c:v>23.03</c:v>
                </c:pt>
                <c:pt idx="452">
                  <c:v>21.9</c:v>
                </c:pt>
                <c:pt idx="453">
                  <c:v>22.69</c:v>
                </c:pt>
                <c:pt idx="454">
                  <c:v>23.53</c:v>
                </c:pt>
                <c:pt idx="455">
                  <c:v>26.54</c:v>
                </c:pt>
                <c:pt idx="456">
                  <c:v>26.28</c:v>
                </c:pt>
                <c:pt idx="457">
                  <c:v>25.52</c:v>
                </c:pt>
                <c:pt idx="458">
                  <c:v>24.6</c:v>
                </c:pt>
                <c:pt idx="459">
                  <c:v>27.55</c:v>
                </c:pt>
                <c:pt idx="460">
                  <c:v>27.49</c:v>
                </c:pt>
                <c:pt idx="461">
                  <c:v>29.38</c:v>
                </c:pt>
                <c:pt idx="462">
                  <c:v>26.36</c:v>
                </c:pt>
                <c:pt idx="463">
                  <c:v>27.22</c:v>
                </c:pt>
                <c:pt idx="464">
                  <c:v>27.29</c:v>
                </c:pt>
                <c:pt idx="465">
                  <c:v>31.16</c:v>
                </c:pt>
                <c:pt idx="466">
                  <c:v>32.24</c:v>
                </c:pt>
                <c:pt idx="467">
                  <c:v>25.79</c:v>
                </c:pt>
                <c:pt idx="468">
                  <c:v>29.84</c:v>
                </c:pt>
                <c:pt idx="469">
                  <c:v>26.62</c:v>
                </c:pt>
                <c:pt idx="470">
                  <c:v>25.73</c:v>
                </c:pt>
                <c:pt idx="471">
                  <c:v>25.72</c:v>
                </c:pt>
                <c:pt idx="472">
                  <c:v>26.08</c:v>
                </c:pt>
                <c:pt idx="473">
                  <c:v>25.88</c:v>
                </c:pt>
                <c:pt idx="474">
                  <c:v>25.71</c:v>
                </c:pt>
                <c:pt idx="475">
                  <c:v>25.61</c:v>
                </c:pt>
                <c:pt idx="476">
                  <c:v>22.68</c:v>
                </c:pt>
                <c:pt idx="477">
                  <c:v>23.43</c:v>
                </c:pt>
                <c:pt idx="478">
                  <c:v>23.21</c:v>
                </c:pt>
                <c:pt idx="479">
                  <c:v>22.45</c:v>
                </c:pt>
                <c:pt idx="480">
                  <c:v>22.42</c:v>
                </c:pt>
                <c:pt idx="481">
                  <c:v>22.36</c:v>
                </c:pt>
                <c:pt idx="482">
                  <c:v>22.81</c:v>
                </c:pt>
                <c:pt idx="483">
                  <c:v>21.98</c:v>
                </c:pt>
                <c:pt idx="484">
                  <c:v>23.46</c:v>
                </c:pt>
                <c:pt idx="485">
                  <c:v>23.82</c:v>
                </c:pt>
                <c:pt idx="486">
                  <c:v>22.78</c:v>
                </c:pt>
                <c:pt idx="487">
                  <c:v>20.53</c:v>
                </c:pt>
                <c:pt idx="488">
                  <c:v>20.37</c:v>
                </c:pt>
                <c:pt idx="489">
                  <c:v>20.13</c:v>
                </c:pt>
                <c:pt idx="490">
                  <c:v>20.5</c:v>
                </c:pt>
                <c:pt idx="491">
                  <c:v>20.87</c:v>
                </c:pt>
                <c:pt idx="492">
                  <c:v>20.260000000000002</c:v>
                </c:pt>
                <c:pt idx="493">
                  <c:v>20.059999999999999</c:v>
                </c:pt>
                <c:pt idx="494">
                  <c:v>19.59</c:v>
                </c:pt>
                <c:pt idx="495">
                  <c:v>19.64</c:v>
                </c:pt>
                <c:pt idx="496">
                  <c:v>20.239999999999998</c:v>
                </c:pt>
                <c:pt idx="497">
                  <c:v>20.79</c:v>
                </c:pt>
                <c:pt idx="498">
                  <c:v>18.88</c:v>
                </c:pt>
                <c:pt idx="499">
                  <c:v>18.18</c:v>
                </c:pt>
                <c:pt idx="500">
                  <c:v>18.899999999999999</c:v>
                </c:pt>
                <c:pt idx="501">
                  <c:v>18.21</c:v>
                </c:pt>
                <c:pt idx="502">
                  <c:v>19.73</c:v>
                </c:pt>
                <c:pt idx="503">
                  <c:v>19.399999999999999</c:v>
                </c:pt>
                <c:pt idx="504">
                  <c:v>19.41</c:v>
                </c:pt>
                <c:pt idx="505">
                  <c:v>17.79</c:v>
                </c:pt>
                <c:pt idx="506">
                  <c:v>17.98</c:v>
                </c:pt>
                <c:pt idx="507">
                  <c:v>17.66</c:v>
                </c:pt>
                <c:pt idx="508">
                  <c:v>16.3</c:v>
                </c:pt>
                <c:pt idx="509">
                  <c:v>16.47</c:v>
                </c:pt>
                <c:pt idx="510">
                  <c:v>17.010000000000002</c:v>
                </c:pt>
                <c:pt idx="511">
                  <c:v>17.579999999999998</c:v>
                </c:pt>
                <c:pt idx="512">
                  <c:v>18.59</c:v>
                </c:pt>
                <c:pt idx="513">
                  <c:v>18.05</c:v>
                </c:pt>
                <c:pt idx="514">
                  <c:v>19.55</c:v>
                </c:pt>
                <c:pt idx="515">
                  <c:v>19.64</c:v>
                </c:pt>
                <c:pt idx="516">
                  <c:v>19.07</c:v>
                </c:pt>
                <c:pt idx="517">
                  <c:v>18.14</c:v>
                </c:pt>
                <c:pt idx="518">
                  <c:v>17.829999999999998</c:v>
                </c:pt>
                <c:pt idx="519">
                  <c:v>19.829999999999998</c:v>
                </c:pt>
                <c:pt idx="520">
                  <c:v>20.239999999999998</c:v>
                </c:pt>
                <c:pt idx="521">
                  <c:v>20.8</c:v>
                </c:pt>
                <c:pt idx="522">
                  <c:v>18.63</c:v>
                </c:pt>
                <c:pt idx="523">
                  <c:v>23.56</c:v>
                </c:pt>
                <c:pt idx="524">
                  <c:v>23.12</c:v>
                </c:pt>
                <c:pt idx="525">
                  <c:v>23.18</c:v>
                </c:pt>
                <c:pt idx="526">
                  <c:v>24.12</c:v>
                </c:pt>
                <c:pt idx="527">
                  <c:v>23.33</c:v>
                </c:pt>
                <c:pt idx="528">
                  <c:v>21.22</c:v>
                </c:pt>
                <c:pt idx="529">
                  <c:v>20.95</c:v>
                </c:pt>
                <c:pt idx="530">
                  <c:v>21.13</c:v>
                </c:pt>
                <c:pt idx="531">
                  <c:v>22.24</c:v>
                </c:pt>
                <c:pt idx="532">
                  <c:v>21.58</c:v>
                </c:pt>
                <c:pt idx="533">
                  <c:v>22.87</c:v>
                </c:pt>
                <c:pt idx="534">
                  <c:v>22.64</c:v>
                </c:pt>
                <c:pt idx="535">
                  <c:v>22.42</c:v>
                </c:pt>
                <c:pt idx="536">
                  <c:v>21.14</c:v>
                </c:pt>
                <c:pt idx="537">
                  <c:v>23.93</c:v>
                </c:pt>
                <c:pt idx="538">
                  <c:v>23.44</c:v>
                </c:pt>
                <c:pt idx="539">
                  <c:v>23.95</c:v>
                </c:pt>
                <c:pt idx="540">
                  <c:v>23.65</c:v>
                </c:pt>
                <c:pt idx="541">
                  <c:v>25.92</c:v>
                </c:pt>
                <c:pt idx="542">
                  <c:v>24.78</c:v>
                </c:pt>
                <c:pt idx="543">
                  <c:v>25.78</c:v>
                </c:pt>
                <c:pt idx="544">
                  <c:v>23.15</c:v>
                </c:pt>
                <c:pt idx="545">
                  <c:v>25.23</c:v>
                </c:pt>
                <c:pt idx="546">
                  <c:v>25.59</c:v>
                </c:pt>
                <c:pt idx="547">
                  <c:v>27.49</c:v>
                </c:pt>
                <c:pt idx="548">
                  <c:v>28.48</c:v>
                </c:pt>
                <c:pt idx="549">
                  <c:v>28.54</c:v>
                </c:pt>
                <c:pt idx="550">
                  <c:v>25.1</c:v>
                </c:pt>
                <c:pt idx="551">
                  <c:v>25.01</c:v>
                </c:pt>
                <c:pt idx="552">
                  <c:v>24.05</c:v>
                </c:pt>
                <c:pt idx="553">
                  <c:v>23.05</c:v>
                </c:pt>
                <c:pt idx="554">
                  <c:v>21.18</c:v>
                </c:pt>
                <c:pt idx="555">
                  <c:v>21.31</c:v>
                </c:pt>
                <c:pt idx="556">
                  <c:v>23.44</c:v>
                </c:pt>
                <c:pt idx="557">
                  <c:v>22.91</c:v>
                </c:pt>
                <c:pt idx="558">
                  <c:v>24.23</c:v>
                </c:pt>
                <c:pt idx="559">
                  <c:v>22.03</c:v>
                </c:pt>
                <c:pt idx="560">
                  <c:v>21.21</c:v>
                </c:pt>
                <c:pt idx="561">
                  <c:v>22.94</c:v>
                </c:pt>
                <c:pt idx="562">
                  <c:v>22.57</c:v>
                </c:pt>
                <c:pt idx="563">
                  <c:v>23.49</c:v>
                </c:pt>
                <c:pt idx="564">
                  <c:v>21.14</c:v>
                </c:pt>
                <c:pt idx="565">
                  <c:v>20.23</c:v>
                </c:pt>
                <c:pt idx="566">
                  <c:v>21.15</c:v>
                </c:pt>
                <c:pt idx="567">
                  <c:v>20.66</c:v>
                </c:pt>
                <c:pt idx="568">
                  <c:v>20.12</c:v>
                </c:pt>
                <c:pt idx="569">
                  <c:v>21.17</c:v>
                </c:pt>
                <c:pt idx="570">
                  <c:v>21.55</c:v>
                </c:pt>
                <c:pt idx="571">
                  <c:v>20.34</c:v>
                </c:pt>
                <c:pt idx="572">
                  <c:v>19.579999999999998</c:v>
                </c:pt>
                <c:pt idx="573">
                  <c:v>20.98</c:v>
                </c:pt>
                <c:pt idx="574">
                  <c:v>21.28</c:v>
                </c:pt>
                <c:pt idx="575">
                  <c:v>20.420000000000002</c:v>
                </c:pt>
                <c:pt idx="576">
                  <c:v>19.82</c:v>
                </c:pt>
                <c:pt idx="577">
                  <c:v>18.809999999999999</c:v>
                </c:pt>
                <c:pt idx="578">
                  <c:v>20.97</c:v>
                </c:pt>
                <c:pt idx="579">
                  <c:v>20.49</c:v>
                </c:pt>
                <c:pt idx="580">
                  <c:v>19.760000000000002</c:v>
                </c:pt>
                <c:pt idx="581">
                  <c:v>19.43</c:v>
                </c:pt>
                <c:pt idx="582">
                  <c:v>20.65</c:v>
                </c:pt>
                <c:pt idx="583">
                  <c:v>21.99</c:v>
                </c:pt>
                <c:pt idx="584">
                  <c:v>21.43</c:v>
                </c:pt>
                <c:pt idx="585">
                  <c:v>24.03</c:v>
                </c:pt>
                <c:pt idx="586">
                  <c:v>23.06</c:v>
                </c:pt>
                <c:pt idx="587">
                  <c:v>22.64</c:v>
                </c:pt>
                <c:pt idx="588">
                  <c:v>25.47</c:v>
                </c:pt>
                <c:pt idx="589">
                  <c:v>24.52</c:v>
                </c:pt>
                <c:pt idx="590">
                  <c:v>24.39</c:v>
                </c:pt>
                <c:pt idx="591">
                  <c:v>25.66</c:v>
                </c:pt>
                <c:pt idx="592">
                  <c:v>31.7</c:v>
                </c:pt>
                <c:pt idx="593">
                  <c:v>30.3</c:v>
                </c:pt>
                <c:pt idx="594">
                  <c:v>36.22</c:v>
                </c:pt>
                <c:pt idx="595">
                  <c:v>33.1</c:v>
                </c:pt>
                <c:pt idx="596">
                  <c:v>32.07</c:v>
                </c:pt>
                <c:pt idx="597">
                  <c:v>33.85</c:v>
                </c:pt>
                <c:pt idx="598">
                  <c:v>35.72</c:v>
                </c:pt>
                <c:pt idx="599">
                  <c:v>35.19</c:v>
                </c:pt>
                <c:pt idx="600">
                  <c:v>32.82</c:v>
                </c:pt>
                <c:pt idx="601">
                  <c:v>34.74</c:v>
                </c:pt>
                <c:pt idx="602">
                  <c:v>46.72</c:v>
                </c:pt>
                <c:pt idx="603">
                  <c:v>39.39</c:v>
                </c:pt>
                <c:pt idx="604">
                  <c:v>39.81</c:v>
                </c:pt>
                <c:pt idx="605">
                  <c:v>45.26</c:v>
                </c:pt>
                <c:pt idx="606">
                  <c:v>45.14</c:v>
                </c:pt>
                <c:pt idx="607">
                  <c:v>52.05</c:v>
                </c:pt>
                <c:pt idx="608">
                  <c:v>53.68</c:v>
                </c:pt>
                <c:pt idx="609">
                  <c:v>57.53</c:v>
                </c:pt>
                <c:pt idx="610">
                  <c:v>63.92</c:v>
                </c:pt>
                <c:pt idx="611">
                  <c:v>69.95</c:v>
                </c:pt>
                <c:pt idx="612">
                  <c:v>54.99</c:v>
                </c:pt>
                <c:pt idx="613">
                  <c:v>55.13</c:v>
                </c:pt>
                <c:pt idx="614">
                  <c:v>69.25</c:v>
                </c:pt>
                <c:pt idx="615">
                  <c:v>67.61</c:v>
                </c:pt>
                <c:pt idx="616">
                  <c:v>70.33</c:v>
                </c:pt>
                <c:pt idx="617">
                  <c:v>52.97</c:v>
                </c:pt>
                <c:pt idx="618">
                  <c:v>53.11</c:v>
                </c:pt>
                <c:pt idx="619">
                  <c:v>69.650000000000006</c:v>
                </c:pt>
                <c:pt idx="620">
                  <c:v>67.8</c:v>
                </c:pt>
                <c:pt idx="621">
                  <c:v>79.13</c:v>
                </c:pt>
                <c:pt idx="622">
                  <c:v>80.06</c:v>
                </c:pt>
                <c:pt idx="623">
                  <c:v>66.959999999999994</c:v>
                </c:pt>
                <c:pt idx="624">
                  <c:v>69.959999999999994</c:v>
                </c:pt>
                <c:pt idx="625">
                  <c:v>62.9</c:v>
                </c:pt>
                <c:pt idx="626">
                  <c:v>59.89</c:v>
                </c:pt>
                <c:pt idx="627">
                  <c:v>53.68</c:v>
                </c:pt>
                <c:pt idx="628">
                  <c:v>47.73</c:v>
                </c:pt>
                <c:pt idx="629">
                  <c:v>54.56</c:v>
                </c:pt>
                <c:pt idx="630">
                  <c:v>63.68</c:v>
                </c:pt>
                <c:pt idx="631">
                  <c:v>56.1</c:v>
                </c:pt>
                <c:pt idx="632">
                  <c:v>59.98</c:v>
                </c:pt>
                <c:pt idx="633">
                  <c:v>61.44</c:v>
                </c:pt>
                <c:pt idx="634">
                  <c:v>66.459999999999994</c:v>
                </c:pt>
                <c:pt idx="635">
                  <c:v>59.83</c:v>
                </c:pt>
                <c:pt idx="636">
                  <c:v>66.31</c:v>
                </c:pt>
                <c:pt idx="637">
                  <c:v>69.150000000000006</c:v>
                </c:pt>
                <c:pt idx="638">
                  <c:v>67.64</c:v>
                </c:pt>
                <c:pt idx="639">
                  <c:v>74.260000000000005</c:v>
                </c:pt>
                <c:pt idx="640">
                  <c:v>80.86</c:v>
                </c:pt>
                <c:pt idx="641">
                  <c:v>72.67</c:v>
                </c:pt>
                <c:pt idx="642">
                  <c:v>64.7</c:v>
                </c:pt>
                <c:pt idx="643">
                  <c:v>60.9</c:v>
                </c:pt>
                <c:pt idx="644">
                  <c:v>54.92</c:v>
                </c:pt>
                <c:pt idx="645">
                  <c:v>55.28</c:v>
                </c:pt>
                <c:pt idx="646">
                  <c:v>68.510000000000005</c:v>
                </c:pt>
                <c:pt idx="647">
                  <c:v>62.98</c:v>
                </c:pt>
                <c:pt idx="648">
                  <c:v>60.72</c:v>
                </c:pt>
                <c:pt idx="649">
                  <c:v>63.64</c:v>
                </c:pt>
                <c:pt idx="650">
                  <c:v>59.93</c:v>
                </c:pt>
                <c:pt idx="651">
                  <c:v>58.49</c:v>
                </c:pt>
                <c:pt idx="652">
                  <c:v>58.91</c:v>
                </c:pt>
                <c:pt idx="653">
                  <c:v>55.73</c:v>
                </c:pt>
                <c:pt idx="654">
                  <c:v>55.78</c:v>
                </c:pt>
                <c:pt idx="655">
                  <c:v>54.28</c:v>
                </c:pt>
                <c:pt idx="656">
                  <c:v>56.76</c:v>
                </c:pt>
                <c:pt idx="657">
                  <c:v>52.37</c:v>
                </c:pt>
                <c:pt idx="658">
                  <c:v>49.84</c:v>
                </c:pt>
                <c:pt idx="659">
                  <c:v>47.34</c:v>
                </c:pt>
                <c:pt idx="660">
                  <c:v>44.93</c:v>
                </c:pt>
                <c:pt idx="661">
                  <c:v>44.56</c:v>
                </c:pt>
                <c:pt idx="662">
                  <c:v>45.02</c:v>
                </c:pt>
                <c:pt idx="663">
                  <c:v>44.21</c:v>
                </c:pt>
                <c:pt idx="664">
                  <c:v>43.38</c:v>
                </c:pt>
                <c:pt idx="665">
                  <c:v>43.9</c:v>
                </c:pt>
                <c:pt idx="666">
                  <c:v>41.63</c:v>
                </c:pt>
                <c:pt idx="667">
                  <c:v>40</c:v>
                </c:pt>
                <c:pt idx="668">
                  <c:v>39.19</c:v>
                </c:pt>
                <c:pt idx="669">
                  <c:v>39.08</c:v>
                </c:pt>
                <c:pt idx="670">
                  <c:v>38.56</c:v>
                </c:pt>
                <c:pt idx="671">
                  <c:v>43.39</c:v>
                </c:pt>
                <c:pt idx="672">
                  <c:v>42.56</c:v>
                </c:pt>
                <c:pt idx="673">
                  <c:v>42.82</c:v>
                </c:pt>
                <c:pt idx="674">
                  <c:v>45.84</c:v>
                </c:pt>
                <c:pt idx="675">
                  <c:v>43.27</c:v>
                </c:pt>
                <c:pt idx="676">
                  <c:v>49.14</c:v>
                </c:pt>
                <c:pt idx="677">
                  <c:v>51</c:v>
                </c:pt>
                <c:pt idx="678">
                  <c:v>46.11</c:v>
                </c:pt>
                <c:pt idx="679">
                  <c:v>56.65</c:v>
                </c:pt>
                <c:pt idx="680">
                  <c:v>46.42</c:v>
                </c:pt>
                <c:pt idx="681">
                  <c:v>47.29</c:v>
                </c:pt>
                <c:pt idx="682">
                  <c:v>47.27</c:v>
                </c:pt>
                <c:pt idx="683">
                  <c:v>45.69</c:v>
                </c:pt>
                <c:pt idx="684">
                  <c:v>42.25</c:v>
                </c:pt>
                <c:pt idx="685">
                  <c:v>39.659999999999997</c:v>
                </c:pt>
                <c:pt idx="686">
                  <c:v>42.63</c:v>
                </c:pt>
                <c:pt idx="687">
                  <c:v>44.84</c:v>
                </c:pt>
                <c:pt idx="688">
                  <c:v>45.52</c:v>
                </c:pt>
                <c:pt idx="689">
                  <c:v>43.06</c:v>
                </c:pt>
                <c:pt idx="690">
                  <c:v>43.85</c:v>
                </c:pt>
                <c:pt idx="691">
                  <c:v>43.73</c:v>
                </c:pt>
                <c:pt idx="692">
                  <c:v>43.37</c:v>
                </c:pt>
                <c:pt idx="693">
                  <c:v>43.64</c:v>
                </c:pt>
                <c:pt idx="694">
                  <c:v>46.67</c:v>
                </c:pt>
                <c:pt idx="695">
                  <c:v>44.53</c:v>
                </c:pt>
                <c:pt idx="696">
                  <c:v>41.25</c:v>
                </c:pt>
                <c:pt idx="697">
                  <c:v>42.93</c:v>
                </c:pt>
                <c:pt idx="698">
                  <c:v>48.66</c:v>
                </c:pt>
                <c:pt idx="699">
                  <c:v>48.46</c:v>
                </c:pt>
                <c:pt idx="700">
                  <c:v>47.08</c:v>
                </c:pt>
                <c:pt idx="701">
                  <c:v>49.3</c:v>
                </c:pt>
                <c:pt idx="702">
                  <c:v>52.62</c:v>
                </c:pt>
                <c:pt idx="703">
                  <c:v>45.49</c:v>
                </c:pt>
                <c:pt idx="704">
                  <c:v>44.67</c:v>
                </c:pt>
                <c:pt idx="705">
                  <c:v>44.66</c:v>
                </c:pt>
                <c:pt idx="706">
                  <c:v>46.35</c:v>
                </c:pt>
                <c:pt idx="707">
                  <c:v>52.65</c:v>
                </c:pt>
                <c:pt idx="708">
                  <c:v>50.93</c:v>
                </c:pt>
                <c:pt idx="709">
                  <c:v>47.56</c:v>
                </c:pt>
                <c:pt idx="710">
                  <c:v>50.17</c:v>
                </c:pt>
                <c:pt idx="711">
                  <c:v>49.33</c:v>
                </c:pt>
                <c:pt idx="712">
                  <c:v>49.68</c:v>
                </c:pt>
                <c:pt idx="713">
                  <c:v>44.37</c:v>
                </c:pt>
                <c:pt idx="714">
                  <c:v>43.61</c:v>
                </c:pt>
                <c:pt idx="715">
                  <c:v>41.18</c:v>
                </c:pt>
                <c:pt idx="716">
                  <c:v>42.36</c:v>
                </c:pt>
                <c:pt idx="717">
                  <c:v>43.74</c:v>
                </c:pt>
                <c:pt idx="718">
                  <c:v>40.799999999999997</c:v>
                </c:pt>
                <c:pt idx="719">
                  <c:v>40.06</c:v>
                </c:pt>
                <c:pt idx="720">
                  <c:v>43.68</c:v>
                </c:pt>
                <c:pt idx="721">
                  <c:v>45.89</c:v>
                </c:pt>
                <c:pt idx="722">
                  <c:v>43.23</c:v>
                </c:pt>
                <c:pt idx="723">
                  <c:v>42.93</c:v>
                </c:pt>
                <c:pt idx="724">
                  <c:v>42.25</c:v>
                </c:pt>
                <c:pt idx="725">
                  <c:v>40.36</c:v>
                </c:pt>
                <c:pt idx="726">
                  <c:v>41.04</c:v>
                </c:pt>
                <c:pt idx="727">
                  <c:v>45.54</c:v>
                </c:pt>
                <c:pt idx="728">
                  <c:v>44.14</c:v>
                </c:pt>
                <c:pt idx="729">
                  <c:v>42.28</c:v>
                </c:pt>
                <c:pt idx="730">
                  <c:v>42.04</c:v>
                </c:pt>
                <c:pt idx="731">
                  <c:v>39.700000000000003</c:v>
                </c:pt>
                <c:pt idx="732">
                  <c:v>40.93</c:v>
                </c:pt>
                <c:pt idx="733">
                  <c:v>40.39</c:v>
                </c:pt>
                <c:pt idx="734">
                  <c:v>38.85</c:v>
                </c:pt>
                <c:pt idx="735">
                  <c:v>36.53</c:v>
                </c:pt>
                <c:pt idx="736">
                  <c:v>37.81</c:v>
                </c:pt>
                <c:pt idx="737">
                  <c:v>37.67</c:v>
                </c:pt>
                <c:pt idx="738">
                  <c:v>36.17</c:v>
                </c:pt>
                <c:pt idx="739">
                  <c:v>35.79</c:v>
                </c:pt>
                <c:pt idx="740">
                  <c:v>33.94</c:v>
                </c:pt>
                <c:pt idx="741">
                  <c:v>39.18</c:v>
                </c:pt>
                <c:pt idx="742">
                  <c:v>37.14</c:v>
                </c:pt>
                <c:pt idx="743">
                  <c:v>38.1</c:v>
                </c:pt>
                <c:pt idx="744">
                  <c:v>37.15</c:v>
                </c:pt>
                <c:pt idx="745">
                  <c:v>36.82</c:v>
                </c:pt>
                <c:pt idx="746">
                  <c:v>38.32</c:v>
                </c:pt>
                <c:pt idx="747">
                  <c:v>37.950000000000003</c:v>
                </c:pt>
                <c:pt idx="748">
                  <c:v>36.08</c:v>
                </c:pt>
                <c:pt idx="749">
                  <c:v>36.5</c:v>
                </c:pt>
                <c:pt idx="750">
                  <c:v>35.299999999999997</c:v>
                </c:pt>
                <c:pt idx="751">
                  <c:v>34.53</c:v>
                </c:pt>
                <c:pt idx="752">
                  <c:v>33.36</c:v>
                </c:pt>
                <c:pt idx="753">
                  <c:v>32.450000000000003</c:v>
                </c:pt>
                <c:pt idx="754">
                  <c:v>33.44</c:v>
                </c:pt>
                <c:pt idx="755">
                  <c:v>32.049999999999997</c:v>
                </c:pt>
                <c:pt idx="756">
                  <c:v>32.869999999999997</c:v>
                </c:pt>
                <c:pt idx="757">
                  <c:v>31.8</c:v>
                </c:pt>
                <c:pt idx="758">
                  <c:v>33.65</c:v>
                </c:pt>
                <c:pt idx="759">
                  <c:v>31.37</c:v>
                </c:pt>
                <c:pt idx="760">
                  <c:v>33.119999999999997</c:v>
                </c:pt>
                <c:pt idx="761">
                  <c:v>30.24</c:v>
                </c:pt>
                <c:pt idx="762">
                  <c:v>28.8</c:v>
                </c:pt>
                <c:pt idx="763">
                  <c:v>29.03</c:v>
                </c:pt>
                <c:pt idx="764">
                  <c:v>31.35</c:v>
                </c:pt>
                <c:pt idx="765">
                  <c:v>32.630000000000003</c:v>
                </c:pt>
                <c:pt idx="766">
                  <c:v>30.62</c:v>
                </c:pt>
                <c:pt idx="767">
                  <c:v>32.36</c:v>
                </c:pt>
                <c:pt idx="768">
                  <c:v>31.67</c:v>
                </c:pt>
                <c:pt idx="769">
                  <c:v>28.92</c:v>
                </c:pt>
                <c:pt idx="770">
                  <c:v>30.04</c:v>
                </c:pt>
                <c:pt idx="771">
                  <c:v>29.63</c:v>
                </c:pt>
                <c:pt idx="772">
                  <c:v>31.02</c:v>
                </c:pt>
                <c:pt idx="773">
                  <c:v>30.18</c:v>
                </c:pt>
                <c:pt idx="774">
                  <c:v>29.62</c:v>
                </c:pt>
                <c:pt idx="775">
                  <c:v>29.77</c:v>
                </c:pt>
                <c:pt idx="776">
                  <c:v>28.27</c:v>
                </c:pt>
                <c:pt idx="777">
                  <c:v>28.46</c:v>
                </c:pt>
                <c:pt idx="778">
                  <c:v>28.11</c:v>
                </c:pt>
                <c:pt idx="779">
                  <c:v>28.15</c:v>
                </c:pt>
                <c:pt idx="780">
                  <c:v>30.81</c:v>
                </c:pt>
                <c:pt idx="781">
                  <c:v>32.68</c:v>
                </c:pt>
                <c:pt idx="782">
                  <c:v>31.54</c:v>
                </c:pt>
                <c:pt idx="783">
                  <c:v>30.03</c:v>
                </c:pt>
                <c:pt idx="784">
                  <c:v>27.99</c:v>
                </c:pt>
                <c:pt idx="785">
                  <c:v>31.17</c:v>
                </c:pt>
                <c:pt idx="786">
                  <c:v>30.58</c:v>
                </c:pt>
                <c:pt idx="787">
                  <c:v>29.05</c:v>
                </c:pt>
                <c:pt idx="788">
                  <c:v>26.36</c:v>
                </c:pt>
                <c:pt idx="789">
                  <c:v>25.93</c:v>
                </c:pt>
                <c:pt idx="790">
                  <c:v>25.35</c:v>
                </c:pt>
                <c:pt idx="791">
                  <c:v>26.35</c:v>
                </c:pt>
                <c:pt idx="792">
                  <c:v>26.22</c:v>
                </c:pt>
                <c:pt idx="793">
                  <c:v>27.95</c:v>
                </c:pt>
                <c:pt idx="794">
                  <c:v>29</c:v>
                </c:pt>
                <c:pt idx="795">
                  <c:v>30.85</c:v>
                </c:pt>
                <c:pt idx="796">
                  <c:v>31.3</c:v>
                </c:pt>
                <c:pt idx="797">
                  <c:v>29.78</c:v>
                </c:pt>
                <c:pt idx="798">
                  <c:v>29.02</c:v>
                </c:pt>
                <c:pt idx="799">
                  <c:v>26.31</c:v>
                </c:pt>
                <c:pt idx="800">
                  <c:v>25.02</c:v>
                </c:pt>
                <c:pt idx="801">
                  <c:v>25.89</c:v>
                </c:pt>
                <c:pt idx="802">
                  <c:v>25.42</c:v>
                </c:pt>
                <c:pt idx="803">
                  <c:v>24.34</c:v>
                </c:pt>
                <c:pt idx="804">
                  <c:v>24.4</c:v>
                </c:pt>
                <c:pt idx="805">
                  <c:v>23.87</c:v>
                </c:pt>
                <c:pt idx="806">
                  <c:v>23.47</c:v>
                </c:pt>
                <c:pt idx="807">
                  <c:v>23.43</c:v>
                </c:pt>
                <c:pt idx="808">
                  <c:v>23.09</c:v>
                </c:pt>
                <c:pt idx="809">
                  <c:v>24.28</c:v>
                </c:pt>
                <c:pt idx="810">
                  <c:v>25.01</c:v>
                </c:pt>
                <c:pt idx="811">
                  <c:v>25.61</c:v>
                </c:pt>
                <c:pt idx="812">
                  <c:v>25.4</c:v>
                </c:pt>
                <c:pt idx="813">
                  <c:v>25.92</c:v>
                </c:pt>
                <c:pt idx="814">
                  <c:v>25.56</c:v>
                </c:pt>
                <c:pt idx="815">
                  <c:v>24.89</c:v>
                </c:pt>
                <c:pt idx="816">
                  <c:v>24.9</c:v>
                </c:pt>
                <c:pt idx="817">
                  <c:v>25.67</c:v>
                </c:pt>
                <c:pt idx="818">
                  <c:v>24.76</c:v>
                </c:pt>
                <c:pt idx="819">
                  <c:v>24.99</c:v>
                </c:pt>
                <c:pt idx="820">
                  <c:v>25.99</c:v>
                </c:pt>
                <c:pt idx="821">
                  <c:v>25.45</c:v>
                </c:pt>
                <c:pt idx="822">
                  <c:v>24.71</c:v>
                </c:pt>
                <c:pt idx="823">
                  <c:v>24.27</c:v>
                </c:pt>
                <c:pt idx="824">
                  <c:v>27.89</c:v>
                </c:pt>
                <c:pt idx="825">
                  <c:v>26.18</c:v>
                </c:pt>
                <c:pt idx="826">
                  <c:v>26.26</c:v>
                </c:pt>
                <c:pt idx="827">
                  <c:v>25.09</c:v>
                </c:pt>
                <c:pt idx="828">
                  <c:v>25.01</c:v>
                </c:pt>
                <c:pt idx="829">
                  <c:v>25.14</c:v>
                </c:pt>
                <c:pt idx="830">
                  <c:v>24.92</c:v>
                </c:pt>
                <c:pt idx="831">
                  <c:v>24.95</c:v>
                </c:pt>
                <c:pt idx="832">
                  <c:v>24.68</c:v>
                </c:pt>
                <c:pt idx="833">
                  <c:v>24.76</c:v>
                </c:pt>
                <c:pt idx="834">
                  <c:v>26.01</c:v>
                </c:pt>
                <c:pt idx="835">
                  <c:v>29.15</c:v>
                </c:pt>
                <c:pt idx="836">
                  <c:v>28.9</c:v>
                </c:pt>
                <c:pt idx="837">
                  <c:v>27.1</c:v>
                </c:pt>
                <c:pt idx="838">
                  <c:v>25.26</c:v>
                </c:pt>
                <c:pt idx="839">
                  <c:v>25.62</c:v>
                </c:pt>
                <c:pt idx="840">
                  <c:v>24.32</c:v>
                </c:pt>
                <c:pt idx="841">
                  <c:v>23.55</c:v>
                </c:pt>
                <c:pt idx="842">
                  <c:v>24.15</c:v>
                </c:pt>
                <c:pt idx="843">
                  <c:v>23.86</c:v>
                </c:pt>
                <c:pt idx="844">
                  <c:v>23.42</c:v>
                </c:pt>
                <c:pt idx="845">
                  <c:v>23.69</c:v>
                </c:pt>
                <c:pt idx="846">
                  <c:v>23.65</c:v>
                </c:pt>
                <c:pt idx="847">
                  <c:v>23.92</c:v>
                </c:pt>
                <c:pt idx="848">
                  <c:v>24.06</c:v>
                </c:pt>
                <c:pt idx="849">
                  <c:v>23.08</c:v>
                </c:pt>
                <c:pt idx="850">
                  <c:v>23.49</c:v>
                </c:pt>
                <c:pt idx="851">
                  <c:v>24.95</c:v>
                </c:pt>
                <c:pt idx="852">
                  <c:v>25.61</c:v>
                </c:pt>
                <c:pt idx="853">
                  <c:v>24.88</c:v>
                </c:pt>
                <c:pt idx="854">
                  <c:v>25.19</c:v>
                </c:pt>
                <c:pt idx="855">
                  <c:v>25.61</c:v>
                </c:pt>
                <c:pt idx="856">
                  <c:v>28.27</c:v>
                </c:pt>
                <c:pt idx="857">
                  <c:v>28.68</c:v>
                </c:pt>
                <c:pt idx="858">
                  <c:v>26.84</c:v>
                </c:pt>
                <c:pt idx="859">
                  <c:v>25.7</c:v>
                </c:pt>
                <c:pt idx="860">
                  <c:v>24.68</c:v>
                </c:pt>
                <c:pt idx="861">
                  <c:v>24.18</c:v>
                </c:pt>
                <c:pt idx="862">
                  <c:v>23.12</c:v>
                </c:pt>
                <c:pt idx="863">
                  <c:v>23.01</c:v>
                </c:pt>
                <c:pt idx="864">
                  <c:v>22.99</c:v>
                </c:pt>
                <c:pt idx="865">
                  <c:v>22.86</c:v>
                </c:pt>
                <c:pt idx="866">
                  <c:v>21.72</c:v>
                </c:pt>
                <c:pt idx="867">
                  <c:v>21.43</c:v>
                </c:pt>
                <c:pt idx="868">
                  <c:v>21.49</c:v>
                </c:pt>
                <c:pt idx="869">
                  <c:v>20.9</c:v>
                </c:pt>
                <c:pt idx="870">
                  <c:v>22.22</c:v>
                </c:pt>
                <c:pt idx="871">
                  <c:v>20.69</c:v>
                </c:pt>
                <c:pt idx="872">
                  <c:v>22.27</c:v>
                </c:pt>
                <c:pt idx="873">
                  <c:v>24.31</c:v>
                </c:pt>
                <c:pt idx="874">
                  <c:v>24.83</c:v>
                </c:pt>
                <c:pt idx="875">
                  <c:v>27.91</c:v>
                </c:pt>
                <c:pt idx="876">
                  <c:v>24.76</c:v>
                </c:pt>
                <c:pt idx="877">
                  <c:v>30.69</c:v>
                </c:pt>
                <c:pt idx="878">
                  <c:v>29.78</c:v>
                </c:pt>
                <c:pt idx="879">
                  <c:v>28.81</c:v>
                </c:pt>
                <c:pt idx="880">
                  <c:v>27.72</c:v>
                </c:pt>
                <c:pt idx="881">
                  <c:v>25.43</c:v>
                </c:pt>
                <c:pt idx="882">
                  <c:v>24.19</c:v>
                </c:pt>
                <c:pt idx="883">
                  <c:v>23.15</c:v>
                </c:pt>
                <c:pt idx="884">
                  <c:v>22.84</c:v>
                </c:pt>
                <c:pt idx="885">
                  <c:v>23.04</c:v>
                </c:pt>
                <c:pt idx="886">
                  <c:v>24.24</c:v>
                </c:pt>
                <c:pt idx="887">
                  <c:v>23.36</c:v>
                </c:pt>
                <c:pt idx="888">
                  <c:v>22.89</c:v>
                </c:pt>
                <c:pt idx="889">
                  <c:v>22.41</c:v>
                </c:pt>
                <c:pt idx="890">
                  <c:v>21.63</c:v>
                </c:pt>
                <c:pt idx="891">
                  <c:v>22.63</c:v>
                </c:pt>
                <c:pt idx="892">
                  <c:v>22.19</c:v>
                </c:pt>
                <c:pt idx="893">
                  <c:v>21.16</c:v>
                </c:pt>
                <c:pt idx="894">
                  <c:v>20.47</c:v>
                </c:pt>
                <c:pt idx="895">
                  <c:v>20.48</c:v>
                </c:pt>
                <c:pt idx="896">
                  <c:v>24.74</c:v>
                </c:pt>
                <c:pt idx="897">
                  <c:v>24.51</c:v>
                </c:pt>
                <c:pt idx="898">
                  <c:v>21.92</c:v>
                </c:pt>
                <c:pt idx="899">
                  <c:v>21.12</c:v>
                </c:pt>
                <c:pt idx="900">
                  <c:v>22.46</c:v>
                </c:pt>
                <c:pt idx="901">
                  <c:v>21.25</c:v>
                </c:pt>
                <c:pt idx="902">
                  <c:v>22.1</c:v>
                </c:pt>
                <c:pt idx="903">
                  <c:v>23.69</c:v>
                </c:pt>
                <c:pt idx="904">
                  <c:v>22.66</c:v>
                </c:pt>
                <c:pt idx="905">
                  <c:v>22.32</c:v>
                </c:pt>
                <c:pt idx="906">
                  <c:v>21.59</c:v>
                </c:pt>
                <c:pt idx="907">
                  <c:v>21.15</c:v>
                </c:pt>
                <c:pt idx="908">
                  <c:v>21.49</c:v>
                </c:pt>
                <c:pt idx="909">
                  <c:v>20.54</c:v>
                </c:pt>
                <c:pt idx="910">
                  <c:v>22.51</c:v>
                </c:pt>
                <c:pt idx="911">
                  <c:v>21.68</c:v>
                </c:pt>
                <c:pt idx="912">
                  <c:v>20.49</c:v>
                </c:pt>
                <c:pt idx="913">
                  <c:v>19.54</c:v>
                </c:pt>
                <c:pt idx="914">
                  <c:v>19.71</c:v>
                </c:pt>
                <c:pt idx="915">
                  <c:v>19.47</c:v>
                </c:pt>
                <c:pt idx="916">
                  <c:v>19.93</c:v>
                </c:pt>
                <c:pt idx="917">
                  <c:v>20.010000000000002</c:v>
                </c:pt>
                <c:pt idx="918">
                  <c:v>19.96</c:v>
                </c:pt>
                <c:pt idx="919">
                  <c:v>21.68</c:v>
                </c:pt>
                <c:pt idx="920">
                  <c:v>20.04</c:v>
                </c:pt>
                <c:pt idx="921">
                  <c:v>19.350000000000001</c:v>
                </c:pt>
                <c:pt idx="922">
                  <c:v>19.16</c:v>
                </c:pt>
                <c:pt idx="923">
                  <c:v>19.059999999999999</c:v>
                </c:pt>
                <c:pt idx="924">
                  <c:v>18.13</c:v>
                </c:pt>
                <c:pt idx="925">
                  <c:v>17.55</c:v>
                </c:pt>
                <c:pt idx="926">
                  <c:v>18.25</c:v>
                </c:pt>
                <c:pt idx="927">
                  <c:v>17.850000000000001</c:v>
                </c:pt>
                <c:pt idx="928">
                  <c:v>17.63</c:v>
                </c:pt>
                <c:pt idx="929">
                  <c:v>17.91</c:v>
                </c:pt>
                <c:pt idx="930">
                  <c:v>17.579999999999998</c:v>
                </c:pt>
                <c:pt idx="931">
                  <c:v>18.68</c:v>
                </c:pt>
                <c:pt idx="932">
                  <c:v>22.27</c:v>
                </c:pt>
                <c:pt idx="933">
                  <c:v>27.31</c:v>
                </c:pt>
                <c:pt idx="934">
                  <c:v>25.41</c:v>
                </c:pt>
                <c:pt idx="935">
                  <c:v>24.55</c:v>
                </c:pt>
                <c:pt idx="936">
                  <c:v>23.14</c:v>
                </c:pt>
                <c:pt idx="937">
                  <c:v>23.73</c:v>
                </c:pt>
                <c:pt idx="938">
                  <c:v>24.62</c:v>
                </c:pt>
                <c:pt idx="939">
                  <c:v>22.59</c:v>
                </c:pt>
                <c:pt idx="940">
                  <c:v>21.48</c:v>
                </c:pt>
                <c:pt idx="941">
                  <c:v>21.6</c:v>
                </c:pt>
                <c:pt idx="942">
                  <c:v>26.08</c:v>
                </c:pt>
                <c:pt idx="943">
                  <c:v>26.11</c:v>
                </c:pt>
                <c:pt idx="944">
                  <c:v>26.51</c:v>
                </c:pt>
                <c:pt idx="945">
                  <c:v>26</c:v>
                </c:pt>
                <c:pt idx="946">
                  <c:v>25.4</c:v>
                </c:pt>
                <c:pt idx="947">
                  <c:v>23.96</c:v>
                </c:pt>
                <c:pt idx="948">
                  <c:v>22.73</c:v>
                </c:pt>
                <c:pt idx="949">
                  <c:v>22.25</c:v>
                </c:pt>
                <c:pt idx="950">
                  <c:v>21.72</c:v>
                </c:pt>
                <c:pt idx="951">
                  <c:v>20.63</c:v>
                </c:pt>
                <c:pt idx="952">
                  <c:v>20.02</c:v>
                </c:pt>
                <c:pt idx="953">
                  <c:v>19.940000000000001</c:v>
                </c:pt>
                <c:pt idx="954">
                  <c:v>21.37</c:v>
                </c:pt>
                <c:pt idx="955">
                  <c:v>20.27</c:v>
                </c:pt>
                <c:pt idx="956">
                  <c:v>20.100000000000001</c:v>
                </c:pt>
                <c:pt idx="957">
                  <c:v>19.5</c:v>
                </c:pt>
                <c:pt idx="958">
                  <c:v>19.260000000000002</c:v>
                </c:pt>
                <c:pt idx="959">
                  <c:v>19.059999999999999</c:v>
                </c:pt>
                <c:pt idx="960">
                  <c:v>18.829999999999998</c:v>
                </c:pt>
                <c:pt idx="961">
                  <c:v>18.72</c:v>
                </c:pt>
                <c:pt idx="962">
                  <c:v>17.420000000000002</c:v>
                </c:pt>
                <c:pt idx="963">
                  <c:v>17.79</c:v>
                </c:pt>
                <c:pt idx="964">
                  <c:v>17.920000000000002</c:v>
                </c:pt>
                <c:pt idx="965">
                  <c:v>18.57</c:v>
                </c:pt>
                <c:pt idx="966">
                  <c:v>18.059999999999999</c:v>
                </c:pt>
                <c:pt idx="967">
                  <c:v>17.579999999999998</c:v>
                </c:pt>
                <c:pt idx="968">
                  <c:v>18</c:v>
                </c:pt>
                <c:pt idx="969">
                  <c:v>17.690000000000001</c:v>
                </c:pt>
                <c:pt idx="970">
                  <c:v>16.91</c:v>
                </c:pt>
                <c:pt idx="971">
                  <c:v>16.62</c:v>
                </c:pt>
                <c:pt idx="972">
                  <c:v>16.97</c:v>
                </c:pt>
                <c:pt idx="973">
                  <c:v>16.87</c:v>
                </c:pt>
                <c:pt idx="974">
                  <c:v>16.350000000000001</c:v>
                </c:pt>
                <c:pt idx="975">
                  <c:v>17.55</c:v>
                </c:pt>
                <c:pt idx="976">
                  <c:v>18.399999999999999</c:v>
                </c:pt>
                <c:pt idx="977">
                  <c:v>17.77</c:v>
                </c:pt>
                <c:pt idx="978">
                  <c:v>17.59</c:v>
                </c:pt>
                <c:pt idx="979">
                  <c:v>17.13</c:v>
                </c:pt>
                <c:pt idx="980">
                  <c:v>17.59</c:v>
                </c:pt>
                <c:pt idx="981">
                  <c:v>17.47</c:v>
                </c:pt>
                <c:pt idx="982">
                  <c:v>17.02</c:v>
                </c:pt>
                <c:pt idx="983">
                  <c:v>16.23</c:v>
                </c:pt>
                <c:pt idx="984">
                  <c:v>16.62</c:v>
                </c:pt>
                <c:pt idx="985">
                  <c:v>16.48</c:v>
                </c:pt>
                <c:pt idx="986">
                  <c:v>16.14</c:v>
                </c:pt>
                <c:pt idx="987">
                  <c:v>15.58</c:v>
                </c:pt>
                <c:pt idx="988">
                  <c:v>16.2</c:v>
                </c:pt>
                <c:pt idx="989">
                  <c:v>15.59</c:v>
                </c:pt>
                <c:pt idx="990">
                  <c:v>15.89</c:v>
                </c:pt>
                <c:pt idx="991">
                  <c:v>18.36</c:v>
                </c:pt>
                <c:pt idx="992">
                  <c:v>17.34</c:v>
                </c:pt>
                <c:pt idx="993">
                  <c:v>15.73</c:v>
                </c:pt>
                <c:pt idx="994">
                  <c:v>16.32</c:v>
                </c:pt>
                <c:pt idx="995">
                  <c:v>16.47</c:v>
                </c:pt>
                <c:pt idx="996">
                  <c:v>16.62</c:v>
                </c:pt>
                <c:pt idx="997">
                  <c:v>17.47</c:v>
                </c:pt>
                <c:pt idx="998">
                  <c:v>22.81</c:v>
                </c:pt>
                <c:pt idx="999">
                  <c:v>21.08</c:v>
                </c:pt>
                <c:pt idx="1000">
                  <c:v>18.440000000000001</c:v>
                </c:pt>
                <c:pt idx="1001">
                  <c:v>22.05</c:v>
                </c:pt>
                <c:pt idx="1002">
                  <c:v>20.190000000000001</c:v>
                </c:pt>
                <c:pt idx="1003">
                  <c:v>23.84</c:v>
                </c:pt>
                <c:pt idx="1004">
                  <c:v>24.91</c:v>
                </c:pt>
                <c:pt idx="1005">
                  <c:v>32.799999999999997</c:v>
                </c:pt>
                <c:pt idx="1006">
                  <c:v>40.950000000000003</c:v>
                </c:pt>
                <c:pt idx="1007">
                  <c:v>28.84</c:v>
                </c:pt>
                <c:pt idx="1008">
                  <c:v>28.32</c:v>
                </c:pt>
                <c:pt idx="1009">
                  <c:v>25.52</c:v>
                </c:pt>
                <c:pt idx="1010">
                  <c:v>26.68</c:v>
                </c:pt>
                <c:pt idx="1011">
                  <c:v>31.24</c:v>
                </c:pt>
                <c:pt idx="1012">
                  <c:v>30.84</c:v>
                </c:pt>
                <c:pt idx="1013">
                  <c:v>33.549999999999997</c:v>
                </c:pt>
                <c:pt idx="1014">
                  <c:v>35.32</c:v>
                </c:pt>
                <c:pt idx="1015">
                  <c:v>45.79</c:v>
                </c:pt>
                <c:pt idx="1016">
                  <c:v>40.1</c:v>
                </c:pt>
                <c:pt idx="1017">
                  <c:v>38.32</c:v>
                </c:pt>
                <c:pt idx="1018">
                  <c:v>34.61</c:v>
                </c:pt>
                <c:pt idx="1019">
                  <c:v>35.020000000000003</c:v>
                </c:pt>
                <c:pt idx="1020">
                  <c:v>29.68</c:v>
                </c:pt>
                <c:pt idx="1021">
                  <c:v>32.07</c:v>
                </c:pt>
                <c:pt idx="1022">
                  <c:v>35.54</c:v>
                </c:pt>
                <c:pt idx="1023">
                  <c:v>30.17</c:v>
                </c:pt>
                <c:pt idx="1024">
                  <c:v>29.46</c:v>
                </c:pt>
                <c:pt idx="1025">
                  <c:v>35.479999999999997</c:v>
                </c:pt>
                <c:pt idx="1026">
                  <c:v>36.57</c:v>
                </c:pt>
                <c:pt idx="1027">
                  <c:v>33.700000000000003</c:v>
                </c:pt>
                <c:pt idx="1028">
                  <c:v>33.729999999999997</c:v>
                </c:pt>
                <c:pt idx="1029">
                  <c:v>30.57</c:v>
                </c:pt>
                <c:pt idx="1030">
                  <c:v>28.79</c:v>
                </c:pt>
                <c:pt idx="1031">
                  <c:v>28.58</c:v>
                </c:pt>
                <c:pt idx="1032">
                  <c:v>25.87</c:v>
                </c:pt>
                <c:pt idx="1033">
                  <c:v>25.92</c:v>
                </c:pt>
                <c:pt idx="1034">
                  <c:v>25.05</c:v>
                </c:pt>
                <c:pt idx="1035">
                  <c:v>23.95</c:v>
                </c:pt>
                <c:pt idx="1036">
                  <c:v>24.88</c:v>
                </c:pt>
                <c:pt idx="1037">
                  <c:v>27.05</c:v>
                </c:pt>
                <c:pt idx="1038">
                  <c:v>26.91</c:v>
                </c:pt>
                <c:pt idx="1039">
                  <c:v>29.74</c:v>
                </c:pt>
                <c:pt idx="1040">
                  <c:v>28.53</c:v>
                </c:pt>
                <c:pt idx="1041">
                  <c:v>29</c:v>
                </c:pt>
                <c:pt idx="1042">
                  <c:v>34.130000000000003</c:v>
                </c:pt>
                <c:pt idx="1043">
                  <c:v>34.54</c:v>
                </c:pt>
                <c:pt idx="1044">
                  <c:v>32.86</c:v>
                </c:pt>
                <c:pt idx="1045">
                  <c:v>30.12</c:v>
                </c:pt>
                <c:pt idx="1046">
                  <c:v>29.65</c:v>
                </c:pt>
                <c:pt idx="1047">
                  <c:v>26.84</c:v>
                </c:pt>
                <c:pt idx="1048">
                  <c:v>25.71</c:v>
                </c:pt>
                <c:pt idx="1049">
                  <c:v>24.98</c:v>
                </c:pt>
                <c:pt idx="1050">
                  <c:v>24.43</c:v>
                </c:pt>
                <c:pt idx="1051">
                  <c:v>24.56</c:v>
                </c:pt>
                <c:pt idx="1052">
                  <c:v>24.89</c:v>
                </c:pt>
                <c:pt idx="1053">
                  <c:v>25.14</c:v>
                </c:pt>
                <c:pt idx="1054">
                  <c:v>26.25</c:v>
                </c:pt>
                <c:pt idx="1055">
                  <c:v>25.97</c:v>
                </c:pt>
                <c:pt idx="1056">
                  <c:v>23.93</c:v>
                </c:pt>
                <c:pt idx="1057">
                  <c:v>25.64</c:v>
                </c:pt>
                <c:pt idx="1058">
                  <c:v>24.63</c:v>
                </c:pt>
                <c:pt idx="1059">
                  <c:v>23.47</c:v>
                </c:pt>
                <c:pt idx="1060">
                  <c:v>22.73</c:v>
                </c:pt>
                <c:pt idx="1061">
                  <c:v>23.19</c:v>
                </c:pt>
                <c:pt idx="1062">
                  <c:v>24.25</c:v>
                </c:pt>
                <c:pt idx="1063">
                  <c:v>24.13</c:v>
                </c:pt>
                <c:pt idx="1064">
                  <c:v>23.5</c:v>
                </c:pt>
                <c:pt idx="1065">
                  <c:v>22.01</c:v>
                </c:pt>
                <c:pt idx="1066">
                  <c:v>22.63</c:v>
                </c:pt>
                <c:pt idx="1067">
                  <c:v>22.21</c:v>
                </c:pt>
                <c:pt idx="1068">
                  <c:v>22.1</c:v>
                </c:pt>
                <c:pt idx="1069">
                  <c:v>21.74</c:v>
                </c:pt>
                <c:pt idx="1070">
                  <c:v>22.14</c:v>
                </c:pt>
                <c:pt idx="1071">
                  <c:v>22.37</c:v>
                </c:pt>
                <c:pt idx="1072">
                  <c:v>25.39</c:v>
                </c:pt>
                <c:pt idx="1073">
                  <c:v>25.73</c:v>
                </c:pt>
                <c:pt idx="1074">
                  <c:v>26.24</c:v>
                </c:pt>
                <c:pt idx="1075">
                  <c:v>26.1</c:v>
                </c:pt>
                <c:pt idx="1076">
                  <c:v>24.33</c:v>
                </c:pt>
                <c:pt idx="1077">
                  <c:v>24.59</c:v>
                </c:pt>
                <c:pt idx="1078">
                  <c:v>26.44</c:v>
                </c:pt>
                <c:pt idx="1079">
                  <c:v>25.49</c:v>
                </c:pt>
                <c:pt idx="1080">
                  <c:v>25.66</c:v>
                </c:pt>
                <c:pt idx="1081">
                  <c:v>27.46</c:v>
                </c:pt>
                <c:pt idx="1082">
                  <c:v>26.7</c:v>
                </c:pt>
                <c:pt idx="1083">
                  <c:v>27.37</c:v>
                </c:pt>
                <c:pt idx="1084">
                  <c:v>24.45</c:v>
                </c:pt>
                <c:pt idx="1085">
                  <c:v>27.21</c:v>
                </c:pt>
                <c:pt idx="1086">
                  <c:v>26.05</c:v>
                </c:pt>
                <c:pt idx="1087">
                  <c:v>23.89</c:v>
                </c:pt>
                <c:pt idx="1088">
                  <c:v>23.19</c:v>
                </c:pt>
                <c:pt idx="1089">
                  <c:v>21.31</c:v>
                </c:pt>
                <c:pt idx="1090">
                  <c:v>23.8</c:v>
                </c:pt>
                <c:pt idx="1091">
                  <c:v>23.25</c:v>
                </c:pt>
                <c:pt idx="1092">
                  <c:v>22.81</c:v>
                </c:pt>
                <c:pt idx="1093">
                  <c:v>21.99</c:v>
                </c:pt>
                <c:pt idx="1094">
                  <c:v>21.21</c:v>
                </c:pt>
                <c:pt idx="1095">
                  <c:v>21.56</c:v>
                </c:pt>
                <c:pt idx="1096">
                  <c:v>22.1</c:v>
                </c:pt>
                <c:pt idx="1097">
                  <c:v>21.72</c:v>
                </c:pt>
                <c:pt idx="1098">
                  <c:v>22.01</c:v>
                </c:pt>
                <c:pt idx="1099">
                  <c:v>21.5</c:v>
                </c:pt>
                <c:pt idx="1100">
                  <c:v>22.35</c:v>
                </c:pt>
                <c:pt idx="1101">
                  <c:v>22.51</c:v>
                </c:pt>
                <c:pt idx="1102">
                  <c:v>23.87</c:v>
                </c:pt>
                <c:pt idx="1103">
                  <c:v>21.71</c:v>
                </c:pt>
                <c:pt idx="1104">
                  <c:v>22.54</c:v>
                </c:pt>
                <c:pt idx="1105">
                  <c:v>22.6</c:v>
                </c:pt>
                <c:pt idx="1106">
                  <c:v>23.25</c:v>
                </c:pt>
                <c:pt idx="1107">
                  <c:v>23.7</c:v>
                </c:pt>
                <c:pt idx="1108">
                  <c:v>22.5</c:v>
                </c:pt>
                <c:pt idx="1109">
                  <c:v>23.53</c:v>
                </c:pt>
                <c:pt idx="1110">
                  <c:v>21.76</c:v>
                </c:pt>
                <c:pt idx="1111">
                  <c:v>21.49</c:v>
                </c:pt>
                <c:pt idx="1112">
                  <c:v>21.56</c:v>
                </c:pt>
                <c:pt idx="1113">
                  <c:v>20.71</c:v>
                </c:pt>
                <c:pt idx="1114">
                  <c:v>18.96</c:v>
                </c:pt>
                <c:pt idx="1115">
                  <c:v>18.93</c:v>
                </c:pt>
                <c:pt idx="1116">
                  <c:v>19.07</c:v>
                </c:pt>
                <c:pt idx="1117">
                  <c:v>19.88</c:v>
                </c:pt>
                <c:pt idx="1118">
                  <c:v>19.03</c:v>
                </c:pt>
                <c:pt idx="1119">
                  <c:v>19.09</c:v>
                </c:pt>
                <c:pt idx="1120">
                  <c:v>20.63</c:v>
                </c:pt>
                <c:pt idx="1121">
                  <c:v>19.79</c:v>
                </c:pt>
                <c:pt idx="1122">
                  <c:v>19.27</c:v>
                </c:pt>
                <c:pt idx="1123">
                  <c:v>18.78</c:v>
                </c:pt>
                <c:pt idx="1124">
                  <c:v>19.850000000000001</c:v>
                </c:pt>
                <c:pt idx="1125">
                  <c:v>20.22</c:v>
                </c:pt>
                <c:pt idx="1126">
                  <c:v>20.71</c:v>
                </c:pt>
                <c:pt idx="1127">
                  <c:v>20.88</c:v>
                </c:pt>
                <c:pt idx="1128">
                  <c:v>21.2</c:v>
                </c:pt>
                <c:pt idx="1129">
                  <c:v>21.83</c:v>
                </c:pt>
                <c:pt idx="1130">
                  <c:v>21.57</c:v>
                </c:pt>
                <c:pt idx="1131">
                  <c:v>19.559999999999999</c:v>
                </c:pt>
                <c:pt idx="1132">
                  <c:v>18.52</c:v>
                </c:pt>
                <c:pt idx="1133">
                  <c:v>18.260000000000002</c:v>
                </c:pt>
                <c:pt idx="1134">
                  <c:v>18.29</c:v>
                </c:pt>
                <c:pt idx="1135">
                  <c:v>19.079999999999998</c:v>
                </c:pt>
                <c:pt idx="1136">
                  <c:v>18.47</c:v>
                </c:pt>
                <c:pt idx="1137">
                  <c:v>18.64</c:v>
                </c:pt>
                <c:pt idx="1138">
                  <c:v>20.61</c:v>
                </c:pt>
                <c:pt idx="1139">
                  <c:v>20.2</c:v>
                </c:pt>
                <c:pt idx="1140">
                  <c:v>22.58</c:v>
                </c:pt>
                <c:pt idx="1141">
                  <c:v>21.76</c:v>
                </c:pt>
                <c:pt idx="1142">
                  <c:v>18.75</c:v>
                </c:pt>
                <c:pt idx="1143">
                  <c:v>18.04</c:v>
                </c:pt>
                <c:pt idx="1144">
                  <c:v>18.37</c:v>
                </c:pt>
                <c:pt idx="1145">
                  <c:v>20.63</c:v>
                </c:pt>
                <c:pt idx="1146">
                  <c:v>19.559999999999999</c:v>
                </c:pt>
                <c:pt idx="1147">
                  <c:v>22.22</c:v>
                </c:pt>
                <c:pt idx="1148">
                  <c:v>21.53</c:v>
                </c:pt>
                <c:pt idx="1149">
                  <c:v>23.54</c:v>
                </c:pt>
                <c:pt idx="1150">
                  <c:v>21.36</c:v>
                </c:pt>
                <c:pt idx="1151">
                  <c:v>19.39</c:v>
                </c:pt>
                <c:pt idx="1152">
                  <c:v>18.010000000000002</c:v>
                </c:pt>
                <c:pt idx="1153">
                  <c:v>18.02</c:v>
                </c:pt>
                <c:pt idx="1154">
                  <c:v>17.989999999999998</c:v>
                </c:pt>
                <c:pt idx="1155">
                  <c:v>17.739999999999998</c:v>
                </c:pt>
                <c:pt idx="1156">
                  <c:v>17.25</c:v>
                </c:pt>
                <c:pt idx="1157">
                  <c:v>17.61</c:v>
                </c:pt>
                <c:pt idx="1158">
                  <c:v>17.55</c:v>
                </c:pt>
                <c:pt idx="1159">
                  <c:v>17.61</c:v>
                </c:pt>
                <c:pt idx="1160">
                  <c:v>17.940000000000001</c:v>
                </c:pt>
                <c:pt idx="1161">
                  <c:v>17.39</c:v>
                </c:pt>
                <c:pt idx="1162">
                  <c:v>16.11</c:v>
                </c:pt>
                <c:pt idx="1163">
                  <c:v>16.41</c:v>
                </c:pt>
                <c:pt idx="1164">
                  <c:v>16.489999999999998</c:v>
                </c:pt>
                <c:pt idx="1165">
                  <c:v>15.45</c:v>
                </c:pt>
                <c:pt idx="1166">
                  <c:v>16.47</c:v>
                </c:pt>
                <c:pt idx="1167">
                  <c:v>17.670000000000002</c:v>
                </c:pt>
                <c:pt idx="1168">
                  <c:v>17.52</c:v>
                </c:pt>
                <c:pt idx="1169">
                  <c:v>17.28</c:v>
                </c:pt>
                <c:pt idx="1170">
                  <c:v>17.52</c:v>
                </c:pt>
                <c:pt idx="1171">
                  <c:v>17.75</c:v>
                </c:pt>
                <c:pt idx="1172">
                  <c:v>17.61</c:v>
                </c:pt>
                <c:pt idx="1173">
                  <c:v>17.38</c:v>
                </c:pt>
                <c:pt idx="1174">
                  <c:v>17.02</c:v>
                </c:pt>
                <c:pt idx="1175">
                  <c:v>17.399999999999999</c:v>
                </c:pt>
                <c:pt idx="1176">
                  <c:v>17.14</c:v>
                </c:pt>
                <c:pt idx="1177">
                  <c:v>17.54</c:v>
                </c:pt>
                <c:pt idx="1178">
                  <c:v>16.89</c:v>
                </c:pt>
                <c:pt idx="1179">
                  <c:v>16.239999999999998</c:v>
                </c:pt>
                <c:pt idx="1180">
                  <c:v>16.39</c:v>
                </c:pt>
                <c:pt idx="1181">
                  <c:v>15.46</c:v>
                </c:pt>
                <c:pt idx="1182">
                  <c:v>15.87</c:v>
                </c:pt>
                <c:pt idx="1183">
                  <c:v>17.309999999999999</c:v>
                </c:pt>
                <c:pt idx="1184">
                  <c:v>17.989999999999998</c:v>
                </c:pt>
                <c:pt idx="1185">
                  <c:v>18.47</c:v>
                </c:pt>
                <c:pt idx="1186">
                  <c:v>17.649999999999999</c:v>
                </c:pt>
                <c:pt idx="1187">
                  <c:v>17.59</c:v>
                </c:pt>
                <c:pt idx="1188">
                  <c:v>16.64</c:v>
                </c:pt>
                <c:pt idx="1189">
                  <c:v>16.149999999999999</c:v>
                </c:pt>
                <c:pt idx="1190">
                  <c:v>20.04</c:v>
                </c:pt>
                <c:pt idx="1191">
                  <c:v>19.53</c:v>
                </c:pt>
                <c:pt idx="1192">
                  <c:v>17.63</c:v>
                </c:pt>
                <c:pt idx="1193">
                  <c:v>17.3</c:v>
                </c:pt>
                <c:pt idx="1194">
                  <c:v>16.690000000000001</c:v>
                </c:pt>
                <c:pt idx="1195">
                  <c:v>15.93</c:v>
                </c:pt>
                <c:pt idx="1196">
                  <c:v>16.28</c:v>
                </c:pt>
                <c:pt idx="1197">
                  <c:v>15.81</c:v>
                </c:pt>
                <c:pt idx="1198">
                  <c:v>15.87</c:v>
                </c:pt>
                <c:pt idx="1199">
                  <c:v>16.09</c:v>
                </c:pt>
                <c:pt idx="1200">
                  <c:v>15.69</c:v>
                </c:pt>
                <c:pt idx="1201">
                  <c:v>15.95</c:v>
                </c:pt>
                <c:pt idx="1202">
                  <c:v>16.37</c:v>
                </c:pt>
                <c:pt idx="1203">
                  <c:v>16.72</c:v>
                </c:pt>
                <c:pt idx="1204">
                  <c:v>16.59</c:v>
                </c:pt>
                <c:pt idx="1205">
                  <c:v>16.43</c:v>
                </c:pt>
                <c:pt idx="1206">
                  <c:v>20.8</c:v>
                </c:pt>
                <c:pt idx="1207">
                  <c:v>22.13</c:v>
                </c:pt>
                <c:pt idx="1208">
                  <c:v>21.32</c:v>
                </c:pt>
                <c:pt idx="1209">
                  <c:v>19.22</c:v>
                </c:pt>
                <c:pt idx="1210">
                  <c:v>18.350000000000001</c:v>
                </c:pt>
                <c:pt idx="1211">
                  <c:v>21.01</c:v>
                </c:pt>
                <c:pt idx="1212">
                  <c:v>20.7</c:v>
                </c:pt>
                <c:pt idx="1213">
                  <c:v>18.600000000000001</c:v>
                </c:pt>
                <c:pt idx="1214">
                  <c:v>19.059999999999999</c:v>
                </c:pt>
                <c:pt idx="1215">
                  <c:v>20.66</c:v>
                </c:pt>
                <c:pt idx="1216">
                  <c:v>19.82</c:v>
                </c:pt>
                <c:pt idx="1217">
                  <c:v>20.22</c:v>
                </c:pt>
                <c:pt idx="1218">
                  <c:v>21.88</c:v>
                </c:pt>
                <c:pt idx="1219">
                  <c:v>20.079999999999998</c:v>
                </c:pt>
                <c:pt idx="1220">
                  <c:v>21.13</c:v>
                </c:pt>
                <c:pt idx="1221">
                  <c:v>24.32</c:v>
                </c:pt>
                <c:pt idx="1222">
                  <c:v>29.4</c:v>
                </c:pt>
                <c:pt idx="1223">
                  <c:v>26.37</c:v>
                </c:pt>
                <c:pt idx="1224">
                  <c:v>24.44</c:v>
                </c:pt>
                <c:pt idx="1225">
                  <c:v>20.61</c:v>
                </c:pt>
                <c:pt idx="1226">
                  <c:v>20.21</c:v>
                </c:pt>
                <c:pt idx="1227">
                  <c:v>19.170000000000002</c:v>
                </c:pt>
                <c:pt idx="1228">
                  <c:v>18</c:v>
                </c:pt>
                <c:pt idx="1229">
                  <c:v>17.91</c:v>
                </c:pt>
                <c:pt idx="1230">
                  <c:v>19.440000000000001</c:v>
                </c:pt>
                <c:pt idx="1231">
                  <c:v>18.16</c:v>
                </c:pt>
                <c:pt idx="1232">
                  <c:v>17.71</c:v>
                </c:pt>
                <c:pt idx="1233">
                  <c:v>17.739999999999998</c:v>
                </c:pt>
                <c:pt idx="1234">
                  <c:v>17.399999999999999</c:v>
                </c:pt>
                <c:pt idx="1235">
                  <c:v>17.5</c:v>
                </c:pt>
                <c:pt idx="1236">
                  <c:v>17.25</c:v>
                </c:pt>
                <c:pt idx="1237">
                  <c:v>16.899999999999999</c:v>
                </c:pt>
                <c:pt idx="1238">
                  <c:v>17.11</c:v>
                </c:pt>
                <c:pt idx="1239">
                  <c:v>17.87</c:v>
                </c:pt>
                <c:pt idx="1240">
                  <c:v>16.59</c:v>
                </c:pt>
                <c:pt idx="1241">
                  <c:v>17.09</c:v>
                </c:pt>
                <c:pt idx="1242">
                  <c:v>16.920000000000002</c:v>
                </c:pt>
                <c:pt idx="1243">
                  <c:v>16.27</c:v>
                </c:pt>
                <c:pt idx="1244">
                  <c:v>15.32</c:v>
                </c:pt>
                <c:pt idx="1245">
                  <c:v>16.96</c:v>
                </c:pt>
                <c:pt idx="1246">
                  <c:v>15.83</c:v>
                </c:pt>
                <c:pt idx="1247">
                  <c:v>15.07</c:v>
                </c:pt>
                <c:pt idx="1248">
                  <c:v>14.69</c:v>
                </c:pt>
                <c:pt idx="1249">
                  <c:v>15.77</c:v>
                </c:pt>
                <c:pt idx="1250">
                  <c:v>15.62</c:v>
                </c:pt>
                <c:pt idx="1251">
                  <c:v>15.35</c:v>
                </c:pt>
                <c:pt idx="1252">
                  <c:v>14.62</c:v>
                </c:pt>
                <c:pt idx="1253">
                  <c:v>14.75</c:v>
                </c:pt>
                <c:pt idx="1254">
                  <c:v>15.99</c:v>
                </c:pt>
                <c:pt idx="1255">
                  <c:v>16.7</c:v>
                </c:pt>
                <c:pt idx="1256">
                  <c:v>17.079999999999998</c:v>
                </c:pt>
                <c:pt idx="1257">
                  <c:v>18.2</c:v>
                </c:pt>
                <c:pt idx="1258">
                  <c:v>18.399999999999999</c:v>
                </c:pt>
                <c:pt idx="1259">
                  <c:v>17.16</c:v>
                </c:pt>
                <c:pt idx="1260">
                  <c:v>15.91</c:v>
                </c:pt>
                <c:pt idx="1261">
                  <c:v>16.95</c:v>
                </c:pt>
                <c:pt idx="1262">
                  <c:v>16.03</c:v>
                </c:pt>
                <c:pt idx="1263">
                  <c:v>17.07</c:v>
                </c:pt>
                <c:pt idx="1264">
                  <c:v>18.239999999999998</c:v>
                </c:pt>
                <c:pt idx="1265">
                  <c:v>17.55</c:v>
                </c:pt>
                <c:pt idx="1266">
                  <c:v>16.23</c:v>
                </c:pt>
                <c:pt idx="1267">
                  <c:v>15.52</c:v>
                </c:pt>
                <c:pt idx="1268">
                  <c:v>17.43</c:v>
                </c:pt>
                <c:pt idx="1269">
                  <c:v>18.27</c:v>
                </c:pt>
                <c:pt idx="1270">
                  <c:v>17.82</c:v>
                </c:pt>
                <c:pt idx="1271">
                  <c:v>17.07</c:v>
                </c:pt>
                <c:pt idx="1272">
                  <c:v>16.09</c:v>
                </c:pt>
                <c:pt idx="1273">
                  <c:v>15.98</c:v>
                </c:pt>
                <c:pt idx="1274">
                  <c:v>15.45</c:v>
                </c:pt>
                <c:pt idx="1275">
                  <c:v>18.3</c:v>
                </c:pt>
                <c:pt idx="1276">
                  <c:v>18.09</c:v>
                </c:pt>
                <c:pt idx="1277">
                  <c:v>17.95</c:v>
                </c:pt>
                <c:pt idx="1278">
                  <c:v>18.489999999999998</c:v>
                </c:pt>
                <c:pt idx="1279">
                  <c:v>18.07</c:v>
                </c:pt>
                <c:pt idx="1280">
                  <c:v>18.79</c:v>
                </c:pt>
                <c:pt idx="1281">
                  <c:v>17.77</c:v>
                </c:pt>
                <c:pt idx="1282">
                  <c:v>18.86</c:v>
                </c:pt>
                <c:pt idx="1283">
                  <c:v>19.61</c:v>
                </c:pt>
                <c:pt idx="1284">
                  <c:v>18.260000000000002</c:v>
                </c:pt>
                <c:pt idx="1285">
                  <c:v>21.32</c:v>
                </c:pt>
                <c:pt idx="1286">
                  <c:v>22.73</c:v>
                </c:pt>
                <c:pt idx="1287">
                  <c:v>21.85</c:v>
                </c:pt>
                <c:pt idx="1288">
                  <c:v>19.989999999999998</c:v>
                </c:pt>
                <c:pt idx="1289">
                  <c:v>18.86</c:v>
                </c:pt>
                <c:pt idx="1290">
                  <c:v>18.52</c:v>
                </c:pt>
                <c:pt idx="1291">
                  <c:v>19.29</c:v>
                </c:pt>
                <c:pt idx="1292">
                  <c:v>21.1</c:v>
                </c:pt>
                <c:pt idx="1293">
                  <c:v>20.56</c:v>
                </c:pt>
                <c:pt idx="1294">
                  <c:v>19.170000000000002</c:v>
                </c:pt>
                <c:pt idx="1295">
                  <c:v>17.27</c:v>
                </c:pt>
                <c:pt idx="1296">
                  <c:v>16.52</c:v>
                </c:pt>
                <c:pt idx="1297">
                  <c:v>15.87</c:v>
                </c:pt>
                <c:pt idx="1298">
                  <c:v>16.059999999999999</c:v>
                </c:pt>
                <c:pt idx="1299">
                  <c:v>16.34</c:v>
                </c:pt>
                <c:pt idx="1300">
                  <c:v>15.95</c:v>
                </c:pt>
                <c:pt idx="1301">
                  <c:v>15.95</c:v>
                </c:pt>
                <c:pt idx="1302">
                  <c:v>18.39</c:v>
                </c:pt>
                <c:pt idx="1303">
                  <c:v>19.87</c:v>
                </c:pt>
                <c:pt idx="1304">
                  <c:v>19.91</c:v>
                </c:pt>
                <c:pt idx="1305">
                  <c:v>20.8</c:v>
                </c:pt>
                <c:pt idx="1306">
                  <c:v>19.53</c:v>
                </c:pt>
                <c:pt idx="1307">
                  <c:v>20.95</c:v>
                </c:pt>
                <c:pt idx="1308">
                  <c:v>19.21</c:v>
                </c:pt>
                <c:pt idx="1309">
                  <c:v>19.09</c:v>
                </c:pt>
                <c:pt idx="1310">
                  <c:v>17.559999999999999</c:v>
                </c:pt>
                <c:pt idx="1311">
                  <c:v>17.52</c:v>
                </c:pt>
                <c:pt idx="1312">
                  <c:v>19.350000000000001</c:v>
                </c:pt>
                <c:pt idx="1313">
                  <c:v>20.23</c:v>
                </c:pt>
                <c:pt idx="1314">
                  <c:v>22.98</c:v>
                </c:pt>
                <c:pt idx="1315">
                  <c:v>23.74</c:v>
                </c:pt>
                <c:pt idx="1316">
                  <c:v>25.25</c:v>
                </c:pt>
                <c:pt idx="1317">
                  <c:v>23.66</c:v>
                </c:pt>
                <c:pt idx="1318">
                  <c:v>24.79</c:v>
                </c:pt>
                <c:pt idx="1319">
                  <c:v>23.38</c:v>
                </c:pt>
                <c:pt idx="1320">
                  <c:v>31.66</c:v>
                </c:pt>
                <c:pt idx="1321">
                  <c:v>32</c:v>
                </c:pt>
                <c:pt idx="1322">
                  <c:v>48</c:v>
                </c:pt>
                <c:pt idx="1323">
                  <c:v>35.06</c:v>
                </c:pt>
                <c:pt idx="1324">
                  <c:v>42.99</c:v>
                </c:pt>
                <c:pt idx="1325">
                  <c:v>39</c:v>
                </c:pt>
                <c:pt idx="1326">
                  <c:v>36.36</c:v>
                </c:pt>
                <c:pt idx="1327">
                  <c:v>31.87</c:v>
                </c:pt>
                <c:pt idx="1328">
                  <c:v>32.85</c:v>
                </c:pt>
                <c:pt idx="1329">
                  <c:v>31.58</c:v>
                </c:pt>
                <c:pt idx="1330">
                  <c:v>42.67</c:v>
                </c:pt>
                <c:pt idx="1331">
                  <c:v>43.05</c:v>
                </c:pt>
                <c:pt idx="1332">
                  <c:v>42.44</c:v>
                </c:pt>
                <c:pt idx="1333">
                  <c:v>36.270000000000003</c:v>
                </c:pt>
                <c:pt idx="1334">
                  <c:v>35.9</c:v>
                </c:pt>
                <c:pt idx="1335">
                  <c:v>39.76</c:v>
                </c:pt>
                <c:pt idx="1336">
                  <c:v>35.590000000000003</c:v>
                </c:pt>
                <c:pt idx="1337">
                  <c:v>32.28</c:v>
                </c:pt>
                <c:pt idx="1338">
                  <c:v>32.89</c:v>
                </c:pt>
                <c:pt idx="1339">
                  <c:v>31.62</c:v>
                </c:pt>
                <c:pt idx="1340">
                  <c:v>31.82</c:v>
                </c:pt>
                <c:pt idx="1341">
                  <c:v>33.92</c:v>
                </c:pt>
                <c:pt idx="1342">
                  <c:v>37</c:v>
                </c:pt>
                <c:pt idx="1343">
                  <c:v>33.380000000000003</c:v>
                </c:pt>
                <c:pt idx="1344">
                  <c:v>34.32</c:v>
                </c:pt>
                <c:pt idx="1345">
                  <c:v>38.520000000000003</c:v>
                </c:pt>
                <c:pt idx="1346">
                  <c:v>38.590000000000003</c:v>
                </c:pt>
                <c:pt idx="1347">
                  <c:v>36.909999999999997</c:v>
                </c:pt>
                <c:pt idx="1348">
                  <c:v>34.6</c:v>
                </c:pt>
                <c:pt idx="1349">
                  <c:v>31.97</c:v>
                </c:pt>
                <c:pt idx="1350">
                  <c:v>30.98</c:v>
                </c:pt>
                <c:pt idx="1351">
                  <c:v>32.729999999999997</c:v>
                </c:pt>
                <c:pt idx="1352">
                  <c:v>32.86</c:v>
                </c:pt>
                <c:pt idx="1353">
                  <c:v>37.32</c:v>
                </c:pt>
                <c:pt idx="1354">
                  <c:v>41.35</c:v>
                </c:pt>
                <c:pt idx="1355">
                  <c:v>41.25</c:v>
                </c:pt>
                <c:pt idx="1356">
                  <c:v>39.020000000000003</c:v>
                </c:pt>
                <c:pt idx="1357">
                  <c:v>37.71</c:v>
                </c:pt>
                <c:pt idx="1358">
                  <c:v>41.08</c:v>
                </c:pt>
                <c:pt idx="1359">
                  <c:v>38.840000000000003</c:v>
                </c:pt>
                <c:pt idx="1360">
                  <c:v>42.96</c:v>
                </c:pt>
                <c:pt idx="1361">
                  <c:v>45.45</c:v>
                </c:pt>
                <c:pt idx="1362">
                  <c:v>40.82</c:v>
                </c:pt>
                <c:pt idx="1363">
                  <c:v>37.81</c:v>
                </c:pt>
                <c:pt idx="1364">
                  <c:v>36.270000000000003</c:v>
                </c:pt>
                <c:pt idx="1365">
                  <c:v>36.200000000000003</c:v>
                </c:pt>
                <c:pt idx="1366">
                  <c:v>33.020000000000003</c:v>
                </c:pt>
                <c:pt idx="1367">
                  <c:v>32.86</c:v>
                </c:pt>
                <c:pt idx="1368">
                  <c:v>31.26</c:v>
                </c:pt>
                <c:pt idx="1369">
                  <c:v>30.7</c:v>
                </c:pt>
                <c:pt idx="1370">
                  <c:v>28.24</c:v>
                </c:pt>
                <c:pt idx="1371">
                  <c:v>33.39</c:v>
                </c:pt>
                <c:pt idx="1372">
                  <c:v>31.56</c:v>
                </c:pt>
                <c:pt idx="1373">
                  <c:v>34.44</c:v>
                </c:pt>
                <c:pt idx="1374">
                  <c:v>34.78</c:v>
                </c:pt>
                <c:pt idx="1375">
                  <c:v>31.32</c:v>
                </c:pt>
                <c:pt idx="1376">
                  <c:v>29.26</c:v>
                </c:pt>
                <c:pt idx="1377">
                  <c:v>32.22</c:v>
                </c:pt>
                <c:pt idx="1378">
                  <c:v>29.86</c:v>
                </c:pt>
                <c:pt idx="1379">
                  <c:v>25.46</c:v>
                </c:pt>
                <c:pt idx="1380">
                  <c:v>24.53</c:v>
                </c:pt>
                <c:pt idx="1381">
                  <c:v>29.96</c:v>
                </c:pt>
                <c:pt idx="1382">
                  <c:v>34.770000000000003</c:v>
                </c:pt>
                <c:pt idx="1383">
                  <c:v>32.74</c:v>
                </c:pt>
                <c:pt idx="1384">
                  <c:v>30.5</c:v>
                </c:pt>
                <c:pt idx="1385">
                  <c:v>30.16</c:v>
                </c:pt>
                <c:pt idx="1386">
                  <c:v>29.85</c:v>
                </c:pt>
                <c:pt idx="1387">
                  <c:v>27.48</c:v>
                </c:pt>
                <c:pt idx="1388">
                  <c:v>36.159999999999997</c:v>
                </c:pt>
                <c:pt idx="1389">
                  <c:v>32.81</c:v>
                </c:pt>
                <c:pt idx="1390">
                  <c:v>30.04</c:v>
                </c:pt>
                <c:pt idx="1391">
                  <c:v>31.13</c:v>
                </c:pt>
                <c:pt idx="1392">
                  <c:v>31.22</c:v>
                </c:pt>
                <c:pt idx="1393">
                  <c:v>33.51</c:v>
                </c:pt>
                <c:pt idx="1394">
                  <c:v>34.51</c:v>
                </c:pt>
                <c:pt idx="1395">
                  <c:v>32</c:v>
                </c:pt>
                <c:pt idx="1396">
                  <c:v>32.909999999999997</c:v>
                </c:pt>
                <c:pt idx="1397">
                  <c:v>31.97</c:v>
                </c:pt>
                <c:pt idx="1398">
                  <c:v>33.979999999999997</c:v>
                </c:pt>
                <c:pt idx="1399">
                  <c:v>34.47</c:v>
                </c:pt>
                <c:pt idx="1400">
                  <c:v>32.130000000000003</c:v>
                </c:pt>
                <c:pt idx="1401">
                  <c:v>30.64</c:v>
                </c:pt>
                <c:pt idx="1402">
                  <c:v>27.8</c:v>
                </c:pt>
                <c:pt idx="1403">
                  <c:v>27.41</c:v>
                </c:pt>
                <c:pt idx="1404">
                  <c:v>27.52</c:v>
                </c:pt>
                <c:pt idx="1405">
                  <c:v>27.84</c:v>
                </c:pt>
                <c:pt idx="1406">
                  <c:v>28.13</c:v>
                </c:pt>
                <c:pt idx="1407">
                  <c:v>28.67</c:v>
                </c:pt>
                <c:pt idx="1408">
                  <c:v>30.59</c:v>
                </c:pt>
                <c:pt idx="1409">
                  <c:v>26.38</c:v>
                </c:pt>
                <c:pt idx="1410">
                  <c:v>25.67</c:v>
                </c:pt>
                <c:pt idx="1411">
                  <c:v>25.41</c:v>
                </c:pt>
                <c:pt idx="1412">
                  <c:v>26.04</c:v>
                </c:pt>
                <c:pt idx="1413">
                  <c:v>25.11</c:v>
                </c:pt>
                <c:pt idx="1414">
                  <c:v>24.29</c:v>
                </c:pt>
                <c:pt idx="1415">
                  <c:v>24.92</c:v>
                </c:pt>
                <c:pt idx="1416">
                  <c:v>23.22</c:v>
                </c:pt>
                <c:pt idx="1417">
                  <c:v>21.43</c:v>
                </c:pt>
                <c:pt idx="1418">
                  <c:v>21.16</c:v>
                </c:pt>
                <c:pt idx="1419">
                  <c:v>20.73</c:v>
                </c:pt>
                <c:pt idx="1420">
                  <c:v>21.91</c:v>
                </c:pt>
                <c:pt idx="1421">
                  <c:v>23.52</c:v>
                </c:pt>
                <c:pt idx="1422">
                  <c:v>22.65</c:v>
                </c:pt>
                <c:pt idx="1423">
                  <c:v>23.4</c:v>
                </c:pt>
                <c:pt idx="1424">
                  <c:v>22.97</c:v>
                </c:pt>
                <c:pt idx="1425">
                  <c:v>22.22</c:v>
                </c:pt>
                <c:pt idx="1426">
                  <c:v>21.48</c:v>
                </c:pt>
                <c:pt idx="1427">
                  <c:v>20.63</c:v>
                </c:pt>
                <c:pt idx="1428">
                  <c:v>21.07</c:v>
                </c:pt>
                <c:pt idx="1429">
                  <c:v>20.69</c:v>
                </c:pt>
                <c:pt idx="1430">
                  <c:v>21.05</c:v>
                </c:pt>
                <c:pt idx="1431">
                  <c:v>20.47</c:v>
                </c:pt>
                <c:pt idx="1432">
                  <c:v>20.91</c:v>
                </c:pt>
                <c:pt idx="1433">
                  <c:v>22.2</c:v>
                </c:pt>
                <c:pt idx="1434">
                  <c:v>20.89</c:v>
                </c:pt>
                <c:pt idx="1435">
                  <c:v>19.87</c:v>
                </c:pt>
                <c:pt idx="1436">
                  <c:v>18.28</c:v>
                </c:pt>
                <c:pt idx="1437">
                  <c:v>18.670000000000002</c:v>
                </c:pt>
                <c:pt idx="1438">
                  <c:v>18.91</c:v>
                </c:pt>
                <c:pt idx="1439">
                  <c:v>18.309999999999999</c:v>
                </c:pt>
                <c:pt idx="1440">
                  <c:v>18.57</c:v>
                </c:pt>
                <c:pt idx="1441">
                  <c:v>18.53</c:v>
                </c:pt>
                <c:pt idx="1442">
                  <c:v>19.399999999999999</c:v>
                </c:pt>
                <c:pt idx="1443">
                  <c:v>19.440000000000001</c:v>
                </c:pt>
                <c:pt idx="1444">
                  <c:v>18.55</c:v>
                </c:pt>
                <c:pt idx="1445">
                  <c:v>17.98</c:v>
                </c:pt>
                <c:pt idx="1446">
                  <c:v>17.100000000000001</c:v>
                </c:pt>
                <c:pt idx="1447">
                  <c:v>17.760000000000002</c:v>
                </c:pt>
                <c:pt idx="1448">
                  <c:v>17.649999999999999</c:v>
                </c:pt>
                <c:pt idx="1449">
                  <c:v>18.16</c:v>
                </c:pt>
                <c:pt idx="1450">
                  <c:v>18.63</c:v>
                </c:pt>
                <c:pt idx="1451">
                  <c:v>20.79</c:v>
                </c:pt>
                <c:pt idx="1452">
                  <c:v>19.04</c:v>
                </c:pt>
                <c:pt idx="1453">
                  <c:v>19.54</c:v>
                </c:pt>
                <c:pt idx="1454">
                  <c:v>21.14</c:v>
                </c:pt>
                <c:pt idx="1455">
                  <c:v>19.22</c:v>
                </c:pt>
                <c:pt idx="1456">
                  <c:v>17.78</c:v>
                </c:pt>
                <c:pt idx="1457">
                  <c:v>18.190000000000001</c:v>
                </c:pt>
                <c:pt idx="1458">
                  <c:v>18.190000000000001</c:v>
                </c:pt>
                <c:pt idx="1459">
                  <c:v>16.8</c:v>
                </c:pt>
                <c:pt idx="1460">
                  <c:v>17.309999999999999</c:v>
                </c:pt>
                <c:pt idx="1461">
                  <c:v>18.190000000000001</c:v>
                </c:pt>
                <c:pt idx="1462">
                  <c:v>17.96</c:v>
                </c:pt>
                <c:pt idx="1463">
                  <c:v>18.43</c:v>
                </c:pt>
                <c:pt idx="1464">
                  <c:v>17.260000000000002</c:v>
                </c:pt>
                <c:pt idx="1465">
                  <c:v>17.29</c:v>
                </c:pt>
                <c:pt idx="1466">
                  <c:v>18.05</c:v>
                </c:pt>
                <c:pt idx="1467">
                  <c:v>20.87</c:v>
                </c:pt>
                <c:pt idx="1468">
                  <c:v>19.07</c:v>
                </c:pt>
                <c:pt idx="1469">
                  <c:v>17.95</c:v>
                </c:pt>
                <c:pt idx="1470">
                  <c:v>17.11</c:v>
                </c:pt>
                <c:pt idx="1471">
                  <c:v>15.64</c:v>
                </c:pt>
                <c:pt idx="1472">
                  <c:v>14.8</c:v>
                </c:pt>
                <c:pt idx="1473">
                  <c:v>15.31</c:v>
                </c:pt>
                <c:pt idx="1474">
                  <c:v>15.42</c:v>
                </c:pt>
                <c:pt idx="1475">
                  <c:v>14.47</c:v>
                </c:pt>
                <c:pt idx="1476">
                  <c:v>15.04</c:v>
                </c:pt>
                <c:pt idx="1477">
                  <c:v>15.58</c:v>
                </c:pt>
                <c:pt idx="1478">
                  <c:v>15.13</c:v>
                </c:pt>
                <c:pt idx="1479">
                  <c:v>15.57</c:v>
                </c:pt>
                <c:pt idx="1480">
                  <c:v>14.82</c:v>
                </c:pt>
                <c:pt idx="1481">
                  <c:v>14.26</c:v>
                </c:pt>
                <c:pt idx="1482">
                  <c:v>15.59</c:v>
                </c:pt>
                <c:pt idx="1483">
                  <c:v>15.47</c:v>
                </c:pt>
                <c:pt idx="1484">
                  <c:v>15.48</c:v>
                </c:pt>
                <c:pt idx="1485">
                  <c:v>15.5</c:v>
                </c:pt>
                <c:pt idx="1486">
                  <c:v>15.64</c:v>
                </c:pt>
                <c:pt idx="1487">
                  <c:v>15.66</c:v>
                </c:pt>
                <c:pt idx="1488">
                  <c:v>16.440000000000001</c:v>
                </c:pt>
                <c:pt idx="1489">
                  <c:v>16.7</c:v>
                </c:pt>
                <c:pt idx="1490">
                  <c:v>18.809999999999999</c:v>
                </c:pt>
                <c:pt idx="1491">
                  <c:v>20.39</c:v>
                </c:pt>
                <c:pt idx="1492">
                  <c:v>20.02</c:v>
                </c:pt>
                <c:pt idx="1493">
                  <c:v>17.2</c:v>
                </c:pt>
                <c:pt idx="1494">
                  <c:v>19.55</c:v>
                </c:pt>
                <c:pt idx="1495">
                  <c:v>19.55</c:v>
                </c:pt>
                <c:pt idx="1496">
                  <c:v>18.46</c:v>
                </c:pt>
                <c:pt idx="1497">
                  <c:v>18.64</c:v>
                </c:pt>
                <c:pt idx="1498">
                  <c:v>18.36</c:v>
                </c:pt>
                <c:pt idx="1499">
                  <c:v>17.440000000000001</c:v>
                </c:pt>
                <c:pt idx="1500">
                  <c:v>18.97</c:v>
                </c:pt>
                <c:pt idx="1501">
                  <c:v>18.100000000000001</c:v>
                </c:pt>
                <c:pt idx="1502">
                  <c:v>16.82</c:v>
                </c:pt>
                <c:pt idx="1503">
                  <c:v>16.239999999999998</c:v>
                </c:pt>
                <c:pt idx="1504">
                  <c:v>16.32</c:v>
                </c:pt>
                <c:pt idx="1505">
                  <c:v>17.149999999999999</c:v>
                </c:pt>
                <c:pt idx="1506">
                  <c:v>16.600000000000001</c:v>
                </c:pt>
                <c:pt idx="1507">
                  <c:v>16.88</c:v>
                </c:pt>
                <c:pt idx="1508">
                  <c:v>17.559999999999999</c:v>
                </c:pt>
                <c:pt idx="1509">
                  <c:v>19.16</c:v>
                </c:pt>
                <c:pt idx="1510">
                  <c:v>18.940000000000001</c:v>
                </c:pt>
                <c:pt idx="1511">
                  <c:v>19.05</c:v>
                </c:pt>
                <c:pt idx="1512">
                  <c:v>20.079999999999998</c:v>
                </c:pt>
                <c:pt idx="1513">
                  <c:v>18.829999999999998</c:v>
                </c:pt>
                <c:pt idx="1514">
                  <c:v>19.89</c:v>
                </c:pt>
                <c:pt idx="1515">
                  <c:v>21.87</c:v>
                </c:pt>
                <c:pt idx="1516">
                  <c:v>21.97</c:v>
                </c:pt>
                <c:pt idx="1517">
                  <c:v>22.27</c:v>
                </c:pt>
                <c:pt idx="1518">
                  <c:v>24.49</c:v>
                </c:pt>
                <c:pt idx="1519">
                  <c:v>25.1</c:v>
                </c:pt>
                <c:pt idx="1520">
                  <c:v>22.01</c:v>
                </c:pt>
                <c:pt idx="1521">
                  <c:v>22.48</c:v>
                </c:pt>
                <c:pt idx="1522">
                  <c:v>22.33</c:v>
                </c:pt>
                <c:pt idx="1523">
                  <c:v>21.54</c:v>
                </c:pt>
                <c:pt idx="1524">
                  <c:v>21.76</c:v>
                </c:pt>
                <c:pt idx="1525">
                  <c:v>21.03</c:v>
                </c:pt>
                <c:pt idx="1526">
                  <c:v>24.14</c:v>
                </c:pt>
                <c:pt idx="1527">
                  <c:v>24.06</c:v>
                </c:pt>
                <c:pt idx="1528">
                  <c:v>26.66</c:v>
                </c:pt>
                <c:pt idx="1529">
                  <c:v>26.12</c:v>
                </c:pt>
                <c:pt idx="1530">
                  <c:v>24.68</c:v>
                </c:pt>
                <c:pt idx="1531">
                  <c:v>22.16</c:v>
                </c:pt>
                <c:pt idx="1532">
                  <c:v>21.72</c:v>
                </c:pt>
                <c:pt idx="1533">
                  <c:v>21.23</c:v>
                </c:pt>
                <c:pt idx="1534">
                  <c:v>23.56</c:v>
                </c:pt>
                <c:pt idx="1535">
                  <c:v>22.09</c:v>
                </c:pt>
                <c:pt idx="1536">
                  <c:v>24.27</c:v>
                </c:pt>
                <c:pt idx="1537">
                  <c:v>21.68</c:v>
                </c:pt>
                <c:pt idx="1538">
                  <c:v>21.11</c:v>
                </c:pt>
                <c:pt idx="1539">
                  <c:v>18.32</c:v>
                </c:pt>
                <c:pt idx="1540">
                  <c:v>18.38</c:v>
                </c:pt>
                <c:pt idx="1541">
                  <c:v>17.239999999999998</c:v>
                </c:pt>
                <c:pt idx="1542">
                  <c:v>20.079999999999998</c:v>
                </c:pt>
                <c:pt idx="1543">
                  <c:v>18.11</c:v>
                </c:pt>
                <c:pt idx="1544">
                  <c:v>20.38</c:v>
                </c:pt>
                <c:pt idx="1545">
                  <c:v>19.72</c:v>
                </c:pt>
                <c:pt idx="1546">
                  <c:v>19.45</c:v>
                </c:pt>
                <c:pt idx="1547">
                  <c:v>19.71</c:v>
                </c:pt>
                <c:pt idx="1548">
                  <c:v>17.079999999999998</c:v>
                </c:pt>
                <c:pt idx="1549">
                  <c:v>16.8</c:v>
                </c:pt>
                <c:pt idx="1550">
                  <c:v>16.66</c:v>
                </c:pt>
                <c:pt idx="1551">
                  <c:v>17.5</c:v>
                </c:pt>
                <c:pt idx="1552">
                  <c:v>17.100000000000001</c:v>
                </c:pt>
                <c:pt idx="1553">
                  <c:v>17.98</c:v>
                </c:pt>
                <c:pt idx="1554">
                  <c:v>18.72</c:v>
                </c:pt>
                <c:pt idx="1555">
                  <c:v>17.95</c:v>
                </c:pt>
                <c:pt idx="1556">
                  <c:v>18.329999999999998</c:v>
                </c:pt>
                <c:pt idx="1557">
                  <c:v>16.739999999999998</c:v>
                </c:pt>
                <c:pt idx="1558">
                  <c:v>17.11</c:v>
                </c:pt>
                <c:pt idx="1559">
                  <c:v>16.48</c:v>
                </c:pt>
                <c:pt idx="1560">
                  <c:v>16.16</c:v>
                </c:pt>
                <c:pt idx="1561">
                  <c:v>15.45</c:v>
                </c:pt>
                <c:pt idx="1562">
                  <c:v>16.27</c:v>
                </c:pt>
                <c:pt idx="1563">
                  <c:v>18.62</c:v>
                </c:pt>
                <c:pt idx="1564">
                  <c:v>20.47</c:v>
                </c:pt>
                <c:pt idx="1565">
                  <c:v>19.34</c:v>
                </c:pt>
                <c:pt idx="1566">
                  <c:v>17.53</c:v>
                </c:pt>
                <c:pt idx="1567">
                  <c:v>16.7</c:v>
                </c:pt>
                <c:pt idx="1568">
                  <c:v>18.03</c:v>
                </c:pt>
                <c:pt idx="1569">
                  <c:v>18.93</c:v>
                </c:pt>
                <c:pt idx="1570">
                  <c:v>18.96</c:v>
                </c:pt>
                <c:pt idx="1571">
                  <c:v>17.57</c:v>
                </c:pt>
                <c:pt idx="1572">
                  <c:v>15.64</c:v>
                </c:pt>
                <c:pt idx="1573">
                  <c:v>15.95</c:v>
                </c:pt>
                <c:pt idx="1574">
                  <c:v>15.99</c:v>
                </c:pt>
                <c:pt idx="1575">
                  <c:v>15.32</c:v>
                </c:pt>
                <c:pt idx="1576">
                  <c:v>15.28</c:v>
                </c:pt>
                <c:pt idx="1577">
                  <c:v>14.74</c:v>
                </c:pt>
                <c:pt idx="1578">
                  <c:v>13.7</c:v>
                </c:pt>
                <c:pt idx="1579">
                  <c:v>14.85</c:v>
                </c:pt>
                <c:pt idx="1580">
                  <c:v>14.63</c:v>
                </c:pt>
                <c:pt idx="1581">
                  <c:v>14.29</c:v>
                </c:pt>
                <c:pt idx="1582">
                  <c:v>13.45</c:v>
                </c:pt>
                <c:pt idx="1583">
                  <c:v>14.02</c:v>
                </c:pt>
                <c:pt idx="1584">
                  <c:v>15.02</c:v>
                </c:pt>
                <c:pt idx="1585">
                  <c:v>15.11</c:v>
                </c:pt>
                <c:pt idx="1586">
                  <c:v>15.96</c:v>
                </c:pt>
                <c:pt idx="1587">
                  <c:v>15.18</c:v>
                </c:pt>
                <c:pt idx="1588">
                  <c:v>16.350000000000001</c:v>
                </c:pt>
                <c:pt idx="1589">
                  <c:v>16.489999999999998</c:v>
                </c:pt>
                <c:pt idx="1590">
                  <c:v>17.059999999999999</c:v>
                </c:pt>
                <c:pt idx="1591">
                  <c:v>17.829999999999998</c:v>
                </c:pt>
                <c:pt idx="1592">
                  <c:v>17.47</c:v>
                </c:pt>
                <c:pt idx="1593">
                  <c:v>17.98</c:v>
                </c:pt>
                <c:pt idx="1594">
                  <c:v>17.739999999999998</c:v>
                </c:pt>
                <c:pt idx="1595">
                  <c:v>15.6</c:v>
                </c:pt>
                <c:pt idx="1596">
                  <c:v>14.38</c:v>
                </c:pt>
                <c:pt idx="1597">
                  <c:v>16.28</c:v>
                </c:pt>
                <c:pt idx="1598">
                  <c:v>16.41</c:v>
                </c:pt>
                <c:pt idx="1599">
                  <c:v>15.8</c:v>
                </c:pt>
                <c:pt idx="1600">
                  <c:v>14.05</c:v>
                </c:pt>
                <c:pt idx="1601">
                  <c:v>14.51</c:v>
                </c:pt>
                <c:pt idx="1602">
                  <c:v>14.59</c:v>
                </c:pt>
                <c:pt idx="1603">
                  <c:v>14.18</c:v>
                </c:pt>
                <c:pt idx="1604">
                  <c:v>13.88</c:v>
                </c:pt>
                <c:pt idx="1605">
                  <c:v>14.07</c:v>
                </c:pt>
                <c:pt idx="1606">
                  <c:v>13.98</c:v>
                </c:pt>
                <c:pt idx="1607">
                  <c:v>14.15</c:v>
                </c:pt>
                <c:pt idx="1608">
                  <c:v>15.43</c:v>
                </c:pt>
                <c:pt idx="1609">
                  <c:v>16.809999999999999</c:v>
                </c:pt>
                <c:pt idx="1610">
                  <c:v>14.84</c:v>
                </c:pt>
                <c:pt idx="1611">
                  <c:v>15.73</c:v>
                </c:pt>
                <c:pt idx="1612">
                  <c:v>16.32</c:v>
                </c:pt>
                <c:pt idx="1613">
                  <c:v>15.71</c:v>
                </c:pt>
                <c:pt idx="1614">
                  <c:v>15.43</c:v>
                </c:pt>
                <c:pt idx="1615">
                  <c:v>14.55</c:v>
                </c:pt>
                <c:pt idx="1616">
                  <c:v>14.33</c:v>
                </c:pt>
                <c:pt idx="1617">
                  <c:v>15.11</c:v>
                </c:pt>
                <c:pt idx="1618">
                  <c:v>16.37</c:v>
                </c:pt>
                <c:pt idx="1619">
                  <c:v>16.29</c:v>
                </c:pt>
                <c:pt idx="1620">
                  <c:v>15.59</c:v>
                </c:pt>
                <c:pt idx="1621">
                  <c:v>16.14</c:v>
                </c:pt>
                <c:pt idx="1622">
                  <c:v>15.27</c:v>
                </c:pt>
                <c:pt idx="1623">
                  <c:v>15.22</c:v>
                </c:pt>
                <c:pt idx="1624">
                  <c:v>15.07</c:v>
                </c:pt>
                <c:pt idx="1625">
                  <c:v>15.03</c:v>
                </c:pt>
                <c:pt idx="1626">
                  <c:v>17.059999999999999</c:v>
                </c:pt>
                <c:pt idx="1627">
                  <c:v>16.62</c:v>
                </c:pt>
                <c:pt idx="1628">
                  <c:v>18.829999999999998</c:v>
                </c:pt>
                <c:pt idx="1629">
                  <c:v>18.329999999999998</c:v>
                </c:pt>
                <c:pt idx="1630">
                  <c:v>18.12</c:v>
                </c:pt>
                <c:pt idx="1631">
                  <c:v>17.809999999999999</c:v>
                </c:pt>
                <c:pt idx="1632">
                  <c:v>18.600000000000001</c:v>
                </c:pt>
                <c:pt idx="1633">
                  <c:v>16.690000000000001</c:v>
                </c:pt>
                <c:pt idx="1634">
                  <c:v>17.59</c:v>
                </c:pt>
                <c:pt idx="1635">
                  <c:v>18.420000000000002</c:v>
                </c:pt>
                <c:pt idx="1636">
                  <c:v>17.579999999999998</c:v>
                </c:pt>
                <c:pt idx="1637">
                  <c:v>19.079999999999998</c:v>
                </c:pt>
                <c:pt idx="1638">
                  <c:v>18.489999999999998</c:v>
                </c:pt>
                <c:pt idx="1639">
                  <c:v>18.61</c:v>
                </c:pt>
                <c:pt idx="1640">
                  <c:v>16.68</c:v>
                </c:pt>
                <c:pt idx="1641">
                  <c:v>16.649999999999999</c:v>
                </c:pt>
                <c:pt idx="1642">
                  <c:v>17.920000000000002</c:v>
                </c:pt>
                <c:pt idx="1643">
                  <c:v>17.989999999999998</c:v>
                </c:pt>
                <c:pt idx="1644">
                  <c:v>16.41</c:v>
                </c:pt>
                <c:pt idx="1645">
                  <c:v>15.24</c:v>
                </c:pt>
                <c:pt idx="1646">
                  <c:v>15.08</c:v>
                </c:pt>
                <c:pt idx="1647">
                  <c:v>15.31</c:v>
                </c:pt>
                <c:pt idx="1648">
                  <c:v>15.14</c:v>
                </c:pt>
                <c:pt idx="1649">
                  <c:v>15.5</c:v>
                </c:pt>
                <c:pt idx="1650">
                  <c:v>15.92</c:v>
                </c:pt>
                <c:pt idx="1651">
                  <c:v>15.51</c:v>
                </c:pt>
                <c:pt idx="1652">
                  <c:v>15.06</c:v>
                </c:pt>
                <c:pt idx="1653">
                  <c:v>15.87</c:v>
                </c:pt>
                <c:pt idx="1654">
                  <c:v>16.64</c:v>
                </c:pt>
                <c:pt idx="1655">
                  <c:v>17.12</c:v>
                </c:pt>
                <c:pt idx="1656">
                  <c:v>16.46</c:v>
                </c:pt>
                <c:pt idx="1657">
                  <c:v>16.579999999999998</c:v>
                </c:pt>
                <c:pt idx="1658">
                  <c:v>15.9</c:v>
                </c:pt>
                <c:pt idx="1659">
                  <c:v>16.05</c:v>
                </c:pt>
                <c:pt idx="1660">
                  <c:v>15.57</c:v>
                </c:pt>
                <c:pt idx="1661">
                  <c:v>15.95</c:v>
                </c:pt>
                <c:pt idx="1662">
                  <c:v>16.559999999999999</c:v>
                </c:pt>
                <c:pt idx="1663">
                  <c:v>17</c:v>
                </c:pt>
                <c:pt idx="1664">
                  <c:v>16.34</c:v>
                </c:pt>
                <c:pt idx="1665">
                  <c:v>15.57</c:v>
                </c:pt>
                <c:pt idx="1666">
                  <c:v>17.36</c:v>
                </c:pt>
                <c:pt idx="1667">
                  <c:v>17.670000000000002</c:v>
                </c:pt>
                <c:pt idx="1668">
                  <c:v>17.84</c:v>
                </c:pt>
                <c:pt idx="1669">
                  <c:v>18.59</c:v>
                </c:pt>
                <c:pt idx="1670">
                  <c:v>19.48</c:v>
                </c:pt>
                <c:pt idx="1671">
                  <c:v>19.47</c:v>
                </c:pt>
                <c:pt idx="1672">
                  <c:v>22.72</c:v>
                </c:pt>
                <c:pt idx="1673">
                  <c:v>18.02</c:v>
                </c:pt>
                <c:pt idx="1674">
                  <c:v>14.68</c:v>
                </c:pt>
                <c:pt idx="1675">
                  <c:v>14.56</c:v>
                </c:pt>
                <c:pt idx="1676">
                  <c:v>13.83</c:v>
                </c:pt>
                <c:pt idx="1677">
                  <c:v>13.79</c:v>
                </c:pt>
                <c:pt idx="1678">
                  <c:v>13.62</c:v>
                </c:pt>
                <c:pt idx="1679">
                  <c:v>13.81</c:v>
                </c:pt>
                <c:pt idx="1680">
                  <c:v>13.49</c:v>
                </c:pt>
                <c:pt idx="1681">
                  <c:v>13.36</c:v>
                </c:pt>
                <c:pt idx="1682">
                  <c:v>13.52</c:v>
                </c:pt>
                <c:pt idx="1683">
                  <c:v>13.55</c:v>
                </c:pt>
                <c:pt idx="1684">
                  <c:v>13.42</c:v>
                </c:pt>
                <c:pt idx="1685">
                  <c:v>13.57</c:v>
                </c:pt>
                <c:pt idx="1686">
                  <c:v>12.46</c:v>
                </c:pt>
                <c:pt idx="1687">
                  <c:v>12.43</c:v>
                </c:pt>
                <c:pt idx="1688">
                  <c:v>12.46</c:v>
                </c:pt>
                <c:pt idx="1689">
                  <c:v>12.69</c:v>
                </c:pt>
                <c:pt idx="1690">
                  <c:v>12.89</c:v>
                </c:pt>
                <c:pt idx="1691">
                  <c:v>13.57</c:v>
                </c:pt>
                <c:pt idx="1692">
                  <c:v>13.31</c:v>
                </c:pt>
                <c:pt idx="1693">
                  <c:v>14.32</c:v>
                </c:pt>
                <c:pt idx="1694">
                  <c:v>14.28</c:v>
                </c:pt>
                <c:pt idx="1695">
                  <c:v>12.9</c:v>
                </c:pt>
                <c:pt idx="1696">
                  <c:v>14.67</c:v>
                </c:pt>
                <c:pt idx="1697">
                  <c:v>13.72</c:v>
                </c:pt>
                <c:pt idx="1698">
                  <c:v>13.41</c:v>
                </c:pt>
                <c:pt idx="1699">
                  <c:v>13.5</c:v>
                </c:pt>
                <c:pt idx="1700">
                  <c:v>13.02</c:v>
                </c:pt>
                <c:pt idx="1701">
                  <c:v>12.94</c:v>
                </c:pt>
                <c:pt idx="1702">
                  <c:v>12.64</c:v>
                </c:pt>
                <c:pt idx="1703">
                  <c:v>12.98</c:v>
                </c:pt>
                <c:pt idx="1704">
                  <c:v>12.66</c:v>
                </c:pt>
                <c:pt idx="1705">
                  <c:v>12.46</c:v>
                </c:pt>
                <c:pt idx="1706">
                  <c:v>12.31</c:v>
                </c:pt>
                <c:pt idx="1707">
                  <c:v>14.68</c:v>
                </c:pt>
                <c:pt idx="1708">
                  <c:v>15.22</c:v>
                </c:pt>
                <c:pt idx="1709">
                  <c:v>14.17</c:v>
                </c:pt>
                <c:pt idx="1710">
                  <c:v>18.989999999999998</c:v>
                </c:pt>
                <c:pt idx="1711">
                  <c:v>16.87</c:v>
                </c:pt>
                <c:pt idx="1712">
                  <c:v>14.73</c:v>
                </c:pt>
                <c:pt idx="1713">
                  <c:v>15.51</c:v>
                </c:pt>
                <c:pt idx="1714">
                  <c:v>15.36</c:v>
                </c:pt>
                <c:pt idx="1715">
                  <c:v>14.01</c:v>
                </c:pt>
                <c:pt idx="1716">
                  <c:v>13.48</c:v>
                </c:pt>
                <c:pt idx="1717">
                  <c:v>13.53</c:v>
                </c:pt>
                <c:pt idx="1718">
                  <c:v>13.06</c:v>
                </c:pt>
                <c:pt idx="1719">
                  <c:v>12.59</c:v>
                </c:pt>
                <c:pt idx="1720">
                  <c:v>11.56</c:v>
                </c:pt>
                <c:pt idx="1721">
                  <c:v>12.27</c:v>
                </c:pt>
                <c:pt idx="1722">
                  <c:v>11.83</c:v>
                </c:pt>
                <c:pt idx="1723">
                  <c:v>11.3</c:v>
                </c:pt>
                <c:pt idx="1724">
                  <c:v>11.3</c:v>
                </c:pt>
                <c:pt idx="1725">
                  <c:v>13.36</c:v>
                </c:pt>
                <c:pt idx="1726">
                  <c:v>14.39</c:v>
                </c:pt>
                <c:pt idx="1727">
                  <c:v>12.67</c:v>
                </c:pt>
                <c:pt idx="1728">
                  <c:v>13.99</c:v>
                </c:pt>
                <c:pt idx="1729">
                  <c:v>13.57</c:v>
                </c:pt>
                <c:pt idx="1730">
                  <c:v>13.74</c:v>
                </c:pt>
                <c:pt idx="1731">
                  <c:v>12.77</c:v>
                </c:pt>
                <c:pt idx="1732">
                  <c:v>13.15</c:v>
                </c:pt>
                <c:pt idx="1733">
                  <c:v>12.7</c:v>
                </c:pt>
                <c:pt idx="1734">
                  <c:v>13.58</c:v>
                </c:pt>
                <c:pt idx="1735">
                  <c:v>12.78</c:v>
                </c:pt>
                <c:pt idx="1736">
                  <c:v>14.21</c:v>
                </c:pt>
                <c:pt idx="1737">
                  <c:v>13.89</c:v>
                </c:pt>
                <c:pt idx="1738">
                  <c:v>13.92</c:v>
                </c:pt>
                <c:pt idx="1739">
                  <c:v>13.19</c:v>
                </c:pt>
                <c:pt idx="1740">
                  <c:v>12.84</c:v>
                </c:pt>
                <c:pt idx="1741">
                  <c:v>12.36</c:v>
                </c:pt>
                <c:pt idx="1742">
                  <c:v>12.24</c:v>
                </c:pt>
                <c:pt idx="1743">
                  <c:v>12.06</c:v>
                </c:pt>
                <c:pt idx="1744">
                  <c:v>17.27</c:v>
                </c:pt>
                <c:pt idx="1745">
                  <c:v>13.96</c:v>
                </c:pt>
                <c:pt idx="1746">
                  <c:v>16.510000000000002</c:v>
                </c:pt>
                <c:pt idx="1747">
                  <c:v>17.559999999999999</c:v>
                </c:pt>
                <c:pt idx="1748">
                  <c:v>14.97</c:v>
                </c:pt>
                <c:pt idx="1749">
                  <c:v>14.39</c:v>
                </c:pt>
                <c:pt idx="1750">
                  <c:v>13.48</c:v>
                </c:pt>
                <c:pt idx="1751">
                  <c:v>13.61</c:v>
                </c:pt>
                <c:pt idx="1752">
                  <c:v>13.62</c:v>
                </c:pt>
                <c:pt idx="1753">
                  <c:v>13.61</c:v>
                </c:pt>
                <c:pt idx="1754">
                  <c:v>13.71</c:v>
                </c:pt>
                <c:pt idx="1755">
                  <c:v>13.52</c:v>
                </c:pt>
                <c:pt idx="1756">
                  <c:v>14.49</c:v>
                </c:pt>
                <c:pt idx="1757">
                  <c:v>13.59</c:v>
                </c:pt>
                <c:pt idx="1758">
                  <c:v>12.85</c:v>
                </c:pt>
                <c:pt idx="1759">
                  <c:v>12.66</c:v>
                </c:pt>
                <c:pt idx="1760">
                  <c:v>12.83</c:v>
                </c:pt>
                <c:pt idx="1761">
                  <c:v>12.66</c:v>
                </c:pt>
                <c:pt idx="1762">
                  <c:v>13.13</c:v>
                </c:pt>
                <c:pt idx="1763">
                  <c:v>12.59</c:v>
                </c:pt>
                <c:pt idx="1764">
                  <c:v>12.55</c:v>
                </c:pt>
                <c:pt idx="1765">
                  <c:v>12.77</c:v>
                </c:pt>
                <c:pt idx="1766">
                  <c:v>12.81</c:v>
                </c:pt>
                <c:pt idx="1767">
                  <c:v>13.07</c:v>
                </c:pt>
                <c:pt idx="1768">
                  <c:v>12.45</c:v>
                </c:pt>
                <c:pt idx="1769">
                  <c:v>13.02</c:v>
                </c:pt>
                <c:pt idx="1770">
                  <c:v>13.37</c:v>
                </c:pt>
                <c:pt idx="1771">
                  <c:v>13.82</c:v>
                </c:pt>
                <c:pt idx="1772">
                  <c:v>14.07</c:v>
                </c:pt>
                <c:pt idx="1773">
                  <c:v>13.99</c:v>
                </c:pt>
                <c:pt idx="1774">
                  <c:v>14.48</c:v>
                </c:pt>
                <c:pt idx="1775">
                  <c:v>14.83</c:v>
                </c:pt>
                <c:pt idx="1776">
                  <c:v>14.53</c:v>
                </c:pt>
                <c:pt idx="1777">
                  <c:v>16.3</c:v>
                </c:pt>
                <c:pt idx="1778">
                  <c:v>16.28</c:v>
                </c:pt>
                <c:pt idx="1779">
                  <c:v>16.27</c:v>
                </c:pt>
                <c:pt idx="1780">
                  <c:v>17.5</c:v>
                </c:pt>
                <c:pt idx="1781">
                  <c:v>16.63</c:v>
                </c:pt>
                <c:pt idx="1782">
                  <c:v>15.14</c:v>
                </c:pt>
                <c:pt idx="1783">
                  <c:v>15.44</c:v>
                </c:pt>
                <c:pt idx="1784">
                  <c:v>17.07</c:v>
                </c:pt>
                <c:pt idx="1785">
                  <c:v>18.59</c:v>
                </c:pt>
                <c:pt idx="1786">
                  <c:v>16.41</c:v>
                </c:pt>
                <c:pt idx="1787">
                  <c:v>17.149999999999999</c:v>
                </c:pt>
                <c:pt idx="1788">
                  <c:v>16.8</c:v>
                </c:pt>
                <c:pt idx="1789">
                  <c:v>16.61</c:v>
                </c:pt>
                <c:pt idx="1790">
                  <c:v>16.64</c:v>
                </c:pt>
                <c:pt idx="1791">
                  <c:v>20.49</c:v>
                </c:pt>
                <c:pt idx="1792">
                  <c:v>18.899999999999999</c:v>
                </c:pt>
                <c:pt idx="1793">
                  <c:v>20.11</c:v>
                </c:pt>
                <c:pt idx="1794">
                  <c:v>18.47</c:v>
                </c:pt>
                <c:pt idx="1795">
                  <c:v>17.21</c:v>
                </c:pt>
                <c:pt idx="1796">
                  <c:v>16.86</c:v>
                </c:pt>
                <c:pt idx="1797">
                  <c:v>16.86</c:v>
                </c:pt>
                <c:pt idx="1798">
                  <c:v>16.37</c:v>
                </c:pt>
                <c:pt idx="1799">
                  <c:v>16.440000000000001</c:v>
                </c:pt>
                <c:pt idx="1800">
                  <c:v>16.2</c:v>
                </c:pt>
                <c:pt idx="1801">
                  <c:v>14.89</c:v>
                </c:pt>
                <c:pt idx="1802">
                  <c:v>14.78</c:v>
                </c:pt>
                <c:pt idx="1803">
                  <c:v>14.35</c:v>
                </c:pt>
                <c:pt idx="1804">
                  <c:v>14.21</c:v>
                </c:pt>
                <c:pt idx="1805">
                  <c:v>14.01</c:v>
                </c:pt>
                <c:pt idx="1806">
                  <c:v>13.84</c:v>
                </c:pt>
                <c:pt idx="1807">
                  <c:v>13.79</c:v>
                </c:pt>
                <c:pt idx="1808">
                  <c:v>14.42</c:v>
                </c:pt>
                <c:pt idx="1809">
                  <c:v>13.78</c:v>
                </c:pt>
                <c:pt idx="1810">
                  <c:v>13.77</c:v>
                </c:pt>
                <c:pt idx="1811">
                  <c:v>12.54</c:v>
                </c:pt>
                <c:pt idx="1812">
                  <c:v>12.29</c:v>
                </c:pt>
                <c:pt idx="1813">
                  <c:v>12.66</c:v>
                </c:pt>
                <c:pt idx="1814">
                  <c:v>13.18</c:v>
                </c:pt>
                <c:pt idx="1815">
                  <c:v>12.97</c:v>
                </c:pt>
                <c:pt idx="1816">
                  <c:v>12.72</c:v>
                </c:pt>
                <c:pt idx="1817">
                  <c:v>13.39</c:v>
                </c:pt>
                <c:pt idx="1818">
                  <c:v>13.39</c:v>
                </c:pt>
                <c:pt idx="1819">
                  <c:v>13.45</c:v>
                </c:pt>
                <c:pt idx="1820">
                  <c:v>12.94</c:v>
                </c:pt>
                <c:pt idx="1821">
                  <c:v>11.98</c:v>
                </c:pt>
                <c:pt idx="1822">
                  <c:v>11.84</c:v>
                </c:pt>
                <c:pt idx="1823">
                  <c:v>12.72</c:v>
                </c:pt>
                <c:pt idx="1824">
                  <c:v>12.98</c:v>
                </c:pt>
                <c:pt idx="1825">
                  <c:v>12.73</c:v>
                </c:pt>
                <c:pt idx="1826">
                  <c:v>13.41</c:v>
                </c:pt>
                <c:pt idx="1827">
                  <c:v>12.81</c:v>
                </c:pt>
                <c:pt idx="1828">
                  <c:v>12.31</c:v>
                </c:pt>
                <c:pt idx="1829">
                  <c:v>13.04</c:v>
                </c:pt>
                <c:pt idx="1830">
                  <c:v>14.73</c:v>
                </c:pt>
                <c:pt idx="1831">
                  <c:v>14.37</c:v>
                </c:pt>
                <c:pt idx="1832">
                  <c:v>15.1</c:v>
                </c:pt>
                <c:pt idx="1833">
                  <c:v>14.91</c:v>
                </c:pt>
                <c:pt idx="1834">
                  <c:v>15.94</c:v>
                </c:pt>
                <c:pt idx="1835">
                  <c:v>14.76</c:v>
                </c:pt>
                <c:pt idx="1836">
                  <c:v>13.98</c:v>
                </c:pt>
                <c:pt idx="1837">
                  <c:v>14.99</c:v>
                </c:pt>
                <c:pt idx="1838">
                  <c:v>16.77</c:v>
                </c:pt>
                <c:pt idx="1839">
                  <c:v>16.489999999999998</c:v>
                </c:pt>
                <c:pt idx="1840">
                  <c:v>16.809999999999999</c:v>
                </c:pt>
                <c:pt idx="1841">
                  <c:v>17.010000000000002</c:v>
                </c:pt>
                <c:pt idx="1842">
                  <c:v>16.61</c:v>
                </c:pt>
                <c:pt idx="1843">
                  <c:v>15.88</c:v>
                </c:pt>
                <c:pt idx="1844">
                  <c:v>15.77</c:v>
                </c:pt>
                <c:pt idx="1845">
                  <c:v>15.85</c:v>
                </c:pt>
                <c:pt idx="1846">
                  <c:v>15.63</c:v>
                </c:pt>
                <c:pt idx="1847">
                  <c:v>14.53</c:v>
                </c:pt>
                <c:pt idx="1848">
                  <c:v>13.82</c:v>
                </c:pt>
                <c:pt idx="1849">
                  <c:v>14.29</c:v>
                </c:pt>
                <c:pt idx="1850">
                  <c:v>14.16</c:v>
                </c:pt>
                <c:pt idx="1851">
                  <c:v>14.38</c:v>
                </c:pt>
                <c:pt idx="1852">
                  <c:v>14.53</c:v>
                </c:pt>
                <c:pt idx="1853">
                  <c:v>13.59</c:v>
                </c:pt>
                <c:pt idx="1854">
                  <c:v>13.16</c:v>
                </c:pt>
                <c:pt idx="1855">
                  <c:v>13.12</c:v>
                </c:pt>
                <c:pt idx="1856">
                  <c:v>14.31</c:v>
                </c:pt>
                <c:pt idx="1857">
                  <c:v>14.08</c:v>
                </c:pt>
                <c:pt idx="1858">
                  <c:v>14.01</c:v>
                </c:pt>
                <c:pt idx="1859">
                  <c:v>14.06</c:v>
                </c:pt>
                <c:pt idx="1860">
                  <c:v>15.46</c:v>
                </c:pt>
                <c:pt idx="1861">
                  <c:v>16.600000000000001</c:v>
                </c:pt>
                <c:pt idx="1862">
                  <c:v>15.54</c:v>
                </c:pt>
                <c:pt idx="1863">
                  <c:v>16.600000000000001</c:v>
                </c:pt>
                <c:pt idx="1864">
                  <c:v>17.670000000000002</c:v>
                </c:pt>
                <c:pt idx="1865">
                  <c:v>16.739999999999998</c:v>
                </c:pt>
                <c:pt idx="1866">
                  <c:v>19.41</c:v>
                </c:pt>
                <c:pt idx="1867">
                  <c:v>20.34</c:v>
                </c:pt>
                <c:pt idx="1868">
                  <c:v>19.600000000000001</c:v>
                </c:pt>
                <c:pt idx="1869">
                  <c:v>16.48</c:v>
                </c:pt>
                <c:pt idx="1870">
                  <c:v>15.72</c:v>
                </c:pt>
                <c:pt idx="1871">
                  <c:v>16.07</c:v>
                </c:pt>
                <c:pt idx="1872">
                  <c:v>18.66</c:v>
                </c:pt>
                <c:pt idx="1873">
                  <c:v>14.71</c:v>
                </c:pt>
                <c:pt idx="1874">
                  <c:v>13.48</c:v>
                </c:pt>
                <c:pt idx="1875">
                  <c:v>13.04</c:v>
                </c:pt>
                <c:pt idx="1876">
                  <c:v>13.16</c:v>
                </c:pt>
                <c:pt idx="1877">
                  <c:v>13.33</c:v>
                </c:pt>
                <c:pt idx="1878">
                  <c:v>13.42</c:v>
                </c:pt>
                <c:pt idx="1879">
                  <c:v>13.2</c:v>
                </c:pt>
                <c:pt idx="1880">
                  <c:v>13.09</c:v>
                </c:pt>
                <c:pt idx="1881">
                  <c:v>13.31</c:v>
                </c:pt>
                <c:pt idx="1882">
                  <c:v>13.41</c:v>
                </c:pt>
                <c:pt idx="1883">
                  <c:v>13.65</c:v>
                </c:pt>
                <c:pt idx="1884">
                  <c:v>13.75</c:v>
                </c:pt>
                <c:pt idx="1885">
                  <c:v>13.28</c:v>
                </c:pt>
                <c:pt idx="1886">
                  <c:v>12.93</c:v>
                </c:pt>
                <c:pt idx="1887">
                  <c:v>13.27</c:v>
                </c:pt>
                <c:pt idx="1888">
                  <c:v>12.67</c:v>
                </c:pt>
                <c:pt idx="1889">
                  <c:v>13.91</c:v>
                </c:pt>
                <c:pt idx="1890">
                  <c:v>12.9</c:v>
                </c:pt>
                <c:pt idx="1891">
                  <c:v>12.53</c:v>
                </c:pt>
                <c:pt idx="1892">
                  <c:v>12.82</c:v>
                </c:pt>
                <c:pt idx="1893">
                  <c:v>12.52</c:v>
                </c:pt>
                <c:pt idx="1894">
                  <c:v>12.37</c:v>
                </c:pt>
                <c:pt idx="1895">
                  <c:v>12.19</c:v>
                </c:pt>
                <c:pt idx="1896">
                  <c:v>13.1</c:v>
                </c:pt>
                <c:pt idx="1897">
                  <c:v>13.39</c:v>
                </c:pt>
                <c:pt idx="1898">
                  <c:v>13.4</c:v>
                </c:pt>
                <c:pt idx="1899">
                  <c:v>12.66</c:v>
                </c:pt>
                <c:pt idx="1900">
                  <c:v>12.26</c:v>
                </c:pt>
                <c:pt idx="1901">
                  <c:v>12.79</c:v>
                </c:pt>
                <c:pt idx="1902">
                  <c:v>12.81</c:v>
                </c:pt>
                <c:pt idx="1903">
                  <c:v>12.98</c:v>
                </c:pt>
                <c:pt idx="1904">
                  <c:v>13.7</c:v>
                </c:pt>
                <c:pt idx="1905">
                  <c:v>14.23</c:v>
                </c:pt>
                <c:pt idx="1906">
                  <c:v>14.55</c:v>
                </c:pt>
                <c:pt idx="1907">
                  <c:v>14.7</c:v>
                </c:pt>
                <c:pt idx="1908">
                  <c:v>15.08</c:v>
                </c:pt>
                <c:pt idx="1909">
                  <c:v>13.79</c:v>
                </c:pt>
                <c:pt idx="1910">
                  <c:v>13.49</c:v>
                </c:pt>
                <c:pt idx="1911">
                  <c:v>13.91</c:v>
                </c:pt>
                <c:pt idx="1912">
                  <c:v>15.42</c:v>
                </c:pt>
                <c:pt idx="1913">
                  <c:v>15.54</c:v>
                </c:pt>
                <c:pt idx="1914">
                  <c:v>15.76</c:v>
                </c:pt>
                <c:pt idx="1915">
                  <c:v>16.03</c:v>
                </c:pt>
                <c:pt idx="1916">
                  <c:v>16.21</c:v>
                </c:pt>
                <c:pt idx="1917">
                  <c:v>13.8</c:v>
                </c:pt>
                <c:pt idx="1918">
                  <c:v>14.15</c:v>
                </c:pt>
                <c:pt idx="1919">
                  <c:v>13.79</c:v>
                </c:pt>
                <c:pt idx="1920">
                  <c:v>13.04</c:v>
                </c:pt>
                <c:pt idx="1921">
                  <c:v>12.48</c:v>
                </c:pt>
                <c:pt idx="1922">
                  <c:v>12.33</c:v>
                </c:pt>
                <c:pt idx="1923">
                  <c:v>12.46</c:v>
                </c:pt>
                <c:pt idx="1924">
                  <c:v>13.56</c:v>
                </c:pt>
                <c:pt idx="1925">
                  <c:v>13.72</c:v>
                </c:pt>
                <c:pt idx="1926">
                  <c:v>14.23</c:v>
                </c:pt>
                <c:pt idx="1927">
                  <c:v>13.76</c:v>
                </c:pt>
                <c:pt idx="1928">
                  <c:v>13.55</c:v>
                </c:pt>
                <c:pt idx="1929">
                  <c:v>12.92</c:v>
                </c:pt>
                <c:pt idx="1930">
                  <c:v>12.87</c:v>
                </c:pt>
                <c:pt idx="1931">
                  <c:v>12.89</c:v>
                </c:pt>
                <c:pt idx="1932">
                  <c:v>12.14</c:v>
                </c:pt>
                <c:pt idx="1933">
                  <c:v>13.28</c:v>
                </c:pt>
                <c:pt idx="1934">
                  <c:v>12.28</c:v>
                </c:pt>
                <c:pt idx="1935">
                  <c:v>12.28</c:v>
                </c:pt>
                <c:pt idx="1936">
                  <c:v>12.53</c:v>
                </c:pt>
                <c:pt idx="1937">
                  <c:v>12.44</c:v>
                </c:pt>
                <c:pt idx="1938">
                  <c:v>12.87</c:v>
                </c:pt>
                <c:pt idx="1939">
                  <c:v>12.84</c:v>
                </c:pt>
                <c:pt idx="1940">
                  <c:v>13.77</c:v>
                </c:pt>
                <c:pt idx="1941">
                  <c:v>18.14</c:v>
                </c:pt>
                <c:pt idx="1942">
                  <c:v>17.420000000000002</c:v>
                </c:pt>
                <c:pt idx="1943">
                  <c:v>15.8</c:v>
                </c:pt>
                <c:pt idx="1944">
                  <c:v>17.350000000000001</c:v>
                </c:pt>
                <c:pt idx="1945">
                  <c:v>17.29</c:v>
                </c:pt>
                <c:pt idx="1946">
                  <c:v>18.41</c:v>
                </c:pt>
                <c:pt idx="1947">
                  <c:v>21.44</c:v>
                </c:pt>
                <c:pt idx="1948">
                  <c:v>19.11</c:v>
                </c:pt>
                <c:pt idx="1949">
                  <c:v>19.95</c:v>
                </c:pt>
                <c:pt idx="1950">
                  <c:v>17.23</c:v>
                </c:pt>
                <c:pt idx="1951">
                  <c:v>15.29</c:v>
                </c:pt>
                <c:pt idx="1952">
                  <c:v>15.26</c:v>
                </c:pt>
                <c:pt idx="1953">
                  <c:v>14.51</c:v>
                </c:pt>
                <c:pt idx="1954">
                  <c:v>14.3</c:v>
                </c:pt>
                <c:pt idx="1955">
                  <c:v>14.14</c:v>
                </c:pt>
                <c:pt idx="1956">
                  <c:v>13.57</c:v>
                </c:pt>
                <c:pt idx="1957">
                  <c:v>13.87</c:v>
                </c:pt>
                <c:pt idx="1958">
                  <c:v>15.5</c:v>
                </c:pt>
                <c:pt idx="1959">
                  <c:v>14.79</c:v>
                </c:pt>
                <c:pt idx="1960">
                  <c:v>14.68</c:v>
                </c:pt>
                <c:pt idx="1961">
                  <c:v>14.23</c:v>
                </c:pt>
                <c:pt idx="1962">
                  <c:v>13.67</c:v>
                </c:pt>
                <c:pt idx="1963">
                  <c:v>14.35</c:v>
                </c:pt>
                <c:pt idx="1964">
                  <c:v>14.04</c:v>
                </c:pt>
                <c:pt idx="1965">
                  <c:v>14</c:v>
                </c:pt>
                <c:pt idx="1966">
                  <c:v>16</c:v>
                </c:pt>
                <c:pt idx="1967">
                  <c:v>14.1</c:v>
                </c:pt>
                <c:pt idx="1968">
                  <c:v>13.89</c:v>
                </c:pt>
                <c:pt idx="1969">
                  <c:v>14.21</c:v>
                </c:pt>
                <c:pt idx="1970">
                  <c:v>14.11</c:v>
                </c:pt>
                <c:pt idx="1971">
                  <c:v>14.2</c:v>
                </c:pt>
                <c:pt idx="1972">
                  <c:v>14.8</c:v>
                </c:pt>
                <c:pt idx="1973">
                  <c:v>14.47</c:v>
                </c:pt>
                <c:pt idx="1974">
                  <c:v>16.22</c:v>
                </c:pt>
                <c:pt idx="1975">
                  <c:v>17.82</c:v>
                </c:pt>
                <c:pt idx="1976">
                  <c:v>15.64</c:v>
                </c:pt>
                <c:pt idx="1977">
                  <c:v>14.52</c:v>
                </c:pt>
                <c:pt idx="1978">
                  <c:v>15.12</c:v>
                </c:pt>
                <c:pt idx="1979">
                  <c:v>14.52</c:v>
                </c:pt>
                <c:pt idx="1980">
                  <c:v>15</c:v>
                </c:pt>
                <c:pt idx="1981">
                  <c:v>15.09</c:v>
                </c:pt>
                <c:pt idx="1982">
                  <c:v>14.02</c:v>
                </c:pt>
                <c:pt idx="1983">
                  <c:v>14.93</c:v>
                </c:pt>
                <c:pt idx="1984">
                  <c:v>14.62</c:v>
                </c:pt>
                <c:pt idx="1985">
                  <c:v>14.41</c:v>
                </c:pt>
                <c:pt idx="1986">
                  <c:v>13.88</c:v>
                </c:pt>
                <c:pt idx="1987">
                  <c:v>13.1</c:v>
                </c:pt>
                <c:pt idx="1988">
                  <c:v>13.09</c:v>
                </c:pt>
                <c:pt idx="1989">
                  <c:v>13.37</c:v>
                </c:pt>
                <c:pt idx="1990">
                  <c:v>13.96</c:v>
                </c:pt>
                <c:pt idx="1991">
                  <c:v>15.57</c:v>
                </c:pt>
                <c:pt idx="1992">
                  <c:v>14.89</c:v>
                </c:pt>
                <c:pt idx="1993">
                  <c:v>13.82</c:v>
                </c:pt>
                <c:pt idx="1994">
                  <c:v>15.89</c:v>
                </c:pt>
                <c:pt idx="1995">
                  <c:v>17.03</c:v>
                </c:pt>
                <c:pt idx="1996">
                  <c:v>16.11</c:v>
                </c:pt>
                <c:pt idx="1997">
                  <c:v>15.61</c:v>
                </c:pt>
                <c:pt idx="1998">
                  <c:v>14.18</c:v>
                </c:pt>
                <c:pt idx="1999">
                  <c:v>13.36</c:v>
                </c:pt>
                <c:pt idx="2000">
                  <c:v>13.25</c:v>
                </c:pt>
                <c:pt idx="2001">
                  <c:v>13.19</c:v>
                </c:pt>
                <c:pt idx="2002">
                  <c:v>13.27</c:v>
                </c:pt>
                <c:pt idx="2003">
                  <c:v>13.32</c:v>
                </c:pt>
                <c:pt idx="2004">
                  <c:v>14.06</c:v>
                </c:pt>
                <c:pt idx="2005">
                  <c:v>13.97</c:v>
                </c:pt>
                <c:pt idx="2006">
                  <c:v>13.71</c:v>
                </c:pt>
                <c:pt idx="2007">
                  <c:v>13.41</c:v>
                </c:pt>
                <c:pt idx="2008">
                  <c:v>13.25</c:v>
                </c:pt>
                <c:pt idx="2009">
                  <c:v>12.91</c:v>
                </c:pt>
                <c:pt idx="2010">
                  <c:v>13.29</c:v>
                </c:pt>
                <c:pt idx="2011">
                  <c:v>13.8</c:v>
                </c:pt>
                <c:pt idx="2012">
                  <c:v>13.4</c:v>
                </c:pt>
                <c:pt idx="2013">
                  <c:v>13.43</c:v>
                </c:pt>
                <c:pt idx="2014">
                  <c:v>12.92</c:v>
                </c:pt>
                <c:pt idx="2015">
                  <c:v>12.23</c:v>
                </c:pt>
                <c:pt idx="2016">
                  <c:v>12.13</c:v>
                </c:pt>
                <c:pt idx="2017">
                  <c:v>12.17</c:v>
                </c:pt>
                <c:pt idx="2018">
                  <c:v>13.17</c:v>
                </c:pt>
                <c:pt idx="2019">
                  <c:v>12.44</c:v>
                </c:pt>
                <c:pt idx="2020">
                  <c:v>12.42</c:v>
                </c:pt>
                <c:pt idx="2021">
                  <c:v>12.96</c:v>
                </c:pt>
                <c:pt idx="2022">
                  <c:v>11.91</c:v>
                </c:pt>
                <c:pt idx="2023">
                  <c:v>12.03</c:v>
                </c:pt>
                <c:pt idx="2024">
                  <c:v>11.36</c:v>
                </c:pt>
                <c:pt idx="2025">
                  <c:v>11.51</c:v>
                </c:pt>
                <c:pt idx="2026">
                  <c:v>11.68</c:v>
                </c:pt>
                <c:pt idx="2027">
                  <c:v>11.57</c:v>
                </c:pt>
                <c:pt idx="2028">
                  <c:v>11.4</c:v>
                </c:pt>
                <c:pt idx="2029">
                  <c:v>11.58</c:v>
                </c:pt>
                <c:pt idx="2030">
                  <c:v>11.87</c:v>
                </c:pt>
                <c:pt idx="2031">
                  <c:v>12.08</c:v>
                </c:pt>
                <c:pt idx="2032">
                  <c:v>11.68</c:v>
                </c:pt>
                <c:pt idx="2033">
                  <c:v>10.73</c:v>
                </c:pt>
                <c:pt idx="2034">
                  <c:v>11.15</c:v>
                </c:pt>
                <c:pt idx="2035">
                  <c:v>10.99</c:v>
                </c:pt>
                <c:pt idx="2036">
                  <c:v>11.6</c:v>
                </c:pt>
                <c:pt idx="2037">
                  <c:v>12.56</c:v>
                </c:pt>
                <c:pt idx="2038">
                  <c:v>12.18</c:v>
                </c:pt>
                <c:pt idx="2039">
                  <c:v>12.65</c:v>
                </c:pt>
                <c:pt idx="2040">
                  <c:v>12.06</c:v>
                </c:pt>
                <c:pt idx="2041">
                  <c:v>10.61</c:v>
                </c:pt>
                <c:pt idx="2042">
                  <c:v>10.62</c:v>
                </c:pt>
                <c:pt idx="2043">
                  <c:v>10.85</c:v>
                </c:pt>
                <c:pt idx="2044">
                  <c:v>10.98</c:v>
                </c:pt>
                <c:pt idx="2045">
                  <c:v>12.13</c:v>
                </c:pt>
                <c:pt idx="2046">
                  <c:v>11.59</c:v>
                </c:pt>
                <c:pt idx="2047">
                  <c:v>11.63</c:v>
                </c:pt>
                <c:pt idx="2048">
                  <c:v>11.26</c:v>
                </c:pt>
                <c:pt idx="2049">
                  <c:v>11.57</c:v>
                </c:pt>
                <c:pt idx="2050">
                  <c:v>11.15</c:v>
                </c:pt>
                <c:pt idx="2051">
                  <c:v>10.82</c:v>
                </c:pt>
                <c:pt idx="2052">
                  <c:v>10.32</c:v>
                </c:pt>
                <c:pt idx="2053">
                  <c:v>11.33</c:v>
                </c:pt>
                <c:pt idx="2054">
                  <c:v>11.98</c:v>
                </c:pt>
                <c:pt idx="2055">
                  <c:v>11.65</c:v>
                </c:pt>
                <c:pt idx="2056">
                  <c:v>12.59</c:v>
                </c:pt>
                <c:pt idx="2057">
                  <c:v>12.08</c:v>
                </c:pt>
                <c:pt idx="2058">
                  <c:v>11.82</c:v>
                </c:pt>
                <c:pt idx="2059">
                  <c:v>11.96</c:v>
                </c:pt>
                <c:pt idx="2060">
                  <c:v>11</c:v>
                </c:pt>
                <c:pt idx="2061">
                  <c:v>14.54</c:v>
                </c:pt>
                <c:pt idx="2062">
                  <c:v>12.06</c:v>
                </c:pt>
                <c:pt idx="2063">
                  <c:v>12.81</c:v>
                </c:pt>
                <c:pt idx="2064">
                  <c:v>12.24</c:v>
                </c:pt>
                <c:pt idx="2065">
                  <c:v>11.52</c:v>
                </c:pt>
                <c:pt idx="2066">
                  <c:v>11.84</c:v>
                </c:pt>
                <c:pt idx="2067">
                  <c:v>12.69</c:v>
                </c:pt>
                <c:pt idx="2068">
                  <c:v>12.56</c:v>
                </c:pt>
                <c:pt idx="2069">
                  <c:v>13.28</c:v>
                </c:pt>
                <c:pt idx="2070">
                  <c:v>13.33</c:v>
                </c:pt>
                <c:pt idx="2071">
                  <c:v>16.95</c:v>
                </c:pt>
                <c:pt idx="2072">
                  <c:v>17.03</c:v>
                </c:pt>
                <c:pt idx="2073">
                  <c:v>15.12</c:v>
                </c:pt>
                <c:pt idx="2074">
                  <c:v>16.87</c:v>
                </c:pt>
                <c:pt idx="2075">
                  <c:v>16.37</c:v>
                </c:pt>
                <c:pt idx="2076">
                  <c:v>16.66</c:v>
                </c:pt>
                <c:pt idx="2077">
                  <c:v>15.77</c:v>
                </c:pt>
                <c:pt idx="2078">
                  <c:v>14.23</c:v>
                </c:pt>
                <c:pt idx="2079">
                  <c:v>14.13</c:v>
                </c:pt>
                <c:pt idx="2080">
                  <c:v>12.9</c:v>
                </c:pt>
                <c:pt idx="2081">
                  <c:v>12.42</c:v>
                </c:pt>
                <c:pt idx="2082">
                  <c:v>13.15</c:v>
                </c:pt>
                <c:pt idx="2083">
                  <c:v>12.32</c:v>
                </c:pt>
                <c:pt idx="2084">
                  <c:v>12.21</c:v>
                </c:pt>
                <c:pt idx="2085">
                  <c:v>11.78</c:v>
                </c:pt>
                <c:pt idx="2086">
                  <c:v>11.76</c:v>
                </c:pt>
                <c:pt idx="2087">
                  <c:v>11.47</c:v>
                </c:pt>
                <c:pt idx="2088">
                  <c:v>11.7</c:v>
                </c:pt>
                <c:pt idx="2089">
                  <c:v>11.63</c:v>
                </c:pt>
                <c:pt idx="2090">
                  <c:v>11.78</c:v>
                </c:pt>
                <c:pt idx="2091">
                  <c:v>12.05</c:v>
                </c:pt>
                <c:pt idx="2092">
                  <c:v>11.98</c:v>
                </c:pt>
                <c:pt idx="2093">
                  <c:v>12.25</c:v>
                </c:pt>
                <c:pt idx="2094">
                  <c:v>12.36</c:v>
                </c:pt>
                <c:pt idx="2095">
                  <c:v>12.64</c:v>
                </c:pt>
                <c:pt idx="2096">
                  <c:v>12.09</c:v>
                </c:pt>
                <c:pt idx="2097">
                  <c:v>12.66</c:v>
                </c:pt>
                <c:pt idx="2098">
                  <c:v>13.5</c:v>
                </c:pt>
                <c:pt idx="2099">
                  <c:v>12.88</c:v>
                </c:pt>
                <c:pt idx="2100">
                  <c:v>12.8</c:v>
                </c:pt>
                <c:pt idx="2101">
                  <c:v>13.31</c:v>
                </c:pt>
                <c:pt idx="2102">
                  <c:v>14.12</c:v>
                </c:pt>
                <c:pt idx="2103">
                  <c:v>12.73</c:v>
                </c:pt>
                <c:pt idx="2104">
                  <c:v>12.65</c:v>
                </c:pt>
                <c:pt idx="2105">
                  <c:v>12.03</c:v>
                </c:pt>
                <c:pt idx="2106">
                  <c:v>12.11</c:v>
                </c:pt>
                <c:pt idx="2107">
                  <c:v>13.69</c:v>
                </c:pt>
                <c:pt idx="2108">
                  <c:v>14.93</c:v>
                </c:pt>
                <c:pt idx="2109">
                  <c:v>13.27</c:v>
                </c:pt>
                <c:pt idx="2110">
                  <c:v>15.64</c:v>
                </c:pt>
                <c:pt idx="2111">
                  <c:v>14.85</c:v>
                </c:pt>
                <c:pt idx="2112">
                  <c:v>15.98</c:v>
                </c:pt>
                <c:pt idx="2113">
                  <c:v>16.309999999999999</c:v>
                </c:pt>
                <c:pt idx="2114">
                  <c:v>16.71</c:v>
                </c:pt>
                <c:pt idx="2115">
                  <c:v>16.16</c:v>
                </c:pt>
                <c:pt idx="2116">
                  <c:v>14.55</c:v>
                </c:pt>
                <c:pt idx="2117">
                  <c:v>15.46</c:v>
                </c:pt>
                <c:pt idx="2118">
                  <c:v>17.2</c:v>
                </c:pt>
                <c:pt idx="2119">
                  <c:v>15.11</c:v>
                </c:pt>
                <c:pt idx="2120">
                  <c:v>18.760000000000002</c:v>
                </c:pt>
                <c:pt idx="2121">
                  <c:v>21.24</c:v>
                </c:pt>
                <c:pt idx="2122">
                  <c:v>24.64</c:v>
                </c:pt>
                <c:pt idx="2123">
                  <c:v>22.79</c:v>
                </c:pt>
                <c:pt idx="2124">
                  <c:v>26.25</c:v>
                </c:pt>
                <c:pt idx="2125">
                  <c:v>25.2</c:v>
                </c:pt>
                <c:pt idx="2126">
                  <c:v>21.99</c:v>
                </c:pt>
                <c:pt idx="2127">
                  <c:v>18.57</c:v>
                </c:pt>
                <c:pt idx="2128">
                  <c:v>16.079999999999998</c:v>
                </c:pt>
                <c:pt idx="2129">
                  <c:v>17.87</c:v>
                </c:pt>
                <c:pt idx="2130">
                  <c:v>16.53</c:v>
                </c:pt>
                <c:pt idx="2131">
                  <c:v>16.11</c:v>
                </c:pt>
                <c:pt idx="2132">
                  <c:v>16.04</c:v>
                </c:pt>
                <c:pt idx="2133">
                  <c:v>14.39</c:v>
                </c:pt>
                <c:pt idx="2134">
                  <c:v>15.15</c:v>
                </c:pt>
                <c:pt idx="2135">
                  <c:v>14.52</c:v>
                </c:pt>
                <c:pt idx="2136">
                  <c:v>14.03</c:v>
                </c:pt>
                <c:pt idx="2137">
                  <c:v>14.73</c:v>
                </c:pt>
                <c:pt idx="2138">
                  <c:v>14.89</c:v>
                </c:pt>
                <c:pt idx="2139">
                  <c:v>14.17</c:v>
                </c:pt>
                <c:pt idx="2140">
                  <c:v>13.67</c:v>
                </c:pt>
                <c:pt idx="2141">
                  <c:v>13.12</c:v>
                </c:pt>
                <c:pt idx="2142">
                  <c:v>12.67</c:v>
                </c:pt>
                <c:pt idx="2143">
                  <c:v>12.92</c:v>
                </c:pt>
                <c:pt idx="2144">
                  <c:v>13.02</c:v>
                </c:pt>
                <c:pt idx="2145">
                  <c:v>13.79</c:v>
                </c:pt>
                <c:pt idx="2146">
                  <c:v>13.31</c:v>
                </c:pt>
                <c:pt idx="2147">
                  <c:v>13.99</c:v>
                </c:pt>
                <c:pt idx="2148">
                  <c:v>13.86</c:v>
                </c:pt>
                <c:pt idx="2149">
                  <c:v>13.96</c:v>
                </c:pt>
                <c:pt idx="2150">
                  <c:v>13.58</c:v>
                </c:pt>
                <c:pt idx="2151">
                  <c:v>12.9</c:v>
                </c:pt>
                <c:pt idx="2152">
                  <c:v>12.62</c:v>
                </c:pt>
                <c:pt idx="2153">
                  <c:v>12.25</c:v>
                </c:pt>
                <c:pt idx="2154">
                  <c:v>12.07</c:v>
                </c:pt>
                <c:pt idx="2155">
                  <c:v>13.33</c:v>
                </c:pt>
                <c:pt idx="2156">
                  <c:v>14.29</c:v>
                </c:pt>
                <c:pt idx="2157">
                  <c:v>12.85</c:v>
                </c:pt>
                <c:pt idx="2158">
                  <c:v>12.47</c:v>
                </c:pt>
                <c:pt idx="2159">
                  <c:v>12.38</c:v>
                </c:pt>
                <c:pt idx="2160">
                  <c:v>11.82</c:v>
                </c:pt>
                <c:pt idx="2161">
                  <c:v>14.21</c:v>
                </c:pt>
                <c:pt idx="2162">
                  <c:v>14.89</c:v>
                </c:pt>
                <c:pt idx="2163">
                  <c:v>18.53</c:v>
                </c:pt>
                <c:pt idx="2164">
                  <c:v>20.079999999999998</c:v>
                </c:pt>
                <c:pt idx="2165">
                  <c:v>21.08</c:v>
                </c:pt>
                <c:pt idx="2166">
                  <c:v>20.420000000000002</c:v>
                </c:pt>
                <c:pt idx="2167">
                  <c:v>23.57</c:v>
                </c:pt>
                <c:pt idx="2168">
                  <c:v>19.440000000000001</c:v>
                </c:pt>
                <c:pt idx="2169">
                  <c:v>16.809999999999999</c:v>
                </c:pt>
                <c:pt idx="2170">
                  <c:v>16.489999999999998</c:v>
                </c:pt>
                <c:pt idx="2171">
                  <c:v>15.25</c:v>
                </c:pt>
                <c:pt idx="2172">
                  <c:v>14.8</c:v>
                </c:pt>
                <c:pt idx="2173">
                  <c:v>14.37</c:v>
                </c:pt>
                <c:pt idx="2174">
                  <c:v>14.5</c:v>
                </c:pt>
                <c:pt idx="2175">
                  <c:v>15.06</c:v>
                </c:pt>
                <c:pt idx="2176">
                  <c:v>15.92</c:v>
                </c:pt>
                <c:pt idx="2177">
                  <c:v>19.2</c:v>
                </c:pt>
                <c:pt idx="2178">
                  <c:v>17.79</c:v>
                </c:pt>
                <c:pt idx="2179">
                  <c:v>19.920000000000002</c:v>
                </c:pt>
                <c:pt idx="2180">
                  <c:v>21.12</c:v>
                </c:pt>
                <c:pt idx="2181">
                  <c:v>19.309999999999999</c:v>
                </c:pt>
                <c:pt idx="2182">
                  <c:v>17.010000000000002</c:v>
                </c:pt>
                <c:pt idx="2183">
                  <c:v>17.55</c:v>
                </c:pt>
                <c:pt idx="2184">
                  <c:v>19.600000000000001</c:v>
                </c:pt>
                <c:pt idx="2185">
                  <c:v>20.56</c:v>
                </c:pt>
                <c:pt idx="2186">
                  <c:v>21.48</c:v>
                </c:pt>
                <c:pt idx="2187">
                  <c:v>22.39</c:v>
                </c:pt>
                <c:pt idx="2188">
                  <c:v>20.95</c:v>
                </c:pt>
                <c:pt idx="2189">
                  <c:v>19.89</c:v>
                </c:pt>
                <c:pt idx="2190">
                  <c:v>18.850000000000001</c:v>
                </c:pt>
                <c:pt idx="2191">
                  <c:v>16.399999999999999</c:v>
                </c:pt>
                <c:pt idx="2192">
                  <c:v>16.66</c:v>
                </c:pt>
                <c:pt idx="2193">
                  <c:v>15.52</c:v>
                </c:pt>
                <c:pt idx="2194">
                  <c:v>17.22</c:v>
                </c:pt>
                <c:pt idx="2195">
                  <c:v>20.440000000000001</c:v>
                </c:pt>
                <c:pt idx="2196">
                  <c:v>18.760000000000002</c:v>
                </c:pt>
                <c:pt idx="2197">
                  <c:v>20.97</c:v>
                </c:pt>
                <c:pt idx="2198">
                  <c:v>19.43</c:v>
                </c:pt>
                <c:pt idx="2199">
                  <c:v>17.329999999999998</c:v>
                </c:pt>
                <c:pt idx="2200">
                  <c:v>18.329999999999998</c:v>
                </c:pt>
                <c:pt idx="2201">
                  <c:v>16.850000000000001</c:v>
                </c:pt>
                <c:pt idx="2202">
                  <c:v>17.29</c:v>
                </c:pt>
                <c:pt idx="2203">
                  <c:v>18.55</c:v>
                </c:pt>
                <c:pt idx="2204">
                  <c:v>17.23</c:v>
                </c:pt>
                <c:pt idx="2205">
                  <c:v>16.96</c:v>
                </c:pt>
                <c:pt idx="2206">
                  <c:v>15.34</c:v>
                </c:pt>
                <c:pt idx="2207">
                  <c:v>14.69</c:v>
                </c:pt>
                <c:pt idx="2208">
                  <c:v>15.8</c:v>
                </c:pt>
                <c:pt idx="2209">
                  <c:v>15.45</c:v>
                </c:pt>
                <c:pt idx="2210">
                  <c:v>15.29</c:v>
                </c:pt>
                <c:pt idx="2211">
                  <c:v>14.3</c:v>
                </c:pt>
                <c:pt idx="2212">
                  <c:v>14.56</c:v>
                </c:pt>
                <c:pt idx="2213">
                  <c:v>13.69</c:v>
                </c:pt>
                <c:pt idx="2214">
                  <c:v>13.84</c:v>
                </c:pt>
                <c:pt idx="2215">
                  <c:v>13.91</c:v>
                </c:pt>
                <c:pt idx="2216">
                  <c:v>13.34</c:v>
                </c:pt>
                <c:pt idx="2217">
                  <c:v>13.04</c:v>
                </c:pt>
                <c:pt idx="2218">
                  <c:v>13.86</c:v>
                </c:pt>
                <c:pt idx="2219">
                  <c:v>14.23</c:v>
                </c:pt>
                <c:pt idx="2220">
                  <c:v>14.04</c:v>
                </c:pt>
                <c:pt idx="2221">
                  <c:v>15.2</c:v>
                </c:pt>
                <c:pt idx="2222">
                  <c:v>15.06</c:v>
                </c:pt>
                <c:pt idx="2223">
                  <c:v>16.690000000000001</c:v>
                </c:pt>
                <c:pt idx="2224">
                  <c:v>16.87</c:v>
                </c:pt>
                <c:pt idx="2225">
                  <c:v>15.42</c:v>
                </c:pt>
                <c:pt idx="2226">
                  <c:v>16</c:v>
                </c:pt>
                <c:pt idx="2227">
                  <c:v>15.61</c:v>
                </c:pt>
                <c:pt idx="2228">
                  <c:v>15.66</c:v>
                </c:pt>
                <c:pt idx="2229">
                  <c:v>13.97</c:v>
                </c:pt>
                <c:pt idx="2230">
                  <c:v>14.07</c:v>
                </c:pt>
                <c:pt idx="2231">
                  <c:v>13.02</c:v>
                </c:pt>
                <c:pt idx="2232">
                  <c:v>13.41</c:v>
                </c:pt>
                <c:pt idx="2233">
                  <c:v>13.62</c:v>
                </c:pt>
                <c:pt idx="2234">
                  <c:v>15.44</c:v>
                </c:pt>
                <c:pt idx="2235">
                  <c:v>15.8</c:v>
                </c:pt>
                <c:pt idx="2236">
                  <c:v>15.07</c:v>
                </c:pt>
                <c:pt idx="2237">
                  <c:v>14.51</c:v>
                </c:pt>
                <c:pt idx="2238">
                  <c:v>15.29</c:v>
                </c:pt>
                <c:pt idx="2239">
                  <c:v>15.11</c:v>
                </c:pt>
                <c:pt idx="2240">
                  <c:v>14.67</c:v>
                </c:pt>
                <c:pt idx="2241">
                  <c:v>14.74</c:v>
                </c:pt>
                <c:pt idx="2242">
                  <c:v>14.78</c:v>
                </c:pt>
                <c:pt idx="2243">
                  <c:v>13.98</c:v>
                </c:pt>
                <c:pt idx="2244">
                  <c:v>13.09</c:v>
                </c:pt>
                <c:pt idx="2245">
                  <c:v>12.58</c:v>
                </c:pt>
                <c:pt idx="2246">
                  <c:v>13.94</c:v>
                </c:pt>
                <c:pt idx="2247">
                  <c:v>13.67</c:v>
                </c:pt>
                <c:pt idx="2248">
                  <c:v>12.84</c:v>
                </c:pt>
                <c:pt idx="2249">
                  <c:v>12.6</c:v>
                </c:pt>
                <c:pt idx="2250">
                  <c:v>13.89</c:v>
                </c:pt>
                <c:pt idx="2251">
                  <c:v>13.3</c:v>
                </c:pt>
                <c:pt idx="2252">
                  <c:v>13.25</c:v>
                </c:pt>
                <c:pt idx="2253">
                  <c:v>12.71</c:v>
                </c:pt>
                <c:pt idx="2254">
                  <c:v>12.48</c:v>
                </c:pt>
                <c:pt idx="2255">
                  <c:v>12.29</c:v>
                </c:pt>
                <c:pt idx="2256">
                  <c:v>13.12</c:v>
                </c:pt>
                <c:pt idx="2257">
                  <c:v>12.41</c:v>
                </c:pt>
                <c:pt idx="2258">
                  <c:v>13.39</c:v>
                </c:pt>
                <c:pt idx="2259">
                  <c:v>14.55</c:v>
                </c:pt>
                <c:pt idx="2260">
                  <c:v>12.7</c:v>
                </c:pt>
                <c:pt idx="2261">
                  <c:v>12.85</c:v>
                </c:pt>
                <c:pt idx="2262">
                  <c:v>14.31</c:v>
                </c:pt>
                <c:pt idx="2263">
                  <c:v>15.15</c:v>
                </c:pt>
                <c:pt idx="2264">
                  <c:v>15.13</c:v>
                </c:pt>
                <c:pt idx="2265">
                  <c:v>12.86</c:v>
                </c:pt>
                <c:pt idx="2266">
                  <c:v>13.85</c:v>
                </c:pt>
                <c:pt idx="2267">
                  <c:v>13.86</c:v>
                </c:pt>
                <c:pt idx="2268">
                  <c:v>13.76</c:v>
                </c:pt>
                <c:pt idx="2269">
                  <c:v>12.74</c:v>
                </c:pt>
                <c:pt idx="2270">
                  <c:v>12.38</c:v>
                </c:pt>
                <c:pt idx="2271">
                  <c:v>12.73</c:v>
                </c:pt>
                <c:pt idx="2272">
                  <c:v>12.85</c:v>
                </c:pt>
                <c:pt idx="2273">
                  <c:v>12.88</c:v>
                </c:pt>
                <c:pt idx="2274">
                  <c:v>12.11</c:v>
                </c:pt>
                <c:pt idx="2275">
                  <c:v>12.13</c:v>
                </c:pt>
                <c:pt idx="2276">
                  <c:v>14.06</c:v>
                </c:pt>
                <c:pt idx="2277">
                  <c:v>13.27</c:v>
                </c:pt>
                <c:pt idx="2278">
                  <c:v>13.31</c:v>
                </c:pt>
                <c:pt idx="2279">
                  <c:v>13.84</c:v>
                </c:pt>
                <c:pt idx="2280">
                  <c:v>13.97</c:v>
                </c:pt>
                <c:pt idx="2281">
                  <c:v>14.24</c:v>
                </c:pt>
                <c:pt idx="2282">
                  <c:v>13.66</c:v>
                </c:pt>
                <c:pt idx="2283">
                  <c:v>14.71</c:v>
                </c:pt>
                <c:pt idx="2284">
                  <c:v>14.21</c:v>
                </c:pt>
                <c:pt idx="2285">
                  <c:v>15.29</c:v>
                </c:pt>
                <c:pt idx="2286">
                  <c:v>14.47</c:v>
                </c:pt>
                <c:pt idx="2287">
                  <c:v>13.22</c:v>
                </c:pt>
                <c:pt idx="2288">
                  <c:v>12.85</c:v>
                </c:pt>
                <c:pt idx="2289">
                  <c:v>13.78</c:v>
                </c:pt>
                <c:pt idx="2290">
                  <c:v>15.39</c:v>
                </c:pt>
                <c:pt idx="2291">
                  <c:v>14.81</c:v>
                </c:pt>
                <c:pt idx="2292">
                  <c:v>14.5</c:v>
                </c:pt>
                <c:pt idx="2293">
                  <c:v>13.19</c:v>
                </c:pt>
                <c:pt idx="2294">
                  <c:v>13.96</c:v>
                </c:pt>
                <c:pt idx="2295">
                  <c:v>12.74</c:v>
                </c:pt>
                <c:pt idx="2296">
                  <c:v>12.11</c:v>
                </c:pt>
                <c:pt idx="2297">
                  <c:v>13.26</c:v>
                </c:pt>
                <c:pt idx="2298">
                  <c:v>14.01</c:v>
                </c:pt>
                <c:pt idx="2299">
                  <c:v>14.02</c:v>
                </c:pt>
                <c:pt idx="2300">
                  <c:v>18.850000000000001</c:v>
                </c:pt>
                <c:pt idx="2301">
                  <c:v>18.23</c:v>
                </c:pt>
                <c:pt idx="2302">
                  <c:v>16.09</c:v>
                </c:pt>
                <c:pt idx="2303">
                  <c:v>16.79</c:v>
                </c:pt>
                <c:pt idx="2304">
                  <c:v>17.010000000000002</c:v>
                </c:pt>
                <c:pt idx="2305">
                  <c:v>16.09</c:v>
                </c:pt>
                <c:pt idx="2306">
                  <c:v>19.66</c:v>
                </c:pt>
                <c:pt idx="2307">
                  <c:v>19.97</c:v>
                </c:pt>
                <c:pt idx="2308">
                  <c:v>16.829999999999998</c:v>
                </c:pt>
                <c:pt idx="2309">
                  <c:v>13.9</c:v>
                </c:pt>
                <c:pt idx="2310">
                  <c:v>13.37</c:v>
                </c:pt>
                <c:pt idx="2311">
                  <c:v>13.23</c:v>
                </c:pt>
                <c:pt idx="2312">
                  <c:v>12.11</c:v>
                </c:pt>
                <c:pt idx="2313">
                  <c:v>11.95</c:v>
                </c:pt>
                <c:pt idx="2314">
                  <c:v>12.25</c:v>
                </c:pt>
                <c:pt idx="2315">
                  <c:v>12.22</c:v>
                </c:pt>
                <c:pt idx="2316">
                  <c:v>12.12</c:v>
                </c:pt>
                <c:pt idx="2317">
                  <c:v>12.64</c:v>
                </c:pt>
                <c:pt idx="2318">
                  <c:v>13.74</c:v>
                </c:pt>
                <c:pt idx="2319">
                  <c:v>15.6</c:v>
                </c:pt>
                <c:pt idx="2320">
                  <c:v>13.44</c:v>
                </c:pt>
                <c:pt idx="2321">
                  <c:v>12.5</c:v>
                </c:pt>
                <c:pt idx="2322">
                  <c:v>12.13</c:v>
                </c:pt>
                <c:pt idx="2323">
                  <c:v>12.12</c:v>
                </c:pt>
                <c:pt idx="2324">
                  <c:v>12.56</c:v>
                </c:pt>
                <c:pt idx="2325">
                  <c:v>13</c:v>
                </c:pt>
                <c:pt idx="2326">
                  <c:v>12.51</c:v>
                </c:pt>
                <c:pt idx="2327">
                  <c:v>13.77</c:v>
                </c:pt>
                <c:pt idx="2328">
                  <c:v>13.39</c:v>
                </c:pt>
                <c:pt idx="2329">
                  <c:v>12.23</c:v>
                </c:pt>
                <c:pt idx="2330">
                  <c:v>13.71</c:v>
                </c:pt>
                <c:pt idx="2331">
                  <c:v>13.61</c:v>
                </c:pt>
                <c:pt idx="2332">
                  <c:v>13.49</c:v>
                </c:pt>
                <c:pt idx="2333">
                  <c:v>12.83</c:v>
                </c:pt>
                <c:pt idx="2334">
                  <c:v>13.02</c:v>
                </c:pt>
                <c:pt idx="2335">
                  <c:v>13.79</c:v>
                </c:pt>
                <c:pt idx="2336">
                  <c:v>15.25</c:v>
                </c:pt>
                <c:pt idx="2337">
                  <c:v>19.14</c:v>
                </c:pt>
                <c:pt idx="2338">
                  <c:v>28.03</c:v>
                </c:pt>
                <c:pt idx="2339">
                  <c:v>40.74</c:v>
                </c:pt>
                <c:pt idx="2340">
                  <c:v>36.020000000000003</c:v>
                </c:pt>
                <c:pt idx="2341">
                  <c:v>30.32</c:v>
                </c:pt>
                <c:pt idx="2342">
                  <c:v>26.1</c:v>
                </c:pt>
                <c:pt idx="2343">
                  <c:v>26.05</c:v>
                </c:pt>
                <c:pt idx="2344">
                  <c:v>28.43</c:v>
                </c:pt>
                <c:pt idx="2345">
                  <c:v>31.4</c:v>
                </c:pt>
                <c:pt idx="2346">
                  <c:v>26.09</c:v>
                </c:pt>
                <c:pt idx="2347">
                  <c:v>25.61</c:v>
                </c:pt>
                <c:pt idx="2348">
                  <c:v>27.8</c:v>
                </c:pt>
                <c:pt idx="2349">
                  <c:v>24.9</c:v>
                </c:pt>
                <c:pt idx="2350">
                  <c:v>26.23</c:v>
                </c:pt>
                <c:pt idx="2351">
                  <c:v>24.37</c:v>
                </c:pt>
                <c:pt idx="2352">
                  <c:v>23.2</c:v>
                </c:pt>
                <c:pt idx="2353">
                  <c:v>24.25</c:v>
                </c:pt>
                <c:pt idx="2354">
                  <c:v>22.54</c:v>
                </c:pt>
                <c:pt idx="2355">
                  <c:v>21.35</c:v>
                </c:pt>
                <c:pt idx="2356">
                  <c:v>21.14</c:v>
                </c:pt>
                <c:pt idx="2357">
                  <c:v>22.28</c:v>
                </c:pt>
                <c:pt idx="2358">
                  <c:v>20.14</c:v>
                </c:pt>
                <c:pt idx="2359">
                  <c:v>22.44</c:v>
                </c:pt>
                <c:pt idx="2360">
                  <c:v>22.13</c:v>
                </c:pt>
                <c:pt idx="2361">
                  <c:v>23.47</c:v>
                </c:pt>
                <c:pt idx="2362">
                  <c:v>23.62</c:v>
                </c:pt>
                <c:pt idx="2363">
                  <c:v>27.63</c:v>
                </c:pt>
                <c:pt idx="2364">
                  <c:v>26.83</c:v>
                </c:pt>
                <c:pt idx="2365">
                  <c:v>24.5</c:v>
                </c:pt>
                <c:pt idx="2366">
                  <c:v>22.55</c:v>
                </c:pt>
                <c:pt idx="2367">
                  <c:v>20.94</c:v>
                </c:pt>
                <c:pt idx="2368">
                  <c:v>19.54</c:v>
                </c:pt>
                <c:pt idx="2369">
                  <c:v>19.399999999999999</c:v>
                </c:pt>
                <c:pt idx="2370">
                  <c:v>18.399999999999999</c:v>
                </c:pt>
                <c:pt idx="2371">
                  <c:v>17.420000000000002</c:v>
                </c:pt>
                <c:pt idx="2372">
                  <c:v>17.079999999999998</c:v>
                </c:pt>
                <c:pt idx="2373">
                  <c:v>16.170000000000002</c:v>
                </c:pt>
                <c:pt idx="2374">
                  <c:v>17.670000000000002</c:v>
                </c:pt>
                <c:pt idx="2375">
                  <c:v>18.03</c:v>
                </c:pt>
                <c:pt idx="2376">
                  <c:v>16.05</c:v>
                </c:pt>
                <c:pt idx="2377">
                  <c:v>15.05</c:v>
                </c:pt>
                <c:pt idx="2378">
                  <c:v>14.98</c:v>
                </c:pt>
                <c:pt idx="2379">
                  <c:v>15.75</c:v>
                </c:pt>
                <c:pt idx="2380">
                  <c:v>16.7</c:v>
                </c:pt>
                <c:pt idx="2381">
                  <c:v>14.45</c:v>
                </c:pt>
                <c:pt idx="2382">
                  <c:v>14.46</c:v>
                </c:pt>
                <c:pt idx="2383">
                  <c:v>15.29</c:v>
                </c:pt>
                <c:pt idx="2384">
                  <c:v>15.43</c:v>
                </c:pt>
                <c:pt idx="2385">
                  <c:v>14.33</c:v>
                </c:pt>
                <c:pt idx="2386">
                  <c:v>14.61</c:v>
                </c:pt>
                <c:pt idx="2387">
                  <c:v>15.07</c:v>
                </c:pt>
                <c:pt idx="2388">
                  <c:v>14.15</c:v>
                </c:pt>
                <c:pt idx="2389">
                  <c:v>14.54</c:v>
                </c:pt>
                <c:pt idx="2390">
                  <c:v>15.51</c:v>
                </c:pt>
                <c:pt idx="2391">
                  <c:v>15.05</c:v>
                </c:pt>
                <c:pt idx="2392">
                  <c:v>14.33</c:v>
                </c:pt>
                <c:pt idx="2393">
                  <c:v>16.52</c:v>
                </c:pt>
                <c:pt idx="2394">
                  <c:v>15.29</c:v>
                </c:pt>
                <c:pt idx="2395">
                  <c:v>16.059999999999999</c:v>
                </c:pt>
                <c:pt idx="2396">
                  <c:v>18.37</c:v>
                </c:pt>
                <c:pt idx="2397">
                  <c:v>20.079999999999998</c:v>
                </c:pt>
                <c:pt idx="2398">
                  <c:v>18.16</c:v>
                </c:pt>
                <c:pt idx="2399">
                  <c:v>18.84</c:v>
                </c:pt>
                <c:pt idx="2400">
                  <c:v>16.850000000000001</c:v>
                </c:pt>
                <c:pt idx="2401">
                  <c:v>16.989999999999998</c:v>
                </c:pt>
                <c:pt idx="2402">
                  <c:v>15.47</c:v>
                </c:pt>
                <c:pt idx="2403">
                  <c:v>15.62</c:v>
                </c:pt>
                <c:pt idx="2404">
                  <c:v>15.93</c:v>
                </c:pt>
                <c:pt idx="2405">
                  <c:v>15.19</c:v>
                </c:pt>
                <c:pt idx="2406">
                  <c:v>15.12</c:v>
                </c:pt>
                <c:pt idx="2407">
                  <c:v>16.13</c:v>
                </c:pt>
                <c:pt idx="2408">
                  <c:v>14.67</c:v>
                </c:pt>
                <c:pt idx="2409">
                  <c:v>15.91</c:v>
                </c:pt>
                <c:pt idx="2410">
                  <c:v>18.11</c:v>
                </c:pt>
                <c:pt idx="2411">
                  <c:v>14.81</c:v>
                </c:pt>
                <c:pt idx="2412">
                  <c:v>15.84</c:v>
                </c:pt>
                <c:pt idx="2413">
                  <c:v>17.600000000000001</c:v>
                </c:pt>
                <c:pt idx="2414">
                  <c:v>19.61</c:v>
                </c:pt>
                <c:pt idx="2415">
                  <c:v>19.34</c:v>
                </c:pt>
                <c:pt idx="2416">
                  <c:v>24.39</c:v>
                </c:pt>
                <c:pt idx="2417">
                  <c:v>22.73</c:v>
                </c:pt>
                <c:pt idx="2418">
                  <c:v>20.95</c:v>
                </c:pt>
                <c:pt idx="2419">
                  <c:v>17.86</c:v>
                </c:pt>
                <c:pt idx="2420">
                  <c:v>18.940000000000001</c:v>
                </c:pt>
                <c:pt idx="2421">
                  <c:v>20.7</c:v>
                </c:pt>
                <c:pt idx="2422">
                  <c:v>18.7</c:v>
                </c:pt>
                <c:pt idx="2423">
                  <c:v>16.600000000000001</c:v>
                </c:pt>
                <c:pt idx="2424">
                  <c:v>15.57</c:v>
                </c:pt>
                <c:pt idx="2425">
                  <c:v>15.74</c:v>
                </c:pt>
                <c:pt idx="2426">
                  <c:v>16.91</c:v>
                </c:pt>
                <c:pt idx="2427">
                  <c:v>16.079999999999998</c:v>
                </c:pt>
                <c:pt idx="2428">
                  <c:v>17.29</c:v>
                </c:pt>
                <c:pt idx="2429">
                  <c:v>18.21</c:v>
                </c:pt>
                <c:pt idx="2430">
                  <c:v>20.7</c:v>
                </c:pt>
                <c:pt idx="2431">
                  <c:v>19.34</c:v>
                </c:pt>
                <c:pt idx="2432">
                  <c:v>20.59</c:v>
                </c:pt>
                <c:pt idx="2433">
                  <c:v>24.99</c:v>
                </c:pt>
                <c:pt idx="2434">
                  <c:v>27.01</c:v>
                </c:pt>
                <c:pt idx="2435">
                  <c:v>24.3</c:v>
                </c:pt>
                <c:pt idx="2436">
                  <c:v>22.47</c:v>
                </c:pt>
                <c:pt idx="2437">
                  <c:v>25.22</c:v>
                </c:pt>
                <c:pt idx="2438">
                  <c:v>23.95</c:v>
                </c:pt>
                <c:pt idx="2439">
                  <c:v>27.02</c:v>
                </c:pt>
                <c:pt idx="2440">
                  <c:v>26.05</c:v>
                </c:pt>
                <c:pt idx="2441">
                  <c:v>27.59</c:v>
                </c:pt>
                <c:pt idx="2442">
                  <c:v>26.69</c:v>
                </c:pt>
                <c:pt idx="2443">
                  <c:v>22.34</c:v>
                </c:pt>
                <c:pt idx="2444">
                  <c:v>24.15</c:v>
                </c:pt>
                <c:pt idx="2445">
                  <c:v>22.5</c:v>
                </c:pt>
                <c:pt idx="2446">
                  <c:v>23.11</c:v>
                </c:pt>
                <c:pt idx="2447">
                  <c:v>22.42</c:v>
                </c:pt>
                <c:pt idx="2448">
                  <c:v>20.2</c:v>
                </c:pt>
                <c:pt idx="2449">
                  <c:v>19.98</c:v>
                </c:pt>
                <c:pt idx="2450">
                  <c:v>21.98</c:v>
                </c:pt>
                <c:pt idx="2451">
                  <c:v>21.65</c:v>
                </c:pt>
                <c:pt idx="2452">
                  <c:v>21.84</c:v>
                </c:pt>
                <c:pt idx="2453">
                  <c:v>23.38</c:v>
                </c:pt>
                <c:pt idx="2454">
                  <c:v>26</c:v>
                </c:pt>
                <c:pt idx="2455">
                  <c:v>26.54</c:v>
                </c:pt>
                <c:pt idx="2456">
                  <c:v>26.29</c:v>
                </c:pt>
                <c:pt idx="2457">
                  <c:v>28.14</c:v>
                </c:pt>
                <c:pt idx="2458">
                  <c:v>25.4</c:v>
                </c:pt>
                <c:pt idx="2459">
                  <c:v>24.11</c:v>
                </c:pt>
                <c:pt idx="2460">
                  <c:v>22.31</c:v>
                </c:pt>
                <c:pt idx="2461">
                  <c:v>21.64</c:v>
                </c:pt>
                <c:pt idx="2462">
                  <c:v>20.53</c:v>
                </c:pt>
                <c:pt idx="2463">
                  <c:v>19.38</c:v>
                </c:pt>
                <c:pt idx="2464">
                  <c:v>20.98</c:v>
                </c:pt>
                <c:pt idx="2465">
                  <c:v>20.72</c:v>
                </c:pt>
                <c:pt idx="2466">
                  <c:v>19.11</c:v>
                </c:pt>
                <c:pt idx="2467">
                  <c:v>19.809999999999999</c:v>
                </c:pt>
                <c:pt idx="2468">
                  <c:v>20.55</c:v>
                </c:pt>
                <c:pt idx="2469">
                  <c:v>17.7</c:v>
                </c:pt>
                <c:pt idx="2470">
                  <c:v>17.09</c:v>
                </c:pt>
                <c:pt idx="2471">
                  <c:v>16.7</c:v>
                </c:pt>
                <c:pt idx="2472">
                  <c:v>16.86</c:v>
                </c:pt>
                <c:pt idx="2473">
                  <c:v>17.350000000000001</c:v>
                </c:pt>
                <c:pt idx="2474">
                  <c:v>18.670000000000002</c:v>
                </c:pt>
                <c:pt idx="2475">
                  <c:v>18.34</c:v>
                </c:pt>
                <c:pt idx="2476">
                  <c:v>18.05</c:v>
                </c:pt>
                <c:pt idx="2477">
                  <c:v>16.5</c:v>
                </c:pt>
                <c:pt idx="2478">
                  <c:v>16.920000000000002</c:v>
                </c:pt>
                <c:pt idx="2479">
                  <c:v>16.84</c:v>
                </c:pt>
                <c:pt idx="2480">
                  <c:v>14.99</c:v>
                </c:pt>
                <c:pt idx="2481">
                  <c:v>14.44</c:v>
                </c:pt>
                <c:pt idx="2482">
                  <c:v>14.02</c:v>
                </c:pt>
                <c:pt idx="2483">
                  <c:v>13.79</c:v>
                </c:pt>
                <c:pt idx="2484">
                  <c:v>14.17</c:v>
                </c:pt>
                <c:pt idx="2485">
                  <c:v>14.94</c:v>
                </c:pt>
                <c:pt idx="2486">
                  <c:v>14.74</c:v>
                </c:pt>
                <c:pt idx="2487">
                  <c:v>15.24</c:v>
                </c:pt>
                <c:pt idx="2488">
                  <c:v>13.82</c:v>
                </c:pt>
                <c:pt idx="2489">
                  <c:v>13.56</c:v>
                </c:pt>
                <c:pt idx="2490">
                  <c:v>13.95</c:v>
                </c:pt>
                <c:pt idx="2491">
                  <c:v>13.1</c:v>
                </c:pt>
                <c:pt idx="2492">
                  <c:v>14.12</c:v>
                </c:pt>
                <c:pt idx="2493">
                  <c:v>15.42</c:v>
                </c:pt>
                <c:pt idx="2494">
                  <c:v>14.09</c:v>
                </c:pt>
                <c:pt idx="2495">
                  <c:v>16.16</c:v>
                </c:pt>
                <c:pt idx="2496">
                  <c:v>15.36</c:v>
                </c:pt>
                <c:pt idx="2497">
                  <c:v>16.260000000000002</c:v>
                </c:pt>
                <c:pt idx="2498">
                  <c:v>14.85</c:v>
                </c:pt>
                <c:pt idx="2499">
                  <c:v>13.84</c:v>
                </c:pt>
                <c:pt idx="2500">
                  <c:v>13.72</c:v>
                </c:pt>
                <c:pt idx="2501">
                  <c:v>13.62</c:v>
                </c:pt>
                <c:pt idx="2502">
                  <c:v>13.35</c:v>
                </c:pt>
                <c:pt idx="2503">
                  <c:v>13.24</c:v>
                </c:pt>
                <c:pt idx="2504">
                  <c:v>13.28</c:v>
                </c:pt>
                <c:pt idx="2505">
                  <c:v>13.95</c:v>
                </c:pt>
                <c:pt idx="2506">
                  <c:v>13.22</c:v>
                </c:pt>
                <c:pt idx="2507">
                  <c:v>14.08</c:v>
                </c:pt>
                <c:pt idx="2508">
                  <c:v>13.96</c:v>
                </c:pt>
                <c:pt idx="2509">
                  <c:v>13.77</c:v>
                </c:pt>
                <c:pt idx="2510">
                  <c:v>15.22</c:v>
                </c:pt>
                <c:pt idx="2511">
                  <c:v>15.7</c:v>
                </c:pt>
                <c:pt idx="2512">
                  <c:v>14.68</c:v>
                </c:pt>
                <c:pt idx="2513">
                  <c:v>15.6</c:v>
                </c:pt>
                <c:pt idx="2514">
                  <c:v>16.05</c:v>
                </c:pt>
                <c:pt idx="2515">
                  <c:v>15.91</c:v>
                </c:pt>
                <c:pt idx="2516">
                  <c:v>14.72</c:v>
                </c:pt>
                <c:pt idx="2517">
                  <c:v>14.57</c:v>
                </c:pt>
              </c:numCache>
            </c:numRef>
          </c:val>
          <c:smooth val="0"/>
          <c:extLst xmlns:c16r2="http://schemas.microsoft.com/office/drawing/2015/06/chart">
            <c:ext xmlns:c16="http://schemas.microsoft.com/office/drawing/2014/chart" uri="{C3380CC4-5D6E-409C-BE32-E72D297353CC}">
              <c16:uniqueId val="{00000000-17DE-4E25-884A-E8F872F9C8DF}"/>
            </c:ext>
          </c:extLst>
        </c:ser>
        <c:ser>
          <c:idx val="1"/>
          <c:order val="1"/>
          <c:tx>
            <c:strRef>
              <c:f>Sheet1!$AC$4</c:f>
              <c:strCache>
                <c:ptCount val="1"/>
                <c:pt idx="0">
                  <c:v>10Y Historical Average</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C$5:$AC$2522</c:f>
              <c:numCache>
                <c:formatCode>General</c:formatCode>
                <c:ptCount val="2518"/>
                <c:pt idx="0">
                  <c:v>20.655131056393973</c:v>
                </c:pt>
                <c:pt idx="1">
                  <c:v>20.655131056393973</c:v>
                </c:pt>
                <c:pt idx="2">
                  <c:v>20.655131056393973</c:v>
                </c:pt>
                <c:pt idx="3">
                  <c:v>20.655131056393973</c:v>
                </c:pt>
                <c:pt idx="4">
                  <c:v>20.655131056393973</c:v>
                </c:pt>
                <c:pt idx="5">
                  <c:v>20.655131056393973</c:v>
                </c:pt>
                <c:pt idx="6">
                  <c:v>20.655131056393973</c:v>
                </c:pt>
                <c:pt idx="7">
                  <c:v>20.655131056393973</c:v>
                </c:pt>
                <c:pt idx="8">
                  <c:v>20.655131056393973</c:v>
                </c:pt>
                <c:pt idx="9">
                  <c:v>20.655131056393973</c:v>
                </c:pt>
                <c:pt idx="10">
                  <c:v>20.655131056393973</c:v>
                </c:pt>
                <c:pt idx="11">
                  <c:v>20.655131056393973</c:v>
                </c:pt>
                <c:pt idx="12">
                  <c:v>20.655131056393973</c:v>
                </c:pt>
                <c:pt idx="13">
                  <c:v>20.655131056393973</c:v>
                </c:pt>
                <c:pt idx="14">
                  <c:v>20.655131056393973</c:v>
                </c:pt>
                <c:pt idx="15">
                  <c:v>20.655131056393973</c:v>
                </c:pt>
                <c:pt idx="16">
                  <c:v>20.655131056393973</c:v>
                </c:pt>
                <c:pt idx="17">
                  <c:v>20.655131056393973</c:v>
                </c:pt>
                <c:pt idx="18">
                  <c:v>20.655131056393973</c:v>
                </c:pt>
                <c:pt idx="19">
                  <c:v>20.655131056393973</c:v>
                </c:pt>
                <c:pt idx="20">
                  <c:v>20.655131056393973</c:v>
                </c:pt>
                <c:pt idx="21">
                  <c:v>20.655131056393973</c:v>
                </c:pt>
                <c:pt idx="22">
                  <c:v>20.655131056393973</c:v>
                </c:pt>
                <c:pt idx="23">
                  <c:v>20.655131056393973</c:v>
                </c:pt>
                <c:pt idx="24">
                  <c:v>20.655131056393973</c:v>
                </c:pt>
                <c:pt idx="25">
                  <c:v>20.655131056393973</c:v>
                </c:pt>
                <c:pt idx="26">
                  <c:v>20.655131056393973</c:v>
                </c:pt>
                <c:pt idx="27">
                  <c:v>20.655131056393973</c:v>
                </c:pt>
                <c:pt idx="28">
                  <c:v>20.655131056393973</c:v>
                </c:pt>
                <c:pt idx="29">
                  <c:v>20.655131056393973</c:v>
                </c:pt>
                <c:pt idx="30">
                  <c:v>20.655131056393973</c:v>
                </c:pt>
                <c:pt idx="31">
                  <c:v>20.655131056393973</c:v>
                </c:pt>
                <c:pt idx="32">
                  <c:v>20.655131056393973</c:v>
                </c:pt>
                <c:pt idx="33">
                  <c:v>20.655131056393973</c:v>
                </c:pt>
                <c:pt idx="34">
                  <c:v>20.655131056393973</c:v>
                </c:pt>
                <c:pt idx="35">
                  <c:v>20.655131056393973</c:v>
                </c:pt>
                <c:pt idx="36">
                  <c:v>20.655131056393973</c:v>
                </c:pt>
                <c:pt idx="37">
                  <c:v>20.655131056393973</c:v>
                </c:pt>
                <c:pt idx="38">
                  <c:v>20.655131056393973</c:v>
                </c:pt>
                <c:pt idx="39">
                  <c:v>20.655131056393973</c:v>
                </c:pt>
                <c:pt idx="40">
                  <c:v>20.655131056393973</c:v>
                </c:pt>
                <c:pt idx="41">
                  <c:v>20.655131056393973</c:v>
                </c:pt>
                <c:pt idx="42">
                  <c:v>20.655131056393973</c:v>
                </c:pt>
                <c:pt idx="43">
                  <c:v>20.655131056393973</c:v>
                </c:pt>
                <c:pt idx="44">
                  <c:v>20.655131056393973</c:v>
                </c:pt>
                <c:pt idx="45">
                  <c:v>20.655131056393973</c:v>
                </c:pt>
                <c:pt idx="46">
                  <c:v>20.655131056393973</c:v>
                </c:pt>
                <c:pt idx="47">
                  <c:v>20.655131056393973</c:v>
                </c:pt>
                <c:pt idx="48">
                  <c:v>20.655131056393973</c:v>
                </c:pt>
                <c:pt idx="49">
                  <c:v>20.655131056393973</c:v>
                </c:pt>
                <c:pt idx="50">
                  <c:v>20.655131056393973</c:v>
                </c:pt>
                <c:pt idx="51">
                  <c:v>20.655131056393973</c:v>
                </c:pt>
                <c:pt idx="52">
                  <c:v>20.655131056393973</c:v>
                </c:pt>
                <c:pt idx="53">
                  <c:v>20.655131056393973</c:v>
                </c:pt>
                <c:pt idx="54">
                  <c:v>20.655131056393973</c:v>
                </c:pt>
                <c:pt idx="55">
                  <c:v>20.655131056393973</c:v>
                </c:pt>
                <c:pt idx="56">
                  <c:v>20.655131056393973</c:v>
                </c:pt>
                <c:pt idx="57">
                  <c:v>20.655131056393973</c:v>
                </c:pt>
                <c:pt idx="58">
                  <c:v>20.655131056393973</c:v>
                </c:pt>
                <c:pt idx="59">
                  <c:v>20.655131056393973</c:v>
                </c:pt>
                <c:pt idx="60">
                  <c:v>20.655131056393973</c:v>
                </c:pt>
                <c:pt idx="61">
                  <c:v>20.655131056393973</c:v>
                </c:pt>
                <c:pt idx="62">
                  <c:v>20.655131056393973</c:v>
                </c:pt>
                <c:pt idx="63">
                  <c:v>20.655131056393973</c:v>
                </c:pt>
                <c:pt idx="64">
                  <c:v>20.655131056393973</c:v>
                </c:pt>
                <c:pt idx="65">
                  <c:v>20.655131056393973</c:v>
                </c:pt>
                <c:pt idx="66">
                  <c:v>20.655131056393973</c:v>
                </c:pt>
                <c:pt idx="67">
                  <c:v>20.655131056393973</c:v>
                </c:pt>
                <c:pt idx="68">
                  <c:v>20.655131056393973</c:v>
                </c:pt>
                <c:pt idx="69">
                  <c:v>20.655131056393973</c:v>
                </c:pt>
                <c:pt idx="70">
                  <c:v>20.655131056393973</c:v>
                </c:pt>
                <c:pt idx="71">
                  <c:v>20.655131056393973</c:v>
                </c:pt>
                <c:pt idx="72">
                  <c:v>20.655131056393973</c:v>
                </c:pt>
                <c:pt idx="73">
                  <c:v>20.655131056393973</c:v>
                </c:pt>
                <c:pt idx="74">
                  <c:v>20.655131056393973</c:v>
                </c:pt>
                <c:pt idx="75">
                  <c:v>20.655131056393973</c:v>
                </c:pt>
                <c:pt idx="76">
                  <c:v>20.655131056393973</c:v>
                </c:pt>
                <c:pt idx="77">
                  <c:v>20.655131056393973</c:v>
                </c:pt>
                <c:pt idx="78">
                  <c:v>20.655131056393973</c:v>
                </c:pt>
                <c:pt idx="79">
                  <c:v>20.655131056393973</c:v>
                </c:pt>
                <c:pt idx="80">
                  <c:v>20.655131056393973</c:v>
                </c:pt>
                <c:pt idx="81">
                  <c:v>20.655131056393973</c:v>
                </c:pt>
                <c:pt idx="82">
                  <c:v>20.655131056393973</c:v>
                </c:pt>
                <c:pt idx="83">
                  <c:v>20.655131056393973</c:v>
                </c:pt>
                <c:pt idx="84">
                  <c:v>20.655131056393973</c:v>
                </c:pt>
                <c:pt idx="85">
                  <c:v>20.655131056393973</c:v>
                </c:pt>
                <c:pt idx="86">
                  <c:v>20.655131056393973</c:v>
                </c:pt>
                <c:pt idx="87">
                  <c:v>20.655131056393973</c:v>
                </c:pt>
                <c:pt idx="88">
                  <c:v>20.655131056393973</c:v>
                </c:pt>
                <c:pt idx="89">
                  <c:v>20.655131056393973</c:v>
                </c:pt>
                <c:pt idx="90">
                  <c:v>20.655131056393973</c:v>
                </c:pt>
                <c:pt idx="91">
                  <c:v>20.655131056393973</c:v>
                </c:pt>
                <c:pt idx="92">
                  <c:v>20.655131056393973</c:v>
                </c:pt>
                <c:pt idx="93">
                  <c:v>20.655131056393973</c:v>
                </c:pt>
                <c:pt idx="94">
                  <c:v>20.655131056393973</c:v>
                </c:pt>
                <c:pt idx="95">
                  <c:v>20.655131056393973</c:v>
                </c:pt>
                <c:pt idx="96">
                  <c:v>20.655131056393973</c:v>
                </c:pt>
                <c:pt idx="97">
                  <c:v>20.655131056393973</c:v>
                </c:pt>
                <c:pt idx="98">
                  <c:v>20.655131056393973</c:v>
                </c:pt>
                <c:pt idx="99">
                  <c:v>20.655131056393973</c:v>
                </c:pt>
                <c:pt idx="100">
                  <c:v>20.655131056393973</c:v>
                </c:pt>
                <c:pt idx="101">
                  <c:v>20.655131056393973</c:v>
                </c:pt>
                <c:pt idx="102">
                  <c:v>20.655131056393973</c:v>
                </c:pt>
                <c:pt idx="103">
                  <c:v>20.655131056393973</c:v>
                </c:pt>
                <c:pt idx="104">
                  <c:v>20.655131056393973</c:v>
                </c:pt>
                <c:pt idx="105">
                  <c:v>20.655131056393973</c:v>
                </c:pt>
                <c:pt idx="106">
                  <c:v>20.655131056393973</c:v>
                </c:pt>
                <c:pt idx="107">
                  <c:v>20.655131056393973</c:v>
                </c:pt>
                <c:pt idx="108">
                  <c:v>20.655131056393973</c:v>
                </c:pt>
                <c:pt idx="109">
                  <c:v>20.655131056393973</c:v>
                </c:pt>
                <c:pt idx="110">
                  <c:v>20.655131056393973</c:v>
                </c:pt>
                <c:pt idx="111">
                  <c:v>20.655131056393973</c:v>
                </c:pt>
                <c:pt idx="112">
                  <c:v>20.655131056393973</c:v>
                </c:pt>
                <c:pt idx="113">
                  <c:v>20.655131056393973</c:v>
                </c:pt>
                <c:pt idx="114">
                  <c:v>20.655131056393973</c:v>
                </c:pt>
                <c:pt idx="115">
                  <c:v>20.655131056393973</c:v>
                </c:pt>
                <c:pt idx="116">
                  <c:v>20.655131056393973</c:v>
                </c:pt>
                <c:pt idx="117">
                  <c:v>20.655131056393973</c:v>
                </c:pt>
                <c:pt idx="118">
                  <c:v>20.655131056393973</c:v>
                </c:pt>
                <c:pt idx="119">
                  <c:v>20.655131056393973</c:v>
                </c:pt>
                <c:pt idx="120">
                  <c:v>20.655131056393973</c:v>
                </c:pt>
                <c:pt idx="121">
                  <c:v>20.655131056393973</c:v>
                </c:pt>
                <c:pt idx="122">
                  <c:v>20.655131056393973</c:v>
                </c:pt>
                <c:pt idx="123">
                  <c:v>20.655131056393973</c:v>
                </c:pt>
                <c:pt idx="124">
                  <c:v>20.655131056393973</c:v>
                </c:pt>
                <c:pt idx="125">
                  <c:v>20.655131056393973</c:v>
                </c:pt>
                <c:pt idx="126">
                  <c:v>20.655131056393973</c:v>
                </c:pt>
                <c:pt idx="127">
                  <c:v>20.655131056393973</c:v>
                </c:pt>
                <c:pt idx="128">
                  <c:v>20.655131056393973</c:v>
                </c:pt>
                <c:pt idx="129">
                  <c:v>20.655131056393973</c:v>
                </c:pt>
                <c:pt idx="130">
                  <c:v>20.655131056393973</c:v>
                </c:pt>
                <c:pt idx="131">
                  <c:v>20.655131056393973</c:v>
                </c:pt>
                <c:pt idx="132">
                  <c:v>20.655131056393973</c:v>
                </c:pt>
                <c:pt idx="133">
                  <c:v>20.655131056393973</c:v>
                </c:pt>
                <c:pt idx="134">
                  <c:v>20.655131056393973</c:v>
                </c:pt>
                <c:pt idx="135">
                  <c:v>20.655131056393973</c:v>
                </c:pt>
                <c:pt idx="136">
                  <c:v>20.655131056393973</c:v>
                </c:pt>
                <c:pt idx="137">
                  <c:v>20.655131056393973</c:v>
                </c:pt>
                <c:pt idx="138">
                  <c:v>20.655131056393973</c:v>
                </c:pt>
                <c:pt idx="139">
                  <c:v>20.655131056393973</c:v>
                </c:pt>
                <c:pt idx="140">
                  <c:v>20.655131056393973</c:v>
                </c:pt>
                <c:pt idx="141">
                  <c:v>20.655131056393973</c:v>
                </c:pt>
                <c:pt idx="142">
                  <c:v>20.655131056393973</c:v>
                </c:pt>
                <c:pt idx="143">
                  <c:v>20.655131056393973</c:v>
                </c:pt>
                <c:pt idx="144">
                  <c:v>20.655131056393973</c:v>
                </c:pt>
                <c:pt idx="145">
                  <c:v>20.655131056393973</c:v>
                </c:pt>
                <c:pt idx="146">
                  <c:v>20.655131056393973</c:v>
                </c:pt>
                <c:pt idx="147">
                  <c:v>20.655131056393973</c:v>
                </c:pt>
                <c:pt idx="148">
                  <c:v>20.655131056393973</c:v>
                </c:pt>
                <c:pt idx="149">
                  <c:v>20.655131056393973</c:v>
                </c:pt>
                <c:pt idx="150">
                  <c:v>20.655131056393973</c:v>
                </c:pt>
                <c:pt idx="151">
                  <c:v>20.655131056393973</c:v>
                </c:pt>
                <c:pt idx="152">
                  <c:v>20.655131056393973</c:v>
                </c:pt>
                <c:pt idx="153">
                  <c:v>20.655131056393973</c:v>
                </c:pt>
                <c:pt idx="154">
                  <c:v>20.655131056393973</c:v>
                </c:pt>
                <c:pt idx="155">
                  <c:v>20.655131056393973</c:v>
                </c:pt>
                <c:pt idx="156">
                  <c:v>20.655131056393973</c:v>
                </c:pt>
                <c:pt idx="157">
                  <c:v>20.655131056393973</c:v>
                </c:pt>
                <c:pt idx="158">
                  <c:v>20.655131056393973</c:v>
                </c:pt>
                <c:pt idx="159">
                  <c:v>20.655131056393973</c:v>
                </c:pt>
                <c:pt idx="160">
                  <c:v>20.655131056393973</c:v>
                </c:pt>
                <c:pt idx="161">
                  <c:v>20.655131056393973</c:v>
                </c:pt>
                <c:pt idx="162">
                  <c:v>20.655131056393973</c:v>
                </c:pt>
                <c:pt idx="163">
                  <c:v>20.655131056393973</c:v>
                </c:pt>
                <c:pt idx="164">
                  <c:v>20.655131056393973</c:v>
                </c:pt>
                <c:pt idx="165">
                  <c:v>20.655131056393973</c:v>
                </c:pt>
                <c:pt idx="166">
                  <c:v>20.655131056393973</c:v>
                </c:pt>
                <c:pt idx="167">
                  <c:v>20.655131056393973</c:v>
                </c:pt>
                <c:pt idx="168">
                  <c:v>20.655131056393973</c:v>
                </c:pt>
                <c:pt idx="169">
                  <c:v>20.655131056393973</c:v>
                </c:pt>
                <c:pt idx="170">
                  <c:v>20.655131056393973</c:v>
                </c:pt>
                <c:pt idx="171">
                  <c:v>20.655131056393973</c:v>
                </c:pt>
                <c:pt idx="172">
                  <c:v>20.655131056393973</c:v>
                </c:pt>
                <c:pt idx="173">
                  <c:v>20.655131056393973</c:v>
                </c:pt>
                <c:pt idx="174">
                  <c:v>20.655131056393973</c:v>
                </c:pt>
                <c:pt idx="175">
                  <c:v>20.655131056393973</c:v>
                </c:pt>
                <c:pt idx="176">
                  <c:v>20.655131056393973</c:v>
                </c:pt>
                <c:pt idx="177">
                  <c:v>20.655131056393973</c:v>
                </c:pt>
                <c:pt idx="178">
                  <c:v>20.655131056393973</c:v>
                </c:pt>
                <c:pt idx="179">
                  <c:v>20.655131056393973</c:v>
                </c:pt>
                <c:pt idx="180">
                  <c:v>20.655131056393973</c:v>
                </c:pt>
                <c:pt idx="181">
                  <c:v>20.655131056393973</c:v>
                </c:pt>
                <c:pt idx="182">
                  <c:v>20.655131056393973</c:v>
                </c:pt>
                <c:pt idx="183">
                  <c:v>20.655131056393973</c:v>
                </c:pt>
                <c:pt idx="184">
                  <c:v>20.655131056393973</c:v>
                </c:pt>
                <c:pt idx="185">
                  <c:v>20.655131056393973</c:v>
                </c:pt>
                <c:pt idx="186">
                  <c:v>20.655131056393973</c:v>
                </c:pt>
                <c:pt idx="187">
                  <c:v>20.655131056393973</c:v>
                </c:pt>
                <c:pt idx="188">
                  <c:v>20.655131056393973</c:v>
                </c:pt>
                <c:pt idx="189">
                  <c:v>20.655131056393973</c:v>
                </c:pt>
                <c:pt idx="190">
                  <c:v>20.655131056393973</c:v>
                </c:pt>
                <c:pt idx="191">
                  <c:v>20.655131056393973</c:v>
                </c:pt>
                <c:pt idx="192">
                  <c:v>20.655131056393973</c:v>
                </c:pt>
                <c:pt idx="193">
                  <c:v>20.655131056393973</c:v>
                </c:pt>
                <c:pt idx="194">
                  <c:v>20.655131056393973</c:v>
                </c:pt>
                <c:pt idx="195">
                  <c:v>20.655131056393973</c:v>
                </c:pt>
                <c:pt idx="196">
                  <c:v>20.655131056393973</c:v>
                </c:pt>
                <c:pt idx="197">
                  <c:v>20.655131056393973</c:v>
                </c:pt>
                <c:pt idx="198">
                  <c:v>20.655131056393973</c:v>
                </c:pt>
                <c:pt idx="199">
                  <c:v>20.655131056393973</c:v>
                </c:pt>
                <c:pt idx="200">
                  <c:v>20.655131056393973</c:v>
                </c:pt>
                <c:pt idx="201">
                  <c:v>20.655131056393973</c:v>
                </c:pt>
                <c:pt idx="202">
                  <c:v>20.655131056393973</c:v>
                </c:pt>
                <c:pt idx="203">
                  <c:v>20.655131056393973</c:v>
                </c:pt>
                <c:pt idx="204">
                  <c:v>20.655131056393973</c:v>
                </c:pt>
                <c:pt idx="205">
                  <c:v>20.655131056393973</c:v>
                </c:pt>
                <c:pt idx="206">
                  <c:v>20.655131056393973</c:v>
                </c:pt>
                <c:pt idx="207">
                  <c:v>20.655131056393973</c:v>
                </c:pt>
                <c:pt idx="208">
                  <c:v>20.655131056393973</c:v>
                </c:pt>
                <c:pt idx="209">
                  <c:v>20.655131056393973</c:v>
                </c:pt>
                <c:pt idx="210">
                  <c:v>20.655131056393973</c:v>
                </c:pt>
                <c:pt idx="211">
                  <c:v>20.655131056393973</c:v>
                </c:pt>
                <c:pt idx="212">
                  <c:v>20.655131056393973</c:v>
                </c:pt>
                <c:pt idx="213">
                  <c:v>20.655131056393973</c:v>
                </c:pt>
                <c:pt idx="214">
                  <c:v>20.655131056393973</c:v>
                </c:pt>
                <c:pt idx="215">
                  <c:v>20.655131056393973</c:v>
                </c:pt>
                <c:pt idx="216">
                  <c:v>20.655131056393973</c:v>
                </c:pt>
                <c:pt idx="217">
                  <c:v>20.655131056393973</c:v>
                </c:pt>
                <c:pt idx="218">
                  <c:v>20.655131056393973</c:v>
                </c:pt>
                <c:pt idx="219">
                  <c:v>20.655131056393973</c:v>
                </c:pt>
                <c:pt idx="220">
                  <c:v>20.655131056393973</c:v>
                </c:pt>
                <c:pt idx="221">
                  <c:v>20.655131056393973</c:v>
                </c:pt>
                <c:pt idx="222">
                  <c:v>20.655131056393973</c:v>
                </c:pt>
                <c:pt idx="223">
                  <c:v>20.655131056393973</c:v>
                </c:pt>
                <c:pt idx="224">
                  <c:v>20.655131056393973</c:v>
                </c:pt>
                <c:pt idx="225">
                  <c:v>20.655131056393973</c:v>
                </c:pt>
                <c:pt idx="226">
                  <c:v>20.655131056393973</c:v>
                </c:pt>
                <c:pt idx="227">
                  <c:v>20.655131056393973</c:v>
                </c:pt>
                <c:pt idx="228">
                  <c:v>20.655131056393973</c:v>
                </c:pt>
                <c:pt idx="229">
                  <c:v>20.655131056393973</c:v>
                </c:pt>
                <c:pt idx="230">
                  <c:v>20.655131056393973</c:v>
                </c:pt>
                <c:pt idx="231">
                  <c:v>20.655131056393973</c:v>
                </c:pt>
                <c:pt idx="232">
                  <c:v>20.655131056393973</c:v>
                </c:pt>
                <c:pt idx="233">
                  <c:v>20.655131056393973</c:v>
                </c:pt>
                <c:pt idx="234">
                  <c:v>20.655131056393973</c:v>
                </c:pt>
                <c:pt idx="235">
                  <c:v>20.655131056393973</c:v>
                </c:pt>
                <c:pt idx="236">
                  <c:v>20.655131056393973</c:v>
                </c:pt>
                <c:pt idx="237">
                  <c:v>20.655131056393973</c:v>
                </c:pt>
                <c:pt idx="238">
                  <c:v>20.655131056393973</c:v>
                </c:pt>
                <c:pt idx="239">
                  <c:v>20.655131056393973</c:v>
                </c:pt>
                <c:pt idx="240">
                  <c:v>20.655131056393973</c:v>
                </c:pt>
                <c:pt idx="241">
                  <c:v>20.655131056393973</c:v>
                </c:pt>
                <c:pt idx="242">
                  <c:v>20.655131056393973</c:v>
                </c:pt>
                <c:pt idx="243">
                  <c:v>20.655131056393973</c:v>
                </c:pt>
                <c:pt idx="244">
                  <c:v>20.655131056393973</c:v>
                </c:pt>
                <c:pt idx="245">
                  <c:v>20.655131056393973</c:v>
                </c:pt>
                <c:pt idx="246">
                  <c:v>20.655131056393973</c:v>
                </c:pt>
                <c:pt idx="247">
                  <c:v>20.655131056393973</c:v>
                </c:pt>
                <c:pt idx="248">
                  <c:v>20.655131056393973</c:v>
                </c:pt>
                <c:pt idx="249">
                  <c:v>20.655131056393973</c:v>
                </c:pt>
                <c:pt idx="250">
                  <c:v>20.655131056393973</c:v>
                </c:pt>
                <c:pt idx="251">
                  <c:v>20.655131056393973</c:v>
                </c:pt>
                <c:pt idx="252">
                  <c:v>20.655131056393973</c:v>
                </c:pt>
                <c:pt idx="253">
                  <c:v>20.655131056393973</c:v>
                </c:pt>
                <c:pt idx="254">
                  <c:v>20.655131056393973</c:v>
                </c:pt>
                <c:pt idx="255">
                  <c:v>20.655131056393973</c:v>
                </c:pt>
                <c:pt idx="256">
                  <c:v>20.655131056393973</c:v>
                </c:pt>
                <c:pt idx="257">
                  <c:v>20.655131056393973</c:v>
                </c:pt>
                <c:pt idx="258">
                  <c:v>20.655131056393973</c:v>
                </c:pt>
                <c:pt idx="259">
                  <c:v>20.655131056393973</c:v>
                </c:pt>
                <c:pt idx="260">
                  <c:v>20.655131056393973</c:v>
                </c:pt>
                <c:pt idx="261">
                  <c:v>20.655131056393973</c:v>
                </c:pt>
                <c:pt idx="262">
                  <c:v>20.655131056393973</c:v>
                </c:pt>
                <c:pt idx="263">
                  <c:v>20.655131056393973</c:v>
                </c:pt>
                <c:pt idx="264">
                  <c:v>20.655131056393973</c:v>
                </c:pt>
                <c:pt idx="265">
                  <c:v>20.655131056393973</c:v>
                </c:pt>
                <c:pt idx="266">
                  <c:v>20.655131056393973</c:v>
                </c:pt>
                <c:pt idx="267">
                  <c:v>20.655131056393973</c:v>
                </c:pt>
                <c:pt idx="268">
                  <c:v>20.655131056393973</c:v>
                </c:pt>
                <c:pt idx="269">
                  <c:v>20.655131056393973</c:v>
                </c:pt>
                <c:pt idx="270">
                  <c:v>20.655131056393973</c:v>
                </c:pt>
                <c:pt idx="271">
                  <c:v>20.655131056393973</c:v>
                </c:pt>
                <c:pt idx="272">
                  <c:v>20.655131056393973</c:v>
                </c:pt>
                <c:pt idx="273">
                  <c:v>20.655131056393973</c:v>
                </c:pt>
                <c:pt idx="274">
                  <c:v>20.655131056393973</c:v>
                </c:pt>
                <c:pt idx="275">
                  <c:v>20.655131056393973</c:v>
                </c:pt>
                <c:pt idx="276">
                  <c:v>20.655131056393973</c:v>
                </c:pt>
                <c:pt idx="277">
                  <c:v>20.655131056393973</c:v>
                </c:pt>
                <c:pt idx="278">
                  <c:v>20.655131056393973</c:v>
                </c:pt>
                <c:pt idx="279">
                  <c:v>20.655131056393973</c:v>
                </c:pt>
                <c:pt idx="280">
                  <c:v>20.655131056393973</c:v>
                </c:pt>
                <c:pt idx="281">
                  <c:v>20.655131056393973</c:v>
                </c:pt>
                <c:pt idx="282">
                  <c:v>20.655131056393973</c:v>
                </c:pt>
                <c:pt idx="283">
                  <c:v>20.655131056393973</c:v>
                </c:pt>
                <c:pt idx="284">
                  <c:v>20.655131056393973</c:v>
                </c:pt>
                <c:pt idx="285">
                  <c:v>20.655131056393973</c:v>
                </c:pt>
                <c:pt idx="286">
                  <c:v>20.655131056393973</c:v>
                </c:pt>
                <c:pt idx="287">
                  <c:v>20.655131056393973</c:v>
                </c:pt>
                <c:pt idx="288">
                  <c:v>20.655131056393973</c:v>
                </c:pt>
                <c:pt idx="289">
                  <c:v>20.655131056393973</c:v>
                </c:pt>
                <c:pt idx="290">
                  <c:v>20.655131056393973</c:v>
                </c:pt>
                <c:pt idx="291">
                  <c:v>20.655131056393973</c:v>
                </c:pt>
                <c:pt idx="292">
                  <c:v>20.655131056393973</c:v>
                </c:pt>
                <c:pt idx="293">
                  <c:v>20.655131056393973</c:v>
                </c:pt>
                <c:pt idx="294">
                  <c:v>20.655131056393973</c:v>
                </c:pt>
                <c:pt idx="295">
                  <c:v>20.655131056393973</c:v>
                </c:pt>
                <c:pt idx="296">
                  <c:v>20.655131056393973</c:v>
                </c:pt>
                <c:pt idx="297">
                  <c:v>20.655131056393973</c:v>
                </c:pt>
                <c:pt idx="298">
                  <c:v>20.655131056393973</c:v>
                </c:pt>
                <c:pt idx="299">
                  <c:v>20.655131056393973</c:v>
                </c:pt>
                <c:pt idx="300">
                  <c:v>20.655131056393973</c:v>
                </c:pt>
                <c:pt idx="301">
                  <c:v>20.655131056393973</c:v>
                </c:pt>
                <c:pt idx="302">
                  <c:v>20.655131056393973</c:v>
                </c:pt>
                <c:pt idx="303">
                  <c:v>20.655131056393973</c:v>
                </c:pt>
                <c:pt idx="304">
                  <c:v>20.655131056393973</c:v>
                </c:pt>
                <c:pt idx="305">
                  <c:v>20.655131056393973</c:v>
                </c:pt>
                <c:pt idx="306">
                  <c:v>20.655131056393973</c:v>
                </c:pt>
                <c:pt idx="307">
                  <c:v>20.655131056393973</c:v>
                </c:pt>
                <c:pt idx="308">
                  <c:v>20.655131056393973</c:v>
                </c:pt>
                <c:pt idx="309">
                  <c:v>20.655131056393973</c:v>
                </c:pt>
                <c:pt idx="310">
                  <c:v>20.655131056393973</c:v>
                </c:pt>
                <c:pt idx="311">
                  <c:v>20.655131056393973</c:v>
                </c:pt>
                <c:pt idx="312">
                  <c:v>20.655131056393973</c:v>
                </c:pt>
                <c:pt idx="313">
                  <c:v>20.655131056393973</c:v>
                </c:pt>
                <c:pt idx="314">
                  <c:v>20.655131056393973</c:v>
                </c:pt>
                <c:pt idx="315">
                  <c:v>20.655131056393973</c:v>
                </c:pt>
                <c:pt idx="316">
                  <c:v>20.655131056393973</c:v>
                </c:pt>
                <c:pt idx="317">
                  <c:v>20.655131056393973</c:v>
                </c:pt>
                <c:pt idx="318">
                  <c:v>20.655131056393973</c:v>
                </c:pt>
                <c:pt idx="319">
                  <c:v>20.655131056393973</c:v>
                </c:pt>
                <c:pt idx="320">
                  <c:v>20.655131056393973</c:v>
                </c:pt>
                <c:pt idx="321">
                  <c:v>20.655131056393973</c:v>
                </c:pt>
                <c:pt idx="322">
                  <c:v>20.655131056393973</c:v>
                </c:pt>
                <c:pt idx="323">
                  <c:v>20.655131056393973</c:v>
                </c:pt>
                <c:pt idx="324">
                  <c:v>20.655131056393973</c:v>
                </c:pt>
                <c:pt idx="325">
                  <c:v>20.655131056393973</c:v>
                </c:pt>
                <c:pt idx="326">
                  <c:v>20.655131056393973</c:v>
                </c:pt>
                <c:pt idx="327">
                  <c:v>20.655131056393973</c:v>
                </c:pt>
                <c:pt idx="328">
                  <c:v>20.655131056393973</c:v>
                </c:pt>
                <c:pt idx="329">
                  <c:v>20.655131056393973</c:v>
                </c:pt>
                <c:pt idx="330">
                  <c:v>20.655131056393973</c:v>
                </c:pt>
                <c:pt idx="331">
                  <c:v>20.655131056393973</c:v>
                </c:pt>
                <c:pt idx="332">
                  <c:v>20.655131056393973</c:v>
                </c:pt>
                <c:pt idx="333">
                  <c:v>20.655131056393973</c:v>
                </c:pt>
                <c:pt idx="334">
                  <c:v>20.655131056393973</c:v>
                </c:pt>
                <c:pt idx="335">
                  <c:v>20.655131056393973</c:v>
                </c:pt>
                <c:pt idx="336">
                  <c:v>20.655131056393973</c:v>
                </c:pt>
                <c:pt idx="337">
                  <c:v>20.655131056393973</c:v>
                </c:pt>
                <c:pt idx="338">
                  <c:v>20.655131056393973</c:v>
                </c:pt>
                <c:pt idx="339">
                  <c:v>20.655131056393973</c:v>
                </c:pt>
                <c:pt idx="340">
                  <c:v>20.655131056393973</c:v>
                </c:pt>
                <c:pt idx="341">
                  <c:v>20.655131056393973</c:v>
                </c:pt>
                <c:pt idx="342">
                  <c:v>20.655131056393973</c:v>
                </c:pt>
                <c:pt idx="343">
                  <c:v>20.655131056393973</c:v>
                </c:pt>
                <c:pt idx="344">
                  <c:v>20.655131056393973</c:v>
                </c:pt>
                <c:pt idx="345">
                  <c:v>20.655131056393973</c:v>
                </c:pt>
                <c:pt idx="346">
                  <c:v>20.655131056393973</c:v>
                </c:pt>
                <c:pt idx="347">
                  <c:v>20.655131056393973</c:v>
                </c:pt>
                <c:pt idx="348">
                  <c:v>20.655131056393973</c:v>
                </c:pt>
                <c:pt idx="349">
                  <c:v>20.655131056393973</c:v>
                </c:pt>
                <c:pt idx="350">
                  <c:v>20.655131056393973</c:v>
                </c:pt>
                <c:pt idx="351">
                  <c:v>20.655131056393973</c:v>
                </c:pt>
                <c:pt idx="352">
                  <c:v>20.655131056393973</c:v>
                </c:pt>
                <c:pt idx="353">
                  <c:v>20.655131056393973</c:v>
                </c:pt>
                <c:pt idx="354">
                  <c:v>20.655131056393973</c:v>
                </c:pt>
                <c:pt idx="355">
                  <c:v>20.655131056393973</c:v>
                </c:pt>
                <c:pt idx="356">
                  <c:v>20.655131056393973</c:v>
                </c:pt>
                <c:pt idx="357">
                  <c:v>20.655131056393973</c:v>
                </c:pt>
                <c:pt idx="358">
                  <c:v>20.655131056393973</c:v>
                </c:pt>
                <c:pt idx="359">
                  <c:v>20.655131056393973</c:v>
                </c:pt>
                <c:pt idx="360">
                  <c:v>20.655131056393973</c:v>
                </c:pt>
                <c:pt idx="361">
                  <c:v>20.655131056393973</c:v>
                </c:pt>
                <c:pt idx="362">
                  <c:v>20.655131056393973</c:v>
                </c:pt>
                <c:pt idx="363">
                  <c:v>20.655131056393973</c:v>
                </c:pt>
                <c:pt idx="364">
                  <c:v>20.655131056393973</c:v>
                </c:pt>
                <c:pt idx="365">
                  <c:v>20.655131056393973</c:v>
                </c:pt>
                <c:pt idx="366">
                  <c:v>20.655131056393973</c:v>
                </c:pt>
                <c:pt idx="367">
                  <c:v>20.655131056393973</c:v>
                </c:pt>
                <c:pt idx="368">
                  <c:v>20.655131056393973</c:v>
                </c:pt>
                <c:pt idx="369">
                  <c:v>20.655131056393973</c:v>
                </c:pt>
                <c:pt idx="370">
                  <c:v>20.655131056393973</c:v>
                </c:pt>
                <c:pt idx="371">
                  <c:v>20.655131056393973</c:v>
                </c:pt>
                <c:pt idx="372">
                  <c:v>20.655131056393973</c:v>
                </c:pt>
                <c:pt idx="373">
                  <c:v>20.655131056393973</c:v>
                </c:pt>
                <c:pt idx="374">
                  <c:v>20.655131056393973</c:v>
                </c:pt>
                <c:pt idx="375">
                  <c:v>20.655131056393973</c:v>
                </c:pt>
                <c:pt idx="376">
                  <c:v>20.655131056393973</c:v>
                </c:pt>
                <c:pt idx="377">
                  <c:v>20.655131056393973</c:v>
                </c:pt>
                <c:pt idx="378">
                  <c:v>20.655131056393973</c:v>
                </c:pt>
                <c:pt idx="379">
                  <c:v>20.655131056393973</c:v>
                </c:pt>
                <c:pt idx="380">
                  <c:v>20.655131056393973</c:v>
                </c:pt>
                <c:pt idx="381">
                  <c:v>20.655131056393973</c:v>
                </c:pt>
                <c:pt idx="382">
                  <c:v>20.655131056393973</c:v>
                </c:pt>
                <c:pt idx="383">
                  <c:v>20.655131056393973</c:v>
                </c:pt>
                <c:pt idx="384">
                  <c:v>20.655131056393973</c:v>
                </c:pt>
                <c:pt idx="385">
                  <c:v>20.655131056393973</c:v>
                </c:pt>
                <c:pt idx="386">
                  <c:v>20.655131056393973</c:v>
                </c:pt>
                <c:pt idx="387">
                  <c:v>20.655131056393973</c:v>
                </c:pt>
                <c:pt idx="388">
                  <c:v>20.655131056393973</c:v>
                </c:pt>
                <c:pt idx="389">
                  <c:v>20.655131056393973</c:v>
                </c:pt>
                <c:pt idx="390">
                  <c:v>20.655131056393973</c:v>
                </c:pt>
                <c:pt idx="391">
                  <c:v>20.655131056393973</c:v>
                </c:pt>
                <c:pt idx="392">
                  <c:v>20.655131056393973</c:v>
                </c:pt>
                <c:pt idx="393">
                  <c:v>20.655131056393973</c:v>
                </c:pt>
                <c:pt idx="394">
                  <c:v>20.655131056393973</c:v>
                </c:pt>
                <c:pt idx="395">
                  <c:v>20.655131056393973</c:v>
                </c:pt>
                <c:pt idx="396">
                  <c:v>20.655131056393973</c:v>
                </c:pt>
                <c:pt idx="397">
                  <c:v>20.655131056393973</c:v>
                </c:pt>
                <c:pt idx="398">
                  <c:v>20.655131056393973</c:v>
                </c:pt>
                <c:pt idx="399">
                  <c:v>20.655131056393973</c:v>
                </c:pt>
                <c:pt idx="400">
                  <c:v>20.655131056393973</c:v>
                </c:pt>
                <c:pt idx="401">
                  <c:v>20.655131056393973</c:v>
                </c:pt>
                <c:pt idx="402">
                  <c:v>20.655131056393973</c:v>
                </c:pt>
                <c:pt idx="403">
                  <c:v>20.655131056393973</c:v>
                </c:pt>
                <c:pt idx="404">
                  <c:v>20.655131056393973</c:v>
                </c:pt>
                <c:pt idx="405">
                  <c:v>20.655131056393973</c:v>
                </c:pt>
                <c:pt idx="406">
                  <c:v>20.655131056393973</c:v>
                </c:pt>
                <c:pt idx="407">
                  <c:v>20.655131056393973</c:v>
                </c:pt>
                <c:pt idx="408">
                  <c:v>20.655131056393973</c:v>
                </c:pt>
                <c:pt idx="409">
                  <c:v>20.655131056393973</c:v>
                </c:pt>
                <c:pt idx="410">
                  <c:v>20.655131056393973</c:v>
                </c:pt>
                <c:pt idx="411">
                  <c:v>20.655131056393973</c:v>
                </c:pt>
                <c:pt idx="412">
                  <c:v>20.655131056393973</c:v>
                </c:pt>
                <c:pt idx="413">
                  <c:v>20.655131056393973</c:v>
                </c:pt>
                <c:pt idx="414">
                  <c:v>20.655131056393973</c:v>
                </c:pt>
                <c:pt idx="415">
                  <c:v>20.655131056393973</c:v>
                </c:pt>
                <c:pt idx="416">
                  <c:v>20.655131056393973</c:v>
                </c:pt>
                <c:pt idx="417">
                  <c:v>20.655131056393973</c:v>
                </c:pt>
                <c:pt idx="418">
                  <c:v>20.655131056393973</c:v>
                </c:pt>
                <c:pt idx="419">
                  <c:v>20.655131056393973</c:v>
                </c:pt>
                <c:pt idx="420">
                  <c:v>20.655131056393973</c:v>
                </c:pt>
                <c:pt idx="421">
                  <c:v>20.655131056393973</c:v>
                </c:pt>
                <c:pt idx="422">
                  <c:v>20.655131056393973</c:v>
                </c:pt>
                <c:pt idx="423">
                  <c:v>20.655131056393973</c:v>
                </c:pt>
                <c:pt idx="424">
                  <c:v>20.655131056393973</c:v>
                </c:pt>
                <c:pt idx="425">
                  <c:v>20.655131056393973</c:v>
                </c:pt>
                <c:pt idx="426">
                  <c:v>20.655131056393973</c:v>
                </c:pt>
                <c:pt idx="427">
                  <c:v>20.655131056393973</c:v>
                </c:pt>
                <c:pt idx="428">
                  <c:v>20.655131056393973</c:v>
                </c:pt>
                <c:pt idx="429">
                  <c:v>20.655131056393973</c:v>
                </c:pt>
                <c:pt idx="430">
                  <c:v>20.655131056393973</c:v>
                </c:pt>
                <c:pt idx="431">
                  <c:v>20.655131056393973</c:v>
                </c:pt>
                <c:pt idx="432">
                  <c:v>20.655131056393973</c:v>
                </c:pt>
                <c:pt idx="433">
                  <c:v>20.655131056393973</c:v>
                </c:pt>
                <c:pt idx="434">
                  <c:v>20.655131056393973</c:v>
                </c:pt>
                <c:pt idx="435">
                  <c:v>20.655131056393973</c:v>
                </c:pt>
                <c:pt idx="436">
                  <c:v>20.655131056393973</c:v>
                </c:pt>
                <c:pt idx="437">
                  <c:v>20.655131056393973</c:v>
                </c:pt>
                <c:pt idx="438">
                  <c:v>20.655131056393973</c:v>
                </c:pt>
                <c:pt idx="439">
                  <c:v>20.655131056393973</c:v>
                </c:pt>
                <c:pt idx="440">
                  <c:v>20.655131056393973</c:v>
                </c:pt>
                <c:pt idx="441">
                  <c:v>20.655131056393973</c:v>
                </c:pt>
                <c:pt idx="442">
                  <c:v>20.655131056393973</c:v>
                </c:pt>
                <c:pt idx="443">
                  <c:v>20.655131056393973</c:v>
                </c:pt>
                <c:pt idx="444">
                  <c:v>20.655131056393973</c:v>
                </c:pt>
                <c:pt idx="445">
                  <c:v>20.655131056393973</c:v>
                </c:pt>
                <c:pt idx="446">
                  <c:v>20.655131056393973</c:v>
                </c:pt>
                <c:pt idx="447">
                  <c:v>20.655131056393973</c:v>
                </c:pt>
                <c:pt idx="448">
                  <c:v>20.655131056393973</c:v>
                </c:pt>
                <c:pt idx="449">
                  <c:v>20.655131056393973</c:v>
                </c:pt>
                <c:pt idx="450">
                  <c:v>20.655131056393973</c:v>
                </c:pt>
                <c:pt idx="451">
                  <c:v>20.655131056393973</c:v>
                </c:pt>
                <c:pt idx="452">
                  <c:v>20.655131056393973</c:v>
                </c:pt>
                <c:pt idx="453">
                  <c:v>20.655131056393973</c:v>
                </c:pt>
                <c:pt idx="454">
                  <c:v>20.655131056393973</c:v>
                </c:pt>
                <c:pt idx="455">
                  <c:v>20.655131056393973</c:v>
                </c:pt>
                <c:pt idx="456">
                  <c:v>20.655131056393973</c:v>
                </c:pt>
                <c:pt idx="457">
                  <c:v>20.655131056393973</c:v>
                </c:pt>
                <c:pt idx="458">
                  <c:v>20.655131056393973</c:v>
                </c:pt>
                <c:pt idx="459">
                  <c:v>20.655131056393973</c:v>
                </c:pt>
                <c:pt idx="460">
                  <c:v>20.655131056393973</c:v>
                </c:pt>
                <c:pt idx="461">
                  <c:v>20.655131056393973</c:v>
                </c:pt>
                <c:pt idx="462">
                  <c:v>20.655131056393973</c:v>
                </c:pt>
                <c:pt idx="463">
                  <c:v>20.655131056393973</c:v>
                </c:pt>
                <c:pt idx="464">
                  <c:v>20.655131056393973</c:v>
                </c:pt>
                <c:pt idx="465">
                  <c:v>20.655131056393973</c:v>
                </c:pt>
                <c:pt idx="466">
                  <c:v>20.655131056393973</c:v>
                </c:pt>
                <c:pt idx="467">
                  <c:v>20.655131056393973</c:v>
                </c:pt>
                <c:pt idx="468">
                  <c:v>20.655131056393973</c:v>
                </c:pt>
                <c:pt idx="469">
                  <c:v>20.655131056393973</c:v>
                </c:pt>
                <c:pt idx="470">
                  <c:v>20.655131056393973</c:v>
                </c:pt>
                <c:pt idx="471">
                  <c:v>20.655131056393973</c:v>
                </c:pt>
                <c:pt idx="472">
                  <c:v>20.655131056393973</c:v>
                </c:pt>
                <c:pt idx="473">
                  <c:v>20.655131056393973</c:v>
                </c:pt>
                <c:pt idx="474">
                  <c:v>20.655131056393973</c:v>
                </c:pt>
                <c:pt idx="475">
                  <c:v>20.655131056393973</c:v>
                </c:pt>
                <c:pt idx="476">
                  <c:v>20.655131056393973</c:v>
                </c:pt>
                <c:pt idx="477">
                  <c:v>20.655131056393973</c:v>
                </c:pt>
                <c:pt idx="478">
                  <c:v>20.655131056393973</c:v>
                </c:pt>
                <c:pt idx="479">
                  <c:v>20.655131056393973</c:v>
                </c:pt>
                <c:pt idx="480">
                  <c:v>20.655131056393973</c:v>
                </c:pt>
                <c:pt idx="481">
                  <c:v>20.655131056393973</c:v>
                </c:pt>
                <c:pt idx="482">
                  <c:v>20.655131056393973</c:v>
                </c:pt>
                <c:pt idx="483">
                  <c:v>20.655131056393973</c:v>
                </c:pt>
                <c:pt idx="484">
                  <c:v>20.655131056393973</c:v>
                </c:pt>
                <c:pt idx="485">
                  <c:v>20.655131056393973</c:v>
                </c:pt>
                <c:pt idx="486">
                  <c:v>20.655131056393973</c:v>
                </c:pt>
                <c:pt idx="487">
                  <c:v>20.655131056393973</c:v>
                </c:pt>
                <c:pt idx="488">
                  <c:v>20.655131056393973</c:v>
                </c:pt>
                <c:pt idx="489">
                  <c:v>20.655131056393973</c:v>
                </c:pt>
                <c:pt idx="490">
                  <c:v>20.655131056393973</c:v>
                </c:pt>
                <c:pt idx="491">
                  <c:v>20.655131056393973</c:v>
                </c:pt>
                <c:pt idx="492">
                  <c:v>20.655131056393973</c:v>
                </c:pt>
                <c:pt idx="493">
                  <c:v>20.655131056393973</c:v>
                </c:pt>
                <c:pt idx="494">
                  <c:v>20.655131056393973</c:v>
                </c:pt>
                <c:pt idx="495">
                  <c:v>20.655131056393973</c:v>
                </c:pt>
                <c:pt idx="496">
                  <c:v>20.655131056393973</c:v>
                </c:pt>
                <c:pt idx="497">
                  <c:v>20.655131056393973</c:v>
                </c:pt>
                <c:pt idx="498">
                  <c:v>20.655131056393973</c:v>
                </c:pt>
                <c:pt idx="499">
                  <c:v>20.655131056393973</c:v>
                </c:pt>
                <c:pt idx="500">
                  <c:v>20.655131056393973</c:v>
                </c:pt>
                <c:pt idx="501">
                  <c:v>20.655131056393973</c:v>
                </c:pt>
                <c:pt idx="502">
                  <c:v>20.655131056393973</c:v>
                </c:pt>
                <c:pt idx="503">
                  <c:v>20.655131056393973</c:v>
                </c:pt>
                <c:pt idx="504">
                  <c:v>20.655131056393973</c:v>
                </c:pt>
                <c:pt idx="505">
                  <c:v>20.655131056393973</c:v>
                </c:pt>
                <c:pt idx="506">
                  <c:v>20.655131056393973</c:v>
                </c:pt>
                <c:pt idx="507">
                  <c:v>20.655131056393973</c:v>
                </c:pt>
                <c:pt idx="508">
                  <c:v>20.655131056393973</c:v>
                </c:pt>
                <c:pt idx="509">
                  <c:v>20.655131056393973</c:v>
                </c:pt>
                <c:pt idx="510">
                  <c:v>20.655131056393973</c:v>
                </c:pt>
                <c:pt idx="511">
                  <c:v>20.655131056393973</c:v>
                </c:pt>
                <c:pt idx="512">
                  <c:v>20.655131056393973</c:v>
                </c:pt>
                <c:pt idx="513">
                  <c:v>20.655131056393973</c:v>
                </c:pt>
                <c:pt idx="514">
                  <c:v>20.655131056393973</c:v>
                </c:pt>
                <c:pt idx="515">
                  <c:v>20.655131056393973</c:v>
                </c:pt>
                <c:pt idx="516">
                  <c:v>20.655131056393973</c:v>
                </c:pt>
                <c:pt idx="517">
                  <c:v>20.655131056393973</c:v>
                </c:pt>
                <c:pt idx="518">
                  <c:v>20.655131056393973</c:v>
                </c:pt>
                <c:pt idx="519">
                  <c:v>20.655131056393973</c:v>
                </c:pt>
                <c:pt idx="520">
                  <c:v>20.655131056393973</c:v>
                </c:pt>
                <c:pt idx="521">
                  <c:v>20.655131056393973</c:v>
                </c:pt>
                <c:pt idx="522">
                  <c:v>20.655131056393973</c:v>
                </c:pt>
                <c:pt idx="523">
                  <c:v>20.655131056393973</c:v>
                </c:pt>
                <c:pt idx="524">
                  <c:v>20.655131056393973</c:v>
                </c:pt>
                <c:pt idx="525">
                  <c:v>20.655131056393973</c:v>
                </c:pt>
                <c:pt idx="526">
                  <c:v>20.655131056393973</c:v>
                </c:pt>
                <c:pt idx="527">
                  <c:v>20.655131056393973</c:v>
                </c:pt>
                <c:pt idx="528">
                  <c:v>20.655131056393973</c:v>
                </c:pt>
                <c:pt idx="529">
                  <c:v>20.655131056393973</c:v>
                </c:pt>
                <c:pt idx="530">
                  <c:v>20.655131056393973</c:v>
                </c:pt>
                <c:pt idx="531">
                  <c:v>20.655131056393973</c:v>
                </c:pt>
                <c:pt idx="532">
                  <c:v>20.655131056393973</c:v>
                </c:pt>
                <c:pt idx="533">
                  <c:v>20.655131056393973</c:v>
                </c:pt>
                <c:pt idx="534">
                  <c:v>20.655131056393973</c:v>
                </c:pt>
                <c:pt idx="535">
                  <c:v>20.655131056393973</c:v>
                </c:pt>
                <c:pt idx="536">
                  <c:v>20.655131056393973</c:v>
                </c:pt>
                <c:pt idx="537">
                  <c:v>20.655131056393973</c:v>
                </c:pt>
                <c:pt idx="538">
                  <c:v>20.655131056393973</c:v>
                </c:pt>
                <c:pt idx="539">
                  <c:v>20.655131056393973</c:v>
                </c:pt>
                <c:pt idx="540">
                  <c:v>20.655131056393973</c:v>
                </c:pt>
                <c:pt idx="541">
                  <c:v>20.655131056393973</c:v>
                </c:pt>
                <c:pt idx="542">
                  <c:v>20.655131056393973</c:v>
                </c:pt>
                <c:pt idx="543">
                  <c:v>20.655131056393973</c:v>
                </c:pt>
                <c:pt idx="544">
                  <c:v>20.655131056393973</c:v>
                </c:pt>
                <c:pt idx="545">
                  <c:v>20.655131056393973</c:v>
                </c:pt>
                <c:pt idx="546">
                  <c:v>20.655131056393973</c:v>
                </c:pt>
                <c:pt idx="547">
                  <c:v>20.655131056393973</c:v>
                </c:pt>
                <c:pt idx="548">
                  <c:v>20.655131056393973</c:v>
                </c:pt>
                <c:pt idx="549">
                  <c:v>20.655131056393973</c:v>
                </c:pt>
                <c:pt idx="550">
                  <c:v>20.655131056393973</c:v>
                </c:pt>
                <c:pt idx="551">
                  <c:v>20.655131056393973</c:v>
                </c:pt>
                <c:pt idx="552">
                  <c:v>20.655131056393973</c:v>
                </c:pt>
                <c:pt idx="553">
                  <c:v>20.655131056393973</c:v>
                </c:pt>
                <c:pt idx="554">
                  <c:v>20.655131056393973</c:v>
                </c:pt>
                <c:pt idx="555">
                  <c:v>20.655131056393973</c:v>
                </c:pt>
                <c:pt idx="556">
                  <c:v>20.655131056393973</c:v>
                </c:pt>
                <c:pt idx="557">
                  <c:v>20.655131056393973</c:v>
                </c:pt>
                <c:pt idx="558">
                  <c:v>20.655131056393973</c:v>
                </c:pt>
                <c:pt idx="559">
                  <c:v>20.655131056393973</c:v>
                </c:pt>
                <c:pt idx="560">
                  <c:v>20.655131056393973</c:v>
                </c:pt>
                <c:pt idx="561">
                  <c:v>20.655131056393973</c:v>
                </c:pt>
                <c:pt idx="562">
                  <c:v>20.655131056393973</c:v>
                </c:pt>
                <c:pt idx="563">
                  <c:v>20.655131056393973</c:v>
                </c:pt>
                <c:pt idx="564">
                  <c:v>20.655131056393973</c:v>
                </c:pt>
                <c:pt idx="565">
                  <c:v>20.655131056393973</c:v>
                </c:pt>
                <c:pt idx="566">
                  <c:v>20.655131056393973</c:v>
                </c:pt>
                <c:pt idx="567">
                  <c:v>20.655131056393973</c:v>
                </c:pt>
                <c:pt idx="568">
                  <c:v>20.655131056393973</c:v>
                </c:pt>
                <c:pt idx="569">
                  <c:v>20.655131056393973</c:v>
                </c:pt>
                <c:pt idx="570">
                  <c:v>20.655131056393973</c:v>
                </c:pt>
                <c:pt idx="571">
                  <c:v>20.655131056393973</c:v>
                </c:pt>
                <c:pt idx="572">
                  <c:v>20.655131056393973</c:v>
                </c:pt>
                <c:pt idx="573">
                  <c:v>20.655131056393973</c:v>
                </c:pt>
                <c:pt idx="574">
                  <c:v>20.655131056393973</c:v>
                </c:pt>
                <c:pt idx="575">
                  <c:v>20.655131056393973</c:v>
                </c:pt>
                <c:pt idx="576">
                  <c:v>20.655131056393973</c:v>
                </c:pt>
                <c:pt idx="577">
                  <c:v>20.655131056393973</c:v>
                </c:pt>
                <c:pt idx="578">
                  <c:v>20.655131056393973</c:v>
                </c:pt>
                <c:pt idx="579">
                  <c:v>20.655131056393973</c:v>
                </c:pt>
                <c:pt idx="580">
                  <c:v>20.655131056393973</c:v>
                </c:pt>
                <c:pt idx="581">
                  <c:v>20.655131056393973</c:v>
                </c:pt>
                <c:pt idx="582">
                  <c:v>20.655131056393973</c:v>
                </c:pt>
                <c:pt idx="583">
                  <c:v>20.655131056393973</c:v>
                </c:pt>
                <c:pt idx="584">
                  <c:v>20.655131056393973</c:v>
                </c:pt>
                <c:pt idx="585">
                  <c:v>20.655131056393973</c:v>
                </c:pt>
                <c:pt idx="586">
                  <c:v>20.655131056393973</c:v>
                </c:pt>
                <c:pt idx="587">
                  <c:v>20.655131056393973</c:v>
                </c:pt>
                <c:pt idx="588">
                  <c:v>20.655131056393973</c:v>
                </c:pt>
                <c:pt idx="589">
                  <c:v>20.655131056393973</c:v>
                </c:pt>
                <c:pt idx="590">
                  <c:v>20.655131056393973</c:v>
                </c:pt>
                <c:pt idx="591">
                  <c:v>20.655131056393973</c:v>
                </c:pt>
                <c:pt idx="592">
                  <c:v>20.655131056393973</c:v>
                </c:pt>
                <c:pt idx="593">
                  <c:v>20.655131056393973</c:v>
                </c:pt>
                <c:pt idx="594">
                  <c:v>20.655131056393973</c:v>
                </c:pt>
                <c:pt idx="595">
                  <c:v>20.655131056393973</c:v>
                </c:pt>
                <c:pt idx="596">
                  <c:v>20.655131056393973</c:v>
                </c:pt>
                <c:pt idx="597">
                  <c:v>20.655131056393973</c:v>
                </c:pt>
                <c:pt idx="598">
                  <c:v>20.655131056393973</c:v>
                </c:pt>
                <c:pt idx="599">
                  <c:v>20.655131056393973</c:v>
                </c:pt>
                <c:pt idx="600">
                  <c:v>20.655131056393973</c:v>
                </c:pt>
                <c:pt idx="601">
                  <c:v>20.655131056393973</c:v>
                </c:pt>
                <c:pt idx="602">
                  <c:v>20.655131056393973</c:v>
                </c:pt>
                <c:pt idx="603">
                  <c:v>20.655131056393973</c:v>
                </c:pt>
                <c:pt idx="604">
                  <c:v>20.655131056393973</c:v>
                </c:pt>
                <c:pt idx="605">
                  <c:v>20.655131056393973</c:v>
                </c:pt>
                <c:pt idx="606">
                  <c:v>20.655131056393973</c:v>
                </c:pt>
                <c:pt idx="607">
                  <c:v>20.655131056393973</c:v>
                </c:pt>
                <c:pt idx="608">
                  <c:v>20.655131056393973</c:v>
                </c:pt>
                <c:pt idx="609">
                  <c:v>20.655131056393973</c:v>
                </c:pt>
                <c:pt idx="610">
                  <c:v>20.655131056393973</c:v>
                </c:pt>
                <c:pt idx="611">
                  <c:v>20.655131056393973</c:v>
                </c:pt>
                <c:pt idx="612">
                  <c:v>20.655131056393973</c:v>
                </c:pt>
                <c:pt idx="613">
                  <c:v>20.655131056393973</c:v>
                </c:pt>
                <c:pt idx="614">
                  <c:v>20.655131056393973</c:v>
                </c:pt>
                <c:pt idx="615">
                  <c:v>20.655131056393973</c:v>
                </c:pt>
                <c:pt idx="616">
                  <c:v>20.655131056393973</c:v>
                </c:pt>
                <c:pt idx="617">
                  <c:v>20.655131056393973</c:v>
                </c:pt>
                <c:pt idx="618">
                  <c:v>20.655131056393973</c:v>
                </c:pt>
                <c:pt idx="619">
                  <c:v>20.655131056393973</c:v>
                </c:pt>
                <c:pt idx="620">
                  <c:v>20.655131056393973</c:v>
                </c:pt>
                <c:pt idx="621">
                  <c:v>20.655131056393973</c:v>
                </c:pt>
                <c:pt idx="622">
                  <c:v>20.655131056393973</c:v>
                </c:pt>
                <c:pt idx="623">
                  <c:v>20.655131056393973</c:v>
                </c:pt>
                <c:pt idx="624">
                  <c:v>20.655131056393973</c:v>
                </c:pt>
                <c:pt idx="625">
                  <c:v>20.655131056393973</c:v>
                </c:pt>
                <c:pt idx="626">
                  <c:v>20.655131056393973</c:v>
                </c:pt>
                <c:pt idx="627">
                  <c:v>20.655131056393973</c:v>
                </c:pt>
                <c:pt idx="628">
                  <c:v>20.655131056393973</c:v>
                </c:pt>
                <c:pt idx="629">
                  <c:v>20.655131056393973</c:v>
                </c:pt>
                <c:pt idx="630">
                  <c:v>20.655131056393973</c:v>
                </c:pt>
                <c:pt idx="631">
                  <c:v>20.655131056393973</c:v>
                </c:pt>
                <c:pt idx="632">
                  <c:v>20.655131056393973</c:v>
                </c:pt>
                <c:pt idx="633">
                  <c:v>20.655131056393973</c:v>
                </c:pt>
                <c:pt idx="634">
                  <c:v>20.655131056393973</c:v>
                </c:pt>
                <c:pt idx="635">
                  <c:v>20.655131056393973</c:v>
                </c:pt>
                <c:pt idx="636">
                  <c:v>20.655131056393973</c:v>
                </c:pt>
                <c:pt idx="637">
                  <c:v>20.655131056393973</c:v>
                </c:pt>
                <c:pt idx="638">
                  <c:v>20.655131056393973</c:v>
                </c:pt>
                <c:pt idx="639">
                  <c:v>20.655131056393973</c:v>
                </c:pt>
                <c:pt idx="640">
                  <c:v>20.655131056393973</c:v>
                </c:pt>
                <c:pt idx="641">
                  <c:v>20.655131056393973</c:v>
                </c:pt>
                <c:pt idx="642">
                  <c:v>20.655131056393973</c:v>
                </c:pt>
                <c:pt idx="643">
                  <c:v>20.655131056393973</c:v>
                </c:pt>
                <c:pt idx="644">
                  <c:v>20.655131056393973</c:v>
                </c:pt>
                <c:pt idx="645">
                  <c:v>20.655131056393973</c:v>
                </c:pt>
                <c:pt idx="646">
                  <c:v>20.655131056393973</c:v>
                </c:pt>
                <c:pt idx="647">
                  <c:v>20.655131056393973</c:v>
                </c:pt>
                <c:pt idx="648">
                  <c:v>20.655131056393973</c:v>
                </c:pt>
                <c:pt idx="649">
                  <c:v>20.655131056393973</c:v>
                </c:pt>
                <c:pt idx="650">
                  <c:v>20.655131056393973</c:v>
                </c:pt>
                <c:pt idx="651">
                  <c:v>20.655131056393973</c:v>
                </c:pt>
                <c:pt idx="652">
                  <c:v>20.655131056393973</c:v>
                </c:pt>
                <c:pt idx="653">
                  <c:v>20.655131056393973</c:v>
                </c:pt>
                <c:pt idx="654">
                  <c:v>20.655131056393973</c:v>
                </c:pt>
                <c:pt idx="655">
                  <c:v>20.655131056393973</c:v>
                </c:pt>
                <c:pt idx="656">
                  <c:v>20.655131056393973</c:v>
                </c:pt>
                <c:pt idx="657">
                  <c:v>20.655131056393973</c:v>
                </c:pt>
                <c:pt idx="658">
                  <c:v>20.655131056393973</c:v>
                </c:pt>
                <c:pt idx="659">
                  <c:v>20.655131056393973</c:v>
                </c:pt>
                <c:pt idx="660">
                  <c:v>20.655131056393973</c:v>
                </c:pt>
                <c:pt idx="661">
                  <c:v>20.655131056393973</c:v>
                </c:pt>
                <c:pt idx="662">
                  <c:v>20.655131056393973</c:v>
                </c:pt>
                <c:pt idx="663">
                  <c:v>20.655131056393973</c:v>
                </c:pt>
                <c:pt idx="664">
                  <c:v>20.655131056393973</c:v>
                </c:pt>
                <c:pt idx="665">
                  <c:v>20.655131056393973</c:v>
                </c:pt>
                <c:pt idx="666">
                  <c:v>20.655131056393973</c:v>
                </c:pt>
                <c:pt idx="667">
                  <c:v>20.655131056393973</c:v>
                </c:pt>
                <c:pt idx="668">
                  <c:v>20.655131056393973</c:v>
                </c:pt>
                <c:pt idx="669">
                  <c:v>20.655131056393973</c:v>
                </c:pt>
                <c:pt idx="670">
                  <c:v>20.655131056393973</c:v>
                </c:pt>
                <c:pt idx="671">
                  <c:v>20.655131056393973</c:v>
                </c:pt>
                <c:pt idx="672">
                  <c:v>20.655131056393973</c:v>
                </c:pt>
                <c:pt idx="673">
                  <c:v>20.655131056393973</c:v>
                </c:pt>
                <c:pt idx="674">
                  <c:v>20.655131056393973</c:v>
                </c:pt>
                <c:pt idx="675">
                  <c:v>20.655131056393973</c:v>
                </c:pt>
                <c:pt idx="676">
                  <c:v>20.655131056393973</c:v>
                </c:pt>
                <c:pt idx="677">
                  <c:v>20.655131056393973</c:v>
                </c:pt>
                <c:pt idx="678">
                  <c:v>20.655131056393973</c:v>
                </c:pt>
                <c:pt idx="679">
                  <c:v>20.655131056393973</c:v>
                </c:pt>
                <c:pt idx="680">
                  <c:v>20.655131056393973</c:v>
                </c:pt>
                <c:pt idx="681">
                  <c:v>20.655131056393973</c:v>
                </c:pt>
                <c:pt idx="682">
                  <c:v>20.655131056393973</c:v>
                </c:pt>
                <c:pt idx="683">
                  <c:v>20.655131056393973</c:v>
                </c:pt>
                <c:pt idx="684">
                  <c:v>20.655131056393973</c:v>
                </c:pt>
                <c:pt idx="685">
                  <c:v>20.655131056393973</c:v>
                </c:pt>
                <c:pt idx="686">
                  <c:v>20.655131056393973</c:v>
                </c:pt>
                <c:pt idx="687">
                  <c:v>20.655131056393973</c:v>
                </c:pt>
                <c:pt idx="688">
                  <c:v>20.655131056393973</c:v>
                </c:pt>
                <c:pt idx="689">
                  <c:v>20.655131056393973</c:v>
                </c:pt>
                <c:pt idx="690">
                  <c:v>20.655131056393973</c:v>
                </c:pt>
                <c:pt idx="691">
                  <c:v>20.655131056393973</c:v>
                </c:pt>
                <c:pt idx="692">
                  <c:v>20.655131056393973</c:v>
                </c:pt>
                <c:pt idx="693">
                  <c:v>20.655131056393973</c:v>
                </c:pt>
                <c:pt idx="694">
                  <c:v>20.655131056393973</c:v>
                </c:pt>
                <c:pt idx="695">
                  <c:v>20.655131056393973</c:v>
                </c:pt>
                <c:pt idx="696">
                  <c:v>20.655131056393973</c:v>
                </c:pt>
                <c:pt idx="697">
                  <c:v>20.655131056393973</c:v>
                </c:pt>
                <c:pt idx="698">
                  <c:v>20.655131056393973</c:v>
                </c:pt>
                <c:pt idx="699">
                  <c:v>20.655131056393973</c:v>
                </c:pt>
                <c:pt idx="700">
                  <c:v>20.655131056393973</c:v>
                </c:pt>
                <c:pt idx="701">
                  <c:v>20.655131056393973</c:v>
                </c:pt>
                <c:pt idx="702">
                  <c:v>20.655131056393973</c:v>
                </c:pt>
                <c:pt idx="703">
                  <c:v>20.655131056393973</c:v>
                </c:pt>
                <c:pt idx="704">
                  <c:v>20.655131056393973</c:v>
                </c:pt>
                <c:pt idx="705">
                  <c:v>20.655131056393973</c:v>
                </c:pt>
                <c:pt idx="706">
                  <c:v>20.655131056393973</c:v>
                </c:pt>
                <c:pt idx="707">
                  <c:v>20.655131056393973</c:v>
                </c:pt>
                <c:pt idx="708">
                  <c:v>20.655131056393973</c:v>
                </c:pt>
                <c:pt idx="709">
                  <c:v>20.655131056393973</c:v>
                </c:pt>
                <c:pt idx="710">
                  <c:v>20.655131056393973</c:v>
                </c:pt>
                <c:pt idx="711">
                  <c:v>20.655131056393973</c:v>
                </c:pt>
                <c:pt idx="712">
                  <c:v>20.655131056393973</c:v>
                </c:pt>
                <c:pt idx="713">
                  <c:v>20.655131056393973</c:v>
                </c:pt>
                <c:pt idx="714">
                  <c:v>20.655131056393973</c:v>
                </c:pt>
                <c:pt idx="715">
                  <c:v>20.655131056393973</c:v>
                </c:pt>
                <c:pt idx="716">
                  <c:v>20.655131056393973</c:v>
                </c:pt>
                <c:pt idx="717">
                  <c:v>20.655131056393973</c:v>
                </c:pt>
                <c:pt idx="718">
                  <c:v>20.655131056393973</c:v>
                </c:pt>
                <c:pt idx="719">
                  <c:v>20.655131056393973</c:v>
                </c:pt>
                <c:pt idx="720">
                  <c:v>20.655131056393973</c:v>
                </c:pt>
                <c:pt idx="721">
                  <c:v>20.655131056393973</c:v>
                </c:pt>
                <c:pt idx="722">
                  <c:v>20.655131056393973</c:v>
                </c:pt>
                <c:pt idx="723">
                  <c:v>20.655131056393973</c:v>
                </c:pt>
                <c:pt idx="724">
                  <c:v>20.655131056393973</c:v>
                </c:pt>
                <c:pt idx="725">
                  <c:v>20.655131056393973</c:v>
                </c:pt>
                <c:pt idx="726">
                  <c:v>20.655131056393973</c:v>
                </c:pt>
                <c:pt idx="727">
                  <c:v>20.655131056393973</c:v>
                </c:pt>
                <c:pt idx="728">
                  <c:v>20.655131056393973</c:v>
                </c:pt>
                <c:pt idx="729">
                  <c:v>20.655131056393973</c:v>
                </c:pt>
                <c:pt idx="730">
                  <c:v>20.655131056393973</c:v>
                </c:pt>
                <c:pt idx="731">
                  <c:v>20.655131056393973</c:v>
                </c:pt>
                <c:pt idx="732">
                  <c:v>20.655131056393973</c:v>
                </c:pt>
                <c:pt idx="733">
                  <c:v>20.655131056393973</c:v>
                </c:pt>
                <c:pt idx="734">
                  <c:v>20.655131056393973</c:v>
                </c:pt>
                <c:pt idx="735">
                  <c:v>20.655131056393973</c:v>
                </c:pt>
                <c:pt idx="736">
                  <c:v>20.655131056393973</c:v>
                </c:pt>
                <c:pt idx="737">
                  <c:v>20.655131056393973</c:v>
                </c:pt>
                <c:pt idx="738">
                  <c:v>20.655131056393973</c:v>
                </c:pt>
                <c:pt idx="739">
                  <c:v>20.655131056393973</c:v>
                </c:pt>
                <c:pt idx="740">
                  <c:v>20.655131056393973</c:v>
                </c:pt>
                <c:pt idx="741">
                  <c:v>20.655131056393973</c:v>
                </c:pt>
                <c:pt idx="742">
                  <c:v>20.655131056393973</c:v>
                </c:pt>
                <c:pt idx="743">
                  <c:v>20.655131056393973</c:v>
                </c:pt>
                <c:pt idx="744">
                  <c:v>20.655131056393973</c:v>
                </c:pt>
                <c:pt idx="745">
                  <c:v>20.655131056393973</c:v>
                </c:pt>
                <c:pt idx="746">
                  <c:v>20.655131056393973</c:v>
                </c:pt>
                <c:pt idx="747">
                  <c:v>20.655131056393973</c:v>
                </c:pt>
                <c:pt idx="748">
                  <c:v>20.655131056393973</c:v>
                </c:pt>
                <c:pt idx="749">
                  <c:v>20.655131056393973</c:v>
                </c:pt>
                <c:pt idx="750">
                  <c:v>20.655131056393973</c:v>
                </c:pt>
                <c:pt idx="751">
                  <c:v>20.655131056393973</c:v>
                </c:pt>
                <c:pt idx="752">
                  <c:v>20.655131056393973</c:v>
                </c:pt>
                <c:pt idx="753">
                  <c:v>20.655131056393973</c:v>
                </c:pt>
                <c:pt idx="754">
                  <c:v>20.655131056393973</c:v>
                </c:pt>
                <c:pt idx="755">
                  <c:v>20.655131056393973</c:v>
                </c:pt>
                <c:pt idx="756">
                  <c:v>20.655131056393973</c:v>
                </c:pt>
                <c:pt idx="757">
                  <c:v>20.655131056393973</c:v>
                </c:pt>
                <c:pt idx="758">
                  <c:v>20.655131056393973</c:v>
                </c:pt>
                <c:pt idx="759">
                  <c:v>20.655131056393973</c:v>
                </c:pt>
                <c:pt idx="760">
                  <c:v>20.655131056393973</c:v>
                </c:pt>
                <c:pt idx="761">
                  <c:v>20.655131056393973</c:v>
                </c:pt>
                <c:pt idx="762">
                  <c:v>20.655131056393973</c:v>
                </c:pt>
                <c:pt idx="763">
                  <c:v>20.655131056393973</c:v>
                </c:pt>
                <c:pt idx="764">
                  <c:v>20.655131056393973</c:v>
                </c:pt>
                <c:pt idx="765">
                  <c:v>20.655131056393973</c:v>
                </c:pt>
                <c:pt idx="766">
                  <c:v>20.655131056393973</c:v>
                </c:pt>
                <c:pt idx="767">
                  <c:v>20.655131056393973</c:v>
                </c:pt>
                <c:pt idx="768">
                  <c:v>20.655131056393973</c:v>
                </c:pt>
                <c:pt idx="769">
                  <c:v>20.655131056393973</c:v>
                </c:pt>
                <c:pt idx="770">
                  <c:v>20.655131056393973</c:v>
                </c:pt>
                <c:pt idx="771">
                  <c:v>20.655131056393973</c:v>
                </c:pt>
                <c:pt idx="772">
                  <c:v>20.655131056393973</c:v>
                </c:pt>
                <c:pt idx="773">
                  <c:v>20.655131056393973</c:v>
                </c:pt>
                <c:pt idx="774">
                  <c:v>20.655131056393973</c:v>
                </c:pt>
                <c:pt idx="775">
                  <c:v>20.655131056393973</c:v>
                </c:pt>
                <c:pt idx="776">
                  <c:v>20.655131056393973</c:v>
                </c:pt>
                <c:pt idx="777">
                  <c:v>20.655131056393973</c:v>
                </c:pt>
                <c:pt idx="778">
                  <c:v>20.655131056393973</c:v>
                </c:pt>
                <c:pt idx="779">
                  <c:v>20.655131056393973</c:v>
                </c:pt>
                <c:pt idx="780">
                  <c:v>20.655131056393973</c:v>
                </c:pt>
                <c:pt idx="781">
                  <c:v>20.655131056393973</c:v>
                </c:pt>
                <c:pt idx="782">
                  <c:v>20.655131056393973</c:v>
                </c:pt>
                <c:pt idx="783">
                  <c:v>20.655131056393973</c:v>
                </c:pt>
                <c:pt idx="784">
                  <c:v>20.655131056393973</c:v>
                </c:pt>
                <c:pt idx="785">
                  <c:v>20.655131056393973</c:v>
                </c:pt>
                <c:pt idx="786">
                  <c:v>20.655131056393973</c:v>
                </c:pt>
                <c:pt idx="787">
                  <c:v>20.655131056393973</c:v>
                </c:pt>
                <c:pt idx="788">
                  <c:v>20.655131056393973</c:v>
                </c:pt>
                <c:pt idx="789">
                  <c:v>20.655131056393973</c:v>
                </c:pt>
                <c:pt idx="790">
                  <c:v>20.655131056393973</c:v>
                </c:pt>
                <c:pt idx="791">
                  <c:v>20.655131056393973</c:v>
                </c:pt>
                <c:pt idx="792">
                  <c:v>20.655131056393973</c:v>
                </c:pt>
                <c:pt idx="793">
                  <c:v>20.655131056393973</c:v>
                </c:pt>
                <c:pt idx="794">
                  <c:v>20.655131056393973</c:v>
                </c:pt>
                <c:pt idx="795">
                  <c:v>20.655131056393973</c:v>
                </c:pt>
                <c:pt idx="796">
                  <c:v>20.655131056393973</c:v>
                </c:pt>
                <c:pt idx="797">
                  <c:v>20.655131056393973</c:v>
                </c:pt>
                <c:pt idx="798">
                  <c:v>20.655131056393973</c:v>
                </c:pt>
                <c:pt idx="799">
                  <c:v>20.655131056393973</c:v>
                </c:pt>
                <c:pt idx="800">
                  <c:v>20.655131056393973</c:v>
                </c:pt>
                <c:pt idx="801">
                  <c:v>20.655131056393973</c:v>
                </c:pt>
                <c:pt idx="802">
                  <c:v>20.655131056393973</c:v>
                </c:pt>
                <c:pt idx="803">
                  <c:v>20.655131056393973</c:v>
                </c:pt>
                <c:pt idx="804">
                  <c:v>20.655131056393973</c:v>
                </c:pt>
                <c:pt idx="805">
                  <c:v>20.655131056393973</c:v>
                </c:pt>
                <c:pt idx="806">
                  <c:v>20.655131056393973</c:v>
                </c:pt>
                <c:pt idx="807">
                  <c:v>20.655131056393973</c:v>
                </c:pt>
                <c:pt idx="808">
                  <c:v>20.655131056393973</c:v>
                </c:pt>
                <c:pt idx="809">
                  <c:v>20.655131056393973</c:v>
                </c:pt>
                <c:pt idx="810">
                  <c:v>20.655131056393973</c:v>
                </c:pt>
                <c:pt idx="811">
                  <c:v>20.655131056393973</c:v>
                </c:pt>
                <c:pt idx="812">
                  <c:v>20.655131056393973</c:v>
                </c:pt>
                <c:pt idx="813">
                  <c:v>20.655131056393973</c:v>
                </c:pt>
                <c:pt idx="814">
                  <c:v>20.655131056393973</c:v>
                </c:pt>
                <c:pt idx="815">
                  <c:v>20.655131056393973</c:v>
                </c:pt>
                <c:pt idx="816">
                  <c:v>20.655131056393973</c:v>
                </c:pt>
                <c:pt idx="817">
                  <c:v>20.655131056393973</c:v>
                </c:pt>
                <c:pt idx="818">
                  <c:v>20.655131056393973</c:v>
                </c:pt>
                <c:pt idx="819">
                  <c:v>20.655131056393973</c:v>
                </c:pt>
                <c:pt idx="820">
                  <c:v>20.655131056393973</c:v>
                </c:pt>
                <c:pt idx="821">
                  <c:v>20.655131056393973</c:v>
                </c:pt>
                <c:pt idx="822">
                  <c:v>20.655131056393973</c:v>
                </c:pt>
                <c:pt idx="823">
                  <c:v>20.655131056393973</c:v>
                </c:pt>
                <c:pt idx="824">
                  <c:v>20.655131056393973</c:v>
                </c:pt>
                <c:pt idx="825">
                  <c:v>20.655131056393973</c:v>
                </c:pt>
                <c:pt idx="826">
                  <c:v>20.655131056393973</c:v>
                </c:pt>
                <c:pt idx="827">
                  <c:v>20.655131056393973</c:v>
                </c:pt>
                <c:pt idx="828">
                  <c:v>20.655131056393973</c:v>
                </c:pt>
                <c:pt idx="829">
                  <c:v>20.655131056393973</c:v>
                </c:pt>
                <c:pt idx="830">
                  <c:v>20.655131056393973</c:v>
                </c:pt>
                <c:pt idx="831">
                  <c:v>20.655131056393973</c:v>
                </c:pt>
                <c:pt idx="832">
                  <c:v>20.655131056393973</c:v>
                </c:pt>
                <c:pt idx="833">
                  <c:v>20.655131056393973</c:v>
                </c:pt>
                <c:pt idx="834">
                  <c:v>20.655131056393973</c:v>
                </c:pt>
                <c:pt idx="835">
                  <c:v>20.655131056393973</c:v>
                </c:pt>
                <c:pt idx="836">
                  <c:v>20.655131056393973</c:v>
                </c:pt>
                <c:pt idx="837">
                  <c:v>20.655131056393973</c:v>
                </c:pt>
                <c:pt idx="838">
                  <c:v>20.655131056393973</c:v>
                </c:pt>
                <c:pt idx="839">
                  <c:v>20.655131056393973</c:v>
                </c:pt>
                <c:pt idx="840">
                  <c:v>20.655131056393973</c:v>
                </c:pt>
                <c:pt idx="841">
                  <c:v>20.655131056393973</c:v>
                </c:pt>
                <c:pt idx="842">
                  <c:v>20.655131056393973</c:v>
                </c:pt>
                <c:pt idx="843">
                  <c:v>20.655131056393973</c:v>
                </c:pt>
                <c:pt idx="844">
                  <c:v>20.655131056393973</c:v>
                </c:pt>
                <c:pt idx="845">
                  <c:v>20.655131056393973</c:v>
                </c:pt>
                <c:pt idx="846">
                  <c:v>20.655131056393973</c:v>
                </c:pt>
                <c:pt idx="847">
                  <c:v>20.655131056393973</c:v>
                </c:pt>
                <c:pt idx="848">
                  <c:v>20.655131056393973</c:v>
                </c:pt>
                <c:pt idx="849">
                  <c:v>20.655131056393973</c:v>
                </c:pt>
                <c:pt idx="850">
                  <c:v>20.655131056393973</c:v>
                </c:pt>
                <c:pt idx="851">
                  <c:v>20.655131056393973</c:v>
                </c:pt>
                <c:pt idx="852">
                  <c:v>20.655131056393973</c:v>
                </c:pt>
                <c:pt idx="853">
                  <c:v>20.655131056393973</c:v>
                </c:pt>
                <c:pt idx="854">
                  <c:v>20.655131056393973</c:v>
                </c:pt>
                <c:pt idx="855">
                  <c:v>20.655131056393973</c:v>
                </c:pt>
                <c:pt idx="856">
                  <c:v>20.655131056393973</c:v>
                </c:pt>
                <c:pt idx="857">
                  <c:v>20.655131056393973</c:v>
                </c:pt>
                <c:pt idx="858">
                  <c:v>20.655131056393973</c:v>
                </c:pt>
                <c:pt idx="859">
                  <c:v>20.655131056393973</c:v>
                </c:pt>
                <c:pt idx="860">
                  <c:v>20.655131056393973</c:v>
                </c:pt>
                <c:pt idx="861">
                  <c:v>20.655131056393973</c:v>
                </c:pt>
                <c:pt idx="862">
                  <c:v>20.655131056393973</c:v>
                </c:pt>
                <c:pt idx="863">
                  <c:v>20.655131056393973</c:v>
                </c:pt>
                <c:pt idx="864">
                  <c:v>20.655131056393973</c:v>
                </c:pt>
                <c:pt idx="865">
                  <c:v>20.655131056393973</c:v>
                </c:pt>
                <c:pt idx="866">
                  <c:v>20.655131056393973</c:v>
                </c:pt>
                <c:pt idx="867">
                  <c:v>20.655131056393973</c:v>
                </c:pt>
                <c:pt idx="868">
                  <c:v>20.655131056393973</c:v>
                </c:pt>
                <c:pt idx="869">
                  <c:v>20.655131056393973</c:v>
                </c:pt>
                <c:pt idx="870">
                  <c:v>20.655131056393973</c:v>
                </c:pt>
                <c:pt idx="871">
                  <c:v>20.655131056393973</c:v>
                </c:pt>
                <c:pt idx="872">
                  <c:v>20.655131056393973</c:v>
                </c:pt>
                <c:pt idx="873">
                  <c:v>20.655131056393973</c:v>
                </c:pt>
                <c:pt idx="874">
                  <c:v>20.655131056393973</c:v>
                </c:pt>
                <c:pt idx="875">
                  <c:v>20.655131056393973</c:v>
                </c:pt>
                <c:pt idx="876">
                  <c:v>20.655131056393973</c:v>
                </c:pt>
                <c:pt idx="877">
                  <c:v>20.655131056393973</c:v>
                </c:pt>
                <c:pt idx="878">
                  <c:v>20.655131056393973</c:v>
                </c:pt>
                <c:pt idx="879">
                  <c:v>20.655131056393973</c:v>
                </c:pt>
                <c:pt idx="880">
                  <c:v>20.655131056393973</c:v>
                </c:pt>
                <c:pt idx="881">
                  <c:v>20.655131056393973</c:v>
                </c:pt>
                <c:pt idx="882">
                  <c:v>20.655131056393973</c:v>
                </c:pt>
                <c:pt idx="883">
                  <c:v>20.655131056393973</c:v>
                </c:pt>
                <c:pt idx="884">
                  <c:v>20.655131056393973</c:v>
                </c:pt>
                <c:pt idx="885">
                  <c:v>20.655131056393973</c:v>
                </c:pt>
                <c:pt idx="886">
                  <c:v>20.655131056393973</c:v>
                </c:pt>
                <c:pt idx="887">
                  <c:v>20.655131056393973</c:v>
                </c:pt>
                <c:pt idx="888">
                  <c:v>20.655131056393973</c:v>
                </c:pt>
                <c:pt idx="889">
                  <c:v>20.655131056393973</c:v>
                </c:pt>
                <c:pt idx="890">
                  <c:v>20.655131056393973</c:v>
                </c:pt>
                <c:pt idx="891">
                  <c:v>20.655131056393973</c:v>
                </c:pt>
                <c:pt idx="892">
                  <c:v>20.655131056393973</c:v>
                </c:pt>
                <c:pt idx="893">
                  <c:v>20.655131056393973</c:v>
                </c:pt>
                <c:pt idx="894">
                  <c:v>20.655131056393973</c:v>
                </c:pt>
                <c:pt idx="895">
                  <c:v>20.655131056393973</c:v>
                </c:pt>
                <c:pt idx="896">
                  <c:v>20.655131056393973</c:v>
                </c:pt>
                <c:pt idx="897">
                  <c:v>20.655131056393973</c:v>
                </c:pt>
                <c:pt idx="898">
                  <c:v>20.655131056393973</c:v>
                </c:pt>
                <c:pt idx="899">
                  <c:v>20.655131056393973</c:v>
                </c:pt>
                <c:pt idx="900">
                  <c:v>20.655131056393973</c:v>
                </c:pt>
                <c:pt idx="901">
                  <c:v>20.655131056393973</c:v>
                </c:pt>
                <c:pt idx="902">
                  <c:v>20.655131056393973</c:v>
                </c:pt>
                <c:pt idx="903">
                  <c:v>20.655131056393973</c:v>
                </c:pt>
                <c:pt idx="904">
                  <c:v>20.655131056393973</c:v>
                </c:pt>
                <c:pt idx="905">
                  <c:v>20.655131056393973</c:v>
                </c:pt>
                <c:pt idx="906">
                  <c:v>20.655131056393973</c:v>
                </c:pt>
                <c:pt idx="907">
                  <c:v>20.655131056393973</c:v>
                </c:pt>
                <c:pt idx="908">
                  <c:v>20.655131056393973</c:v>
                </c:pt>
                <c:pt idx="909">
                  <c:v>20.655131056393973</c:v>
                </c:pt>
                <c:pt idx="910">
                  <c:v>20.655131056393973</c:v>
                </c:pt>
                <c:pt idx="911">
                  <c:v>20.655131056393973</c:v>
                </c:pt>
                <c:pt idx="912">
                  <c:v>20.655131056393973</c:v>
                </c:pt>
                <c:pt idx="913">
                  <c:v>20.655131056393973</c:v>
                </c:pt>
                <c:pt idx="914">
                  <c:v>20.655131056393973</c:v>
                </c:pt>
                <c:pt idx="915">
                  <c:v>20.655131056393973</c:v>
                </c:pt>
                <c:pt idx="916">
                  <c:v>20.655131056393973</c:v>
                </c:pt>
                <c:pt idx="917">
                  <c:v>20.655131056393973</c:v>
                </c:pt>
                <c:pt idx="918">
                  <c:v>20.655131056393973</c:v>
                </c:pt>
                <c:pt idx="919">
                  <c:v>20.655131056393973</c:v>
                </c:pt>
                <c:pt idx="920">
                  <c:v>20.655131056393973</c:v>
                </c:pt>
                <c:pt idx="921">
                  <c:v>20.655131056393973</c:v>
                </c:pt>
                <c:pt idx="922">
                  <c:v>20.655131056393973</c:v>
                </c:pt>
                <c:pt idx="923">
                  <c:v>20.655131056393973</c:v>
                </c:pt>
                <c:pt idx="924">
                  <c:v>20.655131056393973</c:v>
                </c:pt>
                <c:pt idx="925">
                  <c:v>20.655131056393973</c:v>
                </c:pt>
                <c:pt idx="926">
                  <c:v>20.655131056393973</c:v>
                </c:pt>
                <c:pt idx="927">
                  <c:v>20.655131056393973</c:v>
                </c:pt>
                <c:pt idx="928">
                  <c:v>20.655131056393973</c:v>
                </c:pt>
                <c:pt idx="929">
                  <c:v>20.655131056393973</c:v>
                </c:pt>
                <c:pt idx="930">
                  <c:v>20.655131056393973</c:v>
                </c:pt>
                <c:pt idx="931">
                  <c:v>20.655131056393973</c:v>
                </c:pt>
                <c:pt idx="932">
                  <c:v>20.655131056393973</c:v>
                </c:pt>
                <c:pt idx="933">
                  <c:v>20.655131056393973</c:v>
                </c:pt>
                <c:pt idx="934">
                  <c:v>20.655131056393973</c:v>
                </c:pt>
                <c:pt idx="935">
                  <c:v>20.655131056393973</c:v>
                </c:pt>
                <c:pt idx="936">
                  <c:v>20.655131056393973</c:v>
                </c:pt>
                <c:pt idx="937">
                  <c:v>20.655131056393973</c:v>
                </c:pt>
                <c:pt idx="938">
                  <c:v>20.655131056393973</c:v>
                </c:pt>
                <c:pt idx="939">
                  <c:v>20.655131056393973</c:v>
                </c:pt>
                <c:pt idx="940">
                  <c:v>20.655131056393973</c:v>
                </c:pt>
                <c:pt idx="941">
                  <c:v>20.655131056393973</c:v>
                </c:pt>
                <c:pt idx="942">
                  <c:v>20.655131056393973</c:v>
                </c:pt>
                <c:pt idx="943">
                  <c:v>20.655131056393973</c:v>
                </c:pt>
                <c:pt idx="944">
                  <c:v>20.655131056393973</c:v>
                </c:pt>
                <c:pt idx="945">
                  <c:v>20.655131056393973</c:v>
                </c:pt>
                <c:pt idx="946">
                  <c:v>20.655131056393973</c:v>
                </c:pt>
                <c:pt idx="947">
                  <c:v>20.655131056393973</c:v>
                </c:pt>
                <c:pt idx="948">
                  <c:v>20.655131056393973</c:v>
                </c:pt>
                <c:pt idx="949">
                  <c:v>20.655131056393973</c:v>
                </c:pt>
                <c:pt idx="950">
                  <c:v>20.655131056393973</c:v>
                </c:pt>
                <c:pt idx="951">
                  <c:v>20.655131056393973</c:v>
                </c:pt>
                <c:pt idx="952">
                  <c:v>20.655131056393973</c:v>
                </c:pt>
                <c:pt idx="953">
                  <c:v>20.655131056393973</c:v>
                </c:pt>
                <c:pt idx="954">
                  <c:v>20.655131056393973</c:v>
                </c:pt>
                <c:pt idx="955">
                  <c:v>20.655131056393973</c:v>
                </c:pt>
                <c:pt idx="956">
                  <c:v>20.655131056393973</c:v>
                </c:pt>
                <c:pt idx="957">
                  <c:v>20.655131056393973</c:v>
                </c:pt>
                <c:pt idx="958">
                  <c:v>20.655131056393973</c:v>
                </c:pt>
                <c:pt idx="959">
                  <c:v>20.655131056393973</c:v>
                </c:pt>
                <c:pt idx="960">
                  <c:v>20.655131056393973</c:v>
                </c:pt>
                <c:pt idx="961">
                  <c:v>20.655131056393973</c:v>
                </c:pt>
                <c:pt idx="962">
                  <c:v>20.655131056393973</c:v>
                </c:pt>
                <c:pt idx="963">
                  <c:v>20.655131056393973</c:v>
                </c:pt>
                <c:pt idx="964">
                  <c:v>20.655131056393973</c:v>
                </c:pt>
                <c:pt idx="965">
                  <c:v>20.655131056393973</c:v>
                </c:pt>
                <c:pt idx="966">
                  <c:v>20.655131056393973</c:v>
                </c:pt>
                <c:pt idx="967">
                  <c:v>20.655131056393973</c:v>
                </c:pt>
                <c:pt idx="968">
                  <c:v>20.655131056393973</c:v>
                </c:pt>
                <c:pt idx="969">
                  <c:v>20.655131056393973</c:v>
                </c:pt>
                <c:pt idx="970">
                  <c:v>20.655131056393973</c:v>
                </c:pt>
                <c:pt idx="971">
                  <c:v>20.655131056393973</c:v>
                </c:pt>
                <c:pt idx="972">
                  <c:v>20.655131056393973</c:v>
                </c:pt>
                <c:pt idx="973">
                  <c:v>20.655131056393973</c:v>
                </c:pt>
                <c:pt idx="974">
                  <c:v>20.655131056393973</c:v>
                </c:pt>
                <c:pt idx="975">
                  <c:v>20.655131056393973</c:v>
                </c:pt>
                <c:pt idx="976">
                  <c:v>20.655131056393973</c:v>
                </c:pt>
                <c:pt idx="977">
                  <c:v>20.655131056393973</c:v>
                </c:pt>
                <c:pt idx="978">
                  <c:v>20.655131056393973</c:v>
                </c:pt>
                <c:pt idx="979">
                  <c:v>20.655131056393973</c:v>
                </c:pt>
                <c:pt idx="980">
                  <c:v>20.655131056393973</c:v>
                </c:pt>
                <c:pt idx="981">
                  <c:v>20.655131056393973</c:v>
                </c:pt>
                <c:pt idx="982">
                  <c:v>20.655131056393973</c:v>
                </c:pt>
                <c:pt idx="983">
                  <c:v>20.655131056393973</c:v>
                </c:pt>
                <c:pt idx="984">
                  <c:v>20.655131056393973</c:v>
                </c:pt>
                <c:pt idx="985">
                  <c:v>20.655131056393973</c:v>
                </c:pt>
                <c:pt idx="986">
                  <c:v>20.655131056393973</c:v>
                </c:pt>
                <c:pt idx="987">
                  <c:v>20.655131056393973</c:v>
                </c:pt>
                <c:pt idx="988">
                  <c:v>20.655131056393973</c:v>
                </c:pt>
                <c:pt idx="989">
                  <c:v>20.655131056393973</c:v>
                </c:pt>
                <c:pt idx="990">
                  <c:v>20.655131056393973</c:v>
                </c:pt>
                <c:pt idx="991">
                  <c:v>20.655131056393973</c:v>
                </c:pt>
                <c:pt idx="992">
                  <c:v>20.655131056393973</c:v>
                </c:pt>
                <c:pt idx="993">
                  <c:v>20.655131056393973</c:v>
                </c:pt>
                <c:pt idx="994">
                  <c:v>20.655131056393973</c:v>
                </c:pt>
                <c:pt idx="995">
                  <c:v>20.655131056393973</c:v>
                </c:pt>
                <c:pt idx="996">
                  <c:v>20.655131056393973</c:v>
                </c:pt>
                <c:pt idx="997">
                  <c:v>20.655131056393973</c:v>
                </c:pt>
                <c:pt idx="998">
                  <c:v>20.655131056393973</c:v>
                </c:pt>
                <c:pt idx="999">
                  <c:v>20.655131056393973</c:v>
                </c:pt>
                <c:pt idx="1000">
                  <c:v>20.655131056393973</c:v>
                </c:pt>
                <c:pt idx="1001">
                  <c:v>20.655131056393973</c:v>
                </c:pt>
                <c:pt idx="1002">
                  <c:v>20.655131056393973</c:v>
                </c:pt>
                <c:pt idx="1003">
                  <c:v>20.655131056393973</c:v>
                </c:pt>
                <c:pt idx="1004">
                  <c:v>20.655131056393973</c:v>
                </c:pt>
                <c:pt idx="1005">
                  <c:v>20.655131056393973</c:v>
                </c:pt>
                <c:pt idx="1006">
                  <c:v>20.655131056393973</c:v>
                </c:pt>
                <c:pt idx="1007">
                  <c:v>20.655131056393973</c:v>
                </c:pt>
                <c:pt idx="1008">
                  <c:v>20.655131056393973</c:v>
                </c:pt>
                <c:pt idx="1009">
                  <c:v>20.655131056393973</c:v>
                </c:pt>
                <c:pt idx="1010">
                  <c:v>20.655131056393973</c:v>
                </c:pt>
                <c:pt idx="1011">
                  <c:v>20.655131056393973</c:v>
                </c:pt>
                <c:pt idx="1012">
                  <c:v>20.655131056393973</c:v>
                </c:pt>
                <c:pt idx="1013">
                  <c:v>20.655131056393973</c:v>
                </c:pt>
                <c:pt idx="1014">
                  <c:v>20.655131056393973</c:v>
                </c:pt>
                <c:pt idx="1015">
                  <c:v>20.655131056393973</c:v>
                </c:pt>
                <c:pt idx="1016">
                  <c:v>20.655131056393973</c:v>
                </c:pt>
                <c:pt idx="1017">
                  <c:v>20.655131056393973</c:v>
                </c:pt>
                <c:pt idx="1018">
                  <c:v>20.655131056393973</c:v>
                </c:pt>
                <c:pt idx="1019">
                  <c:v>20.655131056393973</c:v>
                </c:pt>
                <c:pt idx="1020">
                  <c:v>20.655131056393973</c:v>
                </c:pt>
                <c:pt idx="1021">
                  <c:v>20.655131056393973</c:v>
                </c:pt>
                <c:pt idx="1022">
                  <c:v>20.655131056393973</c:v>
                </c:pt>
                <c:pt idx="1023">
                  <c:v>20.655131056393973</c:v>
                </c:pt>
                <c:pt idx="1024">
                  <c:v>20.655131056393973</c:v>
                </c:pt>
                <c:pt idx="1025">
                  <c:v>20.655131056393973</c:v>
                </c:pt>
                <c:pt idx="1026">
                  <c:v>20.655131056393973</c:v>
                </c:pt>
                <c:pt idx="1027">
                  <c:v>20.655131056393973</c:v>
                </c:pt>
                <c:pt idx="1028">
                  <c:v>20.655131056393973</c:v>
                </c:pt>
                <c:pt idx="1029">
                  <c:v>20.655131056393973</c:v>
                </c:pt>
                <c:pt idx="1030">
                  <c:v>20.655131056393973</c:v>
                </c:pt>
                <c:pt idx="1031">
                  <c:v>20.655131056393973</c:v>
                </c:pt>
                <c:pt idx="1032">
                  <c:v>20.655131056393973</c:v>
                </c:pt>
                <c:pt idx="1033">
                  <c:v>20.655131056393973</c:v>
                </c:pt>
                <c:pt idx="1034">
                  <c:v>20.655131056393973</c:v>
                </c:pt>
                <c:pt idx="1035">
                  <c:v>20.655131056393973</c:v>
                </c:pt>
                <c:pt idx="1036">
                  <c:v>20.655131056393973</c:v>
                </c:pt>
                <c:pt idx="1037">
                  <c:v>20.655131056393973</c:v>
                </c:pt>
                <c:pt idx="1038">
                  <c:v>20.655131056393973</c:v>
                </c:pt>
                <c:pt idx="1039">
                  <c:v>20.655131056393973</c:v>
                </c:pt>
                <c:pt idx="1040">
                  <c:v>20.655131056393973</c:v>
                </c:pt>
                <c:pt idx="1041">
                  <c:v>20.655131056393973</c:v>
                </c:pt>
                <c:pt idx="1042">
                  <c:v>20.655131056393973</c:v>
                </c:pt>
                <c:pt idx="1043">
                  <c:v>20.655131056393973</c:v>
                </c:pt>
                <c:pt idx="1044">
                  <c:v>20.655131056393973</c:v>
                </c:pt>
                <c:pt idx="1045">
                  <c:v>20.655131056393973</c:v>
                </c:pt>
                <c:pt idx="1046">
                  <c:v>20.655131056393973</c:v>
                </c:pt>
                <c:pt idx="1047">
                  <c:v>20.655131056393973</c:v>
                </c:pt>
                <c:pt idx="1048">
                  <c:v>20.655131056393973</c:v>
                </c:pt>
                <c:pt idx="1049">
                  <c:v>20.655131056393973</c:v>
                </c:pt>
                <c:pt idx="1050">
                  <c:v>20.655131056393973</c:v>
                </c:pt>
                <c:pt idx="1051">
                  <c:v>20.655131056393973</c:v>
                </c:pt>
                <c:pt idx="1052">
                  <c:v>20.655131056393973</c:v>
                </c:pt>
                <c:pt idx="1053">
                  <c:v>20.655131056393973</c:v>
                </c:pt>
                <c:pt idx="1054">
                  <c:v>20.655131056393973</c:v>
                </c:pt>
                <c:pt idx="1055">
                  <c:v>20.655131056393973</c:v>
                </c:pt>
                <c:pt idx="1056">
                  <c:v>20.655131056393973</c:v>
                </c:pt>
                <c:pt idx="1057">
                  <c:v>20.655131056393973</c:v>
                </c:pt>
                <c:pt idx="1058">
                  <c:v>20.655131056393973</c:v>
                </c:pt>
                <c:pt idx="1059">
                  <c:v>20.655131056393973</c:v>
                </c:pt>
                <c:pt idx="1060">
                  <c:v>20.655131056393973</c:v>
                </c:pt>
                <c:pt idx="1061">
                  <c:v>20.655131056393973</c:v>
                </c:pt>
                <c:pt idx="1062">
                  <c:v>20.655131056393973</c:v>
                </c:pt>
                <c:pt idx="1063">
                  <c:v>20.655131056393973</c:v>
                </c:pt>
                <c:pt idx="1064">
                  <c:v>20.655131056393973</c:v>
                </c:pt>
                <c:pt idx="1065">
                  <c:v>20.655131056393973</c:v>
                </c:pt>
                <c:pt idx="1066">
                  <c:v>20.655131056393973</c:v>
                </c:pt>
                <c:pt idx="1067">
                  <c:v>20.655131056393973</c:v>
                </c:pt>
                <c:pt idx="1068">
                  <c:v>20.655131056393973</c:v>
                </c:pt>
                <c:pt idx="1069">
                  <c:v>20.655131056393973</c:v>
                </c:pt>
                <c:pt idx="1070">
                  <c:v>20.655131056393973</c:v>
                </c:pt>
                <c:pt idx="1071">
                  <c:v>20.655131056393973</c:v>
                </c:pt>
                <c:pt idx="1072">
                  <c:v>20.655131056393973</c:v>
                </c:pt>
                <c:pt idx="1073">
                  <c:v>20.655131056393973</c:v>
                </c:pt>
                <c:pt idx="1074">
                  <c:v>20.655131056393973</c:v>
                </c:pt>
                <c:pt idx="1075">
                  <c:v>20.655131056393973</c:v>
                </c:pt>
                <c:pt idx="1076">
                  <c:v>20.655131056393973</c:v>
                </c:pt>
                <c:pt idx="1077">
                  <c:v>20.655131056393973</c:v>
                </c:pt>
                <c:pt idx="1078">
                  <c:v>20.655131056393973</c:v>
                </c:pt>
                <c:pt idx="1079">
                  <c:v>20.655131056393973</c:v>
                </c:pt>
                <c:pt idx="1080">
                  <c:v>20.655131056393973</c:v>
                </c:pt>
                <c:pt idx="1081">
                  <c:v>20.655131056393973</c:v>
                </c:pt>
                <c:pt idx="1082">
                  <c:v>20.655131056393973</c:v>
                </c:pt>
                <c:pt idx="1083">
                  <c:v>20.655131056393973</c:v>
                </c:pt>
                <c:pt idx="1084">
                  <c:v>20.655131056393973</c:v>
                </c:pt>
                <c:pt idx="1085">
                  <c:v>20.655131056393973</c:v>
                </c:pt>
                <c:pt idx="1086">
                  <c:v>20.655131056393973</c:v>
                </c:pt>
                <c:pt idx="1087">
                  <c:v>20.655131056393973</c:v>
                </c:pt>
                <c:pt idx="1088">
                  <c:v>20.655131056393973</c:v>
                </c:pt>
                <c:pt idx="1089">
                  <c:v>20.655131056393973</c:v>
                </c:pt>
                <c:pt idx="1090">
                  <c:v>20.655131056393973</c:v>
                </c:pt>
                <c:pt idx="1091">
                  <c:v>20.655131056393973</c:v>
                </c:pt>
                <c:pt idx="1092">
                  <c:v>20.655131056393973</c:v>
                </c:pt>
                <c:pt idx="1093">
                  <c:v>20.655131056393973</c:v>
                </c:pt>
                <c:pt idx="1094">
                  <c:v>20.655131056393973</c:v>
                </c:pt>
                <c:pt idx="1095">
                  <c:v>20.655131056393973</c:v>
                </c:pt>
                <c:pt idx="1096">
                  <c:v>20.655131056393973</c:v>
                </c:pt>
                <c:pt idx="1097">
                  <c:v>20.655131056393973</c:v>
                </c:pt>
                <c:pt idx="1098">
                  <c:v>20.655131056393973</c:v>
                </c:pt>
                <c:pt idx="1099">
                  <c:v>20.655131056393973</c:v>
                </c:pt>
                <c:pt idx="1100">
                  <c:v>20.655131056393973</c:v>
                </c:pt>
                <c:pt idx="1101">
                  <c:v>20.655131056393973</c:v>
                </c:pt>
                <c:pt idx="1102">
                  <c:v>20.655131056393973</c:v>
                </c:pt>
                <c:pt idx="1103">
                  <c:v>20.655131056393973</c:v>
                </c:pt>
                <c:pt idx="1104">
                  <c:v>20.655131056393973</c:v>
                </c:pt>
                <c:pt idx="1105">
                  <c:v>20.655131056393973</c:v>
                </c:pt>
                <c:pt idx="1106">
                  <c:v>20.655131056393973</c:v>
                </c:pt>
                <c:pt idx="1107">
                  <c:v>20.655131056393973</c:v>
                </c:pt>
                <c:pt idx="1108">
                  <c:v>20.655131056393973</c:v>
                </c:pt>
                <c:pt idx="1109">
                  <c:v>20.655131056393973</c:v>
                </c:pt>
                <c:pt idx="1110">
                  <c:v>20.655131056393973</c:v>
                </c:pt>
                <c:pt idx="1111">
                  <c:v>20.655131056393973</c:v>
                </c:pt>
                <c:pt idx="1112">
                  <c:v>20.655131056393973</c:v>
                </c:pt>
                <c:pt idx="1113">
                  <c:v>20.655131056393973</c:v>
                </c:pt>
                <c:pt idx="1114">
                  <c:v>20.655131056393973</c:v>
                </c:pt>
                <c:pt idx="1115">
                  <c:v>20.655131056393973</c:v>
                </c:pt>
                <c:pt idx="1116">
                  <c:v>20.655131056393973</c:v>
                </c:pt>
                <c:pt idx="1117">
                  <c:v>20.655131056393973</c:v>
                </c:pt>
                <c:pt idx="1118">
                  <c:v>20.655131056393973</c:v>
                </c:pt>
                <c:pt idx="1119">
                  <c:v>20.655131056393973</c:v>
                </c:pt>
                <c:pt idx="1120">
                  <c:v>20.655131056393973</c:v>
                </c:pt>
                <c:pt idx="1121">
                  <c:v>20.655131056393973</c:v>
                </c:pt>
                <c:pt idx="1122">
                  <c:v>20.655131056393973</c:v>
                </c:pt>
                <c:pt idx="1123">
                  <c:v>20.655131056393973</c:v>
                </c:pt>
                <c:pt idx="1124">
                  <c:v>20.655131056393973</c:v>
                </c:pt>
                <c:pt idx="1125">
                  <c:v>20.655131056393973</c:v>
                </c:pt>
                <c:pt idx="1126">
                  <c:v>20.655131056393973</c:v>
                </c:pt>
                <c:pt idx="1127">
                  <c:v>20.655131056393973</c:v>
                </c:pt>
                <c:pt idx="1128">
                  <c:v>20.655131056393973</c:v>
                </c:pt>
                <c:pt idx="1129">
                  <c:v>20.655131056393973</c:v>
                </c:pt>
                <c:pt idx="1130">
                  <c:v>20.655131056393973</c:v>
                </c:pt>
                <c:pt idx="1131">
                  <c:v>20.655131056393973</c:v>
                </c:pt>
                <c:pt idx="1132">
                  <c:v>20.655131056393973</c:v>
                </c:pt>
                <c:pt idx="1133">
                  <c:v>20.655131056393973</c:v>
                </c:pt>
                <c:pt idx="1134">
                  <c:v>20.655131056393973</c:v>
                </c:pt>
                <c:pt idx="1135">
                  <c:v>20.655131056393973</c:v>
                </c:pt>
                <c:pt idx="1136">
                  <c:v>20.655131056393973</c:v>
                </c:pt>
                <c:pt idx="1137">
                  <c:v>20.655131056393973</c:v>
                </c:pt>
                <c:pt idx="1138">
                  <c:v>20.655131056393973</c:v>
                </c:pt>
                <c:pt idx="1139">
                  <c:v>20.655131056393973</c:v>
                </c:pt>
                <c:pt idx="1140">
                  <c:v>20.655131056393973</c:v>
                </c:pt>
                <c:pt idx="1141">
                  <c:v>20.655131056393973</c:v>
                </c:pt>
                <c:pt idx="1142">
                  <c:v>20.655131056393973</c:v>
                </c:pt>
                <c:pt idx="1143">
                  <c:v>20.655131056393973</c:v>
                </c:pt>
                <c:pt idx="1144">
                  <c:v>20.655131056393973</c:v>
                </c:pt>
                <c:pt idx="1145">
                  <c:v>20.655131056393973</c:v>
                </c:pt>
                <c:pt idx="1146">
                  <c:v>20.655131056393973</c:v>
                </c:pt>
                <c:pt idx="1147">
                  <c:v>20.655131056393973</c:v>
                </c:pt>
                <c:pt idx="1148">
                  <c:v>20.655131056393973</c:v>
                </c:pt>
                <c:pt idx="1149">
                  <c:v>20.655131056393973</c:v>
                </c:pt>
                <c:pt idx="1150">
                  <c:v>20.655131056393973</c:v>
                </c:pt>
                <c:pt idx="1151">
                  <c:v>20.655131056393973</c:v>
                </c:pt>
                <c:pt idx="1152">
                  <c:v>20.655131056393973</c:v>
                </c:pt>
                <c:pt idx="1153">
                  <c:v>20.655131056393973</c:v>
                </c:pt>
                <c:pt idx="1154">
                  <c:v>20.655131056393973</c:v>
                </c:pt>
                <c:pt idx="1155">
                  <c:v>20.655131056393973</c:v>
                </c:pt>
                <c:pt idx="1156">
                  <c:v>20.655131056393973</c:v>
                </c:pt>
                <c:pt idx="1157">
                  <c:v>20.655131056393973</c:v>
                </c:pt>
                <c:pt idx="1158">
                  <c:v>20.655131056393973</c:v>
                </c:pt>
                <c:pt idx="1159">
                  <c:v>20.655131056393973</c:v>
                </c:pt>
                <c:pt idx="1160">
                  <c:v>20.655131056393973</c:v>
                </c:pt>
                <c:pt idx="1161">
                  <c:v>20.655131056393973</c:v>
                </c:pt>
                <c:pt idx="1162">
                  <c:v>20.655131056393973</c:v>
                </c:pt>
                <c:pt idx="1163">
                  <c:v>20.655131056393973</c:v>
                </c:pt>
                <c:pt idx="1164">
                  <c:v>20.655131056393973</c:v>
                </c:pt>
                <c:pt idx="1165">
                  <c:v>20.655131056393973</c:v>
                </c:pt>
                <c:pt idx="1166">
                  <c:v>20.655131056393973</c:v>
                </c:pt>
                <c:pt idx="1167">
                  <c:v>20.655131056393973</c:v>
                </c:pt>
                <c:pt idx="1168">
                  <c:v>20.655131056393973</c:v>
                </c:pt>
                <c:pt idx="1169">
                  <c:v>20.655131056393973</c:v>
                </c:pt>
                <c:pt idx="1170">
                  <c:v>20.655131056393973</c:v>
                </c:pt>
                <c:pt idx="1171">
                  <c:v>20.655131056393973</c:v>
                </c:pt>
                <c:pt idx="1172">
                  <c:v>20.655131056393973</c:v>
                </c:pt>
                <c:pt idx="1173">
                  <c:v>20.655131056393973</c:v>
                </c:pt>
                <c:pt idx="1174">
                  <c:v>20.655131056393973</c:v>
                </c:pt>
                <c:pt idx="1175">
                  <c:v>20.655131056393973</c:v>
                </c:pt>
                <c:pt idx="1176">
                  <c:v>20.655131056393973</c:v>
                </c:pt>
                <c:pt idx="1177">
                  <c:v>20.655131056393973</c:v>
                </c:pt>
                <c:pt idx="1178">
                  <c:v>20.655131056393973</c:v>
                </c:pt>
                <c:pt idx="1179">
                  <c:v>20.655131056393973</c:v>
                </c:pt>
                <c:pt idx="1180">
                  <c:v>20.655131056393973</c:v>
                </c:pt>
                <c:pt idx="1181">
                  <c:v>20.655131056393973</c:v>
                </c:pt>
                <c:pt idx="1182">
                  <c:v>20.655131056393973</c:v>
                </c:pt>
                <c:pt idx="1183">
                  <c:v>20.655131056393973</c:v>
                </c:pt>
                <c:pt idx="1184">
                  <c:v>20.655131056393973</c:v>
                </c:pt>
                <c:pt idx="1185">
                  <c:v>20.655131056393973</c:v>
                </c:pt>
                <c:pt idx="1186">
                  <c:v>20.655131056393973</c:v>
                </c:pt>
                <c:pt idx="1187">
                  <c:v>20.655131056393973</c:v>
                </c:pt>
                <c:pt idx="1188">
                  <c:v>20.655131056393973</c:v>
                </c:pt>
                <c:pt idx="1189">
                  <c:v>20.655131056393973</c:v>
                </c:pt>
                <c:pt idx="1190">
                  <c:v>20.655131056393973</c:v>
                </c:pt>
                <c:pt idx="1191">
                  <c:v>20.655131056393973</c:v>
                </c:pt>
                <c:pt idx="1192">
                  <c:v>20.655131056393973</c:v>
                </c:pt>
                <c:pt idx="1193">
                  <c:v>20.655131056393973</c:v>
                </c:pt>
                <c:pt idx="1194">
                  <c:v>20.655131056393973</c:v>
                </c:pt>
                <c:pt idx="1195">
                  <c:v>20.655131056393973</c:v>
                </c:pt>
                <c:pt idx="1196">
                  <c:v>20.655131056393973</c:v>
                </c:pt>
                <c:pt idx="1197">
                  <c:v>20.655131056393973</c:v>
                </c:pt>
                <c:pt idx="1198">
                  <c:v>20.655131056393973</c:v>
                </c:pt>
                <c:pt idx="1199">
                  <c:v>20.655131056393973</c:v>
                </c:pt>
                <c:pt idx="1200">
                  <c:v>20.655131056393973</c:v>
                </c:pt>
                <c:pt idx="1201">
                  <c:v>20.655131056393973</c:v>
                </c:pt>
                <c:pt idx="1202">
                  <c:v>20.655131056393973</c:v>
                </c:pt>
                <c:pt idx="1203">
                  <c:v>20.655131056393973</c:v>
                </c:pt>
                <c:pt idx="1204">
                  <c:v>20.655131056393973</c:v>
                </c:pt>
                <c:pt idx="1205">
                  <c:v>20.655131056393973</c:v>
                </c:pt>
                <c:pt idx="1206">
                  <c:v>20.655131056393973</c:v>
                </c:pt>
                <c:pt idx="1207">
                  <c:v>20.655131056393973</c:v>
                </c:pt>
                <c:pt idx="1208">
                  <c:v>20.655131056393973</c:v>
                </c:pt>
                <c:pt idx="1209">
                  <c:v>20.655131056393973</c:v>
                </c:pt>
                <c:pt idx="1210">
                  <c:v>20.655131056393973</c:v>
                </c:pt>
                <c:pt idx="1211">
                  <c:v>20.655131056393973</c:v>
                </c:pt>
                <c:pt idx="1212">
                  <c:v>20.655131056393973</c:v>
                </c:pt>
                <c:pt idx="1213">
                  <c:v>20.655131056393973</c:v>
                </c:pt>
                <c:pt idx="1214">
                  <c:v>20.655131056393973</c:v>
                </c:pt>
                <c:pt idx="1215">
                  <c:v>20.655131056393973</c:v>
                </c:pt>
                <c:pt idx="1216">
                  <c:v>20.655131056393973</c:v>
                </c:pt>
                <c:pt idx="1217">
                  <c:v>20.655131056393973</c:v>
                </c:pt>
                <c:pt idx="1218">
                  <c:v>20.655131056393973</c:v>
                </c:pt>
                <c:pt idx="1219">
                  <c:v>20.655131056393973</c:v>
                </c:pt>
                <c:pt idx="1220">
                  <c:v>20.655131056393973</c:v>
                </c:pt>
                <c:pt idx="1221">
                  <c:v>20.655131056393973</c:v>
                </c:pt>
                <c:pt idx="1222">
                  <c:v>20.655131056393973</c:v>
                </c:pt>
                <c:pt idx="1223">
                  <c:v>20.655131056393973</c:v>
                </c:pt>
                <c:pt idx="1224">
                  <c:v>20.655131056393973</c:v>
                </c:pt>
                <c:pt idx="1225">
                  <c:v>20.655131056393973</c:v>
                </c:pt>
                <c:pt idx="1226">
                  <c:v>20.655131056393973</c:v>
                </c:pt>
                <c:pt idx="1227">
                  <c:v>20.655131056393973</c:v>
                </c:pt>
                <c:pt idx="1228">
                  <c:v>20.655131056393973</c:v>
                </c:pt>
                <c:pt idx="1229">
                  <c:v>20.655131056393973</c:v>
                </c:pt>
                <c:pt idx="1230">
                  <c:v>20.655131056393973</c:v>
                </c:pt>
                <c:pt idx="1231">
                  <c:v>20.655131056393973</c:v>
                </c:pt>
                <c:pt idx="1232">
                  <c:v>20.655131056393973</c:v>
                </c:pt>
                <c:pt idx="1233">
                  <c:v>20.655131056393973</c:v>
                </c:pt>
                <c:pt idx="1234">
                  <c:v>20.655131056393973</c:v>
                </c:pt>
                <c:pt idx="1235">
                  <c:v>20.655131056393973</c:v>
                </c:pt>
                <c:pt idx="1236">
                  <c:v>20.655131056393973</c:v>
                </c:pt>
                <c:pt idx="1237">
                  <c:v>20.655131056393973</c:v>
                </c:pt>
                <c:pt idx="1238">
                  <c:v>20.655131056393973</c:v>
                </c:pt>
                <c:pt idx="1239">
                  <c:v>20.655131056393973</c:v>
                </c:pt>
                <c:pt idx="1240">
                  <c:v>20.655131056393973</c:v>
                </c:pt>
                <c:pt idx="1241">
                  <c:v>20.655131056393973</c:v>
                </c:pt>
                <c:pt idx="1242">
                  <c:v>20.655131056393973</c:v>
                </c:pt>
                <c:pt idx="1243">
                  <c:v>20.655131056393973</c:v>
                </c:pt>
                <c:pt idx="1244">
                  <c:v>20.655131056393973</c:v>
                </c:pt>
                <c:pt idx="1245">
                  <c:v>20.655131056393973</c:v>
                </c:pt>
                <c:pt idx="1246">
                  <c:v>20.655131056393973</c:v>
                </c:pt>
                <c:pt idx="1247">
                  <c:v>20.655131056393973</c:v>
                </c:pt>
                <c:pt idx="1248">
                  <c:v>20.655131056393973</c:v>
                </c:pt>
                <c:pt idx="1249">
                  <c:v>20.655131056393973</c:v>
                </c:pt>
                <c:pt idx="1250">
                  <c:v>20.655131056393973</c:v>
                </c:pt>
                <c:pt idx="1251">
                  <c:v>20.655131056393973</c:v>
                </c:pt>
                <c:pt idx="1252">
                  <c:v>20.655131056393973</c:v>
                </c:pt>
                <c:pt idx="1253">
                  <c:v>20.655131056393973</c:v>
                </c:pt>
                <c:pt idx="1254">
                  <c:v>20.655131056393973</c:v>
                </c:pt>
                <c:pt idx="1255">
                  <c:v>20.655131056393973</c:v>
                </c:pt>
                <c:pt idx="1256">
                  <c:v>20.655131056393973</c:v>
                </c:pt>
                <c:pt idx="1257">
                  <c:v>20.655131056393973</c:v>
                </c:pt>
                <c:pt idx="1258">
                  <c:v>20.655131056393973</c:v>
                </c:pt>
                <c:pt idx="1259">
                  <c:v>20.655131056393973</c:v>
                </c:pt>
                <c:pt idx="1260">
                  <c:v>20.655131056393973</c:v>
                </c:pt>
                <c:pt idx="1261">
                  <c:v>20.655131056393973</c:v>
                </c:pt>
                <c:pt idx="1262">
                  <c:v>20.655131056393973</c:v>
                </c:pt>
                <c:pt idx="1263">
                  <c:v>20.655131056393973</c:v>
                </c:pt>
                <c:pt idx="1264">
                  <c:v>20.655131056393973</c:v>
                </c:pt>
                <c:pt idx="1265">
                  <c:v>20.655131056393973</c:v>
                </c:pt>
                <c:pt idx="1266">
                  <c:v>20.655131056393973</c:v>
                </c:pt>
                <c:pt idx="1267">
                  <c:v>20.655131056393973</c:v>
                </c:pt>
                <c:pt idx="1268">
                  <c:v>20.655131056393973</c:v>
                </c:pt>
                <c:pt idx="1269">
                  <c:v>20.655131056393973</c:v>
                </c:pt>
                <c:pt idx="1270">
                  <c:v>20.655131056393973</c:v>
                </c:pt>
                <c:pt idx="1271">
                  <c:v>20.655131056393973</c:v>
                </c:pt>
                <c:pt idx="1272">
                  <c:v>20.655131056393973</c:v>
                </c:pt>
                <c:pt idx="1273">
                  <c:v>20.655131056393973</c:v>
                </c:pt>
                <c:pt idx="1274">
                  <c:v>20.655131056393973</c:v>
                </c:pt>
                <c:pt idx="1275">
                  <c:v>20.655131056393973</c:v>
                </c:pt>
                <c:pt idx="1276">
                  <c:v>20.655131056393973</c:v>
                </c:pt>
                <c:pt idx="1277">
                  <c:v>20.655131056393973</c:v>
                </c:pt>
                <c:pt idx="1278">
                  <c:v>20.655131056393973</c:v>
                </c:pt>
                <c:pt idx="1279">
                  <c:v>20.655131056393973</c:v>
                </c:pt>
                <c:pt idx="1280">
                  <c:v>20.655131056393973</c:v>
                </c:pt>
                <c:pt idx="1281">
                  <c:v>20.655131056393973</c:v>
                </c:pt>
                <c:pt idx="1282">
                  <c:v>20.655131056393973</c:v>
                </c:pt>
                <c:pt idx="1283">
                  <c:v>20.655131056393973</c:v>
                </c:pt>
                <c:pt idx="1284">
                  <c:v>20.655131056393973</c:v>
                </c:pt>
                <c:pt idx="1285">
                  <c:v>20.655131056393973</c:v>
                </c:pt>
                <c:pt idx="1286">
                  <c:v>20.655131056393973</c:v>
                </c:pt>
                <c:pt idx="1287">
                  <c:v>20.655131056393973</c:v>
                </c:pt>
                <c:pt idx="1288">
                  <c:v>20.655131056393973</c:v>
                </c:pt>
                <c:pt idx="1289">
                  <c:v>20.655131056393973</c:v>
                </c:pt>
                <c:pt idx="1290">
                  <c:v>20.655131056393973</c:v>
                </c:pt>
                <c:pt idx="1291">
                  <c:v>20.655131056393973</c:v>
                </c:pt>
                <c:pt idx="1292">
                  <c:v>20.655131056393973</c:v>
                </c:pt>
                <c:pt idx="1293">
                  <c:v>20.655131056393973</c:v>
                </c:pt>
                <c:pt idx="1294">
                  <c:v>20.655131056393973</c:v>
                </c:pt>
                <c:pt idx="1295">
                  <c:v>20.655131056393973</c:v>
                </c:pt>
                <c:pt idx="1296">
                  <c:v>20.655131056393973</c:v>
                </c:pt>
                <c:pt idx="1297">
                  <c:v>20.655131056393973</c:v>
                </c:pt>
                <c:pt idx="1298">
                  <c:v>20.655131056393973</c:v>
                </c:pt>
                <c:pt idx="1299">
                  <c:v>20.655131056393973</c:v>
                </c:pt>
                <c:pt idx="1300">
                  <c:v>20.655131056393973</c:v>
                </c:pt>
                <c:pt idx="1301">
                  <c:v>20.655131056393973</c:v>
                </c:pt>
                <c:pt idx="1302">
                  <c:v>20.655131056393973</c:v>
                </c:pt>
                <c:pt idx="1303">
                  <c:v>20.655131056393973</c:v>
                </c:pt>
                <c:pt idx="1304">
                  <c:v>20.655131056393973</c:v>
                </c:pt>
                <c:pt idx="1305">
                  <c:v>20.655131056393973</c:v>
                </c:pt>
                <c:pt idx="1306">
                  <c:v>20.655131056393973</c:v>
                </c:pt>
                <c:pt idx="1307">
                  <c:v>20.655131056393973</c:v>
                </c:pt>
                <c:pt idx="1308">
                  <c:v>20.655131056393973</c:v>
                </c:pt>
                <c:pt idx="1309">
                  <c:v>20.655131056393973</c:v>
                </c:pt>
                <c:pt idx="1310">
                  <c:v>20.655131056393973</c:v>
                </c:pt>
                <c:pt idx="1311">
                  <c:v>20.655131056393973</c:v>
                </c:pt>
                <c:pt idx="1312">
                  <c:v>20.655131056393973</c:v>
                </c:pt>
                <c:pt idx="1313">
                  <c:v>20.655131056393973</c:v>
                </c:pt>
                <c:pt idx="1314">
                  <c:v>20.655131056393973</c:v>
                </c:pt>
                <c:pt idx="1315">
                  <c:v>20.655131056393973</c:v>
                </c:pt>
                <c:pt idx="1316">
                  <c:v>20.655131056393973</c:v>
                </c:pt>
                <c:pt idx="1317">
                  <c:v>20.655131056393973</c:v>
                </c:pt>
                <c:pt idx="1318">
                  <c:v>20.655131056393973</c:v>
                </c:pt>
                <c:pt idx="1319">
                  <c:v>20.655131056393973</c:v>
                </c:pt>
                <c:pt idx="1320">
                  <c:v>20.655131056393973</c:v>
                </c:pt>
                <c:pt idx="1321">
                  <c:v>20.655131056393973</c:v>
                </c:pt>
                <c:pt idx="1322">
                  <c:v>20.655131056393973</c:v>
                </c:pt>
                <c:pt idx="1323">
                  <c:v>20.655131056393973</c:v>
                </c:pt>
                <c:pt idx="1324">
                  <c:v>20.655131056393973</c:v>
                </c:pt>
                <c:pt idx="1325">
                  <c:v>20.655131056393973</c:v>
                </c:pt>
                <c:pt idx="1326">
                  <c:v>20.655131056393973</c:v>
                </c:pt>
                <c:pt idx="1327">
                  <c:v>20.655131056393973</c:v>
                </c:pt>
                <c:pt idx="1328">
                  <c:v>20.655131056393973</c:v>
                </c:pt>
                <c:pt idx="1329">
                  <c:v>20.655131056393973</c:v>
                </c:pt>
                <c:pt idx="1330">
                  <c:v>20.655131056393973</c:v>
                </c:pt>
                <c:pt idx="1331">
                  <c:v>20.655131056393973</c:v>
                </c:pt>
                <c:pt idx="1332">
                  <c:v>20.655131056393973</c:v>
                </c:pt>
                <c:pt idx="1333">
                  <c:v>20.655131056393973</c:v>
                </c:pt>
                <c:pt idx="1334">
                  <c:v>20.655131056393973</c:v>
                </c:pt>
                <c:pt idx="1335">
                  <c:v>20.655131056393973</c:v>
                </c:pt>
                <c:pt idx="1336">
                  <c:v>20.655131056393973</c:v>
                </c:pt>
                <c:pt idx="1337">
                  <c:v>20.655131056393973</c:v>
                </c:pt>
                <c:pt idx="1338">
                  <c:v>20.655131056393973</c:v>
                </c:pt>
                <c:pt idx="1339">
                  <c:v>20.655131056393973</c:v>
                </c:pt>
                <c:pt idx="1340">
                  <c:v>20.655131056393973</c:v>
                </c:pt>
                <c:pt idx="1341">
                  <c:v>20.655131056393973</c:v>
                </c:pt>
                <c:pt idx="1342">
                  <c:v>20.655131056393973</c:v>
                </c:pt>
                <c:pt idx="1343">
                  <c:v>20.655131056393973</c:v>
                </c:pt>
                <c:pt idx="1344">
                  <c:v>20.655131056393973</c:v>
                </c:pt>
                <c:pt idx="1345">
                  <c:v>20.655131056393973</c:v>
                </c:pt>
                <c:pt idx="1346">
                  <c:v>20.655131056393973</c:v>
                </c:pt>
                <c:pt idx="1347">
                  <c:v>20.655131056393973</c:v>
                </c:pt>
                <c:pt idx="1348">
                  <c:v>20.655131056393973</c:v>
                </c:pt>
                <c:pt idx="1349">
                  <c:v>20.655131056393973</c:v>
                </c:pt>
                <c:pt idx="1350">
                  <c:v>20.655131056393973</c:v>
                </c:pt>
                <c:pt idx="1351">
                  <c:v>20.655131056393973</c:v>
                </c:pt>
                <c:pt idx="1352">
                  <c:v>20.655131056393973</c:v>
                </c:pt>
                <c:pt idx="1353">
                  <c:v>20.655131056393973</c:v>
                </c:pt>
                <c:pt idx="1354">
                  <c:v>20.655131056393973</c:v>
                </c:pt>
                <c:pt idx="1355">
                  <c:v>20.655131056393973</c:v>
                </c:pt>
                <c:pt idx="1356">
                  <c:v>20.655131056393973</c:v>
                </c:pt>
                <c:pt idx="1357">
                  <c:v>20.655131056393973</c:v>
                </c:pt>
                <c:pt idx="1358">
                  <c:v>20.655131056393973</c:v>
                </c:pt>
                <c:pt idx="1359">
                  <c:v>20.655131056393973</c:v>
                </c:pt>
                <c:pt idx="1360">
                  <c:v>20.655131056393973</c:v>
                </c:pt>
                <c:pt idx="1361">
                  <c:v>20.655131056393973</c:v>
                </c:pt>
                <c:pt idx="1362">
                  <c:v>20.655131056393973</c:v>
                </c:pt>
                <c:pt idx="1363">
                  <c:v>20.655131056393973</c:v>
                </c:pt>
                <c:pt idx="1364">
                  <c:v>20.655131056393973</c:v>
                </c:pt>
                <c:pt idx="1365">
                  <c:v>20.655131056393973</c:v>
                </c:pt>
                <c:pt idx="1366">
                  <c:v>20.655131056393973</c:v>
                </c:pt>
                <c:pt idx="1367">
                  <c:v>20.655131056393973</c:v>
                </c:pt>
                <c:pt idx="1368">
                  <c:v>20.655131056393973</c:v>
                </c:pt>
                <c:pt idx="1369">
                  <c:v>20.655131056393973</c:v>
                </c:pt>
                <c:pt idx="1370">
                  <c:v>20.655131056393973</c:v>
                </c:pt>
                <c:pt idx="1371">
                  <c:v>20.655131056393973</c:v>
                </c:pt>
                <c:pt idx="1372">
                  <c:v>20.655131056393973</c:v>
                </c:pt>
                <c:pt idx="1373">
                  <c:v>20.655131056393973</c:v>
                </c:pt>
                <c:pt idx="1374">
                  <c:v>20.655131056393973</c:v>
                </c:pt>
                <c:pt idx="1375">
                  <c:v>20.655131056393973</c:v>
                </c:pt>
                <c:pt idx="1376">
                  <c:v>20.655131056393973</c:v>
                </c:pt>
                <c:pt idx="1377">
                  <c:v>20.655131056393973</c:v>
                </c:pt>
                <c:pt idx="1378">
                  <c:v>20.655131056393973</c:v>
                </c:pt>
                <c:pt idx="1379">
                  <c:v>20.655131056393973</c:v>
                </c:pt>
                <c:pt idx="1380">
                  <c:v>20.655131056393973</c:v>
                </c:pt>
                <c:pt idx="1381">
                  <c:v>20.655131056393973</c:v>
                </c:pt>
                <c:pt idx="1382">
                  <c:v>20.655131056393973</c:v>
                </c:pt>
                <c:pt idx="1383">
                  <c:v>20.655131056393973</c:v>
                </c:pt>
                <c:pt idx="1384">
                  <c:v>20.655131056393973</c:v>
                </c:pt>
                <c:pt idx="1385">
                  <c:v>20.655131056393973</c:v>
                </c:pt>
                <c:pt idx="1386">
                  <c:v>20.655131056393973</c:v>
                </c:pt>
                <c:pt idx="1387">
                  <c:v>20.655131056393973</c:v>
                </c:pt>
                <c:pt idx="1388">
                  <c:v>20.655131056393973</c:v>
                </c:pt>
                <c:pt idx="1389">
                  <c:v>20.655131056393973</c:v>
                </c:pt>
                <c:pt idx="1390">
                  <c:v>20.655131056393973</c:v>
                </c:pt>
                <c:pt idx="1391">
                  <c:v>20.655131056393973</c:v>
                </c:pt>
                <c:pt idx="1392">
                  <c:v>20.655131056393973</c:v>
                </c:pt>
                <c:pt idx="1393">
                  <c:v>20.655131056393973</c:v>
                </c:pt>
                <c:pt idx="1394">
                  <c:v>20.655131056393973</c:v>
                </c:pt>
                <c:pt idx="1395">
                  <c:v>20.655131056393973</c:v>
                </c:pt>
                <c:pt idx="1396">
                  <c:v>20.655131056393973</c:v>
                </c:pt>
                <c:pt idx="1397">
                  <c:v>20.655131056393973</c:v>
                </c:pt>
                <c:pt idx="1398">
                  <c:v>20.655131056393973</c:v>
                </c:pt>
                <c:pt idx="1399">
                  <c:v>20.655131056393973</c:v>
                </c:pt>
                <c:pt idx="1400">
                  <c:v>20.655131056393973</c:v>
                </c:pt>
                <c:pt idx="1401">
                  <c:v>20.655131056393973</c:v>
                </c:pt>
                <c:pt idx="1402">
                  <c:v>20.655131056393973</c:v>
                </c:pt>
                <c:pt idx="1403">
                  <c:v>20.655131056393973</c:v>
                </c:pt>
                <c:pt idx="1404">
                  <c:v>20.655131056393973</c:v>
                </c:pt>
                <c:pt idx="1405">
                  <c:v>20.655131056393973</c:v>
                </c:pt>
                <c:pt idx="1406">
                  <c:v>20.655131056393973</c:v>
                </c:pt>
                <c:pt idx="1407">
                  <c:v>20.655131056393973</c:v>
                </c:pt>
                <c:pt idx="1408">
                  <c:v>20.655131056393973</c:v>
                </c:pt>
                <c:pt idx="1409">
                  <c:v>20.655131056393973</c:v>
                </c:pt>
                <c:pt idx="1410">
                  <c:v>20.655131056393973</c:v>
                </c:pt>
                <c:pt idx="1411">
                  <c:v>20.655131056393973</c:v>
                </c:pt>
                <c:pt idx="1412">
                  <c:v>20.655131056393973</c:v>
                </c:pt>
                <c:pt idx="1413">
                  <c:v>20.655131056393973</c:v>
                </c:pt>
                <c:pt idx="1414">
                  <c:v>20.655131056393973</c:v>
                </c:pt>
                <c:pt idx="1415">
                  <c:v>20.655131056393973</c:v>
                </c:pt>
                <c:pt idx="1416">
                  <c:v>20.655131056393973</c:v>
                </c:pt>
                <c:pt idx="1417">
                  <c:v>20.655131056393973</c:v>
                </c:pt>
                <c:pt idx="1418">
                  <c:v>20.655131056393973</c:v>
                </c:pt>
                <c:pt idx="1419">
                  <c:v>20.655131056393973</c:v>
                </c:pt>
                <c:pt idx="1420">
                  <c:v>20.655131056393973</c:v>
                </c:pt>
                <c:pt idx="1421">
                  <c:v>20.655131056393973</c:v>
                </c:pt>
                <c:pt idx="1422">
                  <c:v>20.655131056393973</c:v>
                </c:pt>
                <c:pt idx="1423">
                  <c:v>20.655131056393973</c:v>
                </c:pt>
                <c:pt idx="1424">
                  <c:v>20.655131056393973</c:v>
                </c:pt>
                <c:pt idx="1425">
                  <c:v>20.655131056393973</c:v>
                </c:pt>
                <c:pt idx="1426">
                  <c:v>20.655131056393973</c:v>
                </c:pt>
                <c:pt idx="1427">
                  <c:v>20.655131056393973</c:v>
                </c:pt>
                <c:pt idx="1428">
                  <c:v>20.655131056393973</c:v>
                </c:pt>
                <c:pt idx="1429">
                  <c:v>20.655131056393973</c:v>
                </c:pt>
                <c:pt idx="1430">
                  <c:v>20.655131056393973</c:v>
                </c:pt>
                <c:pt idx="1431">
                  <c:v>20.655131056393973</c:v>
                </c:pt>
                <c:pt idx="1432">
                  <c:v>20.655131056393973</c:v>
                </c:pt>
                <c:pt idx="1433">
                  <c:v>20.655131056393973</c:v>
                </c:pt>
                <c:pt idx="1434">
                  <c:v>20.655131056393973</c:v>
                </c:pt>
                <c:pt idx="1435">
                  <c:v>20.655131056393973</c:v>
                </c:pt>
                <c:pt idx="1436">
                  <c:v>20.655131056393973</c:v>
                </c:pt>
                <c:pt idx="1437">
                  <c:v>20.655131056393973</c:v>
                </c:pt>
                <c:pt idx="1438">
                  <c:v>20.655131056393973</c:v>
                </c:pt>
                <c:pt idx="1439">
                  <c:v>20.655131056393973</c:v>
                </c:pt>
                <c:pt idx="1440">
                  <c:v>20.655131056393973</c:v>
                </c:pt>
                <c:pt idx="1441">
                  <c:v>20.655131056393973</c:v>
                </c:pt>
                <c:pt idx="1442">
                  <c:v>20.655131056393973</c:v>
                </c:pt>
                <c:pt idx="1443">
                  <c:v>20.655131056393973</c:v>
                </c:pt>
                <c:pt idx="1444">
                  <c:v>20.655131056393973</c:v>
                </c:pt>
                <c:pt idx="1445">
                  <c:v>20.655131056393973</c:v>
                </c:pt>
                <c:pt idx="1446">
                  <c:v>20.655131056393973</c:v>
                </c:pt>
                <c:pt idx="1447">
                  <c:v>20.655131056393973</c:v>
                </c:pt>
                <c:pt idx="1448">
                  <c:v>20.655131056393973</c:v>
                </c:pt>
                <c:pt idx="1449">
                  <c:v>20.655131056393973</c:v>
                </c:pt>
                <c:pt idx="1450">
                  <c:v>20.655131056393973</c:v>
                </c:pt>
                <c:pt idx="1451">
                  <c:v>20.655131056393973</c:v>
                </c:pt>
                <c:pt idx="1452">
                  <c:v>20.655131056393973</c:v>
                </c:pt>
                <c:pt idx="1453">
                  <c:v>20.655131056393973</c:v>
                </c:pt>
                <c:pt idx="1454">
                  <c:v>20.655131056393973</c:v>
                </c:pt>
                <c:pt idx="1455">
                  <c:v>20.655131056393973</c:v>
                </c:pt>
                <c:pt idx="1456">
                  <c:v>20.655131056393973</c:v>
                </c:pt>
                <c:pt idx="1457">
                  <c:v>20.655131056393973</c:v>
                </c:pt>
                <c:pt idx="1458">
                  <c:v>20.655131056393973</c:v>
                </c:pt>
                <c:pt idx="1459">
                  <c:v>20.655131056393973</c:v>
                </c:pt>
                <c:pt idx="1460">
                  <c:v>20.655131056393973</c:v>
                </c:pt>
                <c:pt idx="1461">
                  <c:v>20.655131056393973</c:v>
                </c:pt>
                <c:pt idx="1462">
                  <c:v>20.655131056393973</c:v>
                </c:pt>
                <c:pt idx="1463">
                  <c:v>20.655131056393973</c:v>
                </c:pt>
                <c:pt idx="1464">
                  <c:v>20.655131056393973</c:v>
                </c:pt>
                <c:pt idx="1465">
                  <c:v>20.655131056393973</c:v>
                </c:pt>
                <c:pt idx="1466">
                  <c:v>20.655131056393973</c:v>
                </c:pt>
                <c:pt idx="1467">
                  <c:v>20.655131056393973</c:v>
                </c:pt>
                <c:pt idx="1468">
                  <c:v>20.655131056393973</c:v>
                </c:pt>
                <c:pt idx="1469">
                  <c:v>20.655131056393973</c:v>
                </c:pt>
                <c:pt idx="1470">
                  <c:v>20.655131056393973</c:v>
                </c:pt>
                <c:pt idx="1471">
                  <c:v>20.655131056393973</c:v>
                </c:pt>
                <c:pt idx="1472">
                  <c:v>20.655131056393973</c:v>
                </c:pt>
                <c:pt idx="1473">
                  <c:v>20.655131056393973</c:v>
                </c:pt>
                <c:pt idx="1474">
                  <c:v>20.655131056393973</c:v>
                </c:pt>
                <c:pt idx="1475">
                  <c:v>20.655131056393973</c:v>
                </c:pt>
                <c:pt idx="1476">
                  <c:v>20.655131056393973</c:v>
                </c:pt>
                <c:pt idx="1477">
                  <c:v>20.655131056393973</c:v>
                </c:pt>
                <c:pt idx="1478">
                  <c:v>20.655131056393973</c:v>
                </c:pt>
                <c:pt idx="1479">
                  <c:v>20.655131056393973</c:v>
                </c:pt>
                <c:pt idx="1480">
                  <c:v>20.655131056393973</c:v>
                </c:pt>
                <c:pt idx="1481">
                  <c:v>20.655131056393973</c:v>
                </c:pt>
                <c:pt idx="1482">
                  <c:v>20.655131056393973</c:v>
                </c:pt>
                <c:pt idx="1483">
                  <c:v>20.655131056393973</c:v>
                </c:pt>
                <c:pt idx="1484">
                  <c:v>20.655131056393973</c:v>
                </c:pt>
                <c:pt idx="1485">
                  <c:v>20.655131056393973</c:v>
                </c:pt>
                <c:pt idx="1486">
                  <c:v>20.655131056393973</c:v>
                </c:pt>
                <c:pt idx="1487">
                  <c:v>20.655131056393973</c:v>
                </c:pt>
                <c:pt idx="1488">
                  <c:v>20.655131056393973</c:v>
                </c:pt>
                <c:pt idx="1489">
                  <c:v>20.655131056393973</c:v>
                </c:pt>
                <c:pt idx="1490">
                  <c:v>20.655131056393973</c:v>
                </c:pt>
                <c:pt idx="1491">
                  <c:v>20.655131056393973</c:v>
                </c:pt>
                <c:pt idx="1492">
                  <c:v>20.655131056393973</c:v>
                </c:pt>
                <c:pt idx="1493">
                  <c:v>20.655131056393973</c:v>
                </c:pt>
                <c:pt idx="1494">
                  <c:v>20.655131056393973</c:v>
                </c:pt>
                <c:pt idx="1495">
                  <c:v>20.655131056393973</c:v>
                </c:pt>
                <c:pt idx="1496">
                  <c:v>20.655131056393973</c:v>
                </c:pt>
                <c:pt idx="1497">
                  <c:v>20.655131056393973</c:v>
                </c:pt>
                <c:pt idx="1498">
                  <c:v>20.655131056393973</c:v>
                </c:pt>
                <c:pt idx="1499">
                  <c:v>20.655131056393973</c:v>
                </c:pt>
                <c:pt idx="1500">
                  <c:v>20.655131056393973</c:v>
                </c:pt>
                <c:pt idx="1501">
                  <c:v>20.655131056393973</c:v>
                </c:pt>
                <c:pt idx="1502">
                  <c:v>20.655131056393973</c:v>
                </c:pt>
                <c:pt idx="1503">
                  <c:v>20.655131056393973</c:v>
                </c:pt>
                <c:pt idx="1504">
                  <c:v>20.655131056393973</c:v>
                </c:pt>
                <c:pt idx="1505">
                  <c:v>20.655131056393973</c:v>
                </c:pt>
                <c:pt idx="1506">
                  <c:v>20.655131056393973</c:v>
                </c:pt>
                <c:pt idx="1507">
                  <c:v>20.655131056393973</c:v>
                </c:pt>
                <c:pt idx="1508">
                  <c:v>20.655131056393973</c:v>
                </c:pt>
                <c:pt idx="1509">
                  <c:v>20.655131056393973</c:v>
                </c:pt>
                <c:pt idx="1510">
                  <c:v>20.655131056393973</c:v>
                </c:pt>
                <c:pt idx="1511">
                  <c:v>20.655131056393973</c:v>
                </c:pt>
                <c:pt idx="1512">
                  <c:v>20.655131056393973</c:v>
                </c:pt>
                <c:pt idx="1513">
                  <c:v>20.655131056393973</c:v>
                </c:pt>
                <c:pt idx="1514">
                  <c:v>20.655131056393973</c:v>
                </c:pt>
                <c:pt idx="1515">
                  <c:v>20.655131056393973</c:v>
                </c:pt>
                <c:pt idx="1516">
                  <c:v>20.655131056393973</c:v>
                </c:pt>
                <c:pt idx="1517">
                  <c:v>20.655131056393973</c:v>
                </c:pt>
                <c:pt idx="1518">
                  <c:v>20.655131056393973</c:v>
                </c:pt>
                <c:pt idx="1519">
                  <c:v>20.655131056393973</c:v>
                </c:pt>
                <c:pt idx="1520">
                  <c:v>20.655131056393973</c:v>
                </c:pt>
                <c:pt idx="1521">
                  <c:v>20.655131056393973</c:v>
                </c:pt>
                <c:pt idx="1522">
                  <c:v>20.655131056393973</c:v>
                </c:pt>
                <c:pt idx="1523">
                  <c:v>20.655131056393973</c:v>
                </c:pt>
                <c:pt idx="1524">
                  <c:v>20.655131056393973</c:v>
                </c:pt>
                <c:pt idx="1525">
                  <c:v>20.655131056393973</c:v>
                </c:pt>
                <c:pt idx="1526">
                  <c:v>20.655131056393973</c:v>
                </c:pt>
                <c:pt idx="1527">
                  <c:v>20.655131056393973</c:v>
                </c:pt>
                <c:pt idx="1528">
                  <c:v>20.655131056393973</c:v>
                </c:pt>
                <c:pt idx="1529">
                  <c:v>20.655131056393973</c:v>
                </c:pt>
                <c:pt idx="1530">
                  <c:v>20.655131056393973</c:v>
                </c:pt>
                <c:pt idx="1531">
                  <c:v>20.655131056393973</c:v>
                </c:pt>
                <c:pt idx="1532">
                  <c:v>20.655131056393973</c:v>
                </c:pt>
                <c:pt idx="1533">
                  <c:v>20.655131056393973</c:v>
                </c:pt>
                <c:pt idx="1534">
                  <c:v>20.655131056393973</c:v>
                </c:pt>
                <c:pt idx="1535">
                  <c:v>20.655131056393973</c:v>
                </c:pt>
                <c:pt idx="1536">
                  <c:v>20.655131056393973</c:v>
                </c:pt>
                <c:pt idx="1537">
                  <c:v>20.655131056393973</c:v>
                </c:pt>
                <c:pt idx="1538">
                  <c:v>20.655131056393973</c:v>
                </c:pt>
                <c:pt idx="1539">
                  <c:v>20.655131056393973</c:v>
                </c:pt>
                <c:pt idx="1540">
                  <c:v>20.655131056393973</c:v>
                </c:pt>
                <c:pt idx="1541">
                  <c:v>20.655131056393973</c:v>
                </c:pt>
                <c:pt idx="1542">
                  <c:v>20.655131056393973</c:v>
                </c:pt>
                <c:pt idx="1543">
                  <c:v>20.655131056393973</c:v>
                </c:pt>
                <c:pt idx="1544">
                  <c:v>20.655131056393973</c:v>
                </c:pt>
                <c:pt idx="1545">
                  <c:v>20.655131056393973</c:v>
                </c:pt>
                <c:pt idx="1546">
                  <c:v>20.655131056393973</c:v>
                </c:pt>
                <c:pt idx="1547">
                  <c:v>20.655131056393973</c:v>
                </c:pt>
                <c:pt idx="1548">
                  <c:v>20.655131056393973</c:v>
                </c:pt>
                <c:pt idx="1549">
                  <c:v>20.655131056393973</c:v>
                </c:pt>
                <c:pt idx="1550">
                  <c:v>20.655131056393973</c:v>
                </c:pt>
                <c:pt idx="1551">
                  <c:v>20.655131056393973</c:v>
                </c:pt>
                <c:pt idx="1552">
                  <c:v>20.655131056393973</c:v>
                </c:pt>
                <c:pt idx="1553">
                  <c:v>20.655131056393973</c:v>
                </c:pt>
                <c:pt idx="1554">
                  <c:v>20.655131056393973</c:v>
                </c:pt>
                <c:pt idx="1555">
                  <c:v>20.655131056393973</c:v>
                </c:pt>
                <c:pt idx="1556">
                  <c:v>20.655131056393973</c:v>
                </c:pt>
                <c:pt idx="1557">
                  <c:v>20.655131056393973</c:v>
                </c:pt>
                <c:pt idx="1558">
                  <c:v>20.655131056393973</c:v>
                </c:pt>
                <c:pt idx="1559">
                  <c:v>20.655131056393973</c:v>
                </c:pt>
                <c:pt idx="1560">
                  <c:v>20.655131056393973</c:v>
                </c:pt>
                <c:pt idx="1561">
                  <c:v>20.655131056393973</c:v>
                </c:pt>
                <c:pt idx="1562">
                  <c:v>20.655131056393973</c:v>
                </c:pt>
                <c:pt idx="1563">
                  <c:v>20.655131056393973</c:v>
                </c:pt>
                <c:pt idx="1564">
                  <c:v>20.655131056393973</c:v>
                </c:pt>
                <c:pt idx="1565">
                  <c:v>20.655131056393973</c:v>
                </c:pt>
                <c:pt idx="1566">
                  <c:v>20.655131056393973</c:v>
                </c:pt>
                <c:pt idx="1567">
                  <c:v>20.655131056393973</c:v>
                </c:pt>
                <c:pt idx="1568">
                  <c:v>20.655131056393973</c:v>
                </c:pt>
                <c:pt idx="1569">
                  <c:v>20.655131056393973</c:v>
                </c:pt>
                <c:pt idx="1570">
                  <c:v>20.655131056393973</c:v>
                </c:pt>
                <c:pt idx="1571">
                  <c:v>20.655131056393973</c:v>
                </c:pt>
                <c:pt idx="1572">
                  <c:v>20.655131056393973</c:v>
                </c:pt>
                <c:pt idx="1573">
                  <c:v>20.655131056393973</c:v>
                </c:pt>
                <c:pt idx="1574">
                  <c:v>20.655131056393973</c:v>
                </c:pt>
                <c:pt idx="1575">
                  <c:v>20.655131056393973</c:v>
                </c:pt>
                <c:pt idx="1576">
                  <c:v>20.655131056393973</c:v>
                </c:pt>
                <c:pt idx="1577">
                  <c:v>20.655131056393973</c:v>
                </c:pt>
                <c:pt idx="1578">
                  <c:v>20.655131056393973</c:v>
                </c:pt>
                <c:pt idx="1579">
                  <c:v>20.655131056393973</c:v>
                </c:pt>
                <c:pt idx="1580">
                  <c:v>20.655131056393973</c:v>
                </c:pt>
                <c:pt idx="1581">
                  <c:v>20.655131056393973</c:v>
                </c:pt>
                <c:pt idx="1582">
                  <c:v>20.655131056393973</c:v>
                </c:pt>
                <c:pt idx="1583">
                  <c:v>20.655131056393973</c:v>
                </c:pt>
                <c:pt idx="1584">
                  <c:v>20.655131056393973</c:v>
                </c:pt>
                <c:pt idx="1585">
                  <c:v>20.655131056393973</c:v>
                </c:pt>
                <c:pt idx="1586">
                  <c:v>20.655131056393973</c:v>
                </c:pt>
                <c:pt idx="1587">
                  <c:v>20.655131056393973</c:v>
                </c:pt>
                <c:pt idx="1588">
                  <c:v>20.655131056393973</c:v>
                </c:pt>
                <c:pt idx="1589">
                  <c:v>20.655131056393973</c:v>
                </c:pt>
                <c:pt idx="1590">
                  <c:v>20.655131056393973</c:v>
                </c:pt>
                <c:pt idx="1591">
                  <c:v>20.655131056393973</c:v>
                </c:pt>
                <c:pt idx="1592">
                  <c:v>20.655131056393973</c:v>
                </c:pt>
                <c:pt idx="1593">
                  <c:v>20.655131056393973</c:v>
                </c:pt>
                <c:pt idx="1594">
                  <c:v>20.655131056393973</c:v>
                </c:pt>
                <c:pt idx="1595">
                  <c:v>20.655131056393973</c:v>
                </c:pt>
                <c:pt idx="1596">
                  <c:v>20.655131056393973</c:v>
                </c:pt>
                <c:pt idx="1597">
                  <c:v>20.655131056393973</c:v>
                </c:pt>
                <c:pt idx="1598">
                  <c:v>20.655131056393973</c:v>
                </c:pt>
                <c:pt idx="1599">
                  <c:v>20.655131056393973</c:v>
                </c:pt>
                <c:pt idx="1600">
                  <c:v>20.655131056393973</c:v>
                </c:pt>
                <c:pt idx="1601">
                  <c:v>20.655131056393973</c:v>
                </c:pt>
                <c:pt idx="1602">
                  <c:v>20.655131056393973</c:v>
                </c:pt>
                <c:pt idx="1603">
                  <c:v>20.655131056393973</c:v>
                </c:pt>
                <c:pt idx="1604">
                  <c:v>20.655131056393973</c:v>
                </c:pt>
                <c:pt idx="1605">
                  <c:v>20.655131056393973</c:v>
                </c:pt>
                <c:pt idx="1606">
                  <c:v>20.655131056393973</c:v>
                </c:pt>
                <c:pt idx="1607">
                  <c:v>20.655131056393973</c:v>
                </c:pt>
                <c:pt idx="1608">
                  <c:v>20.655131056393973</c:v>
                </c:pt>
                <c:pt idx="1609">
                  <c:v>20.655131056393973</c:v>
                </c:pt>
                <c:pt idx="1610">
                  <c:v>20.655131056393973</c:v>
                </c:pt>
                <c:pt idx="1611">
                  <c:v>20.655131056393973</c:v>
                </c:pt>
                <c:pt idx="1612">
                  <c:v>20.655131056393973</c:v>
                </c:pt>
                <c:pt idx="1613">
                  <c:v>20.655131056393973</c:v>
                </c:pt>
                <c:pt idx="1614">
                  <c:v>20.655131056393973</c:v>
                </c:pt>
                <c:pt idx="1615">
                  <c:v>20.655131056393973</c:v>
                </c:pt>
                <c:pt idx="1616">
                  <c:v>20.655131056393973</c:v>
                </c:pt>
                <c:pt idx="1617">
                  <c:v>20.655131056393973</c:v>
                </c:pt>
                <c:pt idx="1618">
                  <c:v>20.655131056393973</c:v>
                </c:pt>
                <c:pt idx="1619">
                  <c:v>20.655131056393973</c:v>
                </c:pt>
                <c:pt idx="1620">
                  <c:v>20.655131056393973</c:v>
                </c:pt>
                <c:pt idx="1621">
                  <c:v>20.655131056393973</c:v>
                </c:pt>
                <c:pt idx="1622">
                  <c:v>20.655131056393973</c:v>
                </c:pt>
                <c:pt idx="1623">
                  <c:v>20.655131056393973</c:v>
                </c:pt>
                <c:pt idx="1624">
                  <c:v>20.655131056393973</c:v>
                </c:pt>
                <c:pt idx="1625">
                  <c:v>20.655131056393973</c:v>
                </c:pt>
                <c:pt idx="1626">
                  <c:v>20.655131056393973</c:v>
                </c:pt>
                <c:pt idx="1627">
                  <c:v>20.655131056393973</c:v>
                </c:pt>
                <c:pt idx="1628">
                  <c:v>20.655131056393973</c:v>
                </c:pt>
                <c:pt idx="1629">
                  <c:v>20.655131056393973</c:v>
                </c:pt>
                <c:pt idx="1630">
                  <c:v>20.655131056393973</c:v>
                </c:pt>
                <c:pt idx="1631">
                  <c:v>20.655131056393973</c:v>
                </c:pt>
                <c:pt idx="1632">
                  <c:v>20.655131056393973</c:v>
                </c:pt>
                <c:pt idx="1633">
                  <c:v>20.655131056393973</c:v>
                </c:pt>
                <c:pt idx="1634">
                  <c:v>20.655131056393973</c:v>
                </c:pt>
                <c:pt idx="1635">
                  <c:v>20.655131056393973</c:v>
                </c:pt>
                <c:pt idx="1636">
                  <c:v>20.655131056393973</c:v>
                </c:pt>
                <c:pt idx="1637">
                  <c:v>20.655131056393973</c:v>
                </c:pt>
                <c:pt idx="1638">
                  <c:v>20.655131056393973</c:v>
                </c:pt>
                <c:pt idx="1639">
                  <c:v>20.655131056393973</c:v>
                </c:pt>
                <c:pt idx="1640">
                  <c:v>20.655131056393973</c:v>
                </c:pt>
                <c:pt idx="1641">
                  <c:v>20.655131056393973</c:v>
                </c:pt>
                <c:pt idx="1642">
                  <c:v>20.655131056393973</c:v>
                </c:pt>
                <c:pt idx="1643">
                  <c:v>20.655131056393973</c:v>
                </c:pt>
                <c:pt idx="1644">
                  <c:v>20.655131056393973</c:v>
                </c:pt>
                <c:pt idx="1645">
                  <c:v>20.655131056393973</c:v>
                </c:pt>
                <c:pt idx="1646">
                  <c:v>20.655131056393973</c:v>
                </c:pt>
                <c:pt idx="1647">
                  <c:v>20.655131056393973</c:v>
                </c:pt>
                <c:pt idx="1648">
                  <c:v>20.655131056393973</c:v>
                </c:pt>
                <c:pt idx="1649">
                  <c:v>20.655131056393973</c:v>
                </c:pt>
                <c:pt idx="1650">
                  <c:v>20.655131056393973</c:v>
                </c:pt>
                <c:pt idx="1651">
                  <c:v>20.655131056393973</c:v>
                </c:pt>
                <c:pt idx="1652">
                  <c:v>20.655131056393973</c:v>
                </c:pt>
                <c:pt idx="1653">
                  <c:v>20.655131056393973</c:v>
                </c:pt>
                <c:pt idx="1654">
                  <c:v>20.655131056393973</c:v>
                </c:pt>
                <c:pt idx="1655">
                  <c:v>20.655131056393973</c:v>
                </c:pt>
                <c:pt idx="1656">
                  <c:v>20.655131056393973</c:v>
                </c:pt>
                <c:pt idx="1657">
                  <c:v>20.655131056393973</c:v>
                </c:pt>
                <c:pt idx="1658">
                  <c:v>20.655131056393973</c:v>
                </c:pt>
                <c:pt idx="1659">
                  <c:v>20.655131056393973</c:v>
                </c:pt>
                <c:pt idx="1660">
                  <c:v>20.655131056393973</c:v>
                </c:pt>
                <c:pt idx="1661">
                  <c:v>20.655131056393973</c:v>
                </c:pt>
                <c:pt idx="1662">
                  <c:v>20.655131056393973</c:v>
                </c:pt>
                <c:pt idx="1663">
                  <c:v>20.655131056393973</c:v>
                </c:pt>
                <c:pt idx="1664">
                  <c:v>20.655131056393973</c:v>
                </c:pt>
                <c:pt idx="1665">
                  <c:v>20.655131056393973</c:v>
                </c:pt>
                <c:pt idx="1666">
                  <c:v>20.655131056393973</c:v>
                </c:pt>
                <c:pt idx="1667">
                  <c:v>20.655131056393973</c:v>
                </c:pt>
                <c:pt idx="1668">
                  <c:v>20.655131056393973</c:v>
                </c:pt>
                <c:pt idx="1669">
                  <c:v>20.655131056393973</c:v>
                </c:pt>
                <c:pt idx="1670">
                  <c:v>20.655131056393973</c:v>
                </c:pt>
                <c:pt idx="1671">
                  <c:v>20.655131056393973</c:v>
                </c:pt>
                <c:pt idx="1672">
                  <c:v>20.655131056393973</c:v>
                </c:pt>
                <c:pt idx="1673">
                  <c:v>20.655131056393973</c:v>
                </c:pt>
                <c:pt idx="1674">
                  <c:v>20.655131056393973</c:v>
                </c:pt>
                <c:pt idx="1675">
                  <c:v>20.655131056393973</c:v>
                </c:pt>
                <c:pt idx="1676">
                  <c:v>20.655131056393973</c:v>
                </c:pt>
                <c:pt idx="1677">
                  <c:v>20.655131056393973</c:v>
                </c:pt>
                <c:pt idx="1678">
                  <c:v>20.655131056393973</c:v>
                </c:pt>
                <c:pt idx="1679">
                  <c:v>20.655131056393973</c:v>
                </c:pt>
                <c:pt idx="1680">
                  <c:v>20.655131056393973</c:v>
                </c:pt>
                <c:pt idx="1681">
                  <c:v>20.655131056393973</c:v>
                </c:pt>
                <c:pt idx="1682">
                  <c:v>20.655131056393973</c:v>
                </c:pt>
                <c:pt idx="1683">
                  <c:v>20.655131056393973</c:v>
                </c:pt>
                <c:pt idx="1684">
                  <c:v>20.655131056393973</c:v>
                </c:pt>
                <c:pt idx="1685">
                  <c:v>20.655131056393973</c:v>
                </c:pt>
                <c:pt idx="1686">
                  <c:v>20.655131056393973</c:v>
                </c:pt>
                <c:pt idx="1687">
                  <c:v>20.655131056393973</c:v>
                </c:pt>
                <c:pt idx="1688">
                  <c:v>20.655131056393973</c:v>
                </c:pt>
                <c:pt idx="1689">
                  <c:v>20.655131056393973</c:v>
                </c:pt>
                <c:pt idx="1690">
                  <c:v>20.655131056393973</c:v>
                </c:pt>
                <c:pt idx="1691">
                  <c:v>20.655131056393973</c:v>
                </c:pt>
                <c:pt idx="1692">
                  <c:v>20.655131056393973</c:v>
                </c:pt>
                <c:pt idx="1693">
                  <c:v>20.655131056393973</c:v>
                </c:pt>
                <c:pt idx="1694">
                  <c:v>20.655131056393973</c:v>
                </c:pt>
                <c:pt idx="1695">
                  <c:v>20.655131056393973</c:v>
                </c:pt>
                <c:pt idx="1696">
                  <c:v>20.655131056393973</c:v>
                </c:pt>
                <c:pt idx="1697">
                  <c:v>20.655131056393973</c:v>
                </c:pt>
                <c:pt idx="1698">
                  <c:v>20.655131056393973</c:v>
                </c:pt>
                <c:pt idx="1699">
                  <c:v>20.655131056393973</c:v>
                </c:pt>
                <c:pt idx="1700">
                  <c:v>20.655131056393973</c:v>
                </c:pt>
                <c:pt idx="1701">
                  <c:v>20.655131056393973</c:v>
                </c:pt>
                <c:pt idx="1702">
                  <c:v>20.655131056393973</c:v>
                </c:pt>
                <c:pt idx="1703">
                  <c:v>20.655131056393973</c:v>
                </c:pt>
                <c:pt idx="1704">
                  <c:v>20.655131056393973</c:v>
                </c:pt>
                <c:pt idx="1705">
                  <c:v>20.655131056393973</c:v>
                </c:pt>
                <c:pt idx="1706">
                  <c:v>20.655131056393973</c:v>
                </c:pt>
                <c:pt idx="1707">
                  <c:v>20.655131056393973</c:v>
                </c:pt>
                <c:pt idx="1708">
                  <c:v>20.655131056393973</c:v>
                </c:pt>
                <c:pt idx="1709">
                  <c:v>20.655131056393973</c:v>
                </c:pt>
                <c:pt idx="1710">
                  <c:v>20.655131056393973</c:v>
                </c:pt>
                <c:pt idx="1711">
                  <c:v>20.655131056393973</c:v>
                </c:pt>
                <c:pt idx="1712">
                  <c:v>20.655131056393973</c:v>
                </c:pt>
                <c:pt idx="1713">
                  <c:v>20.655131056393973</c:v>
                </c:pt>
                <c:pt idx="1714">
                  <c:v>20.655131056393973</c:v>
                </c:pt>
                <c:pt idx="1715">
                  <c:v>20.655131056393973</c:v>
                </c:pt>
                <c:pt idx="1716">
                  <c:v>20.655131056393973</c:v>
                </c:pt>
                <c:pt idx="1717">
                  <c:v>20.655131056393973</c:v>
                </c:pt>
                <c:pt idx="1718">
                  <c:v>20.655131056393973</c:v>
                </c:pt>
                <c:pt idx="1719">
                  <c:v>20.655131056393973</c:v>
                </c:pt>
                <c:pt idx="1720">
                  <c:v>20.655131056393973</c:v>
                </c:pt>
                <c:pt idx="1721">
                  <c:v>20.655131056393973</c:v>
                </c:pt>
                <c:pt idx="1722">
                  <c:v>20.655131056393973</c:v>
                </c:pt>
                <c:pt idx="1723">
                  <c:v>20.655131056393973</c:v>
                </c:pt>
                <c:pt idx="1724">
                  <c:v>20.655131056393973</c:v>
                </c:pt>
                <c:pt idx="1725">
                  <c:v>20.655131056393973</c:v>
                </c:pt>
                <c:pt idx="1726">
                  <c:v>20.655131056393973</c:v>
                </c:pt>
                <c:pt idx="1727">
                  <c:v>20.655131056393973</c:v>
                </c:pt>
                <c:pt idx="1728">
                  <c:v>20.655131056393973</c:v>
                </c:pt>
                <c:pt idx="1729">
                  <c:v>20.655131056393973</c:v>
                </c:pt>
                <c:pt idx="1730">
                  <c:v>20.655131056393973</c:v>
                </c:pt>
                <c:pt idx="1731">
                  <c:v>20.655131056393973</c:v>
                </c:pt>
                <c:pt idx="1732">
                  <c:v>20.655131056393973</c:v>
                </c:pt>
                <c:pt idx="1733">
                  <c:v>20.655131056393973</c:v>
                </c:pt>
                <c:pt idx="1734">
                  <c:v>20.655131056393973</c:v>
                </c:pt>
                <c:pt idx="1735">
                  <c:v>20.655131056393973</c:v>
                </c:pt>
                <c:pt idx="1736">
                  <c:v>20.655131056393973</c:v>
                </c:pt>
                <c:pt idx="1737">
                  <c:v>20.655131056393973</c:v>
                </c:pt>
                <c:pt idx="1738">
                  <c:v>20.655131056393973</c:v>
                </c:pt>
                <c:pt idx="1739">
                  <c:v>20.655131056393973</c:v>
                </c:pt>
                <c:pt idx="1740">
                  <c:v>20.655131056393973</c:v>
                </c:pt>
                <c:pt idx="1741">
                  <c:v>20.655131056393973</c:v>
                </c:pt>
                <c:pt idx="1742">
                  <c:v>20.655131056393973</c:v>
                </c:pt>
                <c:pt idx="1743">
                  <c:v>20.655131056393973</c:v>
                </c:pt>
                <c:pt idx="1744">
                  <c:v>20.655131056393973</c:v>
                </c:pt>
                <c:pt idx="1745">
                  <c:v>20.655131056393973</c:v>
                </c:pt>
                <c:pt idx="1746">
                  <c:v>20.655131056393973</c:v>
                </c:pt>
                <c:pt idx="1747">
                  <c:v>20.655131056393973</c:v>
                </c:pt>
                <c:pt idx="1748">
                  <c:v>20.655131056393973</c:v>
                </c:pt>
                <c:pt idx="1749">
                  <c:v>20.655131056393973</c:v>
                </c:pt>
                <c:pt idx="1750">
                  <c:v>20.655131056393973</c:v>
                </c:pt>
                <c:pt idx="1751">
                  <c:v>20.655131056393973</c:v>
                </c:pt>
                <c:pt idx="1752">
                  <c:v>20.655131056393973</c:v>
                </c:pt>
                <c:pt idx="1753">
                  <c:v>20.655131056393973</c:v>
                </c:pt>
                <c:pt idx="1754">
                  <c:v>20.655131056393973</c:v>
                </c:pt>
                <c:pt idx="1755">
                  <c:v>20.655131056393973</c:v>
                </c:pt>
                <c:pt idx="1756">
                  <c:v>20.655131056393973</c:v>
                </c:pt>
                <c:pt idx="1757">
                  <c:v>20.655131056393973</c:v>
                </c:pt>
                <c:pt idx="1758">
                  <c:v>20.655131056393973</c:v>
                </c:pt>
                <c:pt idx="1759">
                  <c:v>20.655131056393973</c:v>
                </c:pt>
                <c:pt idx="1760">
                  <c:v>20.655131056393973</c:v>
                </c:pt>
                <c:pt idx="1761">
                  <c:v>20.655131056393973</c:v>
                </c:pt>
                <c:pt idx="1762">
                  <c:v>20.655131056393973</c:v>
                </c:pt>
                <c:pt idx="1763">
                  <c:v>20.655131056393973</c:v>
                </c:pt>
                <c:pt idx="1764">
                  <c:v>20.655131056393973</c:v>
                </c:pt>
                <c:pt idx="1765">
                  <c:v>20.655131056393973</c:v>
                </c:pt>
                <c:pt idx="1766">
                  <c:v>20.655131056393973</c:v>
                </c:pt>
                <c:pt idx="1767">
                  <c:v>20.655131056393973</c:v>
                </c:pt>
                <c:pt idx="1768">
                  <c:v>20.655131056393973</c:v>
                </c:pt>
                <c:pt idx="1769">
                  <c:v>20.655131056393973</c:v>
                </c:pt>
                <c:pt idx="1770">
                  <c:v>20.655131056393973</c:v>
                </c:pt>
                <c:pt idx="1771">
                  <c:v>20.655131056393973</c:v>
                </c:pt>
                <c:pt idx="1772">
                  <c:v>20.655131056393973</c:v>
                </c:pt>
                <c:pt idx="1773">
                  <c:v>20.655131056393973</c:v>
                </c:pt>
                <c:pt idx="1774">
                  <c:v>20.655131056393973</c:v>
                </c:pt>
                <c:pt idx="1775">
                  <c:v>20.655131056393973</c:v>
                </c:pt>
                <c:pt idx="1776">
                  <c:v>20.655131056393973</c:v>
                </c:pt>
                <c:pt idx="1777">
                  <c:v>20.655131056393973</c:v>
                </c:pt>
                <c:pt idx="1778">
                  <c:v>20.655131056393973</c:v>
                </c:pt>
                <c:pt idx="1779">
                  <c:v>20.655131056393973</c:v>
                </c:pt>
                <c:pt idx="1780">
                  <c:v>20.655131056393973</c:v>
                </c:pt>
                <c:pt idx="1781">
                  <c:v>20.655131056393973</c:v>
                </c:pt>
                <c:pt idx="1782">
                  <c:v>20.655131056393973</c:v>
                </c:pt>
                <c:pt idx="1783">
                  <c:v>20.655131056393973</c:v>
                </c:pt>
                <c:pt idx="1784">
                  <c:v>20.655131056393973</c:v>
                </c:pt>
                <c:pt idx="1785">
                  <c:v>20.655131056393973</c:v>
                </c:pt>
                <c:pt idx="1786">
                  <c:v>20.655131056393973</c:v>
                </c:pt>
                <c:pt idx="1787">
                  <c:v>20.655131056393973</c:v>
                </c:pt>
                <c:pt idx="1788">
                  <c:v>20.655131056393973</c:v>
                </c:pt>
                <c:pt idx="1789">
                  <c:v>20.655131056393973</c:v>
                </c:pt>
                <c:pt idx="1790">
                  <c:v>20.655131056393973</c:v>
                </c:pt>
                <c:pt idx="1791">
                  <c:v>20.655131056393973</c:v>
                </c:pt>
                <c:pt idx="1792">
                  <c:v>20.655131056393973</c:v>
                </c:pt>
                <c:pt idx="1793">
                  <c:v>20.655131056393973</c:v>
                </c:pt>
                <c:pt idx="1794">
                  <c:v>20.655131056393973</c:v>
                </c:pt>
                <c:pt idx="1795">
                  <c:v>20.655131056393973</c:v>
                </c:pt>
                <c:pt idx="1796">
                  <c:v>20.655131056393973</c:v>
                </c:pt>
                <c:pt idx="1797">
                  <c:v>20.655131056393973</c:v>
                </c:pt>
                <c:pt idx="1798">
                  <c:v>20.655131056393973</c:v>
                </c:pt>
                <c:pt idx="1799">
                  <c:v>20.655131056393973</c:v>
                </c:pt>
                <c:pt idx="1800">
                  <c:v>20.655131056393973</c:v>
                </c:pt>
                <c:pt idx="1801">
                  <c:v>20.655131056393973</c:v>
                </c:pt>
                <c:pt idx="1802">
                  <c:v>20.655131056393973</c:v>
                </c:pt>
                <c:pt idx="1803">
                  <c:v>20.655131056393973</c:v>
                </c:pt>
                <c:pt idx="1804">
                  <c:v>20.655131056393973</c:v>
                </c:pt>
                <c:pt idx="1805">
                  <c:v>20.655131056393973</c:v>
                </c:pt>
                <c:pt idx="1806">
                  <c:v>20.655131056393973</c:v>
                </c:pt>
                <c:pt idx="1807">
                  <c:v>20.655131056393973</c:v>
                </c:pt>
                <c:pt idx="1808">
                  <c:v>20.655131056393973</c:v>
                </c:pt>
                <c:pt idx="1809">
                  <c:v>20.655131056393973</c:v>
                </c:pt>
                <c:pt idx="1810">
                  <c:v>20.655131056393973</c:v>
                </c:pt>
                <c:pt idx="1811">
                  <c:v>20.655131056393973</c:v>
                </c:pt>
                <c:pt idx="1812">
                  <c:v>20.655131056393973</c:v>
                </c:pt>
                <c:pt idx="1813">
                  <c:v>20.655131056393973</c:v>
                </c:pt>
                <c:pt idx="1814">
                  <c:v>20.655131056393973</c:v>
                </c:pt>
                <c:pt idx="1815">
                  <c:v>20.655131056393973</c:v>
                </c:pt>
                <c:pt idx="1816">
                  <c:v>20.655131056393973</c:v>
                </c:pt>
                <c:pt idx="1817">
                  <c:v>20.655131056393973</c:v>
                </c:pt>
                <c:pt idx="1818">
                  <c:v>20.655131056393973</c:v>
                </c:pt>
                <c:pt idx="1819">
                  <c:v>20.655131056393973</c:v>
                </c:pt>
                <c:pt idx="1820">
                  <c:v>20.655131056393973</c:v>
                </c:pt>
                <c:pt idx="1821">
                  <c:v>20.655131056393973</c:v>
                </c:pt>
                <c:pt idx="1822">
                  <c:v>20.655131056393973</c:v>
                </c:pt>
                <c:pt idx="1823">
                  <c:v>20.655131056393973</c:v>
                </c:pt>
                <c:pt idx="1824">
                  <c:v>20.655131056393973</c:v>
                </c:pt>
                <c:pt idx="1825">
                  <c:v>20.655131056393973</c:v>
                </c:pt>
                <c:pt idx="1826">
                  <c:v>20.655131056393973</c:v>
                </c:pt>
                <c:pt idx="1827">
                  <c:v>20.655131056393973</c:v>
                </c:pt>
                <c:pt idx="1828">
                  <c:v>20.655131056393973</c:v>
                </c:pt>
                <c:pt idx="1829">
                  <c:v>20.655131056393973</c:v>
                </c:pt>
                <c:pt idx="1830">
                  <c:v>20.655131056393973</c:v>
                </c:pt>
                <c:pt idx="1831">
                  <c:v>20.655131056393973</c:v>
                </c:pt>
                <c:pt idx="1832">
                  <c:v>20.655131056393973</c:v>
                </c:pt>
                <c:pt idx="1833">
                  <c:v>20.655131056393973</c:v>
                </c:pt>
                <c:pt idx="1834">
                  <c:v>20.655131056393973</c:v>
                </c:pt>
                <c:pt idx="1835">
                  <c:v>20.655131056393973</c:v>
                </c:pt>
                <c:pt idx="1836">
                  <c:v>20.655131056393973</c:v>
                </c:pt>
                <c:pt idx="1837">
                  <c:v>20.655131056393973</c:v>
                </c:pt>
                <c:pt idx="1838">
                  <c:v>20.655131056393973</c:v>
                </c:pt>
                <c:pt idx="1839">
                  <c:v>20.655131056393973</c:v>
                </c:pt>
                <c:pt idx="1840">
                  <c:v>20.655131056393973</c:v>
                </c:pt>
                <c:pt idx="1841">
                  <c:v>20.655131056393973</c:v>
                </c:pt>
                <c:pt idx="1842">
                  <c:v>20.655131056393973</c:v>
                </c:pt>
                <c:pt idx="1843">
                  <c:v>20.655131056393973</c:v>
                </c:pt>
                <c:pt idx="1844">
                  <c:v>20.655131056393973</c:v>
                </c:pt>
                <c:pt idx="1845">
                  <c:v>20.655131056393973</c:v>
                </c:pt>
                <c:pt idx="1846">
                  <c:v>20.655131056393973</c:v>
                </c:pt>
                <c:pt idx="1847">
                  <c:v>20.655131056393973</c:v>
                </c:pt>
                <c:pt idx="1848">
                  <c:v>20.655131056393973</c:v>
                </c:pt>
                <c:pt idx="1849">
                  <c:v>20.655131056393973</c:v>
                </c:pt>
                <c:pt idx="1850">
                  <c:v>20.655131056393973</c:v>
                </c:pt>
                <c:pt idx="1851">
                  <c:v>20.655131056393973</c:v>
                </c:pt>
                <c:pt idx="1852">
                  <c:v>20.655131056393973</c:v>
                </c:pt>
                <c:pt idx="1853">
                  <c:v>20.655131056393973</c:v>
                </c:pt>
                <c:pt idx="1854">
                  <c:v>20.655131056393973</c:v>
                </c:pt>
                <c:pt idx="1855">
                  <c:v>20.655131056393973</c:v>
                </c:pt>
                <c:pt idx="1856">
                  <c:v>20.655131056393973</c:v>
                </c:pt>
                <c:pt idx="1857">
                  <c:v>20.655131056393973</c:v>
                </c:pt>
                <c:pt idx="1858">
                  <c:v>20.655131056393973</c:v>
                </c:pt>
                <c:pt idx="1859">
                  <c:v>20.655131056393973</c:v>
                </c:pt>
                <c:pt idx="1860">
                  <c:v>20.655131056393973</c:v>
                </c:pt>
                <c:pt idx="1861">
                  <c:v>20.655131056393973</c:v>
                </c:pt>
                <c:pt idx="1862">
                  <c:v>20.655131056393973</c:v>
                </c:pt>
                <c:pt idx="1863">
                  <c:v>20.655131056393973</c:v>
                </c:pt>
                <c:pt idx="1864">
                  <c:v>20.655131056393973</c:v>
                </c:pt>
                <c:pt idx="1865">
                  <c:v>20.655131056393973</c:v>
                </c:pt>
                <c:pt idx="1866">
                  <c:v>20.655131056393973</c:v>
                </c:pt>
                <c:pt idx="1867">
                  <c:v>20.655131056393973</c:v>
                </c:pt>
                <c:pt idx="1868">
                  <c:v>20.655131056393973</c:v>
                </c:pt>
                <c:pt idx="1869">
                  <c:v>20.655131056393973</c:v>
                </c:pt>
                <c:pt idx="1870">
                  <c:v>20.655131056393973</c:v>
                </c:pt>
                <c:pt idx="1871">
                  <c:v>20.655131056393973</c:v>
                </c:pt>
                <c:pt idx="1872">
                  <c:v>20.655131056393973</c:v>
                </c:pt>
                <c:pt idx="1873">
                  <c:v>20.655131056393973</c:v>
                </c:pt>
                <c:pt idx="1874">
                  <c:v>20.655131056393973</c:v>
                </c:pt>
                <c:pt idx="1875">
                  <c:v>20.655131056393973</c:v>
                </c:pt>
                <c:pt idx="1876">
                  <c:v>20.655131056393973</c:v>
                </c:pt>
                <c:pt idx="1877">
                  <c:v>20.655131056393973</c:v>
                </c:pt>
                <c:pt idx="1878">
                  <c:v>20.655131056393973</c:v>
                </c:pt>
                <c:pt idx="1879">
                  <c:v>20.655131056393973</c:v>
                </c:pt>
                <c:pt idx="1880">
                  <c:v>20.655131056393973</c:v>
                </c:pt>
                <c:pt idx="1881">
                  <c:v>20.655131056393973</c:v>
                </c:pt>
                <c:pt idx="1882">
                  <c:v>20.655131056393973</c:v>
                </c:pt>
                <c:pt idx="1883">
                  <c:v>20.655131056393973</c:v>
                </c:pt>
                <c:pt idx="1884">
                  <c:v>20.655131056393973</c:v>
                </c:pt>
                <c:pt idx="1885">
                  <c:v>20.655131056393973</c:v>
                </c:pt>
                <c:pt idx="1886">
                  <c:v>20.655131056393973</c:v>
                </c:pt>
                <c:pt idx="1887">
                  <c:v>20.655131056393973</c:v>
                </c:pt>
                <c:pt idx="1888">
                  <c:v>20.655131056393973</c:v>
                </c:pt>
                <c:pt idx="1889">
                  <c:v>20.655131056393973</c:v>
                </c:pt>
                <c:pt idx="1890">
                  <c:v>20.655131056393973</c:v>
                </c:pt>
                <c:pt idx="1891">
                  <c:v>20.655131056393973</c:v>
                </c:pt>
                <c:pt idx="1892">
                  <c:v>20.655131056393973</c:v>
                </c:pt>
                <c:pt idx="1893">
                  <c:v>20.655131056393973</c:v>
                </c:pt>
                <c:pt idx="1894">
                  <c:v>20.655131056393973</c:v>
                </c:pt>
                <c:pt idx="1895">
                  <c:v>20.655131056393973</c:v>
                </c:pt>
                <c:pt idx="1896">
                  <c:v>20.655131056393973</c:v>
                </c:pt>
                <c:pt idx="1897">
                  <c:v>20.655131056393973</c:v>
                </c:pt>
                <c:pt idx="1898">
                  <c:v>20.655131056393973</c:v>
                </c:pt>
                <c:pt idx="1899">
                  <c:v>20.655131056393973</c:v>
                </c:pt>
                <c:pt idx="1900">
                  <c:v>20.655131056393973</c:v>
                </c:pt>
                <c:pt idx="1901">
                  <c:v>20.655131056393973</c:v>
                </c:pt>
                <c:pt idx="1902">
                  <c:v>20.655131056393973</c:v>
                </c:pt>
                <c:pt idx="1903">
                  <c:v>20.655131056393973</c:v>
                </c:pt>
                <c:pt idx="1904">
                  <c:v>20.655131056393973</c:v>
                </c:pt>
                <c:pt idx="1905">
                  <c:v>20.655131056393973</c:v>
                </c:pt>
                <c:pt idx="1906">
                  <c:v>20.655131056393973</c:v>
                </c:pt>
                <c:pt idx="1907">
                  <c:v>20.655131056393973</c:v>
                </c:pt>
                <c:pt idx="1908">
                  <c:v>20.655131056393973</c:v>
                </c:pt>
                <c:pt idx="1909">
                  <c:v>20.655131056393973</c:v>
                </c:pt>
                <c:pt idx="1910">
                  <c:v>20.655131056393973</c:v>
                </c:pt>
                <c:pt idx="1911">
                  <c:v>20.655131056393973</c:v>
                </c:pt>
                <c:pt idx="1912">
                  <c:v>20.655131056393973</c:v>
                </c:pt>
                <c:pt idx="1913">
                  <c:v>20.655131056393973</c:v>
                </c:pt>
                <c:pt idx="1914">
                  <c:v>20.655131056393973</c:v>
                </c:pt>
                <c:pt idx="1915">
                  <c:v>20.655131056393973</c:v>
                </c:pt>
                <c:pt idx="1916">
                  <c:v>20.655131056393973</c:v>
                </c:pt>
                <c:pt idx="1917">
                  <c:v>20.655131056393973</c:v>
                </c:pt>
                <c:pt idx="1918">
                  <c:v>20.655131056393973</c:v>
                </c:pt>
                <c:pt idx="1919">
                  <c:v>20.655131056393973</c:v>
                </c:pt>
                <c:pt idx="1920">
                  <c:v>20.655131056393973</c:v>
                </c:pt>
                <c:pt idx="1921">
                  <c:v>20.655131056393973</c:v>
                </c:pt>
                <c:pt idx="1922">
                  <c:v>20.655131056393973</c:v>
                </c:pt>
                <c:pt idx="1923">
                  <c:v>20.655131056393973</c:v>
                </c:pt>
                <c:pt idx="1924">
                  <c:v>20.655131056393973</c:v>
                </c:pt>
                <c:pt idx="1925">
                  <c:v>20.655131056393973</c:v>
                </c:pt>
                <c:pt idx="1926">
                  <c:v>20.655131056393973</c:v>
                </c:pt>
                <c:pt idx="1927">
                  <c:v>20.655131056393973</c:v>
                </c:pt>
                <c:pt idx="1928">
                  <c:v>20.655131056393973</c:v>
                </c:pt>
                <c:pt idx="1929">
                  <c:v>20.655131056393973</c:v>
                </c:pt>
                <c:pt idx="1930">
                  <c:v>20.655131056393973</c:v>
                </c:pt>
                <c:pt idx="1931">
                  <c:v>20.655131056393973</c:v>
                </c:pt>
                <c:pt idx="1932">
                  <c:v>20.655131056393973</c:v>
                </c:pt>
                <c:pt idx="1933">
                  <c:v>20.655131056393973</c:v>
                </c:pt>
                <c:pt idx="1934">
                  <c:v>20.655131056393973</c:v>
                </c:pt>
                <c:pt idx="1935">
                  <c:v>20.655131056393973</c:v>
                </c:pt>
                <c:pt idx="1936">
                  <c:v>20.655131056393973</c:v>
                </c:pt>
                <c:pt idx="1937">
                  <c:v>20.655131056393973</c:v>
                </c:pt>
                <c:pt idx="1938">
                  <c:v>20.655131056393973</c:v>
                </c:pt>
                <c:pt idx="1939">
                  <c:v>20.655131056393973</c:v>
                </c:pt>
                <c:pt idx="1940">
                  <c:v>20.655131056393973</c:v>
                </c:pt>
                <c:pt idx="1941">
                  <c:v>20.655131056393973</c:v>
                </c:pt>
                <c:pt idx="1942">
                  <c:v>20.655131056393973</c:v>
                </c:pt>
                <c:pt idx="1943">
                  <c:v>20.655131056393973</c:v>
                </c:pt>
                <c:pt idx="1944">
                  <c:v>20.655131056393973</c:v>
                </c:pt>
                <c:pt idx="1945">
                  <c:v>20.655131056393973</c:v>
                </c:pt>
                <c:pt idx="1946">
                  <c:v>20.655131056393973</c:v>
                </c:pt>
                <c:pt idx="1947">
                  <c:v>20.655131056393973</c:v>
                </c:pt>
                <c:pt idx="1948">
                  <c:v>20.655131056393973</c:v>
                </c:pt>
                <c:pt idx="1949">
                  <c:v>20.655131056393973</c:v>
                </c:pt>
                <c:pt idx="1950">
                  <c:v>20.655131056393973</c:v>
                </c:pt>
                <c:pt idx="1951">
                  <c:v>20.655131056393973</c:v>
                </c:pt>
                <c:pt idx="1952">
                  <c:v>20.655131056393973</c:v>
                </c:pt>
                <c:pt idx="1953">
                  <c:v>20.655131056393973</c:v>
                </c:pt>
                <c:pt idx="1954">
                  <c:v>20.655131056393973</c:v>
                </c:pt>
                <c:pt idx="1955">
                  <c:v>20.655131056393973</c:v>
                </c:pt>
                <c:pt idx="1956">
                  <c:v>20.655131056393973</c:v>
                </c:pt>
                <c:pt idx="1957">
                  <c:v>20.655131056393973</c:v>
                </c:pt>
                <c:pt idx="1958">
                  <c:v>20.655131056393973</c:v>
                </c:pt>
                <c:pt idx="1959">
                  <c:v>20.655131056393973</c:v>
                </c:pt>
                <c:pt idx="1960">
                  <c:v>20.655131056393973</c:v>
                </c:pt>
                <c:pt idx="1961">
                  <c:v>20.655131056393973</c:v>
                </c:pt>
                <c:pt idx="1962">
                  <c:v>20.655131056393973</c:v>
                </c:pt>
                <c:pt idx="1963">
                  <c:v>20.655131056393973</c:v>
                </c:pt>
                <c:pt idx="1964">
                  <c:v>20.655131056393973</c:v>
                </c:pt>
                <c:pt idx="1965">
                  <c:v>20.655131056393973</c:v>
                </c:pt>
                <c:pt idx="1966">
                  <c:v>20.655131056393973</c:v>
                </c:pt>
                <c:pt idx="1967">
                  <c:v>20.655131056393973</c:v>
                </c:pt>
                <c:pt idx="1968">
                  <c:v>20.655131056393973</c:v>
                </c:pt>
                <c:pt idx="1969">
                  <c:v>20.655131056393973</c:v>
                </c:pt>
                <c:pt idx="1970">
                  <c:v>20.655131056393973</c:v>
                </c:pt>
                <c:pt idx="1971">
                  <c:v>20.655131056393973</c:v>
                </c:pt>
                <c:pt idx="1972">
                  <c:v>20.655131056393973</c:v>
                </c:pt>
                <c:pt idx="1973">
                  <c:v>20.655131056393973</c:v>
                </c:pt>
                <c:pt idx="1974">
                  <c:v>20.655131056393973</c:v>
                </c:pt>
                <c:pt idx="1975">
                  <c:v>20.655131056393973</c:v>
                </c:pt>
                <c:pt idx="1976">
                  <c:v>20.655131056393973</c:v>
                </c:pt>
                <c:pt idx="1977">
                  <c:v>20.655131056393973</c:v>
                </c:pt>
                <c:pt idx="1978">
                  <c:v>20.655131056393973</c:v>
                </c:pt>
                <c:pt idx="1979">
                  <c:v>20.655131056393973</c:v>
                </c:pt>
                <c:pt idx="1980">
                  <c:v>20.655131056393973</c:v>
                </c:pt>
                <c:pt idx="1981">
                  <c:v>20.655131056393973</c:v>
                </c:pt>
                <c:pt idx="1982">
                  <c:v>20.655131056393973</c:v>
                </c:pt>
                <c:pt idx="1983">
                  <c:v>20.655131056393973</c:v>
                </c:pt>
                <c:pt idx="1984">
                  <c:v>20.655131056393973</c:v>
                </c:pt>
                <c:pt idx="1985">
                  <c:v>20.655131056393973</c:v>
                </c:pt>
                <c:pt idx="1986">
                  <c:v>20.655131056393973</c:v>
                </c:pt>
                <c:pt idx="1987">
                  <c:v>20.655131056393973</c:v>
                </c:pt>
                <c:pt idx="1988">
                  <c:v>20.655131056393973</c:v>
                </c:pt>
                <c:pt idx="1989">
                  <c:v>20.655131056393973</c:v>
                </c:pt>
                <c:pt idx="1990">
                  <c:v>20.655131056393973</c:v>
                </c:pt>
                <c:pt idx="1991">
                  <c:v>20.655131056393973</c:v>
                </c:pt>
                <c:pt idx="1992">
                  <c:v>20.655131056393973</c:v>
                </c:pt>
                <c:pt idx="1993">
                  <c:v>20.655131056393973</c:v>
                </c:pt>
                <c:pt idx="1994">
                  <c:v>20.655131056393973</c:v>
                </c:pt>
                <c:pt idx="1995">
                  <c:v>20.655131056393973</c:v>
                </c:pt>
                <c:pt idx="1996">
                  <c:v>20.655131056393973</c:v>
                </c:pt>
                <c:pt idx="1997">
                  <c:v>20.655131056393973</c:v>
                </c:pt>
                <c:pt idx="1998">
                  <c:v>20.655131056393973</c:v>
                </c:pt>
                <c:pt idx="1999">
                  <c:v>20.655131056393973</c:v>
                </c:pt>
                <c:pt idx="2000">
                  <c:v>20.655131056393973</c:v>
                </c:pt>
                <c:pt idx="2001">
                  <c:v>20.655131056393973</c:v>
                </c:pt>
                <c:pt idx="2002">
                  <c:v>20.655131056393973</c:v>
                </c:pt>
                <c:pt idx="2003">
                  <c:v>20.655131056393973</c:v>
                </c:pt>
                <c:pt idx="2004">
                  <c:v>20.655131056393973</c:v>
                </c:pt>
                <c:pt idx="2005">
                  <c:v>20.655131056393973</c:v>
                </c:pt>
                <c:pt idx="2006">
                  <c:v>20.655131056393973</c:v>
                </c:pt>
                <c:pt idx="2007">
                  <c:v>20.655131056393973</c:v>
                </c:pt>
                <c:pt idx="2008">
                  <c:v>20.655131056393973</c:v>
                </c:pt>
                <c:pt idx="2009">
                  <c:v>20.655131056393973</c:v>
                </c:pt>
                <c:pt idx="2010">
                  <c:v>20.655131056393973</c:v>
                </c:pt>
                <c:pt idx="2011">
                  <c:v>20.655131056393973</c:v>
                </c:pt>
                <c:pt idx="2012">
                  <c:v>20.655131056393973</c:v>
                </c:pt>
                <c:pt idx="2013">
                  <c:v>20.655131056393973</c:v>
                </c:pt>
                <c:pt idx="2014">
                  <c:v>20.655131056393973</c:v>
                </c:pt>
                <c:pt idx="2015">
                  <c:v>20.655131056393973</c:v>
                </c:pt>
                <c:pt idx="2016">
                  <c:v>20.655131056393973</c:v>
                </c:pt>
                <c:pt idx="2017">
                  <c:v>20.655131056393973</c:v>
                </c:pt>
                <c:pt idx="2018">
                  <c:v>20.655131056393973</c:v>
                </c:pt>
                <c:pt idx="2019">
                  <c:v>20.655131056393973</c:v>
                </c:pt>
                <c:pt idx="2020">
                  <c:v>20.655131056393973</c:v>
                </c:pt>
                <c:pt idx="2021">
                  <c:v>20.655131056393973</c:v>
                </c:pt>
                <c:pt idx="2022">
                  <c:v>20.655131056393973</c:v>
                </c:pt>
                <c:pt idx="2023">
                  <c:v>20.655131056393973</c:v>
                </c:pt>
                <c:pt idx="2024">
                  <c:v>20.655131056393973</c:v>
                </c:pt>
                <c:pt idx="2025">
                  <c:v>20.655131056393973</c:v>
                </c:pt>
                <c:pt idx="2026">
                  <c:v>20.655131056393973</c:v>
                </c:pt>
                <c:pt idx="2027">
                  <c:v>20.655131056393973</c:v>
                </c:pt>
                <c:pt idx="2028">
                  <c:v>20.655131056393973</c:v>
                </c:pt>
                <c:pt idx="2029">
                  <c:v>20.655131056393973</c:v>
                </c:pt>
                <c:pt idx="2030">
                  <c:v>20.655131056393973</c:v>
                </c:pt>
                <c:pt idx="2031">
                  <c:v>20.655131056393973</c:v>
                </c:pt>
                <c:pt idx="2032">
                  <c:v>20.655131056393973</c:v>
                </c:pt>
                <c:pt idx="2033">
                  <c:v>20.655131056393973</c:v>
                </c:pt>
                <c:pt idx="2034">
                  <c:v>20.655131056393973</c:v>
                </c:pt>
                <c:pt idx="2035">
                  <c:v>20.655131056393973</c:v>
                </c:pt>
                <c:pt idx="2036">
                  <c:v>20.655131056393973</c:v>
                </c:pt>
                <c:pt idx="2037">
                  <c:v>20.655131056393973</c:v>
                </c:pt>
                <c:pt idx="2038">
                  <c:v>20.655131056393973</c:v>
                </c:pt>
                <c:pt idx="2039">
                  <c:v>20.655131056393973</c:v>
                </c:pt>
                <c:pt idx="2040">
                  <c:v>20.655131056393973</c:v>
                </c:pt>
                <c:pt idx="2041">
                  <c:v>20.655131056393973</c:v>
                </c:pt>
                <c:pt idx="2042">
                  <c:v>20.655131056393973</c:v>
                </c:pt>
                <c:pt idx="2043">
                  <c:v>20.655131056393973</c:v>
                </c:pt>
                <c:pt idx="2044">
                  <c:v>20.655131056393973</c:v>
                </c:pt>
                <c:pt idx="2045">
                  <c:v>20.655131056393973</c:v>
                </c:pt>
                <c:pt idx="2046">
                  <c:v>20.655131056393973</c:v>
                </c:pt>
                <c:pt idx="2047">
                  <c:v>20.655131056393973</c:v>
                </c:pt>
                <c:pt idx="2048">
                  <c:v>20.655131056393973</c:v>
                </c:pt>
                <c:pt idx="2049">
                  <c:v>20.655131056393973</c:v>
                </c:pt>
                <c:pt idx="2050">
                  <c:v>20.655131056393973</c:v>
                </c:pt>
                <c:pt idx="2051">
                  <c:v>20.655131056393973</c:v>
                </c:pt>
                <c:pt idx="2052">
                  <c:v>20.655131056393973</c:v>
                </c:pt>
                <c:pt idx="2053">
                  <c:v>20.655131056393973</c:v>
                </c:pt>
                <c:pt idx="2054">
                  <c:v>20.655131056393973</c:v>
                </c:pt>
                <c:pt idx="2055">
                  <c:v>20.655131056393973</c:v>
                </c:pt>
                <c:pt idx="2056">
                  <c:v>20.655131056393973</c:v>
                </c:pt>
                <c:pt idx="2057">
                  <c:v>20.655131056393973</c:v>
                </c:pt>
                <c:pt idx="2058">
                  <c:v>20.655131056393973</c:v>
                </c:pt>
                <c:pt idx="2059">
                  <c:v>20.655131056393973</c:v>
                </c:pt>
                <c:pt idx="2060">
                  <c:v>20.655131056393973</c:v>
                </c:pt>
                <c:pt idx="2061">
                  <c:v>20.655131056393973</c:v>
                </c:pt>
                <c:pt idx="2062">
                  <c:v>20.655131056393973</c:v>
                </c:pt>
                <c:pt idx="2063">
                  <c:v>20.655131056393973</c:v>
                </c:pt>
                <c:pt idx="2064">
                  <c:v>20.655131056393973</c:v>
                </c:pt>
                <c:pt idx="2065">
                  <c:v>20.655131056393973</c:v>
                </c:pt>
                <c:pt idx="2066">
                  <c:v>20.655131056393973</c:v>
                </c:pt>
                <c:pt idx="2067">
                  <c:v>20.655131056393973</c:v>
                </c:pt>
                <c:pt idx="2068">
                  <c:v>20.655131056393973</c:v>
                </c:pt>
                <c:pt idx="2069">
                  <c:v>20.655131056393973</c:v>
                </c:pt>
                <c:pt idx="2070">
                  <c:v>20.655131056393973</c:v>
                </c:pt>
                <c:pt idx="2071">
                  <c:v>20.655131056393973</c:v>
                </c:pt>
                <c:pt idx="2072">
                  <c:v>20.655131056393973</c:v>
                </c:pt>
                <c:pt idx="2073">
                  <c:v>20.655131056393973</c:v>
                </c:pt>
                <c:pt idx="2074">
                  <c:v>20.655131056393973</c:v>
                </c:pt>
                <c:pt idx="2075">
                  <c:v>20.655131056393973</c:v>
                </c:pt>
                <c:pt idx="2076">
                  <c:v>20.655131056393973</c:v>
                </c:pt>
                <c:pt idx="2077">
                  <c:v>20.655131056393973</c:v>
                </c:pt>
                <c:pt idx="2078">
                  <c:v>20.655131056393973</c:v>
                </c:pt>
                <c:pt idx="2079">
                  <c:v>20.655131056393973</c:v>
                </c:pt>
                <c:pt idx="2080">
                  <c:v>20.655131056393973</c:v>
                </c:pt>
                <c:pt idx="2081">
                  <c:v>20.655131056393973</c:v>
                </c:pt>
                <c:pt idx="2082">
                  <c:v>20.655131056393973</c:v>
                </c:pt>
                <c:pt idx="2083">
                  <c:v>20.655131056393973</c:v>
                </c:pt>
                <c:pt idx="2084">
                  <c:v>20.655131056393973</c:v>
                </c:pt>
                <c:pt idx="2085">
                  <c:v>20.655131056393973</c:v>
                </c:pt>
                <c:pt idx="2086">
                  <c:v>20.655131056393973</c:v>
                </c:pt>
                <c:pt idx="2087">
                  <c:v>20.655131056393973</c:v>
                </c:pt>
                <c:pt idx="2088">
                  <c:v>20.655131056393973</c:v>
                </c:pt>
                <c:pt idx="2089">
                  <c:v>20.655131056393973</c:v>
                </c:pt>
                <c:pt idx="2090">
                  <c:v>20.655131056393973</c:v>
                </c:pt>
                <c:pt idx="2091">
                  <c:v>20.655131056393973</c:v>
                </c:pt>
                <c:pt idx="2092">
                  <c:v>20.655131056393973</c:v>
                </c:pt>
                <c:pt idx="2093">
                  <c:v>20.655131056393973</c:v>
                </c:pt>
                <c:pt idx="2094">
                  <c:v>20.655131056393973</c:v>
                </c:pt>
                <c:pt idx="2095">
                  <c:v>20.655131056393973</c:v>
                </c:pt>
                <c:pt idx="2096">
                  <c:v>20.655131056393973</c:v>
                </c:pt>
                <c:pt idx="2097">
                  <c:v>20.655131056393973</c:v>
                </c:pt>
                <c:pt idx="2098">
                  <c:v>20.655131056393973</c:v>
                </c:pt>
                <c:pt idx="2099">
                  <c:v>20.655131056393973</c:v>
                </c:pt>
                <c:pt idx="2100">
                  <c:v>20.655131056393973</c:v>
                </c:pt>
                <c:pt idx="2101">
                  <c:v>20.655131056393973</c:v>
                </c:pt>
                <c:pt idx="2102">
                  <c:v>20.655131056393973</c:v>
                </c:pt>
                <c:pt idx="2103">
                  <c:v>20.655131056393973</c:v>
                </c:pt>
                <c:pt idx="2104">
                  <c:v>20.655131056393973</c:v>
                </c:pt>
                <c:pt idx="2105">
                  <c:v>20.655131056393973</c:v>
                </c:pt>
                <c:pt idx="2106">
                  <c:v>20.655131056393973</c:v>
                </c:pt>
                <c:pt idx="2107">
                  <c:v>20.655131056393973</c:v>
                </c:pt>
                <c:pt idx="2108">
                  <c:v>20.655131056393973</c:v>
                </c:pt>
                <c:pt idx="2109">
                  <c:v>20.655131056393973</c:v>
                </c:pt>
                <c:pt idx="2110">
                  <c:v>20.655131056393973</c:v>
                </c:pt>
                <c:pt idx="2111">
                  <c:v>20.655131056393973</c:v>
                </c:pt>
                <c:pt idx="2112">
                  <c:v>20.655131056393973</c:v>
                </c:pt>
                <c:pt idx="2113">
                  <c:v>20.655131056393973</c:v>
                </c:pt>
                <c:pt idx="2114">
                  <c:v>20.655131056393973</c:v>
                </c:pt>
                <c:pt idx="2115">
                  <c:v>20.655131056393973</c:v>
                </c:pt>
                <c:pt idx="2116">
                  <c:v>20.655131056393973</c:v>
                </c:pt>
                <c:pt idx="2117">
                  <c:v>20.655131056393973</c:v>
                </c:pt>
                <c:pt idx="2118">
                  <c:v>20.655131056393973</c:v>
                </c:pt>
                <c:pt idx="2119">
                  <c:v>20.655131056393973</c:v>
                </c:pt>
                <c:pt idx="2120">
                  <c:v>20.655131056393973</c:v>
                </c:pt>
                <c:pt idx="2121">
                  <c:v>20.655131056393973</c:v>
                </c:pt>
                <c:pt idx="2122">
                  <c:v>20.655131056393973</c:v>
                </c:pt>
                <c:pt idx="2123">
                  <c:v>20.655131056393973</c:v>
                </c:pt>
                <c:pt idx="2124">
                  <c:v>20.655131056393973</c:v>
                </c:pt>
                <c:pt idx="2125">
                  <c:v>20.655131056393973</c:v>
                </c:pt>
                <c:pt idx="2126">
                  <c:v>20.655131056393973</c:v>
                </c:pt>
                <c:pt idx="2127">
                  <c:v>20.655131056393973</c:v>
                </c:pt>
                <c:pt idx="2128">
                  <c:v>20.655131056393973</c:v>
                </c:pt>
                <c:pt idx="2129">
                  <c:v>20.655131056393973</c:v>
                </c:pt>
                <c:pt idx="2130">
                  <c:v>20.655131056393973</c:v>
                </c:pt>
                <c:pt idx="2131">
                  <c:v>20.655131056393973</c:v>
                </c:pt>
                <c:pt idx="2132">
                  <c:v>20.655131056393973</c:v>
                </c:pt>
                <c:pt idx="2133">
                  <c:v>20.655131056393973</c:v>
                </c:pt>
                <c:pt idx="2134">
                  <c:v>20.655131056393973</c:v>
                </c:pt>
                <c:pt idx="2135">
                  <c:v>20.655131056393973</c:v>
                </c:pt>
                <c:pt idx="2136">
                  <c:v>20.655131056393973</c:v>
                </c:pt>
                <c:pt idx="2137">
                  <c:v>20.655131056393973</c:v>
                </c:pt>
                <c:pt idx="2138">
                  <c:v>20.655131056393973</c:v>
                </c:pt>
                <c:pt idx="2139">
                  <c:v>20.655131056393973</c:v>
                </c:pt>
                <c:pt idx="2140">
                  <c:v>20.655131056393973</c:v>
                </c:pt>
                <c:pt idx="2141">
                  <c:v>20.655131056393973</c:v>
                </c:pt>
                <c:pt idx="2142">
                  <c:v>20.655131056393973</c:v>
                </c:pt>
                <c:pt idx="2143">
                  <c:v>20.655131056393973</c:v>
                </c:pt>
                <c:pt idx="2144">
                  <c:v>20.655131056393973</c:v>
                </c:pt>
                <c:pt idx="2145">
                  <c:v>20.655131056393973</c:v>
                </c:pt>
                <c:pt idx="2146">
                  <c:v>20.655131056393973</c:v>
                </c:pt>
                <c:pt idx="2147">
                  <c:v>20.655131056393973</c:v>
                </c:pt>
                <c:pt idx="2148">
                  <c:v>20.655131056393973</c:v>
                </c:pt>
                <c:pt idx="2149">
                  <c:v>20.655131056393973</c:v>
                </c:pt>
                <c:pt idx="2150">
                  <c:v>20.655131056393973</c:v>
                </c:pt>
                <c:pt idx="2151">
                  <c:v>20.655131056393973</c:v>
                </c:pt>
                <c:pt idx="2152">
                  <c:v>20.655131056393973</c:v>
                </c:pt>
                <c:pt idx="2153">
                  <c:v>20.655131056393973</c:v>
                </c:pt>
                <c:pt idx="2154">
                  <c:v>20.655131056393973</c:v>
                </c:pt>
                <c:pt idx="2155">
                  <c:v>20.655131056393973</c:v>
                </c:pt>
                <c:pt idx="2156">
                  <c:v>20.655131056393973</c:v>
                </c:pt>
                <c:pt idx="2157">
                  <c:v>20.655131056393973</c:v>
                </c:pt>
                <c:pt idx="2158">
                  <c:v>20.655131056393973</c:v>
                </c:pt>
                <c:pt idx="2159">
                  <c:v>20.655131056393973</c:v>
                </c:pt>
                <c:pt idx="2160">
                  <c:v>20.655131056393973</c:v>
                </c:pt>
                <c:pt idx="2161">
                  <c:v>20.655131056393973</c:v>
                </c:pt>
                <c:pt idx="2162">
                  <c:v>20.655131056393973</c:v>
                </c:pt>
                <c:pt idx="2163">
                  <c:v>20.655131056393973</c:v>
                </c:pt>
                <c:pt idx="2164">
                  <c:v>20.655131056393973</c:v>
                </c:pt>
                <c:pt idx="2165">
                  <c:v>20.655131056393973</c:v>
                </c:pt>
                <c:pt idx="2166">
                  <c:v>20.655131056393973</c:v>
                </c:pt>
                <c:pt idx="2167">
                  <c:v>20.655131056393973</c:v>
                </c:pt>
                <c:pt idx="2168">
                  <c:v>20.655131056393973</c:v>
                </c:pt>
                <c:pt idx="2169">
                  <c:v>20.655131056393973</c:v>
                </c:pt>
                <c:pt idx="2170">
                  <c:v>20.655131056393973</c:v>
                </c:pt>
                <c:pt idx="2171">
                  <c:v>20.655131056393973</c:v>
                </c:pt>
                <c:pt idx="2172">
                  <c:v>20.655131056393973</c:v>
                </c:pt>
                <c:pt idx="2173">
                  <c:v>20.655131056393973</c:v>
                </c:pt>
                <c:pt idx="2174">
                  <c:v>20.655131056393973</c:v>
                </c:pt>
                <c:pt idx="2175">
                  <c:v>20.655131056393973</c:v>
                </c:pt>
                <c:pt idx="2176">
                  <c:v>20.655131056393973</c:v>
                </c:pt>
                <c:pt idx="2177">
                  <c:v>20.655131056393973</c:v>
                </c:pt>
                <c:pt idx="2178">
                  <c:v>20.655131056393973</c:v>
                </c:pt>
                <c:pt idx="2179">
                  <c:v>20.655131056393973</c:v>
                </c:pt>
                <c:pt idx="2180">
                  <c:v>20.655131056393973</c:v>
                </c:pt>
                <c:pt idx="2181">
                  <c:v>20.655131056393973</c:v>
                </c:pt>
                <c:pt idx="2182">
                  <c:v>20.655131056393973</c:v>
                </c:pt>
                <c:pt idx="2183">
                  <c:v>20.655131056393973</c:v>
                </c:pt>
                <c:pt idx="2184">
                  <c:v>20.655131056393973</c:v>
                </c:pt>
                <c:pt idx="2185">
                  <c:v>20.655131056393973</c:v>
                </c:pt>
                <c:pt idx="2186">
                  <c:v>20.655131056393973</c:v>
                </c:pt>
                <c:pt idx="2187">
                  <c:v>20.655131056393973</c:v>
                </c:pt>
                <c:pt idx="2188">
                  <c:v>20.655131056393973</c:v>
                </c:pt>
                <c:pt idx="2189">
                  <c:v>20.655131056393973</c:v>
                </c:pt>
                <c:pt idx="2190">
                  <c:v>20.655131056393973</c:v>
                </c:pt>
                <c:pt idx="2191">
                  <c:v>20.655131056393973</c:v>
                </c:pt>
                <c:pt idx="2192">
                  <c:v>20.655131056393973</c:v>
                </c:pt>
                <c:pt idx="2193">
                  <c:v>20.655131056393973</c:v>
                </c:pt>
                <c:pt idx="2194">
                  <c:v>20.655131056393973</c:v>
                </c:pt>
                <c:pt idx="2195">
                  <c:v>20.655131056393973</c:v>
                </c:pt>
                <c:pt idx="2196">
                  <c:v>20.655131056393973</c:v>
                </c:pt>
                <c:pt idx="2197">
                  <c:v>20.655131056393973</c:v>
                </c:pt>
                <c:pt idx="2198">
                  <c:v>20.655131056393973</c:v>
                </c:pt>
                <c:pt idx="2199">
                  <c:v>20.655131056393973</c:v>
                </c:pt>
                <c:pt idx="2200">
                  <c:v>20.655131056393973</c:v>
                </c:pt>
                <c:pt idx="2201">
                  <c:v>20.655131056393973</c:v>
                </c:pt>
                <c:pt idx="2202">
                  <c:v>20.655131056393973</c:v>
                </c:pt>
                <c:pt idx="2203">
                  <c:v>20.655131056393973</c:v>
                </c:pt>
                <c:pt idx="2204">
                  <c:v>20.655131056393973</c:v>
                </c:pt>
                <c:pt idx="2205">
                  <c:v>20.655131056393973</c:v>
                </c:pt>
                <c:pt idx="2206">
                  <c:v>20.655131056393973</c:v>
                </c:pt>
                <c:pt idx="2207">
                  <c:v>20.655131056393973</c:v>
                </c:pt>
                <c:pt idx="2208">
                  <c:v>20.655131056393973</c:v>
                </c:pt>
                <c:pt idx="2209">
                  <c:v>20.655131056393973</c:v>
                </c:pt>
                <c:pt idx="2210">
                  <c:v>20.655131056393973</c:v>
                </c:pt>
                <c:pt idx="2211">
                  <c:v>20.655131056393973</c:v>
                </c:pt>
                <c:pt idx="2212">
                  <c:v>20.655131056393973</c:v>
                </c:pt>
                <c:pt idx="2213">
                  <c:v>20.655131056393973</c:v>
                </c:pt>
                <c:pt idx="2214">
                  <c:v>20.655131056393973</c:v>
                </c:pt>
                <c:pt idx="2215">
                  <c:v>20.655131056393973</c:v>
                </c:pt>
                <c:pt idx="2216">
                  <c:v>20.655131056393973</c:v>
                </c:pt>
                <c:pt idx="2217">
                  <c:v>20.655131056393973</c:v>
                </c:pt>
                <c:pt idx="2218">
                  <c:v>20.655131056393973</c:v>
                </c:pt>
                <c:pt idx="2219">
                  <c:v>20.655131056393973</c:v>
                </c:pt>
                <c:pt idx="2220">
                  <c:v>20.655131056393973</c:v>
                </c:pt>
                <c:pt idx="2221">
                  <c:v>20.655131056393973</c:v>
                </c:pt>
                <c:pt idx="2222">
                  <c:v>20.655131056393973</c:v>
                </c:pt>
                <c:pt idx="2223">
                  <c:v>20.655131056393973</c:v>
                </c:pt>
                <c:pt idx="2224">
                  <c:v>20.655131056393973</c:v>
                </c:pt>
                <c:pt idx="2225">
                  <c:v>20.655131056393973</c:v>
                </c:pt>
                <c:pt idx="2226">
                  <c:v>20.655131056393973</c:v>
                </c:pt>
                <c:pt idx="2227">
                  <c:v>20.655131056393973</c:v>
                </c:pt>
                <c:pt idx="2228">
                  <c:v>20.655131056393973</c:v>
                </c:pt>
                <c:pt idx="2229">
                  <c:v>20.655131056393973</c:v>
                </c:pt>
                <c:pt idx="2230">
                  <c:v>20.655131056393973</c:v>
                </c:pt>
                <c:pt idx="2231">
                  <c:v>20.655131056393973</c:v>
                </c:pt>
                <c:pt idx="2232">
                  <c:v>20.655131056393973</c:v>
                </c:pt>
                <c:pt idx="2233">
                  <c:v>20.655131056393973</c:v>
                </c:pt>
                <c:pt idx="2234">
                  <c:v>20.655131056393973</c:v>
                </c:pt>
                <c:pt idx="2235">
                  <c:v>20.655131056393973</c:v>
                </c:pt>
                <c:pt idx="2236">
                  <c:v>20.655131056393973</c:v>
                </c:pt>
                <c:pt idx="2237">
                  <c:v>20.655131056393973</c:v>
                </c:pt>
                <c:pt idx="2238">
                  <c:v>20.655131056393973</c:v>
                </c:pt>
                <c:pt idx="2239">
                  <c:v>20.655131056393973</c:v>
                </c:pt>
                <c:pt idx="2240">
                  <c:v>20.655131056393973</c:v>
                </c:pt>
                <c:pt idx="2241">
                  <c:v>20.655131056393973</c:v>
                </c:pt>
                <c:pt idx="2242">
                  <c:v>20.655131056393973</c:v>
                </c:pt>
                <c:pt idx="2243">
                  <c:v>20.655131056393973</c:v>
                </c:pt>
                <c:pt idx="2244">
                  <c:v>20.655131056393973</c:v>
                </c:pt>
                <c:pt idx="2245">
                  <c:v>20.655131056393973</c:v>
                </c:pt>
                <c:pt idx="2246">
                  <c:v>20.655131056393973</c:v>
                </c:pt>
                <c:pt idx="2247">
                  <c:v>20.655131056393973</c:v>
                </c:pt>
                <c:pt idx="2248">
                  <c:v>20.655131056393973</c:v>
                </c:pt>
                <c:pt idx="2249">
                  <c:v>20.655131056393973</c:v>
                </c:pt>
                <c:pt idx="2250">
                  <c:v>20.655131056393973</c:v>
                </c:pt>
                <c:pt idx="2251">
                  <c:v>20.655131056393973</c:v>
                </c:pt>
                <c:pt idx="2252">
                  <c:v>20.655131056393973</c:v>
                </c:pt>
                <c:pt idx="2253">
                  <c:v>20.655131056393973</c:v>
                </c:pt>
                <c:pt idx="2254">
                  <c:v>20.655131056393973</c:v>
                </c:pt>
                <c:pt idx="2255">
                  <c:v>20.655131056393973</c:v>
                </c:pt>
                <c:pt idx="2256">
                  <c:v>20.655131056393973</c:v>
                </c:pt>
                <c:pt idx="2257">
                  <c:v>20.655131056393973</c:v>
                </c:pt>
                <c:pt idx="2258">
                  <c:v>20.655131056393973</c:v>
                </c:pt>
                <c:pt idx="2259">
                  <c:v>20.655131056393973</c:v>
                </c:pt>
                <c:pt idx="2260">
                  <c:v>20.655131056393973</c:v>
                </c:pt>
                <c:pt idx="2261">
                  <c:v>20.655131056393973</c:v>
                </c:pt>
                <c:pt idx="2262">
                  <c:v>20.655131056393973</c:v>
                </c:pt>
                <c:pt idx="2263">
                  <c:v>20.655131056393973</c:v>
                </c:pt>
                <c:pt idx="2264">
                  <c:v>20.655131056393973</c:v>
                </c:pt>
                <c:pt idx="2265">
                  <c:v>20.655131056393973</c:v>
                </c:pt>
                <c:pt idx="2266">
                  <c:v>20.655131056393973</c:v>
                </c:pt>
                <c:pt idx="2267">
                  <c:v>20.655131056393973</c:v>
                </c:pt>
                <c:pt idx="2268">
                  <c:v>20.655131056393973</c:v>
                </c:pt>
                <c:pt idx="2269">
                  <c:v>20.655131056393973</c:v>
                </c:pt>
                <c:pt idx="2270">
                  <c:v>20.655131056393973</c:v>
                </c:pt>
                <c:pt idx="2271">
                  <c:v>20.655131056393973</c:v>
                </c:pt>
                <c:pt idx="2272">
                  <c:v>20.655131056393973</c:v>
                </c:pt>
                <c:pt idx="2273">
                  <c:v>20.655131056393973</c:v>
                </c:pt>
                <c:pt idx="2274">
                  <c:v>20.655131056393973</c:v>
                </c:pt>
                <c:pt idx="2275">
                  <c:v>20.655131056393973</c:v>
                </c:pt>
                <c:pt idx="2276">
                  <c:v>20.655131056393973</c:v>
                </c:pt>
                <c:pt idx="2277">
                  <c:v>20.655131056393973</c:v>
                </c:pt>
                <c:pt idx="2278">
                  <c:v>20.655131056393973</c:v>
                </c:pt>
                <c:pt idx="2279">
                  <c:v>20.655131056393973</c:v>
                </c:pt>
                <c:pt idx="2280">
                  <c:v>20.655131056393973</c:v>
                </c:pt>
                <c:pt idx="2281">
                  <c:v>20.655131056393973</c:v>
                </c:pt>
                <c:pt idx="2282">
                  <c:v>20.655131056393973</c:v>
                </c:pt>
                <c:pt idx="2283">
                  <c:v>20.655131056393973</c:v>
                </c:pt>
                <c:pt idx="2284">
                  <c:v>20.655131056393973</c:v>
                </c:pt>
                <c:pt idx="2285">
                  <c:v>20.655131056393973</c:v>
                </c:pt>
                <c:pt idx="2286">
                  <c:v>20.655131056393973</c:v>
                </c:pt>
                <c:pt idx="2287">
                  <c:v>20.655131056393973</c:v>
                </c:pt>
                <c:pt idx="2288">
                  <c:v>20.655131056393973</c:v>
                </c:pt>
                <c:pt idx="2289">
                  <c:v>20.655131056393973</c:v>
                </c:pt>
                <c:pt idx="2290">
                  <c:v>20.655131056393973</c:v>
                </c:pt>
                <c:pt idx="2291">
                  <c:v>20.655131056393973</c:v>
                </c:pt>
                <c:pt idx="2292">
                  <c:v>20.655131056393973</c:v>
                </c:pt>
                <c:pt idx="2293">
                  <c:v>20.655131056393973</c:v>
                </c:pt>
                <c:pt idx="2294">
                  <c:v>20.655131056393973</c:v>
                </c:pt>
                <c:pt idx="2295">
                  <c:v>20.655131056393973</c:v>
                </c:pt>
                <c:pt idx="2296">
                  <c:v>20.655131056393973</c:v>
                </c:pt>
                <c:pt idx="2297">
                  <c:v>20.655131056393973</c:v>
                </c:pt>
                <c:pt idx="2298">
                  <c:v>20.655131056393973</c:v>
                </c:pt>
                <c:pt idx="2299">
                  <c:v>20.655131056393973</c:v>
                </c:pt>
                <c:pt idx="2300">
                  <c:v>20.655131056393973</c:v>
                </c:pt>
                <c:pt idx="2301">
                  <c:v>20.655131056393973</c:v>
                </c:pt>
                <c:pt idx="2302">
                  <c:v>20.655131056393973</c:v>
                </c:pt>
                <c:pt idx="2303">
                  <c:v>20.655131056393973</c:v>
                </c:pt>
                <c:pt idx="2304">
                  <c:v>20.655131056393973</c:v>
                </c:pt>
                <c:pt idx="2305">
                  <c:v>20.655131056393973</c:v>
                </c:pt>
                <c:pt idx="2306">
                  <c:v>20.655131056393973</c:v>
                </c:pt>
                <c:pt idx="2307">
                  <c:v>20.655131056393973</c:v>
                </c:pt>
                <c:pt idx="2308">
                  <c:v>20.655131056393973</c:v>
                </c:pt>
                <c:pt idx="2309">
                  <c:v>20.655131056393973</c:v>
                </c:pt>
                <c:pt idx="2310">
                  <c:v>20.655131056393973</c:v>
                </c:pt>
                <c:pt idx="2311">
                  <c:v>20.655131056393973</c:v>
                </c:pt>
                <c:pt idx="2312">
                  <c:v>20.655131056393973</c:v>
                </c:pt>
                <c:pt idx="2313">
                  <c:v>20.655131056393973</c:v>
                </c:pt>
                <c:pt idx="2314">
                  <c:v>20.655131056393973</c:v>
                </c:pt>
                <c:pt idx="2315">
                  <c:v>20.655131056393973</c:v>
                </c:pt>
                <c:pt idx="2316">
                  <c:v>20.655131056393973</c:v>
                </c:pt>
                <c:pt idx="2317">
                  <c:v>20.655131056393973</c:v>
                </c:pt>
                <c:pt idx="2318">
                  <c:v>20.655131056393973</c:v>
                </c:pt>
                <c:pt idx="2319">
                  <c:v>20.655131056393973</c:v>
                </c:pt>
                <c:pt idx="2320">
                  <c:v>20.655131056393973</c:v>
                </c:pt>
                <c:pt idx="2321">
                  <c:v>20.655131056393973</c:v>
                </c:pt>
                <c:pt idx="2322">
                  <c:v>20.655131056393973</c:v>
                </c:pt>
                <c:pt idx="2323">
                  <c:v>20.655131056393973</c:v>
                </c:pt>
                <c:pt idx="2324">
                  <c:v>20.655131056393973</c:v>
                </c:pt>
                <c:pt idx="2325">
                  <c:v>20.655131056393973</c:v>
                </c:pt>
                <c:pt idx="2326">
                  <c:v>20.655131056393973</c:v>
                </c:pt>
                <c:pt idx="2327">
                  <c:v>20.655131056393973</c:v>
                </c:pt>
                <c:pt idx="2328">
                  <c:v>20.655131056393973</c:v>
                </c:pt>
                <c:pt idx="2329">
                  <c:v>20.655131056393973</c:v>
                </c:pt>
                <c:pt idx="2330">
                  <c:v>20.655131056393973</c:v>
                </c:pt>
                <c:pt idx="2331">
                  <c:v>20.655131056393973</c:v>
                </c:pt>
                <c:pt idx="2332">
                  <c:v>20.655131056393973</c:v>
                </c:pt>
                <c:pt idx="2333">
                  <c:v>20.655131056393973</c:v>
                </c:pt>
                <c:pt idx="2334">
                  <c:v>20.655131056393973</c:v>
                </c:pt>
                <c:pt idx="2335">
                  <c:v>20.655131056393973</c:v>
                </c:pt>
                <c:pt idx="2336">
                  <c:v>20.655131056393973</c:v>
                </c:pt>
                <c:pt idx="2337">
                  <c:v>20.655131056393973</c:v>
                </c:pt>
                <c:pt idx="2338">
                  <c:v>20.655131056393973</c:v>
                </c:pt>
                <c:pt idx="2339">
                  <c:v>20.655131056393973</c:v>
                </c:pt>
                <c:pt idx="2340">
                  <c:v>20.655131056393973</c:v>
                </c:pt>
                <c:pt idx="2341">
                  <c:v>20.655131056393973</c:v>
                </c:pt>
                <c:pt idx="2342">
                  <c:v>20.655131056393973</c:v>
                </c:pt>
                <c:pt idx="2343">
                  <c:v>20.655131056393973</c:v>
                </c:pt>
                <c:pt idx="2344">
                  <c:v>20.655131056393973</c:v>
                </c:pt>
                <c:pt idx="2345">
                  <c:v>20.655131056393973</c:v>
                </c:pt>
                <c:pt idx="2346">
                  <c:v>20.655131056393973</c:v>
                </c:pt>
                <c:pt idx="2347">
                  <c:v>20.655131056393973</c:v>
                </c:pt>
                <c:pt idx="2348">
                  <c:v>20.655131056393973</c:v>
                </c:pt>
                <c:pt idx="2349">
                  <c:v>20.655131056393973</c:v>
                </c:pt>
                <c:pt idx="2350">
                  <c:v>20.655131056393973</c:v>
                </c:pt>
                <c:pt idx="2351">
                  <c:v>20.655131056393973</c:v>
                </c:pt>
                <c:pt idx="2352">
                  <c:v>20.655131056393973</c:v>
                </c:pt>
                <c:pt idx="2353">
                  <c:v>20.655131056393973</c:v>
                </c:pt>
                <c:pt idx="2354">
                  <c:v>20.655131056393973</c:v>
                </c:pt>
                <c:pt idx="2355">
                  <c:v>20.655131056393973</c:v>
                </c:pt>
                <c:pt idx="2356">
                  <c:v>20.655131056393973</c:v>
                </c:pt>
                <c:pt idx="2357">
                  <c:v>20.655131056393973</c:v>
                </c:pt>
                <c:pt idx="2358">
                  <c:v>20.655131056393973</c:v>
                </c:pt>
                <c:pt idx="2359">
                  <c:v>20.655131056393973</c:v>
                </c:pt>
                <c:pt idx="2360">
                  <c:v>20.655131056393973</c:v>
                </c:pt>
                <c:pt idx="2361">
                  <c:v>20.655131056393973</c:v>
                </c:pt>
                <c:pt idx="2362">
                  <c:v>20.655131056393973</c:v>
                </c:pt>
                <c:pt idx="2363">
                  <c:v>20.655131056393973</c:v>
                </c:pt>
                <c:pt idx="2364">
                  <c:v>20.655131056393973</c:v>
                </c:pt>
                <c:pt idx="2365">
                  <c:v>20.655131056393973</c:v>
                </c:pt>
                <c:pt idx="2366">
                  <c:v>20.655131056393973</c:v>
                </c:pt>
                <c:pt idx="2367">
                  <c:v>20.655131056393973</c:v>
                </c:pt>
                <c:pt idx="2368">
                  <c:v>20.655131056393973</c:v>
                </c:pt>
                <c:pt idx="2369">
                  <c:v>20.655131056393973</c:v>
                </c:pt>
                <c:pt idx="2370">
                  <c:v>20.655131056393973</c:v>
                </c:pt>
                <c:pt idx="2371">
                  <c:v>20.655131056393973</c:v>
                </c:pt>
                <c:pt idx="2372">
                  <c:v>20.655131056393973</c:v>
                </c:pt>
                <c:pt idx="2373">
                  <c:v>20.655131056393973</c:v>
                </c:pt>
                <c:pt idx="2374">
                  <c:v>20.655131056393973</c:v>
                </c:pt>
                <c:pt idx="2375">
                  <c:v>20.655131056393973</c:v>
                </c:pt>
                <c:pt idx="2376">
                  <c:v>20.655131056393973</c:v>
                </c:pt>
                <c:pt idx="2377">
                  <c:v>20.655131056393973</c:v>
                </c:pt>
                <c:pt idx="2378">
                  <c:v>20.655131056393973</c:v>
                </c:pt>
                <c:pt idx="2379">
                  <c:v>20.655131056393973</c:v>
                </c:pt>
                <c:pt idx="2380">
                  <c:v>20.655131056393973</c:v>
                </c:pt>
                <c:pt idx="2381">
                  <c:v>20.655131056393973</c:v>
                </c:pt>
                <c:pt idx="2382">
                  <c:v>20.655131056393973</c:v>
                </c:pt>
                <c:pt idx="2383">
                  <c:v>20.655131056393973</c:v>
                </c:pt>
                <c:pt idx="2384">
                  <c:v>20.655131056393973</c:v>
                </c:pt>
                <c:pt idx="2385">
                  <c:v>20.655131056393973</c:v>
                </c:pt>
                <c:pt idx="2386">
                  <c:v>20.655131056393973</c:v>
                </c:pt>
                <c:pt idx="2387">
                  <c:v>20.655131056393973</c:v>
                </c:pt>
                <c:pt idx="2388">
                  <c:v>20.655131056393973</c:v>
                </c:pt>
                <c:pt idx="2389">
                  <c:v>20.655131056393973</c:v>
                </c:pt>
                <c:pt idx="2390">
                  <c:v>20.655131056393973</c:v>
                </c:pt>
                <c:pt idx="2391">
                  <c:v>20.655131056393973</c:v>
                </c:pt>
                <c:pt idx="2392">
                  <c:v>20.655131056393973</c:v>
                </c:pt>
                <c:pt idx="2393">
                  <c:v>20.655131056393973</c:v>
                </c:pt>
                <c:pt idx="2394">
                  <c:v>20.655131056393973</c:v>
                </c:pt>
                <c:pt idx="2395">
                  <c:v>20.655131056393973</c:v>
                </c:pt>
                <c:pt idx="2396">
                  <c:v>20.655131056393973</c:v>
                </c:pt>
                <c:pt idx="2397">
                  <c:v>20.655131056393973</c:v>
                </c:pt>
                <c:pt idx="2398">
                  <c:v>20.655131056393973</c:v>
                </c:pt>
                <c:pt idx="2399">
                  <c:v>20.655131056393973</c:v>
                </c:pt>
                <c:pt idx="2400">
                  <c:v>20.655131056393973</c:v>
                </c:pt>
                <c:pt idx="2401">
                  <c:v>20.655131056393973</c:v>
                </c:pt>
                <c:pt idx="2402">
                  <c:v>20.655131056393973</c:v>
                </c:pt>
                <c:pt idx="2403">
                  <c:v>20.655131056393973</c:v>
                </c:pt>
                <c:pt idx="2404">
                  <c:v>20.655131056393973</c:v>
                </c:pt>
                <c:pt idx="2405">
                  <c:v>20.655131056393973</c:v>
                </c:pt>
                <c:pt idx="2406">
                  <c:v>20.655131056393973</c:v>
                </c:pt>
                <c:pt idx="2407">
                  <c:v>20.655131056393973</c:v>
                </c:pt>
                <c:pt idx="2408">
                  <c:v>20.655131056393973</c:v>
                </c:pt>
                <c:pt idx="2409">
                  <c:v>20.655131056393973</c:v>
                </c:pt>
                <c:pt idx="2410">
                  <c:v>20.655131056393973</c:v>
                </c:pt>
                <c:pt idx="2411">
                  <c:v>20.655131056393973</c:v>
                </c:pt>
                <c:pt idx="2412">
                  <c:v>20.655131056393973</c:v>
                </c:pt>
                <c:pt idx="2413">
                  <c:v>20.655131056393973</c:v>
                </c:pt>
                <c:pt idx="2414">
                  <c:v>20.655131056393973</c:v>
                </c:pt>
                <c:pt idx="2415">
                  <c:v>20.655131056393973</c:v>
                </c:pt>
                <c:pt idx="2416">
                  <c:v>20.655131056393973</c:v>
                </c:pt>
                <c:pt idx="2417">
                  <c:v>20.655131056393973</c:v>
                </c:pt>
                <c:pt idx="2418">
                  <c:v>20.655131056393973</c:v>
                </c:pt>
                <c:pt idx="2419">
                  <c:v>20.655131056393973</c:v>
                </c:pt>
                <c:pt idx="2420">
                  <c:v>20.655131056393973</c:v>
                </c:pt>
                <c:pt idx="2421">
                  <c:v>20.655131056393973</c:v>
                </c:pt>
                <c:pt idx="2422">
                  <c:v>20.655131056393973</c:v>
                </c:pt>
                <c:pt idx="2423">
                  <c:v>20.655131056393973</c:v>
                </c:pt>
                <c:pt idx="2424">
                  <c:v>20.655131056393973</c:v>
                </c:pt>
                <c:pt idx="2425">
                  <c:v>20.655131056393973</c:v>
                </c:pt>
                <c:pt idx="2426">
                  <c:v>20.655131056393973</c:v>
                </c:pt>
                <c:pt idx="2427">
                  <c:v>20.655131056393973</c:v>
                </c:pt>
                <c:pt idx="2428">
                  <c:v>20.655131056393973</c:v>
                </c:pt>
                <c:pt idx="2429">
                  <c:v>20.655131056393973</c:v>
                </c:pt>
                <c:pt idx="2430">
                  <c:v>20.655131056393973</c:v>
                </c:pt>
                <c:pt idx="2431">
                  <c:v>20.655131056393973</c:v>
                </c:pt>
                <c:pt idx="2432">
                  <c:v>20.655131056393973</c:v>
                </c:pt>
                <c:pt idx="2433">
                  <c:v>20.655131056393973</c:v>
                </c:pt>
                <c:pt idx="2434">
                  <c:v>20.655131056393973</c:v>
                </c:pt>
                <c:pt idx="2435">
                  <c:v>20.655131056393973</c:v>
                </c:pt>
                <c:pt idx="2436">
                  <c:v>20.655131056393973</c:v>
                </c:pt>
                <c:pt idx="2437">
                  <c:v>20.655131056393973</c:v>
                </c:pt>
                <c:pt idx="2438">
                  <c:v>20.655131056393973</c:v>
                </c:pt>
                <c:pt idx="2439">
                  <c:v>20.655131056393973</c:v>
                </c:pt>
                <c:pt idx="2440">
                  <c:v>20.655131056393973</c:v>
                </c:pt>
                <c:pt idx="2441">
                  <c:v>20.655131056393973</c:v>
                </c:pt>
                <c:pt idx="2442">
                  <c:v>20.655131056393973</c:v>
                </c:pt>
                <c:pt idx="2443">
                  <c:v>20.655131056393973</c:v>
                </c:pt>
                <c:pt idx="2444">
                  <c:v>20.655131056393973</c:v>
                </c:pt>
                <c:pt idx="2445">
                  <c:v>20.655131056393973</c:v>
                </c:pt>
                <c:pt idx="2446">
                  <c:v>20.655131056393973</c:v>
                </c:pt>
                <c:pt idx="2447">
                  <c:v>20.655131056393973</c:v>
                </c:pt>
                <c:pt idx="2448">
                  <c:v>20.655131056393973</c:v>
                </c:pt>
                <c:pt idx="2449">
                  <c:v>20.655131056393973</c:v>
                </c:pt>
                <c:pt idx="2450">
                  <c:v>20.655131056393973</c:v>
                </c:pt>
                <c:pt idx="2451">
                  <c:v>20.655131056393973</c:v>
                </c:pt>
                <c:pt idx="2452">
                  <c:v>20.655131056393973</c:v>
                </c:pt>
                <c:pt idx="2453">
                  <c:v>20.655131056393973</c:v>
                </c:pt>
                <c:pt idx="2454">
                  <c:v>20.655131056393973</c:v>
                </c:pt>
                <c:pt idx="2455">
                  <c:v>20.655131056393973</c:v>
                </c:pt>
                <c:pt idx="2456">
                  <c:v>20.655131056393973</c:v>
                </c:pt>
                <c:pt idx="2457">
                  <c:v>20.655131056393973</c:v>
                </c:pt>
                <c:pt idx="2458">
                  <c:v>20.655131056393973</c:v>
                </c:pt>
                <c:pt idx="2459">
                  <c:v>20.655131056393973</c:v>
                </c:pt>
                <c:pt idx="2460">
                  <c:v>20.655131056393973</c:v>
                </c:pt>
                <c:pt idx="2461">
                  <c:v>20.655131056393973</c:v>
                </c:pt>
                <c:pt idx="2462">
                  <c:v>20.655131056393973</c:v>
                </c:pt>
                <c:pt idx="2463">
                  <c:v>20.655131056393973</c:v>
                </c:pt>
                <c:pt idx="2464">
                  <c:v>20.655131056393973</c:v>
                </c:pt>
                <c:pt idx="2465">
                  <c:v>20.655131056393973</c:v>
                </c:pt>
                <c:pt idx="2466">
                  <c:v>20.655131056393973</c:v>
                </c:pt>
                <c:pt idx="2467">
                  <c:v>20.655131056393973</c:v>
                </c:pt>
                <c:pt idx="2468">
                  <c:v>20.655131056393973</c:v>
                </c:pt>
                <c:pt idx="2469">
                  <c:v>20.655131056393973</c:v>
                </c:pt>
                <c:pt idx="2470">
                  <c:v>20.655131056393973</c:v>
                </c:pt>
                <c:pt idx="2471">
                  <c:v>20.655131056393973</c:v>
                </c:pt>
                <c:pt idx="2472">
                  <c:v>20.655131056393973</c:v>
                </c:pt>
                <c:pt idx="2473">
                  <c:v>20.655131056393973</c:v>
                </c:pt>
                <c:pt idx="2474">
                  <c:v>20.655131056393973</c:v>
                </c:pt>
                <c:pt idx="2475">
                  <c:v>20.655131056393973</c:v>
                </c:pt>
                <c:pt idx="2476">
                  <c:v>20.655131056393973</c:v>
                </c:pt>
                <c:pt idx="2477">
                  <c:v>20.655131056393973</c:v>
                </c:pt>
                <c:pt idx="2478">
                  <c:v>20.655131056393973</c:v>
                </c:pt>
                <c:pt idx="2479">
                  <c:v>20.655131056393973</c:v>
                </c:pt>
                <c:pt idx="2480">
                  <c:v>20.655131056393973</c:v>
                </c:pt>
                <c:pt idx="2481">
                  <c:v>20.655131056393973</c:v>
                </c:pt>
                <c:pt idx="2482">
                  <c:v>20.655131056393973</c:v>
                </c:pt>
                <c:pt idx="2483">
                  <c:v>20.655131056393973</c:v>
                </c:pt>
                <c:pt idx="2484">
                  <c:v>20.655131056393973</c:v>
                </c:pt>
                <c:pt idx="2485">
                  <c:v>20.655131056393973</c:v>
                </c:pt>
                <c:pt idx="2486">
                  <c:v>20.655131056393973</c:v>
                </c:pt>
                <c:pt idx="2487">
                  <c:v>20.655131056393973</c:v>
                </c:pt>
                <c:pt idx="2488">
                  <c:v>20.655131056393973</c:v>
                </c:pt>
                <c:pt idx="2489">
                  <c:v>20.655131056393973</c:v>
                </c:pt>
                <c:pt idx="2490">
                  <c:v>20.655131056393973</c:v>
                </c:pt>
                <c:pt idx="2491">
                  <c:v>20.655131056393973</c:v>
                </c:pt>
                <c:pt idx="2492">
                  <c:v>20.655131056393973</c:v>
                </c:pt>
                <c:pt idx="2493">
                  <c:v>20.655131056393973</c:v>
                </c:pt>
                <c:pt idx="2494">
                  <c:v>20.655131056393973</c:v>
                </c:pt>
                <c:pt idx="2495">
                  <c:v>20.655131056393973</c:v>
                </c:pt>
                <c:pt idx="2496">
                  <c:v>20.655131056393973</c:v>
                </c:pt>
                <c:pt idx="2497">
                  <c:v>20.655131056393973</c:v>
                </c:pt>
                <c:pt idx="2498">
                  <c:v>20.655131056393973</c:v>
                </c:pt>
                <c:pt idx="2499">
                  <c:v>20.655131056393973</c:v>
                </c:pt>
                <c:pt idx="2500">
                  <c:v>20.655131056393973</c:v>
                </c:pt>
                <c:pt idx="2501">
                  <c:v>20.655131056393973</c:v>
                </c:pt>
                <c:pt idx="2502">
                  <c:v>20.655131056393973</c:v>
                </c:pt>
                <c:pt idx="2503">
                  <c:v>20.655131056393973</c:v>
                </c:pt>
                <c:pt idx="2504">
                  <c:v>20.655131056393973</c:v>
                </c:pt>
                <c:pt idx="2505">
                  <c:v>20.655131056393973</c:v>
                </c:pt>
                <c:pt idx="2506">
                  <c:v>20.655131056393973</c:v>
                </c:pt>
                <c:pt idx="2507">
                  <c:v>20.655131056393973</c:v>
                </c:pt>
                <c:pt idx="2508">
                  <c:v>20.655131056393973</c:v>
                </c:pt>
                <c:pt idx="2509">
                  <c:v>20.655131056393973</c:v>
                </c:pt>
                <c:pt idx="2510">
                  <c:v>20.655131056393973</c:v>
                </c:pt>
                <c:pt idx="2511">
                  <c:v>20.655131056393973</c:v>
                </c:pt>
                <c:pt idx="2512">
                  <c:v>20.655131056393973</c:v>
                </c:pt>
                <c:pt idx="2513">
                  <c:v>20.655131056393973</c:v>
                </c:pt>
                <c:pt idx="2514">
                  <c:v>20.655131056393973</c:v>
                </c:pt>
                <c:pt idx="2515">
                  <c:v>20.655131056393973</c:v>
                </c:pt>
                <c:pt idx="2516">
                  <c:v>20.655131056393973</c:v>
                </c:pt>
                <c:pt idx="2517">
                  <c:v>20.655131056393973</c:v>
                </c:pt>
              </c:numCache>
            </c:numRef>
          </c:val>
          <c:smooth val="0"/>
          <c:extLst xmlns:c16r2="http://schemas.microsoft.com/office/drawing/2015/06/chart">
            <c:ext xmlns:c16="http://schemas.microsoft.com/office/drawing/2014/chart" uri="{C3380CC4-5D6E-409C-BE32-E72D297353CC}">
              <c16:uniqueId val="{00000001-17DE-4E25-884A-E8F872F9C8DF}"/>
            </c:ext>
          </c:extLst>
        </c:ser>
        <c:ser>
          <c:idx val="4"/>
          <c:order val="2"/>
          <c:tx>
            <c:strRef>
              <c:f>Sheet1!$AF$4</c:f>
              <c:strCache>
                <c:ptCount val="1"/>
                <c:pt idx="0">
                  <c:v>6M average</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F$5:$AF$2522</c:f>
              <c:numCache>
                <c:formatCode>General</c:formatCode>
                <c:ptCount val="2518"/>
                <c:pt idx="0">
                  <c:v>14.79418604651163</c:v>
                </c:pt>
                <c:pt idx="1">
                  <c:v>14.79418604651163</c:v>
                </c:pt>
                <c:pt idx="2">
                  <c:v>14.79418604651163</c:v>
                </c:pt>
                <c:pt idx="3">
                  <c:v>14.79418604651163</c:v>
                </c:pt>
                <c:pt idx="4">
                  <c:v>14.79418604651163</c:v>
                </c:pt>
                <c:pt idx="5">
                  <c:v>14.79418604651163</c:v>
                </c:pt>
                <c:pt idx="6">
                  <c:v>14.79418604651163</c:v>
                </c:pt>
                <c:pt idx="7">
                  <c:v>14.79418604651163</c:v>
                </c:pt>
                <c:pt idx="8">
                  <c:v>14.79418604651163</c:v>
                </c:pt>
                <c:pt idx="9">
                  <c:v>14.79418604651163</c:v>
                </c:pt>
                <c:pt idx="10">
                  <c:v>14.79418604651163</c:v>
                </c:pt>
                <c:pt idx="11">
                  <c:v>14.79418604651163</c:v>
                </c:pt>
                <c:pt idx="12">
                  <c:v>14.79418604651163</c:v>
                </c:pt>
                <c:pt idx="13">
                  <c:v>14.79418604651163</c:v>
                </c:pt>
                <c:pt idx="14">
                  <c:v>14.79418604651163</c:v>
                </c:pt>
                <c:pt idx="15">
                  <c:v>14.79418604651163</c:v>
                </c:pt>
                <c:pt idx="16">
                  <c:v>14.79418604651163</c:v>
                </c:pt>
                <c:pt idx="17">
                  <c:v>14.79418604651163</c:v>
                </c:pt>
                <c:pt idx="18">
                  <c:v>14.79418604651163</c:v>
                </c:pt>
                <c:pt idx="19">
                  <c:v>14.79418604651163</c:v>
                </c:pt>
                <c:pt idx="20">
                  <c:v>14.79418604651163</c:v>
                </c:pt>
                <c:pt idx="21">
                  <c:v>14.79418604651163</c:v>
                </c:pt>
                <c:pt idx="22">
                  <c:v>14.79418604651163</c:v>
                </c:pt>
                <c:pt idx="23">
                  <c:v>14.79418604651163</c:v>
                </c:pt>
                <c:pt idx="24">
                  <c:v>14.79418604651163</c:v>
                </c:pt>
                <c:pt idx="25">
                  <c:v>14.79418604651163</c:v>
                </c:pt>
                <c:pt idx="26">
                  <c:v>14.79418604651163</c:v>
                </c:pt>
                <c:pt idx="27">
                  <c:v>14.79418604651163</c:v>
                </c:pt>
                <c:pt idx="28">
                  <c:v>14.79418604651163</c:v>
                </c:pt>
                <c:pt idx="29">
                  <c:v>14.79418604651163</c:v>
                </c:pt>
                <c:pt idx="30">
                  <c:v>14.79418604651163</c:v>
                </c:pt>
                <c:pt idx="31">
                  <c:v>14.79418604651163</c:v>
                </c:pt>
                <c:pt idx="32">
                  <c:v>14.79418604651163</c:v>
                </c:pt>
                <c:pt idx="33">
                  <c:v>14.79418604651163</c:v>
                </c:pt>
                <c:pt idx="34">
                  <c:v>14.79418604651163</c:v>
                </c:pt>
                <c:pt idx="35">
                  <c:v>14.79418604651163</c:v>
                </c:pt>
                <c:pt idx="36">
                  <c:v>14.79418604651163</c:v>
                </c:pt>
                <c:pt idx="37">
                  <c:v>14.79418604651163</c:v>
                </c:pt>
                <c:pt idx="38">
                  <c:v>14.79418604651163</c:v>
                </c:pt>
                <c:pt idx="39">
                  <c:v>14.79418604651163</c:v>
                </c:pt>
                <c:pt idx="40">
                  <c:v>14.79418604651163</c:v>
                </c:pt>
                <c:pt idx="41">
                  <c:v>14.79418604651163</c:v>
                </c:pt>
                <c:pt idx="42">
                  <c:v>14.79418604651163</c:v>
                </c:pt>
                <c:pt idx="43">
                  <c:v>14.79418604651163</c:v>
                </c:pt>
                <c:pt idx="44">
                  <c:v>14.79418604651163</c:v>
                </c:pt>
                <c:pt idx="45">
                  <c:v>14.79418604651163</c:v>
                </c:pt>
                <c:pt idx="46">
                  <c:v>14.79418604651163</c:v>
                </c:pt>
                <c:pt idx="47">
                  <c:v>14.79418604651163</c:v>
                </c:pt>
                <c:pt idx="48">
                  <c:v>14.79418604651163</c:v>
                </c:pt>
                <c:pt idx="49">
                  <c:v>14.79418604651163</c:v>
                </c:pt>
                <c:pt idx="50">
                  <c:v>14.79418604651163</c:v>
                </c:pt>
                <c:pt idx="51">
                  <c:v>14.79418604651163</c:v>
                </c:pt>
                <c:pt idx="52">
                  <c:v>14.79418604651163</c:v>
                </c:pt>
                <c:pt idx="53">
                  <c:v>14.79418604651163</c:v>
                </c:pt>
                <c:pt idx="54">
                  <c:v>14.79418604651163</c:v>
                </c:pt>
                <c:pt idx="55">
                  <c:v>14.79418604651163</c:v>
                </c:pt>
                <c:pt idx="56">
                  <c:v>14.79418604651163</c:v>
                </c:pt>
                <c:pt idx="57">
                  <c:v>14.79418604651163</c:v>
                </c:pt>
                <c:pt idx="58">
                  <c:v>14.79418604651163</c:v>
                </c:pt>
                <c:pt idx="59">
                  <c:v>14.79418604651163</c:v>
                </c:pt>
                <c:pt idx="60">
                  <c:v>14.79418604651163</c:v>
                </c:pt>
                <c:pt idx="61">
                  <c:v>14.79418604651163</c:v>
                </c:pt>
                <c:pt idx="62">
                  <c:v>14.79418604651163</c:v>
                </c:pt>
                <c:pt idx="63">
                  <c:v>14.79418604651163</c:v>
                </c:pt>
                <c:pt idx="64">
                  <c:v>14.79418604651163</c:v>
                </c:pt>
                <c:pt idx="65">
                  <c:v>14.79418604651163</c:v>
                </c:pt>
                <c:pt idx="66">
                  <c:v>14.79418604651163</c:v>
                </c:pt>
                <c:pt idx="67">
                  <c:v>14.79418604651163</c:v>
                </c:pt>
                <c:pt idx="68">
                  <c:v>14.79418604651163</c:v>
                </c:pt>
                <c:pt idx="69">
                  <c:v>14.79418604651163</c:v>
                </c:pt>
                <c:pt idx="70">
                  <c:v>14.79418604651163</c:v>
                </c:pt>
                <c:pt idx="71">
                  <c:v>14.79418604651163</c:v>
                </c:pt>
                <c:pt idx="72">
                  <c:v>14.79418604651163</c:v>
                </c:pt>
                <c:pt idx="73">
                  <c:v>14.79418604651163</c:v>
                </c:pt>
                <c:pt idx="74">
                  <c:v>14.79418604651163</c:v>
                </c:pt>
                <c:pt idx="75">
                  <c:v>14.79418604651163</c:v>
                </c:pt>
                <c:pt idx="76">
                  <c:v>14.79418604651163</c:v>
                </c:pt>
                <c:pt idx="77">
                  <c:v>14.79418604651163</c:v>
                </c:pt>
                <c:pt idx="78">
                  <c:v>14.79418604651163</c:v>
                </c:pt>
                <c:pt idx="79">
                  <c:v>14.79418604651163</c:v>
                </c:pt>
                <c:pt idx="80">
                  <c:v>14.79418604651163</c:v>
                </c:pt>
                <c:pt idx="81">
                  <c:v>14.79418604651163</c:v>
                </c:pt>
                <c:pt idx="82">
                  <c:v>14.79418604651163</c:v>
                </c:pt>
                <c:pt idx="83">
                  <c:v>14.79418604651163</c:v>
                </c:pt>
                <c:pt idx="84">
                  <c:v>14.79418604651163</c:v>
                </c:pt>
                <c:pt idx="85">
                  <c:v>14.79418604651163</c:v>
                </c:pt>
                <c:pt idx="86">
                  <c:v>14.79418604651163</c:v>
                </c:pt>
                <c:pt idx="87">
                  <c:v>14.79418604651163</c:v>
                </c:pt>
                <c:pt idx="88">
                  <c:v>14.79418604651163</c:v>
                </c:pt>
                <c:pt idx="89">
                  <c:v>14.79418604651163</c:v>
                </c:pt>
                <c:pt idx="90">
                  <c:v>14.79418604651163</c:v>
                </c:pt>
                <c:pt idx="91">
                  <c:v>14.79418604651163</c:v>
                </c:pt>
                <c:pt idx="92">
                  <c:v>14.79418604651163</c:v>
                </c:pt>
                <c:pt idx="93">
                  <c:v>14.79418604651163</c:v>
                </c:pt>
                <c:pt idx="94">
                  <c:v>14.79418604651163</c:v>
                </c:pt>
                <c:pt idx="95">
                  <c:v>14.79418604651163</c:v>
                </c:pt>
                <c:pt idx="96">
                  <c:v>14.79418604651163</c:v>
                </c:pt>
                <c:pt idx="97">
                  <c:v>14.79418604651163</c:v>
                </c:pt>
                <c:pt idx="98">
                  <c:v>14.79418604651163</c:v>
                </c:pt>
                <c:pt idx="99">
                  <c:v>14.79418604651163</c:v>
                </c:pt>
                <c:pt idx="100">
                  <c:v>14.79418604651163</c:v>
                </c:pt>
                <c:pt idx="101">
                  <c:v>14.79418604651163</c:v>
                </c:pt>
                <c:pt idx="102">
                  <c:v>14.79418604651163</c:v>
                </c:pt>
                <c:pt idx="103">
                  <c:v>14.79418604651163</c:v>
                </c:pt>
                <c:pt idx="104">
                  <c:v>14.79418604651163</c:v>
                </c:pt>
                <c:pt idx="105">
                  <c:v>14.79418604651163</c:v>
                </c:pt>
                <c:pt idx="106">
                  <c:v>14.79418604651163</c:v>
                </c:pt>
                <c:pt idx="107">
                  <c:v>14.79418604651163</c:v>
                </c:pt>
                <c:pt idx="108">
                  <c:v>14.79418604651163</c:v>
                </c:pt>
                <c:pt idx="109">
                  <c:v>14.79418604651163</c:v>
                </c:pt>
                <c:pt idx="110">
                  <c:v>14.79418604651163</c:v>
                </c:pt>
                <c:pt idx="111">
                  <c:v>14.79418604651163</c:v>
                </c:pt>
                <c:pt idx="112">
                  <c:v>14.79418604651163</c:v>
                </c:pt>
                <c:pt idx="113">
                  <c:v>14.79418604651163</c:v>
                </c:pt>
                <c:pt idx="114">
                  <c:v>14.79418604651163</c:v>
                </c:pt>
                <c:pt idx="115">
                  <c:v>14.79418604651163</c:v>
                </c:pt>
                <c:pt idx="116">
                  <c:v>14.79418604651163</c:v>
                </c:pt>
                <c:pt idx="117">
                  <c:v>14.79418604651163</c:v>
                </c:pt>
                <c:pt idx="118">
                  <c:v>14.79418604651163</c:v>
                </c:pt>
                <c:pt idx="119">
                  <c:v>14.79418604651163</c:v>
                </c:pt>
                <c:pt idx="120">
                  <c:v>14.79418604651163</c:v>
                </c:pt>
                <c:pt idx="121">
                  <c:v>14.79418604651163</c:v>
                </c:pt>
                <c:pt idx="122">
                  <c:v>14.79418604651163</c:v>
                </c:pt>
                <c:pt idx="123">
                  <c:v>14.79418604651163</c:v>
                </c:pt>
                <c:pt idx="124">
                  <c:v>14.79418604651163</c:v>
                </c:pt>
                <c:pt idx="125">
                  <c:v>14.79418604651163</c:v>
                </c:pt>
                <c:pt idx="126">
                  <c:v>14.79418604651163</c:v>
                </c:pt>
                <c:pt idx="127">
                  <c:v>14.79418604651163</c:v>
                </c:pt>
                <c:pt idx="128">
                  <c:v>14.79418604651163</c:v>
                </c:pt>
                <c:pt idx="129">
                  <c:v>14.79418604651163</c:v>
                </c:pt>
                <c:pt idx="130">
                  <c:v>14.79418604651163</c:v>
                </c:pt>
                <c:pt idx="131">
                  <c:v>14.79418604651163</c:v>
                </c:pt>
                <c:pt idx="132">
                  <c:v>14.79418604651163</c:v>
                </c:pt>
                <c:pt idx="133">
                  <c:v>14.79418604651163</c:v>
                </c:pt>
                <c:pt idx="134">
                  <c:v>14.79418604651163</c:v>
                </c:pt>
                <c:pt idx="135">
                  <c:v>14.79418604651163</c:v>
                </c:pt>
                <c:pt idx="136">
                  <c:v>14.79418604651163</c:v>
                </c:pt>
                <c:pt idx="137">
                  <c:v>14.79418604651163</c:v>
                </c:pt>
                <c:pt idx="138">
                  <c:v>14.79418604651163</c:v>
                </c:pt>
                <c:pt idx="139">
                  <c:v>14.79418604651163</c:v>
                </c:pt>
                <c:pt idx="140">
                  <c:v>14.79418604651163</c:v>
                </c:pt>
                <c:pt idx="141">
                  <c:v>14.79418604651163</c:v>
                </c:pt>
                <c:pt idx="142">
                  <c:v>14.79418604651163</c:v>
                </c:pt>
                <c:pt idx="143">
                  <c:v>14.79418604651163</c:v>
                </c:pt>
                <c:pt idx="144">
                  <c:v>14.79418604651163</c:v>
                </c:pt>
                <c:pt idx="145">
                  <c:v>14.79418604651163</c:v>
                </c:pt>
                <c:pt idx="146">
                  <c:v>14.79418604651163</c:v>
                </c:pt>
                <c:pt idx="147">
                  <c:v>14.79418604651163</c:v>
                </c:pt>
                <c:pt idx="148">
                  <c:v>14.79418604651163</c:v>
                </c:pt>
                <c:pt idx="149">
                  <c:v>14.79418604651163</c:v>
                </c:pt>
                <c:pt idx="150">
                  <c:v>14.79418604651163</c:v>
                </c:pt>
                <c:pt idx="151">
                  <c:v>14.79418604651163</c:v>
                </c:pt>
                <c:pt idx="152">
                  <c:v>14.79418604651163</c:v>
                </c:pt>
                <c:pt idx="153">
                  <c:v>14.79418604651163</c:v>
                </c:pt>
                <c:pt idx="154">
                  <c:v>14.79418604651163</c:v>
                </c:pt>
                <c:pt idx="155">
                  <c:v>14.79418604651163</c:v>
                </c:pt>
                <c:pt idx="156">
                  <c:v>14.79418604651163</c:v>
                </c:pt>
                <c:pt idx="157">
                  <c:v>14.79418604651163</c:v>
                </c:pt>
                <c:pt idx="158">
                  <c:v>14.79418604651163</c:v>
                </c:pt>
                <c:pt idx="159">
                  <c:v>14.79418604651163</c:v>
                </c:pt>
                <c:pt idx="160">
                  <c:v>14.79418604651163</c:v>
                </c:pt>
                <c:pt idx="161">
                  <c:v>14.79418604651163</c:v>
                </c:pt>
                <c:pt idx="162">
                  <c:v>14.79418604651163</c:v>
                </c:pt>
                <c:pt idx="163">
                  <c:v>14.79418604651163</c:v>
                </c:pt>
                <c:pt idx="164">
                  <c:v>14.79418604651163</c:v>
                </c:pt>
                <c:pt idx="165">
                  <c:v>14.79418604651163</c:v>
                </c:pt>
                <c:pt idx="166">
                  <c:v>14.79418604651163</c:v>
                </c:pt>
                <c:pt idx="167">
                  <c:v>14.79418604651163</c:v>
                </c:pt>
                <c:pt idx="168">
                  <c:v>14.79418604651163</c:v>
                </c:pt>
                <c:pt idx="169">
                  <c:v>14.79418604651163</c:v>
                </c:pt>
                <c:pt idx="170">
                  <c:v>14.79418604651163</c:v>
                </c:pt>
                <c:pt idx="171">
                  <c:v>14.79418604651163</c:v>
                </c:pt>
                <c:pt idx="172">
                  <c:v>14.79418604651163</c:v>
                </c:pt>
                <c:pt idx="173">
                  <c:v>14.79418604651163</c:v>
                </c:pt>
                <c:pt idx="174">
                  <c:v>14.79418604651163</c:v>
                </c:pt>
                <c:pt idx="175">
                  <c:v>14.79418604651163</c:v>
                </c:pt>
                <c:pt idx="176">
                  <c:v>14.79418604651163</c:v>
                </c:pt>
                <c:pt idx="177">
                  <c:v>14.79418604651163</c:v>
                </c:pt>
                <c:pt idx="178">
                  <c:v>14.79418604651163</c:v>
                </c:pt>
                <c:pt idx="179">
                  <c:v>14.79418604651163</c:v>
                </c:pt>
                <c:pt idx="180">
                  <c:v>14.79418604651163</c:v>
                </c:pt>
                <c:pt idx="181">
                  <c:v>14.79418604651163</c:v>
                </c:pt>
                <c:pt idx="182">
                  <c:v>14.79418604651163</c:v>
                </c:pt>
                <c:pt idx="183">
                  <c:v>14.79418604651163</c:v>
                </c:pt>
                <c:pt idx="184">
                  <c:v>14.79418604651163</c:v>
                </c:pt>
                <c:pt idx="185">
                  <c:v>14.79418604651163</c:v>
                </c:pt>
                <c:pt idx="186">
                  <c:v>14.79418604651163</c:v>
                </c:pt>
                <c:pt idx="187">
                  <c:v>14.79418604651163</c:v>
                </c:pt>
                <c:pt idx="188">
                  <c:v>14.79418604651163</c:v>
                </c:pt>
                <c:pt idx="189">
                  <c:v>14.79418604651163</c:v>
                </c:pt>
                <c:pt idx="190">
                  <c:v>14.79418604651163</c:v>
                </c:pt>
                <c:pt idx="191">
                  <c:v>14.79418604651163</c:v>
                </c:pt>
                <c:pt idx="192">
                  <c:v>14.79418604651163</c:v>
                </c:pt>
                <c:pt idx="193">
                  <c:v>14.79418604651163</c:v>
                </c:pt>
                <c:pt idx="194">
                  <c:v>14.79418604651163</c:v>
                </c:pt>
                <c:pt idx="195">
                  <c:v>14.79418604651163</c:v>
                </c:pt>
                <c:pt idx="196">
                  <c:v>14.79418604651163</c:v>
                </c:pt>
                <c:pt idx="197">
                  <c:v>14.79418604651163</c:v>
                </c:pt>
                <c:pt idx="198">
                  <c:v>14.79418604651163</c:v>
                </c:pt>
                <c:pt idx="199">
                  <c:v>14.79418604651163</c:v>
                </c:pt>
                <c:pt idx="200">
                  <c:v>14.79418604651163</c:v>
                </c:pt>
                <c:pt idx="201">
                  <c:v>14.79418604651163</c:v>
                </c:pt>
                <c:pt idx="202">
                  <c:v>14.79418604651163</c:v>
                </c:pt>
                <c:pt idx="203">
                  <c:v>14.79418604651163</c:v>
                </c:pt>
                <c:pt idx="204">
                  <c:v>14.79418604651163</c:v>
                </c:pt>
                <c:pt idx="205">
                  <c:v>14.79418604651163</c:v>
                </c:pt>
                <c:pt idx="206">
                  <c:v>14.79418604651163</c:v>
                </c:pt>
                <c:pt idx="207">
                  <c:v>14.79418604651163</c:v>
                </c:pt>
                <c:pt idx="208">
                  <c:v>14.79418604651163</c:v>
                </c:pt>
                <c:pt idx="209">
                  <c:v>14.79418604651163</c:v>
                </c:pt>
                <c:pt idx="210">
                  <c:v>14.79418604651163</c:v>
                </c:pt>
                <c:pt idx="211">
                  <c:v>14.79418604651163</c:v>
                </c:pt>
                <c:pt idx="212">
                  <c:v>14.79418604651163</c:v>
                </c:pt>
                <c:pt idx="213">
                  <c:v>14.79418604651163</c:v>
                </c:pt>
                <c:pt idx="214">
                  <c:v>14.79418604651163</c:v>
                </c:pt>
                <c:pt idx="215">
                  <c:v>14.79418604651163</c:v>
                </c:pt>
                <c:pt idx="216">
                  <c:v>14.79418604651163</c:v>
                </c:pt>
                <c:pt idx="217">
                  <c:v>14.79418604651163</c:v>
                </c:pt>
                <c:pt idx="218">
                  <c:v>14.79418604651163</c:v>
                </c:pt>
                <c:pt idx="219">
                  <c:v>14.79418604651163</c:v>
                </c:pt>
                <c:pt idx="220">
                  <c:v>14.79418604651163</c:v>
                </c:pt>
                <c:pt idx="221">
                  <c:v>14.79418604651163</c:v>
                </c:pt>
                <c:pt idx="222">
                  <c:v>14.79418604651163</c:v>
                </c:pt>
                <c:pt idx="223">
                  <c:v>14.79418604651163</c:v>
                </c:pt>
                <c:pt idx="224">
                  <c:v>14.79418604651163</c:v>
                </c:pt>
                <c:pt idx="225">
                  <c:v>14.79418604651163</c:v>
                </c:pt>
                <c:pt idx="226">
                  <c:v>14.79418604651163</c:v>
                </c:pt>
                <c:pt idx="227">
                  <c:v>14.79418604651163</c:v>
                </c:pt>
                <c:pt idx="228">
                  <c:v>14.79418604651163</c:v>
                </c:pt>
                <c:pt idx="229">
                  <c:v>14.79418604651163</c:v>
                </c:pt>
                <c:pt idx="230">
                  <c:v>14.79418604651163</c:v>
                </c:pt>
                <c:pt idx="231">
                  <c:v>14.79418604651163</c:v>
                </c:pt>
                <c:pt idx="232">
                  <c:v>14.79418604651163</c:v>
                </c:pt>
                <c:pt idx="233">
                  <c:v>14.79418604651163</c:v>
                </c:pt>
                <c:pt idx="234">
                  <c:v>14.79418604651163</c:v>
                </c:pt>
                <c:pt idx="235">
                  <c:v>14.79418604651163</c:v>
                </c:pt>
                <c:pt idx="236">
                  <c:v>14.79418604651163</c:v>
                </c:pt>
                <c:pt idx="237">
                  <c:v>14.79418604651163</c:v>
                </c:pt>
                <c:pt idx="238">
                  <c:v>14.79418604651163</c:v>
                </c:pt>
                <c:pt idx="239">
                  <c:v>14.79418604651163</c:v>
                </c:pt>
                <c:pt idx="240">
                  <c:v>14.79418604651163</c:v>
                </c:pt>
                <c:pt idx="241">
                  <c:v>14.79418604651163</c:v>
                </c:pt>
                <c:pt idx="242">
                  <c:v>14.79418604651163</c:v>
                </c:pt>
                <c:pt idx="243">
                  <c:v>14.79418604651163</c:v>
                </c:pt>
                <c:pt idx="244">
                  <c:v>14.79418604651163</c:v>
                </c:pt>
                <c:pt idx="245">
                  <c:v>14.79418604651163</c:v>
                </c:pt>
                <c:pt idx="246">
                  <c:v>14.79418604651163</c:v>
                </c:pt>
                <c:pt idx="247">
                  <c:v>14.79418604651163</c:v>
                </c:pt>
                <c:pt idx="248">
                  <c:v>14.79418604651163</c:v>
                </c:pt>
                <c:pt idx="249">
                  <c:v>14.79418604651163</c:v>
                </c:pt>
                <c:pt idx="250">
                  <c:v>14.79418604651163</c:v>
                </c:pt>
                <c:pt idx="251">
                  <c:v>14.79418604651163</c:v>
                </c:pt>
                <c:pt idx="252">
                  <c:v>14.79418604651163</c:v>
                </c:pt>
                <c:pt idx="253">
                  <c:v>14.79418604651163</c:v>
                </c:pt>
                <c:pt idx="254">
                  <c:v>14.79418604651163</c:v>
                </c:pt>
                <c:pt idx="255">
                  <c:v>14.79418604651163</c:v>
                </c:pt>
                <c:pt idx="256">
                  <c:v>14.79418604651163</c:v>
                </c:pt>
                <c:pt idx="257">
                  <c:v>14.79418604651163</c:v>
                </c:pt>
                <c:pt idx="258">
                  <c:v>14.79418604651163</c:v>
                </c:pt>
                <c:pt idx="259">
                  <c:v>14.79418604651163</c:v>
                </c:pt>
                <c:pt idx="260">
                  <c:v>14.79418604651163</c:v>
                </c:pt>
                <c:pt idx="261">
                  <c:v>14.79418604651163</c:v>
                </c:pt>
                <c:pt idx="262">
                  <c:v>14.79418604651163</c:v>
                </c:pt>
                <c:pt idx="263">
                  <c:v>14.79418604651163</c:v>
                </c:pt>
                <c:pt idx="264">
                  <c:v>14.79418604651163</c:v>
                </c:pt>
                <c:pt idx="265">
                  <c:v>14.79418604651163</c:v>
                </c:pt>
                <c:pt idx="266">
                  <c:v>14.79418604651163</c:v>
                </c:pt>
                <c:pt idx="267">
                  <c:v>14.79418604651163</c:v>
                </c:pt>
                <c:pt idx="268">
                  <c:v>14.79418604651163</c:v>
                </c:pt>
                <c:pt idx="269">
                  <c:v>14.79418604651163</c:v>
                </c:pt>
                <c:pt idx="270">
                  <c:v>14.79418604651163</c:v>
                </c:pt>
                <c:pt idx="271">
                  <c:v>14.79418604651163</c:v>
                </c:pt>
                <c:pt idx="272">
                  <c:v>14.79418604651163</c:v>
                </c:pt>
                <c:pt idx="273">
                  <c:v>14.79418604651163</c:v>
                </c:pt>
                <c:pt idx="274">
                  <c:v>14.79418604651163</c:v>
                </c:pt>
                <c:pt idx="275">
                  <c:v>14.79418604651163</c:v>
                </c:pt>
                <c:pt idx="276">
                  <c:v>14.79418604651163</c:v>
                </c:pt>
                <c:pt idx="277">
                  <c:v>14.79418604651163</c:v>
                </c:pt>
                <c:pt idx="278">
                  <c:v>14.79418604651163</c:v>
                </c:pt>
                <c:pt idx="279">
                  <c:v>14.79418604651163</c:v>
                </c:pt>
                <c:pt idx="280">
                  <c:v>14.79418604651163</c:v>
                </c:pt>
                <c:pt idx="281">
                  <c:v>14.79418604651163</c:v>
                </c:pt>
                <c:pt idx="282">
                  <c:v>14.79418604651163</c:v>
                </c:pt>
                <c:pt idx="283">
                  <c:v>14.79418604651163</c:v>
                </c:pt>
                <c:pt idx="284">
                  <c:v>14.79418604651163</c:v>
                </c:pt>
                <c:pt idx="285">
                  <c:v>14.79418604651163</c:v>
                </c:pt>
                <c:pt idx="286">
                  <c:v>14.79418604651163</c:v>
                </c:pt>
                <c:pt idx="287">
                  <c:v>14.79418604651163</c:v>
                </c:pt>
                <c:pt idx="288">
                  <c:v>14.79418604651163</c:v>
                </c:pt>
                <c:pt idx="289">
                  <c:v>14.79418604651163</c:v>
                </c:pt>
                <c:pt idx="290">
                  <c:v>14.79418604651163</c:v>
                </c:pt>
                <c:pt idx="291">
                  <c:v>14.79418604651163</c:v>
                </c:pt>
                <c:pt idx="292">
                  <c:v>14.79418604651163</c:v>
                </c:pt>
                <c:pt idx="293">
                  <c:v>14.79418604651163</c:v>
                </c:pt>
                <c:pt idx="294">
                  <c:v>14.79418604651163</c:v>
                </c:pt>
                <c:pt idx="295">
                  <c:v>14.79418604651163</c:v>
                </c:pt>
                <c:pt idx="296">
                  <c:v>14.79418604651163</c:v>
                </c:pt>
                <c:pt idx="297">
                  <c:v>14.79418604651163</c:v>
                </c:pt>
                <c:pt idx="298">
                  <c:v>14.79418604651163</c:v>
                </c:pt>
                <c:pt idx="299">
                  <c:v>14.79418604651163</c:v>
                </c:pt>
                <c:pt idx="300">
                  <c:v>14.79418604651163</c:v>
                </c:pt>
                <c:pt idx="301">
                  <c:v>14.79418604651163</c:v>
                </c:pt>
                <c:pt idx="302">
                  <c:v>14.79418604651163</c:v>
                </c:pt>
                <c:pt idx="303">
                  <c:v>14.79418604651163</c:v>
                </c:pt>
                <c:pt idx="304">
                  <c:v>14.79418604651163</c:v>
                </c:pt>
                <c:pt idx="305">
                  <c:v>14.79418604651163</c:v>
                </c:pt>
                <c:pt idx="306">
                  <c:v>14.79418604651163</c:v>
                </c:pt>
                <c:pt idx="307">
                  <c:v>14.79418604651163</c:v>
                </c:pt>
                <c:pt idx="308">
                  <c:v>14.79418604651163</c:v>
                </c:pt>
                <c:pt idx="309">
                  <c:v>14.79418604651163</c:v>
                </c:pt>
                <c:pt idx="310">
                  <c:v>14.79418604651163</c:v>
                </c:pt>
                <c:pt idx="311">
                  <c:v>14.79418604651163</c:v>
                </c:pt>
                <c:pt idx="312">
                  <c:v>14.79418604651163</c:v>
                </c:pt>
                <c:pt idx="313">
                  <c:v>14.79418604651163</c:v>
                </c:pt>
                <c:pt idx="314">
                  <c:v>14.79418604651163</c:v>
                </c:pt>
                <c:pt idx="315">
                  <c:v>14.79418604651163</c:v>
                </c:pt>
                <c:pt idx="316">
                  <c:v>14.79418604651163</c:v>
                </c:pt>
                <c:pt idx="317">
                  <c:v>14.79418604651163</c:v>
                </c:pt>
                <c:pt idx="318">
                  <c:v>14.79418604651163</c:v>
                </c:pt>
                <c:pt idx="319">
                  <c:v>14.79418604651163</c:v>
                </c:pt>
                <c:pt idx="320">
                  <c:v>14.79418604651163</c:v>
                </c:pt>
                <c:pt idx="321">
                  <c:v>14.79418604651163</c:v>
                </c:pt>
                <c:pt idx="322">
                  <c:v>14.79418604651163</c:v>
                </c:pt>
                <c:pt idx="323">
                  <c:v>14.79418604651163</c:v>
                </c:pt>
                <c:pt idx="324">
                  <c:v>14.79418604651163</c:v>
                </c:pt>
                <c:pt idx="325">
                  <c:v>14.79418604651163</c:v>
                </c:pt>
                <c:pt idx="326">
                  <c:v>14.79418604651163</c:v>
                </c:pt>
                <c:pt idx="327">
                  <c:v>14.79418604651163</c:v>
                </c:pt>
                <c:pt idx="328">
                  <c:v>14.79418604651163</c:v>
                </c:pt>
                <c:pt idx="329">
                  <c:v>14.79418604651163</c:v>
                </c:pt>
                <c:pt idx="330">
                  <c:v>14.79418604651163</c:v>
                </c:pt>
                <c:pt idx="331">
                  <c:v>14.79418604651163</c:v>
                </c:pt>
                <c:pt idx="332">
                  <c:v>14.79418604651163</c:v>
                </c:pt>
                <c:pt idx="333">
                  <c:v>14.79418604651163</c:v>
                </c:pt>
                <c:pt idx="334">
                  <c:v>14.79418604651163</c:v>
                </c:pt>
                <c:pt idx="335">
                  <c:v>14.79418604651163</c:v>
                </c:pt>
                <c:pt idx="336">
                  <c:v>14.79418604651163</c:v>
                </c:pt>
                <c:pt idx="337">
                  <c:v>14.79418604651163</c:v>
                </c:pt>
                <c:pt idx="338">
                  <c:v>14.79418604651163</c:v>
                </c:pt>
                <c:pt idx="339">
                  <c:v>14.79418604651163</c:v>
                </c:pt>
                <c:pt idx="340">
                  <c:v>14.79418604651163</c:v>
                </c:pt>
                <c:pt idx="341">
                  <c:v>14.79418604651163</c:v>
                </c:pt>
                <c:pt idx="342">
                  <c:v>14.79418604651163</c:v>
                </c:pt>
                <c:pt idx="343">
                  <c:v>14.79418604651163</c:v>
                </c:pt>
                <c:pt idx="344">
                  <c:v>14.79418604651163</c:v>
                </c:pt>
                <c:pt idx="345">
                  <c:v>14.79418604651163</c:v>
                </c:pt>
                <c:pt idx="346">
                  <c:v>14.79418604651163</c:v>
                </c:pt>
                <c:pt idx="347">
                  <c:v>14.79418604651163</c:v>
                </c:pt>
                <c:pt idx="348">
                  <c:v>14.79418604651163</c:v>
                </c:pt>
                <c:pt idx="349">
                  <c:v>14.79418604651163</c:v>
                </c:pt>
                <c:pt idx="350">
                  <c:v>14.79418604651163</c:v>
                </c:pt>
                <c:pt idx="351">
                  <c:v>14.79418604651163</c:v>
                </c:pt>
                <c:pt idx="352">
                  <c:v>14.79418604651163</c:v>
                </c:pt>
                <c:pt idx="353">
                  <c:v>14.79418604651163</c:v>
                </c:pt>
                <c:pt idx="354">
                  <c:v>14.79418604651163</c:v>
                </c:pt>
                <c:pt idx="355">
                  <c:v>14.79418604651163</c:v>
                </c:pt>
                <c:pt idx="356">
                  <c:v>14.79418604651163</c:v>
                </c:pt>
                <c:pt idx="357">
                  <c:v>14.79418604651163</c:v>
                </c:pt>
                <c:pt idx="358">
                  <c:v>14.79418604651163</c:v>
                </c:pt>
                <c:pt idx="359">
                  <c:v>14.79418604651163</c:v>
                </c:pt>
                <c:pt idx="360">
                  <c:v>14.79418604651163</c:v>
                </c:pt>
                <c:pt idx="361">
                  <c:v>14.79418604651163</c:v>
                </c:pt>
                <c:pt idx="362">
                  <c:v>14.79418604651163</c:v>
                </c:pt>
                <c:pt idx="363">
                  <c:v>14.79418604651163</c:v>
                </c:pt>
                <c:pt idx="364">
                  <c:v>14.79418604651163</c:v>
                </c:pt>
                <c:pt idx="365">
                  <c:v>14.79418604651163</c:v>
                </c:pt>
                <c:pt idx="366">
                  <c:v>14.79418604651163</c:v>
                </c:pt>
                <c:pt idx="367">
                  <c:v>14.79418604651163</c:v>
                </c:pt>
                <c:pt idx="368">
                  <c:v>14.79418604651163</c:v>
                </c:pt>
                <c:pt idx="369">
                  <c:v>14.79418604651163</c:v>
                </c:pt>
                <c:pt idx="370">
                  <c:v>14.79418604651163</c:v>
                </c:pt>
                <c:pt idx="371">
                  <c:v>14.79418604651163</c:v>
                </c:pt>
                <c:pt idx="372">
                  <c:v>14.79418604651163</c:v>
                </c:pt>
                <c:pt idx="373">
                  <c:v>14.79418604651163</c:v>
                </c:pt>
                <c:pt idx="374">
                  <c:v>14.79418604651163</c:v>
                </c:pt>
                <c:pt idx="375">
                  <c:v>14.79418604651163</c:v>
                </c:pt>
                <c:pt idx="376">
                  <c:v>14.79418604651163</c:v>
                </c:pt>
                <c:pt idx="377">
                  <c:v>14.79418604651163</c:v>
                </c:pt>
                <c:pt idx="378">
                  <c:v>14.79418604651163</c:v>
                </c:pt>
                <c:pt idx="379">
                  <c:v>14.79418604651163</c:v>
                </c:pt>
                <c:pt idx="380">
                  <c:v>14.79418604651163</c:v>
                </c:pt>
                <c:pt idx="381">
                  <c:v>14.79418604651163</c:v>
                </c:pt>
                <c:pt idx="382">
                  <c:v>14.79418604651163</c:v>
                </c:pt>
                <c:pt idx="383">
                  <c:v>14.79418604651163</c:v>
                </c:pt>
                <c:pt idx="384">
                  <c:v>14.79418604651163</c:v>
                </c:pt>
                <c:pt idx="385">
                  <c:v>14.79418604651163</c:v>
                </c:pt>
                <c:pt idx="386">
                  <c:v>14.79418604651163</c:v>
                </c:pt>
                <c:pt idx="387">
                  <c:v>14.79418604651163</c:v>
                </c:pt>
                <c:pt idx="388">
                  <c:v>14.79418604651163</c:v>
                </c:pt>
                <c:pt idx="389">
                  <c:v>14.79418604651163</c:v>
                </c:pt>
                <c:pt idx="390">
                  <c:v>14.79418604651163</c:v>
                </c:pt>
                <c:pt idx="391">
                  <c:v>14.79418604651163</c:v>
                </c:pt>
                <c:pt idx="392">
                  <c:v>14.79418604651163</c:v>
                </c:pt>
                <c:pt idx="393">
                  <c:v>14.79418604651163</c:v>
                </c:pt>
                <c:pt idx="394">
                  <c:v>14.79418604651163</c:v>
                </c:pt>
                <c:pt idx="395">
                  <c:v>14.79418604651163</c:v>
                </c:pt>
                <c:pt idx="396">
                  <c:v>14.79418604651163</c:v>
                </c:pt>
                <c:pt idx="397">
                  <c:v>14.79418604651163</c:v>
                </c:pt>
                <c:pt idx="398">
                  <c:v>14.79418604651163</c:v>
                </c:pt>
                <c:pt idx="399">
                  <c:v>14.79418604651163</c:v>
                </c:pt>
                <c:pt idx="400">
                  <c:v>14.79418604651163</c:v>
                </c:pt>
                <c:pt idx="401">
                  <c:v>14.79418604651163</c:v>
                </c:pt>
                <c:pt idx="402">
                  <c:v>14.79418604651163</c:v>
                </c:pt>
                <c:pt idx="403">
                  <c:v>14.79418604651163</c:v>
                </c:pt>
                <c:pt idx="404">
                  <c:v>14.79418604651163</c:v>
                </c:pt>
                <c:pt idx="405">
                  <c:v>14.79418604651163</c:v>
                </c:pt>
                <c:pt idx="406">
                  <c:v>14.79418604651163</c:v>
                </c:pt>
                <c:pt idx="407">
                  <c:v>14.79418604651163</c:v>
                </c:pt>
                <c:pt idx="408">
                  <c:v>14.79418604651163</c:v>
                </c:pt>
                <c:pt idx="409">
                  <c:v>14.79418604651163</c:v>
                </c:pt>
                <c:pt idx="410">
                  <c:v>14.79418604651163</c:v>
                </c:pt>
                <c:pt idx="411">
                  <c:v>14.79418604651163</c:v>
                </c:pt>
                <c:pt idx="412">
                  <c:v>14.79418604651163</c:v>
                </c:pt>
                <c:pt idx="413">
                  <c:v>14.79418604651163</c:v>
                </c:pt>
                <c:pt idx="414">
                  <c:v>14.79418604651163</c:v>
                </c:pt>
                <c:pt idx="415">
                  <c:v>14.79418604651163</c:v>
                </c:pt>
                <c:pt idx="416">
                  <c:v>14.79418604651163</c:v>
                </c:pt>
                <c:pt idx="417">
                  <c:v>14.79418604651163</c:v>
                </c:pt>
                <c:pt idx="418">
                  <c:v>14.79418604651163</c:v>
                </c:pt>
                <c:pt idx="419">
                  <c:v>14.79418604651163</c:v>
                </c:pt>
                <c:pt idx="420">
                  <c:v>14.79418604651163</c:v>
                </c:pt>
                <c:pt idx="421">
                  <c:v>14.79418604651163</c:v>
                </c:pt>
                <c:pt idx="422">
                  <c:v>14.79418604651163</c:v>
                </c:pt>
                <c:pt idx="423">
                  <c:v>14.79418604651163</c:v>
                </c:pt>
                <c:pt idx="424">
                  <c:v>14.79418604651163</c:v>
                </c:pt>
                <c:pt idx="425">
                  <c:v>14.79418604651163</c:v>
                </c:pt>
                <c:pt idx="426">
                  <c:v>14.79418604651163</c:v>
                </c:pt>
                <c:pt idx="427">
                  <c:v>14.79418604651163</c:v>
                </c:pt>
                <c:pt idx="428">
                  <c:v>14.79418604651163</c:v>
                </c:pt>
                <c:pt idx="429">
                  <c:v>14.79418604651163</c:v>
                </c:pt>
                <c:pt idx="430">
                  <c:v>14.79418604651163</c:v>
                </c:pt>
                <c:pt idx="431">
                  <c:v>14.79418604651163</c:v>
                </c:pt>
                <c:pt idx="432">
                  <c:v>14.79418604651163</c:v>
                </c:pt>
                <c:pt idx="433">
                  <c:v>14.79418604651163</c:v>
                </c:pt>
                <c:pt idx="434">
                  <c:v>14.79418604651163</c:v>
                </c:pt>
                <c:pt idx="435">
                  <c:v>14.79418604651163</c:v>
                </c:pt>
                <c:pt idx="436">
                  <c:v>14.79418604651163</c:v>
                </c:pt>
                <c:pt idx="437">
                  <c:v>14.79418604651163</c:v>
                </c:pt>
                <c:pt idx="438">
                  <c:v>14.79418604651163</c:v>
                </c:pt>
                <c:pt idx="439">
                  <c:v>14.79418604651163</c:v>
                </c:pt>
                <c:pt idx="440">
                  <c:v>14.79418604651163</c:v>
                </c:pt>
                <c:pt idx="441">
                  <c:v>14.79418604651163</c:v>
                </c:pt>
                <c:pt idx="442">
                  <c:v>14.79418604651163</c:v>
                </c:pt>
                <c:pt idx="443">
                  <c:v>14.79418604651163</c:v>
                </c:pt>
                <c:pt idx="444">
                  <c:v>14.79418604651163</c:v>
                </c:pt>
                <c:pt idx="445">
                  <c:v>14.79418604651163</c:v>
                </c:pt>
                <c:pt idx="446">
                  <c:v>14.79418604651163</c:v>
                </c:pt>
                <c:pt idx="447">
                  <c:v>14.79418604651163</c:v>
                </c:pt>
                <c:pt idx="448">
                  <c:v>14.79418604651163</c:v>
                </c:pt>
                <c:pt idx="449">
                  <c:v>14.79418604651163</c:v>
                </c:pt>
                <c:pt idx="450">
                  <c:v>14.79418604651163</c:v>
                </c:pt>
                <c:pt idx="451">
                  <c:v>14.79418604651163</c:v>
                </c:pt>
                <c:pt idx="452">
                  <c:v>14.79418604651163</c:v>
                </c:pt>
                <c:pt idx="453">
                  <c:v>14.79418604651163</c:v>
                </c:pt>
                <c:pt idx="454">
                  <c:v>14.79418604651163</c:v>
                </c:pt>
                <c:pt idx="455">
                  <c:v>14.79418604651163</c:v>
                </c:pt>
                <c:pt idx="456">
                  <c:v>14.79418604651163</c:v>
                </c:pt>
                <c:pt idx="457">
                  <c:v>14.79418604651163</c:v>
                </c:pt>
                <c:pt idx="458">
                  <c:v>14.79418604651163</c:v>
                </c:pt>
                <c:pt idx="459">
                  <c:v>14.79418604651163</c:v>
                </c:pt>
                <c:pt idx="460">
                  <c:v>14.79418604651163</c:v>
                </c:pt>
                <c:pt idx="461">
                  <c:v>14.79418604651163</c:v>
                </c:pt>
                <c:pt idx="462">
                  <c:v>14.79418604651163</c:v>
                </c:pt>
                <c:pt idx="463">
                  <c:v>14.79418604651163</c:v>
                </c:pt>
                <c:pt idx="464">
                  <c:v>14.79418604651163</c:v>
                </c:pt>
                <c:pt idx="465">
                  <c:v>14.79418604651163</c:v>
                </c:pt>
                <c:pt idx="466">
                  <c:v>14.79418604651163</c:v>
                </c:pt>
                <c:pt idx="467">
                  <c:v>14.79418604651163</c:v>
                </c:pt>
                <c:pt idx="468">
                  <c:v>14.79418604651163</c:v>
                </c:pt>
                <c:pt idx="469">
                  <c:v>14.79418604651163</c:v>
                </c:pt>
                <c:pt idx="470">
                  <c:v>14.79418604651163</c:v>
                </c:pt>
                <c:pt idx="471">
                  <c:v>14.79418604651163</c:v>
                </c:pt>
                <c:pt idx="472">
                  <c:v>14.79418604651163</c:v>
                </c:pt>
                <c:pt idx="473">
                  <c:v>14.79418604651163</c:v>
                </c:pt>
                <c:pt idx="474">
                  <c:v>14.79418604651163</c:v>
                </c:pt>
                <c:pt idx="475">
                  <c:v>14.79418604651163</c:v>
                </c:pt>
                <c:pt idx="476">
                  <c:v>14.79418604651163</c:v>
                </c:pt>
                <c:pt idx="477">
                  <c:v>14.79418604651163</c:v>
                </c:pt>
                <c:pt idx="478">
                  <c:v>14.79418604651163</c:v>
                </c:pt>
                <c:pt idx="479">
                  <c:v>14.79418604651163</c:v>
                </c:pt>
                <c:pt idx="480">
                  <c:v>14.79418604651163</c:v>
                </c:pt>
                <c:pt idx="481">
                  <c:v>14.79418604651163</c:v>
                </c:pt>
                <c:pt idx="482">
                  <c:v>14.79418604651163</c:v>
                </c:pt>
                <c:pt idx="483">
                  <c:v>14.79418604651163</c:v>
                </c:pt>
                <c:pt idx="484">
                  <c:v>14.79418604651163</c:v>
                </c:pt>
                <c:pt idx="485">
                  <c:v>14.79418604651163</c:v>
                </c:pt>
                <c:pt idx="486">
                  <c:v>14.79418604651163</c:v>
                </c:pt>
                <c:pt idx="487">
                  <c:v>14.79418604651163</c:v>
                </c:pt>
                <c:pt idx="488">
                  <c:v>14.79418604651163</c:v>
                </c:pt>
                <c:pt idx="489">
                  <c:v>14.79418604651163</c:v>
                </c:pt>
                <c:pt idx="490">
                  <c:v>14.79418604651163</c:v>
                </c:pt>
                <c:pt idx="491">
                  <c:v>14.79418604651163</c:v>
                </c:pt>
                <c:pt idx="492">
                  <c:v>14.79418604651163</c:v>
                </c:pt>
                <c:pt idx="493">
                  <c:v>14.79418604651163</c:v>
                </c:pt>
                <c:pt idx="494">
                  <c:v>14.79418604651163</c:v>
                </c:pt>
                <c:pt idx="495">
                  <c:v>14.79418604651163</c:v>
                </c:pt>
                <c:pt idx="496">
                  <c:v>14.79418604651163</c:v>
                </c:pt>
                <c:pt idx="497">
                  <c:v>14.79418604651163</c:v>
                </c:pt>
                <c:pt idx="498">
                  <c:v>14.79418604651163</c:v>
                </c:pt>
                <c:pt idx="499">
                  <c:v>14.79418604651163</c:v>
                </c:pt>
                <c:pt idx="500">
                  <c:v>14.79418604651163</c:v>
                </c:pt>
                <c:pt idx="501">
                  <c:v>14.79418604651163</c:v>
                </c:pt>
                <c:pt idx="502">
                  <c:v>14.79418604651163</c:v>
                </c:pt>
                <c:pt idx="503">
                  <c:v>14.79418604651163</c:v>
                </c:pt>
                <c:pt idx="504">
                  <c:v>14.79418604651163</c:v>
                </c:pt>
                <c:pt idx="505">
                  <c:v>14.79418604651163</c:v>
                </c:pt>
                <c:pt idx="506">
                  <c:v>14.79418604651163</c:v>
                </c:pt>
                <c:pt idx="507">
                  <c:v>14.79418604651163</c:v>
                </c:pt>
                <c:pt idx="508">
                  <c:v>14.79418604651163</c:v>
                </c:pt>
                <c:pt idx="509">
                  <c:v>14.79418604651163</c:v>
                </c:pt>
                <c:pt idx="510">
                  <c:v>14.79418604651163</c:v>
                </c:pt>
                <c:pt idx="511">
                  <c:v>14.79418604651163</c:v>
                </c:pt>
                <c:pt idx="512">
                  <c:v>14.79418604651163</c:v>
                </c:pt>
                <c:pt idx="513">
                  <c:v>14.79418604651163</c:v>
                </c:pt>
                <c:pt idx="514">
                  <c:v>14.79418604651163</c:v>
                </c:pt>
                <c:pt idx="515">
                  <c:v>14.79418604651163</c:v>
                </c:pt>
                <c:pt idx="516">
                  <c:v>14.79418604651163</c:v>
                </c:pt>
                <c:pt idx="517">
                  <c:v>14.79418604651163</c:v>
                </c:pt>
                <c:pt idx="518">
                  <c:v>14.79418604651163</c:v>
                </c:pt>
                <c:pt idx="519">
                  <c:v>14.79418604651163</c:v>
                </c:pt>
                <c:pt idx="520">
                  <c:v>14.79418604651163</c:v>
                </c:pt>
                <c:pt idx="521">
                  <c:v>14.79418604651163</c:v>
                </c:pt>
                <c:pt idx="522">
                  <c:v>14.79418604651163</c:v>
                </c:pt>
                <c:pt idx="523">
                  <c:v>14.79418604651163</c:v>
                </c:pt>
                <c:pt idx="524">
                  <c:v>14.79418604651163</c:v>
                </c:pt>
                <c:pt idx="525">
                  <c:v>14.79418604651163</c:v>
                </c:pt>
                <c:pt idx="526">
                  <c:v>14.79418604651163</c:v>
                </c:pt>
                <c:pt idx="527">
                  <c:v>14.79418604651163</c:v>
                </c:pt>
                <c:pt idx="528">
                  <c:v>14.79418604651163</c:v>
                </c:pt>
                <c:pt idx="529">
                  <c:v>14.79418604651163</c:v>
                </c:pt>
                <c:pt idx="530">
                  <c:v>14.79418604651163</c:v>
                </c:pt>
                <c:pt idx="531">
                  <c:v>14.79418604651163</c:v>
                </c:pt>
                <c:pt idx="532">
                  <c:v>14.79418604651163</c:v>
                </c:pt>
                <c:pt idx="533">
                  <c:v>14.79418604651163</c:v>
                </c:pt>
                <c:pt idx="534">
                  <c:v>14.79418604651163</c:v>
                </c:pt>
                <c:pt idx="535">
                  <c:v>14.79418604651163</c:v>
                </c:pt>
                <c:pt idx="536">
                  <c:v>14.79418604651163</c:v>
                </c:pt>
                <c:pt idx="537">
                  <c:v>14.79418604651163</c:v>
                </c:pt>
                <c:pt idx="538">
                  <c:v>14.79418604651163</c:v>
                </c:pt>
                <c:pt idx="539">
                  <c:v>14.79418604651163</c:v>
                </c:pt>
                <c:pt idx="540">
                  <c:v>14.79418604651163</c:v>
                </c:pt>
                <c:pt idx="541">
                  <c:v>14.79418604651163</c:v>
                </c:pt>
                <c:pt idx="542">
                  <c:v>14.79418604651163</c:v>
                </c:pt>
                <c:pt idx="543">
                  <c:v>14.79418604651163</c:v>
                </c:pt>
                <c:pt idx="544">
                  <c:v>14.79418604651163</c:v>
                </c:pt>
                <c:pt idx="545">
                  <c:v>14.79418604651163</c:v>
                </c:pt>
                <c:pt idx="546">
                  <c:v>14.79418604651163</c:v>
                </c:pt>
                <c:pt idx="547">
                  <c:v>14.79418604651163</c:v>
                </c:pt>
                <c:pt idx="548">
                  <c:v>14.79418604651163</c:v>
                </c:pt>
                <c:pt idx="549">
                  <c:v>14.79418604651163</c:v>
                </c:pt>
                <c:pt idx="550">
                  <c:v>14.79418604651163</c:v>
                </c:pt>
                <c:pt idx="551">
                  <c:v>14.79418604651163</c:v>
                </c:pt>
                <c:pt idx="552">
                  <c:v>14.79418604651163</c:v>
                </c:pt>
                <c:pt idx="553">
                  <c:v>14.79418604651163</c:v>
                </c:pt>
                <c:pt idx="554">
                  <c:v>14.79418604651163</c:v>
                </c:pt>
                <c:pt idx="555">
                  <c:v>14.79418604651163</c:v>
                </c:pt>
                <c:pt idx="556">
                  <c:v>14.79418604651163</c:v>
                </c:pt>
                <c:pt idx="557">
                  <c:v>14.79418604651163</c:v>
                </c:pt>
                <c:pt idx="558">
                  <c:v>14.79418604651163</c:v>
                </c:pt>
                <c:pt idx="559">
                  <c:v>14.79418604651163</c:v>
                </c:pt>
                <c:pt idx="560">
                  <c:v>14.79418604651163</c:v>
                </c:pt>
                <c:pt idx="561">
                  <c:v>14.79418604651163</c:v>
                </c:pt>
                <c:pt idx="562">
                  <c:v>14.79418604651163</c:v>
                </c:pt>
                <c:pt idx="563">
                  <c:v>14.79418604651163</c:v>
                </c:pt>
                <c:pt idx="564">
                  <c:v>14.79418604651163</c:v>
                </c:pt>
                <c:pt idx="565">
                  <c:v>14.79418604651163</c:v>
                </c:pt>
                <c:pt idx="566">
                  <c:v>14.79418604651163</c:v>
                </c:pt>
                <c:pt idx="567">
                  <c:v>14.79418604651163</c:v>
                </c:pt>
                <c:pt idx="568">
                  <c:v>14.79418604651163</c:v>
                </c:pt>
                <c:pt idx="569">
                  <c:v>14.79418604651163</c:v>
                </c:pt>
                <c:pt idx="570">
                  <c:v>14.79418604651163</c:v>
                </c:pt>
                <c:pt idx="571">
                  <c:v>14.79418604651163</c:v>
                </c:pt>
                <c:pt idx="572">
                  <c:v>14.79418604651163</c:v>
                </c:pt>
                <c:pt idx="573">
                  <c:v>14.79418604651163</c:v>
                </c:pt>
                <c:pt idx="574">
                  <c:v>14.79418604651163</c:v>
                </c:pt>
                <c:pt idx="575">
                  <c:v>14.79418604651163</c:v>
                </c:pt>
                <c:pt idx="576">
                  <c:v>14.79418604651163</c:v>
                </c:pt>
                <c:pt idx="577">
                  <c:v>14.79418604651163</c:v>
                </c:pt>
                <c:pt idx="578">
                  <c:v>14.79418604651163</c:v>
                </c:pt>
                <c:pt idx="579">
                  <c:v>14.79418604651163</c:v>
                </c:pt>
                <c:pt idx="580">
                  <c:v>14.79418604651163</c:v>
                </c:pt>
                <c:pt idx="581">
                  <c:v>14.79418604651163</c:v>
                </c:pt>
                <c:pt idx="582">
                  <c:v>14.79418604651163</c:v>
                </c:pt>
                <c:pt idx="583">
                  <c:v>14.79418604651163</c:v>
                </c:pt>
                <c:pt idx="584">
                  <c:v>14.79418604651163</c:v>
                </c:pt>
                <c:pt idx="585">
                  <c:v>14.79418604651163</c:v>
                </c:pt>
                <c:pt idx="586">
                  <c:v>14.79418604651163</c:v>
                </c:pt>
                <c:pt idx="587">
                  <c:v>14.79418604651163</c:v>
                </c:pt>
                <c:pt idx="588">
                  <c:v>14.79418604651163</c:v>
                </c:pt>
                <c:pt idx="589">
                  <c:v>14.79418604651163</c:v>
                </c:pt>
                <c:pt idx="590">
                  <c:v>14.79418604651163</c:v>
                </c:pt>
                <c:pt idx="591">
                  <c:v>14.79418604651163</c:v>
                </c:pt>
                <c:pt idx="592">
                  <c:v>14.79418604651163</c:v>
                </c:pt>
                <c:pt idx="593">
                  <c:v>14.79418604651163</c:v>
                </c:pt>
                <c:pt idx="594">
                  <c:v>14.79418604651163</c:v>
                </c:pt>
                <c:pt idx="595">
                  <c:v>14.79418604651163</c:v>
                </c:pt>
                <c:pt idx="596">
                  <c:v>14.79418604651163</c:v>
                </c:pt>
                <c:pt idx="597">
                  <c:v>14.79418604651163</c:v>
                </c:pt>
                <c:pt idx="598">
                  <c:v>14.79418604651163</c:v>
                </c:pt>
                <c:pt idx="599">
                  <c:v>14.79418604651163</c:v>
                </c:pt>
                <c:pt idx="600">
                  <c:v>14.79418604651163</c:v>
                </c:pt>
                <c:pt idx="601">
                  <c:v>14.79418604651163</c:v>
                </c:pt>
                <c:pt idx="602">
                  <c:v>14.79418604651163</c:v>
                </c:pt>
                <c:pt idx="603">
                  <c:v>14.79418604651163</c:v>
                </c:pt>
                <c:pt idx="604">
                  <c:v>14.79418604651163</c:v>
                </c:pt>
                <c:pt idx="605">
                  <c:v>14.79418604651163</c:v>
                </c:pt>
                <c:pt idx="606">
                  <c:v>14.79418604651163</c:v>
                </c:pt>
                <c:pt idx="607">
                  <c:v>14.79418604651163</c:v>
                </c:pt>
                <c:pt idx="608">
                  <c:v>14.79418604651163</c:v>
                </c:pt>
                <c:pt idx="609">
                  <c:v>14.79418604651163</c:v>
                </c:pt>
                <c:pt idx="610">
                  <c:v>14.79418604651163</c:v>
                </c:pt>
                <c:pt idx="611">
                  <c:v>14.79418604651163</c:v>
                </c:pt>
                <c:pt idx="612">
                  <c:v>14.79418604651163</c:v>
                </c:pt>
                <c:pt idx="613">
                  <c:v>14.79418604651163</c:v>
                </c:pt>
                <c:pt idx="614">
                  <c:v>14.79418604651163</c:v>
                </c:pt>
                <c:pt idx="615">
                  <c:v>14.79418604651163</c:v>
                </c:pt>
                <c:pt idx="616">
                  <c:v>14.79418604651163</c:v>
                </c:pt>
                <c:pt idx="617">
                  <c:v>14.79418604651163</c:v>
                </c:pt>
                <c:pt idx="618">
                  <c:v>14.79418604651163</c:v>
                </c:pt>
                <c:pt idx="619">
                  <c:v>14.79418604651163</c:v>
                </c:pt>
                <c:pt idx="620">
                  <c:v>14.79418604651163</c:v>
                </c:pt>
                <c:pt idx="621">
                  <c:v>14.79418604651163</c:v>
                </c:pt>
                <c:pt idx="622">
                  <c:v>14.79418604651163</c:v>
                </c:pt>
                <c:pt idx="623">
                  <c:v>14.79418604651163</c:v>
                </c:pt>
                <c:pt idx="624">
                  <c:v>14.79418604651163</c:v>
                </c:pt>
                <c:pt idx="625">
                  <c:v>14.79418604651163</c:v>
                </c:pt>
                <c:pt idx="626">
                  <c:v>14.79418604651163</c:v>
                </c:pt>
                <c:pt idx="627">
                  <c:v>14.79418604651163</c:v>
                </c:pt>
                <c:pt idx="628">
                  <c:v>14.79418604651163</c:v>
                </c:pt>
                <c:pt idx="629">
                  <c:v>14.79418604651163</c:v>
                </c:pt>
                <c:pt idx="630">
                  <c:v>14.79418604651163</c:v>
                </c:pt>
                <c:pt idx="631">
                  <c:v>14.79418604651163</c:v>
                </c:pt>
                <c:pt idx="632">
                  <c:v>14.79418604651163</c:v>
                </c:pt>
                <c:pt idx="633">
                  <c:v>14.79418604651163</c:v>
                </c:pt>
                <c:pt idx="634">
                  <c:v>14.79418604651163</c:v>
                </c:pt>
                <c:pt idx="635">
                  <c:v>14.79418604651163</c:v>
                </c:pt>
                <c:pt idx="636">
                  <c:v>14.79418604651163</c:v>
                </c:pt>
                <c:pt idx="637">
                  <c:v>14.79418604651163</c:v>
                </c:pt>
                <c:pt idx="638">
                  <c:v>14.79418604651163</c:v>
                </c:pt>
                <c:pt idx="639">
                  <c:v>14.79418604651163</c:v>
                </c:pt>
                <c:pt idx="640">
                  <c:v>14.79418604651163</c:v>
                </c:pt>
                <c:pt idx="641">
                  <c:v>14.79418604651163</c:v>
                </c:pt>
                <c:pt idx="642">
                  <c:v>14.79418604651163</c:v>
                </c:pt>
                <c:pt idx="643">
                  <c:v>14.79418604651163</c:v>
                </c:pt>
                <c:pt idx="644">
                  <c:v>14.79418604651163</c:v>
                </c:pt>
                <c:pt idx="645">
                  <c:v>14.79418604651163</c:v>
                </c:pt>
                <c:pt idx="646">
                  <c:v>14.79418604651163</c:v>
                </c:pt>
                <c:pt idx="647">
                  <c:v>14.79418604651163</c:v>
                </c:pt>
                <c:pt idx="648">
                  <c:v>14.79418604651163</c:v>
                </c:pt>
                <c:pt idx="649">
                  <c:v>14.79418604651163</c:v>
                </c:pt>
                <c:pt idx="650">
                  <c:v>14.79418604651163</c:v>
                </c:pt>
                <c:pt idx="651">
                  <c:v>14.79418604651163</c:v>
                </c:pt>
                <c:pt idx="652">
                  <c:v>14.79418604651163</c:v>
                </c:pt>
                <c:pt idx="653">
                  <c:v>14.79418604651163</c:v>
                </c:pt>
                <c:pt idx="654">
                  <c:v>14.79418604651163</c:v>
                </c:pt>
                <c:pt idx="655">
                  <c:v>14.79418604651163</c:v>
                </c:pt>
                <c:pt idx="656">
                  <c:v>14.79418604651163</c:v>
                </c:pt>
                <c:pt idx="657">
                  <c:v>14.79418604651163</c:v>
                </c:pt>
                <c:pt idx="658">
                  <c:v>14.79418604651163</c:v>
                </c:pt>
                <c:pt idx="659">
                  <c:v>14.79418604651163</c:v>
                </c:pt>
                <c:pt idx="660">
                  <c:v>14.79418604651163</c:v>
                </c:pt>
                <c:pt idx="661">
                  <c:v>14.79418604651163</c:v>
                </c:pt>
                <c:pt idx="662">
                  <c:v>14.79418604651163</c:v>
                </c:pt>
                <c:pt idx="663">
                  <c:v>14.79418604651163</c:v>
                </c:pt>
                <c:pt idx="664">
                  <c:v>14.79418604651163</c:v>
                </c:pt>
                <c:pt idx="665">
                  <c:v>14.79418604651163</c:v>
                </c:pt>
                <c:pt idx="666">
                  <c:v>14.79418604651163</c:v>
                </c:pt>
                <c:pt idx="667">
                  <c:v>14.79418604651163</c:v>
                </c:pt>
                <c:pt idx="668">
                  <c:v>14.79418604651163</c:v>
                </c:pt>
                <c:pt idx="669">
                  <c:v>14.79418604651163</c:v>
                </c:pt>
                <c:pt idx="670">
                  <c:v>14.79418604651163</c:v>
                </c:pt>
                <c:pt idx="671">
                  <c:v>14.79418604651163</c:v>
                </c:pt>
                <c:pt idx="672">
                  <c:v>14.79418604651163</c:v>
                </c:pt>
                <c:pt idx="673">
                  <c:v>14.79418604651163</c:v>
                </c:pt>
                <c:pt idx="674">
                  <c:v>14.79418604651163</c:v>
                </c:pt>
                <c:pt idx="675">
                  <c:v>14.79418604651163</c:v>
                </c:pt>
                <c:pt idx="676">
                  <c:v>14.79418604651163</c:v>
                </c:pt>
                <c:pt idx="677">
                  <c:v>14.79418604651163</c:v>
                </c:pt>
                <c:pt idx="678">
                  <c:v>14.79418604651163</c:v>
                </c:pt>
                <c:pt idx="679">
                  <c:v>14.79418604651163</c:v>
                </c:pt>
                <c:pt idx="680">
                  <c:v>14.79418604651163</c:v>
                </c:pt>
                <c:pt idx="681">
                  <c:v>14.79418604651163</c:v>
                </c:pt>
                <c:pt idx="682">
                  <c:v>14.79418604651163</c:v>
                </c:pt>
                <c:pt idx="683">
                  <c:v>14.79418604651163</c:v>
                </c:pt>
                <c:pt idx="684">
                  <c:v>14.79418604651163</c:v>
                </c:pt>
                <c:pt idx="685">
                  <c:v>14.79418604651163</c:v>
                </c:pt>
                <c:pt idx="686">
                  <c:v>14.79418604651163</c:v>
                </c:pt>
                <c:pt idx="687">
                  <c:v>14.79418604651163</c:v>
                </c:pt>
                <c:pt idx="688">
                  <c:v>14.79418604651163</c:v>
                </c:pt>
                <c:pt idx="689">
                  <c:v>14.79418604651163</c:v>
                </c:pt>
                <c:pt idx="690">
                  <c:v>14.79418604651163</c:v>
                </c:pt>
                <c:pt idx="691">
                  <c:v>14.79418604651163</c:v>
                </c:pt>
                <c:pt idx="692">
                  <c:v>14.79418604651163</c:v>
                </c:pt>
                <c:pt idx="693">
                  <c:v>14.79418604651163</c:v>
                </c:pt>
                <c:pt idx="694">
                  <c:v>14.79418604651163</c:v>
                </c:pt>
                <c:pt idx="695">
                  <c:v>14.79418604651163</c:v>
                </c:pt>
                <c:pt idx="696">
                  <c:v>14.79418604651163</c:v>
                </c:pt>
                <c:pt idx="697">
                  <c:v>14.79418604651163</c:v>
                </c:pt>
                <c:pt idx="698">
                  <c:v>14.79418604651163</c:v>
                </c:pt>
                <c:pt idx="699">
                  <c:v>14.79418604651163</c:v>
                </c:pt>
                <c:pt idx="700">
                  <c:v>14.79418604651163</c:v>
                </c:pt>
                <c:pt idx="701">
                  <c:v>14.79418604651163</c:v>
                </c:pt>
                <c:pt idx="702">
                  <c:v>14.79418604651163</c:v>
                </c:pt>
                <c:pt idx="703">
                  <c:v>14.79418604651163</c:v>
                </c:pt>
                <c:pt idx="704">
                  <c:v>14.79418604651163</c:v>
                </c:pt>
                <c:pt idx="705">
                  <c:v>14.79418604651163</c:v>
                </c:pt>
                <c:pt idx="706">
                  <c:v>14.79418604651163</c:v>
                </c:pt>
                <c:pt idx="707">
                  <c:v>14.79418604651163</c:v>
                </c:pt>
                <c:pt idx="708">
                  <c:v>14.79418604651163</c:v>
                </c:pt>
                <c:pt idx="709">
                  <c:v>14.79418604651163</c:v>
                </c:pt>
                <c:pt idx="710">
                  <c:v>14.79418604651163</c:v>
                </c:pt>
                <c:pt idx="711">
                  <c:v>14.79418604651163</c:v>
                </c:pt>
                <c:pt idx="712">
                  <c:v>14.79418604651163</c:v>
                </c:pt>
                <c:pt idx="713">
                  <c:v>14.79418604651163</c:v>
                </c:pt>
                <c:pt idx="714">
                  <c:v>14.79418604651163</c:v>
                </c:pt>
                <c:pt idx="715">
                  <c:v>14.79418604651163</c:v>
                </c:pt>
                <c:pt idx="716">
                  <c:v>14.79418604651163</c:v>
                </c:pt>
                <c:pt idx="717">
                  <c:v>14.79418604651163</c:v>
                </c:pt>
                <c:pt idx="718">
                  <c:v>14.79418604651163</c:v>
                </c:pt>
                <c:pt idx="719">
                  <c:v>14.79418604651163</c:v>
                </c:pt>
                <c:pt idx="720">
                  <c:v>14.79418604651163</c:v>
                </c:pt>
                <c:pt idx="721">
                  <c:v>14.79418604651163</c:v>
                </c:pt>
                <c:pt idx="722">
                  <c:v>14.79418604651163</c:v>
                </c:pt>
                <c:pt idx="723">
                  <c:v>14.79418604651163</c:v>
                </c:pt>
                <c:pt idx="724">
                  <c:v>14.79418604651163</c:v>
                </c:pt>
                <c:pt idx="725">
                  <c:v>14.79418604651163</c:v>
                </c:pt>
                <c:pt idx="726">
                  <c:v>14.79418604651163</c:v>
                </c:pt>
                <c:pt idx="727">
                  <c:v>14.79418604651163</c:v>
                </c:pt>
                <c:pt idx="728">
                  <c:v>14.79418604651163</c:v>
                </c:pt>
                <c:pt idx="729">
                  <c:v>14.79418604651163</c:v>
                </c:pt>
                <c:pt idx="730">
                  <c:v>14.79418604651163</c:v>
                </c:pt>
                <c:pt idx="731">
                  <c:v>14.79418604651163</c:v>
                </c:pt>
                <c:pt idx="732">
                  <c:v>14.79418604651163</c:v>
                </c:pt>
                <c:pt idx="733">
                  <c:v>14.79418604651163</c:v>
                </c:pt>
                <c:pt idx="734">
                  <c:v>14.79418604651163</c:v>
                </c:pt>
                <c:pt idx="735">
                  <c:v>14.79418604651163</c:v>
                </c:pt>
                <c:pt idx="736">
                  <c:v>14.79418604651163</c:v>
                </c:pt>
                <c:pt idx="737">
                  <c:v>14.79418604651163</c:v>
                </c:pt>
                <c:pt idx="738">
                  <c:v>14.79418604651163</c:v>
                </c:pt>
                <c:pt idx="739">
                  <c:v>14.79418604651163</c:v>
                </c:pt>
                <c:pt idx="740">
                  <c:v>14.79418604651163</c:v>
                </c:pt>
                <c:pt idx="741">
                  <c:v>14.79418604651163</c:v>
                </c:pt>
                <c:pt idx="742">
                  <c:v>14.79418604651163</c:v>
                </c:pt>
                <c:pt idx="743">
                  <c:v>14.79418604651163</c:v>
                </c:pt>
                <c:pt idx="744">
                  <c:v>14.79418604651163</c:v>
                </c:pt>
                <c:pt idx="745">
                  <c:v>14.79418604651163</c:v>
                </c:pt>
                <c:pt idx="746">
                  <c:v>14.79418604651163</c:v>
                </c:pt>
                <c:pt idx="747">
                  <c:v>14.79418604651163</c:v>
                </c:pt>
                <c:pt idx="748">
                  <c:v>14.79418604651163</c:v>
                </c:pt>
                <c:pt idx="749">
                  <c:v>14.79418604651163</c:v>
                </c:pt>
                <c:pt idx="750">
                  <c:v>14.79418604651163</c:v>
                </c:pt>
                <c:pt idx="751">
                  <c:v>14.79418604651163</c:v>
                </c:pt>
                <c:pt idx="752">
                  <c:v>14.79418604651163</c:v>
                </c:pt>
                <c:pt idx="753">
                  <c:v>14.79418604651163</c:v>
                </c:pt>
                <c:pt idx="754">
                  <c:v>14.79418604651163</c:v>
                </c:pt>
                <c:pt idx="755">
                  <c:v>14.79418604651163</c:v>
                </c:pt>
                <c:pt idx="756">
                  <c:v>14.79418604651163</c:v>
                </c:pt>
                <c:pt idx="757">
                  <c:v>14.79418604651163</c:v>
                </c:pt>
                <c:pt idx="758">
                  <c:v>14.79418604651163</c:v>
                </c:pt>
                <c:pt idx="759">
                  <c:v>14.79418604651163</c:v>
                </c:pt>
                <c:pt idx="760">
                  <c:v>14.79418604651163</c:v>
                </c:pt>
                <c:pt idx="761">
                  <c:v>14.79418604651163</c:v>
                </c:pt>
                <c:pt idx="762">
                  <c:v>14.79418604651163</c:v>
                </c:pt>
                <c:pt idx="763">
                  <c:v>14.79418604651163</c:v>
                </c:pt>
                <c:pt idx="764">
                  <c:v>14.79418604651163</c:v>
                </c:pt>
                <c:pt idx="765">
                  <c:v>14.79418604651163</c:v>
                </c:pt>
                <c:pt idx="766">
                  <c:v>14.79418604651163</c:v>
                </c:pt>
                <c:pt idx="767">
                  <c:v>14.79418604651163</c:v>
                </c:pt>
                <c:pt idx="768">
                  <c:v>14.79418604651163</c:v>
                </c:pt>
                <c:pt idx="769">
                  <c:v>14.79418604651163</c:v>
                </c:pt>
                <c:pt idx="770">
                  <c:v>14.79418604651163</c:v>
                </c:pt>
                <c:pt idx="771">
                  <c:v>14.79418604651163</c:v>
                </c:pt>
                <c:pt idx="772">
                  <c:v>14.79418604651163</c:v>
                </c:pt>
                <c:pt idx="773">
                  <c:v>14.79418604651163</c:v>
                </c:pt>
                <c:pt idx="774">
                  <c:v>14.79418604651163</c:v>
                </c:pt>
                <c:pt idx="775">
                  <c:v>14.79418604651163</c:v>
                </c:pt>
                <c:pt idx="776">
                  <c:v>14.79418604651163</c:v>
                </c:pt>
                <c:pt idx="777">
                  <c:v>14.79418604651163</c:v>
                </c:pt>
                <c:pt idx="778">
                  <c:v>14.79418604651163</c:v>
                </c:pt>
                <c:pt idx="779">
                  <c:v>14.79418604651163</c:v>
                </c:pt>
                <c:pt idx="780">
                  <c:v>14.79418604651163</c:v>
                </c:pt>
                <c:pt idx="781">
                  <c:v>14.79418604651163</c:v>
                </c:pt>
                <c:pt idx="782">
                  <c:v>14.79418604651163</c:v>
                </c:pt>
                <c:pt idx="783">
                  <c:v>14.79418604651163</c:v>
                </c:pt>
                <c:pt idx="784">
                  <c:v>14.79418604651163</c:v>
                </c:pt>
                <c:pt idx="785">
                  <c:v>14.79418604651163</c:v>
                </c:pt>
                <c:pt idx="786">
                  <c:v>14.79418604651163</c:v>
                </c:pt>
                <c:pt idx="787">
                  <c:v>14.79418604651163</c:v>
                </c:pt>
                <c:pt idx="788">
                  <c:v>14.79418604651163</c:v>
                </c:pt>
                <c:pt idx="789">
                  <c:v>14.79418604651163</c:v>
                </c:pt>
                <c:pt idx="790">
                  <c:v>14.79418604651163</c:v>
                </c:pt>
                <c:pt idx="791">
                  <c:v>14.79418604651163</c:v>
                </c:pt>
                <c:pt idx="792">
                  <c:v>14.79418604651163</c:v>
                </c:pt>
                <c:pt idx="793">
                  <c:v>14.79418604651163</c:v>
                </c:pt>
                <c:pt idx="794">
                  <c:v>14.79418604651163</c:v>
                </c:pt>
                <c:pt idx="795">
                  <c:v>14.79418604651163</c:v>
                </c:pt>
                <c:pt idx="796">
                  <c:v>14.79418604651163</c:v>
                </c:pt>
                <c:pt idx="797">
                  <c:v>14.79418604651163</c:v>
                </c:pt>
                <c:pt idx="798">
                  <c:v>14.79418604651163</c:v>
                </c:pt>
                <c:pt idx="799">
                  <c:v>14.79418604651163</c:v>
                </c:pt>
                <c:pt idx="800">
                  <c:v>14.79418604651163</c:v>
                </c:pt>
                <c:pt idx="801">
                  <c:v>14.79418604651163</c:v>
                </c:pt>
                <c:pt idx="802">
                  <c:v>14.79418604651163</c:v>
                </c:pt>
                <c:pt idx="803">
                  <c:v>14.79418604651163</c:v>
                </c:pt>
                <c:pt idx="804">
                  <c:v>14.79418604651163</c:v>
                </c:pt>
                <c:pt idx="805">
                  <c:v>14.79418604651163</c:v>
                </c:pt>
                <c:pt idx="806">
                  <c:v>14.79418604651163</c:v>
                </c:pt>
                <c:pt idx="807">
                  <c:v>14.79418604651163</c:v>
                </c:pt>
                <c:pt idx="808">
                  <c:v>14.79418604651163</c:v>
                </c:pt>
                <c:pt idx="809">
                  <c:v>14.79418604651163</c:v>
                </c:pt>
                <c:pt idx="810">
                  <c:v>14.79418604651163</c:v>
                </c:pt>
                <c:pt idx="811">
                  <c:v>14.79418604651163</c:v>
                </c:pt>
                <c:pt idx="812">
                  <c:v>14.79418604651163</c:v>
                </c:pt>
                <c:pt idx="813">
                  <c:v>14.79418604651163</c:v>
                </c:pt>
                <c:pt idx="814">
                  <c:v>14.79418604651163</c:v>
                </c:pt>
                <c:pt idx="815">
                  <c:v>14.79418604651163</c:v>
                </c:pt>
                <c:pt idx="816">
                  <c:v>14.79418604651163</c:v>
                </c:pt>
                <c:pt idx="817">
                  <c:v>14.79418604651163</c:v>
                </c:pt>
                <c:pt idx="818">
                  <c:v>14.79418604651163</c:v>
                </c:pt>
                <c:pt idx="819">
                  <c:v>14.79418604651163</c:v>
                </c:pt>
                <c:pt idx="820">
                  <c:v>14.79418604651163</c:v>
                </c:pt>
                <c:pt idx="821">
                  <c:v>14.79418604651163</c:v>
                </c:pt>
                <c:pt idx="822">
                  <c:v>14.79418604651163</c:v>
                </c:pt>
                <c:pt idx="823">
                  <c:v>14.79418604651163</c:v>
                </c:pt>
                <c:pt idx="824">
                  <c:v>14.79418604651163</c:v>
                </c:pt>
                <c:pt idx="825">
                  <c:v>14.79418604651163</c:v>
                </c:pt>
                <c:pt idx="826">
                  <c:v>14.79418604651163</c:v>
                </c:pt>
                <c:pt idx="827">
                  <c:v>14.79418604651163</c:v>
                </c:pt>
                <c:pt idx="828">
                  <c:v>14.79418604651163</c:v>
                </c:pt>
                <c:pt idx="829">
                  <c:v>14.79418604651163</c:v>
                </c:pt>
                <c:pt idx="830">
                  <c:v>14.79418604651163</c:v>
                </c:pt>
                <c:pt idx="831">
                  <c:v>14.79418604651163</c:v>
                </c:pt>
                <c:pt idx="832">
                  <c:v>14.79418604651163</c:v>
                </c:pt>
                <c:pt idx="833">
                  <c:v>14.79418604651163</c:v>
                </c:pt>
                <c:pt idx="834">
                  <c:v>14.79418604651163</c:v>
                </c:pt>
                <c:pt idx="835">
                  <c:v>14.79418604651163</c:v>
                </c:pt>
                <c:pt idx="836">
                  <c:v>14.79418604651163</c:v>
                </c:pt>
                <c:pt idx="837">
                  <c:v>14.79418604651163</c:v>
                </c:pt>
                <c:pt idx="838">
                  <c:v>14.79418604651163</c:v>
                </c:pt>
                <c:pt idx="839">
                  <c:v>14.79418604651163</c:v>
                </c:pt>
                <c:pt idx="840">
                  <c:v>14.79418604651163</c:v>
                </c:pt>
                <c:pt idx="841">
                  <c:v>14.79418604651163</c:v>
                </c:pt>
                <c:pt idx="842">
                  <c:v>14.79418604651163</c:v>
                </c:pt>
                <c:pt idx="843">
                  <c:v>14.79418604651163</c:v>
                </c:pt>
                <c:pt idx="844">
                  <c:v>14.79418604651163</c:v>
                </c:pt>
                <c:pt idx="845">
                  <c:v>14.79418604651163</c:v>
                </c:pt>
                <c:pt idx="846">
                  <c:v>14.79418604651163</c:v>
                </c:pt>
                <c:pt idx="847">
                  <c:v>14.79418604651163</c:v>
                </c:pt>
                <c:pt idx="848">
                  <c:v>14.79418604651163</c:v>
                </c:pt>
                <c:pt idx="849">
                  <c:v>14.79418604651163</c:v>
                </c:pt>
                <c:pt idx="850">
                  <c:v>14.79418604651163</c:v>
                </c:pt>
                <c:pt idx="851">
                  <c:v>14.79418604651163</c:v>
                </c:pt>
                <c:pt idx="852">
                  <c:v>14.79418604651163</c:v>
                </c:pt>
                <c:pt idx="853">
                  <c:v>14.79418604651163</c:v>
                </c:pt>
                <c:pt idx="854">
                  <c:v>14.79418604651163</c:v>
                </c:pt>
                <c:pt idx="855">
                  <c:v>14.79418604651163</c:v>
                </c:pt>
                <c:pt idx="856">
                  <c:v>14.79418604651163</c:v>
                </c:pt>
                <c:pt idx="857">
                  <c:v>14.79418604651163</c:v>
                </c:pt>
                <c:pt idx="858">
                  <c:v>14.79418604651163</c:v>
                </c:pt>
                <c:pt idx="859">
                  <c:v>14.79418604651163</c:v>
                </c:pt>
                <c:pt idx="860">
                  <c:v>14.79418604651163</c:v>
                </c:pt>
                <c:pt idx="861">
                  <c:v>14.79418604651163</c:v>
                </c:pt>
                <c:pt idx="862">
                  <c:v>14.79418604651163</c:v>
                </c:pt>
                <c:pt idx="863">
                  <c:v>14.79418604651163</c:v>
                </c:pt>
                <c:pt idx="864">
                  <c:v>14.79418604651163</c:v>
                </c:pt>
                <c:pt idx="865">
                  <c:v>14.79418604651163</c:v>
                </c:pt>
                <c:pt idx="866">
                  <c:v>14.79418604651163</c:v>
                </c:pt>
                <c:pt idx="867">
                  <c:v>14.79418604651163</c:v>
                </c:pt>
                <c:pt idx="868">
                  <c:v>14.79418604651163</c:v>
                </c:pt>
                <c:pt idx="869">
                  <c:v>14.79418604651163</c:v>
                </c:pt>
                <c:pt idx="870">
                  <c:v>14.79418604651163</c:v>
                </c:pt>
                <c:pt idx="871">
                  <c:v>14.79418604651163</c:v>
                </c:pt>
                <c:pt idx="872">
                  <c:v>14.79418604651163</c:v>
                </c:pt>
                <c:pt idx="873">
                  <c:v>14.79418604651163</c:v>
                </c:pt>
                <c:pt idx="874">
                  <c:v>14.79418604651163</c:v>
                </c:pt>
                <c:pt idx="875">
                  <c:v>14.79418604651163</c:v>
                </c:pt>
                <c:pt idx="876">
                  <c:v>14.79418604651163</c:v>
                </c:pt>
                <c:pt idx="877">
                  <c:v>14.79418604651163</c:v>
                </c:pt>
                <c:pt idx="878">
                  <c:v>14.79418604651163</c:v>
                </c:pt>
                <c:pt idx="879">
                  <c:v>14.79418604651163</c:v>
                </c:pt>
                <c:pt idx="880">
                  <c:v>14.79418604651163</c:v>
                </c:pt>
                <c:pt idx="881">
                  <c:v>14.79418604651163</c:v>
                </c:pt>
                <c:pt idx="882">
                  <c:v>14.79418604651163</c:v>
                </c:pt>
                <c:pt idx="883">
                  <c:v>14.79418604651163</c:v>
                </c:pt>
                <c:pt idx="884">
                  <c:v>14.79418604651163</c:v>
                </c:pt>
                <c:pt idx="885">
                  <c:v>14.79418604651163</c:v>
                </c:pt>
                <c:pt idx="886">
                  <c:v>14.79418604651163</c:v>
                </c:pt>
                <c:pt idx="887">
                  <c:v>14.79418604651163</c:v>
                </c:pt>
                <c:pt idx="888">
                  <c:v>14.79418604651163</c:v>
                </c:pt>
                <c:pt idx="889">
                  <c:v>14.79418604651163</c:v>
                </c:pt>
                <c:pt idx="890">
                  <c:v>14.79418604651163</c:v>
                </c:pt>
                <c:pt idx="891">
                  <c:v>14.79418604651163</c:v>
                </c:pt>
                <c:pt idx="892">
                  <c:v>14.79418604651163</c:v>
                </c:pt>
                <c:pt idx="893">
                  <c:v>14.79418604651163</c:v>
                </c:pt>
                <c:pt idx="894">
                  <c:v>14.79418604651163</c:v>
                </c:pt>
                <c:pt idx="895">
                  <c:v>14.79418604651163</c:v>
                </c:pt>
                <c:pt idx="896">
                  <c:v>14.79418604651163</c:v>
                </c:pt>
                <c:pt idx="897">
                  <c:v>14.79418604651163</c:v>
                </c:pt>
                <c:pt idx="898">
                  <c:v>14.79418604651163</c:v>
                </c:pt>
                <c:pt idx="899">
                  <c:v>14.79418604651163</c:v>
                </c:pt>
                <c:pt idx="900">
                  <c:v>14.79418604651163</c:v>
                </c:pt>
                <c:pt idx="901">
                  <c:v>14.79418604651163</c:v>
                </c:pt>
                <c:pt idx="902">
                  <c:v>14.79418604651163</c:v>
                </c:pt>
                <c:pt idx="903">
                  <c:v>14.79418604651163</c:v>
                </c:pt>
                <c:pt idx="904">
                  <c:v>14.79418604651163</c:v>
                </c:pt>
                <c:pt idx="905">
                  <c:v>14.79418604651163</c:v>
                </c:pt>
                <c:pt idx="906">
                  <c:v>14.79418604651163</c:v>
                </c:pt>
                <c:pt idx="907">
                  <c:v>14.79418604651163</c:v>
                </c:pt>
                <c:pt idx="908">
                  <c:v>14.79418604651163</c:v>
                </c:pt>
                <c:pt idx="909">
                  <c:v>14.79418604651163</c:v>
                </c:pt>
                <c:pt idx="910">
                  <c:v>14.79418604651163</c:v>
                </c:pt>
                <c:pt idx="911">
                  <c:v>14.79418604651163</c:v>
                </c:pt>
                <c:pt idx="912">
                  <c:v>14.79418604651163</c:v>
                </c:pt>
                <c:pt idx="913">
                  <c:v>14.79418604651163</c:v>
                </c:pt>
                <c:pt idx="914">
                  <c:v>14.79418604651163</c:v>
                </c:pt>
                <c:pt idx="915">
                  <c:v>14.79418604651163</c:v>
                </c:pt>
                <c:pt idx="916">
                  <c:v>14.79418604651163</c:v>
                </c:pt>
                <c:pt idx="917">
                  <c:v>14.79418604651163</c:v>
                </c:pt>
                <c:pt idx="918">
                  <c:v>14.79418604651163</c:v>
                </c:pt>
                <c:pt idx="919">
                  <c:v>14.79418604651163</c:v>
                </c:pt>
                <c:pt idx="920">
                  <c:v>14.79418604651163</c:v>
                </c:pt>
                <c:pt idx="921">
                  <c:v>14.79418604651163</c:v>
                </c:pt>
                <c:pt idx="922">
                  <c:v>14.79418604651163</c:v>
                </c:pt>
                <c:pt idx="923">
                  <c:v>14.79418604651163</c:v>
                </c:pt>
                <c:pt idx="924">
                  <c:v>14.79418604651163</c:v>
                </c:pt>
                <c:pt idx="925">
                  <c:v>14.79418604651163</c:v>
                </c:pt>
                <c:pt idx="926">
                  <c:v>14.79418604651163</c:v>
                </c:pt>
                <c:pt idx="927">
                  <c:v>14.79418604651163</c:v>
                </c:pt>
                <c:pt idx="928">
                  <c:v>14.79418604651163</c:v>
                </c:pt>
                <c:pt idx="929">
                  <c:v>14.79418604651163</c:v>
                </c:pt>
                <c:pt idx="930">
                  <c:v>14.79418604651163</c:v>
                </c:pt>
                <c:pt idx="931">
                  <c:v>14.79418604651163</c:v>
                </c:pt>
                <c:pt idx="932">
                  <c:v>14.79418604651163</c:v>
                </c:pt>
                <c:pt idx="933">
                  <c:v>14.79418604651163</c:v>
                </c:pt>
                <c:pt idx="934">
                  <c:v>14.79418604651163</c:v>
                </c:pt>
                <c:pt idx="935">
                  <c:v>14.79418604651163</c:v>
                </c:pt>
                <c:pt idx="936">
                  <c:v>14.79418604651163</c:v>
                </c:pt>
                <c:pt idx="937">
                  <c:v>14.79418604651163</c:v>
                </c:pt>
                <c:pt idx="938">
                  <c:v>14.79418604651163</c:v>
                </c:pt>
                <c:pt idx="939">
                  <c:v>14.79418604651163</c:v>
                </c:pt>
                <c:pt idx="940">
                  <c:v>14.79418604651163</c:v>
                </c:pt>
                <c:pt idx="941">
                  <c:v>14.79418604651163</c:v>
                </c:pt>
                <c:pt idx="942">
                  <c:v>14.79418604651163</c:v>
                </c:pt>
                <c:pt idx="943">
                  <c:v>14.79418604651163</c:v>
                </c:pt>
                <c:pt idx="944">
                  <c:v>14.79418604651163</c:v>
                </c:pt>
                <c:pt idx="945">
                  <c:v>14.79418604651163</c:v>
                </c:pt>
                <c:pt idx="946">
                  <c:v>14.79418604651163</c:v>
                </c:pt>
                <c:pt idx="947">
                  <c:v>14.79418604651163</c:v>
                </c:pt>
                <c:pt idx="948">
                  <c:v>14.79418604651163</c:v>
                </c:pt>
                <c:pt idx="949">
                  <c:v>14.79418604651163</c:v>
                </c:pt>
                <c:pt idx="950">
                  <c:v>14.79418604651163</c:v>
                </c:pt>
                <c:pt idx="951">
                  <c:v>14.79418604651163</c:v>
                </c:pt>
                <c:pt idx="952">
                  <c:v>14.79418604651163</c:v>
                </c:pt>
                <c:pt idx="953">
                  <c:v>14.79418604651163</c:v>
                </c:pt>
                <c:pt idx="954">
                  <c:v>14.79418604651163</c:v>
                </c:pt>
                <c:pt idx="955">
                  <c:v>14.79418604651163</c:v>
                </c:pt>
                <c:pt idx="956">
                  <c:v>14.79418604651163</c:v>
                </c:pt>
                <c:pt idx="957">
                  <c:v>14.79418604651163</c:v>
                </c:pt>
                <c:pt idx="958">
                  <c:v>14.79418604651163</c:v>
                </c:pt>
                <c:pt idx="959">
                  <c:v>14.79418604651163</c:v>
                </c:pt>
                <c:pt idx="960">
                  <c:v>14.79418604651163</c:v>
                </c:pt>
                <c:pt idx="961">
                  <c:v>14.79418604651163</c:v>
                </c:pt>
                <c:pt idx="962">
                  <c:v>14.79418604651163</c:v>
                </c:pt>
                <c:pt idx="963">
                  <c:v>14.79418604651163</c:v>
                </c:pt>
                <c:pt idx="964">
                  <c:v>14.79418604651163</c:v>
                </c:pt>
                <c:pt idx="965">
                  <c:v>14.79418604651163</c:v>
                </c:pt>
                <c:pt idx="966">
                  <c:v>14.79418604651163</c:v>
                </c:pt>
                <c:pt idx="967">
                  <c:v>14.79418604651163</c:v>
                </c:pt>
                <c:pt idx="968">
                  <c:v>14.79418604651163</c:v>
                </c:pt>
                <c:pt idx="969">
                  <c:v>14.79418604651163</c:v>
                </c:pt>
                <c:pt idx="970">
                  <c:v>14.79418604651163</c:v>
                </c:pt>
                <c:pt idx="971">
                  <c:v>14.79418604651163</c:v>
                </c:pt>
                <c:pt idx="972">
                  <c:v>14.79418604651163</c:v>
                </c:pt>
                <c:pt idx="973">
                  <c:v>14.79418604651163</c:v>
                </c:pt>
                <c:pt idx="974">
                  <c:v>14.79418604651163</c:v>
                </c:pt>
                <c:pt idx="975">
                  <c:v>14.79418604651163</c:v>
                </c:pt>
                <c:pt idx="976">
                  <c:v>14.79418604651163</c:v>
                </c:pt>
                <c:pt idx="977">
                  <c:v>14.79418604651163</c:v>
                </c:pt>
                <c:pt idx="978">
                  <c:v>14.79418604651163</c:v>
                </c:pt>
                <c:pt idx="979">
                  <c:v>14.79418604651163</c:v>
                </c:pt>
                <c:pt idx="980">
                  <c:v>14.79418604651163</c:v>
                </c:pt>
                <c:pt idx="981">
                  <c:v>14.79418604651163</c:v>
                </c:pt>
                <c:pt idx="982">
                  <c:v>14.79418604651163</c:v>
                </c:pt>
                <c:pt idx="983">
                  <c:v>14.79418604651163</c:v>
                </c:pt>
                <c:pt idx="984">
                  <c:v>14.79418604651163</c:v>
                </c:pt>
                <c:pt idx="985">
                  <c:v>14.79418604651163</c:v>
                </c:pt>
                <c:pt idx="986">
                  <c:v>14.79418604651163</c:v>
                </c:pt>
                <c:pt idx="987">
                  <c:v>14.79418604651163</c:v>
                </c:pt>
                <c:pt idx="988">
                  <c:v>14.79418604651163</c:v>
                </c:pt>
                <c:pt idx="989">
                  <c:v>14.79418604651163</c:v>
                </c:pt>
                <c:pt idx="990">
                  <c:v>14.79418604651163</c:v>
                </c:pt>
                <c:pt idx="991">
                  <c:v>14.79418604651163</c:v>
                </c:pt>
                <c:pt idx="992">
                  <c:v>14.79418604651163</c:v>
                </c:pt>
                <c:pt idx="993">
                  <c:v>14.79418604651163</c:v>
                </c:pt>
                <c:pt idx="994">
                  <c:v>14.79418604651163</c:v>
                </c:pt>
                <c:pt idx="995">
                  <c:v>14.79418604651163</c:v>
                </c:pt>
                <c:pt idx="996">
                  <c:v>14.79418604651163</c:v>
                </c:pt>
                <c:pt idx="997">
                  <c:v>14.79418604651163</c:v>
                </c:pt>
                <c:pt idx="998">
                  <c:v>14.79418604651163</c:v>
                </c:pt>
                <c:pt idx="999">
                  <c:v>14.79418604651163</c:v>
                </c:pt>
                <c:pt idx="1000">
                  <c:v>14.79418604651163</c:v>
                </c:pt>
                <c:pt idx="1001">
                  <c:v>14.79418604651163</c:v>
                </c:pt>
                <c:pt idx="1002">
                  <c:v>14.79418604651163</c:v>
                </c:pt>
                <c:pt idx="1003">
                  <c:v>14.79418604651163</c:v>
                </c:pt>
                <c:pt idx="1004">
                  <c:v>14.79418604651163</c:v>
                </c:pt>
                <c:pt idx="1005">
                  <c:v>14.79418604651163</c:v>
                </c:pt>
                <c:pt idx="1006">
                  <c:v>14.79418604651163</c:v>
                </c:pt>
                <c:pt idx="1007">
                  <c:v>14.79418604651163</c:v>
                </c:pt>
                <c:pt idx="1008">
                  <c:v>14.79418604651163</c:v>
                </c:pt>
                <c:pt idx="1009">
                  <c:v>14.79418604651163</c:v>
                </c:pt>
                <c:pt idx="1010">
                  <c:v>14.79418604651163</c:v>
                </c:pt>
                <c:pt idx="1011">
                  <c:v>14.79418604651163</c:v>
                </c:pt>
                <c:pt idx="1012">
                  <c:v>14.79418604651163</c:v>
                </c:pt>
                <c:pt idx="1013">
                  <c:v>14.79418604651163</c:v>
                </c:pt>
                <c:pt idx="1014">
                  <c:v>14.79418604651163</c:v>
                </c:pt>
                <c:pt idx="1015">
                  <c:v>14.79418604651163</c:v>
                </c:pt>
                <c:pt idx="1016">
                  <c:v>14.79418604651163</c:v>
                </c:pt>
                <c:pt idx="1017">
                  <c:v>14.79418604651163</c:v>
                </c:pt>
                <c:pt idx="1018">
                  <c:v>14.79418604651163</c:v>
                </c:pt>
                <c:pt idx="1019">
                  <c:v>14.79418604651163</c:v>
                </c:pt>
                <c:pt idx="1020">
                  <c:v>14.79418604651163</c:v>
                </c:pt>
                <c:pt idx="1021">
                  <c:v>14.79418604651163</c:v>
                </c:pt>
                <c:pt idx="1022">
                  <c:v>14.79418604651163</c:v>
                </c:pt>
                <c:pt idx="1023">
                  <c:v>14.79418604651163</c:v>
                </c:pt>
                <c:pt idx="1024">
                  <c:v>14.79418604651163</c:v>
                </c:pt>
                <c:pt idx="1025">
                  <c:v>14.79418604651163</c:v>
                </c:pt>
                <c:pt idx="1026">
                  <c:v>14.79418604651163</c:v>
                </c:pt>
                <c:pt idx="1027">
                  <c:v>14.79418604651163</c:v>
                </c:pt>
                <c:pt idx="1028">
                  <c:v>14.79418604651163</c:v>
                </c:pt>
                <c:pt idx="1029">
                  <c:v>14.79418604651163</c:v>
                </c:pt>
                <c:pt idx="1030">
                  <c:v>14.79418604651163</c:v>
                </c:pt>
                <c:pt idx="1031">
                  <c:v>14.79418604651163</c:v>
                </c:pt>
                <c:pt idx="1032">
                  <c:v>14.79418604651163</c:v>
                </c:pt>
                <c:pt idx="1033">
                  <c:v>14.79418604651163</c:v>
                </c:pt>
                <c:pt idx="1034">
                  <c:v>14.79418604651163</c:v>
                </c:pt>
                <c:pt idx="1035">
                  <c:v>14.79418604651163</c:v>
                </c:pt>
                <c:pt idx="1036">
                  <c:v>14.79418604651163</c:v>
                </c:pt>
                <c:pt idx="1037">
                  <c:v>14.79418604651163</c:v>
                </c:pt>
                <c:pt idx="1038">
                  <c:v>14.79418604651163</c:v>
                </c:pt>
                <c:pt idx="1039">
                  <c:v>14.79418604651163</c:v>
                </c:pt>
                <c:pt idx="1040">
                  <c:v>14.79418604651163</c:v>
                </c:pt>
                <c:pt idx="1041">
                  <c:v>14.79418604651163</c:v>
                </c:pt>
                <c:pt idx="1042">
                  <c:v>14.79418604651163</c:v>
                </c:pt>
                <c:pt idx="1043">
                  <c:v>14.79418604651163</c:v>
                </c:pt>
                <c:pt idx="1044">
                  <c:v>14.79418604651163</c:v>
                </c:pt>
                <c:pt idx="1045">
                  <c:v>14.79418604651163</c:v>
                </c:pt>
                <c:pt idx="1046">
                  <c:v>14.79418604651163</c:v>
                </c:pt>
                <c:pt idx="1047">
                  <c:v>14.79418604651163</c:v>
                </c:pt>
                <c:pt idx="1048">
                  <c:v>14.79418604651163</c:v>
                </c:pt>
                <c:pt idx="1049">
                  <c:v>14.79418604651163</c:v>
                </c:pt>
                <c:pt idx="1050">
                  <c:v>14.79418604651163</c:v>
                </c:pt>
                <c:pt idx="1051">
                  <c:v>14.79418604651163</c:v>
                </c:pt>
                <c:pt idx="1052">
                  <c:v>14.79418604651163</c:v>
                </c:pt>
                <c:pt idx="1053">
                  <c:v>14.79418604651163</c:v>
                </c:pt>
                <c:pt idx="1054">
                  <c:v>14.79418604651163</c:v>
                </c:pt>
                <c:pt idx="1055">
                  <c:v>14.79418604651163</c:v>
                </c:pt>
                <c:pt idx="1056">
                  <c:v>14.79418604651163</c:v>
                </c:pt>
                <c:pt idx="1057">
                  <c:v>14.79418604651163</c:v>
                </c:pt>
                <c:pt idx="1058">
                  <c:v>14.79418604651163</c:v>
                </c:pt>
                <c:pt idx="1059">
                  <c:v>14.79418604651163</c:v>
                </c:pt>
                <c:pt idx="1060">
                  <c:v>14.79418604651163</c:v>
                </c:pt>
                <c:pt idx="1061">
                  <c:v>14.79418604651163</c:v>
                </c:pt>
                <c:pt idx="1062">
                  <c:v>14.79418604651163</c:v>
                </c:pt>
                <c:pt idx="1063">
                  <c:v>14.79418604651163</c:v>
                </c:pt>
                <c:pt idx="1064">
                  <c:v>14.79418604651163</c:v>
                </c:pt>
                <c:pt idx="1065">
                  <c:v>14.79418604651163</c:v>
                </c:pt>
                <c:pt idx="1066">
                  <c:v>14.79418604651163</c:v>
                </c:pt>
                <c:pt idx="1067">
                  <c:v>14.79418604651163</c:v>
                </c:pt>
                <c:pt idx="1068">
                  <c:v>14.79418604651163</c:v>
                </c:pt>
                <c:pt idx="1069">
                  <c:v>14.79418604651163</c:v>
                </c:pt>
                <c:pt idx="1070">
                  <c:v>14.79418604651163</c:v>
                </c:pt>
                <c:pt idx="1071">
                  <c:v>14.79418604651163</c:v>
                </c:pt>
                <c:pt idx="1072">
                  <c:v>14.79418604651163</c:v>
                </c:pt>
                <c:pt idx="1073">
                  <c:v>14.79418604651163</c:v>
                </c:pt>
                <c:pt idx="1074">
                  <c:v>14.79418604651163</c:v>
                </c:pt>
                <c:pt idx="1075">
                  <c:v>14.79418604651163</c:v>
                </c:pt>
                <c:pt idx="1076">
                  <c:v>14.79418604651163</c:v>
                </c:pt>
                <c:pt idx="1077">
                  <c:v>14.79418604651163</c:v>
                </c:pt>
                <c:pt idx="1078">
                  <c:v>14.79418604651163</c:v>
                </c:pt>
                <c:pt idx="1079">
                  <c:v>14.79418604651163</c:v>
                </c:pt>
                <c:pt idx="1080">
                  <c:v>14.79418604651163</c:v>
                </c:pt>
                <c:pt idx="1081">
                  <c:v>14.79418604651163</c:v>
                </c:pt>
                <c:pt idx="1082">
                  <c:v>14.79418604651163</c:v>
                </c:pt>
                <c:pt idx="1083">
                  <c:v>14.79418604651163</c:v>
                </c:pt>
                <c:pt idx="1084">
                  <c:v>14.79418604651163</c:v>
                </c:pt>
                <c:pt idx="1085">
                  <c:v>14.79418604651163</c:v>
                </c:pt>
                <c:pt idx="1086">
                  <c:v>14.79418604651163</c:v>
                </c:pt>
                <c:pt idx="1087">
                  <c:v>14.79418604651163</c:v>
                </c:pt>
                <c:pt idx="1088">
                  <c:v>14.79418604651163</c:v>
                </c:pt>
                <c:pt idx="1089">
                  <c:v>14.79418604651163</c:v>
                </c:pt>
                <c:pt idx="1090">
                  <c:v>14.79418604651163</c:v>
                </c:pt>
                <c:pt idx="1091">
                  <c:v>14.79418604651163</c:v>
                </c:pt>
                <c:pt idx="1092">
                  <c:v>14.79418604651163</c:v>
                </c:pt>
                <c:pt idx="1093">
                  <c:v>14.79418604651163</c:v>
                </c:pt>
                <c:pt idx="1094">
                  <c:v>14.79418604651163</c:v>
                </c:pt>
                <c:pt idx="1095">
                  <c:v>14.79418604651163</c:v>
                </c:pt>
                <c:pt idx="1096">
                  <c:v>14.79418604651163</c:v>
                </c:pt>
                <c:pt idx="1097">
                  <c:v>14.79418604651163</c:v>
                </c:pt>
                <c:pt idx="1098">
                  <c:v>14.79418604651163</c:v>
                </c:pt>
                <c:pt idx="1099">
                  <c:v>14.79418604651163</c:v>
                </c:pt>
                <c:pt idx="1100">
                  <c:v>14.79418604651163</c:v>
                </c:pt>
                <c:pt idx="1101">
                  <c:v>14.79418604651163</c:v>
                </c:pt>
                <c:pt idx="1102">
                  <c:v>14.79418604651163</c:v>
                </c:pt>
                <c:pt idx="1103">
                  <c:v>14.79418604651163</c:v>
                </c:pt>
                <c:pt idx="1104">
                  <c:v>14.79418604651163</c:v>
                </c:pt>
                <c:pt idx="1105">
                  <c:v>14.79418604651163</c:v>
                </c:pt>
                <c:pt idx="1106">
                  <c:v>14.79418604651163</c:v>
                </c:pt>
                <c:pt idx="1107">
                  <c:v>14.79418604651163</c:v>
                </c:pt>
                <c:pt idx="1108">
                  <c:v>14.79418604651163</c:v>
                </c:pt>
                <c:pt idx="1109">
                  <c:v>14.79418604651163</c:v>
                </c:pt>
                <c:pt idx="1110">
                  <c:v>14.79418604651163</c:v>
                </c:pt>
                <c:pt idx="1111">
                  <c:v>14.79418604651163</c:v>
                </c:pt>
                <c:pt idx="1112">
                  <c:v>14.79418604651163</c:v>
                </c:pt>
                <c:pt idx="1113">
                  <c:v>14.79418604651163</c:v>
                </c:pt>
                <c:pt idx="1114">
                  <c:v>14.79418604651163</c:v>
                </c:pt>
                <c:pt idx="1115">
                  <c:v>14.79418604651163</c:v>
                </c:pt>
                <c:pt idx="1116">
                  <c:v>14.79418604651163</c:v>
                </c:pt>
                <c:pt idx="1117">
                  <c:v>14.79418604651163</c:v>
                </c:pt>
                <c:pt idx="1118">
                  <c:v>14.79418604651163</c:v>
                </c:pt>
                <c:pt idx="1119">
                  <c:v>14.79418604651163</c:v>
                </c:pt>
                <c:pt idx="1120">
                  <c:v>14.79418604651163</c:v>
                </c:pt>
                <c:pt idx="1121">
                  <c:v>14.79418604651163</c:v>
                </c:pt>
                <c:pt idx="1122">
                  <c:v>14.79418604651163</c:v>
                </c:pt>
                <c:pt idx="1123">
                  <c:v>14.79418604651163</c:v>
                </c:pt>
                <c:pt idx="1124">
                  <c:v>14.79418604651163</c:v>
                </c:pt>
                <c:pt idx="1125">
                  <c:v>14.79418604651163</c:v>
                </c:pt>
                <c:pt idx="1126">
                  <c:v>14.79418604651163</c:v>
                </c:pt>
                <c:pt idx="1127">
                  <c:v>14.79418604651163</c:v>
                </c:pt>
                <c:pt idx="1128">
                  <c:v>14.79418604651163</c:v>
                </c:pt>
                <c:pt idx="1129">
                  <c:v>14.79418604651163</c:v>
                </c:pt>
                <c:pt idx="1130">
                  <c:v>14.79418604651163</c:v>
                </c:pt>
                <c:pt idx="1131">
                  <c:v>14.79418604651163</c:v>
                </c:pt>
                <c:pt idx="1132">
                  <c:v>14.79418604651163</c:v>
                </c:pt>
                <c:pt idx="1133">
                  <c:v>14.79418604651163</c:v>
                </c:pt>
                <c:pt idx="1134">
                  <c:v>14.79418604651163</c:v>
                </c:pt>
                <c:pt idx="1135">
                  <c:v>14.79418604651163</c:v>
                </c:pt>
                <c:pt idx="1136">
                  <c:v>14.79418604651163</c:v>
                </c:pt>
                <c:pt idx="1137">
                  <c:v>14.79418604651163</c:v>
                </c:pt>
                <c:pt idx="1138">
                  <c:v>14.79418604651163</c:v>
                </c:pt>
                <c:pt idx="1139">
                  <c:v>14.79418604651163</c:v>
                </c:pt>
                <c:pt idx="1140">
                  <c:v>14.79418604651163</c:v>
                </c:pt>
                <c:pt idx="1141">
                  <c:v>14.79418604651163</c:v>
                </c:pt>
                <c:pt idx="1142">
                  <c:v>14.79418604651163</c:v>
                </c:pt>
                <c:pt idx="1143">
                  <c:v>14.79418604651163</c:v>
                </c:pt>
                <c:pt idx="1144">
                  <c:v>14.79418604651163</c:v>
                </c:pt>
                <c:pt idx="1145">
                  <c:v>14.79418604651163</c:v>
                </c:pt>
                <c:pt idx="1146">
                  <c:v>14.79418604651163</c:v>
                </c:pt>
                <c:pt idx="1147">
                  <c:v>14.79418604651163</c:v>
                </c:pt>
                <c:pt idx="1148">
                  <c:v>14.79418604651163</c:v>
                </c:pt>
                <c:pt idx="1149">
                  <c:v>14.79418604651163</c:v>
                </c:pt>
                <c:pt idx="1150">
                  <c:v>14.79418604651163</c:v>
                </c:pt>
                <c:pt idx="1151">
                  <c:v>14.79418604651163</c:v>
                </c:pt>
                <c:pt idx="1152">
                  <c:v>14.79418604651163</c:v>
                </c:pt>
                <c:pt idx="1153">
                  <c:v>14.79418604651163</c:v>
                </c:pt>
                <c:pt idx="1154">
                  <c:v>14.79418604651163</c:v>
                </c:pt>
                <c:pt idx="1155">
                  <c:v>14.79418604651163</c:v>
                </c:pt>
                <c:pt idx="1156">
                  <c:v>14.79418604651163</c:v>
                </c:pt>
                <c:pt idx="1157">
                  <c:v>14.79418604651163</c:v>
                </c:pt>
                <c:pt idx="1158">
                  <c:v>14.79418604651163</c:v>
                </c:pt>
                <c:pt idx="1159">
                  <c:v>14.79418604651163</c:v>
                </c:pt>
                <c:pt idx="1160">
                  <c:v>14.79418604651163</c:v>
                </c:pt>
                <c:pt idx="1161">
                  <c:v>14.79418604651163</c:v>
                </c:pt>
                <c:pt idx="1162">
                  <c:v>14.79418604651163</c:v>
                </c:pt>
                <c:pt idx="1163">
                  <c:v>14.79418604651163</c:v>
                </c:pt>
                <c:pt idx="1164">
                  <c:v>14.79418604651163</c:v>
                </c:pt>
                <c:pt idx="1165">
                  <c:v>14.79418604651163</c:v>
                </c:pt>
                <c:pt idx="1166">
                  <c:v>14.79418604651163</c:v>
                </c:pt>
                <c:pt idx="1167">
                  <c:v>14.79418604651163</c:v>
                </c:pt>
                <c:pt idx="1168">
                  <c:v>14.79418604651163</c:v>
                </c:pt>
                <c:pt idx="1169">
                  <c:v>14.79418604651163</c:v>
                </c:pt>
                <c:pt idx="1170">
                  <c:v>14.79418604651163</c:v>
                </c:pt>
                <c:pt idx="1171">
                  <c:v>14.79418604651163</c:v>
                </c:pt>
                <c:pt idx="1172">
                  <c:v>14.79418604651163</c:v>
                </c:pt>
                <c:pt idx="1173">
                  <c:v>14.79418604651163</c:v>
                </c:pt>
                <c:pt idx="1174">
                  <c:v>14.79418604651163</c:v>
                </c:pt>
                <c:pt idx="1175">
                  <c:v>14.79418604651163</c:v>
                </c:pt>
                <c:pt idx="1176">
                  <c:v>14.79418604651163</c:v>
                </c:pt>
                <c:pt idx="1177">
                  <c:v>14.79418604651163</c:v>
                </c:pt>
                <c:pt idx="1178">
                  <c:v>14.79418604651163</c:v>
                </c:pt>
                <c:pt idx="1179">
                  <c:v>14.79418604651163</c:v>
                </c:pt>
                <c:pt idx="1180">
                  <c:v>14.79418604651163</c:v>
                </c:pt>
                <c:pt idx="1181">
                  <c:v>14.79418604651163</c:v>
                </c:pt>
                <c:pt idx="1182">
                  <c:v>14.79418604651163</c:v>
                </c:pt>
                <c:pt idx="1183">
                  <c:v>14.79418604651163</c:v>
                </c:pt>
                <c:pt idx="1184">
                  <c:v>14.79418604651163</c:v>
                </c:pt>
                <c:pt idx="1185">
                  <c:v>14.79418604651163</c:v>
                </c:pt>
                <c:pt idx="1186">
                  <c:v>14.79418604651163</c:v>
                </c:pt>
                <c:pt idx="1187">
                  <c:v>14.79418604651163</c:v>
                </c:pt>
                <c:pt idx="1188">
                  <c:v>14.79418604651163</c:v>
                </c:pt>
                <c:pt idx="1189">
                  <c:v>14.79418604651163</c:v>
                </c:pt>
                <c:pt idx="1190">
                  <c:v>14.79418604651163</c:v>
                </c:pt>
                <c:pt idx="1191">
                  <c:v>14.79418604651163</c:v>
                </c:pt>
                <c:pt idx="1192">
                  <c:v>14.79418604651163</c:v>
                </c:pt>
                <c:pt idx="1193">
                  <c:v>14.79418604651163</c:v>
                </c:pt>
                <c:pt idx="1194">
                  <c:v>14.79418604651163</c:v>
                </c:pt>
                <c:pt idx="1195">
                  <c:v>14.79418604651163</c:v>
                </c:pt>
                <c:pt idx="1196">
                  <c:v>14.79418604651163</c:v>
                </c:pt>
                <c:pt idx="1197">
                  <c:v>14.79418604651163</c:v>
                </c:pt>
                <c:pt idx="1198">
                  <c:v>14.79418604651163</c:v>
                </c:pt>
                <c:pt idx="1199">
                  <c:v>14.79418604651163</c:v>
                </c:pt>
                <c:pt idx="1200">
                  <c:v>14.79418604651163</c:v>
                </c:pt>
                <c:pt idx="1201">
                  <c:v>14.79418604651163</c:v>
                </c:pt>
                <c:pt idx="1202">
                  <c:v>14.79418604651163</c:v>
                </c:pt>
                <c:pt idx="1203">
                  <c:v>14.79418604651163</c:v>
                </c:pt>
                <c:pt idx="1204">
                  <c:v>14.79418604651163</c:v>
                </c:pt>
                <c:pt idx="1205">
                  <c:v>14.79418604651163</c:v>
                </c:pt>
                <c:pt idx="1206">
                  <c:v>14.79418604651163</c:v>
                </c:pt>
                <c:pt idx="1207">
                  <c:v>14.79418604651163</c:v>
                </c:pt>
                <c:pt idx="1208">
                  <c:v>14.79418604651163</c:v>
                </c:pt>
                <c:pt idx="1209">
                  <c:v>14.79418604651163</c:v>
                </c:pt>
                <c:pt idx="1210">
                  <c:v>14.79418604651163</c:v>
                </c:pt>
                <c:pt idx="1211">
                  <c:v>14.79418604651163</c:v>
                </c:pt>
                <c:pt idx="1212">
                  <c:v>14.79418604651163</c:v>
                </c:pt>
                <c:pt idx="1213">
                  <c:v>14.79418604651163</c:v>
                </c:pt>
                <c:pt idx="1214">
                  <c:v>14.79418604651163</c:v>
                </c:pt>
                <c:pt idx="1215">
                  <c:v>14.79418604651163</c:v>
                </c:pt>
                <c:pt idx="1216">
                  <c:v>14.79418604651163</c:v>
                </c:pt>
                <c:pt idx="1217">
                  <c:v>14.79418604651163</c:v>
                </c:pt>
                <c:pt idx="1218">
                  <c:v>14.79418604651163</c:v>
                </c:pt>
                <c:pt idx="1219">
                  <c:v>14.79418604651163</c:v>
                </c:pt>
                <c:pt idx="1220">
                  <c:v>14.79418604651163</c:v>
                </c:pt>
                <c:pt idx="1221">
                  <c:v>14.79418604651163</c:v>
                </c:pt>
                <c:pt idx="1222">
                  <c:v>14.79418604651163</c:v>
                </c:pt>
                <c:pt idx="1223">
                  <c:v>14.79418604651163</c:v>
                </c:pt>
                <c:pt idx="1224">
                  <c:v>14.79418604651163</c:v>
                </c:pt>
                <c:pt idx="1225">
                  <c:v>14.79418604651163</c:v>
                </c:pt>
                <c:pt idx="1226">
                  <c:v>14.79418604651163</c:v>
                </c:pt>
                <c:pt idx="1227">
                  <c:v>14.79418604651163</c:v>
                </c:pt>
                <c:pt idx="1228">
                  <c:v>14.79418604651163</c:v>
                </c:pt>
                <c:pt idx="1229">
                  <c:v>14.79418604651163</c:v>
                </c:pt>
                <c:pt idx="1230">
                  <c:v>14.79418604651163</c:v>
                </c:pt>
                <c:pt idx="1231">
                  <c:v>14.79418604651163</c:v>
                </c:pt>
                <c:pt idx="1232">
                  <c:v>14.79418604651163</c:v>
                </c:pt>
                <c:pt idx="1233">
                  <c:v>14.79418604651163</c:v>
                </c:pt>
                <c:pt idx="1234">
                  <c:v>14.79418604651163</c:v>
                </c:pt>
                <c:pt idx="1235">
                  <c:v>14.79418604651163</c:v>
                </c:pt>
                <c:pt idx="1236">
                  <c:v>14.79418604651163</c:v>
                </c:pt>
                <c:pt idx="1237">
                  <c:v>14.79418604651163</c:v>
                </c:pt>
                <c:pt idx="1238">
                  <c:v>14.79418604651163</c:v>
                </c:pt>
                <c:pt idx="1239">
                  <c:v>14.79418604651163</c:v>
                </c:pt>
                <c:pt idx="1240">
                  <c:v>14.79418604651163</c:v>
                </c:pt>
                <c:pt idx="1241">
                  <c:v>14.79418604651163</c:v>
                </c:pt>
                <c:pt idx="1242">
                  <c:v>14.79418604651163</c:v>
                </c:pt>
                <c:pt idx="1243">
                  <c:v>14.79418604651163</c:v>
                </c:pt>
                <c:pt idx="1244">
                  <c:v>14.79418604651163</c:v>
                </c:pt>
                <c:pt idx="1245">
                  <c:v>14.79418604651163</c:v>
                </c:pt>
                <c:pt idx="1246">
                  <c:v>14.79418604651163</c:v>
                </c:pt>
                <c:pt idx="1247">
                  <c:v>14.79418604651163</c:v>
                </c:pt>
                <c:pt idx="1248">
                  <c:v>14.79418604651163</c:v>
                </c:pt>
                <c:pt idx="1249">
                  <c:v>14.79418604651163</c:v>
                </c:pt>
                <c:pt idx="1250">
                  <c:v>14.79418604651163</c:v>
                </c:pt>
                <c:pt idx="1251">
                  <c:v>14.79418604651163</c:v>
                </c:pt>
                <c:pt idx="1252">
                  <c:v>14.79418604651163</c:v>
                </c:pt>
                <c:pt idx="1253">
                  <c:v>14.79418604651163</c:v>
                </c:pt>
                <c:pt idx="1254">
                  <c:v>14.79418604651163</c:v>
                </c:pt>
                <c:pt idx="1255">
                  <c:v>14.79418604651163</c:v>
                </c:pt>
                <c:pt idx="1256">
                  <c:v>14.79418604651163</c:v>
                </c:pt>
                <c:pt idx="1257">
                  <c:v>14.79418604651163</c:v>
                </c:pt>
                <c:pt idx="1258">
                  <c:v>14.79418604651163</c:v>
                </c:pt>
                <c:pt idx="1259">
                  <c:v>14.79418604651163</c:v>
                </c:pt>
                <c:pt idx="1260">
                  <c:v>14.79418604651163</c:v>
                </c:pt>
                <c:pt idx="1261">
                  <c:v>14.79418604651163</c:v>
                </c:pt>
                <c:pt idx="1262">
                  <c:v>14.79418604651163</c:v>
                </c:pt>
                <c:pt idx="1263">
                  <c:v>14.79418604651163</c:v>
                </c:pt>
                <c:pt idx="1264">
                  <c:v>14.79418604651163</c:v>
                </c:pt>
                <c:pt idx="1265">
                  <c:v>14.79418604651163</c:v>
                </c:pt>
                <c:pt idx="1266">
                  <c:v>14.79418604651163</c:v>
                </c:pt>
                <c:pt idx="1267">
                  <c:v>14.79418604651163</c:v>
                </c:pt>
                <c:pt idx="1268">
                  <c:v>14.79418604651163</c:v>
                </c:pt>
                <c:pt idx="1269">
                  <c:v>14.79418604651163</c:v>
                </c:pt>
                <c:pt idx="1270">
                  <c:v>14.79418604651163</c:v>
                </c:pt>
                <c:pt idx="1271">
                  <c:v>14.79418604651163</c:v>
                </c:pt>
                <c:pt idx="1272">
                  <c:v>14.79418604651163</c:v>
                </c:pt>
                <c:pt idx="1273">
                  <c:v>14.79418604651163</c:v>
                </c:pt>
                <c:pt idx="1274">
                  <c:v>14.79418604651163</c:v>
                </c:pt>
                <c:pt idx="1275">
                  <c:v>14.79418604651163</c:v>
                </c:pt>
                <c:pt idx="1276">
                  <c:v>14.79418604651163</c:v>
                </c:pt>
                <c:pt idx="1277">
                  <c:v>14.79418604651163</c:v>
                </c:pt>
                <c:pt idx="1278">
                  <c:v>14.79418604651163</c:v>
                </c:pt>
                <c:pt idx="1279">
                  <c:v>14.79418604651163</c:v>
                </c:pt>
                <c:pt idx="1280">
                  <c:v>14.79418604651163</c:v>
                </c:pt>
                <c:pt idx="1281">
                  <c:v>14.79418604651163</c:v>
                </c:pt>
                <c:pt idx="1282">
                  <c:v>14.79418604651163</c:v>
                </c:pt>
                <c:pt idx="1283">
                  <c:v>14.79418604651163</c:v>
                </c:pt>
                <c:pt idx="1284">
                  <c:v>14.79418604651163</c:v>
                </c:pt>
                <c:pt idx="1285">
                  <c:v>14.79418604651163</c:v>
                </c:pt>
                <c:pt idx="1286">
                  <c:v>14.79418604651163</c:v>
                </c:pt>
                <c:pt idx="1287">
                  <c:v>14.79418604651163</c:v>
                </c:pt>
                <c:pt idx="1288">
                  <c:v>14.79418604651163</c:v>
                </c:pt>
                <c:pt idx="1289">
                  <c:v>14.79418604651163</c:v>
                </c:pt>
                <c:pt idx="1290">
                  <c:v>14.79418604651163</c:v>
                </c:pt>
                <c:pt idx="1291">
                  <c:v>14.79418604651163</c:v>
                </c:pt>
                <c:pt idx="1292">
                  <c:v>14.79418604651163</c:v>
                </c:pt>
                <c:pt idx="1293">
                  <c:v>14.79418604651163</c:v>
                </c:pt>
                <c:pt idx="1294">
                  <c:v>14.79418604651163</c:v>
                </c:pt>
                <c:pt idx="1295">
                  <c:v>14.79418604651163</c:v>
                </c:pt>
                <c:pt idx="1296">
                  <c:v>14.79418604651163</c:v>
                </c:pt>
                <c:pt idx="1297">
                  <c:v>14.79418604651163</c:v>
                </c:pt>
                <c:pt idx="1298">
                  <c:v>14.79418604651163</c:v>
                </c:pt>
                <c:pt idx="1299">
                  <c:v>14.79418604651163</c:v>
                </c:pt>
                <c:pt idx="1300">
                  <c:v>14.79418604651163</c:v>
                </c:pt>
                <c:pt idx="1301">
                  <c:v>14.79418604651163</c:v>
                </c:pt>
                <c:pt idx="1302">
                  <c:v>14.79418604651163</c:v>
                </c:pt>
                <c:pt idx="1303">
                  <c:v>14.79418604651163</c:v>
                </c:pt>
                <c:pt idx="1304">
                  <c:v>14.79418604651163</c:v>
                </c:pt>
                <c:pt idx="1305">
                  <c:v>14.79418604651163</c:v>
                </c:pt>
                <c:pt idx="1306">
                  <c:v>14.79418604651163</c:v>
                </c:pt>
                <c:pt idx="1307">
                  <c:v>14.79418604651163</c:v>
                </c:pt>
                <c:pt idx="1308">
                  <c:v>14.79418604651163</c:v>
                </c:pt>
                <c:pt idx="1309">
                  <c:v>14.79418604651163</c:v>
                </c:pt>
                <c:pt idx="1310">
                  <c:v>14.79418604651163</c:v>
                </c:pt>
                <c:pt idx="1311">
                  <c:v>14.79418604651163</c:v>
                </c:pt>
                <c:pt idx="1312">
                  <c:v>14.79418604651163</c:v>
                </c:pt>
                <c:pt idx="1313">
                  <c:v>14.79418604651163</c:v>
                </c:pt>
                <c:pt idx="1314">
                  <c:v>14.79418604651163</c:v>
                </c:pt>
                <c:pt idx="1315">
                  <c:v>14.79418604651163</c:v>
                </c:pt>
                <c:pt idx="1316">
                  <c:v>14.79418604651163</c:v>
                </c:pt>
                <c:pt idx="1317">
                  <c:v>14.79418604651163</c:v>
                </c:pt>
                <c:pt idx="1318">
                  <c:v>14.79418604651163</c:v>
                </c:pt>
                <c:pt idx="1319">
                  <c:v>14.79418604651163</c:v>
                </c:pt>
                <c:pt idx="1320">
                  <c:v>14.79418604651163</c:v>
                </c:pt>
                <c:pt idx="1321">
                  <c:v>14.79418604651163</c:v>
                </c:pt>
                <c:pt idx="1322">
                  <c:v>14.79418604651163</c:v>
                </c:pt>
                <c:pt idx="1323">
                  <c:v>14.79418604651163</c:v>
                </c:pt>
                <c:pt idx="1324">
                  <c:v>14.79418604651163</c:v>
                </c:pt>
                <c:pt idx="1325">
                  <c:v>14.79418604651163</c:v>
                </c:pt>
                <c:pt idx="1326">
                  <c:v>14.79418604651163</c:v>
                </c:pt>
                <c:pt idx="1327">
                  <c:v>14.79418604651163</c:v>
                </c:pt>
                <c:pt idx="1328">
                  <c:v>14.79418604651163</c:v>
                </c:pt>
                <c:pt idx="1329">
                  <c:v>14.79418604651163</c:v>
                </c:pt>
                <c:pt idx="1330">
                  <c:v>14.79418604651163</c:v>
                </c:pt>
                <c:pt idx="1331">
                  <c:v>14.79418604651163</c:v>
                </c:pt>
                <c:pt idx="1332">
                  <c:v>14.79418604651163</c:v>
                </c:pt>
                <c:pt idx="1333">
                  <c:v>14.79418604651163</c:v>
                </c:pt>
                <c:pt idx="1334">
                  <c:v>14.79418604651163</c:v>
                </c:pt>
                <c:pt idx="1335">
                  <c:v>14.79418604651163</c:v>
                </c:pt>
                <c:pt idx="1336">
                  <c:v>14.79418604651163</c:v>
                </c:pt>
                <c:pt idx="1337">
                  <c:v>14.79418604651163</c:v>
                </c:pt>
                <c:pt idx="1338">
                  <c:v>14.79418604651163</c:v>
                </c:pt>
                <c:pt idx="1339">
                  <c:v>14.79418604651163</c:v>
                </c:pt>
                <c:pt idx="1340">
                  <c:v>14.79418604651163</c:v>
                </c:pt>
                <c:pt idx="1341">
                  <c:v>14.79418604651163</c:v>
                </c:pt>
                <c:pt idx="1342">
                  <c:v>14.79418604651163</c:v>
                </c:pt>
                <c:pt idx="1343">
                  <c:v>14.79418604651163</c:v>
                </c:pt>
                <c:pt idx="1344">
                  <c:v>14.79418604651163</c:v>
                </c:pt>
                <c:pt idx="1345">
                  <c:v>14.79418604651163</c:v>
                </c:pt>
                <c:pt idx="1346">
                  <c:v>14.79418604651163</c:v>
                </c:pt>
                <c:pt idx="1347">
                  <c:v>14.79418604651163</c:v>
                </c:pt>
                <c:pt idx="1348">
                  <c:v>14.79418604651163</c:v>
                </c:pt>
                <c:pt idx="1349">
                  <c:v>14.79418604651163</c:v>
                </c:pt>
                <c:pt idx="1350">
                  <c:v>14.79418604651163</c:v>
                </c:pt>
                <c:pt idx="1351">
                  <c:v>14.79418604651163</c:v>
                </c:pt>
                <c:pt idx="1352">
                  <c:v>14.79418604651163</c:v>
                </c:pt>
                <c:pt idx="1353">
                  <c:v>14.79418604651163</c:v>
                </c:pt>
                <c:pt idx="1354">
                  <c:v>14.79418604651163</c:v>
                </c:pt>
                <c:pt idx="1355">
                  <c:v>14.79418604651163</c:v>
                </c:pt>
                <c:pt idx="1356">
                  <c:v>14.79418604651163</c:v>
                </c:pt>
                <c:pt idx="1357">
                  <c:v>14.79418604651163</c:v>
                </c:pt>
                <c:pt idx="1358">
                  <c:v>14.79418604651163</c:v>
                </c:pt>
                <c:pt idx="1359">
                  <c:v>14.79418604651163</c:v>
                </c:pt>
                <c:pt idx="1360">
                  <c:v>14.79418604651163</c:v>
                </c:pt>
                <c:pt idx="1361">
                  <c:v>14.79418604651163</c:v>
                </c:pt>
                <c:pt idx="1362">
                  <c:v>14.79418604651163</c:v>
                </c:pt>
                <c:pt idx="1363">
                  <c:v>14.79418604651163</c:v>
                </c:pt>
                <c:pt idx="1364">
                  <c:v>14.79418604651163</c:v>
                </c:pt>
                <c:pt idx="1365">
                  <c:v>14.79418604651163</c:v>
                </c:pt>
                <c:pt idx="1366">
                  <c:v>14.79418604651163</c:v>
                </c:pt>
                <c:pt idx="1367">
                  <c:v>14.79418604651163</c:v>
                </c:pt>
                <c:pt idx="1368">
                  <c:v>14.79418604651163</c:v>
                </c:pt>
                <c:pt idx="1369">
                  <c:v>14.79418604651163</c:v>
                </c:pt>
                <c:pt idx="1370">
                  <c:v>14.79418604651163</c:v>
                </c:pt>
                <c:pt idx="1371">
                  <c:v>14.79418604651163</c:v>
                </c:pt>
                <c:pt idx="1372">
                  <c:v>14.79418604651163</c:v>
                </c:pt>
                <c:pt idx="1373">
                  <c:v>14.79418604651163</c:v>
                </c:pt>
                <c:pt idx="1374">
                  <c:v>14.79418604651163</c:v>
                </c:pt>
                <c:pt idx="1375">
                  <c:v>14.79418604651163</c:v>
                </c:pt>
                <c:pt idx="1376">
                  <c:v>14.79418604651163</c:v>
                </c:pt>
                <c:pt idx="1377">
                  <c:v>14.79418604651163</c:v>
                </c:pt>
                <c:pt idx="1378">
                  <c:v>14.79418604651163</c:v>
                </c:pt>
                <c:pt idx="1379">
                  <c:v>14.79418604651163</c:v>
                </c:pt>
                <c:pt idx="1380">
                  <c:v>14.79418604651163</c:v>
                </c:pt>
                <c:pt idx="1381">
                  <c:v>14.79418604651163</c:v>
                </c:pt>
                <c:pt idx="1382">
                  <c:v>14.79418604651163</c:v>
                </c:pt>
                <c:pt idx="1383">
                  <c:v>14.79418604651163</c:v>
                </c:pt>
                <c:pt idx="1384">
                  <c:v>14.79418604651163</c:v>
                </c:pt>
                <c:pt idx="1385">
                  <c:v>14.79418604651163</c:v>
                </c:pt>
                <c:pt idx="1386">
                  <c:v>14.79418604651163</c:v>
                </c:pt>
                <c:pt idx="1387">
                  <c:v>14.79418604651163</c:v>
                </c:pt>
                <c:pt idx="1388">
                  <c:v>14.79418604651163</c:v>
                </c:pt>
                <c:pt idx="1389">
                  <c:v>14.79418604651163</c:v>
                </c:pt>
                <c:pt idx="1390">
                  <c:v>14.79418604651163</c:v>
                </c:pt>
                <c:pt idx="1391">
                  <c:v>14.79418604651163</c:v>
                </c:pt>
                <c:pt idx="1392">
                  <c:v>14.79418604651163</c:v>
                </c:pt>
                <c:pt idx="1393">
                  <c:v>14.79418604651163</c:v>
                </c:pt>
                <c:pt idx="1394">
                  <c:v>14.79418604651163</c:v>
                </c:pt>
                <c:pt idx="1395">
                  <c:v>14.79418604651163</c:v>
                </c:pt>
                <c:pt idx="1396">
                  <c:v>14.79418604651163</c:v>
                </c:pt>
                <c:pt idx="1397">
                  <c:v>14.79418604651163</c:v>
                </c:pt>
                <c:pt idx="1398">
                  <c:v>14.79418604651163</c:v>
                </c:pt>
                <c:pt idx="1399">
                  <c:v>14.79418604651163</c:v>
                </c:pt>
                <c:pt idx="1400">
                  <c:v>14.79418604651163</c:v>
                </c:pt>
                <c:pt idx="1401">
                  <c:v>14.79418604651163</c:v>
                </c:pt>
                <c:pt idx="1402">
                  <c:v>14.79418604651163</c:v>
                </c:pt>
                <c:pt idx="1403">
                  <c:v>14.79418604651163</c:v>
                </c:pt>
                <c:pt idx="1404">
                  <c:v>14.79418604651163</c:v>
                </c:pt>
                <c:pt idx="1405">
                  <c:v>14.79418604651163</c:v>
                </c:pt>
                <c:pt idx="1406">
                  <c:v>14.79418604651163</c:v>
                </c:pt>
                <c:pt idx="1407">
                  <c:v>14.79418604651163</c:v>
                </c:pt>
                <c:pt idx="1408">
                  <c:v>14.79418604651163</c:v>
                </c:pt>
                <c:pt idx="1409">
                  <c:v>14.79418604651163</c:v>
                </c:pt>
                <c:pt idx="1410">
                  <c:v>14.79418604651163</c:v>
                </c:pt>
                <c:pt idx="1411">
                  <c:v>14.79418604651163</c:v>
                </c:pt>
                <c:pt idx="1412">
                  <c:v>14.79418604651163</c:v>
                </c:pt>
                <c:pt idx="1413">
                  <c:v>14.79418604651163</c:v>
                </c:pt>
                <c:pt idx="1414">
                  <c:v>14.79418604651163</c:v>
                </c:pt>
                <c:pt idx="1415">
                  <c:v>14.79418604651163</c:v>
                </c:pt>
                <c:pt idx="1416">
                  <c:v>14.79418604651163</c:v>
                </c:pt>
                <c:pt idx="1417">
                  <c:v>14.79418604651163</c:v>
                </c:pt>
                <c:pt idx="1418">
                  <c:v>14.79418604651163</c:v>
                </c:pt>
                <c:pt idx="1419">
                  <c:v>14.79418604651163</c:v>
                </c:pt>
                <c:pt idx="1420">
                  <c:v>14.79418604651163</c:v>
                </c:pt>
                <c:pt idx="1421">
                  <c:v>14.79418604651163</c:v>
                </c:pt>
                <c:pt idx="1422">
                  <c:v>14.79418604651163</c:v>
                </c:pt>
                <c:pt idx="1423">
                  <c:v>14.79418604651163</c:v>
                </c:pt>
                <c:pt idx="1424">
                  <c:v>14.79418604651163</c:v>
                </c:pt>
                <c:pt idx="1425">
                  <c:v>14.79418604651163</c:v>
                </c:pt>
                <c:pt idx="1426">
                  <c:v>14.79418604651163</c:v>
                </c:pt>
                <c:pt idx="1427">
                  <c:v>14.79418604651163</c:v>
                </c:pt>
                <c:pt idx="1428">
                  <c:v>14.79418604651163</c:v>
                </c:pt>
                <c:pt idx="1429">
                  <c:v>14.79418604651163</c:v>
                </c:pt>
                <c:pt idx="1430">
                  <c:v>14.79418604651163</c:v>
                </c:pt>
                <c:pt idx="1431">
                  <c:v>14.79418604651163</c:v>
                </c:pt>
                <c:pt idx="1432">
                  <c:v>14.79418604651163</c:v>
                </c:pt>
                <c:pt idx="1433">
                  <c:v>14.79418604651163</c:v>
                </c:pt>
                <c:pt idx="1434">
                  <c:v>14.79418604651163</c:v>
                </c:pt>
                <c:pt idx="1435">
                  <c:v>14.79418604651163</c:v>
                </c:pt>
                <c:pt idx="1436">
                  <c:v>14.79418604651163</c:v>
                </c:pt>
                <c:pt idx="1437">
                  <c:v>14.79418604651163</c:v>
                </c:pt>
                <c:pt idx="1438">
                  <c:v>14.79418604651163</c:v>
                </c:pt>
                <c:pt idx="1439">
                  <c:v>14.79418604651163</c:v>
                </c:pt>
                <c:pt idx="1440">
                  <c:v>14.79418604651163</c:v>
                </c:pt>
                <c:pt idx="1441">
                  <c:v>14.79418604651163</c:v>
                </c:pt>
                <c:pt idx="1442">
                  <c:v>14.79418604651163</c:v>
                </c:pt>
                <c:pt idx="1443">
                  <c:v>14.79418604651163</c:v>
                </c:pt>
                <c:pt idx="1444">
                  <c:v>14.79418604651163</c:v>
                </c:pt>
                <c:pt idx="1445">
                  <c:v>14.79418604651163</c:v>
                </c:pt>
                <c:pt idx="1446">
                  <c:v>14.79418604651163</c:v>
                </c:pt>
                <c:pt idx="1447">
                  <c:v>14.79418604651163</c:v>
                </c:pt>
                <c:pt idx="1448">
                  <c:v>14.79418604651163</c:v>
                </c:pt>
                <c:pt idx="1449">
                  <c:v>14.79418604651163</c:v>
                </c:pt>
                <c:pt idx="1450">
                  <c:v>14.79418604651163</c:v>
                </c:pt>
                <c:pt idx="1451">
                  <c:v>14.79418604651163</c:v>
                </c:pt>
                <c:pt idx="1452">
                  <c:v>14.79418604651163</c:v>
                </c:pt>
                <c:pt idx="1453">
                  <c:v>14.79418604651163</c:v>
                </c:pt>
                <c:pt idx="1454">
                  <c:v>14.79418604651163</c:v>
                </c:pt>
                <c:pt idx="1455">
                  <c:v>14.79418604651163</c:v>
                </c:pt>
                <c:pt idx="1456">
                  <c:v>14.79418604651163</c:v>
                </c:pt>
                <c:pt idx="1457">
                  <c:v>14.79418604651163</c:v>
                </c:pt>
                <c:pt idx="1458">
                  <c:v>14.79418604651163</c:v>
                </c:pt>
                <c:pt idx="1459">
                  <c:v>14.79418604651163</c:v>
                </c:pt>
                <c:pt idx="1460">
                  <c:v>14.79418604651163</c:v>
                </c:pt>
                <c:pt idx="1461">
                  <c:v>14.79418604651163</c:v>
                </c:pt>
                <c:pt idx="1462">
                  <c:v>14.79418604651163</c:v>
                </c:pt>
                <c:pt idx="1463">
                  <c:v>14.79418604651163</c:v>
                </c:pt>
                <c:pt idx="1464">
                  <c:v>14.79418604651163</c:v>
                </c:pt>
                <c:pt idx="1465">
                  <c:v>14.79418604651163</c:v>
                </c:pt>
                <c:pt idx="1466">
                  <c:v>14.79418604651163</c:v>
                </c:pt>
                <c:pt idx="1467">
                  <c:v>14.79418604651163</c:v>
                </c:pt>
                <c:pt idx="1468">
                  <c:v>14.79418604651163</c:v>
                </c:pt>
                <c:pt idx="1469">
                  <c:v>14.79418604651163</c:v>
                </c:pt>
                <c:pt idx="1470">
                  <c:v>14.79418604651163</c:v>
                </c:pt>
                <c:pt idx="1471">
                  <c:v>14.79418604651163</c:v>
                </c:pt>
                <c:pt idx="1472">
                  <c:v>14.79418604651163</c:v>
                </c:pt>
                <c:pt idx="1473">
                  <c:v>14.79418604651163</c:v>
                </c:pt>
                <c:pt idx="1474">
                  <c:v>14.79418604651163</c:v>
                </c:pt>
                <c:pt idx="1475">
                  <c:v>14.79418604651163</c:v>
                </c:pt>
                <c:pt idx="1476">
                  <c:v>14.79418604651163</c:v>
                </c:pt>
                <c:pt idx="1477">
                  <c:v>14.79418604651163</c:v>
                </c:pt>
                <c:pt idx="1478">
                  <c:v>14.79418604651163</c:v>
                </c:pt>
                <c:pt idx="1479">
                  <c:v>14.79418604651163</c:v>
                </c:pt>
                <c:pt idx="1480">
                  <c:v>14.79418604651163</c:v>
                </c:pt>
                <c:pt idx="1481">
                  <c:v>14.79418604651163</c:v>
                </c:pt>
                <c:pt idx="1482">
                  <c:v>14.79418604651163</c:v>
                </c:pt>
                <c:pt idx="1483">
                  <c:v>14.79418604651163</c:v>
                </c:pt>
                <c:pt idx="1484">
                  <c:v>14.79418604651163</c:v>
                </c:pt>
                <c:pt idx="1485">
                  <c:v>14.79418604651163</c:v>
                </c:pt>
                <c:pt idx="1486">
                  <c:v>14.79418604651163</c:v>
                </c:pt>
                <c:pt idx="1487">
                  <c:v>14.79418604651163</c:v>
                </c:pt>
                <c:pt idx="1488">
                  <c:v>14.79418604651163</c:v>
                </c:pt>
                <c:pt idx="1489">
                  <c:v>14.79418604651163</c:v>
                </c:pt>
                <c:pt idx="1490">
                  <c:v>14.79418604651163</c:v>
                </c:pt>
                <c:pt idx="1491">
                  <c:v>14.79418604651163</c:v>
                </c:pt>
                <c:pt idx="1492">
                  <c:v>14.79418604651163</c:v>
                </c:pt>
                <c:pt idx="1493">
                  <c:v>14.79418604651163</c:v>
                </c:pt>
                <c:pt idx="1494">
                  <c:v>14.79418604651163</c:v>
                </c:pt>
                <c:pt idx="1495">
                  <c:v>14.79418604651163</c:v>
                </c:pt>
                <c:pt idx="1496">
                  <c:v>14.79418604651163</c:v>
                </c:pt>
                <c:pt idx="1497">
                  <c:v>14.79418604651163</c:v>
                </c:pt>
                <c:pt idx="1498">
                  <c:v>14.79418604651163</c:v>
                </c:pt>
                <c:pt idx="1499">
                  <c:v>14.79418604651163</c:v>
                </c:pt>
                <c:pt idx="1500">
                  <c:v>14.79418604651163</c:v>
                </c:pt>
                <c:pt idx="1501">
                  <c:v>14.79418604651163</c:v>
                </c:pt>
                <c:pt idx="1502">
                  <c:v>14.79418604651163</c:v>
                </c:pt>
                <c:pt idx="1503">
                  <c:v>14.79418604651163</c:v>
                </c:pt>
                <c:pt idx="1504">
                  <c:v>14.79418604651163</c:v>
                </c:pt>
                <c:pt idx="1505">
                  <c:v>14.79418604651163</c:v>
                </c:pt>
                <c:pt idx="1506">
                  <c:v>14.79418604651163</c:v>
                </c:pt>
                <c:pt idx="1507">
                  <c:v>14.79418604651163</c:v>
                </c:pt>
                <c:pt idx="1508">
                  <c:v>14.79418604651163</c:v>
                </c:pt>
                <c:pt idx="1509">
                  <c:v>14.79418604651163</c:v>
                </c:pt>
                <c:pt idx="1510">
                  <c:v>14.79418604651163</c:v>
                </c:pt>
                <c:pt idx="1511">
                  <c:v>14.79418604651163</c:v>
                </c:pt>
                <c:pt idx="1512">
                  <c:v>14.79418604651163</c:v>
                </c:pt>
                <c:pt idx="1513">
                  <c:v>14.79418604651163</c:v>
                </c:pt>
                <c:pt idx="1514">
                  <c:v>14.79418604651163</c:v>
                </c:pt>
                <c:pt idx="1515">
                  <c:v>14.79418604651163</c:v>
                </c:pt>
                <c:pt idx="1516">
                  <c:v>14.79418604651163</c:v>
                </c:pt>
                <c:pt idx="1517">
                  <c:v>14.79418604651163</c:v>
                </c:pt>
                <c:pt idx="1518">
                  <c:v>14.79418604651163</c:v>
                </c:pt>
                <c:pt idx="1519">
                  <c:v>14.79418604651163</c:v>
                </c:pt>
                <c:pt idx="1520">
                  <c:v>14.79418604651163</c:v>
                </c:pt>
                <c:pt idx="1521">
                  <c:v>14.79418604651163</c:v>
                </c:pt>
                <c:pt idx="1522">
                  <c:v>14.79418604651163</c:v>
                </c:pt>
                <c:pt idx="1523">
                  <c:v>14.79418604651163</c:v>
                </c:pt>
                <c:pt idx="1524">
                  <c:v>14.79418604651163</c:v>
                </c:pt>
                <c:pt idx="1525">
                  <c:v>14.79418604651163</c:v>
                </c:pt>
                <c:pt idx="1526">
                  <c:v>14.79418604651163</c:v>
                </c:pt>
                <c:pt idx="1527">
                  <c:v>14.79418604651163</c:v>
                </c:pt>
                <c:pt idx="1528">
                  <c:v>14.79418604651163</c:v>
                </c:pt>
                <c:pt idx="1529">
                  <c:v>14.79418604651163</c:v>
                </c:pt>
                <c:pt idx="1530">
                  <c:v>14.79418604651163</c:v>
                </c:pt>
                <c:pt idx="1531">
                  <c:v>14.79418604651163</c:v>
                </c:pt>
                <c:pt idx="1532">
                  <c:v>14.79418604651163</c:v>
                </c:pt>
                <c:pt idx="1533">
                  <c:v>14.79418604651163</c:v>
                </c:pt>
                <c:pt idx="1534">
                  <c:v>14.79418604651163</c:v>
                </c:pt>
                <c:pt idx="1535">
                  <c:v>14.79418604651163</c:v>
                </c:pt>
                <c:pt idx="1536">
                  <c:v>14.79418604651163</c:v>
                </c:pt>
                <c:pt idx="1537">
                  <c:v>14.79418604651163</c:v>
                </c:pt>
                <c:pt idx="1538">
                  <c:v>14.79418604651163</c:v>
                </c:pt>
                <c:pt idx="1539">
                  <c:v>14.79418604651163</c:v>
                </c:pt>
                <c:pt idx="1540">
                  <c:v>14.79418604651163</c:v>
                </c:pt>
                <c:pt idx="1541">
                  <c:v>14.79418604651163</c:v>
                </c:pt>
                <c:pt idx="1542">
                  <c:v>14.79418604651163</c:v>
                </c:pt>
                <c:pt idx="1543">
                  <c:v>14.79418604651163</c:v>
                </c:pt>
                <c:pt idx="1544">
                  <c:v>14.79418604651163</c:v>
                </c:pt>
                <c:pt idx="1545">
                  <c:v>14.79418604651163</c:v>
                </c:pt>
                <c:pt idx="1546">
                  <c:v>14.79418604651163</c:v>
                </c:pt>
                <c:pt idx="1547">
                  <c:v>14.79418604651163</c:v>
                </c:pt>
                <c:pt idx="1548">
                  <c:v>14.79418604651163</c:v>
                </c:pt>
                <c:pt idx="1549">
                  <c:v>14.79418604651163</c:v>
                </c:pt>
                <c:pt idx="1550">
                  <c:v>14.79418604651163</c:v>
                </c:pt>
                <c:pt idx="1551">
                  <c:v>14.79418604651163</c:v>
                </c:pt>
                <c:pt idx="1552">
                  <c:v>14.79418604651163</c:v>
                </c:pt>
                <c:pt idx="1553">
                  <c:v>14.79418604651163</c:v>
                </c:pt>
                <c:pt idx="1554">
                  <c:v>14.79418604651163</c:v>
                </c:pt>
                <c:pt idx="1555">
                  <c:v>14.79418604651163</c:v>
                </c:pt>
                <c:pt idx="1556">
                  <c:v>14.79418604651163</c:v>
                </c:pt>
                <c:pt idx="1557">
                  <c:v>14.79418604651163</c:v>
                </c:pt>
                <c:pt idx="1558">
                  <c:v>14.79418604651163</c:v>
                </c:pt>
                <c:pt idx="1559">
                  <c:v>14.79418604651163</c:v>
                </c:pt>
                <c:pt idx="1560">
                  <c:v>14.79418604651163</c:v>
                </c:pt>
                <c:pt idx="1561">
                  <c:v>14.79418604651163</c:v>
                </c:pt>
                <c:pt idx="1562">
                  <c:v>14.79418604651163</c:v>
                </c:pt>
                <c:pt idx="1563">
                  <c:v>14.79418604651163</c:v>
                </c:pt>
                <c:pt idx="1564">
                  <c:v>14.79418604651163</c:v>
                </c:pt>
                <c:pt idx="1565">
                  <c:v>14.79418604651163</c:v>
                </c:pt>
                <c:pt idx="1566">
                  <c:v>14.79418604651163</c:v>
                </c:pt>
                <c:pt idx="1567">
                  <c:v>14.79418604651163</c:v>
                </c:pt>
                <c:pt idx="1568">
                  <c:v>14.79418604651163</c:v>
                </c:pt>
                <c:pt idx="1569">
                  <c:v>14.79418604651163</c:v>
                </c:pt>
                <c:pt idx="1570">
                  <c:v>14.79418604651163</c:v>
                </c:pt>
                <c:pt idx="1571">
                  <c:v>14.79418604651163</c:v>
                </c:pt>
                <c:pt idx="1572">
                  <c:v>14.79418604651163</c:v>
                </c:pt>
                <c:pt idx="1573">
                  <c:v>14.79418604651163</c:v>
                </c:pt>
                <c:pt idx="1574">
                  <c:v>14.79418604651163</c:v>
                </c:pt>
                <c:pt idx="1575">
                  <c:v>14.79418604651163</c:v>
                </c:pt>
                <c:pt idx="1576">
                  <c:v>14.79418604651163</c:v>
                </c:pt>
                <c:pt idx="1577">
                  <c:v>14.79418604651163</c:v>
                </c:pt>
                <c:pt idx="1578">
                  <c:v>14.79418604651163</c:v>
                </c:pt>
                <c:pt idx="1579">
                  <c:v>14.79418604651163</c:v>
                </c:pt>
                <c:pt idx="1580">
                  <c:v>14.79418604651163</c:v>
                </c:pt>
                <c:pt idx="1581">
                  <c:v>14.79418604651163</c:v>
                </c:pt>
                <c:pt idx="1582">
                  <c:v>14.79418604651163</c:v>
                </c:pt>
                <c:pt idx="1583">
                  <c:v>14.79418604651163</c:v>
                </c:pt>
                <c:pt idx="1584">
                  <c:v>14.79418604651163</c:v>
                </c:pt>
                <c:pt idx="1585">
                  <c:v>14.79418604651163</c:v>
                </c:pt>
                <c:pt idx="1586">
                  <c:v>14.79418604651163</c:v>
                </c:pt>
                <c:pt idx="1587">
                  <c:v>14.79418604651163</c:v>
                </c:pt>
                <c:pt idx="1588">
                  <c:v>14.79418604651163</c:v>
                </c:pt>
                <c:pt idx="1589">
                  <c:v>14.79418604651163</c:v>
                </c:pt>
                <c:pt idx="1590">
                  <c:v>14.79418604651163</c:v>
                </c:pt>
                <c:pt idx="1591">
                  <c:v>14.79418604651163</c:v>
                </c:pt>
                <c:pt idx="1592">
                  <c:v>14.79418604651163</c:v>
                </c:pt>
                <c:pt idx="1593">
                  <c:v>14.79418604651163</c:v>
                </c:pt>
                <c:pt idx="1594">
                  <c:v>14.79418604651163</c:v>
                </c:pt>
                <c:pt idx="1595">
                  <c:v>14.79418604651163</c:v>
                </c:pt>
                <c:pt idx="1596">
                  <c:v>14.79418604651163</c:v>
                </c:pt>
                <c:pt idx="1597">
                  <c:v>14.79418604651163</c:v>
                </c:pt>
                <c:pt idx="1598">
                  <c:v>14.79418604651163</c:v>
                </c:pt>
                <c:pt idx="1599">
                  <c:v>14.79418604651163</c:v>
                </c:pt>
                <c:pt idx="1600">
                  <c:v>14.79418604651163</c:v>
                </c:pt>
                <c:pt idx="1601">
                  <c:v>14.79418604651163</c:v>
                </c:pt>
                <c:pt idx="1602">
                  <c:v>14.79418604651163</c:v>
                </c:pt>
                <c:pt idx="1603">
                  <c:v>14.79418604651163</c:v>
                </c:pt>
                <c:pt idx="1604">
                  <c:v>14.79418604651163</c:v>
                </c:pt>
                <c:pt idx="1605">
                  <c:v>14.79418604651163</c:v>
                </c:pt>
                <c:pt idx="1606">
                  <c:v>14.79418604651163</c:v>
                </c:pt>
                <c:pt idx="1607">
                  <c:v>14.79418604651163</c:v>
                </c:pt>
                <c:pt idx="1608">
                  <c:v>14.79418604651163</c:v>
                </c:pt>
                <c:pt idx="1609">
                  <c:v>14.79418604651163</c:v>
                </c:pt>
                <c:pt idx="1610">
                  <c:v>14.79418604651163</c:v>
                </c:pt>
                <c:pt idx="1611">
                  <c:v>14.79418604651163</c:v>
                </c:pt>
                <c:pt idx="1612">
                  <c:v>14.79418604651163</c:v>
                </c:pt>
                <c:pt idx="1613">
                  <c:v>14.79418604651163</c:v>
                </c:pt>
                <c:pt idx="1614">
                  <c:v>14.79418604651163</c:v>
                </c:pt>
                <c:pt idx="1615">
                  <c:v>14.79418604651163</c:v>
                </c:pt>
                <c:pt idx="1616">
                  <c:v>14.79418604651163</c:v>
                </c:pt>
                <c:pt idx="1617">
                  <c:v>14.79418604651163</c:v>
                </c:pt>
                <c:pt idx="1618">
                  <c:v>14.79418604651163</c:v>
                </c:pt>
                <c:pt idx="1619">
                  <c:v>14.79418604651163</c:v>
                </c:pt>
                <c:pt idx="1620">
                  <c:v>14.79418604651163</c:v>
                </c:pt>
                <c:pt idx="1621">
                  <c:v>14.79418604651163</c:v>
                </c:pt>
                <c:pt idx="1622">
                  <c:v>14.79418604651163</c:v>
                </c:pt>
                <c:pt idx="1623">
                  <c:v>14.79418604651163</c:v>
                </c:pt>
                <c:pt idx="1624">
                  <c:v>14.79418604651163</c:v>
                </c:pt>
                <c:pt idx="1625">
                  <c:v>14.79418604651163</c:v>
                </c:pt>
                <c:pt idx="1626">
                  <c:v>14.79418604651163</c:v>
                </c:pt>
                <c:pt idx="1627">
                  <c:v>14.79418604651163</c:v>
                </c:pt>
                <c:pt idx="1628">
                  <c:v>14.79418604651163</c:v>
                </c:pt>
                <c:pt idx="1629">
                  <c:v>14.79418604651163</c:v>
                </c:pt>
                <c:pt idx="1630">
                  <c:v>14.79418604651163</c:v>
                </c:pt>
                <c:pt idx="1631">
                  <c:v>14.79418604651163</c:v>
                </c:pt>
                <c:pt idx="1632">
                  <c:v>14.79418604651163</c:v>
                </c:pt>
                <c:pt idx="1633">
                  <c:v>14.79418604651163</c:v>
                </c:pt>
                <c:pt idx="1634">
                  <c:v>14.79418604651163</c:v>
                </c:pt>
                <c:pt idx="1635">
                  <c:v>14.79418604651163</c:v>
                </c:pt>
                <c:pt idx="1636">
                  <c:v>14.79418604651163</c:v>
                </c:pt>
                <c:pt idx="1637">
                  <c:v>14.79418604651163</c:v>
                </c:pt>
                <c:pt idx="1638">
                  <c:v>14.79418604651163</c:v>
                </c:pt>
                <c:pt idx="1639">
                  <c:v>14.79418604651163</c:v>
                </c:pt>
                <c:pt idx="1640">
                  <c:v>14.79418604651163</c:v>
                </c:pt>
                <c:pt idx="1641">
                  <c:v>14.79418604651163</c:v>
                </c:pt>
                <c:pt idx="1642">
                  <c:v>14.79418604651163</c:v>
                </c:pt>
                <c:pt idx="1643">
                  <c:v>14.79418604651163</c:v>
                </c:pt>
                <c:pt idx="1644">
                  <c:v>14.79418604651163</c:v>
                </c:pt>
                <c:pt idx="1645">
                  <c:v>14.79418604651163</c:v>
                </c:pt>
                <c:pt idx="1646">
                  <c:v>14.79418604651163</c:v>
                </c:pt>
                <c:pt idx="1647">
                  <c:v>14.79418604651163</c:v>
                </c:pt>
                <c:pt idx="1648">
                  <c:v>14.79418604651163</c:v>
                </c:pt>
                <c:pt idx="1649">
                  <c:v>14.79418604651163</c:v>
                </c:pt>
                <c:pt idx="1650">
                  <c:v>14.79418604651163</c:v>
                </c:pt>
                <c:pt idx="1651">
                  <c:v>14.79418604651163</c:v>
                </c:pt>
                <c:pt idx="1652">
                  <c:v>14.79418604651163</c:v>
                </c:pt>
                <c:pt idx="1653">
                  <c:v>14.79418604651163</c:v>
                </c:pt>
                <c:pt idx="1654">
                  <c:v>14.79418604651163</c:v>
                </c:pt>
                <c:pt idx="1655">
                  <c:v>14.79418604651163</c:v>
                </c:pt>
                <c:pt idx="1656">
                  <c:v>14.79418604651163</c:v>
                </c:pt>
                <c:pt idx="1657">
                  <c:v>14.79418604651163</c:v>
                </c:pt>
                <c:pt idx="1658">
                  <c:v>14.79418604651163</c:v>
                </c:pt>
                <c:pt idx="1659">
                  <c:v>14.79418604651163</c:v>
                </c:pt>
                <c:pt idx="1660">
                  <c:v>14.79418604651163</c:v>
                </c:pt>
                <c:pt idx="1661">
                  <c:v>14.79418604651163</c:v>
                </c:pt>
                <c:pt idx="1662">
                  <c:v>14.79418604651163</c:v>
                </c:pt>
                <c:pt idx="1663">
                  <c:v>14.79418604651163</c:v>
                </c:pt>
                <c:pt idx="1664">
                  <c:v>14.79418604651163</c:v>
                </c:pt>
                <c:pt idx="1665">
                  <c:v>14.79418604651163</c:v>
                </c:pt>
                <c:pt idx="1666">
                  <c:v>14.79418604651163</c:v>
                </c:pt>
                <c:pt idx="1667">
                  <c:v>14.79418604651163</c:v>
                </c:pt>
                <c:pt idx="1668">
                  <c:v>14.79418604651163</c:v>
                </c:pt>
                <c:pt idx="1669">
                  <c:v>14.79418604651163</c:v>
                </c:pt>
                <c:pt idx="1670">
                  <c:v>14.79418604651163</c:v>
                </c:pt>
                <c:pt idx="1671">
                  <c:v>14.79418604651163</c:v>
                </c:pt>
                <c:pt idx="1672">
                  <c:v>14.79418604651163</c:v>
                </c:pt>
                <c:pt idx="1673">
                  <c:v>14.79418604651163</c:v>
                </c:pt>
                <c:pt idx="1674">
                  <c:v>14.79418604651163</c:v>
                </c:pt>
                <c:pt idx="1675">
                  <c:v>14.79418604651163</c:v>
                </c:pt>
                <c:pt idx="1676">
                  <c:v>14.79418604651163</c:v>
                </c:pt>
                <c:pt idx="1677">
                  <c:v>14.79418604651163</c:v>
                </c:pt>
                <c:pt idx="1678">
                  <c:v>14.79418604651163</c:v>
                </c:pt>
                <c:pt idx="1679">
                  <c:v>14.79418604651163</c:v>
                </c:pt>
                <c:pt idx="1680">
                  <c:v>14.79418604651163</c:v>
                </c:pt>
                <c:pt idx="1681">
                  <c:v>14.79418604651163</c:v>
                </c:pt>
                <c:pt idx="1682">
                  <c:v>14.79418604651163</c:v>
                </c:pt>
                <c:pt idx="1683">
                  <c:v>14.79418604651163</c:v>
                </c:pt>
                <c:pt idx="1684">
                  <c:v>14.79418604651163</c:v>
                </c:pt>
                <c:pt idx="1685">
                  <c:v>14.79418604651163</c:v>
                </c:pt>
                <c:pt idx="1686">
                  <c:v>14.79418604651163</c:v>
                </c:pt>
                <c:pt idx="1687">
                  <c:v>14.79418604651163</c:v>
                </c:pt>
                <c:pt idx="1688">
                  <c:v>14.79418604651163</c:v>
                </c:pt>
                <c:pt idx="1689">
                  <c:v>14.79418604651163</c:v>
                </c:pt>
                <c:pt idx="1690">
                  <c:v>14.79418604651163</c:v>
                </c:pt>
                <c:pt idx="1691">
                  <c:v>14.79418604651163</c:v>
                </c:pt>
                <c:pt idx="1692">
                  <c:v>14.79418604651163</c:v>
                </c:pt>
                <c:pt idx="1693">
                  <c:v>14.79418604651163</c:v>
                </c:pt>
                <c:pt idx="1694">
                  <c:v>14.79418604651163</c:v>
                </c:pt>
                <c:pt idx="1695">
                  <c:v>14.79418604651163</c:v>
                </c:pt>
                <c:pt idx="1696">
                  <c:v>14.79418604651163</c:v>
                </c:pt>
                <c:pt idx="1697">
                  <c:v>14.79418604651163</c:v>
                </c:pt>
                <c:pt idx="1698">
                  <c:v>14.79418604651163</c:v>
                </c:pt>
                <c:pt idx="1699">
                  <c:v>14.79418604651163</c:v>
                </c:pt>
                <c:pt idx="1700">
                  <c:v>14.79418604651163</c:v>
                </c:pt>
                <c:pt idx="1701">
                  <c:v>14.79418604651163</c:v>
                </c:pt>
                <c:pt idx="1702">
                  <c:v>14.79418604651163</c:v>
                </c:pt>
                <c:pt idx="1703">
                  <c:v>14.79418604651163</c:v>
                </c:pt>
                <c:pt idx="1704">
                  <c:v>14.79418604651163</c:v>
                </c:pt>
                <c:pt idx="1705">
                  <c:v>14.79418604651163</c:v>
                </c:pt>
                <c:pt idx="1706">
                  <c:v>14.79418604651163</c:v>
                </c:pt>
                <c:pt idx="1707">
                  <c:v>14.79418604651163</c:v>
                </c:pt>
                <c:pt idx="1708">
                  <c:v>14.79418604651163</c:v>
                </c:pt>
                <c:pt idx="1709">
                  <c:v>14.79418604651163</c:v>
                </c:pt>
                <c:pt idx="1710">
                  <c:v>14.79418604651163</c:v>
                </c:pt>
                <c:pt idx="1711">
                  <c:v>14.79418604651163</c:v>
                </c:pt>
                <c:pt idx="1712">
                  <c:v>14.79418604651163</c:v>
                </c:pt>
                <c:pt idx="1713">
                  <c:v>14.79418604651163</c:v>
                </c:pt>
                <c:pt idx="1714">
                  <c:v>14.79418604651163</c:v>
                </c:pt>
                <c:pt idx="1715">
                  <c:v>14.79418604651163</c:v>
                </c:pt>
                <c:pt idx="1716">
                  <c:v>14.79418604651163</c:v>
                </c:pt>
                <c:pt idx="1717">
                  <c:v>14.79418604651163</c:v>
                </c:pt>
                <c:pt idx="1718">
                  <c:v>14.79418604651163</c:v>
                </c:pt>
                <c:pt idx="1719">
                  <c:v>14.79418604651163</c:v>
                </c:pt>
                <c:pt idx="1720">
                  <c:v>14.79418604651163</c:v>
                </c:pt>
                <c:pt idx="1721">
                  <c:v>14.79418604651163</c:v>
                </c:pt>
                <c:pt idx="1722">
                  <c:v>14.79418604651163</c:v>
                </c:pt>
                <c:pt idx="1723">
                  <c:v>14.79418604651163</c:v>
                </c:pt>
                <c:pt idx="1724">
                  <c:v>14.79418604651163</c:v>
                </c:pt>
                <c:pt idx="1725">
                  <c:v>14.79418604651163</c:v>
                </c:pt>
                <c:pt idx="1726">
                  <c:v>14.79418604651163</c:v>
                </c:pt>
                <c:pt idx="1727">
                  <c:v>14.79418604651163</c:v>
                </c:pt>
                <c:pt idx="1728">
                  <c:v>14.79418604651163</c:v>
                </c:pt>
                <c:pt idx="1729">
                  <c:v>14.79418604651163</c:v>
                </c:pt>
                <c:pt idx="1730">
                  <c:v>14.79418604651163</c:v>
                </c:pt>
                <c:pt idx="1731">
                  <c:v>14.79418604651163</c:v>
                </c:pt>
                <c:pt idx="1732">
                  <c:v>14.79418604651163</c:v>
                </c:pt>
                <c:pt idx="1733">
                  <c:v>14.79418604651163</c:v>
                </c:pt>
                <c:pt idx="1734">
                  <c:v>14.79418604651163</c:v>
                </c:pt>
                <c:pt idx="1735">
                  <c:v>14.79418604651163</c:v>
                </c:pt>
                <c:pt idx="1736">
                  <c:v>14.79418604651163</c:v>
                </c:pt>
                <c:pt idx="1737">
                  <c:v>14.79418604651163</c:v>
                </c:pt>
                <c:pt idx="1738">
                  <c:v>14.79418604651163</c:v>
                </c:pt>
                <c:pt idx="1739">
                  <c:v>14.79418604651163</c:v>
                </c:pt>
                <c:pt idx="1740">
                  <c:v>14.79418604651163</c:v>
                </c:pt>
                <c:pt idx="1741">
                  <c:v>14.79418604651163</c:v>
                </c:pt>
                <c:pt idx="1742">
                  <c:v>14.79418604651163</c:v>
                </c:pt>
                <c:pt idx="1743">
                  <c:v>14.79418604651163</c:v>
                </c:pt>
                <c:pt idx="1744">
                  <c:v>14.79418604651163</c:v>
                </c:pt>
                <c:pt idx="1745">
                  <c:v>14.79418604651163</c:v>
                </c:pt>
                <c:pt idx="1746">
                  <c:v>14.79418604651163</c:v>
                </c:pt>
                <c:pt idx="1747">
                  <c:v>14.79418604651163</c:v>
                </c:pt>
                <c:pt idx="1748">
                  <c:v>14.79418604651163</c:v>
                </c:pt>
                <c:pt idx="1749">
                  <c:v>14.79418604651163</c:v>
                </c:pt>
                <c:pt idx="1750">
                  <c:v>14.79418604651163</c:v>
                </c:pt>
                <c:pt idx="1751">
                  <c:v>14.79418604651163</c:v>
                </c:pt>
                <c:pt idx="1752">
                  <c:v>14.79418604651163</c:v>
                </c:pt>
                <c:pt idx="1753">
                  <c:v>14.79418604651163</c:v>
                </c:pt>
                <c:pt idx="1754">
                  <c:v>14.79418604651163</c:v>
                </c:pt>
                <c:pt idx="1755">
                  <c:v>14.79418604651163</c:v>
                </c:pt>
                <c:pt idx="1756">
                  <c:v>14.79418604651163</c:v>
                </c:pt>
                <c:pt idx="1757">
                  <c:v>14.79418604651163</c:v>
                </c:pt>
                <c:pt idx="1758">
                  <c:v>14.79418604651163</c:v>
                </c:pt>
                <c:pt idx="1759">
                  <c:v>14.79418604651163</c:v>
                </c:pt>
                <c:pt idx="1760">
                  <c:v>14.79418604651163</c:v>
                </c:pt>
                <c:pt idx="1761">
                  <c:v>14.79418604651163</c:v>
                </c:pt>
                <c:pt idx="1762">
                  <c:v>14.79418604651163</c:v>
                </c:pt>
                <c:pt idx="1763">
                  <c:v>14.79418604651163</c:v>
                </c:pt>
                <c:pt idx="1764">
                  <c:v>14.79418604651163</c:v>
                </c:pt>
                <c:pt idx="1765">
                  <c:v>14.79418604651163</c:v>
                </c:pt>
                <c:pt idx="1766">
                  <c:v>14.79418604651163</c:v>
                </c:pt>
                <c:pt idx="1767">
                  <c:v>14.79418604651163</c:v>
                </c:pt>
                <c:pt idx="1768">
                  <c:v>14.79418604651163</c:v>
                </c:pt>
                <c:pt idx="1769">
                  <c:v>14.79418604651163</c:v>
                </c:pt>
                <c:pt idx="1770">
                  <c:v>14.79418604651163</c:v>
                </c:pt>
                <c:pt idx="1771">
                  <c:v>14.79418604651163</c:v>
                </c:pt>
                <c:pt idx="1772">
                  <c:v>14.79418604651163</c:v>
                </c:pt>
                <c:pt idx="1773">
                  <c:v>14.79418604651163</c:v>
                </c:pt>
                <c:pt idx="1774">
                  <c:v>14.79418604651163</c:v>
                </c:pt>
                <c:pt idx="1775">
                  <c:v>14.79418604651163</c:v>
                </c:pt>
                <c:pt idx="1776">
                  <c:v>14.79418604651163</c:v>
                </c:pt>
                <c:pt idx="1777">
                  <c:v>14.79418604651163</c:v>
                </c:pt>
                <c:pt idx="1778">
                  <c:v>14.79418604651163</c:v>
                </c:pt>
                <c:pt idx="1779">
                  <c:v>14.79418604651163</c:v>
                </c:pt>
                <c:pt idx="1780">
                  <c:v>14.79418604651163</c:v>
                </c:pt>
                <c:pt idx="1781">
                  <c:v>14.79418604651163</c:v>
                </c:pt>
                <c:pt idx="1782">
                  <c:v>14.79418604651163</c:v>
                </c:pt>
                <c:pt idx="1783">
                  <c:v>14.79418604651163</c:v>
                </c:pt>
                <c:pt idx="1784">
                  <c:v>14.79418604651163</c:v>
                </c:pt>
                <c:pt idx="1785">
                  <c:v>14.79418604651163</c:v>
                </c:pt>
                <c:pt idx="1786">
                  <c:v>14.79418604651163</c:v>
                </c:pt>
                <c:pt idx="1787">
                  <c:v>14.79418604651163</c:v>
                </c:pt>
                <c:pt idx="1788">
                  <c:v>14.79418604651163</c:v>
                </c:pt>
                <c:pt idx="1789">
                  <c:v>14.79418604651163</c:v>
                </c:pt>
                <c:pt idx="1790">
                  <c:v>14.79418604651163</c:v>
                </c:pt>
                <c:pt idx="1791">
                  <c:v>14.79418604651163</c:v>
                </c:pt>
                <c:pt idx="1792">
                  <c:v>14.79418604651163</c:v>
                </c:pt>
                <c:pt idx="1793">
                  <c:v>14.79418604651163</c:v>
                </c:pt>
                <c:pt idx="1794">
                  <c:v>14.79418604651163</c:v>
                </c:pt>
                <c:pt idx="1795">
                  <c:v>14.79418604651163</c:v>
                </c:pt>
                <c:pt idx="1796">
                  <c:v>14.79418604651163</c:v>
                </c:pt>
                <c:pt idx="1797">
                  <c:v>14.79418604651163</c:v>
                </c:pt>
                <c:pt idx="1798">
                  <c:v>14.79418604651163</c:v>
                </c:pt>
                <c:pt idx="1799">
                  <c:v>14.79418604651163</c:v>
                </c:pt>
                <c:pt idx="1800">
                  <c:v>14.79418604651163</c:v>
                </c:pt>
                <c:pt idx="1801">
                  <c:v>14.79418604651163</c:v>
                </c:pt>
                <c:pt idx="1802">
                  <c:v>14.79418604651163</c:v>
                </c:pt>
                <c:pt idx="1803">
                  <c:v>14.79418604651163</c:v>
                </c:pt>
                <c:pt idx="1804">
                  <c:v>14.79418604651163</c:v>
                </c:pt>
                <c:pt idx="1805">
                  <c:v>14.79418604651163</c:v>
                </c:pt>
                <c:pt idx="1806">
                  <c:v>14.79418604651163</c:v>
                </c:pt>
                <c:pt idx="1807">
                  <c:v>14.79418604651163</c:v>
                </c:pt>
                <c:pt idx="1808">
                  <c:v>14.79418604651163</c:v>
                </c:pt>
                <c:pt idx="1809">
                  <c:v>14.79418604651163</c:v>
                </c:pt>
                <c:pt idx="1810">
                  <c:v>14.79418604651163</c:v>
                </c:pt>
                <c:pt idx="1811">
                  <c:v>14.79418604651163</c:v>
                </c:pt>
                <c:pt idx="1812">
                  <c:v>14.79418604651163</c:v>
                </c:pt>
                <c:pt idx="1813">
                  <c:v>14.79418604651163</c:v>
                </c:pt>
                <c:pt idx="1814">
                  <c:v>14.79418604651163</c:v>
                </c:pt>
                <c:pt idx="1815">
                  <c:v>14.79418604651163</c:v>
                </c:pt>
                <c:pt idx="1816">
                  <c:v>14.79418604651163</c:v>
                </c:pt>
                <c:pt idx="1817">
                  <c:v>14.79418604651163</c:v>
                </c:pt>
                <c:pt idx="1818">
                  <c:v>14.79418604651163</c:v>
                </c:pt>
                <c:pt idx="1819">
                  <c:v>14.79418604651163</c:v>
                </c:pt>
                <c:pt idx="1820">
                  <c:v>14.79418604651163</c:v>
                </c:pt>
                <c:pt idx="1821">
                  <c:v>14.79418604651163</c:v>
                </c:pt>
                <c:pt idx="1822">
                  <c:v>14.79418604651163</c:v>
                </c:pt>
                <c:pt idx="1823">
                  <c:v>14.79418604651163</c:v>
                </c:pt>
                <c:pt idx="1824">
                  <c:v>14.79418604651163</c:v>
                </c:pt>
                <c:pt idx="1825">
                  <c:v>14.79418604651163</c:v>
                </c:pt>
                <c:pt idx="1826">
                  <c:v>14.79418604651163</c:v>
                </c:pt>
                <c:pt idx="1827">
                  <c:v>14.79418604651163</c:v>
                </c:pt>
                <c:pt idx="1828">
                  <c:v>14.79418604651163</c:v>
                </c:pt>
                <c:pt idx="1829">
                  <c:v>14.79418604651163</c:v>
                </c:pt>
                <c:pt idx="1830">
                  <c:v>14.79418604651163</c:v>
                </c:pt>
                <c:pt idx="1831">
                  <c:v>14.79418604651163</c:v>
                </c:pt>
                <c:pt idx="1832">
                  <c:v>14.79418604651163</c:v>
                </c:pt>
                <c:pt idx="1833">
                  <c:v>14.79418604651163</c:v>
                </c:pt>
                <c:pt idx="1834">
                  <c:v>14.79418604651163</c:v>
                </c:pt>
                <c:pt idx="1835">
                  <c:v>14.79418604651163</c:v>
                </c:pt>
                <c:pt idx="1836">
                  <c:v>14.79418604651163</c:v>
                </c:pt>
                <c:pt idx="1837">
                  <c:v>14.79418604651163</c:v>
                </c:pt>
                <c:pt idx="1838">
                  <c:v>14.79418604651163</c:v>
                </c:pt>
                <c:pt idx="1839">
                  <c:v>14.79418604651163</c:v>
                </c:pt>
                <c:pt idx="1840">
                  <c:v>14.79418604651163</c:v>
                </c:pt>
                <c:pt idx="1841">
                  <c:v>14.79418604651163</c:v>
                </c:pt>
                <c:pt idx="1842">
                  <c:v>14.79418604651163</c:v>
                </c:pt>
                <c:pt idx="1843">
                  <c:v>14.79418604651163</c:v>
                </c:pt>
                <c:pt idx="1844">
                  <c:v>14.79418604651163</c:v>
                </c:pt>
                <c:pt idx="1845">
                  <c:v>14.79418604651163</c:v>
                </c:pt>
                <c:pt idx="1846">
                  <c:v>14.79418604651163</c:v>
                </c:pt>
                <c:pt idx="1847">
                  <c:v>14.79418604651163</c:v>
                </c:pt>
                <c:pt idx="1848">
                  <c:v>14.79418604651163</c:v>
                </c:pt>
                <c:pt idx="1849">
                  <c:v>14.79418604651163</c:v>
                </c:pt>
                <c:pt idx="1850">
                  <c:v>14.79418604651163</c:v>
                </c:pt>
                <c:pt idx="1851">
                  <c:v>14.79418604651163</c:v>
                </c:pt>
                <c:pt idx="1852">
                  <c:v>14.79418604651163</c:v>
                </c:pt>
                <c:pt idx="1853">
                  <c:v>14.79418604651163</c:v>
                </c:pt>
                <c:pt idx="1854">
                  <c:v>14.79418604651163</c:v>
                </c:pt>
                <c:pt idx="1855">
                  <c:v>14.79418604651163</c:v>
                </c:pt>
                <c:pt idx="1856">
                  <c:v>14.79418604651163</c:v>
                </c:pt>
                <c:pt idx="1857">
                  <c:v>14.79418604651163</c:v>
                </c:pt>
                <c:pt idx="1858">
                  <c:v>14.79418604651163</c:v>
                </c:pt>
                <c:pt idx="1859">
                  <c:v>14.79418604651163</c:v>
                </c:pt>
                <c:pt idx="1860">
                  <c:v>14.79418604651163</c:v>
                </c:pt>
                <c:pt idx="1861">
                  <c:v>14.79418604651163</c:v>
                </c:pt>
                <c:pt idx="1862">
                  <c:v>14.79418604651163</c:v>
                </c:pt>
                <c:pt idx="1863">
                  <c:v>14.79418604651163</c:v>
                </c:pt>
                <c:pt idx="1864">
                  <c:v>14.79418604651163</c:v>
                </c:pt>
                <c:pt idx="1865">
                  <c:v>14.79418604651163</c:v>
                </c:pt>
                <c:pt idx="1866">
                  <c:v>14.79418604651163</c:v>
                </c:pt>
                <c:pt idx="1867">
                  <c:v>14.79418604651163</c:v>
                </c:pt>
                <c:pt idx="1868">
                  <c:v>14.79418604651163</c:v>
                </c:pt>
                <c:pt idx="1869">
                  <c:v>14.79418604651163</c:v>
                </c:pt>
                <c:pt idx="1870">
                  <c:v>14.79418604651163</c:v>
                </c:pt>
                <c:pt idx="1871">
                  <c:v>14.79418604651163</c:v>
                </c:pt>
                <c:pt idx="1872">
                  <c:v>14.79418604651163</c:v>
                </c:pt>
                <c:pt idx="1873">
                  <c:v>14.79418604651163</c:v>
                </c:pt>
                <c:pt idx="1874">
                  <c:v>14.79418604651163</c:v>
                </c:pt>
                <c:pt idx="1875">
                  <c:v>14.79418604651163</c:v>
                </c:pt>
                <c:pt idx="1876">
                  <c:v>14.79418604651163</c:v>
                </c:pt>
                <c:pt idx="1877">
                  <c:v>14.79418604651163</c:v>
                </c:pt>
                <c:pt idx="1878">
                  <c:v>14.79418604651163</c:v>
                </c:pt>
                <c:pt idx="1879">
                  <c:v>14.79418604651163</c:v>
                </c:pt>
                <c:pt idx="1880">
                  <c:v>14.79418604651163</c:v>
                </c:pt>
                <c:pt idx="1881">
                  <c:v>14.79418604651163</c:v>
                </c:pt>
                <c:pt idx="1882">
                  <c:v>14.79418604651163</c:v>
                </c:pt>
                <c:pt idx="1883">
                  <c:v>14.79418604651163</c:v>
                </c:pt>
                <c:pt idx="1884">
                  <c:v>14.79418604651163</c:v>
                </c:pt>
                <c:pt idx="1885">
                  <c:v>14.79418604651163</c:v>
                </c:pt>
                <c:pt idx="1886">
                  <c:v>14.79418604651163</c:v>
                </c:pt>
                <c:pt idx="1887">
                  <c:v>14.79418604651163</c:v>
                </c:pt>
                <c:pt idx="1888">
                  <c:v>14.79418604651163</c:v>
                </c:pt>
                <c:pt idx="1889">
                  <c:v>14.79418604651163</c:v>
                </c:pt>
                <c:pt idx="1890">
                  <c:v>14.79418604651163</c:v>
                </c:pt>
                <c:pt idx="1891">
                  <c:v>14.79418604651163</c:v>
                </c:pt>
                <c:pt idx="1892">
                  <c:v>14.79418604651163</c:v>
                </c:pt>
                <c:pt idx="1893">
                  <c:v>14.79418604651163</c:v>
                </c:pt>
                <c:pt idx="1894">
                  <c:v>14.79418604651163</c:v>
                </c:pt>
                <c:pt idx="1895">
                  <c:v>14.79418604651163</c:v>
                </c:pt>
                <c:pt idx="1896">
                  <c:v>14.79418604651163</c:v>
                </c:pt>
                <c:pt idx="1897">
                  <c:v>14.79418604651163</c:v>
                </c:pt>
                <c:pt idx="1898">
                  <c:v>14.79418604651163</c:v>
                </c:pt>
                <c:pt idx="1899">
                  <c:v>14.79418604651163</c:v>
                </c:pt>
                <c:pt idx="1900">
                  <c:v>14.79418604651163</c:v>
                </c:pt>
                <c:pt idx="1901">
                  <c:v>14.79418604651163</c:v>
                </c:pt>
                <c:pt idx="1902">
                  <c:v>14.79418604651163</c:v>
                </c:pt>
                <c:pt idx="1903">
                  <c:v>14.79418604651163</c:v>
                </c:pt>
                <c:pt idx="1904">
                  <c:v>14.79418604651163</c:v>
                </c:pt>
                <c:pt idx="1905">
                  <c:v>14.79418604651163</c:v>
                </c:pt>
                <c:pt idx="1906">
                  <c:v>14.79418604651163</c:v>
                </c:pt>
                <c:pt idx="1907">
                  <c:v>14.79418604651163</c:v>
                </c:pt>
                <c:pt idx="1908">
                  <c:v>14.79418604651163</c:v>
                </c:pt>
                <c:pt idx="1909">
                  <c:v>14.79418604651163</c:v>
                </c:pt>
                <c:pt idx="1910">
                  <c:v>14.79418604651163</c:v>
                </c:pt>
                <c:pt idx="1911">
                  <c:v>14.79418604651163</c:v>
                </c:pt>
                <c:pt idx="1912">
                  <c:v>14.79418604651163</c:v>
                </c:pt>
                <c:pt idx="1913">
                  <c:v>14.79418604651163</c:v>
                </c:pt>
                <c:pt idx="1914">
                  <c:v>14.79418604651163</c:v>
                </c:pt>
                <c:pt idx="1915">
                  <c:v>14.79418604651163</c:v>
                </c:pt>
                <c:pt idx="1916">
                  <c:v>14.79418604651163</c:v>
                </c:pt>
                <c:pt idx="1917">
                  <c:v>14.79418604651163</c:v>
                </c:pt>
                <c:pt idx="1918">
                  <c:v>14.79418604651163</c:v>
                </c:pt>
                <c:pt idx="1919">
                  <c:v>14.79418604651163</c:v>
                </c:pt>
                <c:pt idx="1920">
                  <c:v>14.79418604651163</c:v>
                </c:pt>
                <c:pt idx="1921">
                  <c:v>14.79418604651163</c:v>
                </c:pt>
                <c:pt idx="1922">
                  <c:v>14.79418604651163</c:v>
                </c:pt>
                <c:pt idx="1923">
                  <c:v>14.79418604651163</c:v>
                </c:pt>
                <c:pt idx="1924">
                  <c:v>14.79418604651163</c:v>
                </c:pt>
                <c:pt idx="1925">
                  <c:v>14.79418604651163</c:v>
                </c:pt>
                <c:pt idx="1926">
                  <c:v>14.79418604651163</c:v>
                </c:pt>
                <c:pt idx="1927">
                  <c:v>14.79418604651163</c:v>
                </c:pt>
                <c:pt idx="1928">
                  <c:v>14.79418604651163</c:v>
                </c:pt>
                <c:pt idx="1929">
                  <c:v>14.79418604651163</c:v>
                </c:pt>
                <c:pt idx="1930">
                  <c:v>14.79418604651163</c:v>
                </c:pt>
                <c:pt idx="1931">
                  <c:v>14.79418604651163</c:v>
                </c:pt>
                <c:pt idx="1932">
                  <c:v>14.79418604651163</c:v>
                </c:pt>
                <c:pt idx="1933">
                  <c:v>14.79418604651163</c:v>
                </c:pt>
                <c:pt idx="1934">
                  <c:v>14.79418604651163</c:v>
                </c:pt>
                <c:pt idx="1935">
                  <c:v>14.79418604651163</c:v>
                </c:pt>
                <c:pt idx="1936">
                  <c:v>14.79418604651163</c:v>
                </c:pt>
                <c:pt idx="1937">
                  <c:v>14.79418604651163</c:v>
                </c:pt>
                <c:pt idx="1938">
                  <c:v>14.79418604651163</c:v>
                </c:pt>
                <c:pt idx="1939">
                  <c:v>14.79418604651163</c:v>
                </c:pt>
                <c:pt idx="1940">
                  <c:v>14.79418604651163</c:v>
                </c:pt>
                <c:pt idx="1941">
                  <c:v>14.79418604651163</c:v>
                </c:pt>
                <c:pt idx="1942">
                  <c:v>14.79418604651163</c:v>
                </c:pt>
                <c:pt idx="1943">
                  <c:v>14.79418604651163</c:v>
                </c:pt>
                <c:pt idx="1944">
                  <c:v>14.79418604651163</c:v>
                </c:pt>
                <c:pt idx="1945">
                  <c:v>14.79418604651163</c:v>
                </c:pt>
                <c:pt idx="1946">
                  <c:v>14.79418604651163</c:v>
                </c:pt>
                <c:pt idx="1947">
                  <c:v>14.79418604651163</c:v>
                </c:pt>
                <c:pt idx="1948">
                  <c:v>14.79418604651163</c:v>
                </c:pt>
                <c:pt idx="1949">
                  <c:v>14.79418604651163</c:v>
                </c:pt>
                <c:pt idx="1950">
                  <c:v>14.79418604651163</c:v>
                </c:pt>
                <c:pt idx="1951">
                  <c:v>14.79418604651163</c:v>
                </c:pt>
                <c:pt idx="1952">
                  <c:v>14.79418604651163</c:v>
                </c:pt>
                <c:pt idx="1953">
                  <c:v>14.79418604651163</c:v>
                </c:pt>
                <c:pt idx="1954">
                  <c:v>14.79418604651163</c:v>
                </c:pt>
                <c:pt idx="1955">
                  <c:v>14.79418604651163</c:v>
                </c:pt>
                <c:pt idx="1956">
                  <c:v>14.79418604651163</c:v>
                </c:pt>
                <c:pt idx="1957">
                  <c:v>14.79418604651163</c:v>
                </c:pt>
                <c:pt idx="1958">
                  <c:v>14.79418604651163</c:v>
                </c:pt>
                <c:pt idx="1959">
                  <c:v>14.79418604651163</c:v>
                </c:pt>
                <c:pt idx="1960">
                  <c:v>14.79418604651163</c:v>
                </c:pt>
                <c:pt idx="1961">
                  <c:v>14.79418604651163</c:v>
                </c:pt>
                <c:pt idx="1962">
                  <c:v>14.79418604651163</c:v>
                </c:pt>
                <c:pt idx="1963">
                  <c:v>14.79418604651163</c:v>
                </c:pt>
                <c:pt idx="1964">
                  <c:v>14.79418604651163</c:v>
                </c:pt>
                <c:pt idx="1965">
                  <c:v>14.79418604651163</c:v>
                </c:pt>
                <c:pt idx="1966">
                  <c:v>14.79418604651163</c:v>
                </c:pt>
                <c:pt idx="1967">
                  <c:v>14.79418604651163</c:v>
                </c:pt>
                <c:pt idx="1968">
                  <c:v>14.79418604651163</c:v>
                </c:pt>
                <c:pt idx="1969">
                  <c:v>14.79418604651163</c:v>
                </c:pt>
                <c:pt idx="1970">
                  <c:v>14.79418604651163</c:v>
                </c:pt>
                <c:pt idx="1971">
                  <c:v>14.79418604651163</c:v>
                </c:pt>
                <c:pt idx="1972">
                  <c:v>14.79418604651163</c:v>
                </c:pt>
                <c:pt idx="1973">
                  <c:v>14.79418604651163</c:v>
                </c:pt>
                <c:pt idx="1974">
                  <c:v>14.79418604651163</c:v>
                </c:pt>
                <c:pt idx="1975">
                  <c:v>14.79418604651163</c:v>
                </c:pt>
                <c:pt idx="1976">
                  <c:v>14.79418604651163</c:v>
                </c:pt>
                <c:pt idx="1977">
                  <c:v>14.79418604651163</c:v>
                </c:pt>
                <c:pt idx="1978">
                  <c:v>14.79418604651163</c:v>
                </c:pt>
                <c:pt idx="1979">
                  <c:v>14.79418604651163</c:v>
                </c:pt>
                <c:pt idx="1980">
                  <c:v>14.79418604651163</c:v>
                </c:pt>
                <c:pt idx="1981">
                  <c:v>14.79418604651163</c:v>
                </c:pt>
                <c:pt idx="1982">
                  <c:v>14.79418604651163</c:v>
                </c:pt>
                <c:pt idx="1983">
                  <c:v>14.79418604651163</c:v>
                </c:pt>
                <c:pt idx="1984">
                  <c:v>14.79418604651163</c:v>
                </c:pt>
                <c:pt idx="1985">
                  <c:v>14.79418604651163</c:v>
                </c:pt>
                <c:pt idx="1986">
                  <c:v>14.79418604651163</c:v>
                </c:pt>
                <c:pt idx="1987">
                  <c:v>14.79418604651163</c:v>
                </c:pt>
                <c:pt idx="1988">
                  <c:v>14.79418604651163</c:v>
                </c:pt>
                <c:pt idx="1989">
                  <c:v>14.79418604651163</c:v>
                </c:pt>
                <c:pt idx="1990">
                  <c:v>14.79418604651163</c:v>
                </c:pt>
                <c:pt idx="1991">
                  <c:v>14.79418604651163</c:v>
                </c:pt>
                <c:pt idx="1992">
                  <c:v>14.79418604651163</c:v>
                </c:pt>
                <c:pt idx="1993">
                  <c:v>14.79418604651163</c:v>
                </c:pt>
                <c:pt idx="1994">
                  <c:v>14.79418604651163</c:v>
                </c:pt>
                <c:pt idx="1995">
                  <c:v>14.79418604651163</c:v>
                </c:pt>
                <c:pt idx="1996">
                  <c:v>14.79418604651163</c:v>
                </c:pt>
                <c:pt idx="1997">
                  <c:v>14.79418604651163</c:v>
                </c:pt>
                <c:pt idx="1998">
                  <c:v>14.79418604651163</c:v>
                </c:pt>
                <c:pt idx="1999">
                  <c:v>14.79418604651163</c:v>
                </c:pt>
                <c:pt idx="2000">
                  <c:v>14.79418604651163</c:v>
                </c:pt>
                <c:pt idx="2001">
                  <c:v>14.79418604651163</c:v>
                </c:pt>
                <c:pt idx="2002">
                  <c:v>14.79418604651163</c:v>
                </c:pt>
                <c:pt idx="2003">
                  <c:v>14.79418604651163</c:v>
                </c:pt>
                <c:pt idx="2004">
                  <c:v>14.79418604651163</c:v>
                </c:pt>
                <c:pt idx="2005">
                  <c:v>14.79418604651163</c:v>
                </c:pt>
                <c:pt idx="2006">
                  <c:v>14.79418604651163</c:v>
                </c:pt>
                <c:pt idx="2007">
                  <c:v>14.79418604651163</c:v>
                </c:pt>
                <c:pt idx="2008">
                  <c:v>14.79418604651163</c:v>
                </c:pt>
                <c:pt idx="2009">
                  <c:v>14.79418604651163</c:v>
                </c:pt>
                <c:pt idx="2010">
                  <c:v>14.79418604651163</c:v>
                </c:pt>
                <c:pt idx="2011">
                  <c:v>14.79418604651163</c:v>
                </c:pt>
                <c:pt idx="2012">
                  <c:v>14.79418604651163</c:v>
                </c:pt>
                <c:pt idx="2013">
                  <c:v>14.79418604651163</c:v>
                </c:pt>
                <c:pt idx="2014">
                  <c:v>14.79418604651163</c:v>
                </c:pt>
                <c:pt idx="2015">
                  <c:v>14.79418604651163</c:v>
                </c:pt>
                <c:pt idx="2016">
                  <c:v>14.79418604651163</c:v>
                </c:pt>
                <c:pt idx="2017">
                  <c:v>14.79418604651163</c:v>
                </c:pt>
                <c:pt idx="2018">
                  <c:v>14.79418604651163</c:v>
                </c:pt>
                <c:pt idx="2019">
                  <c:v>14.79418604651163</c:v>
                </c:pt>
                <c:pt idx="2020">
                  <c:v>14.79418604651163</c:v>
                </c:pt>
                <c:pt idx="2021">
                  <c:v>14.79418604651163</c:v>
                </c:pt>
                <c:pt idx="2022">
                  <c:v>14.79418604651163</c:v>
                </c:pt>
                <c:pt idx="2023">
                  <c:v>14.79418604651163</c:v>
                </c:pt>
                <c:pt idx="2024">
                  <c:v>14.79418604651163</c:v>
                </c:pt>
                <c:pt idx="2025">
                  <c:v>14.79418604651163</c:v>
                </c:pt>
                <c:pt idx="2026">
                  <c:v>14.79418604651163</c:v>
                </c:pt>
                <c:pt idx="2027">
                  <c:v>14.79418604651163</c:v>
                </c:pt>
                <c:pt idx="2028">
                  <c:v>14.79418604651163</c:v>
                </c:pt>
                <c:pt idx="2029">
                  <c:v>14.79418604651163</c:v>
                </c:pt>
                <c:pt idx="2030">
                  <c:v>14.79418604651163</c:v>
                </c:pt>
                <c:pt idx="2031">
                  <c:v>14.79418604651163</c:v>
                </c:pt>
                <c:pt idx="2032">
                  <c:v>14.79418604651163</c:v>
                </c:pt>
                <c:pt idx="2033">
                  <c:v>14.79418604651163</c:v>
                </c:pt>
                <c:pt idx="2034">
                  <c:v>14.79418604651163</c:v>
                </c:pt>
                <c:pt idx="2035">
                  <c:v>14.79418604651163</c:v>
                </c:pt>
                <c:pt idx="2036">
                  <c:v>14.79418604651163</c:v>
                </c:pt>
                <c:pt idx="2037">
                  <c:v>14.79418604651163</c:v>
                </c:pt>
                <c:pt idx="2038">
                  <c:v>14.79418604651163</c:v>
                </c:pt>
                <c:pt idx="2039">
                  <c:v>14.79418604651163</c:v>
                </c:pt>
                <c:pt idx="2040">
                  <c:v>14.79418604651163</c:v>
                </c:pt>
                <c:pt idx="2041">
                  <c:v>14.79418604651163</c:v>
                </c:pt>
                <c:pt idx="2042">
                  <c:v>14.79418604651163</c:v>
                </c:pt>
                <c:pt idx="2043">
                  <c:v>14.79418604651163</c:v>
                </c:pt>
                <c:pt idx="2044">
                  <c:v>14.79418604651163</c:v>
                </c:pt>
                <c:pt idx="2045">
                  <c:v>14.79418604651163</c:v>
                </c:pt>
                <c:pt idx="2046">
                  <c:v>14.79418604651163</c:v>
                </c:pt>
                <c:pt idx="2047">
                  <c:v>14.79418604651163</c:v>
                </c:pt>
                <c:pt idx="2048">
                  <c:v>14.79418604651163</c:v>
                </c:pt>
                <c:pt idx="2049">
                  <c:v>14.79418604651163</c:v>
                </c:pt>
                <c:pt idx="2050">
                  <c:v>14.79418604651163</c:v>
                </c:pt>
                <c:pt idx="2051">
                  <c:v>14.79418604651163</c:v>
                </c:pt>
                <c:pt idx="2052">
                  <c:v>14.79418604651163</c:v>
                </c:pt>
                <c:pt idx="2053">
                  <c:v>14.79418604651163</c:v>
                </c:pt>
                <c:pt idx="2054">
                  <c:v>14.79418604651163</c:v>
                </c:pt>
                <c:pt idx="2055">
                  <c:v>14.79418604651163</c:v>
                </c:pt>
                <c:pt idx="2056">
                  <c:v>14.79418604651163</c:v>
                </c:pt>
                <c:pt idx="2057">
                  <c:v>14.79418604651163</c:v>
                </c:pt>
                <c:pt idx="2058">
                  <c:v>14.79418604651163</c:v>
                </c:pt>
                <c:pt idx="2059">
                  <c:v>14.79418604651163</c:v>
                </c:pt>
                <c:pt idx="2060">
                  <c:v>14.79418604651163</c:v>
                </c:pt>
                <c:pt idx="2061">
                  <c:v>14.79418604651163</c:v>
                </c:pt>
                <c:pt idx="2062">
                  <c:v>14.79418604651163</c:v>
                </c:pt>
                <c:pt idx="2063">
                  <c:v>14.79418604651163</c:v>
                </c:pt>
                <c:pt idx="2064">
                  <c:v>14.79418604651163</c:v>
                </c:pt>
                <c:pt idx="2065">
                  <c:v>14.79418604651163</c:v>
                </c:pt>
                <c:pt idx="2066">
                  <c:v>14.79418604651163</c:v>
                </c:pt>
                <c:pt idx="2067">
                  <c:v>14.79418604651163</c:v>
                </c:pt>
                <c:pt idx="2068">
                  <c:v>14.79418604651163</c:v>
                </c:pt>
                <c:pt idx="2069">
                  <c:v>14.79418604651163</c:v>
                </c:pt>
                <c:pt idx="2070">
                  <c:v>14.79418604651163</c:v>
                </c:pt>
                <c:pt idx="2071">
                  <c:v>14.79418604651163</c:v>
                </c:pt>
                <c:pt idx="2072">
                  <c:v>14.79418604651163</c:v>
                </c:pt>
                <c:pt idx="2073">
                  <c:v>14.79418604651163</c:v>
                </c:pt>
                <c:pt idx="2074">
                  <c:v>14.79418604651163</c:v>
                </c:pt>
                <c:pt idx="2075">
                  <c:v>14.79418604651163</c:v>
                </c:pt>
                <c:pt idx="2076">
                  <c:v>14.79418604651163</c:v>
                </c:pt>
                <c:pt idx="2077">
                  <c:v>14.79418604651163</c:v>
                </c:pt>
                <c:pt idx="2078">
                  <c:v>14.79418604651163</c:v>
                </c:pt>
                <c:pt idx="2079">
                  <c:v>14.79418604651163</c:v>
                </c:pt>
                <c:pt idx="2080">
                  <c:v>14.79418604651163</c:v>
                </c:pt>
                <c:pt idx="2081">
                  <c:v>14.79418604651163</c:v>
                </c:pt>
                <c:pt idx="2082">
                  <c:v>14.79418604651163</c:v>
                </c:pt>
                <c:pt idx="2083">
                  <c:v>14.79418604651163</c:v>
                </c:pt>
                <c:pt idx="2084">
                  <c:v>14.79418604651163</c:v>
                </c:pt>
                <c:pt idx="2085">
                  <c:v>14.79418604651163</c:v>
                </c:pt>
                <c:pt idx="2086">
                  <c:v>14.79418604651163</c:v>
                </c:pt>
                <c:pt idx="2087">
                  <c:v>14.79418604651163</c:v>
                </c:pt>
                <c:pt idx="2088">
                  <c:v>14.79418604651163</c:v>
                </c:pt>
                <c:pt idx="2089">
                  <c:v>14.79418604651163</c:v>
                </c:pt>
                <c:pt idx="2090">
                  <c:v>14.79418604651163</c:v>
                </c:pt>
                <c:pt idx="2091">
                  <c:v>14.79418604651163</c:v>
                </c:pt>
                <c:pt idx="2092">
                  <c:v>14.79418604651163</c:v>
                </c:pt>
                <c:pt idx="2093">
                  <c:v>14.79418604651163</c:v>
                </c:pt>
                <c:pt idx="2094">
                  <c:v>14.79418604651163</c:v>
                </c:pt>
                <c:pt idx="2095">
                  <c:v>14.79418604651163</c:v>
                </c:pt>
                <c:pt idx="2096">
                  <c:v>14.79418604651163</c:v>
                </c:pt>
                <c:pt idx="2097">
                  <c:v>14.79418604651163</c:v>
                </c:pt>
                <c:pt idx="2098">
                  <c:v>14.79418604651163</c:v>
                </c:pt>
                <c:pt idx="2099">
                  <c:v>14.79418604651163</c:v>
                </c:pt>
                <c:pt idx="2100">
                  <c:v>14.79418604651163</c:v>
                </c:pt>
                <c:pt idx="2101">
                  <c:v>14.79418604651163</c:v>
                </c:pt>
                <c:pt idx="2102">
                  <c:v>14.79418604651163</c:v>
                </c:pt>
                <c:pt idx="2103">
                  <c:v>14.79418604651163</c:v>
                </c:pt>
                <c:pt idx="2104">
                  <c:v>14.79418604651163</c:v>
                </c:pt>
                <c:pt idx="2105">
                  <c:v>14.79418604651163</c:v>
                </c:pt>
                <c:pt idx="2106">
                  <c:v>14.79418604651163</c:v>
                </c:pt>
                <c:pt idx="2107">
                  <c:v>14.79418604651163</c:v>
                </c:pt>
                <c:pt idx="2108">
                  <c:v>14.79418604651163</c:v>
                </c:pt>
                <c:pt idx="2109">
                  <c:v>14.79418604651163</c:v>
                </c:pt>
                <c:pt idx="2110">
                  <c:v>14.79418604651163</c:v>
                </c:pt>
                <c:pt idx="2111">
                  <c:v>14.79418604651163</c:v>
                </c:pt>
                <c:pt idx="2112">
                  <c:v>14.79418604651163</c:v>
                </c:pt>
                <c:pt idx="2113">
                  <c:v>14.79418604651163</c:v>
                </c:pt>
                <c:pt idx="2114">
                  <c:v>14.79418604651163</c:v>
                </c:pt>
                <c:pt idx="2115">
                  <c:v>14.79418604651163</c:v>
                </c:pt>
                <c:pt idx="2116">
                  <c:v>14.79418604651163</c:v>
                </c:pt>
                <c:pt idx="2117">
                  <c:v>14.79418604651163</c:v>
                </c:pt>
                <c:pt idx="2118">
                  <c:v>14.79418604651163</c:v>
                </c:pt>
                <c:pt idx="2119">
                  <c:v>14.79418604651163</c:v>
                </c:pt>
                <c:pt idx="2120">
                  <c:v>14.79418604651163</c:v>
                </c:pt>
                <c:pt idx="2121">
                  <c:v>14.79418604651163</c:v>
                </c:pt>
                <c:pt idx="2122">
                  <c:v>14.79418604651163</c:v>
                </c:pt>
                <c:pt idx="2123">
                  <c:v>14.79418604651163</c:v>
                </c:pt>
                <c:pt idx="2124">
                  <c:v>14.79418604651163</c:v>
                </c:pt>
                <c:pt idx="2125">
                  <c:v>14.79418604651163</c:v>
                </c:pt>
                <c:pt idx="2126">
                  <c:v>14.79418604651163</c:v>
                </c:pt>
                <c:pt idx="2127">
                  <c:v>14.79418604651163</c:v>
                </c:pt>
                <c:pt idx="2128">
                  <c:v>14.79418604651163</c:v>
                </c:pt>
                <c:pt idx="2129">
                  <c:v>14.79418604651163</c:v>
                </c:pt>
                <c:pt idx="2130">
                  <c:v>14.79418604651163</c:v>
                </c:pt>
                <c:pt idx="2131">
                  <c:v>14.79418604651163</c:v>
                </c:pt>
                <c:pt idx="2132">
                  <c:v>14.79418604651163</c:v>
                </c:pt>
                <c:pt idx="2133">
                  <c:v>14.79418604651163</c:v>
                </c:pt>
                <c:pt idx="2134">
                  <c:v>14.79418604651163</c:v>
                </c:pt>
                <c:pt idx="2135">
                  <c:v>14.79418604651163</c:v>
                </c:pt>
                <c:pt idx="2136">
                  <c:v>14.79418604651163</c:v>
                </c:pt>
                <c:pt idx="2137">
                  <c:v>14.79418604651163</c:v>
                </c:pt>
                <c:pt idx="2138">
                  <c:v>14.79418604651163</c:v>
                </c:pt>
                <c:pt idx="2139">
                  <c:v>14.79418604651163</c:v>
                </c:pt>
                <c:pt idx="2140">
                  <c:v>14.79418604651163</c:v>
                </c:pt>
                <c:pt idx="2141">
                  <c:v>14.79418604651163</c:v>
                </c:pt>
                <c:pt idx="2142">
                  <c:v>14.79418604651163</c:v>
                </c:pt>
                <c:pt idx="2143">
                  <c:v>14.79418604651163</c:v>
                </c:pt>
                <c:pt idx="2144">
                  <c:v>14.79418604651163</c:v>
                </c:pt>
                <c:pt idx="2145">
                  <c:v>14.79418604651163</c:v>
                </c:pt>
                <c:pt idx="2146">
                  <c:v>14.79418604651163</c:v>
                </c:pt>
                <c:pt idx="2147">
                  <c:v>14.79418604651163</c:v>
                </c:pt>
                <c:pt idx="2148">
                  <c:v>14.79418604651163</c:v>
                </c:pt>
                <c:pt idx="2149">
                  <c:v>14.79418604651163</c:v>
                </c:pt>
                <c:pt idx="2150">
                  <c:v>14.79418604651163</c:v>
                </c:pt>
                <c:pt idx="2151">
                  <c:v>14.79418604651163</c:v>
                </c:pt>
                <c:pt idx="2152">
                  <c:v>14.79418604651163</c:v>
                </c:pt>
                <c:pt idx="2153">
                  <c:v>14.79418604651163</c:v>
                </c:pt>
                <c:pt idx="2154">
                  <c:v>14.79418604651163</c:v>
                </c:pt>
                <c:pt idx="2155">
                  <c:v>14.79418604651163</c:v>
                </c:pt>
                <c:pt idx="2156">
                  <c:v>14.79418604651163</c:v>
                </c:pt>
                <c:pt idx="2157">
                  <c:v>14.79418604651163</c:v>
                </c:pt>
                <c:pt idx="2158">
                  <c:v>14.79418604651163</c:v>
                </c:pt>
                <c:pt idx="2159">
                  <c:v>14.79418604651163</c:v>
                </c:pt>
                <c:pt idx="2160">
                  <c:v>14.79418604651163</c:v>
                </c:pt>
                <c:pt idx="2161">
                  <c:v>14.79418604651163</c:v>
                </c:pt>
                <c:pt idx="2162">
                  <c:v>14.79418604651163</c:v>
                </c:pt>
                <c:pt idx="2163">
                  <c:v>14.79418604651163</c:v>
                </c:pt>
                <c:pt idx="2164">
                  <c:v>14.79418604651163</c:v>
                </c:pt>
                <c:pt idx="2165">
                  <c:v>14.79418604651163</c:v>
                </c:pt>
                <c:pt idx="2166">
                  <c:v>14.79418604651163</c:v>
                </c:pt>
                <c:pt idx="2167">
                  <c:v>14.79418604651163</c:v>
                </c:pt>
                <c:pt idx="2168">
                  <c:v>14.79418604651163</c:v>
                </c:pt>
                <c:pt idx="2169">
                  <c:v>14.79418604651163</c:v>
                </c:pt>
                <c:pt idx="2170">
                  <c:v>14.79418604651163</c:v>
                </c:pt>
                <c:pt idx="2171">
                  <c:v>14.79418604651163</c:v>
                </c:pt>
                <c:pt idx="2172">
                  <c:v>14.79418604651163</c:v>
                </c:pt>
                <c:pt idx="2173">
                  <c:v>14.79418604651163</c:v>
                </c:pt>
                <c:pt idx="2174">
                  <c:v>14.79418604651163</c:v>
                </c:pt>
                <c:pt idx="2175">
                  <c:v>14.79418604651163</c:v>
                </c:pt>
                <c:pt idx="2176">
                  <c:v>14.79418604651163</c:v>
                </c:pt>
                <c:pt idx="2177">
                  <c:v>14.79418604651163</c:v>
                </c:pt>
                <c:pt idx="2178">
                  <c:v>14.79418604651163</c:v>
                </c:pt>
                <c:pt idx="2179">
                  <c:v>14.79418604651163</c:v>
                </c:pt>
                <c:pt idx="2180">
                  <c:v>14.79418604651163</c:v>
                </c:pt>
                <c:pt idx="2181">
                  <c:v>14.79418604651163</c:v>
                </c:pt>
                <c:pt idx="2182">
                  <c:v>14.79418604651163</c:v>
                </c:pt>
                <c:pt idx="2183">
                  <c:v>14.79418604651163</c:v>
                </c:pt>
                <c:pt idx="2184">
                  <c:v>14.79418604651163</c:v>
                </c:pt>
                <c:pt idx="2185">
                  <c:v>14.79418604651163</c:v>
                </c:pt>
                <c:pt idx="2186">
                  <c:v>14.79418604651163</c:v>
                </c:pt>
                <c:pt idx="2187">
                  <c:v>14.79418604651163</c:v>
                </c:pt>
                <c:pt idx="2188">
                  <c:v>14.79418604651163</c:v>
                </c:pt>
                <c:pt idx="2189">
                  <c:v>14.79418604651163</c:v>
                </c:pt>
                <c:pt idx="2190">
                  <c:v>14.79418604651163</c:v>
                </c:pt>
                <c:pt idx="2191">
                  <c:v>14.79418604651163</c:v>
                </c:pt>
                <c:pt idx="2192">
                  <c:v>14.79418604651163</c:v>
                </c:pt>
                <c:pt idx="2193">
                  <c:v>14.79418604651163</c:v>
                </c:pt>
                <c:pt idx="2194">
                  <c:v>14.79418604651163</c:v>
                </c:pt>
                <c:pt idx="2195">
                  <c:v>14.79418604651163</c:v>
                </c:pt>
                <c:pt idx="2196">
                  <c:v>14.79418604651163</c:v>
                </c:pt>
                <c:pt idx="2197">
                  <c:v>14.79418604651163</c:v>
                </c:pt>
                <c:pt idx="2198">
                  <c:v>14.79418604651163</c:v>
                </c:pt>
                <c:pt idx="2199">
                  <c:v>14.79418604651163</c:v>
                </c:pt>
                <c:pt idx="2200">
                  <c:v>14.79418604651163</c:v>
                </c:pt>
                <c:pt idx="2201">
                  <c:v>14.79418604651163</c:v>
                </c:pt>
                <c:pt idx="2202">
                  <c:v>14.79418604651163</c:v>
                </c:pt>
                <c:pt idx="2203">
                  <c:v>14.79418604651163</c:v>
                </c:pt>
                <c:pt idx="2204">
                  <c:v>14.79418604651163</c:v>
                </c:pt>
                <c:pt idx="2205">
                  <c:v>14.79418604651163</c:v>
                </c:pt>
                <c:pt idx="2206">
                  <c:v>14.79418604651163</c:v>
                </c:pt>
                <c:pt idx="2207">
                  <c:v>14.79418604651163</c:v>
                </c:pt>
                <c:pt idx="2208">
                  <c:v>14.79418604651163</c:v>
                </c:pt>
                <c:pt idx="2209">
                  <c:v>14.79418604651163</c:v>
                </c:pt>
                <c:pt idx="2210">
                  <c:v>14.79418604651163</c:v>
                </c:pt>
                <c:pt idx="2211">
                  <c:v>14.79418604651163</c:v>
                </c:pt>
                <c:pt idx="2212">
                  <c:v>14.79418604651163</c:v>
                </c:pt>
                <c:pt idx="2213">
                  <c:v>14.79418604651163</c:v>
                </c:pt>
                <c:pt idx="2214">
                  <c:v>14.79418604651163</c:v>
                </c:pt>
                <c:pt idx="2215">
                  <c:v>14.79418604651163</c:v>
                </c:pt>
                <c:pt idx="2216">
                  <c:v>14.79418604651163</c:v>
                </c:pt>
                <c:pt idx="2217">
                  <c:v>14.79418604651163</c:v>
                </c:pt>
                <c:pt idx="2218">
                  <c:v>14.79418604651163</c:v>
                </c:pt>
                <c:pt idx="2219">
                  <c:v>14.79418604651163</c:v>
                </c:pt>
                <c:pt idx="2220">
                  <c:v>14.79418604651163</c:v>
                </c:pt>
                <c:pt idx="2221">
                  <c:v>14.79418604651163</c:v>
                </c:pt>
                <c:pt idx="2222">
                  <c:v>14.79418604651163</c:v>
                </c:pt>
                <c:pt idx="2223">
                  <c:v>14.79418604651163</c:v>
                </c:pt>
                <c:pt idx="2224">
                  <c:v>14.79418604651163</c:v>
                </c:pt>
                <c:pt idx="2225">
                  <c:v>14.79418604651163</c:v>
                </c:pt>
                <c:pt idx="2226">
                  <c:v>14.79418604651163</c:v>
                </c:pt>
                <c:pt idx="2227">
                  <c:v>14.79418604651163</c:v>
                </c:pt>
                <c:pt idx="2228">
                  <c:v>14.79418604651163</c:v>
                </c:pt>
                <c:pt idx="2229">
                  <c:v>14.79418604651163</c:v>
                </c:pt>
                <c:pt idx="2230">
                  <c:v>14.79418604651163</c:v>
                </c:pt>
                <c:pt idx="2231">
                  <c:v>14.79418604651163</c:v>
                </c:pt>
                <c:pt idx="2232">
                  <c:v>14.79418604651163</c:v>
                </c:pt>
                <c:pt idx="2233">
                  <c:v>14.79418604651163</c:v>
                </c:pt>
                <c:pt idx="2234">
                  <c:v>14.79418604651163</c:v>
                </c:pt>
                <c:pt idx="2235">
                  <c:v>14.79418604651163</c:v>
                </c:pt>
                <c:pt idx="2236">
                  <c:v>14.79418604651163</c:v>
                </c:pt>
                <c:pt idx="2237">
                  <c:v>14.79418604651163</c:v>
                </c:pt>
                <c:pt idx="2238">
                  <c:v>14.79418604651163</c:v>
                </c:pt>
                <c:pt idx="2239">
                  <c:v>14.79418604651163</c:v>
                </c:pt>
                <c:pt idx="2240">
                  <c:v>14.79418604651163</c:v>
                </c:pt>
                <c:pt idx="2241">
                  <c:v>14.79418604651163</c:v>
                </c:pt>
                <c:pt idx="2242">
                  <c:v>14.79418604651163</c:v>
                </c:pt>
                <c:pt idx="2243">
                  <c:v>14.79418604651163</c:v>
                </c:pt>
                <c:pt idx="2244">
                  <c:v>14.79418604651163</c:v>
                </c:pt>
                <c:pt idx="2245">
                  <c:v>14.79418604651163</c:v>
                </c:pt>
                <c:pt idx="2246">
                  <c:v>14.79418604651163</c:v>
                </c:pt>
                <c:pt idx="2247">
                  <c:v>14.79418604651163</c:v>
                </c:pt>
                <c:pt idx="2248">
                  <c:v>14.79418604651163</c:v>
                </c:pt>
                <c:pt idx="2249">
                  <c:v>14.79418604651163</c:v>
                </c:pt>
                <c:pt idx="2250">
                  <c:v>14.79418604651163</c:v>
                </c:pt>
                <c:pt idx="2251">
                  <c:v>14.79418604651163</c:v>
                </c:pt>
                <c:pt idx="2252">
                  <c:v>14.79418604651163</c:v>
                </c:pt>
                <c:pt idx="2253">
                  <c:v>14.79418604651163</c:v>
                </c:pt>
                <c:pt idx="2254">
                  <c:v>14.79418604651163</c:v>
                </c:pt>
                <c:pt idx="2255">
                  <c:v>14.79418604651163</c:v>
                </c:pt>
                <c:pt idx="2256">
                  <c:v>14.79418604651163</c:v>
                </c:pt>
                <c:pt idx="2257">
                  <c:v>14.79418604651163</c:v>
                </c:pt>
                <c:pt idx="2258">
                  <c:v>14.79418604651163</c:v>
                </c:pt>
                <c:pt idx="2259">
                  <c:v>14.79418604651163</c:v>
                </c:pt>
                <c:pt idx="2260">
                  <c:v>14.79418604651163</c:v>
                </c:pt>
                <c:pt idx="2261">
                  <c:v>14.79418604651163</c:v>
                </c:pt>
                <c:pt idx="2262">
                  <c:v>14.79418604651163</c:v>
                </c:pt>
                <c:pt idx="2263">
                  <c:v>14.79418604651163</c:v>
                </c:pt>
                <c:pt idx="2264">
                  <c:v>14.79418604651163</c:v>
                </c:pt>
                <c:pt idx="2265">
                  <c:v>14.79418604651163</c:v>
                </c:pt>
                <c:pt idx="2266">
                  <c:v>14.79418604651163</c:v>
                </c:pt>
                <c:pt idx="2267">
                  <c:v>14.79418604651163</c:v>
                </c:pt>
                <c:pt idx="2268">
                  <c:v>14.79418604651163</c:v>
                </c:pt>
                <c:pt idx="2269">
                  <c:v>14.79418604651163</c:v>
                </c:pt>
                <c:pt idx="2270">
                  <c:v>14.79418604651163</c:v>
                </c:pt>
                <c:pt idx="2271">
                  <c:v>14.79418604651163</c:v>
                </c:pt>
                <c:pt idx="2272">
                  <c:v>14.79418604651163</c:v>
                </c:pt>
                <c:pt idx="2273">
                  <c:v>14.79418604651163</c:v>
                </c:pt>
                <c:pt idx="2274">
                  <c:v>14.79418604651163</c:v>
                </c:pt>
                <c:pt idx="2275">
                  <c:v>14.79418604651163</c:v>
                </c:pt>
                <c:pt idx="2276">
                  <c:v>14.79418604651163</c:v>
                </c:pt>
                <c:pt idx="2277">
                  <c:v>14.79418604651163</c:v>
                </c:pt>
                <c:pt idx="2278">
                  <c:v>14.79418604651163</c:v>
                </c:pt>
                <c:pt idx="2279">
                  <c:v>14.79418604651163</c:v>
                </c:pt>
                <c:pt idx="2280">
                  <c:v>14.79418604651163</c:v>
                </c:pt>
                <c:pt idx="2281">
                  <c:v>14.79418604651163</c:v>
                </c:pt>
                <c:pt idx="2282">
                  <c:v>14.79418604651163</c:v>
                </c:pt>
                <c:pt idx="2283">
                  <c:v>14.79418604651163</c:v>
                </c:pt>
                <c:pt idx="2284">
                  <c:v>14.79418604651163</c:v>
                </c:pt>
                <c:pt idx="2285">
                  <c:v>14.79418604651163</c:v>
                </c:pt>
                <c:pt idx="2286">
                  <c:v>14.79418604651163</c:v>
                </c:pt>
                <c:pt idx="2287">
                  <c:v>14.79418604651163</c:v>
                </c:pt>
                <c:pt idx="2288">
                  <c:v>14.79418604651163</c:v>
                </c:pt>
                <c:pt idx="2289">
                  <c:v>14.79418604651163</c:v>
                </c:pt>
                <c:pt idx="2290">
                  <c:v>14.79418604651163</c:v>
                </c:pt>
                <c:pt idx="2291">
                  <c:v>14.79418604651163</c:v>
                </c:pt>
                <c:pt idx="2292">
                  <c:v>14.79418604651163</c:v>
                </c:pt>
                <c:pt idx="2293">
                  <c:v>14.79418604651163</c:v>
                </c:pt>
                <c:pt idx="2294">
                  <c:v>14.79418604651163</c:v>
                </c:pt>
                <c:pt idx="2295">
                  <c:v>14.79418604651163</c:v>
                </c:pt>
                <c:pt idx="2296">
                  <c:v>14.79418604651163</c:v>
                </c:pt>
                <c:pt idx="2297">
                  <c:v>14.79418604651163</c:v>
                </c:pt>
                <c:pt idx="2298">
                  <c:v>14.79418604651163</c:v>
                </c:pt>
                <c:pt idx="2299">
                  <c:v>14.79418604651163</c:v>
                </c:pt>
                <c:pt idx="2300">
                  <c:v>14.79418604651163</c:v>
                </c:pt>
                <c:pt idx="2301">
                  <c:v>14.79418604651163</c:v>
                </c:pt>
                <c:pt idx="2302">
                  <c:v>14.79418604651163</c:v>
                </c:pt>
                <c:pt idx="2303">
                  <c:v>14.79418604651163</c:v>
                </c:pt>
                <c:pt idx="2304">
                  <c:v>14.79418604651163</c:v>
                </c:pt>
                <c:pt idx="2305">
                  <c:v>14.79418604651163</c:v>
                </c:pt>
                <c:pt idx="2306">
                  <c:v>14.79418604651163</c:v>
                </c:pt>
                <c:pt idx="2307">
                  <c:v>14.79418604651163</c:v>
                </c:pt>
                <c:pt idx="2308">
                  <c:v>14.79418604651163</c:v>
                </c:pt>
                <c:pt idx="2309">
                  <c:v>14.79418604651163</c:v>
                </c:pt>
                <c:pt idx="2310">
                  <c:v>14.79418604651163</c:v>
                </c:pt>
                <c:pt idx="2311">
                  <c:v>14.79418604651163</c:v>
                </c:pt>
                <c:pt idx="2312">
                  <c:v>14.79418604651163</c:v>
                </c:pt>
                <c:pt idx="2313">
                  <c:v>14.79418604651163</c:v>
                </c:pt>
                <c:pt idx="2314">
                  <c:v>14.79418604651163</c:v>
                </c:pt>
                <c:pt idx="2315">
                  <c:v>14.79418604651163</c:v>
                </c:pt>
                <c:pt idx="2316">
                  <c:v>14.79418604651163</c:v>
                </c:pt>
                <c:pt idx="2317">
                  <c:v>14.79418604651163</c:v>
                </c:pt>
                <c:pt idx="2318">
                  <c:v>14.79418604651163</c:v>
                </c:pt>
                <c:pt idx="2319">
                  <c:v>14.79418604651163</c:v>
                </c:pt>
                <c:pt idx="2320">
                  <c:v>14.79418604651163</c:v>
                </c:pt>
                <c:pt idx="2321">
                  <c:v>14.79418604651163</c:v>
                </c:pt>
                <c:pt idx="2322">
                  <c:v>14.79418604651163</c:v>
                </c:pt>
                <c:pt idx="2323">
                  <c:v>14.79418604651163</c:v>
                </c:pt>
                <c:pt idx="2324">
                  <c:v>14.79418604651163</c:v>
                </c:pt>
                <c:pt idx="2325">
                  <c:v>14.79418604651163</c:v>
                </c:pt>
                <c:pt idx="2326">
                  <c:v>14.79418604651163</c:v>
                </c:pt>
                <c:pt idx="2327">
                  <c:v>14.79418604651163</c:v>
                </c:pt>
                <c:pt idx="2328">
                  <c:v>14.79418604651163</c:v>
                </c:pt>
                <c:pt idx="2329">
                  <c:v>14.79418604651163</c:v>
                </c:pt>
                <c:pt idx="2330">
                  <c:v>14.79418604651163</c:v>
                </c:pt>
                <c:pt idx="2331">
                  <c:v>14.79418604651163</c:v>
                </c:pt>
                <c:pt idx="2332">
                  <c:v>14.79418604651163</c:v>
                </c:pt>
                <c:pt idx="2333">
                  <c:v>14.79418604651163</c:v>
                </c:pt>
                <c:pt idx="2334">
                  <c:v>14.79418604651163</c:v>
                </c:pt>
                <c:pt idx="2335">
                  <c:v>14.79418604651163</c:v>
                </c:pt>
                <c:pt idx="2336">
                  <c:v>14.79418604651163</c:v>
                </c:pt>
                <c:pt idx="2337">
                  <c:v>14.79418604651163</c:v>
                </c:pt>
                <c:pt idx="2338">
                  <c:v>14.79418604651163</c:v>
                </c:pt>
                <c:pt idx="2339">
                  <c:v>14.79418604651163</c:v>
                </c:pt>
                <c:pt idx="2340">
                  <c:v>14.79418604651163</c:v>
                </c:pt>
                <c:pt idx="2341">
                  <c:v>14.79418604651163</c:v>
                </c:pt>
                <c:pt idx="2342">
                  <c:v>14.79418604651163</c:v>
                </c:pt>
                <c:pt idx="2343">
                  <c:v>14.79418604651163</c:v>
                </c:pt>
                <c:pt idx="2344">
                  <c:v>14.79418604651163</c:v>
                </c:pt>
                <c:pt idx="2345">
                  <c:v>14.79418604651163</c:v>
                </c:pt>
                <c:pt idx="2346">
                  <c:v>14.79418604651163</c:v>
                </c:pt>
                <c:pt idx="2347">
                  <c:v>14.79418604651163</c:v>
                </c:pt>
                <c:pt idx="2348">
                  <c:v>14.79418604651163</c:v>
                </c:pt>
                <c:pt idx="2349">
                  <c:v>14.79418604651163</c:v>
                </c:pt>
                <c:pt idx="2350">
                  <c:v>14.79418604651163</c:v>
                </c:pt>
                <c:pt idx="2351">
                  <c:v>14.79418604651163</c:v>
                </c:pt>
                <c:pt idx="2352">
                  <c:v>14.79418604651163</c:v>
                </c:pt>
                <c:pt idx="2353">
                  <c:v>14.79418604651163</c:v>
                </c:pt>
                <c:pt idx="2354">
                  <c:v>14.79418604651163</c:v>
                </c:pt>
                <c:pt idx="2355">
                  <c:v>14.79418604651163</c:v>
                </c:pt>
                <c:pt idx="2356">
                  <c:v>14.79418604651163</c:v>
                </c:pt>
                <c:pt idx="2357">
                  <c:v>14.79418604651163</c:v>
                </c:pt>
                <c:pt idx="2358">
                  <c:v>14.79418604651163</c:v>
                </c:pt>
                <c:pt idx="2359">
                  <c:v>14.79418604651163</c:v>
                </c:pt>
                <c:pt idx="2360">
                  <c:v>14.79418604651163</c:v>
                </c:pt>
                <c:pt idx="2361">
                  <c:v>14.79418604651163</c:v>
                </c:pt>
                <c:pt idx="2362">
                  <c:v>14.79418604651163</c:v>
                </c:pt>
                <c:pt idx="2363">
                  <c:v>14.79418604651163</c:v>
                </c:pt>
                <c:pt idx="2364">
                  <c:v>14.79418604651163</c:v>
                </c:pt>
                <c:pt idx="2365">
                  <c:v>14.79418604651163</c:v>
                </c:pt>
                <c:pt idx="2366">
                  <c:v>14.79418604651163</c:v>
                </c:pt>
                <c:pt idx="2367">
                  <c:v>14.79418604651163</c:v>
                </c:pt>
                <c:pt idx="2368">
                  <c:v>14.79418604651163</c:v>
                </c:pt>
                <c:pt idx="2369">
                  <c:v>14.79418604651163</c:v>
                </c:pt>
                <c:pt idx="2370">
                  <c:v>14.79418604651163</c:v>
                </c:pt>
                <c:pt idx="2371">
                  <c:v>14.79418604651163</c:v>
                </c:pt>
                <c:pt idx="2372">
                  <c:v>14.79418604651163</c:v>
                </c:pt>
                <c:pt idx="2373">
                  <c:v>14.79418604651163</c:v>
                </c:pt>
                <c:pt idx="2374">
                  <c:v>14.79418604651163</c:v>
                </c:pt>
                <c:pt idx="2375">
                  <c:v>14.79418604651163</c:v>
                </c:pt>
                <c:pt idx="2376">
                  <c:v>14.79418604651163</c:v>
                </c:pt>
                <c:pt idx="2377">
                  <c:v>14.79418604651163</c:v>
                </c:pt>
                <c:pt idx="2378">
                  <c:v>14.79418604651163</c:v>
                </c:pt>
                <c:pt idx="2379">
                  <c:v>14.79418604651163</c:v>
                </c:pt>
                <c:pt idx="2380">
                  <c:v>14.79418604651163</c:v>
                </c:pt>
                <c:pt idx="2381">
                  <c:v>14.79418604651163</c:v>
                </c:pt>
                <c:pt idx="2382">
                  <c:v>14.79418604651163</c:v>
                </c:pt>
                <c:pt idx="2383">
                  <c:v>14.79418604651163</c:v>
                </c:pt>
                <c:pt idx="2384">
                  <c:v>14.79418604651163</c:v>
                </c:pt>
                <c:pt idx="2385">
                  <c:v>14.79418604651163</c:v>
                </c:pt>
                <c:pt idx="2386">
                  <c:v>14.79418604651163</c:v>
                </c:pt>
                <c:pt idx="2387">
                  <c:v>14.79418604651163</c:v>
                </c:pt>
                <c:pt idx="2388">
                  <c:v>14.79418604651163</c:v>
                </c:pt>
                <c:pt idx="2389">
                  <c:v>14.79418604651163</c:v>
                </c:pt>
                <c:pt idx="2390">
                  <c:v>14.79418604651163</c:v>
                </c:pt>
                <c:pt idx="2391">
                  <c:v>14.79418604651163</c:v>
                </c:pt>
                <c:pt idx="2392">
                  <c:v>14.79418604651163</c:v>
                </c:pt>
                <c:pt idx="2393">
                  <c:v>14.79418604651163</c:v>
                </c:pt>
                <c:pt idx="2394">
                  <c:v>14.79418604651163</c:v>
                </c:pt>
                <c:pt idx="2395">
                  <c:v>14.79418604651163</c:v>
                </c:pt>
                <c:pt idx="2396">
                  <c:v>14.79418604651163</c:v>
                </c:pt>
                <c:pt idx="2397">
                  <c:v>14.79418604651163</c:v>
                </c:pt>
                <c:pt idx="2398">
                  <c:v>14.79418604651163</c:v>
                </c:pt>
                <c:pt idx="2399">
                  <c:v>14.79418604651163</c:v>
                </c:pt>
                <c:pt idx="2400">
                  <c:v>14.79418604651163</c:v>
                </c:pt>
                <c:pt idx="2401">
                  <c:v>14.79418604651163</c:v>
                </c:pt>
                <c:pt idx="2402">
                  <c:v>14.79418604651163</c:v>
                </c:pt>
                <c:pt idx="2403">
                  <c:v>14.79418604651163</c:v>
                </c:pt>
                <c:pt idx="2404">
                  <c:v>14.79418604651163</c:v>
                </c:pt>
                <c:pt idx="2405">
                  <c:v>14.79418604651163</c:v>
                </c:pt>
                <c:pt idx="2406">
                  <c:v>14.79418604651163</c:v>
                </c:pt>
                <c:pt idx="2407">
                  <c:v>14.79418604651163</c:v>
                </c:pt>
                <c:pt idx="2408">
                  <c:v>14.79418604651163</c:v>
                </c:pt>
                <c:pt idx="2409">
                  <c:v>14.79418604651163</c:v>
                </c:pt>
                <c:pt idx="2410">
                  <c:v>14.79418604651163</c:v>
                </c:pt>
                <c:pt idx="2411">
                  <c:v>14.79418604651163</c:v>
                </c:pt>
                <c:pt idx="2412">
                  <c:v>14.79418604651163</c:v>
                </c:pt>
                <c:pt idx="2413">
                  <c:v>14.79418604651163</c:v>
                </c:pt>
                <c:pt idx="2414">
                  <c:v>14.79418604651163</c:v>
                </c:pt>
                <c:pt idx="2415">
                  <c:v>14.79418604651163</c:v>
                </c:pt>
                <c:pt idx="2416">
                  <c:v>14.79418604651163</c:v>
                </c:pt>
                <c:pt idx="2417">
                  <c:v>14.79418604651163</c:v>
                </c:pt>
                <c:pt idx="2418">
                  <c:v>14.79418604651163</c:v>
                </c:pt>
                <c:pt idx="2419">
                  <c:v>14.79418604651163</c:v>
                </c:pt>
                <c:pt idx="2420">
                  <c:v>14.79418604651163</c:v>
                </c:pt>
                <c:pt idx="2421">
                  <c:v>14.79418604651163</c:v>
                </c:pt>
                <c:pt idx="2422">
                  <c:v>14.79418604651163</c:v>
                </c:pt>
                <c:pt idx="2423">
                  <c:v>14.79418604651163</c:v>
                </c:pt>
                <c:pt idx="2424">
                  <c:v>14.79418604651163</c:v>
                </c:pt>
                <c:pt idx="2425">
                  <c:v>14.79418604651163</c:v>
                </c:pt>
                <c:pt idx="2426">
                  <c:v>14.79418604651163</c:v>
                </c:pt>
                <c:pt idx="2427">
                  <c:v>14.79418604651163</c:v>
                </c:pt>
                <c:pt idx="2428">
                  <c:v>14.79418604651163</c:v>
                </c:pt>
                <c:pt idx="2429">
                  <c:v>14.79418604651163</c:v>
                </c:pt>
                <c:pt idx="2430">
                  <c:v>14.79418604651163</c:v>
                </c:pt>
                <c:pt idx="2431">
                  <c:v>14.79418604651163</c:v>
                </c:pt>
                <c:pt idx="2432">
                  <c:v>14.79418604651163</c:v>
                </c:pt>
                <c:pt idx="2433">
                  <c:v>14.79418604651163</c:v>
                </c:pt>
                <c:pt idx="2434">
                  <c:v>14.79418604651163</c:v>
                </c:pt>
                <c:pt idx="2435">
                  <c:v>14.79418604651163</c:v>
                </c:pt>
                <c:pt idx="2436">
                  <c:v>14.79418604651163</c:v>
                </c:pt>
                <c:pt idx="2437">
                  <c:v>14.79418604651163</c:v>
                </c:pt>
                <c:pt idx="2438">
                  <c:v>14.79418604651163</c:v>
                </c:pt>
                <c:pt idx="2439">
                  <c:v>14.79418604651163</c:v>
                </c:pt>
                <c:pt idx="2440">
                  <c:v>14.79418604651163</c:v>
                </c:pt>
                <c:pt idx="2441">
                  <c:v>14.79418604651163</c:v>
                </c:pt>
                <c:pt idx="2442">
                  <c:v>14.79418604651163</c:v>
                </c:pt>
                <c:pt idx="2443">
                  <c:v>14.79418604651163</c:v>
                </c:pt>
                <c:pt idx="2444">
                  <c:v>14.79418604651163</c:v>
                </c:pt>
                <c:pt idx="2445">
                  <c:v>14.79418604651163</c:v>
                </c:pt>
                <c:pt idx="2446">
                  <c:v>14.79418604651163</c:v>
                </c:pt>
                <c:pt idx="2447">
                  <c:v>14.79418604651163</c:v>
                </c:pt>
                <c:pt idx="2448">
                  <c:v>14.79418604651163</c:v>
                </c:pt>
                <c:pt idx="2449">
                  <c:v>14.79418604651163</c:v>
                </c:pt>
                <c:pt idx="2450">
                  <c:v>14.79418604651163</c:v>
                </c:pt>
                <c:pt idx="2451">
                  <c:v>14.79418604651163</c:v>
                </c:pt>
                <c:pt idx="2452">
                  <c:v>14.79418604651163</c:v>
                </c:pt>
                <c:pt idx="2453">
                  <c:v>14.79418604651163</c:v>
                </c:pt>
                <c:pt idx="2454">
                  <c:v>14.79418604651163</c:v>
                </c:pt>
                <c:pt idx="2455">
                  <c:v>14.79418604651163</c:v>
                </c:pt>
                <c:pt idx="2456">
                  <c:v>14.79418604651163</c:v>
                </c:pt>
                <c:pt idx="2457">
                  <c:v>14.79418604651163</c:v>
                </c:pt>
                <c:pt idx="2458">
                  <c:v>14.79418604651163</c:v>
                </c:pt>
                <c:pt idx="2459">
                  <c:v>14.79418604651163</c:v>
                </c:pt>
                <c:pt idx="2460">
                  <c:v>14.79418604651163</c:v>
                </c:pt>
                <c:pt idx="2461">
                  <c:v>14.79418604651163</c:v>
                </c:pt>
                <c:pt idx="2462">
                  <c:v>14.79418604651163</c:v>
                </c:pt>
                <c:pt idx="2463">
                  <c:v>14.79418604651163</c:v>
                </c:pt>
                <c:pt idx="2464">
                  <c:v>14.79418604651163</c:v>
                </c:pt>
                <c:pt idx="2465">
                  <c:v>14.79418604651163</c:v>
                </c:pt>
                <c:pt idx="2466">
                  <c:v>14.79418604651163</c:v>
                </c:pt>
                <c:pt idx="2467">
                  <c:v>14.79418604651163</c:v>
                </c:pt>
                <c:pt idx="2468">
                  <c:v>14.79418604651163</c:v>
                </c:pt>
                <c:pt idx="2469">
                  <c:v>14.79418604651163</c:v>
                </c:pt>
                <c:pt idx="2470">
                  <c:v>14.79418604651163</c:v>
                </c:pt>
                <c:pt idx="2471">
                  <c:v>14.79418604651163</c:v>
                </c:pt>
                <c:pt idx="2472">
                  <c:v>14.79418604651163</c:v>
                </c:pt>
                <c:pt idx="2473">
                  <c:v>14.79418604651163</c:v>
                </c:pt>
                <c:pt idx="2474">
                  <c:v>14.79418604651163</c:v>
                </c:pt>
                <c:pt idx="2475">
                  <c:v>14.79418604651163</c:v>
                </c:pt>
                <c:pt idx="2476">
                  <c:v>14.79418604651163</c:v>
                </c:pt>
                <c:pt idx="2477">
                  <c:v>14.79418604651163</c:v>
                </c:pt>
                <c:pt idx="2478">
                  <c:v>14.79418604651163</c:v>
                </c:pt>
                <c:pt idx="2479">
                  <c:v>14.79418604651163</c:v>
                </c:pt>
                <c:pt idx="2480">
                  <c:v>14.79418604651163</c:v>
                </c:pt>
                <c:pt idx="2481">
                  <c:v>14.79418604651163</c:v>
                </c:pt>
                <c:pt idx="2482">
                  <c:v>14.79418604651163</c:v>
                </c:pt>
                <c:pt idx="2483">
                  <c:v>14.79418604651163</c:v>
                </c:pt>
                <c:pt idx="2484">
                  <c:v>14.79418604651163</c:v>
                </c:pt>
                <c:pt idx="2485">
                  <c:v>14.79418604651163</c:v>
                </c:pt>
                <c:pt idx="2486">
                  <c:v>14.79418604651163</c:v>
                </c:pt>
                <c:pt idx="2487">
                  <c:v>14.79418604651163</c:v>
                </c:pt>
                <c:pt idx="2488">
                  <c:v>14.79418604651163</c:v>
                </c:pt>
                <c:pt idx="2489">
                  <c:v>14.79418604651163</c:v>
                </c:pt>
                <c:pt idx="2490">
                  <c:v>14.79418604651163</c:v>
                </c:pt>
                <c:pt idx="2491">
                  <c:v>14.79418604651163</c:v>
                </c:pt>
                <c:pt idx="2492">
                  <c:v>14.79418604651163</c:v>
                </c:pt>
                <c:pt idx="2493">
                  <c:v>14.79418604651163</c:v>
                </c:pt>
                <c:pt idx="2494">
                  <c:v>14.79418604651163</c:v>
                </c:pt>
                <c:pt idx="2495">
                  <c:v>14.79418604651163</c:v>
                </c:pt>
                <c:pt idx="2496">
                  <c:v>14.79418604651163</c:v>
                </c:pt>
                <c:pt idx="2497">
                  <c:v>14.79418604651163</c:v>
                </c:pt>
                <c:pt idx="2498">
                  <c:v>14.79418604651163</c:v>
                </c:pt>
                <c:pt idx="2499">
                  <c:v>14.79418604651163</c:v>
                </c:pt>
                <c:pt idx="2500">
                  <c:v>14.79418604651163</c:v>
                </c:pt>
                <c:pt idx="2501">
                  <c:v>14.79418604651163</c:v>
                </c:pt>
                <c:pt idx="2502">
                  <c:v>14.79418604651163</c:v>
                </c:pt>
                <c:pt idx="2503">
                  <c:v>14.79418604651163</c:v>
                </c:pt>
                <c:pt idx="2504">
                  <c:v>14.79418604651163</c:v>
                </c:pt>
                <c:pt idx="2505">
                  <c:v>14.79418604651163</c:v>
                </c:pt>
                <c:pt idx="2506">
                  <c:v>14.79418604651163</c:v>
                </c:pt>
                <c:pt idx="2507">
                  <c:v>14.79418604651163</c:v>
                </c:pt>
                <c:pt idx="2508">
                  <c:v>14.79418604651163</c:v>
                </c:pt>
                <c:pt idx="2509">
                  <c:v>14.79418604651163</c:v>
                </c:pt>
                <c:pt idx="2510">
                  <c:v>14.79418604651163</c:v>
                </c:pt>
                <c:pt idx="2511">
                  <c:v>14.79418604651163</c:v>
                </c:pt>
                <c:pt idx="2512">
                  <c:v>14.79418604651163</c:v>
                </c:pt>
                <c:pt idx="2513">
                  <c:v>14.79418604651163</c:v>
                </c:pt>
                <c:pt idx="2514">
                  <c:v>14.79418604651163</c:v>
                </c:pt>
                <c:pt idx="2515">
                  <c:v>14.79418604651163</c:v>
                </c:pt>
                <c:pt idx="2516">
                  <c:v>14.79418604651163</c:v>
                </c:pt>
                <c:pt idx="2517">
                  <c:v>14.79418604651163</c:v>
                </c:pt>
              </c:numCache>
            </c:numRef>
          </c:val>
          <c:smooth val="0"/>
          <c:extLst xmlns:c16r2="http://schemas.microsoft.com/office/drawing/2015/06/chart">
            <c:ext xmlns:c16="http://schemas.microsoft.com/office/drawing/2014/chart" uri="{C3380CC4-5D6E-409C-BE32-E72D297353CC}">
              <c16:uniqueId val="{00000002-17DE-4E25-884A-E8F872F9C8DF}"/>
            </c:ext>
          </c:extLst>
        </c:ser>
        <c:dLbls>
          <c:showLegendKey val="0"/>
          <c:showVal val="0"/>
          <c:showCatName val="0"/>
          <c:showSerName val="0"/>
          <c:showPercent val="0"/>
          <c:showBubbleSize val="0"/>
        </c:dLbls>
        <c:marker val="1"/>
        <c:smooth val="0"/>
        <c:axId val="551560704"/>
        <c:axId val="551562240"/>
      </c:lineChart>
      <c:dateAx>
        <c:axId val="551560704"/>
        <c:scaling>
          <c:orientation val="minMax"/>
        </c:scaling>
        <c:delete val="0"/>
        <c:axPos val="b"/>
        <c:numFmt formatCode="m/d/yyyy" sourceLinked="0"/>
        <c:majorTickMark val="none"/>
        <c:minorTickMark val="none"/>
        <c:tickLblPos val="nextTo"/>
        <c:crossAx val="551562240"/>
        <c:crosses val="autoZero"/>
        <c:auto val="1"/>
        <c:lblOffset val="100"/>
        <c:baseTimeUnit val="days"/>
      </c:dateAx>
      <c:valAx>
        <c:axId val="551562240"/>
        <c:scaling>
          <c:orientation val="minMax"/>
        </c:scaling>
        <c:delete val="0"/>
        <c:axPos val="l"/>
        <c:majorGridlines/>
        <c:title>
          <c:tx>
            <c:rich>
              <a:bodyPr rot="0" vert="horz"/>
              <a:lstStyle/>
              <a:p>
                <a:pPr>
                  <a:defRPr/>
                </a:pPr>
                <a:r>
                  <a:rPr lang="en-US" dirty="0"/>
                  <a:t>VIX Index</a:t>
                </a:r>
              </a:p>
            </c:rich>
          </c:tx>
          <c:layout/>
          <c:overlay val="0"/>
        </c:title>
        <c:numFmt formatCode="General" sourceLinked="1"/>
        <c:majorTickMark val="none"/>
        <c:minorTickMark val="none"/>
        <c:tickLblPos val="nextTo"/>
        <c:spPr>
          <a:ln w="9525">
            <a:noFill/>
          </a:ln>
        </c:spPr>
        <c:crossAx val="551560704"/>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a:lstStyle/>
          <a:p>
            <a:pPr>
              <a:defRPr/>
            </a:pPr>
            <a:r>
              <a:rPr lang="en-US" sz="1400" b="1" i="0" baseline="0" dirty="0">
                <a:effectLst/>
              </a:rPr>
              <a:t>Historical periods length (in consecutive bd) of VIX below its 1m-lows and corresponding VIX move</a:t>
            </a:r>
            <a:endParaRPr lang="en-US" sz="1400" dirty="0">
              <a:effectLst/>
            </a:endParaRPr>
          </a:p>
        </c:rich>
      </c:tx>
      <c:layout/>
      <c:overlay val="0"/>
    </c:title>
    <c:autoTitleDeleted val="0"/>
    <c:plotArea>
      <c:layout/>
      <c:scatterChart>
        <c:scatterStyle val="lineMarker"/>
        <c:varyColors val="0"/>
        <c:ser>
          <c:idx val="0"/>
          <c:order val="0"/>
          <c:tx>
            <c:strRef>
              <c:f>'VIX-min'!$W$257</c:f>
              <c:strCache>
                <c:ptCount val="1"/>
                <c:pt idx="0">
                  <c:v>VIX move over the period</c:v>
                </c:pt>
              </c:strCache>
            </c:strRef>
          </c:tx>
          <c:spPr>
            <a:ln w="28575">
              <a:noFill/>
            </a:ln>
          </c:spPr>
          <c:xVal>
            <c:numRef>
              <c:f>'VIX-min'!$V$258:$V$670</c:f>
              <c:numCache>
                <c:formatCode>General</c:formatCode>
                <c:ptCount val="413"/>
                <c:pt idx="0">
                  <c:v>8</c:v>
                </c:pt>
                <c:pt idx="1">
                  <c:v>8</c:v>
                </c:pt>
                <c:pt idx="2">
                  <c:v>7</c:v>
                </c:pt>
                <c:pt idx="3">
                  <c:v>7</c:v>
                </c:pt>
                <c:pt idx="4">
                  <c:v>6</c:v>
                </c:pt>
                <c:pt idx="5">
                  <c:v>6</c:v>
                </c:pt>
                <c:pt idx="6">
                  <c:v>6</c:v>
                </c:pt>
                <c:pt idx="7">
                  <c:v>6</c:v>
                </c:pt>
                <c:pt idx="8">
                  <c:v>5</c:v>
                </c:pt>
                <c:pt idx="9">
                  <c:v>5</c:v>
                </c:pt>
                <c:pt idx="10">
                  <c:v>5</c:v>
                </c:pt>
                <c:pt idx="11">
                  <c:v>5</c:v>
                </c:pt>
                <c:pt idx="12">
                  <c:v>5</c:v>
                </c:pt>
                <c:pt idx="13">
                  <c:v>5</c:v>
                </c:pt>
                <c:pt idx="14">
                  <c:v>5</c:v>
                </c:pt>
                <c:pt idx="15">
                  <c:v>5</c:v>
                </c:pt>
                <c:pt idx="16">
                  <c:v>5</c:v>
                </c:pt>
                <c:pt idx="17">
                  <c:v>4</c:v>
                </c:pt>
                <c:pt idx="18">
                  <c:v>4</c:v>
                </c:pt>
                <c:pt idx="19">
                  <c:v>4</c:v>
                </c:pt>
                <c:pt idx="20">
                  <c:v>4</c:v>
                </c:pt>
                <c:pt idx="21">
                  <c:v>4</c:v>
                </c:pt>
                <c:pt idx="22">
                  <c:v>4</c:v>
                </c:pt>
                <c:pt idx="23">
                  <c:v>4</c:v>
                </c:pt>
                <c:pt idx="24">
                  <c:v>4</c:v>
                </c:pt>
                <c:pt idx="25">
                  <c:v>4</c:v>
                </c:pt>
                <c:pt idx="26">
                  <c:v>4</c:v>
                </c:pt>
                <c:pt idx="27">
                  <c:v>4</c:v>
                </c:pt>
                <c:pt idx="28">
                  <c:v>4</c:v>
                </c:pt>
                <c:pt idx="29">
                  <c:v>4</c:v>
                </c:pt>
                <c:pt idx="30">
                  <c:v>4</c:v>
                </c:pt>
                <c:pt idx="31">
                  <c:v>4</c:v>
                </c:pt>
                <c:pt idx="32">
                  <c:v>3</c:v>
                </c:pt>
                <c:pt idx="33">
                  <c:v>3</c:v>
                </c:pt>
                <c:pt idx="34">
                  <c:v>3</c:v>
                </c:pt>
                <c:pt idx="35">
                  <c:v>3</c:v>
                </c:pt>
                <c:pt idx="36">
                  <c:v>3</c:v>
                </c:pt>
                <c:pt idx="37">
                  <c:v>3</c:v>
                </c:pt>
                <c:pt idx="38">
                  <c:v>3</c:v>
                </c:pt>
                <c:pt idx="39">
                  <c:v>3</c:v>
                </c:pt>
                <c:pt idx="40">
                  <c:v>3</c:v>
                </c:pt>
                <c:pt idx="41">
                  <c:v>3</c:v>
                </c:pt>
                <c:pt idx="42">
                  <c:v>3</c:v>
                </c:pt>
                <c:pt idx="43">
                  <c:v>3</c:v>
                </c:pt>
                <c:pt idx="44">
                  <c:v>3</c:v>
                </c:pt>
                <c:pt idx="45">
                  <c:v>3</c:v>
                </c:pt>
                <c:pt idx="46">
                  <c:v>3</c:v>
                </c:pt>
                <c:pt idx="47">
                  <c:v>3</c:v>
                </c:pt>
                <c:pt idx="48">
                  <c:v>3</c:v>
                </c:pt>
                <c:pt idx="49">
                  <c:v>3</c:v>
                </c:pt>
                <c:pt idx="50">
                  <c:v>3</c:v>
                </c:pt>
                <c:pt idx="51">
                  <c:v>3</c:v>
                </c:pt>
                <c:pt idx="52">
                  <c:v>3</c:v>
                </c:pt>
                <c:pt idx="53">
                  <c:v>3</c:v>
                </c:pt>
                <c:pt idx="54">
                  <c:v>3</c:v>
                </c:pt>
                <c:pt idx="55">
                  <c:v>3</c:v>
                </c:pt>
                <c:pt idx="56">
                  <c:v>3</c:v>
                </c:pt>
                <c:pt idx="57">
                  <c:v>3</c:v>
                </c:pt>
                <c:pt idx="58">
                  <c:v>3</c:v>
                </c:pt>
                <c:pt idx="59">
                  <c:v>3</c:v>
                </c:pt>
                <c:pt idx="60">
                  <c:v>3</c:v>
                </c:pt>
                <c:pt idx="61">
                  <c:v>3</c:v>
                </c:pt>
                <c:pt idx="62">
                  <c:v>3</c:v>
                </c:pt>
                <c:pt idx="63">
                  <c:v>3</c:v>
                </c:pt>
                <c:pt idx="64">
                  <c:v>3</c:v>
                </c:pt>
                <c:pt idx="65">
                  <c:v>3</c:v>
                </c:pt>
                <c:pt idx="66">
                  <c:v>3</c:v>
                </c:pt>
                <c:pt idx="67">
                  <c:v>3</c:v>
                </c:pt>
                <c:pt idx="68">
                  <c:v>3</c:v>
                </c:pt>
                <c:pt idx="69">
                  <c:v>3</c:v>
                </c:pt>
                <c:pt idx="70">
                  <c:v>3</c:v>
                </c:pt>
                <c:pt idx="71">
                  <c:v>3</c:v>
                </c:pt>
                <c:pt idx="72">
                  <c:v>3</c:v>
                </c:pt>
                <c:pt idx="73">
                  <c:v>3</c:v>
                </c:pt>
                <c:pt idx="74">
                  <c:v>3</c:v>
                </c:pt>
                <c:pt idx="75">
                  <c:v>2</c:v>
                </c:pt>
                <c:pt idx="76">
                  <c:v>2</c:v>
                </c:pt>
                <c:pt idx="77">
                  <c:v>2</c:v>
                </c:pt>
                <c:pt idx="78">
                  <c:v>2</c:v>
                </c:pt>
                <c:pt idx="79">
                  <c:v>2</c:v>
                </c:pt>
                <c:pt idx="80">
                  <c:v>2</c:v>
                </c:pt>
                <c:pt idx="81">
                  <c:v>2</c:v>
                </c:pt>
                <c:pt idx="82">
                  <c:v>2</c:v>
                </c:pt>
                <c:pt idx="83">
                  <c:v>2</c:v>
                </c:pt>
                <c:pt idx="84">
                  <c:v>2</c:v>
                </c:pt>
                <c:pt idx="85">
                  <c:v>2</c:v>
                </c:pt>
                <c:pt idx="86">
                  <c:v>2</c:v>
                </c:pt>
                <c:pt idx="87">
                  <c:v>2</c:v>
                </c:pt>
                <c:pt idx="88">
                  <c:v>2</c:v>
                </c:pt>
                <c:pt idx="89">
                  <c:v>2</c:v>
                </c:pt>
                <c:pt idx="90">
                  <c:v>2</c:v>
                </c:pt>
                <c:pt idx="91">
                  <c:v>2</c:v>
                </c:pt>
                <c:pt idx="92">
                  <c:v>2</c:v>
                </c:pt>
                <c:pt idx="93">
                  <c:v>2</c:v>
                </c:pt>
                <c:pt idx="94">
                  <c:v>2</c:v>
                </c:pt>
                <c:pt idx="95">
                  <c:v>2</c:v>
                </c:pt>
                <c:pt idx="96">
                  <c:v>2</c:v>
                </c:pt>
                <c:pt idx="97">
                  <c:v>2</c:v>
                </c:pt>
                <c:pt idx="98">
                  <c:v>2</c:v>
                </c:pt>
                <c:pt idx="99">
                  <c:v>2</c:v>
                </c:pt>
                <c:pt idx="100">
                  <c:v>2</c:v>
                </c:pt>
                <c:pt idx="101">
                  <c:v>2</c:v>
                </c:pt>
                <c:pt idx="102">
                  <c:v>2</c:v>
                </c:pt>
                <c:pt idx="103">
                  <c:v>2</c:v>
                </c:pt>
                <c:pt idx="104">
                  <c:v>2</c:v>
                </c:pt>
                <c:pt idx="105">
                  <c:v>2</c:v>
                </c:pt>
                <c:pt idx="106">
                  <c:v>2</c:v>
                </c:pt>
                <c:pt idx="107">
                  <c:v>2</c:v>
                </c:pt>
                <c:pt idx="108">
                  <c:v>2</c:v>
                </c:pt>
                <c:pt idx="109">
                  <c:v>2</c:v>
                </c:pt>
                <c:pt idx="110">
                  <c:v>2</c:v>
                </c:pt>
                <c:pt idx="111">
                  <c:v>2</c:v>
                </c:pt>
                <c:pt idx="112">
                  <c:v>2</c:v>
                </c:pt>
                <c:pt idx="113">
                  <c:v>2</c:v>
                </c:pt>
                <c:pt idx="114">
                  <c:v>2</c:v>
                </c:pt>
                <c:pt idx="115">
                  <c:v>2</c:v>
                </c:pt>
                <c:pt idx="116">
                  <c:v>2</c:v>
                </c:pt>
                <c:pt idx="117">
                  <c:v>2</c:v>
                </c:pt>
                <c:pt idx="118">
                  <c:v>2</c:v>
                </c:pt>
                <c:pt idx="119">
                  <c:v>2</c:v>
                </c:pt>
                <c:pt idx="120">
                  <c:v>2</c:v>
                </c:pt>
                <c:pt idx="121">
                  <c:v>2</c:v>
                </c:pt>
                <c:pt idx="122">
                  <c:v>2</c:v>
                </c:pt>
                <c:pt idx="123">
                  <c:v>2</c:v>
                </c:pt>
                <c:pt idx="124">
                  <c:v>2</c:v>
                </c:pt>
                <c:pt idx="125">
                  <c:v>2</c:v>
                </c:pt>
                <c:pt idx="126">
                  <c:v>2</c:v>
                </c:pt>
                <c:pt idx="127">
                  <c:v>2</c:v>
                </c:pt>
                <c:pt idx="128">
                  <c:v>2</c:v>
                </c:pt>
                <c:pt idx="129">
                  <c:v>2</c:v>
                </c:pt>
                <c:pt idx="130">
                  <c:v>2</c:v>
                </c:pt>
                <c:pt idx="131">
                  <c:v>2</c:v>
                </c:pt>
                <c:pt idx="132">
                  <c:v>2</c:v>
                </c:pt>
                <c:pt idx="133">
                  <c:v>2</c:v>
                </c:pt>
                <c:pt idx="134">
                  <c:v>2</c:v>
                </c:pt>
                <c:pt idx="135">
                  <c:v>2</c:v>
                </c:pt>
                <c:pt idx="136">
                  <c:v>2</c:v>
                </c:pt>
                <c:pt idx="137">
                  <c:v>2</c:v>
                </c:pt>
                <c:pt idx="138">
                  <c:v>2</c:v>
                </c:pt>
                <c:pt idx="139">
                  <c:v>2</c:v>
                </c:pt>
                <c:pt idx="140">
                  <c:v>2</c:v>
                </c:pt>
                <c:pt idx="141">
                  <c:v>2</c:v>
                </c:pt>
                <c:pt idx="142">
                  <c:v>2</c:v>
                </c:pt>
                <c:pt idx="143">
                  <c:v>2</c:v>
                </c:pt>
                <c:pt idx="144">
                  <c:v>2</c:v>
                </c:pt>
                <c:pt idx="145">
                  <c:v>2</c:v>
                </c:pt>
                <c:pt idx="146">
                  <c:v>2</c:v>
                </c:pt>
                <c:pt idx="147">
                  <c:v>2</c:v>
                </c:pt>
                <c:pt idx="148">
                  <c:v>2</c:v>
                </c:pt>
                <c:pt idx="149">
                  <c:v>2</c:v>
                </c:pt>
                <c:pt idx="150">
                  <c:v>2</c:v>
                </c:pt>
                <c:pt idx="151">
                  <c:v>2</c:v>
                </c:pt>
                <c:pt idx="152">
                  <c:v>2</c:v>
                </c:pt>
                <c:pt idx="153">
                  <c:v>2</c:v>
                </c:pt>
                <c:pt idx="154">
                  <c:v>2</c:v>
                </c:pt>
                <c:pt idx="155">
                  <c:v>2</c:v>
                </c:pt>
                <c:pt idx="156">
                  <c:v>2</c:v>
                </c:pt>
                <c:pt idx="157">
                  <c:v>2</c:v>
                </c:pt>
                <c:pt idx="158">
                  <c:v>2</c:v>
                </c:pt>
                <c:pt idx="159">
                  <c:v>2</c:v>
                </c:pt>
                <c:pt idx="160">
                  <c:v>2</c:v>
                </c:pt>
                <c:pt idx="161">
                  <c:v>2</c:v>
                </c:pt>
                <c:pt idx="162">
                  <c:v>2</c:v>
                </c:pt>
                <c:pt idx="163">
                  <c:v>2</c:v>
                </c:pt>
                <c:pt idx="164">
                  <c:v>2</c:v>
                </c:pt>
                <c:pt idx="165">
                  <c:v>2</c:v>
                </c:pt>
                <c:pt idx="166">
                  <c:v>2</c:v>
                </c:pt>
                <c:pt idx="167">
                  <c:v>2</c:v>
                </c:pt>
                <c:pt idx="168">
                  <c:v>2</c:v>
                </c:pt>
                <c:pt idx="169">
                  <c:v>2</c:v>
                </c:pt>
                <c:pt idx="170">
                  <c:v>2</c:v>
                </c:pt>
                <c:pt idx="171">
                  <c:v>2</c:v>
                </c:pt>
                <c:pt idx="172">
                  <c:v>2</c:v>
                </c:pt>
                <c:pt idx="173">
                  <c:v>2</c:v>
                </c:pt>
                <c:pt idx="174">
                  <c:v>2</c:v>
                </c:pt>
                <c:pt idx="175">
                  <c:v>2</c:v>
                </c:pt>
                <c:pt idx="176">
                  <c:v>1</c:v>
                </c:pt>
                <c:pt idx="177">
                  <c:v>1</c:v>
                </c:pt>
                <c:pt idx="178">
                  <c:v>1</c:v>
                </c:pt>
                <c:pt idx="179">
                  <c:v>1</c:v>
                </c:pt>
                <c:pt idx="180">
                  <c:v>1</c:v>
                </c:pt>
                <c:pt idx="181">
                  <c:v>1</c:v>
                </c:pt>
                <c:pt idx="182">
                  <c:v>1</c:v>
                </c:pt>
                <c:pt idx="183">
                  <c:v>1</c:v>
                </c:pt>
                <c:pt idx="184">
                  <c:v>1</c:v>
                </c:pt>
                <c:pt idx="185">
                  <c:v>1</c:v>
                </c:pt>
                <c:pt idx="186">
                  <c:v>1</c:v>
                </c:pt>
                <c:pt idx="187">
                  <c:v>1</c:v>
                </c:pt>
                <c:pt idx="188">
                  <c:v>1</c:v>
                </c:pt>
                <c:pt idx="189">
                  <c:v>1</c:v>
                </c:pt>
                <c:pt idx="190">
                  <c:v>1</c:v>
                </c:pt>
                <c:pt idx="191">
                  <c:v>1</c:v>
                </c:pt>
                <c:pt idx="192">
                  <c:v>1</c:v>
                </c:pt>
                <c:pt idx="193">
                  <c:v>1</c:v>
                </c:pt>
                <c:pt idx="194">
                  <c:v>1</c:v>
                </c:pt>
                <c:pt idx="195">
                  <c:v>1</c:v>
                </c:pt>
                <c:pt idx="196">
                  <c:v>1</c:v>
                </c:pt>
                <c:pt idx="197">
                  <c:v>1</c:v>
                </c:pt>
                <c:pt idx="198">
                  <c:v>1</c:v>
                </c:pt>
                <c:pt idx="199">
                  <c:v>1</c:v>
                </c:pt>
                <c:pt idx="200">
                  <c:v>1</c:v>
                </c:pt>
                <c:pt idx="201">
                  <c:v>1</c:v>
                </c:pt>
                <c:pt idx="202">
                  <c:v>1</c:v>
                </c:pt>
                <c:pt idx="203">
                  <c:v>1</c:v>
                </c:pt>
                <c:pt idx="204">
                  <c:v>1</c:v>
                </c:pt>
                <c:pt idx="205">
                  <c:v>1</c:v>
                </c:pt>
                <c:pt idx="206">
                  <c:v>1</c:v>
                </c:pt>
                <c:pt idx="207">
                  <c:v>1</c:v>
                </c:pt>
                <c:pt idx="208">
                  <c:v>1</c:v>
                </c:pt>
                <c:pt idx="209">
                  <c:v>1</c:v>
                </c:pt>
                <c:pt idx="210">
                  <c:v>1</c:v>
                </c:pt>
                <c:pt idx="211">
                  <c:v>1</c:v>
                </c:pt>
                <c:pt idx="212">
                  <c:v>1</c:v>
                </c:pt>
                <c:pt idx="213">
                  <c:v>1</c:v>
                </c:pt>
                <c:pt idx="214">
                  <c:v>1</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1</c:v>
                </c:pt>
                <c:pt idx="238">
                  <c:v>1</c:v>
                </c:pt>
                <c:pt idx="239">
                  <c:v>1</c:v>
                </c:pt>
                <c:pt idx="240">
                  <c:v>1</c:v>
                </c:pt>
                <c:pt idx="241">
                  <c:v>1</c:v>
                </c:pt>
                <c:pt idx="242">
                  <c:v>1</c:v>
                </c:pt>
                <c:pt idx="243">
                  <c:v>1</c:v>
                </c:pt>
                <c:pt idx="244">
                  <c:v>1</c:v>
                </c:pt>
                <c:pt idx="245">
                  <c:v>1</c:v>
                </c:pt>
                <c:pt idx="246">
                  <c:v>1</c:v>
                </c:pt>
                <c:pt idx="247">
                  <c:v>1</c:v>
                </c:pt>
                <c:pt idx="248">
                  <c:v>1</c:v>
                </c:pt>
                <c:pt idx="249">
                  <c:v>1</c:v>
                </c:pt>
                <c:pt idx="250">
                  <c:v>1</c:v>
                </c:pt>
                <c:pt idx="251">
                  <c:v>1</c:v>
                </c:pt>
                <c:pt idx="252">
                  <c:v>1</c:v>
                </c:pt>
                <c:pt idx="253">
                  <c:v>1</c:v>
                </c:pt>
                <c:pt idx="254">
                  <c:v>1</c:v>
                </c:pt>
                <c:pt idx="255">
                  <c:v>1</c:v>
                </c:pt>
                <c:pt idx="256">
                  <c:v>1</c:v>
                </c:pt>
                <c:pt idx="257">
                  <c:v>1</c:v>
                </c:pt>
                <c:pt idx="258">
                  <c:v>1</c:v>
                </c:pt>
                <c:pt idx="259">
                  <c:v>1</c:v>
                </c:pt>
                <c:pt idx="260">
                  <c:v>1</c:v>
                </c:pt>
                <c:pt idx="261">
                  <c:v>1</c:v>
                </c:pt>
                <c:pt idx="262">
                  <c:v>1</c:v>
                </c:pt>
                <c:pt idx="263">
                  <c:v>1</c:v>
                </c:pt>
                <c:pt idx="264">
                  <c:v>1</c:v>
                </c:pt>
                <c:pt idx="265">
                  <c:v>1</c:v>
                </c:pt>
                <c:pt idx="266">
                  <c:v>1</c:v>
                </c:pt>
                <c:pt idx="267">
                  <c:v>1</c:v>
                </c:pt>
                <c:pt idx="268">
                  <c:v>1</c:v>
                </c:pt>
                <c:pt idx="269">
                  <c:v>1</c:v>
                </c:pt>
                <c:pt idx="270">
                  <c:v>1</c:v>
                </c:pt>
                <c:pt idx="271">
                  <c:v>1</c:v>
                </c:pt>
                <c:pt idx="272">
                  <c:v>1</c:v>
                </c:pt>
                <c:pt idx="273">
                  <c:v>1</c:v>
                </c:pt>
                <c:pt idx="274">
                  <c:v>1</c:v>
                </c:pt>
                <c:pt idx="275">
                  <c:v>1</c:v>
                </c:pt>
                <c:pt idx="276">
                  <c:v>1</c:v>
                </c:pt>
                <c:pt idx="277">
                  <c:v>1</c:v>
                </c:pt>
                <c:pt idx="278">
                  <c:v>1</c:v>
                </c:pt>
                <c:pt idx="279">
                  <c:v>1</c:v>
                </c:pt>
                <c:pt idx="280">
                  <c:v>1</c:v>
                </c:pt>
                <c:pt idx="281">
                  <c:v>1</c:v>
                </c:pt>
                <c:pt idx="282">
                  <c:v>1</c:v>
                </c:pt>
                <c:pt idx="283">
                  <c:v>1</c:v>
                </c:pt>
                <c:pt idx="284">
                  <c:v>1</c:v>
                </c:pt>
                <c:pt idx="285">
                  <c:v>1</c:v>
                </c:pt>
                <c:pt idx="286">
                  <c:v>1</c:v>
                </c:pt>
                <c:pt idx="287">
                  <c:v>1</c:v>
                </c:pt>
                <c:pt idx="288">
                  <c:v>1</c:v>
                </c:pt>
                <c:pt idx="289">
                  <c:v>1</c:v>
                </c:pt>
                <c:pt idx="290">
                  <c:v>1</c:v>
                </c:pt>
                <c:pt idx="291">
                  <c:v>1</c:v>
                </c:pt>
                <c:pt idx="292">
                  <c:v>1</c:v>
                </c:pt>
                <c:pt idx="293">
                  <c:v>1</c:v>
                </c:pt>
                <c:pt idx="294">
                  <c:v>1</c:v>
                </c:pt>
                <c:pt idx="295">
                  <c:v>1</c:v>
                </c:pt>
                <c:pt idx="296">
                  <c:v>1</c:v>
                </c:pt>
                <c:pt idx="297">
                  <c:v>1</c:v>
                </c:pt>
                <c:pt idx="298">
                  <c:v>1</c:v>
                </c:pt>
                <c:pt idx="299">
                  <c:v>1</c:v>
                </c:pt>
                <c:pt idx="300">
                  <c:v>1</c:v>
                </c:pt>
                <c:pt idx="301">
                  <c:v>1</c:v>
                </c:pt>
                <c:pt idx="302">
                  <c:v>1</c:v>
                </c:pt>
                <c:pt idx="303">
                  <c:v>1</c:v>
                </c:pt>
                <c:pt idx="304">
                  <c:v>1</c:v>
                </c:pt>
                <c:pt idx="305">
                  <c:v>1</c:v>
                </c:pt>
                <c:pt idx="306">
                  <c:v>1</c:v>
                </c:pt>
                <c:pt idx="307">
                  <c:v>1</c:v>
                </c:pt>
                <c:pt idx="308">
                  <c:v>1</c:v>
                </c:pt>
                <c:pt idx="309">
                  <c:v>1</c:v>
                </c:pt>
                <c:pt idx="310">
                  <c:v>1</c:v>
                </c:pt>
                <c:pt idx="311">
                  <c:v>1</c:v>
                </c:pt>
                <c:pt idx="312">
                  <c:v>1</c:v>
                </c:pt>
                <c:pt idx="313">
                  <c:v>1</c:v>
                </c:pt>
                <c:pt idx="314">
                  <c:v>1</c:v>
                </c:pt>
                <c:pt idx="315">
                  <c:v>1</c:v>
                </c:pt>
                <c:pt idx="316">
                  <c:v>1</c:v>
                </c:pt>
                <c:pt idx="317">
                  <c:v>1</c:v>
                </c:pt>
                <c:pt idx="318">
                  <c:v>1</c:v>
                </c:pt>
                <c:pt idx="319">
                  <c:v>1</c:v>
                </c:pt>
                <c:pt idx="320">
                  <c:v>1</c:v>
                </c:pt>
                <c:pt idx="321">
                  <c:v>1</c:v>
                </c:pt>
                <c:pt idx="322">
                  <c:v>1</c:v>
                </c:pt>
                <c:pt idx="323">
                  <c:v>1</c:v>
                </c:pt>
                <c:pt idx="324">
                  <c:v>1</c:v>
                </c:pt>
                <c:pt idx="325">
                  <c:v>1</c:v>
                </c:pt>
                <c:pt idx="326">
                  <c:v>1</c:v>
                </c:pt>
                <c:pt idx="327">
                  <c:v>1</c:v>
                </c:pt>
                <c:pt idx="328">
                  <c:v>1</c:v>
                </c:pt>
                <c:pt idx="329">
                  <c:v>1</c:v>
                </c:pt>
                <c:pt idx="330">
                  <c:v>1</c:v>
                </c:pt>
                <c:pt idx="331">
                  <c:v>1</c:v>
                </c:pt>
                <c:pt idx="332">
                  <c:v>1</c:v>
                </c:pt>
                <c:pt idx="333">
                  <c:v>1</c:v>
                </c:pt>
                <c:pt idx="334">
                  <c:v>1</c:v>
                </c:pt>
                <c:pt idx="335">
                  <c:v>1</c:v>
                </c:pt>
                <c:pt idx="336">
                  <c:v>1</c:v>
                </c:pt>
                <c:pt idx="337">
                  <c:v>1</c:v>
                </c:pt>
                <c:pt idx="338">
                  <c:v>1</c:v>
                </c:pt>
                <c:pt idx="339">
                  <c:v>1</c:v>
                </c:pt>
                <c:pt idx="340">
                  <c:v>1</c:v>
                </c:pt>
                <c:pt idx="341">
                  <c:v>1</c:v>
                </c:pt>
                <c:pt idx="342">
                  <c:v>1</c:v>
                </c:pt>
                <c:pt idx="343">
                  <c:v>1</c:v>
                </c:pt>
                <c:pt idx="344">
                  <c:v>1</c:v>
                </c:pt>
                <c:pt idx="345">
                  <c:v>1</c:v>
                </c:pt>
                <c:pt idx="346">
                  <c:v>1</c:v>
                </c:pt>
                <c:pt idx="347">
                  <c:v>1</c:v>
                </c:pt>
                <c:pt idx="348">
                  <c:v>1</c:v>
                </c:pt>
                <c:pt idx="349">
                  <c:v>1</c:v>
                </c:pt>
                <c:pt idx="350">
                  <c:v>1</c:v>
                </c:pt>
                <c:pt idx="351">
                  <c:v>1</c:v>
                </c:pt>
                <c:pt idx="352">
                  <c:v>1</c:v>
                </c:pt>
                <c:pt idx="353">
                  <c:v>1</c:v>
                </c:pt>
                <c:pt idx="354">
                  <c:v>1</c:v>
                </c:pt>
                <c:pt idx="355">
                  <c:v>1</c:v>
                </c:pt>
                <c:pt idx="356">
                  <c:v>1</c:v>
                </c:pt>
                <c:pt idx="357">
                  <c:v>1</c:v>
                </c:pt>
                <c:pt idx="358">
                  <c:v>1</c:v>
                </c:pt>
                <c:pt idx="359">
                  <c:v>1</c:v>
                </c:pt>
                <c:pt idx="360">
                  <c:v>1</c:v>
                </c:pt>
                <c:pt idx="361">
                  <c:v>1</c:v>
                </c:pt>
                <c:pt idx="362">
                  <c:v>1</c:v>
                </c:pt>
                <c:pt idx="363">
                  <c:v>1</c:v>
                </c:pt>
                <c:pt idx="364">
                  <c:v>1</c:v>
                </c:pt>
                <c:pt idx="365">
                  <c:v>1</c:v>
                </c:pt>
                <c:pt idx="366">
                  <c:v>1</c:v>
                </c:pt>
                <c:pt idx="367">
                  <c:v>1</c:v>
                </c:pt>
                <c:pt idx="368">
                  <c:v>1</c:v>
                </c:pt>
                <c:pt idx="369">
                  <c:v>1</c:v>
                </c:pt>
                <c:pt idx="370">
                  <c:v>1</c:v>
                </c:pt>
                <c:pt idx="371">
                  <c:v>1</c:v>
                </c:pt>
                <c:pt idx="372">
                  <c:v>1</c:v>
                </c:pt>
                <c:pt idx="373">
                  <c:v>1</c:v>
                </c:pt>
                <c:pt idx="374">
                  <c:v>1</c:v>
                </c:pt>
                <c:pt idx="375">
                  <c:v>1</c:v>
                </c:pt>
                <c:pt idx="376">
                  <c:v>1</c:v>
                </c:pt>
                <c:pt idx="377">
                  <c:v>1</c:v>
                </c:pt>
                <c:pt idx="378">
                  <c:v>1</c:v>
                </c:pt>
                <c:pt idx="379">
                  <c:v>1</c:v>
                </c:pt>
                <c:pt idx="380">
                  <c:v>1</c:v>
                </c:pt>
                <c:pt idx="381">
                  <c:v>1</c:v>
                </c:pt>
                <c:pt idx="382">
                  <c:v>1</c:v>
                </c:pt>
                <c:pt idx="383">
                  <c:v>1</c:v>
                </c:pt>
                <c:pt idx="384">
                  <c:v>1</c:v>
                </c:pt>
                <c:pt idx="385">
                  <c:v>1</c:v>
                </c:pt>
                <c:pt idx="386">
                  <c:v>1</c:v>
                </c:pt>
                <c:pt idx="387">
                  <c:v>1</c:v>
                </c:pt>
                <c:pt idx="388">
                  <c:v>1</c:v>
                </c:pt>
                <c:pt idx="389">
                  <c:v>1</c:v>
                </c:pt>
                <c:pt idx="390">
                  <c:v>1</c:v>
                </c:pt>
                <c:pt idx="391">
                  <c:v>1</c:v>
                </c:pt>
                <c:pt idx="392">
                  <c:v>1</c:v>
                </c:pt>
                <c:pt idx="393">
                  <c:v>1</c:v>
                </c:pt>
                <c:pt idx="394">
                  <c:v>1</c:v>
                </c:pt>
                <c:pt idx="395">
                  <c:v>1</c:v>
                </c:pt>
                <c:pt idx="396">
                  <c:v>1</c:v>
                </c:pt>
                <c:pt idx="397">
                  <c:v>1</c:v>
                </c:pt>
                <c:pt idx="398">
                  <c:v>1</c:v>
                </c:pt>
                <c:pt idx="399">
                  <c:v>1</c:v>
                </c:pt>
                <c:pt idx="400">
                  <c:v>1</c:v>
                </c:pt>
                <c:pt idx="401">
                  <c:v>1</c:v>
                </c:pt>
                <c:pt idx="402">
                  <c:v>1</c:v>
                </c:pt>
                <c:pt idx="403">
                  <c:v>1</c:v>
                </c:pt>
                <c:pt idx="404">
                  <c:v>1</c:v>
                </c:pt>
                <c:pt idx="405">
                  <c:v>1</c:v>
                </c:pt>
                <c:pt idx="406">
                  <c:v>1</c:v>
                </c:pt>
                <c:pt idx="407">
                  <c:v>1</c:v>
                </c:pt>
                <c:pt idx="408">
                  <c:v>1</c:v>
                </c:pt>
                <c:pt idx="409">
                  <c:v>1</c:v>
                </c:pt>
                <c:pt idx="410">
                  <c:v>1</c:v>
                </c:pt>
                <c:pt idx="411">
                  <c:v>1</c:v>
                </c:pt>
                <c:pt idx="412">
                  <c:v>0</c:v>
                </c:pt>
              </c:numCache>
            </c:numRef>
          </c:xVal>
          <c:yVal>
            <c:numRef>
              <c:f>'VIX-min'!$W$258:$W$670</c:f>
              <c:numCache>
                <c:formatCode>General</c:formatCode>
                <c:ptCount val="413"/>
                <c:pt idx="0">
                  <c:v>-5.629999999999999</c:v>
                </c:pt>
                <c:pt idx="1">
                  <c:v>-1.4800000000000004</c:v>
                </c:pt>
                <c:pt idx="2">
                  <c:v>-1.1199999999999992</c:v>
                </c:pt>
                <c:pt idx="3">
                  <c:v>-1.1000000000000014</c:v>
                </c:pt>
                <c:pt idx="4">
                  <c:v>-2.66</c:v>
                </c:pt>
                <c:pt idx="5">
                  <c:v>-0.59999999999999964</c:v>
                </c:pt>
                <c:pt idx="6">
                  <c:v>-2.0799999999999983</c:v>
                </c:pt>
                <c:pt idx="7">
                  <c:v>-3.3699999999999974</c:v>
                </c:pt>
                <c:pt idx="8">
                  <c:v>-1.0500000000000007</c:v>
                </c:pt>
                <c:pt idx="9">
                  <c:v>-3.25</c:v>
                </c:pt>
                <c:pt idx="10">
                  <c:v>-4.7800000000000011</c:v>
                </c:pt>
                <c:pt idx="11">
                  <c:v>-1.0999999999999979</c:v>
                </c:pt>
                <c:pt idx="12">
                  <c:v>-7.8099999999999952</c:v>
                </c:pt>
                <c:pt idx="13">
                  <c:v>-1.4399999999999977</c:v>
                </c:pt>
                <c:pt idx="14">
                  <c:v>-1.6900000000000013</c:v>
                </c:pt>
                <c:pt idx="15">
                  <c:v>-1.8000000000000007</c:v>
                </c:pt>
                <c:pt idx="16">
                  <c:v>-1.0600000000000005</c:v>
                </c:pt>
                <c:pt idx="17">
                  <c:v>-5.9099999999999984</c:v>
                </c:pt>
                <c:pt idx="18">
                  <c:v>-1.17</c:v>
                </c:pt>
                <c:pt idx="19">
                  <c:v>-1.4699999999999989</c:v>
                </c:pt>
                <c:pt idx="20">
                  <c:v>-2.120000000000001</c:v>
                </c:pt>
                <c:pt idx="21">
                  <c:v>-2.09</c:v>
                </c:pt>
                <c:pt idx="22">
                  <c:v>-1.129999999999999</c:v>
                </c:pt>
                <c:pt idx="23">
                  <c:v>-1.4399999999999977</c:v>
                </c:pt>
                <c:pt idx="24">
                  <c:v>-0.80000000000000071</c:v>
                </c:pt>
                <c:pt idx="25">
                  <c:v>-1.1199999999999992</c:v>
                </c:pt>
                <c:pt idx="26">
                  <c:v>-0.65000000000000036</c:v>
                </c:pt>
                <c:pt idx="27">
                  <c:v>-1.25</c:v>
                </c:pt>
                <c:pt idx="28">
                  <c:v>-3.5599999999999987</c:v>
                </c:pt>
                <c:pt idx="29">
                  <c:v>-1.620000000000001</c:v>
                </c:pt>
                <c:pt idx="30">
                  <c:v>-1.4900000000000002</c:v>
                </c:pt>
                <c:pt idx="31">
                  <c:v>-1.2000000000000011</c:v>
                </c:pt>
                <c:pt idx="32">
                  <c:v>-2.2099999999999991</c:v>
                </c:pt>
                <c:pt idx="33">
                  <c:v>-1.25</c:v>
                </c:pt>
                <c:pt idx="34">
                  <c:v>-1.1500000000000004</c:v>
                </c:pt>
                <c:pt idx="35">
                  <c:v>-1.3900000000000006</c:v>
                </c:pt>
                <c:pt idx="36">
                  <c:v>-1.7699999999999996</c:v>
                </c:pt>
                <c:pt idx="37">
                  <c:v>-1.5500000000000007</c:v>
                </c:pt>
                <c:pt idx="38">
                  <c:v>-1.1900000000000013</c:v>
                </c:pt>
                <c:pt idx="39">
                  <c:v>-2</c:v>
                </c:pt>
                <c:pt idx="40">
                  <c:v>-0.39999999999999858</c:v>
                </c:pt>
                <c:pt idx="41">
                  <c:v>-1.0999999999999996</c:v>
                </c:pt>
                <c:pt idx="42">
                  <c:v>-2.2399999999999984</c:v>
                </c:pt>
                <c:pt idx="43">
                  <c:v>-3.66</c:v>
                </c:pt>
                <c:pt idx="44">
                  <c:v>-1.3099999999999987</c:v>
                </c:pt>
                <c:pt idx="45">
                  <c:v>-4.7600000000000016</c:v>
                </c:pt>
                <c:pt idx="46">
                  <c:v>-3.9699999999999989</c:v>
                </c:pt>
                <c:pt idx="47">
                  <c:v>-1.8200000000000003</c:v>
                </c:pt>
                <c:pt idx="48">
                  <c:v>-2.91</c:v>
                </c:pt>
                <c:pt idx="49">
                  <c:v>-3.8299999999999983</c:v>
                </c:pt>
                <c:pt idx="50">
                  <c:v>-1.2200000000000024</c:v>
                </c:pt>
                <c:pt idx="51">
                  <c:v>-0.82000000000000028</c:v>
                </c:pt>
                <c:pt idx="52">
                  <c:v>-4.5</c:v>
                </c:pt>
                <c:pt idx="53">
                  <c:v>-2.6400000000000006</c:v>
                </c:pt>
                <c:pt idx="54">
                  <c:v>-1.9499999999999993</c:v>
                </c:pt>
                <c:pt idx="55">
                  <c:v>-1.17</c:v>
                </c:pt>
                <c:pt idx="56">
                  <c:v>-1.4699999999999989</c:v>
                </c:pt>
                <c:pt idx="57">
                  <c:v>-2</c:v>
                </c:pt>
                <c:pt idx="58">
                  <c:v>-0.22000000000000242</c:v>
                </c:pt>
                <c:pt idx="59">
                  <c:v>-8.9999999999999858E-2</c:v>
                </c:pt>
                <c:pt idx="60">
                  <c:v>-3.6900000000000013</c:v>
                </c:pt>
                <c:pt idx="61">
                  <c:v>-3.8700000000000045</c:v>
                </c:pt>
                <c:pt idx="62">
                  <c:v>-1.009999999999998</c:v>
                </c:pt>
                <c:pt idx="63">
                  <c:v>-1.7800000000000011</c:v>
                </c:pt>
                <c:pt idx="64">
                  <c:v>-0.76000000000000156</c:v>
                </c:pt>
                <c:pt idx="65">
                  <c:v>-0.96999999999999886</c:v>
                </c:pt>
                <c:pt idx="66">
                  <c:v>-0.41999999999999815</c:v>
                </c:pt>
                <c:pt idx="67">
                  <c:v>-1.2899999999999991</c:v>
                </c:pt>
                <c:pt idx="68">
                  <c:v>-1.2600000000000016</c:v>
                </c:pt>
                <c:pt idx="69">
                  <c:v>-0.33999999999999986</c:v>
                </c:pt>
                <c:pt idx="70">
                  <c:v>-1.3200000000000003</c:v>
                </c:pt>
                <c:pt idx="71">
                  <c:v>-1</c:v>
                </c:pt>
                <c:pt idx="72">
                  <c:v>-0.83000000000000007</c:v>
                </c:pt>
                <c:pt idx="73">
                  <c:v>-1.0700000000000003</c:v>
                </c:pt>
                <c:pt idx="74">
                  <c:v>-3.1099999999999994</c:v>
                </c:pt>
                <c:pt idx="75">
                  <c:v>-2.1400000000000006</c:v>
                </c:pt>
                <c:pt idx="76">
                  <c:v>-4.4499999999999993</c:v>
                </c:pt>
                <c:pt idx="77">
                  <c:v>-1.4800000000000004</c:v>
                </c:pt>
                <c:pt idx="78">
                  <c:v>-0.62999999999999901</c:v>
                </c:pt>
                <c:pt idx="79">
                  <c:v>-4.9999999999998934E-2</c:v>
                </c:pt>
                <c:pt idx="80">
                  <c:v>-2.1399999999999988</c:v>
                </c:pt>
                <c:pt idx="81">
                  <c:v>-1.7400000000000002</c:v>
                </c:pt>
                <c:pt idx="82">
                  <c:v>-0.99000000000000021</c:v>
                </c:pt>
                <c:pt idx="83">
                  <c:v>-9.9999999999997868E-3</c:v>
                </c:pt>
                <c:pt idx="84">
                  <c:v>-1.58</c:v>
                </c:pt>
                <c:pt idx="85">
                  <c:v>-1.1300000000000008</c:v>
                </c:pt>
                <c:pt idx="86">
                  <c:v>-0.14000000000000057</c:v>
                </c:pt>
                <c:pt idx="87">
                  <c:v>-0.25</c:v>
                </c:pt>
                <c:pt idx="88">
                  <c:v>-2.34</c:v>
                </c:pt>
                <c:pt idx="89">
                  <c:v>-0.53999999999999915</c:v>
                </c:pt>
                <c:pt idx="90">
                  <c:v>-0.32000000000000028</c:v>
                </c:pt>
                <c:pt idx="91">
                  <c:v>-0.44999999999999929</c:v>
                </c:pt>
                <c:pt idx="92">
                  <c:v>-0.75999999999999979</c:v>
                </c:pt>
                <c:pt idx="93">
                  <c:v>-1.5999999999999996</c:v>
                </c:pt>
                <c:pt idx="94">
                  <c:v>-1.5399999999999991</c:v>
                </c:pt>
                <c:pt idx="95">
                  <c:v>-2.120000000000001</c:v>
                </c:pt>
                <c:pt idx="96">
                  <c:v>0</c:v>
                </c:pt>
                <c:pt idx="97">
                  <c:v>-1.8200000000000003</c:v>
                </c:pt>
                <c:pt idx="98">
                  <c:v>-1.0000000000001563E-2</c:v>
                </c:pt>
                <c:pt idx="99">
                  <c:v>-1.8999999999999986</c:v>
                </c:pt>
                <c:pt idx="100">
                  <c:v>-1.6499999999999986</c:v>
                </c:pt>
                <c:pt idx="101">
                  <c:v>-2.0600000000000023</c:v>
                </c:pt>
                <c:pt idx="102">
                  <c:v>-0.42999999999999972</c:v>
                </c:pt>
                <c:pt idx="103">
                  <c:v>-1.620000000000001</c:v>
                </c:pt>
                <c:pt idx="104">
                  <c:v>-4.16</c:v>
                </c:pt>
                <c:pt idx="105">
                  <c:v>-2.1400000000000006</c:v>
                </c:pt>
                <c:pt idx="106">
                  <c:v>-0.80999999999999872</c:v>
                </c:pt>
                <c:pt idx="107">
                  <c:v>-0.67000000000000171</c:v>
                </c:pt>
                <c:pt idx="108">
                  <c:v>-0.92999999999999972</c:v>
                </c:pt>
                <c:pt idx="109">
                  <c:v>-0.93999999999999773</c:v>
                </c:pt>
                <c:pt idx="110">
                  <c:v>-2.0400000000000027</c:v>
                </c:pt>
                <c:pt idx="111">
                  <c:v>-1.990000000000002</c:v>
                </c:pt>
                <c:pt idx="112">
                  <c:v>-0.29999999999999716</c:v>
                </c:pt>
                <c:pt idx="113">
                  <c:v>-3.3500000000000014</c:v>
                </c:pt>
                <c:pt idx="114">
                  <c:v>-1.1699999999999982</c:v>
                </c:pt>
                <c:pt idx="115">
                  <c:v>-0.39000000000000057</c:v>
                </c:pt>
                <c:pt idx="116">
                  <c:v>-1.0800000000000018</c:v>
                </c:pt>
                <c:pt idx="117">
                  <c:v>-0.85999999999999943</c:v>
                </c:pt>
                <c:pt idx="118">
                  <c:v>-0.42000000000000171</c:v>
                </c:pt>
                <c:pt idx="119">
                  <c:v>-3.9299999999999997</c:v>
                </c:pt>
                <c:pt idx="120">
                  <c:v>-3.9400000000000013</c:v>
                </c:pt>
                <c:pt idx="121">
                  <c:v>-0.17000000000000171</c:v>
                </c:pt>
                <c:pt idx="122">
                  <c:v>-1.5100000000000016</c:v>
                </c:pt>
                <c:pt idx="123">
                  <c:v>-0.49000000000000199</c:v>
                </c:pt>
                <c:pt idx="124">
                  <c:v>-1.0700000000000003</c:v>
                </c:pt>
                <c:pt idx="125">
                  <c:v>-0.83000000000000007</c:v>
                </c:pt>
                <c:pt idx="126">
                  <c:v>-0.11000000000000121</c:v>
                </c:pt>
                <c:pt idx="127">
                  <c:v>-2.6600000000000019</c:v>
                </c:pt>
                <c:pt idx="128">
                  <c:v>-1.0099999999999998</c:v>
                </c:pt>
                <c:pt idx="129">
                  <c:v>-1.379999999999999</c:v>
                </c:pt>
                <c:pt idx="130">
                  <c:v>-0.58999999999999986</c:v>
                </c:pt>
                <c:pt idx="131">
                  <c:v>-0.83000000000000007</c:v>
                </c:pt>
                <c:pt idx="132">
                  <c:v>-1.58</c:v>
                </c:pt>
                <c:pt idx="133">
                  <c:v>-1.3199999999999985</c:v>
                </c:pt>
                <c:pt idx="134">
                  <c:v>-0.5</c:v>
                </c:pt>
                <c:pt idx="135">
                  <c:v>-0.42999999999999972</c:v>
                </c:pt>
                <c:pt idx="136">
                  <c:v>-0.33000000000000007</c:v>
                </c:pt>
                <c:pt idx="137">
                  <c:v>-0.91999999999999993</c:v>
                </c:pt>
                <c:pt idx="138">
                  <c:v>-1.1099999999999994</c:v>
                </c:pt>
                <c:pt idx="139">
                  <c:v>-0.76999999999999957</c:v>
                </c:pt>
                <c:pt idx="140">
                  <c:v>-4.8900000000000006</c:v>
                </c:pt>
                <c:pt idx="141">
                  <c:v>-4.1700000000000017</c:v>
                </c:pt>
                <c:pt idx="142">
                  <c:v>-2.16</c:v>
                </c:pt>
                <c:pt idx="143">
                  <c:v>-1.2800000000000011</c:v>
                </c:pt>
                <c:pt idx="144">
                  <c:v>-2.0599999999999987</c:v>
                </c:pt>
                <c:pt idx="145">
                  <c:v>-1.4899999999999984</c:v>
                </c:pt>
                <c:pt idx="146">
                  <c:v>-2.34</c:v>
                </c:pt>
                <c:pt idx="147">
                  <c:v>-1.6400000000000006</c:v>
                </c:pt>
                <c:pt idx="148">
                  <c:v>-2.2999999999999972</c:v>
                </c:pt>
                <c:pt idx="149">
                  <c:v>-4.3999999999999986</c:v>
                </c:pt>
                <c:pt idx="150">
                  <c:v>-2.8499999999999943</c:v>
                </c:pt>
                <c:pt idx="151">
                  <c:v>-4.3199999999999967</c:v>
                </c:pt>
                <c:pt idx="152">
                  <c:v>-1.379999999999999</c:v>
                </c:pt>
                <c:pt idx="153">
                  <c:v>-0.5600000000000005</c:v>
                </c:pt>
                <c:pt idx="154">
                  <c:v>-1.9200000000000017</c:v>
                </c:pt>
                <c:pt idx="155">
                  <c:v>-0.73999999999999844</c:v>
                </c:pt>
                <c:pt idx="156">
                  <c:v>-3.3099999999999987</c:v>
                </c:pt>
                <c:pt idx="157">
                  <c:v>-2.3000000000000007</c:v>
                </c:pt>
                <c:pt idx="158">
                  <c:v>-0.5</c:v>
                </c:pt>
                <c:pt idx="159">
                  <c:v>-1.7699999999999996</c:v>
                </c:pt>
                <c:pt idx="160">
                  <c:v>-2.2700000000000014</c:v>
                </c:pt>
                <c:pt idx="161">
                  <c:v>-4.620000000000001</c:v>
                </c:pt>
                <c:pt idx="162">
                  <c:v>-7.6899999999999977</c:v>
                </c:pt>
                <c:pt idx="163">
                  <c:v>-1.120000000000001</c:v>
                </c:pt>
                <c:pt idx="164">
                  <c:v>-3.9199999999999982</c:v>
                </c:pt>
                <c:pt idx="165">
                  <c:v>-2.34</c:v>
                </c:pt>
                <c:pt idx="166">
                  <c:v>-2.3099999999999987</c:v>
                </c:pt>
                <c:pt idx="167">
                  <c:v>-0.25999999999999979</c:v>
                </c:pt>
                <c:pt idx="168">
                  <c:v>-3.0000000000001137E-2</c:v>
                </c:pt>
                <c:pt idx="169">
                  <c:v>-0.96999999999999886</c:v>
                </c:pt>
                <c:pt idx="170">
                  <c:v>-0.14000000000000057</c:v>
                </c:pt>
                <c:pt idx="171">
                  <c:v>-0.78999999999999915</c:v>
                </c:pt>
                <c:pt idx="172">
                  <c:v>-2.5400000000000009</c:v>
                </c:pt>
                <c:pt idx="173">
                  <c:v>-0.30000000000000071</c:v>
                </c:pt>
                <c:pt idx="174">
                  <c:v>-0.96000000000000085</c:v>
                </c:pt>
                <c:pt idx="175">
                  <c:v>-1.42</c:v>
                </c:pt>
                <c:pt idx="176">
                  <c:v>-1.7200000000000024</c:v>
                </c:pt>
                <c:pt idx="177">
                  <c:v>-1.6999999999999993</c:v>
                </c:pt>
                <c:pt idx="178">
                  <c:v>-1.2899999999999991</c:v>
                </c:pt>
                <c:pt idx="179">
                  <c:v>-0.92999999999999972</c:v>
                </c:pt>
                <c:pt idx="180">
                  <c:v>-2.0199999999999996</c:v>
                </c:pt>
                <c:pt idx="181">
                  <c:v>-0.96000000000000085</c:v>
                </c:pt>
                <c:pt idx="182">
                  <c:v>-0.49000000000000021</c:v>
                </c:pt>
                <c:pt idx="183">
                  <c:v>-0.71999999999999886</c:v>
                </c:pt>
                <c:pt idx="184">
                  <c:v>-1.4599999999999991</c:v>
                </c:pt>
                <c:pt idx="185">
                  <c:v>-1.3599999999999994</c:v>
                </c:pt>
                <c:pt idx="186">
                  <c:v>-0.84999999999999964</c:v>
                </c:pt>
                <c:pt idx="187">
                  <c:v>-0.88999999999999879</c:v>
                </c:pt>
                <c:pt idx="188">
                  <c:v>-0.24000000000000021</c:v>
                </c:pt>
                <c:pt idx="189">
                  <c:v>-8.0000000000000071E-2</c:v>
                </c:pt>
                <c:pt idx="190">
                  <c:v>-0.14000000000000057</c:v>
                </c:pt>
                <c:pt idx="191">
                  <c:v>-8.0000000000000071E-2</c:v>
                </c:pt>
                <c:pt idx="192">
                  <c:v>-0.84999999999999964</c:v>
                </c:pt>
                <c:pt idx="193">
                  <c:v>-0.73999999999999844</c:v>
                </c:pt>
                <c:pt idx="194">
                  <c:v>-0.58999999999999986</c:v>
                </c:pt>
                <c:pt idx="195">
                  <c:v>-2.25</c:v>
                </c:pt>
                <c:pt idx="196">
                  <c:v>-0.32000000000000028</c:v>
                </c:pt>
                <c:pt idx="197">
                  <c:v>-0.27999999999999936</c:v>
                </c:pt>
                <c:pt idx="198">
                  <c:v>-1.6199999999999992</c:v>
                </c:pt>
                <c:pt idx="199">
                  <c:v>-0.23000000000000043</c:v>
                </c:pt>
                <c:pt idx="200">
                  <c:v>-1.2300000000000004</c:v>
                </c:pt>
                <c:pt idx="201">
                  <c:v>-2.0199999999999996</c:v>
                </c:pt>
                <c:pt idx="202">
                  <c:v>-2.0299999999999994</c:v>
                </c:pt>
                <c:pt idx="203">
                  <c:v>-3.0000000000001137E-2</c:v>
                </c:pt>
                <c:pt idx="204">
                  <c:v>-0.53000000000000114</c:v>
                </c:pt>
                <c:pt idx="205">
                  <c:v>-0.47999999999999865</c:v>
                </c:pt>
                <c:pt idx="206">
                  <c:v>-0.79999999999999893</c:v>
                </c:pt>
                <c:pt idx="207">
                  <c:v>-0.82000000000000028</c:v>
                </c:pt>
                <c:pt idx="208">
                  <c:v>-0.96999999999999886</c:v>
                </c:pt>
                <c:pt idx="209">
                  <c:v>-0.23000000000000043</c:v>
                </c:pt>
                <c:pt idx="210">
                  <c:v>-1.0500000000000007</c:v>
                </c:pt>
                <c:pt idx="211">
                  <c:v>-0.75</c:v>
                </c:pt>
                <c:pt idx="212">
                  <c:v>-0.55000000000000071</c:v>
                </c:pt>
                <c:pt idx="213">
                  <c:v>-0.49000000000000021</c:v>
                </c:pt>
                <c:pt idx="214">
                  <c:v>-0.36000000000000121</c:v>
                </c:pt>
                <c:pt idx="215">
                  <c:v>-0.58000000000000007</c:v>
                </c:pt>
                <c:pt idx="216">
                  <c:v>-0.75</c:v>
                </c:pt>
                <c:pt idx="217">
                  <c:v>-0.29999999999999893</c:v>
                </c:pt>
                <c:pt idx="218">
                  <c:v>-1.9500000000000011</c:v>
                </c:pt>
                <c:pt idx="219">
                  <c:v>-0.19999999999999929</c:v>
                </c:pt>
                <c:pt idx="220">
                  <c:v>-1.9800000000000004</c:v>
                </c:pt>
                <c:pt idx="221">
                  <c:v>-1.7400000000000002</c:v>
                </c:pt>
                <c:pt idx="222">
                  <c:v>-1.5700000000000003</c:v>
                </c:pt>
                <c:pt idx="223">
                  <c:v>-1.7399999999999984</c:v>
                </c:pt>
                <c:pt idx="224">
                  <c:v>-2.5499999999999972</c:v>
                </c:pt>
                <c:pt idx="225">
                  <c:v>-3.1799999999999997</c:v>
                </c:pt>
                <c:pt idx="226">
                  <c:v>-0.73999999999999844</c:v>
                </c:pt>
                <c:pt idx="227">
                  <c:v>-0.78000000000000114</c:v>
                </c:pt>
                <c:pt idx="228">
                  <c:v>-1.25</c:v>
                </c:pt>
                <c:pt idx="229">
                  <c:v>-1.0199999999999996</c:v>
                </c:pt>
                <c:pt idx="230">
                  <c:v>-2.16</c:v>
                </c:pt>
                <c:pt idx="231">
                  <c:v>-3.9999999999999147E-2</c:v>
                </c:pt>
                <c:pt idx="232">
                  <c:v>-0.17999999999999972</c:v>
                </c:pt>
                <c:pt idx="233">
                  <c:v>-0.36999999999999744</c:v>
                </c:pt>
                <c:pt idx="234">
                  <c:v>-7.0000000000000284E-2</c:v>
                </c:pt>
                <c:pt idx="235">
                  <c:v>-1.1799999999999997</c:v>
                </c:pt>
                <c:pt idx="236">
                  <c:v>-0.89999999999999858</c:v>
                </c:pt>
                <c:pt idx="237">
                  <c:v>-3.4400000000000013</c:v>
                </c:pt>
                <c:pt idx="238">
                  <c:v>-0.90000000000000213</c:v>
                </c:pt>
                <c:pt idx="239">
                  <c:v>-0.66000000000000014</c:v>
                </c:pt>
                <c:pt idx="240">
                  <c:v>-1.5799999999999983</c:v>
                </c:pt>
                <c:pt idx="241">
                  <c:v>-3.6499999999999986</c:v>
                </c:pt>
                <c:pt idx="242">
                  <c:v>-3.4299999999999997</c:v>
                </c:pt>
                <c:pt idx="243">
                  <c:v>-4.9600000000000009</c:v>
                </c:pt>
                <c:pt idx="244">
                  <c:v>-0.67000000000000171</c:v>
                </c:pt>
                <c:pt idx="245">
                  <c:v>-1.0399999999999991</c:v>
                </c:pt>
                <c:pt idx="246">
                  <c:v>-2.7800000000000011</c:v>
                </c:pt>
                <c:pt idx="247">
                  <c:v>-2.3900000000000006</c:v>
                </c:pt>
                <c:pt idx="248">
                  <c:v>-2.2899999999999991</c:v>
                </c:pt>
                <c:pt idx="249">
                  <c:v>-1.5899999999999999</c:v>
                </c:pt>
                <c:pt idx="250">
                  <c:v>-1.5700000000000003</c:v>
                </c:pt>
                <c:pt idx="251">
                  <c:v>-0.91999999999999815</c:v>
                </c:pt>
                <c:pt idx="252">
                  <c:v>-3.1799999999999997</c:v>
                </c:pt>
                <c:pt idx="253">
                  <c:v>-0.84999999999999787</c:v>
                </c:pt>
                <c:pt idx="254">
                  <c:v>-1.9400000000000013</c:v>
                </c:pt>
                <c:pt idx="255">
                  <c:v>-1.379999999999999</c:v>
                </c:pt>
                <c:pt idx="256">
                  <c:v>-2.66</c:v>
                </c:pt>
                <c:pt idx="257">
                  <c:v>-1.6699999999999982</c:v>
                </c:pt>
                <c:pt idx="258">
                  <c:v>-0.51999999999999957</c:v>
                </c:pt>
                <c:pt idx="259">
                  <c:v>-0.66000000000000014</c:v>
                </c:pt>
                <c:pt idx="260">
                  <c:v>-1.1000000000000014</c:v>
                </c:pt>
                <c:pt idx="261">
                  <c:v>-3.3200000000000003</c:v>
                </c:pt>
                <c:pt idx="262">
                  <c:v>-3.379999999999999</c:v>
                </c:pt>
                <c:pt idx="263">
                  <c:v>-0.32000000000000028</c:v>
                </c:pt>
                <c:pt idx="264">
                  <c:v>-0.81000000000000227</c:v>
                </c:pt>
                <c:pt idx="265">
                  <c:v>-0.78000000000000114</c:v>
                </c:pt>
                <c:pt idx="266">
                  <c:v>-2.0100000000000016</c:v>
                </c:pt>
                <c:pt idx="267">
                  <c:v>-2.9600000000000009</c:v>
                </c:pt>
                <c:pt idx="268">
                  <c:v>-2.7300000000000004</c:v>
                </c:pt>
                <c:pt idx="269">
                  <c:v>-1.6899999999999977</c:v>
                </c:pt>
                <c:pt idx="270">
                  <c:v>-0.97000000000000242</c:v>
                </c:pt>
                <c:pt idx="271">
                  <c:v>-0.94000000000000128</c:v>
                </c:pt>
                <c:pt idx="272">
                  <c:v>-2.75</c:v>
                </c:pt>
                <c:pt idx="273">
                  <c:v>-1.6800000000000033</c:v>
                </c:pt>
                <c:pt idx="274">
                  <c:v>-7.9999999999998295E-2</c:v>
                </c:pt>
                <c:pt idx="275">
                  <c:v>-0.92999999999999972</c:v>
                </c:pt>
                <c:pt idx="276">
                  <c:v>-1.5299999999999976</c:v>
                </c:pt>
                <c:pt idx="277">
                  <c:v>-0.55999999999999872</c:v>
                </c:pt>
                <c:pt idx="278">
                  <c:v>-0.67000000000000171</c:v>
                </c:pt>
                <c:pt idx="279">
                  <c:v>-0.26000000000000156</c:v>
                </c:pt>
                <c:pt idx="280">
                  <c:v>-1.490000000000002</c:v>
                </c:pt>
                <c:pt idx="281">
                  <c:v>-1.6799999999999997</c:v>
                </c:pt>
                <c:pt idx="282">
                  <c:v>-3.2000000000000028</c:v>
                </c:pt>
                <c:pt idx="283">
                  <c:v>-1.9299999999999997</c:v>
                </c:pt>
                <c:pt idx="284">
                  <c:v>-0.87999999999999901</c:v>
                </c:pt>
                <c:pt idx="285">
                  <c:v>-2.3100000000000023</c:v>
                </c:pt>
                <c:pt idx="286">
                  <c:v>-2.8699999999999974</c:v>
                </c:pt>
                <c:pt idx="287">
                  <c:v>-0.80000000000000071</c:v>
                </c:pt>
                <c:pt idx="288">
                  <c:v>-0.37000000000000099</c:v>
                </c:pt>
                <c:pt idx="289">
                  <c:v>-0.62000000000000099</c:v>
                </c:pt>
                <c:pt idx="290">
                  <c:v>-0.48999999999999844</c:v>
                </c:pt>
                <c:pt idx="291">
                  <c:v>-1.129999999999999</c:v>
                </c:pt>
                <c:pt idx="292">
                  <c:v>-0.46000000000000085</c:v>
                </c:pt>
                <c:pt idx="293">
                  <c:v>-0.89000000000000057</c:v>
                </c:pt>
                <c:pt idx="294">
                  <c:v>-1.0799999999999983</c:v>
                </c:pt>
                <c:pt idx="295">
                  <c:v>-0.17999999999999972</c:v>
                </c:pt>
                <c:pt idx="296">
                  <c:v>-1.9899999999999984</c:v>
                </c:pt>
                <c:pt idx="297">
                  <c:v>-1.75</c:v>
                </c:pt>
                <c:pt idx="298">
                  <c:v>-0.66000000000000014</c:v>
                </c:pt>
                <c:pt idx="299">
                  <c:v>-0.45999999999999908</c:v>
                </c:pt>
                <c:pt idx="300">
                  <c:v>-0.67999999999999972</c:v>
                </c:pt>
                <c:pt idx="301">
                  <c:v>-1.7700000000000014</c:v>
                </c:pt>
                <c:pt idx="302">
                  <c:v>-1.2800000000000011</c:v>
                </c:pt>
                <c:pt idx="303">
                  <c:v>-1.2000000000000011</c:v>
                </c:pt>
                <c:pt idx="304">
                  <c:v>-0.46000000000000085</c:v>
                </c:pt>
                <c:pt idx="305">
                  <c:v>-0.23000000000000043</c:v>
                </c:pt>
                <c:pt idx="306">
                  <c:v>-0.22000000000000064</c:v>
                </c:pt>
                <c:pt idx="307">
                  <c:v>-0.44999999999999929</c:v>
                </c:pt>
                <c:pt idx="308">
                  <c:v>-0.41999999999999993</c:v>
                </c:pt>
                <c:pt idx="309">
                  <c:v>-1.4499999999999993</c:v>
                </c:pt>
                <c:pt idx="310">
                  <c:v>-0.3100000000000005</c:v>
                </c:pt>
                <c:pt idx="311">
                  <c:v>-0.53999999999999915</c:v>
                </c:pt>
                <c:pt idx="312">
                  <c:v>-1.6899999999999995</c:v>
                </c:pt>
                <c:pt idx="313">
                  <c:v>-1.8499999999999996</c:v>
                </c:pt>
                <c:pt idx="314">
                  <c:v>-0.99000000000000021</c:v>
                </c:pt>
                <c:pt idx="315">
                  <c:v>-0.76999999999999957</c:v>
                </c:pt>
                <c:pt idx="316">
                  <c:v>-0.41999999999999993</c:v>
                </c:pt>
                <c:pt idx="317">
                  <c:v>-3.3699999999999992</c:v>
                </c:pt>
                <c:pt idx="318">
                  <c:v>-1.8100000000000005</c:v>
                </c:pt>
                <c:pt idx="319">
                  <c:v>-0.70999999999999908</c:v>
                </c:pt>
                <c:pt idx="320">
                  <c:v>-0.21999999999999886</c:v>
                </c:pt>
                <c:pt idx="321">
                  <c:v>-0.87999999999999901</c:v>
                </c:pt>
                <c:pt idx="322">
                  <c:v>-0.21999999999999886</c:v>
                </c:pt>
                <c:pt idx="323">
                  <c:v>-1.0300000000000011</c:v>
                </c:pt>
                <c:pt idx="324">
                  <c:v>-1.8900000000000006</c:v>
                </c:pt>
                <c:pt idx="325">
                  <c:v>-0.78999999999999915</c:v>
                </c:pt>
                <c:pt idx="326">
                  <c:v>-3.0300000000000011</c:v>
                </c:pt>
                <c:pt idx="327">
                  <c:v>-0.37999999999999901</c:v>
                </c:pt>
                <c:pt idx="328">
                  <c:v>-1.620000000000001</c:v>
                </c:pt>
                <c:pt idx="329">
                  <c:v>-0.53999999999999915</c:v>
                </c:pt>
                <c:pt idx="330">
                  <c:v>-1.9700000000000024</c:v>
                </c:pt>
                <c:pt idx="331">
                  <c:v>-1.610000000000003</c:v>
                </c:pt>
                <c:pt idx="332">
                  <c:v>-1.4499999999999957</c:v>
                </c:pt>
                <c:pt idx="333">
                  <c:v>-3.1899999999999977</c:v>
                </c:pt>
                <c:pt idx="334">
                  <c:v>-2.5799999999999983</c:v>
                </c:pt>
                <c:pt idx="335">
                  <c:v>-0.40000000000000568</c:v>
                </c:pt>
                <c:pt idx="336">
                  <c:v>-0.24999999999999645</c:v>
                </c:pt>
                <c:pt idx="337">
                  <c:v>-0.42999999999999972</c:v>
                </c:pt>
                <c:pt idx="338">
                  <c:v>-1.3500000000000014</c:v>
                </c:pt>
                <c:pt idx="339">
                  <c:v>-0.16000000000000014</c:v>
                </c:pt>
                <c:pt idx="340">
                  <c:v>-3.5500000000000007</c:v>
                </c:pt>
                <c:pt idx="341">
                  <c:v>-4</c:v>
                </c:pt>
                <c:pt idx="342">
                  <c:v>-1.5500000000000007</c:v>
                </c:pt>
                <c:pt idx="343">
                  <c:v>-2.0700000000000003</c:v>
                </c:pt>
                <c:pt idx="344">
                  <c:v>-0.72999999999999687</c:v>
                </c:pt>
                <c:pt idx="345">
                  <c:v>-0.84000000000000341</c:v>
                </c:pt>
                <c:pt idx="346">
                  <c:v>-0.53000000000000114</c:v>
                </c:pt>
                <c:pt idx="347">
                  <c:v>-0.2099999999999973</c:v>
                </c:pt>
                <c:pt idx="348">
                  <c:v>-1.7200000000000024</c:v>
                </c:pt>
                <c:pt idx="349">
                  <c:v>-2.1400000000000006</c:v>
                </c:pt>
                <c:pt idx="350">
                  <c:v>-7.0000000000000284E-2</c:v>
                </c:pt>
                <c:pt idx="351">
                  <c:v>-0.61999999999999744</c:v>
                </c:pt>
                <c:pt idx="352">
                  <c:v>-1.2399999999999984</c:v>
                </c:pt>
                <c:pt idx="353">
                  <c:v>-2.9199999999999982</c:v>
                </c:pt>
                <c:pt idx="354">
                  <c:v>-2.3200000000000003</c:v>
                </c:pt>
                <c:pt idx="355">
                  <c:v>-1.4899999999999984</c:v>
                </c:pt>
                <c:pt idx="356">
                  <c:v>-0.47000000000000242</c:v>
                </c:pt>
                <c:pt idx="357">
                  <c:v>-2.5800000000000018</c:v>
                </c:pt>
                <c:pt idx="358">
                  <c:v>-0.77999999999999758</c:v>
                </c:pt>
                <c:pt idx="359">
                  <c:v>-1.009999999999998</c:v>
                </c:pt>
                <c:pt idx="360">
                  <c:v>-3.7200000000000024</c:v>
                </c:pt>
                <c:pt idx="361">
                  <c:v>-3.3499999999999979</c:v>
                </c:pt>
                <c:pt idx="362">
                  <c:v>-1.8300000000000018</c:v>
                </c:pt>
                <c:pt idx="363">
                  <c:v>-0.96000000000000085</c:v>
                </c:pt>
                <c:pt idx="364">
                  <c:v>-1.7300000000000004</c:v>
                </c:pt>
                <c:pt idx="365">
                  <c:v>-0.31000000000000227</c:v>
                </c:pt>
                <c:pt idx="366">
                  <c:v>-1.2800000000000011</c:v>
                </c:pt>
                <c:pt idx="367">
                  <c:v>-1</c:v>
                </c:pt>
                <c:pt idx="368">
                  <c:v>-1.4000000000000004</c:v>
                </c:pt>
                <c:pt idx="369">
                  <c:v>-3.620000000000001</c:v>
                </c:pt>
                <c:pt idx="370">
                  <c:v>-3.2300000000000004</c:v>
                </c:pt>
                <c:pt idx="371">
                  <c:v>-1.5899999999999999</c:v>
                </c:pt>
                <c:pt idx="372">
                  <c:v>-0.22000000000000242</c:v>
                </c:pt>
                <c:pt idx="373">
                  <c:v>-1.3900000000000006</c:v>
                </c:pt>
                <c:pt idx="374">
                  <c:v>-0.83999999999999986</c:v>
                </c:pt>
                <c:pt idx="375">
                  <c:v>-0.5600000000000005</c:v>
                </c:pt>
                <c:pt idx="376">
                  <c:v>-2.7899999999999991</c:v>
                </c:pt>
                <c:pt idx="377">
                  <c:v>-1.0800000000000018</c:v>
                </c:pt>
                <c:pt idx="378">
                  <c:v>-1.1800000000000015</c:v>
                </c:pt>
                <c:pt idx="379">
                  <c:v>-0.85999999999999943</c:v>
                </c:pt>
                <c:pt idx="380">
                  <c:v>-0.15000000000000036</c:v>
                </c:pt>
                <c:pt idx="381">
                  <c:v>-1.0299999999999994</c:v>
                </c:pt>
                <c:pt idx="382">
                  <c:v>-0.36000000000000121</c:v>
                </c:pt>
                <c:pt idx="383">
                  <c:v>-1.6700000000000017</c:v>
                </c:pt>
                <c:pt idx="384">
                  <c:v>-0.34999999999999964</c:v>
                </c:pt>
                <c:pt idx="385">
                  <c:v>-0.25999999999999979</c:v>
                </c:pt>
                <c:pt idx="386">
                  <c:v>-0.37000000000000099</c:v>
                </c:pt>
                <c:pt idx="387">
                  <c:v>-0.72999999999999865</c:v>
                </c:pt>
                <c:pt idx="388">
                  <c:v>-0.5</c:v>
                </c:pt>
                <c:pt idx="389">
                  <c:v>-0.50999999999999979</c:v>
                </c:pt>
                <c:pt idx="390">
                  <c:v>-0.55000000000000071</c:v>
                </c:pt>
                <c:pt idx="391">
                  <c:v>-1.3499999999999996</c:v>
                </c:pt>
                <c:pt idx="392">
                  <c:v>-2.0400000000000009</c:v>
                </c:pt>
                <c:pt idx="393">
                  <c:v>-0.83000000000000007</c:v>
                </c:pt>
                <c:pt idx="394">
                  <c:v>-0.30999999999999872</c:v>
                </c:pt>
                <c:pt idx="395">
                  <c:v>-1.7199999999999989</c:v>
                </c:pt>
                <c:pt idx="396">
                  <c:v>-1.120000000000001</c:v>
                </c:pt>
                <c:pt idx="397">
                  <c:v>-0.65000000000000036</c:v>
                </c:pt>
                <c:pt idx="398">
                  <c:v>-1.1499999999999986</c:v>
                </c:pt>
                <c:pt idx="399">
                  <c:v>-0.61000000000000121</c:v>
                </c:pt>
                <c:pt idx="400">
                  <c:v>-0.95000000000000107</c:v>
                </c:pt>
                <c:pt idx="401">
                  <c:v>-1.4000000000000004</c:v>
                </c:pt>
                <c:pt idx="402">
                  <c:v>-0.74000000000000021</c:v>
                </c:pt>
                <c:pt idx="403">
                  <c:v>-1.8500000000000014</c:v>
                </c:pt>
                <c:pt idx="404">
                  <c:v>-1.3000000000000007</c:v>
                </c:pt>
                <c:pt idx="405">
                  <c:v>-0.95999999999999908</c:v>
                </c:pt>
                <c:pt idx="406">
                  <c:v>-0.91999999999999993</c:v>
                </c:pt>
                <c:pt idx="407">
                  <c:v>-1.1500000000000021</c:v>
                </c:pt>
                <c:pt idx="408">
                  <c:v>-1.870000000000001</c:v>
                </c:pt>
                <c:pt idx="409">
                  <c:v>-1.8399999999999999</c:v>
                </c:pt>
                <c:pt idx="410">
                  <c:v>-1.6799999999999997</c:v>
                </c:pt>
                <c:pt idx="411">
                  <c:v>-0.46000000000000085</c:v>
                </c:pt>
                <c:pt idx="412">
                  <c:v>0.24000000000000199</c:v>
                </c:pt>
              </c:numCache>
            </c:numRef>
          </c:yVal>
          <c:smooth val="0"/>
          <c:extLst xmlns:c16r2="http://schemas.microsoft.com/office/drawing/2015/06/chart">
            <c:ext xmlns:c16="http://schemas.microsoft.com/office/drawing/2014/chart" uri="{C3380CC4-5D6E-409C-BE32-E72D297353CC}">
              <c16:uniqueId val="{00000000-D9EB-4010-8BB5-426F0BCFA5E9}"/>
            </c:ext>
          </c:extLst>
        </c:ser>
        <c:dLbls>
          <c:showLegendKey val="0"/>
          <c:showVal val="0"/>
          <c:showCatName val="0"/>
          <c:showSerName val="0"/>
          <c:showPercent val="0"/>
          <c:showBubbleSize val="0"/>
        </c:dLbls>
        <c:axId val="554065280"/>
        <c:axId val="554075648"/>
      </c:scatterChart>
      <c:valAx>
        <c:axId val="554065280"/>
        <c:scaling>
          <c:orientation val="minMax"/>
        </c:scaling>
        <c:delete val="0"/>
        <c:axPos val="b"/>
        <c:title>
          <c:tx>
            <c:rich>
              <a:bodyPr/>
              <a:lstStyle/>
              <a:p>
                <a:pPr>
                  <a:defRPr/>
                </a:pPr>
                <a:r>
                  <a:rPr lang="en-US" sz="1000" b="1" i="0" baseline="0" dirty="0">
                    <a:effectLst/>
                  </a:rPr>
                  <a:t>Historical number of consecutive days of VIX closing below its lowest level on previous 22 bd</a:t>
                </a:r>
                <a:endParaRPr lang="en-US" sz="1000" dirty="0">
                  <a:effectLst/>
                </a:endParaRPr>
              </a:p>
            </c:rich>
          </c:tx>
          <c:layout/>
          <c:overlay val="0"/>
        </c:title>
        <c:numFmt formatCode="General" sourceLinked="1"/>
        <c:majorTickMark val="out"/>
        <c:minorTickMark val="none"/>
        <c:tickLblPos val="nextTo"/>
        <c:crossAx val="554075648"/>
        <c:crosses val="autoZero"/>
        <c:crossBetween val="midCat"/>
      </c:valAx>
      <c:valAx>
        <c:axId val="554075648"/>
        <c:scaling>
          <c:orientation val="minMax"/>
        </c:scaling>
        <c:delete val="0"/>
        <c:axPos val="l"/>
        <c:majorGridlines/>
        <c:title>
          <c:tx>
            <c:rich>
              <a:bodyPr rot="-5400000" vert="horz"/>
              <a:lstStyle/>
              <a:p>
                <a:pPr>
                  <a:defRPr/>
                </a:pPr>
                <a:r>
                  <a:rPr lang="en-US" dirty="0"/>
                  <a:t>corresponding VIX moves over the period</a:t>
                </a:r>
              </a:p>
            </c:rich>
          </c:tx>
          <c:layout/>
          <c:overlay val="0"/>
        </c:title>
        <c:numFmt formatCode="General" sourceLinked="1"/>
        <c:majorTickMark val="out"/>
        <c:minorTickMark val="none"/>
        <c:tickLblPos val="nextTo"/>
        <c:crossAx val="554065280"/>
        <c:crosses val="autoZero"/>
        <c:crossBetween val="midCat"/>
      </c:valAx>
    </c:plotArea>
    <c:legend>
      <c:legendPos val="b"/>
      <c:layout/>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Rolling 1Y beta with VIX Index</a:t>
            </a:r>
          </a:p>
        </c:rich>
      </c:tx>
      <c:layout/>
      <c:overlay val="0"/>
    </c:title>
    <c:autoTitleDeleted val="0"/>
    <c:plotArea>
      <c:layout/>
      <c:lineChart>
        <c:grouping val="standard"/>
        <c:varyColors val="0"/>
        <c:ser>
          <c:idx val="0"/>
          <c:order val="0"/>
          <c:tx>
            <c:strRef>
              <c:f>beta!$AI$256</c:f>
              <c:strCache>
                <c:ptCount val="1"/>
                <c:pt idx="0">
                  <c:v>1st Nearby VIX future</c:v>
                </c:pt>
              </c:strCache>
            </c:strRef>
          </c:tx>
          <c:marker>
            <c:symbol val="none"/>
          </c:marker>
          <c:cat>
            <c:numRef>
              <c:f>beta!$AH$257:$AH$2264</c:f>
              <c:numCache>
                <c:formatCode>m/d/yyyy</c:formatCode>
                <c:ptCount val="2008"/>
                <c:pt idx="0">
                  <c:v>39598</c:v>
                </c:pt>
                <c:pt idx="1">
                  <c:v>39601</c:v>
                </c:pt>
                <c:pt idx="2">
                  <c:v>39602</c:v>
                </c:pt>
                <c:pt idx="3">
                  <c:v>39603</c:v>
                </c:pt>
                <c:pt idx="4">
                  <c:v>39604</c:v>
                </c:pt>
                <c:pt idx="5">
                  <c:v>39605</c:v>
                </c:pt>
                <c:pt idx="6">
                  <c:v>39608</c:v>
                </c:pt>
                <c:pt idx="7">
                  <c:v>39609</c:v>
                </c:pt>
                <c:pt idx="8">
                  <c:v>39610</c:v>
                </c:pt>
                <c:pt idx="9">
                  <c:v>39611</c:v>
                </c:pt>
                <c:pt idx="10">
                  <c:v>39612</c:v>
                </c:pt>
                <c:pt idx="11">
                  <c:v>39615</c:v>
                </c:pt>
                <c:pt idx="12">
                  <c:v>39616</c:v>
                </c:pt>
                <c:pt idx="13">
                  <c:v>39617</c:v>
                </c:pt>
                <c:pt idx="14">
                  <c:v>39618</c:v>
                </c:pt>
                <c:pt idx="15">
                  <c:v>39619</c:v>
                </c:pt>
                <c:pt idx="16">
                  <c:v>39622</c:v>
                </c:pt>
                <c:pt idx="17">
                  <c:v>39623</c:v>
                </c:pt>
                <c:pt idx="18">
                  <c:v>39624</c:v>
                </c:pt>
                <c:pt idx="19">
                  <c:v>39625</c:v>
                </c:pt>
                <c:pt idx="20">
                  <c:v>39626</c:v>
                </c:pt>
                <c:pt idx="21">
                  <c:v>39629</c:v>
                </c:pt>
                <c:pt idx="22">
                  <c:v>39630</c:v>
                </c:pt>
                <c:pt idx="23">
                  <c:v>39631</c:v>
                </c:pt>
                <c:pt idx="24">
                  <c:v>39632</c:v>
                </c:pt>
                <c:pt idx="25">
                  <c:v>39636</c:v>
                </c:pt>
                <c:pt idx="26">
                  <c:v>39637</c:v>
                </c:pt>
                <c:pt idx="27">
                  <c:v>39638</c:v>
                </c:pt>
                <c:pt idx="28">
                  <c:v>39639</c:v>
                </c:pt>
                <c:pt idx="29">
                  <c:v>39640</c:v>
                </c:pt>
                <c:pt idx="30">
                  <c:v>39643</c:v>
                </c:pt>
                <c:pt idx="31">
                  <c:v>39644</c:v>
                </c:pt>
                <c:pt idx="32">
                  <c:v>39645</c:v>
                </c:pt>
                <c:pt idx="33">
                  <c:v>39646</c:v>
                </c:pt>
                <c:pt idx="34">
                  <c:v>39647</c:v>
                </c:pt>
                <c:pt idx="35">
                  <c:v>39650</c:v>
                </c:pt>
                <c:pt idx="36">
                  <c:v>39651</c:v>
                </c:pt>
                <c:pt idx="37">
                  <c:v>39652</c:v>
                </c:pt>
                <c:pt idx="38">
                  <c:v>39653</c:v>
                </c:pt>
                <c:pt idx="39">
                  <c:v>39654</c:v>
                </c:pt>
                <c:pt idx="40">
                  <c:v>39657</c:v>
                </c:pt>
                <c:pt idx="41">
                  <c:v>39658</c:v>
                </c:pt>
                <c:pt idx="42">
                  <c:v>39659</c:v>
                </c:pt>
                <c:pt idx="43">
                  <c:v>39660</c:v>
                </c:pt>
                <c:pt idx="44">
                  <c:v>39661</c:v>
                </c:pt>
                <c:pt idx="45">
                  <c:v>39664</c:v>
                </c:pt>
                <c:pt idx="46">
                  <c:v>39665</c:v>
                </c:pt>
                <c:pt idx="47">
                  <c:v>39666</c:v>
                </c:pt>
                <c:pt idx="48">
                  <c:v>39667</c:v>
                </c:pt>
                <c:pt idx="49">
                  <c:v>39668</c:v>
                </c:pt>
                <c:pt idx="50">
                  <c:v>39671</c:v>
                </c:pt>
                <c:pt idx="51">
                  <c:v>39672</c:v>
                </c:pt>
                <c:pt idx="52">
                  <c:v>39673</c:v>
                </c:pt>
                <c:pt idx="53">
                  <c:v>39674</c:v>
                </c:pt>
                <c:pt idx="54">
                  <c:v>39675</c:v>
                </c:pt>
                <c:pt idx="55">
                  <c:v>39678</c:v>
                </c:pt>
                <c:pt idx="56">
                  <c:v>39679</c:v>
                </c:pt>
                <c:pt idx="57">
                  <c:v>39680</c:v>
                </c:pt>
                <c:pt idx="58">
                  <c:v>39681</c:v>
                </c:pt>
                <c:pt idx="59">
                  <c:v>39682</c:v>
                </c:pt>
                <c:pt idx="60">
                  <c:v>39685</c:v>
                </c:pt>
                <c:pt idx="61">
                  <c:v>39686</c:v>
                </c:pt>
                <c:pt idx="62">
                  <c:v>39687</c:v>
                </c:pt>
                <c:pt idx="63">
                  <c:v>39688</c:v>
                </c:pt>
                <c:pt idx="64">
                  <c:v>39689</c:v>
                </c:pt>
                <c:pt idx="65">
                  <c:v>39693</c:v>
                </c:pt>
                <c:pt idx="66">
                  <c:v>39694</c:v>
                </c:pt>
                <c:pt idx="67">
                  <c:v>39695</c:v>
                </c:pt>
                <c:pt idx="68">
                  <c:v>39696</c:v>
                </c:pt>
                <c:pt idx="69">
                  <c:v>39699</c:v>
                </c:pt>
                <c:pt idx="70">
                  <c:v>39700</c:v>
                </c:pt>
                <c:pt idx="71">
                  <c:v>39701</c:v>
                </c:pt>
                <c:pt idx="72">
                  <c:v>39702</c:v>
                </c:pt>
                <c:pt idx="73">
                  <c:v>39703</c:v>
                </c:pt>
                <c:pt idx="74">
                  <c:v>39706</c:v>
                </c:pt>
                <c:pt idx="75">
                  <c:v>39707</c:v>
                </c:pt>
                <c:pt idx="76">
                  <c:v>39708</c:v>
                </c:pt>
                <c:pt idx="77">
                  <c:v>39709</c:v>
                </c:pt>
                <c:pt idx="78">
                  <c:v>39710</c:v>
                </c:pt>
                <c:pt idx="79">
                  <c:v>39713</c:v>
                </c:pt>
                <c:pt idx="80">
                  <c:v>39714</c:v>
                </c:pt>
                <c:pt idx="81">
                  <c:v>39715</c:v>
                </c:pt>
                <c:pt idx="82">
                  <c:v>39716</c:v>
                </c:pt>
                <c:pt idx="83">
                  <c:v>39717</c:v>
                </c:pt>
                <c:pt idx="84">
                  <c:v>39720</c:v>
                </c:pt>
                <c:pt idx="85">
                  <c:v>39721</c:v>
                </c:pt>
                <c:pt idx="86">
                  <c:v>39722</c:v>
                </c:pt>
                <c:pt idx="87">
                  <c:v>39723</c:v>
                </c:pt>
                <c:pt idx="88">
                  <c:v>39724</c:v>
                </c:pt>
                <c:pt idx="89">
                  <c:v>39727</c:v>
                </c:pt>
                <c:pt idx="90">
                  <c:v>39728</c:v>
                </c:pt>
                <c:pt idx="91">
                  <c:v>39729</c:v>
                </c:pt>
                <c:pt idx="92">
                  <c:v>39730</c:v>
                </c:pt>
                <c:pt idx="93">
                  <c:v>39731</c:v>
                </c:pt>
                <c:pt idx="94">
                  <c:v>39734</c:v>
                </c:pt>
                <c:pt idx="95">
                  <c:v>39735</c:v>
                </c:pt>
                <c:pt idx="96">
                  <c:v>39736</c:v>
                </c:pt>
                <c:pt idx="97">
                  <c:v>39737</c:v>
                </c:pt>
                <c:pt idx="98">
                  <c:v>39738</c:v>
                </c:pt>
                <c:pt idx="99">
                  <c:v>39741</c:v>
                </c:pt>
                <c:pt idx="100">
                  <c:v>39742</c:v>
                </c:pt>
                <c:pt idx="101">
                  <c:v>39743</c:v>
                </c:pt>
                <c:pt idx="102">
                  <c:v>39744</c:v>
                </c:pt>
                <c:pt idx="103">
                  <c:v>39745</c:v>
                </c:pt>
                <c:pt idx="104">
                  <c:v>39748</c:v>
                </c:pt>
                <c:pt idx="105">
                  <c:v>39749</c:v>
                </c:pt>
                <c:pt idx="106">
                  <c:v>39750</c:v>
                </c:pt>
                <c:pt idx="107">
                  <c:v>39751</c:v>
                </c:pt>
                <c:pt idx="108">
                  <c:v>39752</c:v>
                </c:pt>
                <c:pt idx="109">
                  <c:v>39755</c:v>
                </c:pt>
                <c:pt idx="110">
                  <c:v>39756</c:v>
                </c:pt>
                <c:pt idx="111">
                  <c:v>39757</c:v>
                </c:pt>
                <c:pt idx="112">
                  <c:v>39758</c:v>
                </c:pt>
                <c:pt idx="113">
                  <c:v>39759</c:v>
                </c:pt>
                <c:pt idx="114">
                  <c:v>39762</c:v>
                </c:pt>
                <c:pt idx="115">
                  <c:v>39763</c:v>
                </c:pt>
                <c:pt idx="116">
                  <c:v>39764</c:v>
                </c:pt>
                <c:pt idx="117">
                  <c:v>39765</c:v>
                </c:pt>
                <c:pt idx="118">
                  <c:v>39766</c:v>
                </c:pt>
                <c:pt idx="119">
                  <c:v>39769</c:v>
                </c:pt>
                <c:pt idx="120">
                  <c:v>39770</c:v>
                </c:pt>
                <c:pt idx="121">
                  <c:v>39771</c:v>
                </c:pt>
                <c:pt idx="122">
                  <c:v>39772</c:v>
                </c:pt>
                <c:pt idx="123">
                  <c:v>39773</c:v>
                </c:pt>
                <c:pt idx="124">
                  <c:v>39776</c:v>
                </c:pt>
                <c:pt idx="125">
                  <c:v>39777</c:v>
                </c:pt>
                <c:pt idx="126">
                  <c:v>39778</c:v>
                </c:pt>
                <c:pt idx="127">
                  <c:v>39780</c:v>
                </c:pt>
                <c:pt idx="128">
                  <c:v>39783</c:v>
                </c:pt>
                <c:pt idx="129">
                  <c:v>39784</c:v>
                </c:pt>
                <c:pt idx="130">
                  <c:v>39785</c:v>
                </c:pt>
                <c:pt idx="131">
                  <c:v>39786</c:v>
                </c:pt>
                <c:pt idx="132">
                  <c:v>39787</c:v>
                </c:pt>
                <c:pt idx="133">
                  <c:v>39790</c:v>
                </c:pt>
                <c:pt idx="134">
                  <c:v>39791</c:v>
                </c:pt>
                <c:pt idx="135">
                  <c:v>39792</c:v>
                </c:pt>
                <c:pt idx="136">
                  <c:v>39793</c:v>
                </c:pt>
                <c:pt idx="137">
                  <c:v>39794</c:v>
                </c:pt>
                <c:pt idx="138">
                  <c:v>39797</c:v>
                </c:pt>
                <c:pt idx="139">
                  <c:v>39798</c:v>
                </c:pt>
                <c:pt idx="140">
                  <c:v>39799</c:v>
                </c:pt>
                <c:pt idx="141">
                  <c:v>39800</c:v>
                </c:pt>
                <c:pt idx="142">
                  <c:v>39801</c:v>
                </c:pt>
                <c:pt idx="143">
                  <c:v>39804</c:v>
                </c:pt>
                <c:pt idx="144">
                  <c:v>39805</c:v>
                </c:pt>
                <c:pt idx="145">
                  <c:v>39806</c:v>
                </c:pt>
                <c:pt idx="146">
                  <c:v>39808</c:v>
                </c:pt>
                <c:pt idx="147">
                  <c:v>39811</c:v>
                </c:pt>
                <c:pt idx="148">
                  <c:v>39812</c:v>
                </c:pt>
                <c:pt idx="149">
                  <c:v>39813</c:v>
                </c:pt>
                <c:pt idx="150">
                  <c:v>39815</c:v>
                </c:pt>
                <c:pt idx="151">
                  <c:v>39818</c:v>
                </c:pt>
                <c:pt idx="152">
                  <c:v>39819</c:v>
                </c:pt>
                <c:pt idx="153">
                  <c:v>39820</c:v>
                </c:pt>
                <c:pt idx="154">
                  <c:v>39821</c:v>
                </c:pt>
                <c:pt idx="155">
                  <c:v>39822</c:v>
                </c:pt>
                <c:pt idx="156">
                  <c:v>39825</c:v>
                </c:pt>
                <c:pt idx="157">
                  <c:v>39826</c:v>
                </c:pt>
                <c:pt idx="158">
                  <c:v>39827</c:v>
                </c:pt>
                <c:pt idx="159">
                  <c:v>39828</c:v>
                </c:pt>
                <c:pt idx="160">
                  <c:v>39829</c:v>
                </c:pt>
                <c:pt idx="161">
                  <c:v>39833</c:v>
                </c:pt>
                <c:pt idx="162">
                  <c:v>39834</c:v>
                </c:pt>
                <c:pt idx="163">
                  <c:v>39835</c:v>
                </c:pt>
                <c:pt idx="164">
                  <c:v>39836</c:v>
                </c:pt>
                <c:pt idx="165">
                  <c:v>39839</c:v>
                </c:pt>
                <c:pt idx="166">
                  <c:v>39840</c:v>
                </c:pt>
                <c:pt idx="167">
                  <c:v>39841</c:v>
                </c:pt>
                <c:pt idx="168">
                  <c:v>39842</c:v>
                </c:pt>
                <c:pt idx="169">
                  <c:v>39843</c:v>
                </c:pt>
                <c:pt idx="170">
                  <c:v>39846</c:v>
                </c:pt>
                <c:pt idx="171">
                  <c:v>39847</c:v>
                </c:pt>
                <c:pt idx="172">
                  <c:v>39848</c:v>
                </c:pt>
                <c:pt idx="173">
                  <c:v>39849</c:v>
                </c:pt>
                <c:pt idx="174">
                  <c:v>39850</c:v>
                </c:pt>
                <c:pt idx="175">
                  <c:v>39853</c:v>
                </c:pt>
                <c:pt idx="176">
                  <c:v>39854</c:v>
                </c:pt>
                <c:pt idx="177">
                  <c:v>39855</c:v>
                </c:pt>
                <c:pt idx="178">
                  <c:v>39856</c:v>
                </c:pt>
                <c:pt idx="179">
                  <c:v>39857</c:v>
                </c:pt>
                <c:pt idx="180">
                  <c:v>39861</c:v>
                </c:pt>
                <c:pt idx="181">
                  <c:v>39862</c:v>
                </c:pt>
                <c:pt idx="182">
                  <c:v>39863</c:v>
                </c:pt>
                <c:pt idx="183">
                  <c:v>39864</c:v>
                </c:pt>
                <c:pt idx="184">
                  <c:v>39867</c:v>
                </c:pt>
                <c:pt idx="185">
                  <c:v>39868</c:v>
                </c:pt>
                <c:pt idx="186">
                  <c:v>39869</c:v>
                </c:pt>
                <c:pt idx="187">
                  <c:v>39870</c:v>
                </c:pt>
                <c:pt idx="188">
                  <c:v>39871</c:v>
                </c:pt>
                <c:pt idx="189">
                  <c:v>39874</c:v>
                </c:pt>
                <c:pt idx="190">
                  <c:v>39875</c:v>
                </c:pt>
                <c:pt idx="191">
                  <c:v>39876</c:v>
                </c:pt>
                <c:pt idx="192">
                  <c:v>39877</c:v>
                </c:pt>
                <c:pt idx="193">
                  <c:v>39878</c:v>
                </c:pt>
                <c:pt idx="194">
                  <c:v>39881</c:v>
                </c:pt>
                <c:pt idx="195">
                  <c:v>39882</c:v>
                </c:pt>
                <c:pt idx="196">
                  <c:v>39883</c:v>
                </c:pt>
                <c:pt idx="197">
                  <c:v>39884</c:v>
                </c:pt>
                <c:pt idx="198">
                  <c:v>39885</c:v>
                </c:pt>
                <c:pt idx="199">
                  <c:v>39888</c:v>
                </c:pt>
                <c:pt idx="200">
                  <c:v>39889</c:v>
                </c:pt>
                <c:pt idx="201">
                  <c:v>39890</c:v>
                </c:pt>
                <c:pt idx="202">
                  <c:v>39891</c:v>
                </c:pt>
                <c:pt idx="203">
                  <c:v>39892</c:v>
                </c:pt>
                <c:pt idx="204">
                  <c:v>39895</c:v>
                </c:pt>
                <c:pt idx="205">
                  <c:v>39896</c:v>
                </c:pt>
                <c:pt idx="206">
                  <c:v>39897</c:v>
                </c:pt>
                <c:pt idx="207">
                  <c:v>39898</c:v>
                </c:pt>
                <c:pt idx="208">
                  <c:v>39899</c:v>
                </c:pt>
                <c:pt idx="209">
                  <c:v>39902</c:v>
                </c:pt>
                <c:pt idx="210">
                  <c:v>39903</c:v>
                </c:pt>
                <c:pt idx="211">
                  <c:v>39904</c:v>
                </c:pt>
                <c:pt idx="212">
                  <c:v>39905</c:v>
                </c:pt>
                <c:pt idx="213">
                  <c:v>39906</c:v>
                </c:pt>
                <c:pt idx="214">
                  <c:v>39909</c:v>
                </c:pt>
                <c:pt idx="215">
                  <c:v>39910</c:v>
                </c:pt>
                <c:pt idx="216">
                  <c:v>39911</c:v>
                </c:pt>
                <c:pt idx="217">
                  <c:v>39912</c:v>
                </c:pt>
                <c:pt idx="218">
                  <c:v>39916</c:v>
                </c:pt>
                <c:pt idx="219">
                  <c:v>39917</c:v>
                </c:pt>
                <c:pt idx="220">
                  <c:v>39918</c:v>
                </c:pt>
                <c:pt idx="221">
                  <c:v>39919</c:v>
                </c:pt>
                <c:pt idx="222">
                  <c:v>39920</c:v>
                </c:pt>
                <c:pt idx="223">
                  <c:v>39923</c:v>
                </c:pt>
                <c:pt idx="224">
                  <c:v>39924</c:v>
                </c:pt>
                <c:pt idx="225">
                  <c:v>39925</c:v>
                </c:pt>
                <c:pt idx="226">
                  <c:v>39926</c:v>
                </c:pt>
                <c:pt idx="227">
                  <c:v>39927</c:v>
                </c:pt>
                <c:pt idx="228">
                  <c:v>39930</c:v>
                </c:pt>
                <c:pt idx="229">
                  <c:v>39931</c:v>
                </c:pt>
                <c:pt idx="230">
                  <c:v>39932</c:v>
                </c:pt>
                <c:pt idx="231">
                  <c:v>39933</c:v>
                </c:pt>
                <c:pt idx="232">
                  <c:v>39934</c:v>
                </c:pt>
                <c:pt idx="233">
                  <c:v>39937</c:v>
                </c:pt>
                <c:pt idx="234">
                  <c:v>39938</c:v>
                </c:pt>
                <c:pt idx="235">
                  <c:v>39939</c:v>
                </c:pt>
                <c:pt idx="236">
                  <c:v>39940</c:v>
                </c:pt>
                <c:pt idx="237">
                  <c:v>39941</c:v>
                </c:pt>
                <c:pt idx="238">
                  <c:v>39944</c:v>
                </c:pt>
                <c:pt idx="239">
                  <c:v>39945</c:v>
                </c:pt>
                <c:pt idx="240">
                  <c:v>39946</c:v>
                </c:pt>
                <c:pt idx="241">
                  <c:v>39947</c:v>
                </c:pt>
                <c:pt idx="242">
                  <c:v>39948</c:v>
                </c:pt>
                <c:pt idx="243">
                  <c:v>39951</c:v>
                </c:pt>
                <c:pt idx="244">
                  <c:v>39952</c:v>
                </c:pt>
                <c:pt idx="245">
                  <c:v>39953</c:v>
                </c:pt>
                <c:pt idx="246">
                  <c:v>39954</c:v>
                </c:pt>
                <c:pt idx="247">
                  <c:v>39955</c:v>
                </c:pt>
                <c:pt idx="248">
                  <c:v>39959</c:v>
                </c:pt>
                <c:pt idx="249">
                  <c:v>39960</c:v>
                </c:pt>
                <c:pt idx="250">
                  <c:v>39961</c:v>
                </c:pt>
                <c:pt idx="251">
                  <c:v>39962</c:v>
                </c:pt>
                <c:pt idx="252">
                  <c:v>39965</c:v>
                </c:pt>
                <c:pt idx="253">
                  <c:v>39966</c:v>
                </c:pt>
                <c:pt idx="254">
                  <c:v>39967</c:v>
                </c:pt>
                <c:pt idx="255">
                  <c:v>39968</c:v>
                </c:pt>
                <c:pt idx="256">
                  <c:v>39969</c:v>
                </c:pt>
                <c:pt idx="257">
                  <c:v>39972</c:v>
                </c:pt>
                <c:pt idx="258">
                  <c:v>39973</c:v>
                </c:pt>
                <c:pt idx="259">
                  <c:v>39974</c:v>
                </c:pt>
                <c:pt idx="260">
                  <c:v>39975</c:v>
                </c:pt>
                <c:pt idx="261">
                  <c:v>39976</c:v>
                </c:pt>
                <c:pt idx="262">
                  <c:v>39979</c:v>
                </c:pt>
                <c:pt idx="263">
                  <c:v>39980</c:v>
                </c:pt>
                <c:pt idx="264">
                  <c:v>39981</c:v>
                </c:pt>
                <c:pt idx="265">
                  <c:v>39982</c:v>
                </c:pt>
                <c:pt idx="266">
                  <c:v>39983</c:v>
                </c:pt>
                <c:pt idx="267">
                  <c:v>39986</c:v>
                </c:pt>
                <c:pt idx="268">
                  <c:v>39987</c:v>
                </c:pt>
                <c:pt idx="269">
                  <c:v>39988</c:v>
                </c:pt>
                <c:pt idx="270">
                  <c:v>39989</c:v>
                </c:pt>
                <c:pt idx="271">
                  <c:v>39990</c:v>
                </c:pt>
                <c:pt idx="272">
                  <c:v>39993</c:v>
                </c:pt>
                <c:pt idx="273">
                  <c:v>39994</c:v>
                </c:pt>
                <c:pt idx="274">
                  <c:v>39995</c:v>
                </c:pt>
                <c:pt idx="275">
                  <c:v>39996</c:v>
                </c:pt>
                <c:pt idx="276">
                  <c:v>40000</c:v>
                </c:pt>
                <c:pt idx="277">
                  <c:v>40001</c:v>
                </c:pt>
                <c:pt idx="278">
                  <c:v>40002</c:v>
                </c:pt>
                <c:pt idx="279">
                  <c:v>40003</c:v>
                </c:pt>
                <c:pt idx="280">
                  <c:v>40004</c:v>
                </c:pt>
                <c:pt idx="281">
                  <c:v>40007</c:v>
                </c:pt>
                <c:pt idx="282">
                  <c:v>40008</c:v>
                </c:pt>
                <c:pt idx="283">
                  <c:v>40009</c:v>
                </c:pt>
                <c:pt idx="284">
                  <c:v>40010</c:v>
                </c:pt>
                <c:pt idx="285">
                  <c:v>40011</c:v>
                </c:pt>
                <c:pt idx="286">
                  <c:v>40014</c:v>
                </c:pt>
                <c:pt idx="287">
                  <c:v>40015</c:v>
                </c:pt>
                <c:pt idx="288">
                  <c:v>40016</c:v>
                </c:pt>
                <c:pt idx="289">
                  <c:v>40017</c:v>
                </c:pt>
                <c:pt idx="290">
                  <c:v>40018</c:v>
                </c:pt>
                <c:pt idx="291">
                  <c:v>40021</c:v>
                </c:pt>
                <c:pt idx="292">
                  <c:v>40022</c:v>
                </c:pt>
                <c:pt idx="293">
                  <c:v>40023</c:v>
                </c:pt>
                <c:pt idx="294">
                  <c:v>40024</c:v>
                </c:pt>
                <c:pt idx="295">
                  <c:v>40025</c:v>
                </c:pt>
                <c:pt idx="296">
                  <c:v>40028</c:v>
                </c:pt>
                <c:pt idx="297">
                  <c:v>40029</c:v>
                </c:pt>
                <c:pt idx="298">
                  <c:v>40030</c:v>
                </c:pt>
                <c:pt idx="299">
                  <c:v>40031</c:v>
                </c:pt>
                <c:pt idx="300">
                  <c:v>40032</c:v>
                </c:pt>
                <c:pt idx="301">
                  <c:v>40035</c:v>
                </c:pt>
                <c:pt idx="302">
                  <c:v>40036</c:v>
                </c:pt>
                <c:pt idx="303">
                  <c:v>40037</c:v>
                </c:pt>
                <c:pt idx="304">
                  <c:v>40038</c:v>
                </c:pt>
                <c:pt idx="305">
                  <c:v>40039</c:v>
                </c:pt>
                <c:pt idx="306">
                  <c:v>40042</c:v>
                </c:pt>
                <c:pt idx="307">
                  <c:v>40043</c:v>
                </c:pt>
                <c:pt idx="308">
                  <c:v>40044</c:v>
                </c:pt>
                <c:pt idx="309">
                  <c:v>40045</c:v>
                </c:pt>
                <c:pt idx="310">
                  <c:v>40046</c:v>
                </c:pt>
                <c:pt idx="311">
                  <c:v>40049</c:v>
                </c:pt>
                <c:pt idx="312">
                  <c:v>40050</c:v>
                </c:pt>
                <c:pt idx="313">
                  <c:v>40051</c:v>
                </c:pt>
                <c:pt idx="314">
                  <c:v>40052</c:v>
                </c:pt>
                <c:pt idx="315">
                  <c:v>40053</c:v>
                </c:pt>
                <c:pt idx="316">
                  <c:v>40056</c:v>
                </c:pt>
                <c:pt idx="317">
                  <c:v>40057</c:v>
                </c:pt>
                <c:pt idx="318">
                  <c:v>40058</c:v>
                </c:pt>
                <c:pt idx="319">
                  <c:v>40059</c:v>
                </c:pt>
                <c:pt idx="320">
                  <c:v>40060</c:v>
                </c:pt>
                <c:pt idx="321">
                  <c:v>40064</c:v>
                </c:pt>
                <c:pt idx="322">
                  <c:v>40065</c:v>
                </c:pt>
                <c:pt idx="323">
                  <c:v>40066</c:v>
                </c:pt>
                <c:pt idx="324">
                  <c:v>40067</c:v>
                </c:pt>
                <c:pt idx="325">
                  <c:v>40070</c:v>
                </c:pt>
                <c:pt idx="326">
                  <c:v>40071</c:v>
                </c:pt>
                <c:pt idx="327">
                  <c:v>40072</c:v>
                </c:pt>
                <c:pt idx="328">
                  <c:v>40073</c:v>
                </c:pt>
                <c:pt idx="329">
                  <c:v>40074</c:v>
                </c:pt>
                <c:pt idx="330">
                  <c:v>40077</c:v>
                </c:pt>
                <c:pt idx="331">
                  <c:v>40078</c:v>
                </c:pt>
                <c:pt idx="332">
                  <c:v>40079</c:v>
                </c:pt>
                <c:pt idx="333">
                  <c:v>40080</c:v>
                </c:pt>
                <c:pt idx="334">
                  <c:v>40081</c:v>
                </c:pt>
                <c:pt idx="335">
                  <c:v>40084</c:v>
                </c:pt>
                <c:pt idx="336">
                  <c:v>40085</c:v>
                </c:pt>
                <c:pt idx="337">
                  <c:v>40086</c:v>
                </c:pt>
                <c:pt idx="338">
                  <c:v>40087</c:v>
                </c:pt>
                <c:pt idx="339">
                  <c:v>40088</c:v>
                </c:pt>
                <c:pt idx="340">
                  <c:v>40091</c:v>
                </c:pt>
                <c:pt idx="341">
                  <c:v>40092</c:v>
                </c:pt>
                <c:pt idx="342">
                  <c:v>40093</c:v>
                </c:pt>
                <c:pt idx="343">
                  <c:v>40094</c:v>
                </c:pt>
                <c:pt idx="344">
                  <c:v>40095</c:v>
                </c:pt>
                <c:pt idx="345">
                  <c:v>40098</c:v>
                </c:pt>
                <c:pt idx="346">
                  <c:v>40099</c:v>
                </c:pt>
                <c:pt idx="347">
                  <c:v>40100</c:v>
                </c:pt>
                <c:pt idx="348">
                  <c:v>40101</c:v>
                </c:pt>
                <c:pt idx="349">
                  <c:v>40102</c:v>
                </c:pt>
                <c:pt idx="350">
                  <c:v>40105</c:v>
                </c:pt>
                <c:pt idx="351">
                  <c:v>40106</c:v>
                </c:pt>
                <c:pt idx="352">
                  <c:v>40107</c:v>
                </c:pt>
                <c:pt idx="353">
                  <c:v>40108</c:v>
                </c:pt>
                <c:pt idx="354">
                  <c:v>40109</c:v>
                </c:pt>
                <c:pt idx="355">
                  <c:v>40112</c:v>
                </c:pt>
                <c:pt idx="356">
                  <c:v>40113</c:v>
                </c:pt>
                <c:pt idx="357">
                  <c:v>40114</c:v>
                </c:pt>
                <c:pt idx="358">
                  <c:v>40115</c:v>
                </c:pt>
                <c:pt idx="359">
                  <c:v>40116</c:v>
                </c:pt>
                <c:pt idx="360">
                  <c:v>40119</c:v>
                </c:pt>
                <c:pt idx="361">
                  <c:v>40120</c:v>
                </c:pt>
                <c:pt idx="362">
                  <c:v>40121</c:v>
                </c:pt>
                <c:pt idx="363">
                  <c:v>40122</c:v>
                </c:pt>
                <c:pt idx="364">
                  <c:v>40123</c:v>
                </c:pt>
                <c:pt idx="365">
                  <c:v>40126</c:v>
                </c:pt>
                <c:pt idx="366">
                  <c:v>40127</c:v>
                </c:pt>
                <c:pt idx="367">
                  <c:v>40128</c:v>
                </c:pt>
                <c:pt idx="368">
                  <c:v>40129</c:v>
                </c:pt>
                <c:pt idx="369">
                  <c:v>40130</c:v>
                </c:pt>
                <c:pt idx="370">
                  <c:v>40133</c:v>
                </c:pt>
                <c:pt idx="371">
                  <c:v>40134</c:v>
                </c:pt>
                <c:pt idx="372">
                  <c:v>40135</c:v>
                </c:pt>
                <c:pt idx="373">
                  <c:v>40136</c:v>
                </c:pt>
                <c:pt idx="374">
                  <c:v>40137</c:v>
                </c:pt>
                <c:pt idx="375">
                  <c:v>40140</c:v>
                </c:pt>
                <c:pt idx="376">
                  <c:v>40141</c:v>
                </c:pt>
                <c:pt idx="377">
                  <c:v>40142</c:v>
                </c:pt>
                <c:pt idx="378">
                  <c:v>40144</c:v>
                </c:pt>
                <c:pt idx="379">
                  <c:v>40147</c:v>
                </c:pt>
                <c:pt idx="380">
                  <c:v>40148</c:v>
                </c:pt>
                <c:pt idx="381">
                  <c:v>40149</c:v>
                </c:pt>
                <c:pt idx="382">
                  <c:v>40150</c:v>
                </c:pt>
                <c:pt idx="383">
                  <c:v>40151</c:v>
                </c:pt>
                <c:pt idx="384">
                  <c:v>40154</c:v>
                </c:pt>
                <c:pt idx="385">
                  <c:v>40155</c:v>
                </c:pt>
                <c:pt idx="386">
                  <c:v>40156</c:v>
                </c:pt>
                <c:pt idx="387">
                  <c:v>40157</c:v>
                </c:pt>
                <c:pt idx="388">
                  <c:v>40158</c:v>
                </c:pt>
                <c:pt idx="389">
                  <c:v>40161</c:v>
                </c:pt>
                <c:pt idx="390">
                  <c:v>40162</c:v>
                </c:pt>
                <c:pt idx="391">
                  <c:v>40163</c:v>
                </c:pt>
                <c:pt idx="392">
                  <c:v>40164</c:v>
                </c:pt>
                <c:pt idx="393">
                  <c:v>40165</c:v>
                </c:pt>
                <c:pt idx="394">
                  <c:v>40168</c:v>
                </c:pt>
                <c:pt idx="395">
                  <c:v>40169</c:v>
                </c:pt>
                <c:pt idx="396">
                  <c:v>40170</c:v>
                </c:pt>
                <c:pt idx="397">
                  <c:v>40171</c:v>
                </c:pt>
                <c:pt idx="398">
                  <c:v>40175</c:v>
                </c:pt>
                <c:pt idx="399">
                  <c:v>40176</c:v>
                </c:pt>
                <c:pt idx="400">
                  <c:v>40177</c:v>
                </c:pt>
                <c:pt idx="401">
                  <c:v>40178</c:v>
                </c:pt>
                <c:pt idx="402">
                  <c:v>40182</c:v>
                </c:pt>
                <c:pt idx="403">
                  <c:v>40183</c:v>
                </c:pt>
                <c:pt idx="404">
                  <c:v>40184</c:v>
                </c:pt>
                <c:pt idx="405">
                  <c:v>40185</c:v>
                </c:pt>
                <c:pt idx="406">
                  <c:v>40186</c:v>
                </c:pt>
                <c:pt idx="407">
                  <c:v>40189</c:v>
                </c:pt>
                <c:pt idx="408">
                  <c:v>40190</c:v>
                </c:pt>
                <c:pt idx="409">
                  <c:v>40191</c:v>
                </c:pt>
                <c:pt idx="410">
                  <c:v>40192</c:v>
                </c:pt>
                <c:pt idx="411">
                  <c:v>40193</c:v>
                </c:pt>
                <c:pt idx="412">
                  <c:v>40197</c:v>
                </c:pt>
                <c:pt idx="413">
                  <c:v>40198</c:v>
                </c:pt>
                <c:pt idx="414">
                  <c:v>40199</c:v>
                </c:pt>
                <c:pt idx="415">
                  <c:v>40200</c:v>
                </c:pt>
                <c:pt idx="416">
                  <c:v>40203</c:v>
                </c:pt>
                <c:pt idx="417">
                  <c:v>40204</c:v>
                </c:pt>
                <c:pt idx="418">
                  <c:v>40205</c:v>
                </c:pt>
                <c:pt idx="419">
                  <c:v>40206</c:v>
                </c:pt>
                <c:pt idx="420">
                  <c:v>40207</c:v>
                </c:pt>
                <c:pt idx="421">
                  <c:v>40210</c:v>
                </c:pt>
                <c:pt idx="422">
                  <c:v>40211</c:v>
                </c:pt>
                <c:pt idx="423">
                  <c:v>40212</c:v>
                </c:pt>
                <c:pt idx="424">
                  <c:v>40213</c:v>
                </c:pt>
                <c:pt idx="425">
                  <c:v>40214</c:v>
                </c:pt>
                <c:pt idx="426">
                  <c:v>40217</c:v>
                </c:pt>
                <c:pt idx="427">
                  <c:v>40218</c:v>
                </c:pt>
                <c:pt idx="428">
                  <c:v>40219</c:v>
                </c:pt>
                <c:pt idx="429">
                  <c:v>40220</c:v>
                </c:pt>
                <c:pt idx="430">
                  <c:v>40221</c:v>
                </c:pt>
                <c:pt idx="431">
                  <c:v>40225</c:v>
                </c:pt>
                <c:pt idx="432">
                  <c:v>40226</c:v>
                </c:pt>
                <c:pt idx="433">
                  <c:v>40227</c:v>
                </c:pt>
                <c:pt idx="434">
                  <c:v>40228</c:v>
                </c:pt>
                <c:pt idx="435">
                  <c:v>40231</c:v>
                </c:pt>
                <c:pt idx="436">
                  <c:v>40232</c:v>
                </c:pt>
                <c:pt idx="437">
                  <c:v>40233</c:v>
                </c:pt>
                <c:pt idx="438">
                  <c:v>40234</c:v>
                </c:pt>
                <c:pt idx="439">
                  <c:v>40235</c:v>
                </c:pt>
                <c:pt idx="440">
                  <c:v>40238</c:v>
                </c:pt>
                <c:pt idx="441">
                  <c:v>40239</c:v>
                </c:pt>
                <c:pt idx="442">
                  <c:v>40240</c:v>
                </c:pt>
                <c:pt idx="443">
                  <c:v>40241</c:v>
                </c:pt>
                <c:pt idx="444">
                  <c:v>40242</c:v>
                </c:pt>
                <c:pt idx="445">
                  <c:v>40245</c:v>
                </c:pt>
                <c:pt idx="446">
                  <c:v>40246</c:v>
                </c:pt>
                <c:pt idx="447">
                  <c:v>40247</c:v>
                </c:pt>
                <c:pt idx="448">
                  <c:v>40248</c:v>
                </c:pt>
                <c:pt idx="449">
                  <c:v>40249</c:v>
                </c:pt>
                <c:pt idx="450">
                  <c:v>40252</c:v>
                </c:pt>
                <c:pt idx="451">
                  <c:v>40253</c:v>
                </c:pt>
                <c:pt idx="452">
                  <c:v>40254</c:v>
                </c:pt>
                <c:pt idx="453">
                  <c:v>40255</c:v>
                </c:pt>
                <c:pt idx="454">
                  <c:v>40256</c:v>
                </c:pt>
                <c:pt idx="455">
                  <c:v>40259</c:v>
                </c:pt>
                <c:pt idx="456">
                  <c:v>40260</c:v>
                </c:pt>
                <c:pt idx="457">
                  <c:v>40261</c:v>
                </c:pt>
                <c:pt idx="458">
                  <c:v>40262</c:v>
                </c:pt>
                <c:pt idx="459">
                  <c:v>40263</c:v>
                </c:pt>
                <c:pt idx="460">
                  <c:v>40266</c:v>
                </c:pt>
                <c:pt idx="461">
                  <c:v>40267</c:v>
                </c:pt>
                <c:pt idx="462">
                  <c:v>40268</c:v>
                </c:pt>
                <c:pt idx="463">
                  <c:v>40269</c:v>
                </c:pt>
                <c:pt idx="464">
                  <c:v>40273</c:v>
                </c:pt>
                <c:pt idx="465">
                  <c:v>40274</c:v>
                </c:pt>
                <c:pt idx="466">
                  <c:v>40275</c:v>
                </c:pt>
                <c:pt idx="467">
                  <c:v>40276</c:v>
                </c:pt>
                <c:pt idx="468">
                  <c:v>40277</c:v>
                </c:pt>
                <c:pt idx="469">
                  <c:v>40280</c:v>
                </c:pt>
                <c:pt idx="470">
                  <c:v>40281</c:v>
                </c:pt>
                <c:pt idx="471">
                  <c:v>40282</c:v>
                </c:pt>
                <c:pt idx="472">
                  <c:v>40283</c:v>
                </c:pt>
                <c:pt idx="473">
                  <c:v>40284</c:v>
                </c:pt>
                <c:pt idx="474">
                  <c:v>40287</c:v>
                </c:pt>
                <c:pt idx="475">
                  <c:v>40288</c:v>
                </c:pt>
                <c:pt idx="476">
                  <c:v>40289</c:v>
                </c:pt>
                <c:pt idx="477">
                  <c:v>40290</c:v>
                </c:pt>
                <c:pt idx="478">
                  <c:v>40291</c:v>
                </c:pt>
                <c:pt idx="479">
                  <c:v>40294</c:v>
                </c:pt>
                <c:pt idx="480">
                  <c:v>40295</c:v>
                </c:pt>
                <c:pt idx="481">
                  <c:v>40296</c:v>
                </c:pt>
                <c:pt idx="482">
                  <c:v>40297</c:v>
                </c:pt>
                <c:pt idx="483">
                  <c:v>40298</c:v>
                </c:pt>
                <c:pt idx="484">
                  <c:v>40301</c:v>
                </c:pt>
                <c:pt idx="485">
                  <c:v>40302</c:v>
                </c:pt>
                <c:pt idx="486">
                  <c:v>40303</c:v>
                </c:pt>
                <c:pt idx="487">
                  <c:v>40304</c:v>
                </c:pt>
                <c:pt idx="488">
                  <c:v>40305</c:v>
                </c:pt>
                <c:pt idx="489">
                  <c:v>40308</c:v>
                </c:pt>
                <c:pt idx="490">
                  <c:v>40309</c:v>
                </c:pt>
                <c:pt idx="491">
                  <c:v>40310</c:v>
                </c:pt>
                <c:pt idx="492">
                  <c:v>40311</c:v>
                </c:pt>
                <c:pt idx="493">
                  <c:v>40312</c:v>
                </c:pt>
                <c:pt idx="494">
                  <c:v>40315</c:v>
                </c:pt>
                <c:pt idx="495">
                  <c:v>40316</c:v>
                </c:pt>
                <c:pt idx="496">
                  <c:v>40317</c:v>
                </c:pt>
                <c:pt idx="497">
                  <c:v>40318</c:v>
                </c:pt>
                <c:pt idx="498">
                  <c:v>40319</c:v>
                </c:pt>
                <c:pt idx="499">
                  <c:v>40322</c:v>
                </c:pt>
                <c:pt idx="500">
                  <c:v>40323</c:v>
                </c:pt>
                <c:pt idx="501">
                  <c:v>40324</c:v>
                </c:pt>
                <c:pt idx="502">
                  <c:v>40325</c:v>
                </c:pt>
                <c:pt idx="503">
                  <c:v>40326</c:v>
                </c:pt>
                <c:pt idx="504">
                  <c:v>40330</c:v>
                </c:pt>
                <c:pt idx="505">
                  <c:v>40331</c:v>
                </c:pt>
                <c:pt idx="506">
                  <c:v>40332</c:v>
                </c:pt>
                <c:pt idx="507">
                  <c:v>40333</c:v>
                </c:pt>
                <c:pt idx="508">
                  <c:v>40336</c:v>
                </c:pt>
                <c:pt idx="509">
                  <c:v>40337</c:v>
                </c:pt>
                <c:pt idx="510">
                  <c:v>40338</c:v>
                </c:pt>
                <c:pt idx="511">
                  <c:v>40339</c:v>
                </c:pt>
                <c:pt idx="512">
                  <c:v>40340</c:v>
                </c:pt>
                <c:pt idx="513">
                  <c:v>40343</c:v>
                </c:pt>
                <c:pt idx="514">
                  <c:v>40344</c:v>
                </c:pt>
                <c:pt idx="515">
                  <c:v>40345</c:v>
                </c:pt>
                <c:pt idx="516">
                  <c:v>40346</c:v>
                </c:pt>
                <c:pt idx="517">
                  <c:v>40347</c:v>
                </c:pt>
                <c:pt idx="518">
                  <c:v>40350</c:v>
                </c:pt>
                <c:pt idx="519">
                  <c:v>40351</c:v>
                </c:pt>
                <c:pt idx="520">
                  <c:v>40352</c:v>
                </c:pt>
                <c:pt idx="521">
                  <c:v>40353</c:v>
                </c:pt>
                <c:pt idx="522">
                  <c:v>40354</c:v>
                </c:pt>
                <c:pt idx="523">
                  <c:v>40357</c:v>
                </c:pt>
                <c:pt idx="524">
                  <c:v>40358</c:v>
                </c:pt>
                <c:pt idx="525">
                  <c:v>40359</c:v>
                </c:pt>
                <c:pt idx="526">
                  <c:v>40360</c:v>
                </c:pt>
                <c:pt idx="527">
                  <c:v>40361</c:v>
                </c:pt>
                <c:pt idx="528">
                  <c:v>40365</c:v>
                </c:pt>
                <c:pt idx="529">
                  <c:v>40366</c:v>
                </c:pt>
                <c:pt idx="530">
                  <c:v>40367</c:v>
                </c:pt>
                <c:pt idx="531">
                  <c:v>40368</c:v>
                </c:pt>
                <c:pt idx="532">
                  <c:v>40371</c:v>
                </c:pt>
                <c:pt idx="533">
                  <c:v>40372</c:v>
                </c:pt>
                <c:pt idx="534">
                  <c:v>40373</c:v>
                </c:pt>
                <c:pt idx="535">
                  <c:v>40374</c:v>
                </c:pt>
                <c:pt idx="536">
                  <c:v>40375</c:v>
                </c:pt>
                <c:pt idx="537">
                  <c:v>40378</c:v>
                </c:pt>
                <c:pt idx="538">
                  <c:v>40379</c:v>
                </c:pt>
                <c:pt idx="539">
                  <c:v>40380</c:v>
                </c:pt>
                <c:pt idx="540">
                  <c:v>40381</c:v>
                </c:pt>
                <c:pt idx="541">
                  <c:v>40382</c:v>
                </c:pt>
                <c:pt idx="542">
                  <c:v>40385</c:v>
                </c:pt>
                <c:pt idx="543">
                  <c:v>40386</c:v>
                </c:pt>
                <c:pt idx="544">
                  <c:v>40387</c:v>
                </c:pt>
                <c:pt idx="545">
                  <c:v>40388</c:v>
                </c:pt>
                <c:pt idx="546">
                  <c:v>40389</c:v>
                </c:pt>
                <c:pt idx="547">
                  <c:v>40392</c:v>
                </c:pt>
                <c:pt idx="548">
                  <c:v>40393</c:v>
                </c:pt>
                <c:pt idx="549">
                  <c:v>40394</c:v>
                </c:pt>
                <c:pt idx="550">
                  <c:v>40395</c:v>
                </c:pt>
                <c:pt idx="551">
                  <c:v>40396</c:v>
                </c:pt>
                <c:pt idx="552">
                  <c:v>40399</c:v>
                </c:pt>
                <c:pt idx="553">
                  <c:v>40400</c:v>
                </c:pt>
                <c:pt idx="554">
                  <c:v>40401</c:v>
                </c:pt>
                <c:pt idx="555">
                  <c:v>40402</c:v>
                </c:pt>
                <c:pt idx="556">
                  <c:v>40403</c:v>
                </c:pt>
                <c:pt idx="557">
                  <c:v>40406</c:v>
                </c:pt>
                <c:pt idx="558">
                  <c:v>40407</c:v>
                </c:pt>
                <c:pt idx="559">
                  <c:v>40408</c:v>
                </c:pt>
                <c:pt idx="560">
                  <c:v>40409</c:v>
                </c:pt>
                <c:pt idx="561">
                  <c:v>40410</c:v>
                </c:pt>
                <c:pt idx="562">
                  <c:v>40413</c:v>
                </c:pt>
                <c:pt idx="563">
                  <c:v>40414</c:v>
                </c:pt>
                <c:pt idx="564">
                  <c:v>40415</c:v>
                </c:pt>
                <c:pt idx="565">
                  <c:v>40416</c:v>
                </c:pt>
                <c:pt idx="566">
                  <c:v>40417</c:v>
                </c:pt>
                <c:pt idx="567">
                  <c:v>40420</c:v>
                </c:pt>
                <c:pt idx="568">
                  <c:v>40421</c:v>
                </c:pt>
                <c:pt idx="569">
                  <c:v>40422</c:v>
                </c:pt>
                <c:pt idx="570">
                  <c:v>40423</c:v>
                </c:pt>
                <c:pt idx="571">
                  <c:v>40424</c:v>
                </c:pt>
                <c:pt idx="572">
                  <c:v>40428</c:v>
                </c:pt>
                <c:pt idx="573">
                  <c:v>40429</c:v>
                </c:pt>
                <c:pt idx="574">
                  <c:v>40430</c:v>
                </c:pt>
                <c:pt idx="575">
                  <c:v>40431</c:v>
                </c:pt>
                <c:pt idx="576">
                  <c:v>40434</c:v>
                </c:pt>
                <c:pt idx="577">
                  <c:v>40435</c:v>
                </c:pt>
                <c:pt idx="578">
                  <c:v>40436</c:v>
                </c:pt>
                <c:pt idx="579">
                  <c:v>40437</c:v>
                </c:pt>
                <c:pt idx="580">
                  <c:v>40438</c:v>
                </c:pt>
                <c:pt idx="581">
                  <c:v>40441</c:v>
                </c:pt>
                <c:pt idx="582">
                  <c:v>40442</c:v>
                </c:pt>
                <c:pt idx="583">
                  <c:v>40443</c:v>
                </c:pt>
                <c:pt idx="584">
                  <c:v>40444</c:v>
                </c:pt>
                <c:pt idx="585">
                  <c:v>40445</c:v>
                </c:pt>
                <c:pt idx="586">
                  <c:v>40448</c:v>
                </c:pt>
                <c:pt idx="587">
                  <c:v>40449</c:v>
                </c:pt>
                <c:pt idx="588">
                  <c:v>40450</c:v>
                </c:pt>
                <c:pt idx="589">
                  <c:v>40451</c:v>
                </c:pt>
                <c:pt idx="590">
                  <c:v>40452</c:v>
                </c:pt>
                <c:pt idx="591">
                  <c:v>40455</c:v>
                </c:pt>
                <c:pt idx="592">
                  <c:v>40456</c:v>
                </c:pt>
                <c:pt idx="593">
                  <c:v>40457</c:v>
                </c:pt>
                <c:pt idx="594">
                  <c:v>40458</c:v>
                </c:pt>
                <c:pt idx="595">
                  <c:v>40459</c:v>
                </c:pt>
                <c:pt idx="596">
                  <c:v>40462</c:v>
                </c:pt>
                <c:pt idx="597">
                  <c:v>40463</c:v>
                </c:pt>
                <c:pt idx="598">
                  <c:v>40464</c:v>
                </c:pt>
                <c:pt idx="599">
                  <c:v>40465</c:v>
                </c:pt>
                <c:pt idx="600">
                  <c:v>40466</c:v>
                </c:pt>
                <c:pt idx="601">
                  <c:v>40469</c:v>
                </c:pt>
                <c:pt idx="602">
                  <c:v>40470</c:v>
                </c:pt>
                <c:pt idx="603">
                  <c:v>40471</c:v>
                </c:pt>
                <c:pt idx="604">
                  <c:v>40472</c:v>
                </c:pt>
                <c:pt idx="605">
                  <c:v>40473</c:v>
                </c:pt>
                <c:pt idx="606">
                  <c:v>40476</c:v>
                </c:pt>
                <c:pt idx="607">
                  <c:v>40477</c:v>
                </c:pt>
                <c:pt idx="608">
                  <c:v>40478</c:v>
                </c:pt>
                <c:pt idx="609">
                  <c:v>40479</c:v>
                </c:pt>
                <c:pt idx="610">
                  <c:v>40480</c:v>
                </c:pt>
                <c:pt idx="611">
                  <c:v>40483</c:v>
                </c:pt>
                <c:pt idx="612">
                  <c:v>40484</c:v>
                </c:pt>
                <c:pt idx="613">
                  <c:v>40485</c:v>
                </c:pt>
                <c:pt idx="614">
                  <c:v>40486</c:v>
                </c:pt>
                <c:pt idx="615">
                  <c:v>40487</c:v>
                </c:pt>
                <c:pt idx="616">
                  <c:v>40490</c:v>
                </c:pt>
                <c:pt idx="617">
                  <c:v>40491</c:v>
                </c:pt>
                <c:pt idx="618">
                  <c:v>40492</c:v>
                </c:pt>
                <c:pt idx="619">
                  <c:v>40493</c:v>
                </c:pt>
                <c:pt idx="620">
                  <c:v>40494</c:v>
                </c:pt>
                <c:pt idx="621">
                  <c:v>40497</c:v>
                </c:pt>
                <c:pt idx="622">
                  <c:v>40498</c:v>
                </c:pt>
                <c:pt idx="623">
                  <c:v>40499</c:v>
                </c:pt>
                <c:pt idx="624">
                  <c:v>40500</c:v>
                </c:pt>
                <c:pt idx="625">
                  <c:v>40501</c:v>
                </c:pt>
                <c:pt idx="626">
                  <c:v>40504</c:v>
                </c:pt>
                <c:pt idx="627">
                  <c:v>40505</c:v>
                </c:pt>
                <c:pt idx="628">
                  <c:v>40506</c:v>
                </c:pt>
                <c:pt idx="629">
                  <c:v>40508</c:v>
                </c:pt>
                <c:pt idx="630">
                  <c:v>40511</c:v>
                </c:pt>
                <c:pt idx="631">
                  <c:v>40512</c:v>
                </c:pt>
                <c:pt idx="632">
                  <c:v>40513</c:v>
                </c:pt>
                <c:pt idx="633">
                  <c:v>40514</c:v>
                </c:pt>
                <c:pt idx="634">
                  <c:v>40515</c:v>
                </c:pt>
                <c:pt idx="635">
                  <c:v>40518</c:v>
                </c:pt>
                <c:pt idx="636">
                  <c:v>40519</c:v>
                </c:pt>
                <c:pt idx="637">
                  <c:v>40520</c:v>
                </c:pt>
                <c:pt idx="638">
                  <c:v>40521</c:v>
                </c:pt>
                <c:pt idx="639">
                  <c:v>40522</c:v>
                </c:pt>
                <c:pt idx="640">
                  <c:v>40525</c:v>
                </c:pt>
                <c:pt idx="641">
                  <c:v>40526</c:v>
                </c:pt>
                <c:pt idx="642">
                  <c:v>40527</c:v>
                </c:pt>
                <c:pt idx="643">
                  <c:v>40528</c:v>
                </c:pt>
                <c:pt idx="644">
                  <c:v>40529</c:v>
                </c:pt>
                <c:pt idx="645">
                  <c:v>40532</c:v>
                </c:pt>
                <c:pt idx="646">
                  <c:v>40533</c:v>
                </c:pt>
                <c:pt idx="647">
                  <c:v>40534</c:v>
                </c:pt>
                <c:pt idx="648">
                  <c:v>40535</c:v>
                </c:pt>
                <c:pt idx="649">
                  <c:v>40539</c:v>
                </c:pt>
                <c:pt idx="650">
                  <c:v>40540</c:v>
                </c:pt>
                <c:pt idx="651">
                  <c:v>40541</c:v>
                </c:pt>
                <c:pt idx="652">
                  <c:v>40542</c:v>
                </c:pt>
                <c:pt idx="653">
                  <c:v>40543</c:v>
                </c:pt>
                <c:pt idx="654">
                  <c:v>40546</c:v>
                </c:pt>
                <c:pt idx="655">
                  <c:v>40547</c:v>
                </c:pt>
                <c:pt idx="656">
                  <c:v>40548</c:v>
                </c:pt>
                <c:pt idx="657">
                  <c:v>40549</c:v>
                </c:pt>
                <c:pt idx="658">
                  <c:v>40550</c:v>
                </c:pt>
                <c:pt idx="659">
                  <c:v>40553</c:v>
                </c:pt>
                <c:pt idx="660">
                  <c:v>40554</c:v>
                </c:pt>
                <c:pt idx="661">
                  <c:v>40555</c:v>
                </c:pt>
                <c:pt idx="662">
                  <c:v>40556</c:v>
                </c:pt>
                <c:pt idx="663">
                  <c:v>40557</c:v>
                </c:pt>
                <c:pt idx="664">
                  <c:v>40561</c:v>
                </c:pt>
                <c:pt idx="665">
                  <c:v>40562</c:v>
                </c:pt>
                <c:pt idx="666">
                  <c:v>40563</c:v>
                </c:pt>
                <c:pt idx="667">
                  <c:v>40564</c:v>
                </c:pt>
                <c:pt idx="668">
                  <c:v>40567</c:v>
                </c:pt>
                <c:pt idx="669">
                  <c:v>40568</c:v>
                </c:pt>
                <c:pt idx="670">
                  <c:v>40569</c:v>
                </c:pt>
                <c:pt idx="671">
                  <c:v>40570</c:v>
                </c:pt>
                <c:pt idx="672">
                  <c:v>40571</c:v>
                </c:pt>
                <c:pt idx="673">
                  <c:v>40574</c:v>
                </c:pt>
                <c:pt idx="674">
                  <c:v>40575</c:v>
                </c:pt>
                <c:pt idx="675">
                  <c:v>40576</c:v>
                </c:pt>
                <c:pt idx="676">
                  <c:v>40577</c:v>
                </c:pt>
                <c:pt idx="677">
                  <c:v>40578</c:v>
                </c:pt>
                <c:pt idx="678">
                  <c:v>40581</c:v>
                </c:pt>
                <c:pt idx="679">
                  <c:v>40582</c:v>
                </c:pt>
                <c:pt idx="680">
                  <c:v>40583</c:v>
                </c:pt>
                <c:pt idx="681">
                  <c:v>40584</c:v>
                </c:pt>
                <c:pt idx="682">
                  <c:v>40585</c:v>
                </c:pt>
                <c:pt idx="683">
                  <c:v>40588</c:v>
                </c:pt>
                <c:pt idx="684">
                  <c:v>40589</c:v>
                </c:pt>
                <c:pt idx="685">
                  <c:v>40590</c:v>
                </c:pt>
                <c:pt idx="686">
                  <c:v>40591</c:v>
                </c:pt>
                <c:pt idx="687">
                  <c:v>40592</c:v>
                </c:pt>
                <c:pt idx="688">
                  <c:v>40596</c:v>
                </c:pt>
                <c:pt idx="689">
                  <c:v>40597</c:v>
                </c:pt>
                <c:pt idx="690">
                  <c:v>40598</c:v>
                </c:pt>
                <c:pt idx="691">
                  <c:v>40599</c:v>
                </c:pt>
                <c:pt idx="692">
                  <c:v>40602</c:v>
                </c:pt>
                <c:pt idx="693">
                  <c:v>40603</c:v>
                </c:pt>
                <c:pt idx="694">
                  <c:v>40604</c:v>
                </c:pt>
                <c:pt idx="695">
                  <c:v>40605</c:v>
                </c:pt>
                <c:pt idx="696">
                  <c:v>40606</c:v>
                </c:pt>
                <c:pt idx="697">
                  <c:v>40609</c:v>
                </c:pt>
                <c:pt idx="698">
                  <c:v>40610</c:v>
                </c:pt>
                <c:pt idx="699">
                  <c:v>40611</c:v>
                </c:pt>
                <c:pt idx="700">
                  <c:v>40612</c:v>
                </c:pt>
                <c:pt idx="701">
                  <c:v>40613</c:v>
                </c:pt>
                <c:pt idx="702">
                  <c:v>40616</c:v>
                </c:pt>
                <c:pt idx="703">
                  <c:v>40617</c:v>
                </c:pt>
                <c:pt idx="704">
                  <c:v>40618</c:v>
                </c:pt>
                <c:pt idx="705">
                  <c:v>40619</c:v>
                </c:pt>
                <c:pt idx="706">
                  <c:v>40620</c:v>
                </c:pt>
                <c:pt idx="707">
                  <c:v>40623</c:v>
                </c:pt>
                <c:pt idx="708">
                  <c:v>40624</c:v>
                </c:pt>
                <c:pt idx="709">
                  <c:v>40625</c:v>
                </c:pt>
                <c:pt idx="710">
                  <c:v>40626</c:v>
                </c:pt>
                <c:pt idx="711">
                  <c:v>40627</c:v>
                </c:pt>
                <c:pt idx="712">
                  <c:v>40630</c:v>
                </c:pt>
                <c:pt idx="713">
                  <c:v>40631</c:v>
                </c:pt>
                <c:pt idx="714">
                  <c:v>40632</c:v>
                </c:pt>
                <c:pt idx="715">
                  <c:v>40633</c:v>
                </c:pt>
                <c:pt idx="716">
                  <c:v>40634</c:v>
                </c:pt>
                <c:pt idx="717">
                  <c:v>40637</c:v>
                </c:pt>
                <c:pt idx="718">
                  <c:v>40638</c:v>
                </c:pt>
                <c:pt idx="719">
                  <c:v>40639</c:v>
                </c:pt>
                <c:pt idx="720">
                  <c:v>40640</c:v>
                </c:pt>
                <c:pt idx="721">
                  <c:v>40641</c:v>
                </c:pt>
                <c:pt idx="722">
                  <c:v>40644</c:v>
                </c:pt>
                <c:pt idx="723">
                  <c:v>40645</c:v>
                </c:pt>
                <c:pt idx="724">
                  <c:v>40646</c:v>
                </c:pt>
                <c:pt idx="725">
                  <c:v>40647</c:v>
                </c:pt>
                <c:pt idx="726">
                  <c:v>40648</c:v>
                </c:pt>
                <c:pt idx="727">
                  <c:v>40651</c:v>
                </c:pt>
                <c:pt idx="728">
                  <c:v>40652</c:v>
                </c:pt>
                <c:pt idx="729">
                  <c:v>40653</c:v>
                </c:pt>
                <c:pt idx="730">
                  <c:v>40654</c:v>
                </c:pt>
                <c:pt idx="731">
                  <c:v>40658</c:v>
                </c:pt>
                <c:pt idx="732">
                  <c:v>40659</c:v>
                </c:pt>
                <c:pt idx="733">
                  <c:v>40660</c:v>
                </c:pt>
                <c:pt idx="734">
                  <c:v>40661</c:v>
                </c:pt>
                <c:pt idx="735">
                  <c:v>40662</c:v>
                </c:pt>
                <c:pt idx="736">
                  <c:v>40665</c:v>
                </c:pt>
                <c:pt idx="737">
                  <c:v>40666</c:v>
                </c:pt>
                <c:pt idx="738">
                  <c:v>40667</c:v>
                </c:pt>
                <c:pt idx="739">
                  <c:v>40668</c:v>
                </c:pt>
                <c:pt idx="740">
                  <c:v>40669</c:v>
                </c:pt>
                <c:pt idx="741">
                  <c:v>40672</c:v>
                </c:pt>
                <c:pt idx="742">
                  <c:v>40673</c:v>
                </c:pt>
                <c:pt idx="743">
                  <c:v>40674</c:v>
                </c:pt>
                <c:pt idx="744">
                  <c:v>40675</c:v>
                </c:pt>
                <c:pt idx="745">
                  <c:v>40676</c:v>
                </c:pt>
                <c:pt idx="746">
                  <c:v>40679</c:v>
                </c:pt>
                <c:pt idx="747">
                  <c:v>40680</c:v>
                </c:pt>
                <c:pt idx="748">
                  <c:v>40681</c:v>
                </c:pt>
                <c:pt idx="749">
                  <c:v>40682</c:v>
                </c:pt>
                <c:pt idx="750">
                  <c:v>40683</c:v>
                </c:pt>
                <c:pt idx="751">
                  <c:v>40686</c:v>
                </c:pt>
                <c:pt idx="752">
                  <c:v>40687</c:v>
                </c:pt>
                <c:pt idx="753">
                  <c:v>40688</c:v>
                </c:pt>
                <c:pt idx="754">
                  <c:v>40689</c:v>
                </c:pt>
                <c:pt idx="755">
                  <c:v>40690</c:v>
                </c:pt>
                <c:pt idx="756">
                  <c:v>40694</c:v>
                </c:pt>
                <c:pt idx="757">
                  <c:v>40695</c:v>
                </c:pt>
                <c:pt idx="758">
                  <c:v>40696</c:v>
                </c:pt>
                <c:pt idx="759">
                  <c:v>40697</c:v>
                </c:pt>
                <c:pt idx="760">
                  <c:v>40700</c:v>
                </c:pt>
                <c:pt idx="761">
                  <c:v>40701</c:v>
                </c:pt>
                <c:pt idx="762">
                  <c:v>40702</c:v>
                </c:pt>
                <c:pt idx="763">
                  <c:v>40703</c:v>
                </c:pt>
                <c:pt idx="764">
                  <c:v>40704</c:v>
                </c:pt>
                <c:pt idx="765">
                  <c:v>40707</c:v>
                </c:pt>
                <c:pt idx="766">
                  <c:v>40708</c:v>
                </c:pt>
                <c:pt idx="767">
                  <c:v>40709</c:v>
                </c:pt>
                <c:pt idx="768">
                  <c:v>40710</c:v>
                </c:pt>
                <c:pt idx="769">
                  <c:v>40711</c:v>
                </c:pt>
                <c:pt idx="770">
                  <c:v>40714</c:v>
                </c:pt>
                <c:pt idx="771">
                  <c:v>40715</c:v>
                </c:pt>
                <c:pt idx="772">
                  <c:v>40716</c:v>
                </c:pt>
                <c:pt idx="773">
                  <c:v>40717</c:v>
                </c:pt>
                <c:pt idx="774">
                  <c:v>40718</c:v>
                </c:pt>
                <c:pt idx="775">
                  <c:v>40721</c:v>
                </c:pt>
                <c:pt idx="776">
                  <c:v>40722</c:v>
                </c:pt>
                <c:pt idx="777">
                  <c:v>40723</c:v>
                </c:pt>
                <c:pt idx="778">
                  <c:v>40724</c:v>
                </c:pt>
                <c:pt idx="779">
                  <c:v>40725</c:v>
                </c:pt>
                <c:pt idx="780">
                  <c:v>40729</c:v>
                </c:pt>
                <c:pt idx="781">
                  <c:v>40730</c:v>
                </c:pt>
                <c:pt idx="782">
                  <c:v>40731</c:v>
                </c:pt>
                <c:pt idx="783">
                  <c:v>40732</c:v>
                </c:pt>
                <c:pt idx="784">
                  <c:v>40735</c:v>
                </c:pt>
                <c:pt idx="785">
                  <c:v>40736</c:v>
                </c:pt>
                <c:pt idx="786">
                  <c:v>40737</c:v>
                </c:pt>
                <c:pt idx="787">
                  <c:v>40738</c:v>
                </c:pt>
                <c:pt idx="788">
                  <c:v>40739</c:v>
                </c:pt>
                <c:pt idx="789">
                  <c:v>40742</c:v>
                </c:pt>
                <c:pt idx="790">
                  <c:v>40743</c:v>
                </c:pt>
                <c:pt idx="791">
                  <c:v>40744</c:v>
                </c:pt>
                <c:pt idx="792">
                  <c:v>40745</c:v>
                </c:pt>
                <c:pt idx="793">
                  <c:v>40746</c:v>
                </c:pt>
                <c:pt idx="794">
                  <c:v>40749</c:v>
                </c:pt>
                <c:pt idx="795">
                  <c:v>40750</c:v>
                </c:pt>
                <c:pt idx="796">
                  <c:v>40751</c:v>
                </c:pt>
                <c:pt idx="797">
                  <c:v>40752</c:v>
                </c:pt>
                <c:pt idx="798">
                  <c:v>40753</c:v>
                </c:pt>
                <c:pt idx="799">
                  <c:v>40756</c:v>
                </c:pt>
                <c:pt idx="800">
                  <c:v>40757</c:v>
                </c:pt>
                <c:pt idx="801">
                  <c:v>40758</c:v>
                </c:pt>
                <c:pt idx="802">
                  <c:v>40759</c:v>
                </c:pt>
                <c:pt idx="803">
                  <c:v>40760</c:v>
                </c:pt>
                <c:pt idx="804">
                  <c:v>40763</c:v>
                </c:pt>
                <c:pt idx="805">
                  <c:v>40764</c:v>
                </c:pt>
                <c:pt idx="806">
                  <c:v>40765</c:v>
                </c:pt>
                <c:pt idx="807">
                  <c:v>40766</c:v>
                </c:pt>
                <c:pt idx="808">
                  <c:v>40767</c:v>
                </c:pt>
                <c:pt idx="809">
                  <c:v>40770</c:v>
                </c:pt>
                <c:pt idx="810">
                  <c:v>40771</c:v>
                </c:pt>
                <c:pt idx="811">
                  <c:v>40772</c:v>
                </c:pt>
                <c:pt idx="812">
                  <c:v>40773</c:v>
                </c:pt>
                <c:pt idx="813">
                  <c:v>40774</c:v>
                </c:pt>
                <c:pt idx="814">
                  <c:v>40777</c:v>
                </c:pt>
                <c:pt idx="815">
                  <c:v>40778</c:v>
                </c:pt>
                <c:pt idx="816">
                  <c:v>40779</c:v>
                </c:pt>
                <c:pt idx="817">
                  <c:v>40780</c:v>
                </c:pt>
                <c:pt idx="818">
                  <c:v>40781</c:v>
                </c:pt>
                <c:pt idx="819">
                  <c:v>40784</c:v>
                </c:pt>
                <c:pt idx="820">
                  <c:v>40785</c:v>
                </c:pt>
                <c:pt idx="821">
                  <c:v>40786</c:v>
                </c:pt>
                <c:pt idx="822">
                  <c:v>40787</c:v>
                </c:pt>
                <c:pt idx="823">
                  <c:v>40788</c:v>
                </c:pt>
                <c:pt idx="824">
                  <c:v>40792</c:v>
                </c:pt>
                <c:pt idx="825">
                  <c:v>40793</c:v>
                </c:pt>
                <c:pt idx="826">
                  <c:v>40794</c:v>
                </c:pt>
                <c:pt idx="827">
                  <c:v>40795</c:v>
                </c:pt>
                <c:pt idx="828">
                  <c:v>40798</c:v>
                </c:pt>
                <c:pt idx="829">
                  <c:v>40799</c:v>
                </c:pt>
                <c:pt idx="830">
                  <c:v>40800</c:v>
                </c:pt>
                <c:pt idx="831">
                  <c:v>40801</c:v>
                </c:pt>
                <c:pt idx="832">
                  <c:v>40802</c:v>
                </c:pt>
                <c:pt idx="833">
                  <c:v>40805</c:v>
                </c:pt>
                <c:pt idx="834">
                  <c:v>40806</c:v>
                </c:pt>
                <c:pt idx="835">
                  <c:v>40807</c:v>
                </c:pt>
                <c:pt idx="836">
                  <c:v>40808</c:v>
                </c:pt>
                <c:pt idx="837">
                  <c:v>40809</c:v>
                </c:pt>
                <c:pt idx="838">
                  <c:v>40812</c:v>
                </c:pt>
                <c:pt idx="839">
                  <c:v>40813</c:v>
                </c:pt>
                <c:pt idx="840">
                  <c:v>40814</c:v>
                </c:pt>
                <c:pt idx="841">
                  <c:v>40815</c:v>
                </c:pt>
                <c:pt idx="842">
                  <c:v>40816</c:v>
                </c:pt>
                <c:pt idx="843">
                  <c:v>40819</c:v>
                </c:pt>
                <c:pt idx="844">
                  <c:v>40820</c:v>
                </c:pt>
                <c:pt idx="845">
                  <c:v>40821</c:v>
                </c:pt>
                <c:pt idx="846">
                  <c:v>40822</c:v>
                </c:pt>
                <c:pt idx="847">
                  <c:v>40823</c:v>
                </c:pt>
                <c:pt idx="848">
                  <c:v>40826</c:v>
                </c:pt>
                <c:pt idx="849">
                  <c:v>40827</c:v>
                </c:pt>
                <c:pt idx="850">
                  <c:v>40828</c:v>
                </c:pt>
                <c:pt idx="851">
                  <c:v>40829</c:v>
                </c:pt>
                <c:pt idx="852">
                  <c:v>40830</c:v>
                </c:pt>
                <c:pt idx="853">
                  <c:v>40833</c:v>
                </c:pt>
                <c:pt idx="854">
                  <c:v>40834</c:v>
                </c:pt>
                <c:pt idx="855">
                  <c:v>40835</c:v>
                </c:pt>
                <c:pt idx="856">
                  <c:v>40836</c:v>
                </c:pt>
                <c:pt idx="857">
                  <c:v>40837</c:v>
                </c:pt>
                <c:pt idx="858">
                  <c:v>40840</c:v>
                </c:pt>
                <c:pt idx="859">
                  <c:v>40841</c:v>
                </c:pt>
                <c:pt idx="860">
                  <c:v>40842</c:v>
                </c:pt>
                <c:pt idx="861">
                  <c:v>40843</c:v>
                </c:pt>
                <c:pt idx="862">
                  <c:v>40844</c:v>
                </c:pt>
                <c:pt idx="863">
                  <c:v>40847</c:v>
                </c:pt>
                <c:pt idx="864">
                  <c:v>40848</c:v>
                </c:pt>
                <c:pt idx="865">
                  <c:v>40849</c:v>
                </c:pt>
                <c:pt idx="866">
                  <c:v>40850</c:v>
                </c:pt>
                <c:pt idx="867">
                  <c:v>40851</c:v>
                </c:pt>
                <c:pt idx="868">
                  <c:v>40854</c:v>
                </c:pt>
                <c:pt idx="869">
                  <c:v>40855</c:v>
                </c:pt>
                <c:pt idx="870">
                  <c:v>40856</c:v>
                </c:pt>
                <c:pt idx="871">
                  <c:v>40857</c:v>
                </c:pt>
                <c:pt idx="872">
                  <c:v>40858</c:v>
                </c:pt>
                <c:pt idx="873">
                  <c:v>40861</c:v>
                </c:pt>
                <c:pt idx="874">
                  <c:v>40862</c:v>
                </c:pt>
                <c:pt idx="875">
                  <c:v>40863</c:v>
                </c:pt>
                <c:pt idx="876">
                  <c:v>40864</c:v>
                </c:pt>
                <c:pt idx="877">
                  <c:v>40865</c:v>
                </c:pt>
                <c:pt idx="878">
                  <c:v>40868</c:v>
                </c:pt>
                <c:pt idx="879">
                  <c:v>40869</c:v>
                </c:pt>
                <c:pt idx="880">
                  <c:v>40870</c:v>
                </c:pt>
                <c:pt idx="881">
                  <c:v>40872</c:v>
                </c:pt>
                <c:pt idx="882">
                  <c:v>40875</c:v>
                </c:pt>
                <c:pt idx="883">
                  <c:v>40876</c:v>
                </c:pt>
                <c:pt idx="884">
                  <c:v>40877</c:v>
                </c:pt>
                <c:pt idx="885">
                  <c:v>40878</c:v>
                </c:pt>
                <c:pt idx="886">
                  <c:v>40879</c:v>
                </c:pt>
                <c:pt idx="887">
                  <c:v>40882</c:v>
                </c:pt>
                <c:pt idx="888">
                  <c:v>40883</c:v>
                </c:pt>
                <c:pt idx="889">
                  <c:v>40884</c:v>
                </c:pt>
                <c:pt idx="890">
                  <c:v>40885</c:v>
                </c:pt>
                <c:pt idx="891">
                  <c:v>40886</c:v>
                </c:pt>
                <c:pt idx="892">
                  <c:v>40889</c:v>
                </c:pt>
                <c:pt idx="893">
                  <c:v>40890</c:v>
                </c:pt>
                <c:pt idx="894">
                  <c:v>40891</c:v>
                </c:pt>
                <c:pt idx="895">
                  <c:v>40892</c:v>
                </c:pt>
                <c:pt idx="896">
                  <c:v>40893</c:v>
                </c:pt>
                <c:pt idx="897">
                  <c:v>40896</c:v>
                </c:pt>
                <c:pt idx="898">
                  <c:v>40897</c:v>
                </c:pt>
                <c:pt idx="899">
                  <c:v>40898</c:v>
                </c:pt>
                <c:pt idx="900">
                  <c:v>40899</c:v>
                </c:pt>
                <c:pt idx="901">
                  <c:v>40900</c:v>
                </c:pt>
                <c:pt idx="902">
                  <c:v>40904</c:v>
                </c:pt>
                <c:pt idx="903">
                  <c:v>40905</c:v>
                </c:pt>
                <c:pt idx="904">
                  <c:v>40906</c:v>
                </c:pt>
                <c:pt idx="905">
                  <c:v>40907</c:v>
                </c:pt>
                <c:pt idx="906">
                  <c:v>40911</c:v>
                </c:pt>
                <c:pt idx="907">
                  <c:v>40912</c:v>
                </c:pt>
                <c:pt idx="908">
                  <c:v>40913</c:v>
                </c:pt>
                <c:pt idx="909">
                  <c:v>40914</c:v>
                </c:pt>
                <c:pt idx="910">
                  <c:v>40917</c:v>
                </c:pt>
                <c:pt idx="911">
                  <c:v>40918</c:v>
                </c:pt>
                <c:pt idx="912">
                  <c:v>40919</c:v>
                </c:pt>
                <c:pt idx="913">
                  <c:v>40920</c:v>
                </c:pt>
                <c:pt idx="914">
                  <c:v>40921</c:v>
                </c:pt>
                <c:pt idx="915">
                  <c:v>40925</c:v>
                </c:pt>
                <c:pt idx="916">
                  <c:v>40926</c:v>
                </c:pt>
                <c:pt idx="917">
                  <c:v>40927</c:v>
                </c:pt>
                <c:pt idx="918">
                  <c:v>40928</c:v>
                </c:pt>
                <c:pt idx="919">
                  <c:v>40931</c:v>
                </c:pt>
                <c:pt idx="920">
                  <c:v>40932</c:v>
                </c:pt>
                <c:pt idx="921">
                  <c:v>40933</c:v>
                </c:pt>
                <c:pt idx="922">
                  <c:v>40934</c:v>
                </c:pt>
                <c:pt idx="923">
                  <c:v>40935</c:v>
                </c:pt>
                <c:pt idx="924">
                  <c:v>40938</c:v>
                </c:pt>
                <c:pt idx="925">
                  <c:v>40939</c:v>
                </c:pt>
                <c:pt idx="926">
                  <c:v>40940</c:v>
                </c:pt>
                <c:pt idx="927">
                  <c:v>40941</c:v>
                </c:pt>
                <c:pt idx="928">
                  <c:v>40942</c:v>
                </c:pt>
                <c:pt idx="929">
                  <c:v>40945</c:v>
                </c:pt>
                <c:pt idx="930">
                  <c:v>40946</c:v>
                </c:pt>
                <c:pt idx="931">
                  <c:v>40947</c:v>
                </c:pt>
                <c:pt idx="932">
                  <c:v>40948</c:v>
                </c:pt>
                <c:pt idx="933">
                  <c:v>40949</c:v>
                </c:pt>
                <c:pt idx="934">
                  <c:v>40952</c:v>
                </c:pt>
                <c:pt idx="935">
                  <c:v>40953</c:v>
                </c:pt>
                <c:pt idx="936">
                  <c:v>40954</c:v>
                </c:pt>
                <c:pt idx="937">
                  <c:v>40955</c:v>
                </c:pt>
                <c:pt idx="938">
                  <c:v>40956</c:v>
                </c:pt>
                <c:pt idx="939">
                  <c:v>40960</c:v>
                </c:pt>
                <c:pt idx="940">
                  <c:v>40961</c:v>
                </c:pt>
                <c:pt idx="941">
                  <c:v>40962</c:v>
                </c:pt>
                <c:pt idx="942">
                  <c:v>40963</c:v>
                </c:pt>
                <c:pt idx="943">
                  <c:v>40966</c:v>
                </c:pt>
                <c:pt idx="944">
                  <c:v>40967</c:v>
                </c:pt>
                <c:pt idx="945">
                  <c:v>40968</c:v>
                </c:pt>
                <c:pt idx="946">
                  <c:v>40969</c:v>
                </c:pt>
                <c:pt idx="947">
                  <c:v>40970</c:v>
                </c:pt>
                <c:pt idx="948">
                  <c:v>40973</c:v>
                </c:pt>
                <c:pt idx="949">
                  <c:v>40974</c:v>
                </c:pt>
                <c:pt idx="950">
                  <c:v>40975</c:v>
                </c:pt>
                <c:pt idx="951">
                  <c:v>40976</c:v>
                </c:pt>
                <c:pt idx="952">
                  <c:v>40977</c:v>
                </c:pt>
                <c:pt idx="953">
                  <c:v>40980</c:v>
                </c:pt>
                <c:pt idx="954">
                  <c:v>40981</c:v>
                </c:pt>
                <c:pt idx="955">
                  <c:v>40982</c:v>
                </c:pt>
                <c:pt idx="956">
                  <c:v>40983</c:v>
                </c:pt>
                <c:pt idx="957">
                  <c:v>40984</c:v>
                </c:pt>
                <c:pt idx="958">
                  <c:v>40987</c:v>
                </c:pt>
                <c:pt idx="959">
                  <c:v>40988</c:v>
                </c:pt>
                <c:pt idx="960">
                  <c:v>40989</c:v>
                </c:pt>
                <c:pt idx="961">
                  <c:v>40990</c:v>
                </c:pt>
                <c:pt idx="962">
                  <c:v>40991</c:v>
                </c:pt>
                <c:pt idx="963">
                  <c:v>40994</c:v>
                </c:pt>
                <c:pt idx="964">
                  <c:v>40995</c:v>
                </c:pt>
                <c:pt idx="965">
                  <c:v>40996</c:v>
                </c:pt>
                <c:pt idx="966">
                  <c:v>40997</c:v>
                </c:pt>
                <c:pt idx="967">
                  <c:v>40998</c:v>
                </c:pt>
                <c:pt idx="968">
                  <c:v>41001</c:v>
                </c:pt>
                <c:pt idx="969">
                  <c:v>41002</c:v>
                </c:pt>
                <c:pt idx="970">
                  <c:v>41003</c:v>
                </c:pt>
                <c:pt idx="971">
                  <c:v>41004</c:v>
                </c:pt>
                <c:pt idx="972">
                  <c:v>41008</c:v>
                </c:pt>
                <c:pt idx="973">
                  <c:v>41009</c:v>
                </c:pt>
                <c:pt idx="974">
                  <c:v>41010</c:v>
                </c:pt>
                <c:pt idx="975">
                  <c:v>41011</c:v>
                </c:pt>
                <c:pt idx="976">
                  <c:v>41012</c:v>
                </c:pt>
                <c:pt idx="977">
                  <c:v>41015</c:v>
                </c:pt>
                <c:pt idx="978">
                  <c:v>41016</c:v>
                </c:pt>
                <c:pt idx="979">
                  <c:v>41017</c:v>
                </c:pt>
                <c:pt idx="980">
                  <c:v>41018</c:v>
                </c:pt>
                <c:pt idx="981">
                  <c:v>41019</c:v>
                </c:pt>
                <c:pt idx="982">
                  <c:v>41022</c:v>
                </c:pt>
                <c:pt idx="983">
                  <c:v>41023</c:v>
                </c:pt>
                <c:pt idx="984">
                  <c:v>41024</c:v>
                </c:pt>
                <c:pt idx="985">
                  <c:v>41025</c:v>
                </c:pt>
                <c:pt idx="986">
                  <c:v>41026</c:v>
                </c:pt>
                <c:pt idx="987">
                  <c:v>41029</c:v>
                </c:pt>
                <c:pt idx="988">
                  <c:v>41030</c:v>
                </c:pt>
                <c:pt idx="989">
                  <c:v>41031</c:v>
                </c:pt>
                <c:pt idx="990">
                  <c:v>41032</c:v>
                </c:pt>
                <c:pt idx="991">
                  <c:v>41033</c:v>
                </c:pt>
                <c:pt idx="992">
                  <c:v>41036</c:v>
                </c:pt>
                <c:pt idx="993">
                  <c:v>41037</c:v>
                </c:pt>
                <c:pt idx="994">
                  <c:v>41038</c:v>
                </c:pt>
                <c:pt idx="995">
                  <c:v>41039</c:v>
                </c:pt>
                <c:pt idx="996">
                  <c:v>41040</c:v>
                </c:pt>
                <c:pt idx="997">
                  <c:v>41043</c:v>
                </c:pt>
                <c:pt idx="998">
                  <c:v>41044</c:v>
                </c:pt>
                <c:pt idx="999">
                  <c:v>41045</c:v>
                </c:pt>
                <c:pt idx="1000">
                  <c:v>41046</c:v>
                </c:pt>
                <c:pt idx="1001">
                  <c:v>41047</c:v>
                </c:pt>
                <c:pt idx="1002">
                  <c:v>41050</c:v>
                </c:pt>
                <c:pt idx="1003">
                  <c:v>41051</c:v>
                </c:pt>
                <c:pt idx="1004">
                  <c:v>41052</c:v>
                </c:pt>
                <c:pt idx="1005">
                  <c:v>41053</c:v>
                </c:pt>
                <c:pt idx="1006">
                  <c:v>41054</c:v>
                </c:pt>
                <c:pt idx="1007">
                  <c:v>41058</c:v>
                </c:pt>
                <c:pt idx="1008">
                  <c:v>41059</c:v>
                </c:pt>
                <c:pt idx="1009">
                  <c:v>41060</c:v>
                </c:pt>
                <c:pt idx="1010">
                  <c:v>41061</c:v>
                </c:pt>
                <c:pt idx="1011">
                  <c:v>41064</c:v>
                </c:pt>
                <c:pt idx="1012">
                  <c:v>41065</c:v>
                </c:pt>
                <c:pt idx="1013">
                  <c:v>41066</c:v>
                </c:pt>
                <c:pt idx="1014">
                  <c:v>41067</c:v>
                </c:pt>
                <c:pt idx="1015">
                  <c:v>41068</c:v>
                </c:pt>
                <c:pt idx="1016">
                  <c:v>41071</c:v>
                </c:pt>
                <c:pt idx="1017">
                  <c:v>41072</c:v>
                </c:pt>
                <c:pt idx="1018">
                  <c:v>41073</c:v>
                </c:pt>
                <c:pt idx="1019">
                  <c:v>41074</c:v>
                </c:pt>
                <c:pt idx="1020">
                  <c:v>41075</c:v>
                </c:pt>
                <c:pt idx="1021">
                  <c:v>41078</c:v>
                </c:pt>
                <c:pt idx="1022">
                  <c:v>41079</c:v>
                </c:pt>
                <c:pt idx="1023">
                  <c:v>41080</c:v>
                </c:pt>
                <c:pt idx="1024">
                  <c:v>41081</c:v>
                </c:pt>
                <c:pt idx="1025">
                  <c:v>41082</c:v>
                </c:pt>
                <c:pt idx="1026">
                  <c:v>41085</c:v>
                </c:pt>
                <c:pt idx="1027">
                  <c:v>41086</c:v>
                </c:pt>
                <c:pt idx="1028">
                  <c:v>41087</c:v>
                </c:pt>
                <c:pt idx="1029">
                  <c:v>41088</c:v>
                </c:pt>
                <c:pt idx="1030">
                  <c:v>41089</c:v>
                </c:pt>
                <c:pt idx="1031">
                  <c:v>41092</c:v>
                </c:pt>
                <c:pt idx="1032">
                  <c:v>41093</c:v>
                </c:pt>
                <c:pt idx="1033">
                  <c:v>41095</c:v>
                </c:pt>
                <c:pt idx="1034">
                  <c:v>41096</c:v>
                </c:pt>
                <c:pt idx="1035">
                  <c:v>41099</c:v>
                </c:pt>
                <c:pt idx="1036">
                  <c:v>41100</c:v>
                </c:pt>
                <c:pt idx="1037">
                  <c:v>41101</c:v>
                </c:pt>
                <c:pt idx="1038">
                  <c:v>41102</c:v>
                </c:pt>
                <c:pt idx="1039">
                  <c:v>41103</c:v>
                </c:pt>
                <c:pt idx="1040">
                  <c:v>41106</c:v>
                </c:pt>
                <c:pt idx="1041">
                  <c:v>41107</c:v>
                </c:pt>
                <c:pt idx="1042">
                  <c:v>41108</c:v>
                </c:pt>
                <c:pt idx="1043">
                  <c:v>41109</c:v>
                </c:pt>
                <c:pt idx="1044">
                  <c:v>41110</c:v>
                </c:pt>
                <c:pt idx="1045">
                  <c:v>41113</c:v>
                </c:pt>
                <c:pt idx="1046">
                  <c:v>41114</c:v>
                </c:pt>
                <c:pt idx="1047">
                  <c:v>41115</c:v>
                </c:pt>
                <c:pt idx="1048">
                  <c:v>41116</c:v>
                </c:pt>
                <c:pt idx="1049">
                  <c:v>41117</c:v>
                </c:pt>
                <c:pt idx="1050">
                  <c:v>41120</c:v>
                </c:pt>
                <c:pt idx="1051">
                  <c:v>41121</c:v>
                </c:pt>
                <c:pt idx="1052">
                  <c:v>41122</c:v>
                </c:pt>
                <c:pt idx="1053">
                  <c:v>41123</c:v>
                </c:pt>
                <c:pt idx="1054">
                  <c:v>41124</c:v>
                </c:pt>
                <c:pt idx="1055">
                  <c:v>41127</c:v>
                </c:pt>
                <c:pt idx="1056">
                  <c:v>41128</c:v>
                </c:pt>
                <c:pt idx="1057">
                  <c:v>41129</c:v>
                </c:pt>
                <c:pt idx="1058">
                  <c:v>41130</c:v>
                </c:pt>
                <c:pt idx="1059">
                  <c:v>41131</c:v>
                </c:pt>
                <c:pt idx="1060">
                  <c:v>41134</c:v>
                </c:pt>
                <c:pt idx="1061">
                  <c:v>41135</c:v>
                </c:pt>
                <c:pt idx="1062">
                  <c:v>41136</c:v>
                </c:pt>
                <c:pt idx="1063">
                  <c:v>41137</c:v>
                </c:pt>
                <c:pt idx="1064">
                  <c:v>41138</c:v>
                </c:pt>
                <c:pt idx="1065">
                  <c:v>41141</c:v>
                </c:pt>
                <c:pt idx="1066">
                  <c:v>41142</c:v>
                </c:pt>
                <c:pt idx="1067">
                  <c:v>41143</c:v>
                </c:pt>
                <c:pt idx="1068">
                  <c:v>41144</c:v>
                </c:pt>
                <c:pt idx="1069">
                  <c:v>41145</c:v>
                </c:pt>
                <c:pt idx="1070">
                  <c:v>41148</c:v>
                </c:pt>
                <c:pt idx="1071">
                  <c:v>41149</c:v>
                </c:pt>
                <c:pt idx="1072">
                  <c:v>41150</c:v>
                </c:pt>
                <c:pt idx="1073">
                  <c:v>41151</c:v>
                </c:pt>
                <c:pt idx="1074">
                  <c:v>41152</c:v>
                </c:pt>
                <c:pt idx="1075">
                  <c:v>41156</c:v>
                </c:pt>
                <c:pt idx="1076">
                  <c:v>41157</c:v>
                </c:pt>
                <c:pt idx="1077">
                  <c:v>41158</c:v>
                </c:pt>
                <c:pt idx="1078">
                  <c:v>41159</c:v>
                </c:pt>
                <c:pt idx="1079">
                  <c:v>41162</c:v>
                </c:pt>
                <c:pt idx="1080">
                  <c:v>41163</c:v>
                </c:pt>
                <c:pt idx="1081">
                  <c:v>41164</c:v>
                </c:pt>
                <c:pt idx="1082">
                  <c:v>41165</c:v>
                </c:pt>
                <c:pt idx="1083">
                  <c:v>41166</c:v>
                </c:pt>
                <c:pt idx="1084">
                  <c:v>41169</c:v>
                </c:pt>
                <c:pt idx="1085">
                  <c:v>41170</c:v>
                </c:pt>
                <c:pt idx="1086">
                  <c:v>41171</c:v>
                </c:pt>
                <c:pt idx="1087">
                  <c:v>41172</c:v>
                </c:pt>
                <c:pt idx="1088">
                  <c:v>41173</c:v>
                </c:pt>
                <c:pt idx="1089">
                  <c:v>41176</c:v>
                </c:pt>
                <c:pt idx="1090">
                  <c:v>41177</c:v>
                </c:pt>
                <c:pt idx="1091">
                  <c:v>41178</c:v>
                </c:pt>
                <c:pt idx="1092">
                  <c:v>41179</c:v>
                </c:pt>
                <c:pt idx="1093">
                  <c:v>41180</c:v>
                </c:pt>
                <c:pt idx="1094">
                  <c:v>41183</c:v>
                </c:pt>
                <c:pt idx="1095">
                  <c:v>41184</c:v>
                </c:pt>
                <c:pt idx="1096">
                  <c:v>41185</c:v>
                </c:pt>
                <c:pt idx="1097">
                  <c:v>41186</c:v>
                </c:pt>
                <c:pt idx="1098">
                  <c:v>41187</c:v>
                </c:pt>
                <c:pt idx="1099">
                  <c:v>41190</c:v>
                </c:pt>
                <c:pt idx="1100">
                  <c:v>41191</c:v>
                </c:pt>
                <c:pt idx="1101">
                  <c:v>41192</c:v>
                </c:pt>
                <c:pt idx="1102">
                  <c:v>41193</c:v>
                </c:pt>
                <c:pt idx="1103">
                  <c:v>41194</c:v>
                </c:pt>
                <c:pt idx="1104">
                  <c:v>41197</c:v>
                </c:pt>
                <c:pt idx="1105">
                  <c:v>41198</c:v>
                </c:pt>
                <c:pt idx="1106">
                  <c:v>41199</c:v>
                </c:pt>
                <c:pt idx="1107">
                  <c:v>41200</c:v>
                </c:pt>
                <c:pt idx="1108">
                  <c:v>41201</c:v>
                </c:pt>
                <c:pt idx="1109">
                  <c:v>41204</c:v>
                </c:pt>
                <c:pt idx="1110">
                  <c:v>41205</c:v>
                </c:pt>
                <c:pt idx="1111">
                  <c:v>41206</c:v>
                </c:pt>
                <c:pt idx="1112">
                  <c:v>41207</c:v>
                </c:pt>
                <c:pt idx="1113">
                  <c:v>41208</c:v>
                </c:pt>
                <c:pt idx="1114">
                  <c:v>41213</c:v>
                </c:pt>
                <c:pt idx="1115">
                  <c:v>41214</c:v>
                </c:pt>
                <c:pt idx="1116">
                  <c:v>41215</c:v>
                </c:pt>
                <c:pt idx="1117">
                  <c:v>41218</c:v>
                </c:pt>
                <c:pt idx="1118">
                  <c:v>41219</c:v>
                </c:pt>
                <c:pt idx="1119">
                  <c:v>41220</c:v>
                </c:pt>
                <c:pt idx="1120">
                  <c:v>41221</c:v>
                </c:pt>
                <c:pt idx="1121">
                  <c:v>41222</c:v>
                </c:pt>
                <c:pt idx="1122">
                  <c:v>41225</c:v>
                </c:pt>
                <c:pt idx="1123">
                  <c:v>41226</c:v>
                </c:pt>
                <c:pt idx="1124">
                  <c:v>41227</c:v>
                </c:pt>
                <c:pt idx="1125">
                  <c:v>41228</c:v>
                </c:pt>
                <c:pt idx="1126">
                  <c:v>41229</c:v>
                </c:pt>
                <c:pt idx="1127">
                  <c:v>41232</c:v>
                </c:pt>
                <c:pt idx="1128">
                  <c:v>41233</c:v>
                </c:pt>
                <c:pt idx="1129">
                  <c:v>41234</c:v>
                </c:pt>
                <c:pt idx="1130">
                  <c:v>41236</c:v>
                </c:pt>
                <c:pt idx="1131">
                  <c:v>41239</c:v>
                </c:pt>
                <c:pt idx="1132">
                  <c:v>41240</c:v>
                </c:pt>
                <c:pt idx="1133">
                  <c:v>41241</c:v>
                </c:pt>
                <c:pt idx="1134">
                  <c:v>41242</c:v>
                </c:pt>
                <c:pt idx="1135">
                  <c:v>41243</c:v>
                </c:pt>
                <c:pt idx="1136">
                  <c:v>41246</c:v>
                </c:pt>
                <c:pt idx="1137">
                  <c:v>41247</c:v>
                </c:pt>
                <c:pt idx="1138">
                  <c:v>41248</c:v>
                </c:pt>
                <c:pt idx="1139">
                  <c:v>41249</c:v>
                </c:pt>
                <c:pt idx="1140">
                  <c:v>41250</c:v>
                </c:pt>
                <c:pt idx="1141">
                  <c:v>41253</c:v>
                </c:pt>
                <c:pt idx="1142">
                  <c:v>41254</c:v>
                </c:pt>
                <c:pt idx="1143">
                  <c:v>41255</c:v>
                </c:pt>
                <c:pt idx="1144">
                  <c:v>41256</c:v>
                </c:pt>
                <c:pt idx="1145">
                  <c:v>41257</c:v>
                </c:pt>
                <c:pt idx="1146">
                  <c:v>41260</c:v>
                </c:pt>
                <c:pt idx="1147">
                  <c:v>41261</c:v>
                </c:pt>
                <c:pt idx="1148">
                  <c:v>41262</c:v>
                </c:pt>
                <c:pt idx="1149">
                  <c:v>41263</c:v>
                </c:pt>
                <c:pt idx="1150">
                  <c:v>41264</c:v>
                </c:pt>
                <c:pt idx="1151">
                  <c:v>41267</c:v>
                </c:pt>
                <c:pt idx="1152">
                  <c:v>41269</c:v>
                </c:pt>
                <c:pt idx="1153">
                  <c:v>41270</c:v>
                </c:pt>
                <c:pt idx="1154">
                  <c:v>41271</c:v>
                </c:pt>
                <c:pt idx="1155">
                  <c:v>41274</c:v>
                </c:pt>
                <c:pt idx="1156">
                  <c:v>41276</c:v>
                </c:pt>
                <c:pt idx="1157">
                  <c:v>41277</c:v>
                </c:pt>
                <c:pt idx="1158">
                  <c:v>41278</c:v>
                </c:pt>
                <c:pt idx="1159">
                  <c:v>41281</c:v>
                </c:pt>
                <c:pt idx="1160">
                  <c:v>41282</c:v>
                </c:pt>
                <c:pt idx="1161">
                  <c:v>41283</c:v>
                </c:pt>
                <c:pt idx="1162">
                  <c:v>41284</c:v>
                </c:pt>
                <c:pt idx="1163">
                  <c:v>41285</c:v>
                </c:pt>
                <c:pt idx="1164">
                  <c:v>41288</c:v>
                </c:pt>
                <c:pt idx="1165">
                  <c:v>41289</c:v>
                </c:pt>
                <c:pt idx="1166">
                  <c:v>41290</c:v>
                </c:pt>
                <c:pt idx="1167">
                  <c:v>41291</c:v>
                </c:pt>
                <c:pt idx="1168">
                  <c:v>41292</c:v>
                </c:pt>
                <c:pt idx="1169">
                  <c:v>41296</c:v>
                </c:pt>
                <c:pt idx="1170">
                  <c:v>41297</c:v>
                </c:pt>
                <c:pt idx="1171">
                  <c:v>41298</c:v>
                </c:pt>
                <c:pt idx="1172">
                  <c:v>41299</c:v>
                </c:pt>
                <c:pt idx="1173">
                  <c:v>41302</c:v>
                </c:pt>
                <c:pt idx="1174">
                  <c:v>41303</c:v>
                </c:pt>
                <c:pt idx="1175">
                  <c:v>41304</c:v>
                </c:pt>
                <c:pt idx="1176">
                  <c:v>41305</c:v>
                </c:pt>
                <c:pt idx="1177">
                  <c:v>41306</c:v>
                </c:pt>
                <c:pt idx="1178">
                  <c:v>41309</c:v>
                </c:pt>
                <c:pt idx="1179">
                  <c:v>41310</c:v>
                </c:pt>
                <c:pt idx="1180">
                  <c:v>41311</c:v>
                </c:pt>
                <c:pt idx="1181">
                  <c:v>41312</c:v>
                </c:pt>
                <c:pt idx="1182">
                  <c:v>41313</c:v>
                </c:pt>
                <c:pt idx="1183">
                  <c:v>41316</c:v>
                </c:pt>
                <c:pt idx="1184">
                  <c:v>41317</c:v>
                </c:pt>
                <c:pt idx="1185">
                  <c:v>41318</c:v>
                </c:pt>
                <c:pt idx="1186">
                  <c:v>41319</c:v>
                </c:pt>
                <c:pt idx="1187">
                  <c:v>41320</c:v>
                </c:pt>
                <c:pt idx="1188">
                  <c:v>41324</c:v>
                </c:pt>
                <c:pt idx="1189">
                  <c:v>41325</c:v>
                </c:pt>
                <c:pt idx="1190">
                  <c:v>41326</c:v>
                </c:pt>
                <c:pt idx="1191">
                  <c:v>41327</c:v>
                </c:pt>
                <c:pt idx="1192">
                  <c:v>41330</c:v>
                </c:pt>
                <c:pt idx="1193">
                  <c:v>41331</c:v>
                </c:pt>
                <c:pt idx="1194">
                  <c:v>41332</c:v>
                </c:pt>
                <c:pt idx="1195">
                  <c:v>41333</c:v>
                </c:pt>
                <c:pt idx="1196">
                  <c:v>41334</c:v>
                </c:pt>
                <c:pt idx="1197">
                  <c:v>41337</c:v>
                </c:pt>
                <c:pt idx="1198">
                  <c:v>41338</c:v>
                </c:pt>
                <c:pt idx="1199">
                  <c:v>41339</c:v>
                </c:pt>
                <c:pt idx="1200">
                  <c:v>41340</c:v>
                </c:pt>
                <c:pt idx="1201">
                  <c:v>41341</c:v>
                </c:pt>
                <c:pt idx="1202">
                  <c:v>41344</c:v>
                </c:pt>
                <c:pt idx="1203">
                  <c:v>41345</c:v>
                </c:pt>
                <c:pt idx="1204">
                  <c:v>41346</c:v>
                </c:pt>
                <c:pt idx="1205">
                  <c:v>41347</c:v>
                </c:pt>
                <c:pt idx="1206">
                  <c:v>41348</c:v>
                </c:pt>
                <c:pt idx="1207">
                  <c:v>41351</c:v>
                </c:pt>
                <c:pt idx="1208">
                  <c:v>41352</c:v>
                </c:pt>
                <c:pt idx="1209">
                  <c:v>41353</c:v>
                </c:pt>
                <c:pt idx="1210">
                  <c:v>41354</c:v>
                </c:pt>
                <c:pt idx="1211">
                  <c:v>41355</c:v>
                </c:pt>
                <c:pt idx="1212">
                  <c:v>41358</c:v>
                </c:pt>
                <c:pt idx="1213">
                  <c:v>41359</c:v>
                </c:pt>
                <c:pt idx="1214">
                  <c:v>41360</c:v>
                </c:pt>
                <c:pt idx="1215">
                  <c:v>41361</c:v>
                </c:pt>
                <c:pt idx="1216">
                  <c:v>41365</c:v>
                </c:pt>
                <c:pt idx="1217">
                  <c:v>41366</c:v>
                </c:pt>
                <c:pt idx="1218">
                  <c:v>41367</c:v>
                </c:pt>
                <c:pt idx="1219">
                  <c:v>41368</c:v>
                </c:pt>
                <c:pt idx="1220">
                  <c:v>41369</c:v>
                </c:pt>
                <c:pt idx="1221">
                  <c:v>41372</c:v>
                </c:pt>
                <c:pt idx="1222">
                  <c:v>41373</c:v>
                </c:pt>
                <c:pt idx="1223">
                  <c:v>41374</c:v>
                </c:pt>
                <c:pt idx="1224">
                  <c:v>41375</c:v>
                </c:pt>
                <c:pt idx="1225">
                  <c:v>41376</c:v>
                </c:pt>
                <c:pt idx="1226">
                  <c:v>41379</c:v>
                </c:pt>
                <c:pt idx="1227">
                  <c:v>41380</c:v>
                </c:pt>
                <c:pt idx="1228">
                  <c:v>41381</c:v>
                </c:pt>
                <c:pt idx="1229">
                  <c:v>41382</c:v>
                </c:pt>
                <c:pt idx="1230">
                  <c:v>41383</c:v>
                </c:pt>
                <c:pt idx="1231">
                  <c:v>41386</c:v>
                </c:pt>
                <c:pt idx="1232">
                  <c:v>41387</c:v>
                </c:pt>
                <c:pt idx="1233">
                  <c:v>41388</c:v>
                </c:pt>
                <c:pt idx="1234">
                  <c:v>41389</c:v>
                </c:pt>
                <c:pt idx="1235">
                  <c:v>41390</c:v>
                </c:pt>
                <c:pt idx="1236">
                  <c:v>41393</c:v>
                </c:pt>
                <c:pt idx="1237">
                  <c:v>41394</c:v>
                </c:pt>
                <c:pt idx="1238">
                  <c:v>41395</c:v>
                </c:pt>
                <c:pt idx="1239">
                  <c:v>41396</c:v>
                </c:pt>
                <c:pt idx="1240">
                  <c:v>41397</c:v>
                </c:pt>
                <c:pt idx="1241">
                  <c:v>41400</c:v>
                </c:pt>
                <c:pt idx="1242">
                  <c:v>41401</c:v>
                </c:pt>
                <c:pt idx="1243">
                  <c:v>41402</c:v>
                </c:pt>
                <c:pt idx="1244">
                  <c:v>41403</c:v>
                </c:pt>
                <c:pt idx="1245">
                  <c:v>41404</c:v>
                </c:pt>
                <c:pt idx="1246">
                  <c:v>41407</c:v>
                </c:pt>
                <c:pt idx="1247">
                  <c:v>41408</c:v>
                </c:pt>
                <c:pt idx="1248">
                  <c:v>41409</c:v>
                </c:pt>
                <c:pt idx="1249">
                  <c:v>41410</c:v>
                </c:pt>
                <c:pt idx="1250">
                  <c:v>41411</c:v>
                </c:pt>
                <c:pt idx="1251">
                  <c:v>41414</c:v>
                </c:pt>
                <c:pt idx="1252">
                  <c:v>41415</c:v>
                </c:pt>
                <c:pt idx="1253">
                  <c:v>41416</c:v>
                </c:pt>
                <c:pt idx="1254">
                  <c:v>41417</c:v>
                </c:pt>
                <c:pt idx="1255">
                  <c:v>41418</c:v>
                </c:pt>
                <c:pt idx="1256">
                  <c:v>41422</c:v>
                </c:pt>
                <c:pt idx="1257">
                  <c:v>41423</c:v>
                </c:pt>
                <c:pt idx="1258">
                  <c:v>41424</c:v>
                </c:pt>
                <c:pt idx="1259">
                  <c:v>41425</c:v>
                </c:pt>
                <c:pt idx="1260">
                  <c:v>41428</c:v>
                </c:pt>
                <c:pt idx="1261">
                  <c:v>41429</c:v>
                </c:pt>
                <c:pt idx="1262">
                  <c:v>41430</c:v>
                </c:pt>
                <c:pt idx="1263">
                  <c:v>41431</c:v>
                </c:pt>
                <c:pt idx="1264">
                  <c:v>41432</c:v>
                </c:pt>
                <c:pt idx="1265">
                  <c:v>41435</c:v>
                </c:pt>
                <c:pt idx="1266">
                  <c:v>41436</c:v>
                </c:pt>
                <c:pt idx="1267">
                  <c:v>41437</c:v>
                </c:pt>
                <c:pt idx="1268">
                  <c:v>41438</c:v>
                </c:pt>
                <c:pt idx="1269">
                  <c:v>41439</c:v>
                </c:pt>
                <c:pt idx="1270">
                  <c:v>41442</c:v>
                </c:pt>
                <c:pt idx="1271">
                  <c:v>41443</c:v>
                </c:pt>
                <c:pt idx="1272">
                  <c:v>41444</c:v>
                </c:pt>
                <c:pt idx="1273">
                  <c:v>41445</c:v>
                </c:pt>
                <c:pt idx="1274">
                  <c:v>41446</c:v>
                </c:pt>
                <c:pt idx="1275">
                  <c:v>41449</c:v>
                </c:pt>
                <c:pt idx="1276">
                  <c:v>41450</c:v>
                </c:pt>
                <c:pt idx="1277">
                  <c:v>41451</c:v>
                </c:pt>
                <c:pt idx="1278">
                  <c:v>41452</c:v>
                </c:pt>
                <c:pt idx="1279">
                  <c:v>41453</c:v>
                </c:pt>
                <c:pt idx="1280">
                  <c:v>41456</c:v>
                </c:pt>
                <c:pt idx="1281">
                  <c:v>41457</c:v>
                </c:pt>
                <c:pt idx="1282">
                  <c:v>41458</c:v>
                </c:pt>
                <c:pt idx="1283">
                  <c:v>41460</c:v>
                </c:pt>
                <c:pt idx="1284">
                  <c:v>41463</c:v>
                </c:pt>
                <c:pt idx="1285">
                  <c:v>41464</c:v>
                </c:pt>
                <c:pt idx="1286">
                  <c:v>41465</c:v>
                </c:pt>
                <c:pt idx="1287">
                  <c:v>41466</c:v>
                </c:pt>
                <c:pt idx="1288">
                  <c:v>41467</c:v>
                </c:pt>
                <c:pt idx="1289">
                  <c:v>41470</c:v>
                </c:pt>
                <c:pt idx="1290">
                  <c:v>41471</c:v>
                </c:pt>
                <c:pt idx="1291">
                  <c:v>41472</c:v>
                </c:pt>
                <c:pt idx="1292">
                  <c:v>41473</c:v>
                </c:pt>
                <c:pt idx="1293">
                  <c:v>41474</c:v>
                </c:pt>
                <c:pt idx="1294">
                  <c:v>41477</c:v>
                </c:pt>
                <c:pt idx="1295">
                  <c:v>41478</c:v>
                </c:pt>
                <c:pt idx="1296">
                  <c:v>41479</c:v>
                </c:pt>
                <c:pt idx="1297">
                  <c:v>41480</c:v>
                </c:pt>
                <c:pt idx="1298">
                  <c:v>41481</c:v>
                </c:pt>
                <c:pt idx="1299">
                  <c:v>41484</c:v>
                </c:pt>
                <c:pt idx="1300">
                  <c:v>41485</c:v>
                </c:pt>
                <c:pt idx="1301">
                  <c:v>41486</c:v>
                </c:pt>
                <c:pt idx="1302">
                  <c:v>41487</c:v>
                </c:pt>
                <c:pt idx="1303">
                  <c:v>41488</c:v>
                </c:pt>
                <c:pt idx="1304">
                  <c:v>41491</c:v>
                </c:pt>
                <c:pt idx="1305">
                  <c:v>41492</c:v>
                </c:pt>
                <c:pt idx="1306">
                  <c:v>41493</c:v>
                </c:pt>
                <c:pt idx="1307">
                  <c:v>41494</c:v>
                </c:pt>
                <c:pt idx="1308">
                  <c:v>41495</c:v>
                </c:pt>
                <c:pt idx="1309">
                  <c:v>41498</c:v>
                </c:pt>
                <c:pt idx="1310">
                  <c:v>41499</c:v>
                </c:pt>
                <c:pt idx="1311">
                  <c:v>41500</c:v>
                </c:pt>
                <c:pt idx="1312">
                  <c:v>41501</c:v>
                </c:pt>
                <c:pt idx="1313">
                  <c:v>41502</c:v>
                </c:pt>
                <c:pt idx="1314">
                  <c:v>41505</c:v>
                </c:pt>
                <c:pt idx="1315">
                  <c:v>41506</c:v>
                </c:pt>
                <c:pt idx="1316">
                  <c:v>41507</c:v>
                </c:pt>
                <c:pt idx="1317">
                  <c:v>41508</c:v>
                </c:pt>
                <c:pt idx="1318">
                  <c:v>41509</c:v>
                </c:pt>
                <c:pt idx="1319">
                  <c:v>41512</c:v>
                </c:pt>
                <c:pt idx="1320">
                  <c:v>41513</c:v>
                </c:pt>
                <c:pt idx="1321">
                  <c:v>41514</c:v>
                </c:pt>
                <c:pt idx="1322">
                  <c:v>41515</c:v>
                </c:pt>
                <c:pt idx="1323">
                  <c:v>41516</c:v>
                </c:pt>
                <c:pt idx="1324">
                  <c:v>41520</c:v>
                </c:pt>
                <c:pt idx="1325">
                  <c:v>41521</c:v>
                </c:pt>
                <c:pt idx="1326">
                  <c:v>41522</c:v>
                </c:pt>
                <c:pt idx="1327">
                  <c:v>41523</c:v>
                </c:pt>
                <c:pt idx="1328">
                  <c:v>41526</c:v>
                </c:pt>
                <c:pt idx="1329">
                  <c:v>41527</c:v>
                </c:pt>
                <c:pt idx="1330">
                  <c:v>41528</c:v>
                </c:pt>
                <c:pt idx="1331">
                  <c:v>41529</c:v>
                </c:pt>
                <c:pt idx="1332">
                  <c:v>41530</c:v>
                </c:pt>
                <c:pt idx="1333">
                  <c:v>41533</c:v>
                </c:pt>
                <c:pt idx="1334">
                  <c:v>41534</c:v>
                </c:pt>
                <c:pt idx="1335">
                  <c:v>41535</c:v>
                </c:pt>
                <c:pt idx="1336">
                  <c:v>41536</c:v>
                </c:pt>
                <c:pt idx="1337">
                  <c:v>41537</c:v>
                </c:pt>
                <c:pt idx="1338">
                  <c:v>41540</c:v>
                </c:pt>
                <c:pt idx="1339">
                  <c:v>41541</c:v>
                </c:pt>
                <c:pt idx="1340">
                  <c:v>41542</c:v>
                </c:pt>
                <c:pt idx="1341">
                  <c:v>41543</c:v>
                </c:pt>
                <c:pt idx="1342">
                  <c:v>41544</c:v>
                </c:pt>
                <c:pt idx="1343">
                  <c:v>41547</c:v>
                </c:pt>
                <c:pt idx="1344">
                  <c:v>41548</c:v>
                </c:pt>
                <c:pt idx="1345">
                  <c:v>41549</c:v>
                </c:pt>
                <c:pt idx="1346">
                  <c:v>41550</c:v>
                </c:pt>
                <c:pt idx="1347">
                  <c:v>41551</c:v>
                </c:pt>
                <c:pt idx="1348">
                  <c:v>41554</c:v>
                </c:pt>
                <c:pt idx="1349">
                  <c:v>41555</c:v>
                </c:pt>
                <c:pt idx="1350">
                  <c:v>41556</c:v>
                </c:pt>
                <c:pt idx="1351">
                  <c:v>41557</c:v>
                </c:pt>
                <c:pt idx="1352">
                  <c:v>41558</c:v>
                </c:pt>
                <c:pt idx="1353">
                  <c:v>41561</c:v>
                </c:pt>
                <c:pt idx="1354">
                  <c:v>41562</c:v>
                </c:pt>
                <c:pt idx="1355">
                  <c:v>41563</c:v>
                </c:pt>
                <c:pt idx="1356">
                  <c:v>41564</c:v>
                </c:pt>
                <c:pt idx="1357">
                  <c:v>41565</c:v>
                </c:pt>
                <c:pt idx="1358">
                  <c:v>41568</c:v>
                </c:pt>
                <c:pt idx="1359">
                  <c:v>41569</c:v>
                </c:pt>
                <c:pt idx="1360">
                  <c:v>41570</c:v>
                </c:pt>
                <c:pt idx="1361">
                  <c:v>41571</c:v>
                </c:pt>
                <c:pt idx="1362">
                  <c:v>41572</c:v>
                </c:pt>
                <c:pt idx="1363">
                  <c:v>41575</c:v>
                </c:pt>
                <c:pt idx="1364">
                  <c:v>41576</c:v>
                </c:pt>
                <c:pt idx="1365">
                  <c:v>41577</c:v>
                </c:pt>
                <c:pt idx="1366">
                  <c:v>41578</c:v>
                </c:pt>
                <c:pt idx="1367">
                  <c:v>41579</c:v>
                </c:pt>
                <c:pt idx="1368">
                  <c:v>41582</c:v>
                </c:pt>
                <c:pt idx="1369">
                  <c:v>41583</c:v>
                </c:pt>
                <c:pt idx="1370">
                  <c:v>41584</c:v>
                </c:pt>
                <c:pt idx="1371">
                  <c:v>41585</c:v>
                </c:pt>
                <c:pt idx="1372">
                  <c:v>41586</c:v>
                </c:pt>
                <c:pt idx="1373">
                  <c:v>41589</c:v>
                </c:pt>
                <c:pt idx="1374">
                  <c:v>41590</c:v>
                </c:pt>
                <c:pt idx="1375">
                  <c:v>41591</c:v>
                </c:pt>
                <c:pt idx="1376">
                  <c:v>41592</c:v>
                </c:pt>
                <c:pt idx="1377">
                  <c:v>41593</c:v>
                </c:pt>
                <c:pt idx="1378">
                  <c:v>41596</c:v>
                </c:pt>
                <c:pt idx="1379">
                  <c:v>41597</c:v>
                </c:pt>
                <c:pt idx="1380">
                  <c:v>41598</c:v>
                </c:pt>
                <c:pt idx="1381">
                  <c:v>41599</c:v>
                </c:pt>
                <c:pt idx="1382">
                  <c:v>41600</c:v>
                </c:pt>
                <c:pt idx="1383">
                  <c:v>41603</c:v>
                </c:pt>
                <c:pt idx="1384">
                  <c:v>41604</c:v>
                </c:pt>
                <c:pt idx="1385">
                  <c:v>41605</c:v>
                </c:pt>
                <c:pt idx="1386">
                  <c:v>41607</c:v>
                </c:pt>
                <c:pt idx="1387">
                  <c:v>41610</c:v>
                </c:pt>
                <c:pt idx="1388">
                  <c:v>41611</c:v>
                </c:pt>
                <c:pt idx="1389">
                  <c:v>41612</c:v>
                </c:pt>
                <c:pt idx="1390">
                  <c:v>41613</c:v>
                </c:pt>
                <c:pt idx="1391">
                  <c:v>41614</c:v>
                </c:pt>
                <c:pt idx="1392">
                  <c:v>41617</c:v>
                </c:pt>
                <c:pt idx="1393">
                  <c:v>41618</c:v>
                </c:pt>
                <c:pt idx="1394">
                  <c:v>41619</c:v>
                </c:pt>
                <c:pt idx="1395">
                  <c:v>41620</c:v>
                </c:pt>
                <c:pt idx="1396">
                  <c:v>41621</c:v>
                </c:pt>
                <c:pt idx="1397">
                  <c:v>41624</c:v>
                </c:pt>
                <c:pt idx="1398">
                  <c:v>41625</c:v>
                </c:pt>
                <c:pt idx="1399">
                  <c:v>41626</c:v>
                </c:pt>
                <c:pt idx="1400">
                  <c:v>41627</c:v>
                </c:pt>
                <c:pt idx="1401">
                  <c:v>41628</c:v>
                </c:pt>
                <c:pt idx="1402">
                  <c:v>41631</c:v>
                </c:pt>
                <c:pt idx="1403">
                  <c:v>41632</c:v>
                </c:pt>
                <c:pt idx="1404">
                  <c:v>41634</c:v>
                </c:pt>
                <c:pt idx="1405">
                  <c:v>41635</c:v>
                </c:pt>
                <c:pt idx="1406">
                  <c:v>41638</c:v>
                </c:pt>
                <c:pt idx="1407">
                  <c:v>41639</c:v>
                </c:pt>
                <c:pt idx="1408">
                  <c:v>41641</c:v>
                </c:pt>
                <c:pt idx="1409">
                  <c:v>41642</c:v>
                </c:pt>
                <c:pt idx="1410">
                  <c:v>41645</c:v>
                </c:pt>
                <c:pt idx="1411">
                  <c:v>41646</c:v>
                </c:pt>
                <c:pt idx="1412">
                  <c:v>41647</c:v>
                </c:pt>
                <c:pt idx="1413">
                  <c:v>41648</c:v>
                </c:pt>
                <c:pt idx="1414">
                  <c:v>41649</c:v>
                </c:pt>
                <c:pt idx="1415">
                  <c:v>41652</c:v>
                </c:pt>
                <c:pt idx="1416">
                  <c:v>41653</c:v>
                </c:pt>
                <c:pt idx="1417">
                  <c:v>41654</c:v>
                </c:pt>
                <c:pt idx="1418">
                  <c:v>41655</c:v>
                </c:pt>
                <c:pt idx="1419">
                  <c:v>41656</c:v>
                </c:pt>
                <c:pt idx="1420">
                  <c:v>41660</c:v>
                </c:pt>
                <c:pt idx="1421">
                  <c:v>41661</c:v>
                </c:pt>
                <c:pt idx="1422">
                  <c:v>41662</c:v>
                </c:pt>
                <c:pt idx="1423">
                  <c:v>41663</c:v>
                </c:pt>
                <c:pt idx="1424">
                  <c:v>41666</c:v>
                </c:pt>
                <c:pt idx="1425">
                  <c:v>41667</c:v>
                </c:pt>
                <c:pt idx="1426">
                  <c:v>41668</c:v>
                </c:pt>
                <c:pt idx="1427">
                  <c:v>41669</c:v>
                </c:pt>
                <c:pt idx="1428">
                  <c:v>41670</c:v>
                </c:pt>
                <c:pt idx="1429">
                  <c:v>41673</c:v>
                </c:pt>
                <c:pt idx="1430">
                  <c:v>41674</c:v>
                </c:pt>
                <c:pt idx="1431">
                  <c:v>41675</c:v>
                </c:pt>
                <c:pt idx="1432">
                  <c:v>41676</c:v>
                </c:pt>
                <c:pt idx="1433">
                  <c:v>41677</c:v>
                </c:pt>
                <c:pt idx="1434">
                  <c:v>41680</c:v>
                </c:pt>
                <c:pt idx="1435">
                  <c:v>41681</c:v>
                </c:pt>
                <c:pt idx="1436">
                  <c:v>41682</c:v>
                </c:pt>
                <c:pt idx="1437">
                  <c:v>41683</c:v>
                </c:pt>
                <c:pt idx="1438">
                  <c:v>41684</c:v>
                </c:pt>
                <c:pt idx="1439">
                  <c:v>41688</c:v>
                </c:pt>
                <c:pt idx="1440">
                  <c:v>41689</c:v>
                </c:pt>
                <c:pt idx="1441">
                  <c:v>41690</c:v>
                </c:pt>
                <c:pt idx="1442">
                  <c:v>41691</c:v>
                </c:pt>
                <c:pt idx="1443">
                  <c:v>41694</c:v>
                </c:pt>
                <c:pt idx="1444">
                  <c:v>41695</c:v>
                </c:pt>
                <c:pt idx="1445">
                  <c:v>41696</c:v>
                </c:pt>
                <c:pt idx="1446">
                  <c:v>41697</c:v>
                </c:pt>
                <c:pt idx="1447">
                  <c:v>41698</c:v>
                </c:pt>
                <c:pt idx="1448">
                  <c:v>41701</c:v>
                </c:pt>
                <c:pt idx="1449">
                  <c:v>41702</c:v>
                </c:pt>
                <c:pt idx="1450">
                  <c:v>41703</c:v>
                </c:pt>
                <c:pt idx="1451">
                  <c:v>41704</c:v>
                </c:pt>
                <c:pt idx="1452">
                  <c:v>41705</c:v>
                </c:pt>
                <c:pt idx="1453">
                  <c:v>41708</c:v>
                </c:pt>
                <c:pt idx="1454">
                  <c:v>41709</c:v>
                </c:pt>
                <c:pt idx="1455">
                  <c:v>41710</c:v>
                </c:pt>
                <c:pt idx="1456">
                  <c:v>41711</c:v>
                </c:pt>
                <c:pt idx="1457">
                  <c:v>41712</c:v>
                </c:pt>
                <c:pt idx="1458">
                  <c:v>41715</c:v>
                </c:pt>
                <c:pt idx="1459">
                  <c:v>41716</c:v>
                </c:pt>
                <c:pt idx="1460">
                  <c:v>41717</c:v>
                </c:pt>
                <c:pt idx="1461">
                  <c:v>41718</c:v>
                </c:pt>
                <c:pt idx="1462">
                  <c:v>41719</c:v>
                </c:pt>
                <c:pt idx="1463">
                  <c:v>41722</c:v>
                </c:pt>
                <c:pt idx="1464">
                  <c:v>41723</c:v>
                </c:pt>
                <c:pt idx="1465">
                  <c:v>41724</c:v>
                </c:pt>
                <c:pt idx="1466">
                  <c:v>41725</c:v>
                </c:pt>
                <c:pt idx="1467">
                  <c:v>41726</c:v>
                </c:pt>
                <c:pt idx="1468">
                  <c:v>41729</c:v>
                </c:pt>
                <c:pt idx="1469">
                  <c:v>41730</c:v>
                </c:pt>
                <c:pt idx="1470">
                  <c:v>41731</c:v>
                </c:pt>
                <c:pt idx="1471">
                  <c:v>41732</c:v>
                </c:pt>
                <c:pt idx="1472">
                  <c:v>41733</c:v>
                </c:pt>
                <c:pt idx="1473">
                  <c:v>41736</c:v>
                </c:pt>
                <c:pt idx="1474">
                  <c:v>41737</c:v>
                </c:pt>
                <c:pt idx="1475">
                  <c:v>41738</c:v>
                </c:pt>
                <c:pt idx="1476">
                  <c:v>41739</c:v>
                </c:pt>
                <c:pt idx="1477">
                  <c:v>41740</c:v>
                </c:pt>
                <c:pt idx="1478">
                  <c:v>41743</c:v>
                </c:pt>
                <c:pt idx="1479">
                  <c:v>41744</c:v>
                </c:pt>
                <c:pt idx="1480">
                  <c:v>41745</c:v>
                </c:pt>
                <c:pt idx="1481">
                  <c:v>41746</c:v>
                </c:pt>
                <c:pt idx="1482">
                  <c:v>41750</c:v>
                </c:pt>
                <c:pt idx="1483">
                  <c:v>41751</c:v>
                </c:pt>
                <c:pt idx="1484">
                  <c:v>41752</c:v>
                </c:pt>
                <c:pt idx="1485">
                  <c:v>41753</c:v>
                </c:pt>
                <c:pt idx="1486">
                  <c:v>41754</c:v>
                </c:pt>
                <c:pt idx="1487">
                  <c:v>41757</c:v>
                </c:pt>
                <c:pt idx="1488">
                  <c:v>41758</c:v>
                </c:pt>
                <c:pt idx="1489">
                  <c:v>41759</c:v>
                </c:pt>
                <c:pt idx="1490">
                  <c:v>41760</c:v>
                </c:pt>
                <c:pt idx="1491">
                  <c:v>41761</c:v>
                </c:pt>
                <c:pt idx="1492">
                  <c:v>41764</c:v>
                </c:pt>
                <c:pt idx="1493">
                  <c:v>41765</c:v>
                </c:pt>
                <c:pt idx="1494">
                  <c:v>41766</c:v>
                </c:pt>
                <c:pt idx="1495">
                  <c:v>41767</c:v>
                </c:pt>
                <c:pt idx="1496">
                  <c:v>41768</c:v>
                </c:pt>
                <c:pt idx="1497">
                  <c:v>41771</c:v>
                </c:pt>
                <c:pt idx="1498">
                  <c:v>41772</c:v>
                </c:pt>
                <c:pt idx="1499">
                  <c:v>41773</c:v>
                </c:pt>
                <c:pt idx="1500">
                  <c:v>41774</c:v>
                </c:pt>
                <c:pt idx="1501">
                  <c:v>41775</c:v>
                </c:pt>
                <c:pt idx="1502">
                  <c:v>41778</c:v>
                </c:pt>
                <c:pt idx="1503">
                  <c:v>41779</c:v>
                </c:pt>
                <c:pt idx="1504">
                  <c:v>41780</c:v>
                </c:pt>
                <c:pt idx="1505">
                  <c:v>41781</c:v>
                </c:pt>
                <c:pt idx="1506">
                  <c:v>41782</c:v>
                </c:pt>
                <c:pt idx="1507">
                  <c:v>41786</c:v>
                </c:pt>
                <c:pt idx="1508">
                  <c:v>41787</c:v>
                </c:pt>
                <c:pt idx="1509">
                  <c:v>41788</c:v>
                </c:pt>
                <c:pt idx="1510">
                  <c:v>41789</c:v>
                </c:pt>
                <c:pt idx="1511">
                  <c:v>41792</c:v>
                </c:pt>
                <c:pt idx="1512">
                  <c:v>41793</c:v>
                </c:pt>
                <c:pt idx="1513">
                  <c:v>41794</c:v>
                </c:pt>
                <c:pt idx="1514">
                  <c:v>41795</c:v>
                </c:pt>
                <c:pt idx="1515">
                  <c:v>41796</c:v>
                </c:pt>
                <c:pt idx="1516">
                  <c:v>41799</c:v>
                </c:pt>
                <c:pt idx="1517">
                  <c:v>41800</c:v>
                </c:pt>
                <c:pt idx="1518">
                  <c:v>41801</c:v>
                </c:pt>
                <c:pt idx="1519">
                  <c:v>41802</c:v>
                </c:pt>
                <c:pt idx="1520">
                  <c:v>41803</c:v>
                </c:pt>
                <c:pt idx="1521">
                  <c:v>41806</c:v>
                </c:pt>
                <c:pt idx="1522">
                  <c:v>41807</c:v>
                </c:pt>
                <c:pt idx="1523">
                  <c:v>41808</c:v>
                </c:pt>
                <c:pt idx="1524">
                  <c:v>41809</c:v>
                </c:pt>
                <c:pt idx="1525">
                  <c:v>41810</c:v>
                </c:pt>
                <c:pt idx="1526">
                  <c:v>41813</c:v>
                </c:pt>
                <c:pt idx="1527">
                  <c:v>41814</c:v>
                </c:pt>
                <c:pt idx="1528">
                  <c:v>41815</c:v>
                </c:pt>
                <c:pt idx="1529">
                  <c:v>41816</c:v>
                </c:pt>
                <c:pt idx="1530">
                  <c:v>41817</c:v>
                </c:pt>
                <c:pt idx="1531">
                  <c:v>41820</c:v>
                </c:pt>
                <c:pt idx="1532">
                  <c:v>41821</c:v>
                </c:pt>
                <c:pt idx="1533">
                  <c:v>41822</c:v>
                </c:pt>
                <c:pt idx="1534">
                  <c:v>41823</c:v>
                </c:pt>
                <c:pt idx="1535">
                  <c:v>41827</c:v>
                </c:pt>
                <c:pt idx="1536">
                  <c:v>41828</c:v>
                </c:pt>
                <c:pt idx="1537">
                  <c:v>41829</c:v>
                </c:pt>
                <c:pt idx="1538">
                  <c:v>41830</c:v>
                </c:pt>
                <c:pt idx="1539">
                  <c:v>41831</c:v>
                </c:pt>
                <c:pt idx="1540">
                  <c:v>41834</c:v>
                </c:pt>
                <c:pt idx="1541">
                  <c:v>41835</c:v>
                </c:pt>
                <c:pt idx="1542">
                  <c:v>41836</c:v>
                </c:pt>
                <c:pt idx="1543">
                  <c:v>41837</c:v>
                </c:pt>
                <c:pt idx="1544">
                  <c:v>41838</c:v>
                </c:pt>
                <c:pt idx="1545">
                  <c:v>41841</c:v>
                </c:pt>
                <c:pt idx="1546">
                  <c:v>41842</c:v>
                </c:pt>
                <c:pt idx="1547">
                  <c:v>41843</c:v>
                </c:pt>
                <c:pt idx="1548">
                  <c:v>41844</c:v>
                </c:pt>
                <c:pt idx="1549">
                  <c:v>41845</c:v>
                </c:pt>
                <c:pt idx="1550">
                  <c:v>41848</c:v>
                </c:pt>
                <c:pt idx="1551">
                  <c:v>41849</c:v>
                </c:pt>
                <c:pt idx="1552">
                  <c:v>41850</c:v>
                </c:pt>
                <c:pt idx="1553">
                  <c:v>41851</c:v>
                </c:pt>
                <c:pt idx="1554">
                  <c:v>41852</c:v>
                </c:pt>
                <c:pt idx="1555">
                  <c:v>41855</c:v>
                </c:pt>
                <c:pt idx="1556">
                  <c:v>41856</c:v>
                </c:pt>
                <c:pt idx="1557">
                  <c:v>41857</c:v>
                </c:pt>
                <c:pt idx="1558">
                  <c:v>41858</c:v>
                </c:pt>
                <c:pt idx="1559">
                  <c:v>41859</c:v>
                </c:pt>
                <c:pt idx="1560">
                  <c:v>41862</c:v>
                </c:pt>
                <c:pt idx="1561">
                  <c:v>41863</c:v>
                </c:pt>
                <c:pt idx="1562">
                  <c:v>41864</c:v>
                </c:pt>
                <c:pt idx="1563">
                  <c:v>41865</c:v>
                </c:pt>
                <c:pt idx="1564">
                  <c:v>41866</c:v>
                </c:pt>
                <c:pt idx="1565">
                  <c:v>41869</c:v>
                </c:pt>
                <c:pt idx="1566">
                  <c:v>41870</c:v>
                </c:pt>
                <c:pt idx="1567">
                  <c:v>41871</c:v>
                </c:pt>
                <c:pt idx="1568">
                  <c:v>41872</c:v>
                </c:pt>
                <c:pt idx="1569">
                  <c:v>41873</c:v>
                </c:pt>
                <c:pt idx="1570">
                  <c:v>41876</c:v>
                </c:pt>
                <c:pt idx="1571">
                  <c:v>41877</c:v>
                </c:pt>
                <c:pt idx="1572">
                  <c:v>41878</c:v>
                </c:pt>
                <c:pt idx="1573">
                  <c:v>41879</c:v>
                </c:pt>
                <c:pt idx="1574">
                  <c:v>41880</c:v>
                </c:pt>
                <c:pt idx="1575">
                  <c:v>41884</c:v>
                </c:pt>
                <c:pt idx="1576">
                  <c:v>41885</c:v>
                </c:pt>
                <c:pt idx="1577">
                  <c:v>41886</c:v>
                </c:pt>
                <c:pt idx="1578">
                  <c:v>41887</c:v>
                </c:pt>
                <c:pt idx="1579">
                  <c:v>41890</c:v>
                </c:pt>
                <c:pt idx="1580">
                  <c:v>41891</c:v>
                </c:pt>
                <c:pt idx="1581">
                  <c:v>41892</c:v>
                </c:pt>
                <c:pt idx="1582">
                  <c:v>41893</c:v>
                </c:pt>
                <c:pt idx="1583">
                  <c:v>41894</c:v>
                </c:pt>
                <c:pt idx="1584">
                  <c:v>41897</c:v>
                </c:pt>
                <c:pt idx="1585">
                  <c:v>41898</c:v>
                </c:pt>
                <c:pt idx="1586">
                  <c:v>41899</c:v>
                </c:pt>
                <c:pt idx="1587">
                  <c:v>41900</c:v>
                </c:pt>
                <c:pt idx="1588">
                  <c:v>41901</c:v>
                </c:pt>
                <c:pt idx="1589">
                  <c:v>41904</c:v>
                </c:pt>
                <c:pt idx="1590">
                  <c:v>41905</c:v>
                </c:pt>
                <c:pt idx="1591">
                  <c:v>41906</c:v>
                </c:pt>
                <c:pt idx="1592">
                  <c:v>41907</c:v>
                </c:pt>
                <c:pt idx="1593">
                  <c:v>41908</c:v>
                </c:pt>
                <c:pt idx="1594">
                  <c:v>41911</c:v>
                </c:pt>
                <c:pt idx="1595">
                  <c:v>41912</c:v>
                </c:pt>
                <c:pt idx="1596">
                  <c:v>41913</c:v>
                </c:pt>
                <c:pt idx="1597">
                  <c:v>41914</c:v>
                </c:pt>
                <c:pt idx="1598">
                  <c:v>41915</c:v>
                </c:pt>
                <c:pt idx="1599">
                  <c:v>41918</c:v>
                </c:pt>
                <c:pt idx="1600">
                  <c:v>41919</c:v>
                </c:pt>
                <c:pt idx="1601">
                  <c:v>41920</c:v>
                </c:pt>
                <c:pt idx="1602">
                  <c:v>41921</c:v>
                </c:pt>
                <c:pt idx="1603">
                  <c:v>41922</c:v>
                </c:pt>
                <c:pt idx="1604">
                  <c:v>41925</c:v>
                </c:pt>
                <c:pt idx="1605">
                  <c:v>41926</c:v>
                </c:pt>
                <c:pt idx="1606">
                  <c:v>41927</c:v>
                </c:pt>
                <c:pt idx="1607">
                  <c:v>41928</c:v>
                </c:pt>
                <c:pt idx="1608">
                  <c:v>41929</c:v>
                </c:pt>
                <c:pt idx="1609">
                  <c:v>41932</c:v>
                </c:pt>
                <c:pt idx="1610">
                  <c:v>41933</c:v>
                </c:pt>
                <c:pt idx="1611">
                  <c:v>41934</c:v>
                </c:pt>
                <c:pt idx="1612">
                  <c:v>41935</c:v>
                </c:pt>
                <c:pt idx="1613">
                  <c:v>41936</c:v>
                </c:pt>
                <c:pt idx="1614">
                  <c:v>41939</c:v>
                </c:pt>
                <c:pt idx="1615">
                  <c:v>41940</c:v>
                </c:pt>
                <c:pt idx="1616">
                  <c:v>41941</c:v>
                </c:pt>
                <c:pt idx="1617">
                  <c:v>41942</c:v>
                </c:pt>
                <c:pt idx="1618">
                  <c:v>41943</c:v>
                </c:pt>
                <c:pt idx="1619">
                  <c:v>41946</c:v>
                </c:pt>
                <c:pt idx="1620">
                  <c:v>41947</c:v>
                </c:pt>
                <c:pt idx="1621">
                  <c:v>41948</c:v>
                </c:pt>
                <c:pt idx="1622">
                  <c:v>41949</c:v>
                </c:pt>
                <c:pt idx="1623">
                  <c:v>41950</c:v>
                </c:pt>
                <c:pt idx="1624">
                  <c:v>41953</c:v>
                </c:pt>
                <c:pt idx="1625">
                  <c:v>41954</c:v>
                </c:pt>
                <c:pt idx="1626">
                  <c:v>41955</c:v>
                </c:pt>
                <c:pt idx="1627">
                  <c:v>41956</c:v>
                </c:pt>
                <c:pt idx="1628">
                  <c:v>41957</c:v>
                </c:pt>
                <c:pt idx="1629">
                  <c:v>41960</c:v>
                </c:pt>
                <c:pt idx="1630">
                  <c:v>41961</c:v>
                </c:pt>
                <c:pt idx="1631">
                  <c:v>41962</c:v>
                </c:pt>
                <c:pt idx="1632">
                  <c:v>41963</c:v>
                </c:pt>
                <c:pt idx="1633">
                  <c:v>41964</c:v>
                </c:pt>
                <c:pt idx="1634">
                  <c:v>41967</c:v>
                </c:pt>
                <c:pt idx="1635">
                  <c:v>41968</c:v>
                </c:pt>
                <c:pt idx="1636">
                  <c:v>41969</c:v>
                </c:pt>
                <c:pt idx="1637">
                  <c:v>41971</c:v>
                </c:pt>
                <c:pt idx="1638">
                  <c:v>41974</c:v>
                </c:pt>
                <c:pt idx="1639">
                  <c:v>41975</c:v>
                </c:pt>
                <c:pt idx="1640">
                  <c:v>41976</c:v>
                </c:pt>
                <c:pt idx="1641">
                  <c:v>41977</c:v>
                </c:pt>
                <c:pt idx="1642">
                  <c:v>41978</c:v>
                </c:pt>
                <c:pt idx="1643">
                  <c:v>41981</c:v>
                </c:pt>
                <c:pt idx="1644">
                  <c:v>41982</c:v>
                </c:pt>
                <c:pt idx="1645">
                  <c:v>41983</c:v>
                </c:pt>
                <c:pt idx="1646">
                  <c:v>41984</c:v>
                </c:pt>
                <c:pt idx="1647">
                  <c:v>41985</c:v>
                </c:pt>
                <c:pt idx="1648">
                  <c:v>41988</c:v>
                </c:pt>
                <c:pt idx="1649">
                  <c:v>41989</c:v>
                </c:pt>
                <c:pt idx="1650">
                  <c:v>41990</c:v>
                </c:pt>
                <c:pt idx="1651">
                  <c:v>41991</c:v>
                </c:pt>
                <c:pt idx="1652">
                  <c:v>41992</c:v>
                </c:pt>
                <c:pt idx="1653">
                  <c:v>41995</c:v>
                </c:pt>
                <c:pt idx="1654">
                  <c:v>41996</c:v>
                </c:pt>
                <c:pt idx="1655">
                  <c:v>41997</c:v>
                </c:pt>
                <c:pt idx="1656">
                  <c:v>41999</c:v>
                </c:pt>
                <c:pt idx="1657">
                  <c:v>42002</c:v>
                </c:pt>
                <c:pt idx="1658">
                  <c:v>42003</c:v>
                </c:pt>
                <c:pt idx="1659">
                  <c:v>42004</c:v>
                </c:pt>
                <c:pt idx="1660">
                  <c:v>42006</c:v>
                </c:pt>
                <c:pt idx="1661">
                  <c:v>42009</c:v>
                </c:pt>
                <c:pt idx="1662">
                  <c:v>42010</c:v>
                </c:pt>
                <c:pt idx="1663">
                  <c:v>42011</c:v>
                </c:pt>
                <c:pt idx="1664">
                  <c:v>42012</c:v>
                </c:pt>
                <c:pt idx="1665">
                  <c:v>42013</c:v>
                </c:pt>
                <c:pt idx="1666">
                  <c:v>42016</c:v>
                </c:pt>
                <c:pt idx="1667">
                  <c:v>42017</c:v>
                </c:pt>
                <c:pt idx="1668">
                  <c:v>42018</c:v>
                </c:pt>
                <c:pt idx="1669">
                  <c:v>42019</c:v>
                </c:pt>
                <c:pt idx="1670">
                  <c:v>42020</c:v>
                </c:pt>
                <c:pt idx="1671">
                  <c:v>42024</c:v>
                </c:pt>
                <c:pt idx="1672">
                  <c:v>42025</c:v>
                </c:pt>
                <c:pt idx="1673">
                  <c:v>42026</c:v>
                </c:pt>
                <c:pt idx="1674">
                  <c:v>42027</c:v>
                </c:pt>
                <c:pt idx="1675">
                  <c:v>42030</c:v>
                </c:pt>
                <c:pt idx="1676">
                  <c:v>42031</c:v>
                </c:pt>
                <c:pt idx="1677">
                  <c:v>42032</c:v>
                </c:pt>
                <c:pt idx="1678">
                  <c:v>42033</c:v>
                </c:pt>
                <c:pt idx="1679">
                  <c:v>42034</c:v>
                </c:pt>
                <c:pt idx="1680">
                  <c:v>42037</c:v>
                </c:pt>
                <c:pt idx="1681">
                  <c:v>42038</c:v>
                </c:pt>
                <c:pt idx="1682">
                  <c:v>42039</c:v>
                </c:pt>
                <c:pt idx="1683">
                  <c:v>42040</c:v>
                </c:pt>
                <c:pt idx="1684">
                  <c:v>42041</c:v>
                </c:pt>
                <c:pt idx="1685">
                  <c:v>42044</c:v>
                </c:pt>
                <c:pt idx="1686">
                  <c:v>42045</c:v>
                </c:pt>
                <c:pt idx="1687">
                  <c:v>42046</c:v>
                </c:pt>
                <c:pt idx="1688">
                  <c:v>42047</c:v>
                </c:pt>
                <c:pt idx="1689">
                  <c:v>42048</c:v>
                </c:pt>
                <c:pt idx="1690">
                  <c:v>42052</c:v>
                </c:pt>
                <c:pt idx="1691">
                  <c:v>42053</c:v>
                </c:pt>
                <c:pt idx="1692">
                  <c:v>42054</c:v>
                </c:pt>
                <c:pt idx="1693">
                  <c:v>42055</c:v>
                </c:pt>
                <c:pt idx="1694">
                  <c:v>42058</c:v>
                </c:pt>
                <c:pt idx="1695">
                  <c:v>42059</c:v>
                </c:pt>
                <c:pt idx="1696">
                  <c:v>42060</c:v>
                </c:pt>
                <c:pt idx="1697">
                  <c:v>42061</c:v>
                </c:pt>
                <c:pt idx="1698">
                  <c:v>42062</c:v>
                </c:pt>
                <c:pt idx="1699">
                  <c:v>42065</c:v>
                </c:pt>
                <c:pt idx="1700">
                  <c:v>42066</c:v>
                </c:pt>
                <c:pt idx="1701">
                  <c:v>42067</c:v>
                </c:pt>
                <c:pt idx="1702">
                  <c:v>42068</c:v>
                </c:pt>
                <c:pt idx="1703">
                  <c:v>42069</c:v>
                </c:pt>
                <c:pt idx="1704">
                  <c:v>42072</c:v>
                </c:pt>
                <c:pt idx="1705">
                  <c:v>42073</c:v>
                </c:pt>
                <c:pt idx="1706">
                  <c:v>42074</c:v>
                </c:pt>
                <c:pt idx="1707">
                  <c:v>42075</c:v>
                </c:pt>
                <c:pt idx="1708">
                  <c:v>42076</c:v>
                </c:pt>
                <c:pt idx="1709">
                  <c:v>42079</c:v>
                </c:pt>
                <c:pt idx="1710">
                  <c:v>42080</c:v>
                </c:pt>
                <c:pt idx="1711">
                  <c:v>42081</c:v>
                </c:pt>
                <c:pt idx="1712">
                  <c:v>42082</c:v>
                </c:pt>
                <c:pt idx="1713">
                  <c:v>42083</c:v>
                </c:pt>
                <c:pt idx="1714">
                  <c:v>42086</c:v>
                </c:pt>
                <c:pt idx="1715">
                  <c:v>42087</c:v>
                </c:pt>
                <c:pt idx="1716">
                  <c:v>42088</c:v>
                </c:pt>
                <c:pt idx="1717">
                  <c:v>42089</c:v>
                </c:pt>
                <c:pt idx="1718">
                  <c:v>42090</c:v>
                </c:pt>
                <c:pt idx="1719">
                  <c:v>42093</c:v>
                </c:pt>
                <c:pt idx="1720">
                  <c:v>42094</c:v>
                </c:pt>
                <c:pt idx="1721">
                  <c:v>42095</c:v>
                </c:pt>
                <c:pt idx="1722">
                  <c:v>42096</c:v>
                </c:pt>
                <c:pt idx="1723">
                  <c:v>42100</c:v>
                </c:pt>
                <c:pt idx="1724">
                  <c:v>42101</c:v>
                </c:pt>
                <c:pt idx="1725">
                  <c:v>42102</c:v>
                </c:pt>
                <c:pt idx="1726">
                  <c:v>42103</c:v>
                </c:pt>
                <c:pt idx="1727">
                  <c:v>42104</c:v>
                </c:pt>
                <c:pt idx="1728">
                  <c:v>42107</c:v>
                </c:pt>
                <c:pt idx="1729">
                  <c:v>42108</c:v>
                </c:pt>
                <c:pt idx="1730">
                  <c:v>42109</c:v>
                </c:pt>
                <c:pt idx="1731">
                  <c:v>42110</c:v>
                </c:pt>
                <c:pt idx="1732">
                  <c:v>42111</c:v>
                </c:pt>
                <c:pt idx="1733">
                  <c:v>42114</c:v>
                </c:pt>
                <c:pt idx="1734">
                  <c:v>42115</c:v>
                </c:pt>
                <c:pt idx="1735">
                  <c:v>42116</c:v>
                </c:pt>
                <c:pt idx="1736">
                  <c:v>42117</c:v>
                </c:pt>
                <c:pt idx="1737">
                  <c:v>42118</c:v>
                </c:pt>
                <c:pt idx="1738">
                  <c:v>42121</c:v>
                </c:pt>
                <c:pt idx="1739">
                  <c:v>42122</c:v>
                </c:pt>
                <c:pt idx="1740">
                  <c:v>42123</c:v>
                </c:pt>
                <c:pt idx="1741">
                  <c:v>42124</c:v>
                </c:pt>
                <c:pt idx="1742">
                  <c:v>42125</c:v>
                </c:pt>
                <c:pt idx="1743">
                  <c:v>42128</c:v>
                </c:pt>
                <c:pt idx="1744">
                  <c:v>42129</c:v>
                </c:pt>
                <c:pt idx="1745">
                  <c:v>42130</c:v>
                </c:pt>
                <c:pt idx="1746">
                  <c:v>42131</c:v>
                </c:pt>
                <c:pt idx="1747">
                  <c:v>42132</c:v>
                </c:pt>
                <c:pt idx="1748">
                  <c:v>42135</c:v>
                </c:pt>
                <c:pt idx="1749">
                  <c:v>42136</c:v>
                </c:pt>
                <c:pt idx="1750">
                  <c:v>42137</c:v>
                </c:pt>
                <c:pt idx="1751">
                  <c:v>42138</c:v>
                </c:pt>
                <c:pt idx="1752">
                  <c:v>42139</c:v>
                </c:pt>
                <c:pt idx="1753">
                  <c:v>42142</c:v>
                </c:pt>
                <c:pt idx="1754">
                  <c:v>42143</c:v>
                </c:pt>
                <c:pt idx="1755">
                  <c:v>42144</c:v>
                </c:pt>
                <c:pt idx="1756">
                  <c:v>42145</c:v>
                </c:pt>
                <c:pt idx="1757">
                  <c:v>42146</c:v>
                </c:pt>
                <c:pt idx="1758">
                  <c:v>42150</c:v>
                </c:pt>
                <c:pt idx="1759">
                  <c:v>42151</c:v>
                </c:pt>
                <c:pt idx="1760">
                  <c:v>42152</c:v>
                </c:pt>
                <c:pt idx="1761">
                  <c:v>42153</c:v>
                </c:pt>
                <c:pt idx="1762">
                  <c:v>42156</c:v>
                </c:pt>
                <c:pt idx="1763">
                  <c:v>42157</c:v>
                </c:pt>
                <c:pt idx="1764">
                  <c:v>42158</c:v>
                </c:pt>
                <c:pt idx="1765">
                  <c:v>42159</c:v>
                </c:pt>
                <c:pt idx="1766">
                  <c:v>42160</c:v>
                </c:pt>
                <c:pt idx="1767">
                  <c:v>42163</c:v>
                </c:pt>
                <c:pt idx="1768">
                  <c:v>42164</c:v>
                </c:pt>
                <c:pt idx="1769">
                  <c:v>42165</c:v>
                </c:pt>
                <c:pt idx="1770">
                  <c:v>42166</c:v>
                </c:pt>
                <c:pt idx="1771">
                  <c:v>42167</c:v>
                </c:pt>
                <c:pt idx="1772">
                  <c:v>42170</c:v>
                </c:pt>
                <c:pt idx="1773">
                  <c:v>42171</c:v>
                </c:pt>
                <c:pt idx="1774">
                  <c:v>42172</c:v>
                </c:pt>
                <c:pt idx="1775">
                  <c:v>42173</c:v>
                </c:pt>
                <c:pt idx="1776">
                  <c:v>42174</c:v>
                </c:pt>
                <c:pt idx="1777">
                  <c:v>42177</c:v>
                </c:pt>
                <c:pt idx="1778">
                  <c:v>42178</c:v>
                </c:pt>
                <c:pt idx="1779">
                  <c:v>42179</c:v>
                </c:pt>
                <c:pt idx="1780">
                  <c:v>42180</c:v>
                </c:pt>
                <c:pt idx="1781">
                  <c:v>42181</c:v>
                </c:pt>
                <c:pt idx="1782">
                  <c:v>42184</c:v>
                </c:pt>
                <c:pt idx="1783">
                  <c:v>42185</c:v>
                </c:pt>
                <c:pt idx="1784">
                  <c:v>42186</c:v>
                </c:pt>
                <c:pt idx="1785">
                  <c:v>42187</c:v>
                </c:pt>
                <c:pt idx="1786">
                  <c:v>42191</c:v>
                </c:pt>
                <c:pt idx="1787">
                  <c:v>42192</c:v>
                </c:pt>
                <c:pt idx="1788">
                  <c:v>42193</c:v>
                </c:pt>
                <c:pt idx="1789">
                  <c:v>42194</c:v>
                </c:pt>
                <c:pt idx="1790">
                  <c:v>42195</c:v>
                </c:pt>
                <c:pt idx="1791">
                  <c:v>42198</c:v>
                </c:pt>
                <c:pt idx="1792">
                  <c:v>42199</c:v>
                </c:pt>
                <c:pt idx="1793">
                  <c:v>42200</c:v>
                </c:pt>
                <c:pt idx="1794">
                  <c:v>42201</c:v>
                </c:pt>
                <c:pt idx="1795">
                  <c:v>42202</c:v>
                </c:pt>
                <c:pt idx="1796">
                  <c:v>42205</c:v>
                </c:pt>
                <c:pt idx="1797">
                  <c:v>42206</c:v>
                </c:pt>
                <c:pt idx="1798">
                  <c:v>42207</c:v>
                </c:pt>
                <c:pt idx="1799">
                  <c:v>42208</c:v>
                </c:pt>
                <c:pt idx="1800">
                  <c:v>42209</c:v>
                </c:pt>
                <c:pt idx="1801">
                  <c:v>42212</c:v>
                </c:pt>
                <c:pt idx="1802">
                  <c:v>42213</c:v>
                </c:pt>
                <c:pt idx="1803">
                  <c:v>42214</c:v>
                </c:pt>
                <c:pt idx="1804">
                  <c:v>42215</c:v>
                </c:pt>
                <c:pt idx="1805">
                  <c:v>42216</c:v>
                </c:pt>
                <c:pt idx="1806">
                  <c:v>42219</c:v>
                </c:pt>
                <c:pt idx="1807">
                  <c:v>42220</c:v>
                </c:pt>
                <c:pt idx="1808">
                  <c:v>42221</c:v>
                </c:pt>
                <c:pt idx="1809">
                  <c:v>42222</c:v>
                </c:pt>
                <c:pt idx="1810">
                  <c:v>42223</c:v>
                </c:pt>
                <c:pt idx="1811">
                  <c:v>42226</c:v>
                </c:pt>
                <c:pt idx="1812">
                  <c:v>42227</c:v>
                </c:pt>
                <c:pt idx="1813">
                  <c:v>42228</c:v>
                </c:pt>
                <c:pt idx="1814">
                  <c:v>42229</c:v>
                </c:pt>
                <c:pt idx="1815">
                  <c:v>42230</c:v>
                </c:pt>
                <c:pt idx="1816">
                  <c:v>42233</c:v>
                </c:pt>
                <c:pt idx="1817">
                  <c:v>42234</c:v>
                </c:pt>
                <c:pt idx="1818">
                  <c:v>42235</c:v>
                </c:pt>
                <c:pt idx="1819">
                  <c:v>42236</c:v>
                </c:pt>
                <c:pt idx="1820">
                  <c:v>42237</c:v>
                </c:pt>
                <c:pt idx="1821">
                  <c:v>42240</c:v>
                </c:pt>
                <c:pt idx="1822">
                  <c:v>42241</c:v>
                </c:pt>
                <c:pt idx="1823">
                  <c:v>42242</c:v>
                </c:pt>
                <c:pt idx="1824">
                  <c:v>42243</c:v>
                </c:pt>
                <c:pt idx="1825">
                  <c:v>42244</c:v>
                </c:pt>
                <c:pt idx="1826">
                  <c:v>42247</c:v>
                </c:pt>
                <c:pt idx="1827">
                  <c:v>42248</c:v>
                </c:pt>
                <c:pt idx="1828">
                  <c:v>42249</c:v>
                </c:pt>
                <c:pt idx="1829">
                  <c:v>42250</c:v>
                </c:pt>
                <c:pt idx="1830">
                  <c:v>42251</c:v>
                </c:pt>
                <c:pt idx="1831">
                  <c:v>42255</c:v>
                </c:pt>
                <c:pt idx="1832">
                  <c:v>42256</c:v>
                </c:pt>
                <c:pt idx="1833">
                  <c:v>42257</c:v>
                </c:pt>
                <c:pt idx="1834">
                  <c:v>42258</c:v>
                </c:pt>
                <c:pt idx="1835">
                  <c:v>42261</c:v>
                </c:pt>
                <c:pt idx="1836">
                  <c:v>42262</c:v>
                </c:pt>
                <c:pt idx="1837">
                  <c:v>42263</c:v>
                </c:pt>
                <c:pt idx="1838">
                  <c:v>42264</c:v>
                </c:pt>
                <c:pt idx="1839">
                  <c:v>42265</c:v>
                </c:pt>
                <c:pt idx="1840">
                  <c:v>42268</c:v>
                </c:pt>
                <c:pt idx="1841">
                  <c:v>42269</c:v>
                </c:pt>
                <c:pt idx="1842">
                  <c:v>42270</c:v>
                </c:pt>
                <c:pt idx="1843">
                  <c:v>42271</c:v>
                </c:pt>
                <c:pt idx="1844">
                  <c:v>42272</c:v>
                </c:pt>
                <c:pt idx="1845">
                  <c:v>42275</c:v>
                </c:pt>
                <c:pt idx="1846">
                  <c:v>42276</c:v>
                </c:pt>
                <c:pt idx="1847">
                  <c:v>42277</c:v>
                </c:pt>
                <c:pt idx="1848">
                  <c:v>42278</c:v>
                </c:pt>
                <c:pt idx="1849">
                  <c:v>42279</c:v>
                </c:pt>
                <c:pt idx="1850">
                  <c:v>42282</c:v>
                </c:pt>
                <c:pt idx="1851">
                  <c:v>42283</c:v>
                </c:pt>
                <c:pt idx="1852">
                  <c:v>42284</c:v>
                </c:pt>
                <c:pt idx="1853">
                  <c:v>42285</c:v>
                </c:pt>
                <c:pt idx="1854">
                  <c:v>42286</c:v>
                </c:pt>
                <c:pt idx="1855">
                  <c:v>42289</c:v>
                </c:pt>
                <c:pt idx="1856">
                  <c:v>42290</c:v>
                </c:pt>
                <c:pt idx="1857">
                  <c:v>42291</c:v>
                </c:pt>
                <c:pt idx="1858">
                  <c:v>42292</c:v>
                </c:pt>
                <c:pt idx="1859">
                  <c:v>42293</c:v>
                </c:pt>
                <c:pt idx="1860">
                  <c:v>42296</c:v>
                </c:pt>
                <c:pt idx="1861">
                  <c:v>42297</c:v>
                </c:pt>
                <c:pt idx="1862">
                  <c:v>42298</c:v>
                </c:pt>
                <c:pt idx="1863">
                  <c:v>42299</c:v>
                </c:pt>
                <c:pt idx="1864">
                  <c:v>42300</c:v>
                </c:pt>
                <c:pt idx="1865">
                  <c:v>42303</c:v>
                </c:pt>
                <c:pt idx="1866">
                  <c:v>42304</c:v>
                </c:pt>
                <c:pt idx="1867">
                  <c:v>42305</c:v>
                </c:pt>
                <c:pt idx="1868">
                  <c:v>42306</c:v>
                </c:pt>
                <c:pt idx="1869">
                  <c:v>42307</c:v>
                </c:pt>
                <c:pt idx="1870">
                  <c:v>42310</c:v>
                </c:pt>
                <c:pt idx="1871">
                  <c:v>42311</c:v>
                </c:pt>
                <c:pt idx="1872">
                  <c:v>42312</c:v>
                </c:pt>
                <c:pt idx="1873">
                  <c:v>42313</c:v>
                </c:pt>
                <c:pt idx="1874">
                  <c:v>42314</c:v>
                </c:pt>
                <c:pt idx="1875">
                  <c:v>42317</c:v>
                </c:pt>
                <c:pt idx="1876">
                  <c:v>42318</c:v>
                </c:pt>
                <c:pt idx="1877">
                  <c:v>42319</c:v>
                </c:pt>
                <c:pt idx="1878">
                  <c:v>42320</c:v>
                </c:pt>
                <c:pt idx="1879">
                  <c:v>42321</c:v>
                </c:pt>
                <c:pt idx="1880">
                  <c:v>42324</c:v>
                </c:pt>
                <c:pt idx="1881">
                  <c:v>42325</c:v>
                </c:pt>
                <c:pt idx="1882">
                  <c:v>42326</c:v>
                </c:pt>
                <c:pt idx="1883">
                  <c:v>42327</c:v>
                </c:pt>
                <c:pt idx="1884">
                  <c:v>42328</c:v>
                </c:pt>
                <c:pt idx="1885">
                  <c:v>42331</c:v>
                </c:pt>
                <c:pt idx="1886">
                  <c:v>42332</c:v>
                </c:pt>
                <c:pt idx="1887">
                  <c:v>42333</c:v>
                </c:pt>
                <c:pt idx="1888">
                  <c:v>42335</c:v>
                </c:pt>
                <c:pt idx="1889">
                  <c:v>42338</c:v>
                </c:pt>
                <c:pt idx="1890">
                  <c:v>42339</c:v>
                </c:pt>
                <c:pt idx="1891">
                  <c:v>42340</c:v>
                </c:pt>
                <c:pt idx="1892">
                  <c:v>42341</c:v>
                </c:pt>
                <c:pt idx="1893">
                  <c:v>42342</c:v>
                </c:pt>
                <c:pt idx="1894">
                  <c:v>42345</c:v>
                </c:pt>
                <c:pt idx="1895">
                  <c:v>42346</c:v>
                </c:pt>
                <c:pt idx="1896">
                  <c:v>42347</c:v>
                </c:pt>
                <c:pt idx="1897">
                  <c:v>42348</c:v>
                </c:pt>
                <c:pt idx="1898">
                  <c:v>42349</c:v>
                </c:pt>
                <c:pt idx="1899">
                  <c:v>42352</c:v>
                </c:pt>
                <c:pt idx="1900">
                  <c:v>42353</c:v>
                </c:pt>
                <c:pt idx="1901">
                  <c:v>42354</c:v>
                </c:pt>
                <c:pt idx="1902">
                  <c:v>42355</c:v>
                </c:pt>
                <c:pt idx="1903">
                  <c:v>42356</c:v>
                </c:pt>
                <c:pt idx="1904">
                  <c:v>42359</c:v>
                </c:pt>
                <c:pt idx="1905">
                  <c:v>42360</c:v>
                </c:pt>
                <c:pt idx="1906">
                  <c:v>42361</c:v>
                </c:pt>
                <c:pt idx="1907">
                  <c:v>42362</c:v>
                </c:pt>
                <c:pt idx="1908">
                  <c:v>42366</c:v>
                </c:pt>
                <c:pt idx="1909">
                  <c:v>42367</c:v>
                </c:pt>
                <c:pt idx="1910">
                  <c:v>42368</c:v>
                </c:pt>
                <c:pt idx="1911">
                  <c:v>42369</c:v>
                </c:pt>
                <c:pt idx="1912">
                  <c:v>42373</c:v>
                </c:pt>
                <c:pt idx="1913">
                  <c:v>42374</c:v>
                </c:pt>
                <c:pt idx="1914">
                  <c:v>42375</c:v>
                </c:pt>
                <c:pt idx="1915">
                  <c:v>42376</c:v>
                </c:pt>
                <c:pt idx="1916">
                  <c:v>42377</c:v>
                </c:pt>
                <c:pt idx="1917">
                  <c:v>42380</c:v>
                </c:pt>
                <c:pt idx="1918">
                  <c:v>42381</c:v>
                </c:pt>
                <c:pt idx="1919">
                  <c:v>42382</c:v>
                </c:pt>
                <c:pt idx="1920">
                  <c:v>42383</c:v>
                </c:pt>
                <c:pt idx="1921">
                  <c:v>42384</c:v>
                </c:pt>
                <c:pt idx="1922">
                  <c:v>42388</c:v>
                </c:pt>
                <c:pt idx="1923">
                  <c:v>42389</c:v>
                </c:pt>
                <c:pt idx="1924">
                  <c:v>42390</c:v>
                </c:pt>
                <c:pt idx="1925">
                  <c:v>42391</c:v>
                </c:pt>
                <c:pt idx="1926">
                  <c:v>42394</c:v>
                </c:pt>
                <c:pt idx="1927">
                  <c:v>42395</c:v>
                </c:pt>
                <c:pt idx="1928">
                  <c:v>42396</c:v>
                </c:pt>
                <c:pt idx="1929">
                  <c:v>42397</c:v>
                </c:pt>
                <c:pt idx="1930">
                  <c:v>42398</c:v>
                </c:pt>
                <c:pt idx="1931">
                  <c:v>42401</c:v>
                </c:pt>
                <c:pt idx="1932">
                  <c:v>42402</c:v>
                </c:pt>
                <c:pt idx="1933">
                  <c:v>42403</c:v>
                </c:pt>
                <c:pt idx="1934">
                  <c:v>42404</c:v>
                </c:pt>
                <c:pt idx="1935">
                  <c:v>42405</c:v>
                </c:pt>
                <c:pt idx="1936">
                  <c:v>42408</c:v>
                </c:pt>
                <c:pt idx="1937">
                  <c:v>42409</c:v>
                </c:pt>
                <c:pt idx="1938">
                  <c:v>42410</c:v>
                </c:pt>
                <c:pt idx="1939">
                  <c:v>42411</c:v>
                </c:pt>
                <c:pt idx="1940">
                  <c:v>42412</c:v>
                </c:pt>
                <c:pt idx="1941">
                  <c:v>42416</c:v>
                </c:pt>
                <c:pt idx="1942">
                  <c:v>42417</c:v>
                </c:pt>
                <c:pt idx="1943">
                  <c:v>42418</c:v>
                </c:pt>
                <c:pt idx="1944">
                  <c:v>42419</c:v>
                </c:pt>
                <c:pt idx="1945">
                  <c:v>42422</c:v>
                </c:pt>
                <c:pt idx="1946">
                  <c:v>42423</c:v>
                </c:pt>
                <c:pt idx="1947">
                  <c:v>42424</c:v>
                </c:pt>
                <c:pt idx="1948">
                  <c:v>42425</c:v>
                </c:pt>
                <c:pt idx="1949">
                  <c:v>42426</c:v>
                </c:pt>
                <c:pt idx="1950">
                  <c:v>42429</c:v>
                </c:pt>
                <c:pt idx="1951">
                  <c:v>42430</c:v>
                </c:pt>
                <c:pt idx="1952">
                  <c:v>42431</c:v>
                </c:pt>
                <c:pt idx="1953">
                  <c:v>42432</c:v>
                </c:pt>
                <c:pt idx="1954">
                  <c:v>42433</c:v>
                </c:pt>
                <c:pt idx="1955">
                  <c:v>42436</c:v>
                </c:pt>
                <c:pt idx="1956">
                  <c:v>42437</c:v>
                </c:pt>
                <c:pt idx="1957">
                  <c:v>42438</c:v>
                </c:pt>
                <c:pt idx="1958">
                  <c:v>42439</c:v>
                </c:pt>
                <c:pt idx="1959">
                  <c:v>42440</c:v>
                </c:pt>
                <c:pt idx="1960">
                  <c:v>42443</c:v>
                </c:pt>
                <c:pt idx="1961">
                  <c:v>42444</c:v>
                </c:pt>
                <c:pt idx="1962">
                  <c:v>42445</c:v>
                </c:pt>
                <c:pt idx="1963">
                  <c:v>42446</c:v>
                </c:pt>
                <c:pt idx="1964">
                  <c:v>42447</c:v>
                </c:pt>
                <c:pt idx="1965">
                  <c:v>42450</c:v>
                </c:pt>
                <c:pt idx="1966">
                  <c:v>42451</c:v>
                </c:pt>
                <c:pt idx="1967">
                  <c:v>42452</c:v>
                </c:pt>
                <c:pt idx="1968">
                  <c:v>42453</c:v>
                </c:pt>
                <c:pt idx="1969">
                  <c:v>42457</c:v>
                </c:pt>
                <c:pt idx="1970">
                  <c:v>42458</c:v>
                </c:pt>
                <c:pt idx="1971">
                  <c:v>42459</c:v>
                </c:pt>
                <c:pt idx="1972">
                  <c:v>42460</c:v>
                </c:pt>
                <c:pt idx="1973">
                  <c:v>42461</c:v>
                </c:pt>
                <c:pt idx="1974">
                  <c:v>42464</c:v>
                </c:pt>
                <c:pt idx="1975">
                  <c:v>42465</c:v>
                </c:pt>
                <c:pt idx="1976">
                  <c:v>42466</c:v>
                </c:pt>
                <c:pt idx="1977">
                  <c:v>42467</c:v>
                </c:pt>
                <c:pt idx="1978">
                  <c:v>42468</c:v>
                </c:pt>
                <c:pt idx="1979">
                  <c:v>42471</c:v>
                </c:pt>
                <c:pt idx="1980">
                  <c:v>42472</c:v>
                </c:pt>
                <c:pt idx="1981">
                  <c:v>42473</c:v>
                </c:pt>
                <c:pt idx="1982">
                  <c:v>42474</c:v>
                </c:pt>
                <c:pt idx="1983">
                  <c:v>42475</c:v>
                </c:pt>
                <c:pt idx="1984">
                  <c:v>42478</c:v>
                </c:pt>
                <c:pt idx="1985">
                  <c:v>42479</c:v>
                </c:pt>
                <c:pt idx="1986">
                  <c:v>42480</c:v>
                </c:pt>
                <c:pt idx="1987">
                  <c:v>42481</c:v>
                </c:pt>
                <c:pt idx="1988">
                  <c:v>42482</c:v>
                </c:pt>
                <c:pt idx="1989">
                  <c:v>42485</c:v>
                </c:pt>
                <c:pt idx="1990">
                  <c:v>42486</c:v>
                </c:pt>
                <c:pt idx="1991">
                  <c:v>42487</c:v>
                </c:pt>
                <c:pt idx="1992">
                  <c:v>42488</c:v>
                </c:pt>
                <c:pt idx="1993">
                  <c:v>42489</c:v>
                </c:pt>
                <c:pt idx="1994">
                  <c:v>42492</c:v>
                </c:pt>
                <c:pt idx="1995">
                  <c:v>42493</c:v>
                </c:pt>
                <c:pt idx="1996">
                  <c:v>42494</c:v>
                </c:pt>
                <c:pt idx="1997">
                  <c:v>42495</c:v>
                </c:pt>
                <c:pt idx="1998">
                  <c:v>42496</c:v>
                </c:pt>
                <c:pt idx="1999">
                  <c:v>42499</c:v>
                </c:pt>
                <c:pt idx="2000">
                  <c:v>42500</c:v>
                </c:pt>
                <c:pt idx="2001">
                  <c:v>42501</c:v>
                </c:pt>
                <c:pt idx="2002">
                  <c:v>42502</c:v>
                </c:pt>
                <c:pt idx="2003">
                  <c:v>42503</c:v>
                </c:pt>
                <c:pt idx="2004">
                  <c:v>42506</c:v>
                </c:pt>
                <c:pt idx="2005">
                  <c:v>42507</c:v>
                </c:pt>
                <c:pt idx="2006">
                  <c:v>42508</c:v>
                </c:pt>
                <c:pt idx="2007">
                  <c:v>42509</c:v>
                </c:pt>
              </c:numCache>
            </c:numRef>
          </c:cat>
          <c:val>
            <c:numRef>
              <c:f>beta!$AI$257:$AI$2264</c:f>
              <c:numCache>
                <c:formatCode>0.00%</c:formatCode>
                <c:ptCount val="2008"/>
                <c:pt idx="0">
                  <c:v>0.49356334017717313</c:v>
                </c:pt>
                <c:pt idx="1">
                  <c:v>0.49432009591945686</c:v>
                </c:pt>
                <c:pt idx="2">
                  <c:v>0.49464248046017301</c:v>
                </c:pt>
                <c:pt idx="3">
                  <c:v>0.49463250382630963</c:v>
                </c:pt>
                <c:pt idx="4">
                  <c:v>0.49551494852384642</c:v>
                </c:pt>
                <c:pt idx="5">
                  <c:v>0.49694316918032155</c:v>
                </c:pt>
                <c:pt idx="6">
                  <c:v>0.49903829213154682</c:v>
                </c:pt>
                <c:pt idx="7">
                  <c:v>0.49888554463967189</c:v>
                </c:pt>
                <c:pt idx="8">
                  <c:v>0.5002372192478084</c:v>
                </c:pt>
                <c:pt idx="9">
                  <c:v>0.50201233884600271</c:v>
                </c:pt>
                <c:pt idx="10">
                  <c:v>0.49996265238999815</c:v>
                </c:pt>
                <c:pt idx="11">
                  <c:v>0.50036573331868328</c:v>
                </c:pt>
                <c:pt idx="12">
                  <c:v>0.50095063381282889</c:v>
                </c:pt>
                <c:pt idx="13">
                  <c:v>0.50110691839337174</c:v>
                </c:pt>
                <c:pt idx="14">
                  <c:v>0.50188978981038679</c:v>
                </c:pt>
                <c:pt idx="15">
                  <c:v>0.50217577950601755</c:v>
                </c:pt>
                <c:pt idx="16">
                  <c:v>0.50255522541893338</c:v>
                </c:pt>
                <c:pt idx="17">
                  <c:v>0.5030019833952537</c:v>
                </c:pt>
                <c:pt idx="18">
                  <c:v>0.50568318237051302</c:v>
                </c:pt>
                <c:pt idx="19">
                  <c:v>0.51300301602117504</c:v>
                </c:pt>
                <c:pt idx="20">
                  <c:v>0.5129382964747512</c:v>
                </c:pt>
                <c:pt idx="21">
                  <c:v>0.51202500853304933</c:v>
                </c:pt>
                <c:pt idx="22">
                  <c:v>0.5118669380766252</c:v>
                </c:pt>
                <c:pt idx="23">
                  <c:v>0.51229507324868062</c:v>
                </c:pt>
                <c:pt idx="24">
                  <c:v>0.51186087169452255</c:v>
                </c:pt>
                <c:pt idx="25">
                  <c:v>0.51197465657423658</c:v>
                </c:pt>
                <c:pt idx="26">
                  <c:v>0.5137283632457853</c:v>
                </c:pt>
                <c:pt idx="27">
                  <c:v>0.51445022965789255</c:v>
                </c:pt>
                <c:pt idx="28">
                  <c:v>0.51451623542629044</c:v>
                </c:pt>
                <c:pt idx="29">
                  <c:v>0.51279617163760638</c:v>
                </c:pt>
                <c:pt idx="30">
                  <c:v>0.51332588385208355</c:v>
                </c:pt>
                <c:pt idx="31">
                  <c:v>0.51336935042755372</c:v>
                </c:pt>
                <c:pt idx="32">
                  <c:v>0.51234437917928666</c:v>
                </c:pt>
                <c:pt idx="33">
                  <c:v>0.51211537195971202</c:v>
                </c:pt>
                <c:pt idx="34">
                  <c:v>0.5122933847521236</c:v>
                </c:pt>
                <c:pt idx="35">
                  <c:v>0.51423629092461343</c:v>
                </c:pt>
                <c:pt idx="36">
                  <c:v>0.51400668819167439</c:v>
                </c:pt>
                <c:pt idx="37">
                  <c:v>0.51504753365815215</c:v>
                </c:pt>
                <c:pt idx="38">
                  <c:v>0.51516149352350438</c:v>
                </c:pt>
                <c:pt idx="39">
                  <c:v>0.51507455623257548</c:v>
                </c:pt>
                <c:pt idx="40">
                  <c:v>0.52010084944033441</c:v>
                </c:pt>
                <c:pt idx="41">
                  <c:v>0.52615003742773558</c:v>
                </c:pt>
                <c:pt idx="42">
                  <c:v>0.52775401493691587</c:v>
                </c:pt>
                <c:pt idx="43">
                  <c:v>0.52824030900411789</c:v>
                </c:pt>
                <c:pt idx="44">
                  <c:v>0.5289934936865841</c:v>
                </c:pt>
                <c:pt idx="45">
                  <c:v>0.52899637051319504</c:v>
                </c:pt>
                <c:pt idx="46">
                  <c:v>0.53114430524444289</c:v>
                </c:pt>
                <c:pt idx="47">
                  <c:v>0.53007951839866463</c:v>
                </c:pt>
                <c:pt idx="48">
                  <c:v>0.53051216201318208</c:v>
                </c:pt>
                <c:pt idx="49">
                  <c:v>0.52548734376273099</c:v>
                </c:pt>
                <c:pt idx="50">
                  <c:v>0.51927847776016289</c:v>
                </c:pt>
                <c:pt idx="51">
                  <c:v>0.51987389739076018</c:v>
                </c:pt>
                <c:pt idx="52">
                  <c:v>0.51952372813126424</c:v>
                </c:pt>
                <c:pt idx="53">
                  <c:v>0.51836869722981271</c:v>
                </c:pt>
                <c:pt idx="54">
                  <c:v>0.51773538728706958</c:v>
                </c:pt>
                <c:pt idx="55">
                  <c:v>0.51627034599130128</c:v>
                </c:pt>
                <c:pt idx="56">
                  <c:v>0.51546564363868497</c:v>
                </c:pt>
                <c:pt idx="57">
                  <c:v>0.51535522708673509</c:v>
                </c:pt>
                <c:pt idx="58">
                  <c:v>0.51542810028079244</c:v>
                </c:pt>
                <c:pt idx="59">
                  <c:v>0.51561816418119066</c:v>
                </c:pt>
                <c:pt idx="60">
                  <c:v>0.51556697908939608</c:v>
                </c:pt>
                <c:pt idx="61">
                  <c:v>0.51551293638929296</c:v>
                </c:pt>
                <c:pt idx="62">
                  <c:v>0.51503415452615187</c:v>
                </c:pt>
                <c:pt idx="63">
                  <c:v>0.51615258875954961</c:v>
                </c:pt>
                <c:pt idx="64">
                  <c:v>0.5165673894673698</c:v>
                </c:pt>
                <c:pt idx="65">
                  <c:v>0.51621318428622343</c:v>
                </c:pt>
                <c:pt idx="66">
                  <c:v>0.51579812256905089</c:v>
                </c:pt>
                <c:pt idx="67">
                  <c:v>0.51794973567758718</c:v>
                </c:pt>
                <c:pt idx="68">
                  <c:v>0.51831986179663003</c:v>
                </c:pt>
                <c:pt idx="69">
                  <c:v>0.51666480422153072</c:v>
                </c:pt>
                <c:pt idx="70">
                  <c:v>0.51982796515451823</c:v>
                </c:pt>
                <c:pt idx="71">
                  <c:v>0.51847773747689618</c:v>
                </c:pt>
                <c:pt idx="72">
                  <c:v>0.51846804166695626</c:v>
                </c:pt>
                <c:pt idx="73">
                  <c:v>0.51758772601425329</c:v>
                </c:pt>
                <c:pt idx="74">
                  <c:v>0.50729280203922977</c:v>
                </c:pt>
                <c:pt idx="75">
                  <c:v>0.5074583991157684</c:v>
                </c:pt>
                <c:pt idx="76">
                  <c:v>0.50405498015817107</c:v>
                </c:pt>
                <c:pt idx="77">
                  <c:v>0.50383094844889109</c:v>
                </c:pt>
                <c:pt idx="78">
                  <c:v>0.50390996076140859</c:v>
                </c:pt>
                <c:pt idx="79">
                  <c:v>0.50536633930824526</c:v>
                </c:pt>
                <c:pt idx="80">
                  <c:v>0.50823115259196883</c:v>
                </c:pt>
                <c:pt idx="81">
                  <c:v>0.50936346104379049</c:v>
                </c:pt>
                <c:pt idx="82">
                  <c:v>0.50840260954710248</c:v>
                </c:pt>
                <c:pt idx="83">
                  <c:v>0.50871618761852189</c:v>
                </c:pt>
                <c:pt idx="84">
                  <c:v>0.50562438057433923</c:v>
                </c:pt>
                <c:pt idx="85">
                  <c:v>0.50237566544305334</c:v>
                </c:pt>
                <c:pt idx="86">
                  <c:v>0.5023376337124682</c:v>
                </c:pt>
                <c:pt idx="87">
                  <c:v>0.50271891408060232</c:v>
                </c:pt>
                <c:pt idx="88">
                  <c:v>0.5028264093541045</c:v>
                </c:pt>
                <c:pt idx="89">
                  <c:v>0.49861197948518898</c:v>
                </c:pt>
                <c:pt idx="90">
                  <c:v>0.50051123383134044</c:v>
                </c:pt>
                <c:pt idx="91">
                  <c:v>0.50143620604158756</c:v>
                </c:pt>
                <c:pt idx="92">
                  <c:v>0.5077059132102415</c:v>
                </c:pt>
                <c:pt idx="93">
                  <c:v>0.50946480488132939</c:v>
                </c:pt>
                <c:pt idx="94">
                  <c:v>0.50852384901647174</c:v>
                </c:pt>
                <c:pt idx="95">
                  <c:v>0.50821339920272746</c:v>
                </c:pt>
                <c:pt idx="96">
                  <c:v>0.51601727967507505</c:v>
                </c:pt>
                <c:pt idx="97">
                  <c:v>0.51544445119015792</c:v>
                </c:pt>
                <c:pt idx="98">
                  <c:v>0.51719269547814373</c:v>
                </c:pt>
                <c:pt idx="99">
                  <c:v>0.50399493744886026</c:v>
                </c:pt>
                <c:pt idx="100">
                  <c:v>0.50471202262580828</c:v>
                </c:pt>
                <c:pt idx="101">
                  <c:v>0.49783199913904508</c:v>
                </c:pt>
                <c:pt idx="102">
                  <c:v>0.49678843767641573</c:v>
                </c:pt>
                <c:pt idx="103">
                  <c:v>0.49998050724834997</c:v>
                </c:pt>
                <c:pt idx="104">
                  <c:v>0.49976282326845484</c:v>
                </c:pt>
                <c:pt idx="105">
                  <c:v>0.50125559532920483</c:v>
                </c:pt>
                <c:pt idx="106">
                  <c:v>0.5017952866041504</c:v>
                </c:pt>
                <c:pt idx="107">
                  <c:v>0.49681970667387299</c:v>
                </c:pt>
                <c:pt idx="108">
                  <c:v>0.49022179617492218</c:v>
                </c:pt>
                <c:pt idx="109">
                  <c:v>0.49025549521102091</c:v>
                </c:pt>
                <c:pt idx="110">
                  <c:v>0.49415059185823901</c:v>
                </c:pt>
                <c:pt idx="111">
                  <c:v>0.49481640814651578</c:v>
                </c:pt>
                <c:pt idx="112">
                  <c:v>0.49932698877612552</c:v>
                </c:pt>
                <c:pt idx="113">
                  <c:v>0.49860594744340303</c:v>
                </c:pt>
                <c:pt idx="114">
                  <c:v>0.4971808468875053</c:v>
                </c:pt>
                <c:pt idx="115">
                  <c:v>0.49858674076893439</c:v>
                </c:pt>
                <c:pt idx="116">
                  <c:v>0.50273375765574491</c:v>
                </c:pt>
                <c:pt idx="117">
                  <c:v>0.50781109804190849</c:v>
                </c:pt>
                <c:pt idx="118">
                  <c:v>0.50676037108397498</c:v>
                </c:pt>
                <c:pt idx="119">
                  <c:v>0.50994365381857776</c:v>
                </c:pt>
                <c:pt idx="120">
                  <c:v>0.50939890125438347</c:v>
                </c:pt>
                <c:pt idx="121">
                  <c:v>0.51178095804689017</c:v>
                </c:pt>
                <c:pt idx="122">
                  <c:v>0.51290458661584293</c:v>
                </c:pt>
                <c:pt idx="123">
                  <c:v>0.51291948133782372</c:v>
                </c:pt>
                <c:pt idx="124">
                  <c:v>0.51545190829648158</c:v>
                </c:pt>
                <c:pt idx="125">
                  <c:v>0.51673605397551603</c:v>
                </c:pt>
                <c:pt idx="126">
                  <c:v>0.51591456175767436</c:v>
                </c:pt>
                <c:pt idx="127">
                  <c:v>0.51598410820899443</c:v>
                </c:pt>
                <c:pt idx="128">
                  <c:v>0.51784148678513719</c:v>
                </c:pt>
                <c:pt idx="129">
                  <c:v>0.51814431855401355</c:v>
                </c:pt>
                <c:pt idx="130">
                  <c:v>0.51779363832283221</c:v>
                </c:pt>
                <c:pt idx="131">
                  <c:v>0.51710022285028223</c:v>
                </c:pt>
                <c:pt idx="132">
                  <c:v>0.51610054348545642</c:v>
                </c:pt>
                <c:pt idx="133">
                  <c:v>0.51697315462794924</c:v>
                </c:pt>
                <c:pt idx="134">
                  <c:v>0.5168139461251321</c:v>
                </c:pt>
                <c:pt idx="135">
                  <c:v>0.51614787431577613</c:v>
                </c:pt>
                <c:pt idx="136">
                  <c:v>0.51584017775646474</c:v>
                </c:pt>
                <c:pt idx="137">
                  <c:v>0.51591997744178619</c:v>
                </c:pt>
                <c:pt idx="138">
                  <c:v>0.51524262511545915</c:v>
                </c:pt>
                <c:pt idx="139">
                  <c:v>0.51565114953565327</c:v>
                </c:pt>
                <c:pt idx="140">
                  <c:v>0.51518072569706974</c:v>
                </c:pt>
                <c:pt idx="141">
                  <c:v>0.51594904072669301</c:v>
                </c:pt>
                <c:pt idx="142">
                  <c:v>0.51772917141027164</c:v>
                </c:pt>
                <c:pt idx="143">
                  <c:v>0.51864935883869379</c:v>
                </c:pt>
                <c:pt idx="144">
                  <c:v>0.51875332820647635</c:v>
                </c:pt>
                <c:pt idx="145">
                  <c:v>0.51877216040419083</c:v>
                </c:pt>
                <c:pt idx="146">
                  <c:v>0.51952583746924497</c:v>
                </c:pt>
                <c:pt idx="147">
                  <c:v>0.519764180633838</c:v>
                </c:pt>
                <c:pt idx="148">
                  <c:v>0.52215195136810155</c:v>
                </c:pt>
                <c:pt idx="149">
                  <c:v>0.52281348795286842</c:v>
                </c:pt>
                <c:pt idx="150">
                  <c:v>0.52376401484656132</c:v>
                </c:pt>
                <c:pt idx="151">
                  <c:v>0.52295577970569818</c:v>
                </c:pt>
                <c:pt idx="152">
                  <c:v>0.52289677995833617</c:v>
                </c:pt>
                <c:pt idx="153">
                  <c:v>0.52448695002745815</c:v>
                </c:pt>
                <c:pt idx="154">
                  <c:v>0.52455344223833777</c:v>
                </c:pt>
                <c:pt idx="155">
                  <c:v>0.52422148749232556</c:v>
                </c:pt>
                <c:pt idx="156">
                  <c:v>0.52563370535928078</c:v>
                </c:pt>
                <c:pt idx="157">
                  <c:v>0.52506732804110323</c:v>
                </c:pt>
                <c:pt idx="158">
                  <c:v>0.52792977728754431</c:v>
                </c:pt>
                <c:pt idx="159">
                  <c:v>0.52897935464957724</c:v>
                </c:pt>
                <c:pt idx="160">
                  <c:v>0.52828231013242855</c:v>
                </c:pt>
                <c:pt idx="161">
                  <c:v>0.53023541912399041</c:v>
                </c:pt>
                <c:pt idx="162">
                  <c:v>0.5301053069867262</c:v>
                </c:pt>
                <c:pt idx="163">
                  <c:v>0.5291430827299245</c:v>
                </c:pt>
                <c:pt idx="164">
                  <c:v>0.5297702194322268</c:v>
                </c:pt>
                <c:pt idx="165">
                  <c:v>0.53102339148297273</c:v>
                </c:pt>
                <c:pt idx="166">
                  <c:v>0.53162939638493234</c:v>
                </c:pt>
                <c:pt idx="167">
                  <c:v>0.53310458730427968</c:v>
                </c:pt>
                <c:pt idx="168">
                  <c:v>0.53248525102386346</c:v>
                </c:pt>
                <c:pt idx="169">
                  <c:v>0.53292061373688004</c:v>
                </c:pt>
                <c:pt idx="170">
                  <c:v>0.53382865336010232</c:v>
                </c:pt>
                <c:pt idx="171">
                  <c:v>0.53512405146614783</c:v>
                </c:pt>
                <c:pt idx="172">
                  <c:v>0.53449451769485801</c:v>
                </c:pt>
                <c:pt idx="173">
                  <c:v>0.53433391437382205</c:v>
                </c:pt>
                <c:pt idx="174">
                  <c:v>0.53448180118175326</c:v>
                </c:pt>
                <c:pt idx="175">
                  <c:v>0.53433355021809947</c:v>
                </c:pt>
                <c:pt idx="176">
                  <c:v>0.53546679907934214</c:v>
                </c:pt>
                <c:pt idx="177">
                  <c:v>0.53586401378289572</c:v>
                </c:pt>
                <c:pt idx="178">
                  <c:v>0.53602806006544212</c:v>
                </c:pt>
                <c:pt idx="179">
                  <c:v>0.53592469243869367</c:v>
                </c:pt>
                <c:pt idx="180">
                  <c:v>0.53366434769421733</c:v>
                </c:pt>
                <c:pt idx="181">
                  <c:v>0.53391385943361647</c:v>
                </c:pt>
                <c:pt idx="182">
                  <c:v>0.53431429537038488</c:v>
                </c:pt>
                <c:pt idx="183">
                  <c:v>0.53516771605431734</c:v>
                </c:pt>
                <c:pt idx="184">
                  <c:v>0.53559983419183477</c:v>
                </c:pt>
                <c:pt idx="185">
                  <c:v>0.53734121443915206</c:v>
                </c:pt>
                <c:pt idx="186">
                  <c:v>0.53773255191978864</c:v>
                </c:pt>
                <c:pt idx="187">
                  <c:v>0.53799319461376993</c:v>
                </c:pt>
                <c:pt idx="188">
                  <c:v>0.53759451413127934</c:v>
                </c:pt>
                <c:pt idx="189">
                  <c:v>0.53831760834728537</c:v>
                </c:pt>
                <c:pt idx="190">
                  <c:v>0.53774384394031338</c:v>
                </c:pt>
                <c:pt idx="191">
                  <c:v>0.53961000395808478</c:v>
                </c:pt>
                <c:pt idx="192">
                  <c:v>0.53997623299874031</c:v>
                </c:pt>
                <c:pt idx="193">
                  <c:v>0.53929278392803548</c:v>
                </c:pt>
                <c:pt idx="194">
                  <c:v>0.5393129372421992</c:v>
                </c:pt>
                <c:pt idx="195">
                  <c:v>0.54153171686786716</c:v>
                </c:pt>
                <c:pt idx="196">
                  <c:v>0.5412960622203421</c:v>
                </c:pt>
                <c:pt idx="197">
                  <c:v>0.5415462694388461</c:v>
                </c:pt>
                <c:pt idx="198">
                  <c:v>0.54146190688221463</c:v>
                </c:pt>
                <c:pt idx="199">
                  <c:v>0.54336916161255311</c:v>
                </c:pt>
                <c:pt idx="200">
                  <c:v>0.54408031947284585</c:v>
                </c:pt>
                <c:pt idx="201">
                  <c:v>0.54890646768179874</c:v>
                </c:pt>
                <c:pt idx="202">
                  <c:v>0.55316785015755943</c:v>
                </c:pt>
                <c:pt idx="203">
                  <c:v>0.5579594385678649</c:v>
                </c:pt>
                <c:pt idx="204">
                  <c:v>0.55980505110216428</c:v>
                </c:pt>
                <c:pt idx="205">
                  <c:v>0.55970348344622922</c:v>
                </c:pt>
                <c:pt idx="206">
                  <c:v>0.55985118100905229</c:v>
                </c:pt>
                <c:pt idx="207">
                  <c:v>0.5600167921424356</c:v>
                </c:pt>
                <c:pt idx="208">
                  <c:v>0.56024883734667286</c:v>
                </c:pt>
                <c:pt idx="209">
                  <c:v>0.56118745500298384</c:v>
                </c:pt>
                <c:pt idx="210">
                  <c:v>0.56031482454476766</c:v>
                </c:pt>
                <c:pt idx="211">
                  <c:v>0.56048534090397051</c:v>
                </c:pt>
                <c:pt idx="212">
                  <c:v>0.5604725681996704</c:v>
                </c:pt>
                <c:pt idx="213">
                  <c:v>0.56054088870891516</c:v>
                </c:pt>
                <c:pt idx="214">
                  <c:v>0.56020000963390937</c:v>
                </c:pt>
                <c:pt idx="215">
                  <c:v>0.56021920731572783</c:v>
                </c:pt>
                <c:pt idx="216">
                  <c:v>0.56023263786389998</c:v>
                </c:pt>
                <c:pt idx="217">
                  <c:v>0.56091812954405385</c:v>
                </c:pt>
                <c:pt idx="218">
                  <c:v>0.56086580003071673</c:v>
                </c:pt>
                <c:pt idx="219">
                  <c:v>0.56100116470082206</c:v>
                </c:pt>
                <c:pt idx="220">
                  <c:v>0.56110893032239706</c:v>
                </c:pt>
                <c:pt idx="221">
                  <c:v>0.56104703134089495</c:v>
                </c:pt>
                <c:pt idx="222">
                  <c:v>0.56081542829335285</c:v>
                </c:pt>
                <c:pt idx="223">
                  <c:v>0.55995256750951927</c:v>
                </c:pt>
                <c:pt idx="224">
                  <c:v>0.56068687303362119</c:v>
                </c:pt>
                <c:pt idx="225">
                  <c:v>0.56069602070557023</c:v>
                </c:pt>
                <c:pt idx="226">
                  <c:v>0.56085752407360079</c:v>
                </c:pt>
                <c:pt idx="227">
                  <c:v>0.56063405848729375</c:v>
                </c:pt>
                <c:pt idx="228">
                  <c:v>0.56039063409607459</c:v>
                </c:pt>
                <c:pt idx="229">
                  <c:v>0.56047786266838828</c:v>
                </c:pt>
                <c:pt idx="230">
                  <c:v>0.56128804190285697</c:v>
                </c:pt>
                <c:pt idx="231">
                  <c:v>0.5612678582159969</c:v>
                </c:pt>
                <c:pt idx="232">
                  <c:v>0.56029417771077972</c:v>
                </c:pt>
                <c:pt idx="233">
                  <c:v>0.56104712664087286</c:v>
                </c:pt>
                <c:pt idx="234">
                  <c:v>0.56130406415870959</c:v>
                </c:pt>
                <c:pt idx="235">
                  <c:v>0.56125653268411035</c:v>
                </c:pt>
                <c:pt idx="236">
                  <c:v>0.56134137357020741</c:v>
                </c:pt>
                <c:pt idx="237">
                  <c:v>0.56209379858393782</c:v>
                </c:pt>
                <c:pt idx="238">
                  <c:v>0.56197175231672702</c:v>
                </c:pt>
                <c:pt idx="239">
                  <c:v>0.56197556577718211</c:v>
                </c:pt>
                <c:pt idx="240">
                  <c:v>0.56244946969470933</c:v>
                </c:pt>
                <c:pt idx="241">
                  <c:v>0.56311462909219678</c:v>
                </c:pt>
                <c:pt idx="242">
                  <c:v>0.56242634829843696</c:v>
                </c:pt>
                <c:pt idx="243">
                  <c:v>0.56385966134607957</c:v>
                </c:pt>
                <c:pt idx="244">
                  <c:v>0.56426777286651342</c:v>
                </c:pt>
                <c:pt idx="245">
                  <c:v>0.56363357191042185</c:v>
                </c:pt>
                <c:pt idx="246">
                  <c:v>0.56309669698404341</c:v>
                </c:pt>
                <c:pt idx="247">
                  <c:v>0.5628193480704119</c:v>
                </c:pt>
                <c:pt idx="248">
                  <c:v>0.56468526210257375</c:v>
                </c:pt>
                <c:pt idx="249">
                  <c:v>0.56463937229785732</c:v>
                </c:pt>
                <c:pt idx="250">
                  <c:v>0.56488862184361266</c:v>
                </c:pt>
                <c:pt idx="251">
                  <c:v>0.56296783315040433</c:v>
                </c:pt>
                <c:pt idx="252">
                  <c:v>0.56157874483762926</c:v>
                </c:pt>
                <c:pt idx="253">
                  <c:v>0.56145634069517725</c:v>
                </c:pt>
                <c:pt idx="254">
                  <c:v>0.56202299797501154</c:v>
                </c:pt>
                <c:pt idx="255">
                  <c:v>0.56210223502977885</c:v>
                </c:pt>
                <c:pt idx="256">
                  <c:v>0.56153136139626936</c:v>
                </c:pt>
                <c:pt idx="257">
                  <c:v>0.56006180778188575</c:v>
                </c:pt>
                <c:pt idx="258">
                  <c:v>0.56043243158381051</c:v>
                </c:pt>
                <c:pt idx="259">
                  <c:v>0.56041219237949347</c:v>
                </c:pt>
                <c:pt idx="260">
                  <c:v>0.56015808242374232</c:v>
                </c:pt>
                <c:pt idx="261">
                  <c:v>0.55964696881647569</c:v>
                </c:pt>
                <c:pt idx="262">
                  <c:v>0.56010168748200218</c:v>
                </c:pt>
                <c:pt idx="263">
                  <c:v>0.55996444786586641</c:v>
                </c:pt>
                <c:pt idx="264">
                  <c:v>0.55937709996409168</c:v>
                </c:pt>
                <c:pt idx="265">
                  <c:v>0.55884321891123656</c:v>
                </c:pt>
                <c:pt idx="266">
                  <c:v>0.55857338699233183</c:v>
                </c:pt>
                <c:pt idx="267">
                  <c:v>0.55762735280978382</c:v>
                </c:pt>
                <c:pt idx="268">
                  <c:v>0.55782906776970087</c:v>
                </c:pt>
                <c:pt idx="269">
                  <c:v>0.55857138886251467</c:v>
                </c:pt>
                <c:pt idx="270">
                  <c:v>0.55792259791026122</c:v>
                </c:pt>
                <c:pt idx="271">
                  <c:v>0.55658431584470058</c:v>
                </c:pt>
                <c:pt idx="272">
                  <c:v>0.55705647363755373</c:v>
                </c:pt>
                <c:pt idx="273">
                  <c:v>0.55741179785165129</c:v>
                </c:pt>
                <c:pt idx="274">
                  <c:v>0.55750356212769892</c:v>
                </c:pt>
                <c:pt idx="275">
                  <c:v>0.55831019176675156</c:v>
                </c:pt>
                <c:pt idx="276">
                  <c:v>0.55805443111692965</c:v>
                </c:pt>
                <c:pt idx="277">
                  <c:v>0.55844639527664397</c:v>
                </c:pt>
                <c:pt idx="278">
                  <c:v>0.55723656461902527</c:v>
                </c:pt>
                <c:pt idx="279">
                  <c:v>0.55689093996434769</c:v>
                </c:pt>
                <c:pt idx="280">
                  <c:v>0.55667807849598083</c:v>
                </c:pt>
                <c:pt idx="281">
                  <c:v>0.55962329506741171</c:v>
                </c:pt>
                <c:pt idx="282">
                  <c:v>0.55934192159934626</c:v>
                </c:pt>
                <c:pt idx="283">
                  <c:v>0.55837302025917612</c:v>
                </c:pt>
                <c:pt idx="284">
                  <c:v>0.55981915134814397</c:v>
                </c:pt>
                <c:pt idx="285">
                  <c:v>0.55906302473560154</c:v>
                </c:pt>
                <c:pt idx="286">
                  <c:v>0.55933619457567185</c:v>
                </c:pt>
                <c:pt idx="287">
                  <c:v>0.55931714261769749</c:v>
                </c:pt>
                <c:pt idx="288">
                  <c:v>0.55979857434929647</c:v>
                </c:pt>
                <c:pt idx="289">
                  <c:v>0.55987586246324872</c:v>
                </c:pt>
                <c:pt idx="290">
                  <c:v>0.56029639949033783</c:v>
                </c:pt>
                <c:pt idx="291">
                  <c:v>0.55985564035960367</c:v>
                </c:pt>
                <c:pt idx="292">
                  <c:v>0.56017555433762978</c:v>
                </c:pt>
                <c:pt idx="293">
                  <c:v>0.5591571312607817</c:v>
                </c:pt>
                <c:pt idx="294">
                  <c:v>0.55846489556997536</c:v>
                </c:pt>
                <c:pt idx="295">
                  <c:v>0.55791560011408536</c:v>
                </c:pt>
                <c:pt idx="296">
                  <c:v>0.55832861622912933</c:v>
                </c:pt>
                <c:pt idx="297">
                  <c:v>0.55903438213771961</c:v>
                </c:pt>
                <c:pt idx="298">
                  <c:v>0.55880372484898155</c:v>
                </c:pt>
                <c:pt idx="299">
                  <c:v>0.55847998468168447</c:v>
                </c:pt>
                <c:pt idx="300">
                  <c:v>0.5585639464005947</c:v>
                </c:pt>
                <c:pt idx="301">
                  <c:v>0.55823481526321472</c:v>
                </c:pt>
                <c:pt idx="302">
                  <c:v>0.55791148765959242</c:v>
                </c:pt>
                <c:pt idx="303">
                  <c:v>0.55751483478410324</c:v>
                </c:pt>
                <c:pt idx="304">
                  <c:v>0.55762369353466501</c:v>
                </c:pt>
                <c:pt idx="305">
                  <c:v>0.5571883808973308</c:v>
                </c:pt>
                <c:pt idx="306">
                  <c:v>0.55517449172164457</c:v>
                </c:pt>
                <c:pt idx="307">
                  <c:v>0.55589683637886189</c:v>
                </c:pt>
                <c:pt idx="308">
                  <c:v>0.55563625141626027</c:v>
                </c:pt>
                <c:pt idx="309">
                  <c:v>0.55550768642252324</c:v>
                </c:pt>
                <c:pt idx="310">
                  <c:v>0.55563049668885778</c:v>
                </c:pt>
                <c:pt idx="311">
                  <c:v>0.55564210445920015</c:v>
                </c:pt>
                <c:pt idx="312">
                  <c:v>0.55659313727356641</c:v>
                </c:pt>
                <c:pt idx="313">
                  <c:v>0.55661425526807418</c:v>
                </c:pt>
                <c:pt idx="314">
                  <c:v>0.55650658049264334</c:v>
                </c:pt>
                <c:pt idx="315">
                  <c:v>0.55622480665321028</c:v>
                </c:pt>
                <c:pt idx="316">
                  <c:v>0.55607291971428507</c:v>
                </c:pt>
                <c:pt idx="317">
                  <c:v>0.55596068048241887</c:v>
                </c:pt>
                <c:pt idx="318">
                  <c:v>0.55570105719405349</c:v>
                </c:pt>
                <c:pt idx="319">
                  <c:v>0.55419444946535124</c:v>
                </c:pt>
                <c:pt idx="320">
                  <c:v>0.55445115246889121</c:v>
                </c:pt>
                <c:pt idx="321">
                  <c:v>0.5535270734295562</c:v>
                </c:pt>
                <c:pt idx="322">
                  <c:v>0.55107294331390089</c:v>
                </c:pt>
                <c:pt idx="323">
                  <c:v>0.55186506116605372</c:v>
                </c:pt>
                <c:pt idx="324">
                  <c:v>0.55186962641225878</c:v>
                </c:pt>
                <c:pt idx="325">
                  <c:v>0.55294627346456426</c:v>
                </c:pt>
                <c:pt idx="326">
                  <c:v>0.56387826400955088</c:v>
                </c:pt>
                <c:pt idx="327">
                  <c:v>0.56346402020671882</c:v>
                </c:pt>
                <c:pt idx="328">
                  <c:v>0.56965540991025165</c:v>
                </c:pt>
                <c:pt idx="329">
                  <c:v>0.56980227268621975</c:v>
                </c:pt>
                <c:pt idx="330">
                  <c:v>0.5696248987273308</c:v>
                </c:pt>
                <c:pt idx="331">
                  <c:v>0.56802418557146117</c:v>
                </c:pt>
                <c:pt idx="332">
                  <c:v>0.56563221523219875</c:v>
                </c:pt>
                <c:pt idx="333">
                  <c:v>0.56490473380348616</c:v>
                </c:pt>
                <c:pt idx="334">
                  <c:v>0.56497276222999449</c:v>
                </c:pt>
                <c:pt idx="335">
                  <c:v>0.56560924651598554</c:v>
                </c:pt>
                <c:pt idx="336">
                  <c:v>0.57427077857170727</c:v>
                </c:pt>
                <c:pt idx="337">
                  <c:v>0.5789396255436231</c:v>
                </c:pt>
                <c:pt idx="338">
                  <c:v>0.57841210120431452</c:v>
                </c:pt>
                <c:pt idx="339">
                  <c:v>0.57910793692971263</c:v>
                </c:pt>
                <c:pt idx="340">
                  <c:v>0.57917255798931178</c:v>
                </c:pt>
                <c:pt idx="341">
                  <c:v>0.5838346564438075</c:v>
                </c:pt>
                <c:pt idx="342">
                  <c:v>0.58116227060666648</c:v>
                </c:pt>
                <c:pt idx="343">
                  <c:v>0.57843945274298025</c:v>
                </c:pt>
                <c:pt idx="344">
                  <c:v>0.57106999224180821</c:v>
                </c:pt>
                <c:pt idx="345">
                  <c:v>0.56866556817792657</c:v>
                </c:pt>
                <c:pt idx="346">
                  <c:v>0.57375938761354051</c:v>
                </c:pt>
                <c:pt idx="347">
                  <c:v>0.57395600786459167</c:v>
                </c:pt>
                <c:pt idx="348">
                  <c:v>0.5655119308544333</c:v>
                </c:pt>
                <c:pt idx="349">
                  <c:v>0.56728815105242858</c:v>
                </c:pt>
                <c:pt idx="350">
                  <c:v>0.56401716560167736</c:v>
                </c:pt>
                <c:pt idx="351">
                  <c:v>0.5975300490163441</c:v>
                </c:pt>
                <c:pt idx="352">
                  <c:v>0.5954021500565454</c:v>
                </c:pt>
                <c:pt idx="353">
                  <c:v>0.61349068233487503</c:v>
                </c:pt>
                <c:pt idx="354">
                  <c:v>0.61247513932938302</c:v>
                </c:pt>
                <c:pt idx="355">
                  <c:v>0.60627405485820329</c:v>
                </c:pt>
                <c:pt idx="356">
                  <c:v>0.60507514440695997</c:v>
                </c:pt>
                <c:pt idx="357">
                  <c:v>0.60859857854173938</c:v>
                </c:pt>
                <c:pt idx="358">
                  <c:v>0.60557183895534672</c:v>
                </c:pt>
                <c:pt idx="359">
                  <c:v>0.6058126709884506</c:v>
                </c:pt>
                <c:pt idx="360">
                  <c:v>0.60592395432873758</c:v>
                </c:pt>
                <c:pt idx="361">
                  <c:v>0.60735813214677592</c:v>
                </c:pt>
                <c:pt idx="362">
                  <c:v>0.60211561558224524</c:v>
                </c:pt>
                <c:pt idx="363">
                  <c:v>0.60301626525048435</c:v>
                </c:pt>
                <c:pt idx="364">
                  <c:v>0.594561951799354</c:v>
                </c:pt>
                <c:pt idx="365">
                  <c:v>0.59999186716066133</c:v>
                </c:pt>
                <c:pt idx="366">
                  <c:v>0.60066316027753197</c:v>
                </c:pt>
                <c:pt idx="367">
                  <c:v>0.59985322097463334</c:v>
                </c:pt>
                <c:pt idx="368">
                  <c:v>0.5969502493673402</c:v>
                </c:pt>
                <c:pt idx="369">
                  <c:v>0.59078611416614024</c:v>
                </c:pt>
                <c:pt idx="370">
                  <c:v>0.58962358976240692</c:v>
                </c:pt>
                <c:pt idx="371">
                  <c:v>0.58783106377574579</c:v>
                </c:pt>
                <c:pt idx="372">
                  <c:v>0.58909782445729386</c:v>
                </c:pt>
                <c:pt idx="373">
                  <c:v>0.58345979016019855</c:v>
                </c:pt>
                <c:pt idx="374">
                  <c:v>0.58299650142833059</c:v>
                </c:pt>
                <c:pt idx="375">
                  <c:v>0.58591787163531461</c:v>
                </c:pt>
                <c:pt idx="376">
                  <c:v>0.58578724255920156</c:v>
                </c:pt>
                <c:pt idx="377">
                  <c:v>0.58667685874000597</c:v>
                </c:pt>
                <c:pt idx="378">
                  <c:v>0.57761590263698026</c:v>
                </c:pt>
                <c:pt idx="379">
                  <c:v>0.5775291898834507</c:v>
                </c:pt>
                <c:pt idx="380">
                  <c:v>0.57229782914552119</c:v>
                </c:pt>
                <c:pt idx="381">
                  <c:v>0.57292344471350432</c:v>
                </c:pt>
                <c:pt idx="382">
                  <c:v>0.57332852694461367</c:v>
                </c:pt>
                <c:pt idx="383">
                  <c:v>0.57133244847422782</c:v>
                </c:pt>
                <c:pt idx="384">
                  <c:v>0.57014945938390948</c:v>
                </c:pt>
                <c:pt idx="385">
                  <c:v>0.56990140214945706</c:v>
                </c:pt>
                <c:pt idx="386">
                  <c:v>0.56912618972203011</c:v>
                </c:pt>
                <c:pt idx="387">
                  <c:v>0.57028278631035101</c:v>
                </c:pt>
                <c:pt idx="388">
                  <c:v>0.5695745964447857</c:v>
                </c:pt>
                <c:pt idx="389">
                  <c:v>0.56972499645896724</c:v>
                </c:pt>
                <c:pt idx="390">
                  <c:v>0.57020969167106794</c:v>
                </c:pt>
                <c:pt idx="391">
                  <c:v>0.57124605070497469</c:v>
                </c:pt>
                <c:pt idx="392">
                  <c:v>0.56880833602512593</c:v>
                </c:pt>
                <c:pt idx="393">
                  <c:v>0.56825697175675538</c:v>
                </c:pt>
                <c:pt idx="394">
                  <c:v>0.56655302593921242</c:v>
                </c:pt>
                <c:pt idx="395">
                  <c:v>0.56609470756451241</c:v>
                </c:pt>
                <c:pt idx="396">
                  <c:v>0.56573655756745844</c:v>
                </c:pt>
                <c:pt idx="397">
                  <c:v>0.56588750603691085</c:v>
                </c:pt>
                <c:pt idx="398">
                  <c:v>0.56522538184364435</c:v>
                </c:pt>
                <c:pt idx="399">
                  <c:v>0.56485764079168721</c:v>
                </c:pt>
                <c:pt idx="400">
                  <c:v>0.56398839980971605</c:v>
                </c:pt>
                <c:pt idx="401">
                  <c:v>0.56076859517867805</c:v>
                </c:pt>
                <c:pt idx="402">
                  <c:v>0.55833021483184309</c:v>
                </c:pt>
                <c:pt idx="403">
                  <c:v>0.55841617587971559</c:v>
                </c:pt>
                <c:pt idx="404">
                  <c:v>0.5586550914966375</c:v>
                </c:pt>
                <c:pt idx="405">
                  <c:v>0.55338549931556813</c:v>
                </c:pt>
                <c:pt idx="406">
                  <c:v>0.55316191473829901</c:v>
                </c:pt>
                <c:pt idx="407">
                  <c:v>0.55264782352520669</c:v>
                </c:pt>
                <c:pt idx="408">
                  <c:v>0.54989834399381199</c:v>
                </c:pt>
                <c:pt idx="409">
                  <c:v>0.55102426185711451</c:v>
                </c:pt>
                <c:pt idx="410">
                  <c:v>0.5445272130552542</c:v>
                </c:pt>
                <c:pt idx="411">
                  <c:v>0.54439827844598676</c:v>
                </c:pt>
                <c:pt idx="412">
                  <c:v>0.54901612661460641</c:v>
                </c:pt>
                <c:pt idx="413">
                  <c:v>0.54257810859352307</c:v>
                </c:pt>
                <c:pt idx="414">
                  <c:v>0.54695518897215289</c:v>
                </c:pt>
                <c:pt idx="415">
                  <c:v>0.54253622197785834</c:v>
                </c:pt>
                <c:pt idx="416">
                  <c:v>0.53992862444171941</c:v>
                </c:pt>
                <c:pt idx="417">
                  <c:v>0.53730974200975556</c:v>
                </c:pt>
                <c:pt idx="418">
                  <c:v>0.5365732065830211</c:v>
                </c:pt>
                <c:pt idx="419">
                  <c:v>0.53447792035173991</c:v>
                </c:pt>
                <c:pt idx="420">
                  <c:v>0.535987194764454</c:v>
                </c:pt>
                <c:pt idx="421">
                  <c:v>0.5367988430876518</c:v>
                </c:pt>
                <c:pt idx="422">
                  <c:v>0.53733135527003606</c:v>
                </c:pt>
                <c:pt idx="423">
                  <c:v>0.53631531589036208</c:v>
                </c:pt>
                <c:pt idx="424">
                  <c:v>0.5479356360917097</c:v>
                </c:pt>
                <c:pt idx="425">
                  <c:v>0.54802665005890061</c:v>
                </c:pt>
                <c:pt idx="426">
                  <c:v>0.54814546725959445</c:v>
                </c:pt>
                <c:pt idx="427">
                  <c:v>0.54855046337878188</c:v>
                </c:pt>
                <c:pt idx="428">
                  <c:v>0.54471814204856495</c:v>
                </c:pt>
                <c:pt idx="429">
                  <c:v>0.54558184663291776</c:v>
                </c:pt>
                <c:pt idx="430">
                  <c:v>0.54347896274586827</c:v>
                </c:pt>
                <c:pt idx="431">
                  <c:v>0.54434536481480511</c:v>
                </c:pt>
                <c:pt idx="432">
                  <c:v>0.5489596059040478</c:v>
                </c:pt>
                <c:pt idx="433">
                  <c:v>0.54959808827999235</c:v>
                </c:pt>
                <c:pt idx="434">
                  <c:v>0.55005177561207774</c:v>
                </c:pt>
                <c:pt idx="435">
                  <c:v>0.5483078214684145</c:v>
                </c:pt>
                <c:pt idx="436">
                  <c:v>0.54663064634951841</c:v>
                </c:pt>
                <c:pt idx="437">
                  <c:v>0.54364122239947765</c:v>
                </c:pt>
                <c:pt idx="438">
                  <c:v>0.54344180634380423</c:v>
                </c:pt>
                <c:pt idx="439">
                  <c:v>0.54355594709252619</c:v>
                </c:pt>
                <c:pt idx="440">
                  <c:v>0.54392298768212599</c:v>
                </c:pt>
                <c:pt idx="441">
                  <c:v>0.54218721908673062</c:v>
                </c:pt>
                <c:pt idx="442">
                  <c:v>0.54361582595617208</c:v>
                </c:pt>
                <c:pt idx="443">
                  <c:v>0.54024972207639543</c:v>
                </c:pt>
                <c:pt idx="444">
                  <c:v>0.53866839993629878</c:v>
                </c:pt>
                <c:pt idx="445">
                  <c:v>0.53807020569151631</c:v>
                </c:pt>
                <c:pt idx="446">
                  <c:v>0.53806511863531881</c:v>
                </c:pt>
                <c:pt idx="447">
                  <c:v>0.53444878351382497</c:v>
                </c:pt>
                <c:pt idx="448">
                  <c:v>0.53381051941961055</c:v>
                </c:pt>
                <c:pt idx="449">
                  <c:v>0.53329908306700213</c:v>
                </c:pt>
                <c:pt idx="450">
                  <c:v>0.53300547058838588</c:v>
                </c:pt>
                <c:pt idx="451">
                  <c:v>0.53208311080073678</c:v>
                </c:pt>
                <c:pt idx="452">
                  <c:v>0.53263120462910929</c:v>
                </c:pt>
                <c:pt idx="453">
                  <c:v>0.53277969093214339</c:v>
                </c:pt>
                <c:pt idx="454">
                  <c:v>0.53012206104114878</c:v>
                </c:pt>
                <c:pt idx="455">
                  <c:v>0.52603743204148146</c:v>
                </c:pt>
                <c:pt idx="456">
                  <c:v>0.52243666104312714</c:v>
                </c:pt>
                <c:pt idx="457">
                  <c:v>0.52164035712501244</c:v>
                </c:pt>
                <c:pt idx="458">
                  <c:v>0.52072197057015934</c:v>
                </c:pt>
                <c:pt idx="459">
                  <c:v>0.52001160417588699</c:v>
                </c:pt>
                <c:pt idx="460">
                  <c:v>0.51916608983167867</c:v>
                </c:pt>
                <c:pt idx="461">
                  <c:v>0.5147952622335491</c:v>
                </c:pt>
                <c:pt idx="462">
                  <c:v>0.51385036348503088</c:v>
                </c:pt>
                <c:pt idx="463">
                  <c:v>0.51364223896836936</c:v>
                </c:pt>
                <c:pt idx="464">
                  <c:v>0.51441356562964924</c:v>
                </c:pt>
                <c:pt idx="465">
                  <c:v>0.51491754583091576</c:v>
                </c:pt>
                <c:pt idx="466">
                  <c:v>0.5158734274568918</c:v>
                </c:pt>
                <c:pt idx="467">
                  <c:v>0.51606239141237487</c:v>
                </c:pt>
                <c:pt idx="468">
                  <c:v>0.51603150820612975</c:v>
                </c:pt>
                <c:pt idx="469">
                  <c:v>0.51340782863824452</c:v>
                </c:pt>
                <c:pt idx="470">
                  <c:v>0.51364313574060005</c:v>
                </c:pt>
                <c:pt idx="471">
                  <c:v>0.51369665488231275</c:v>
                </c:pt>
                <c:pt idx="472">
                  <c:v>0.51391753561943254</c:v>
                </c:pt>
                <c:pt idx="473">
                  <c:v>0.50623338084908909</c:v>
                </c:pt>
                <c:pt idx="474">
                  <c:v>0.50619618015445966</c:v>
                </c:pt>
                <c:pt idx="475">
                  <c:v>0.50305860314357409</c:v>
                </c:pt>
                <c:pt idx="476">
                  <c:v>0.50202537346133491</c:v>
                </c:pt>
                <c:pt idx="477">
                  <c:v>0.50168378241004552</c:v>
                </c:pt>
                <c:pt idx="478">
                  <c:v>0.50161930927165543</c:v>
                </c:pt>
                <c:pt idx="479">
                  <c:v>0.50128712268041375</c:v>
                </c:pt>
                <c:pt idx="480">
                  <c:v>0.49649392980694718</c:v>
                </c:pt>
                <c:pt idx="481">
                  <c:v>0.49312404315964725</c:v>
                </c:pt>
                <c:pt idx="482">
                  <c:v>0.48960148549055804</c:v>
                </c:pt>
                <c:pt idx="483">
                  <c:v>0.49226886339046289</c:v>
                </c:pt>
                <c:pt idx="484">
                  <c:v>0.49254890494869813</c:v>
                </c:pt>
                <c:pt idx="485">
                  <c:v>0.49916902623405901</c:v>
                </c:pt>
                <c:pt idx="486">
                  <c:v>0.5015732013584735</c:v>
                </c:pt>
                <c:pt idx="487">
                  <c:v>0.51790702048741222</c:v>
                </c:pt>
                <c:pt idx="488">
                  <c:v>0.52018166669793819</c:v>
                </c:pt>
                <c:pt idx="489">
                  <c:v>0.5178587225067498</c:v>
                </c:pt>
                <c:pt idx="490">
                  <c:v>0.5178314708922499</c:v>
                </c:pt>
                <c:pt idx="491">
                  <c:v>0.51985662210797556</c:v>
                </c:pt>
                <c:pt idx="492">
                  <c:v>0.51935938838004925</c:v>
                </c:pt>
                <c:pt idx="493">
                  <c:v>0.51973303114259262</c:v>
                </c:pt>
                <c:pt idx="494">
                  <c:v>0.51957970847049084</c:v>
                </c:pt>
                <c:pt idx="495">
                  <c:v>0.51985445037701583</c:v>
                </c:pt>
                <c:pt idx="496">
                  <c:v>0.52057873751915529</c:v>
                </c:pt>
                <c:pt idx="497">
                  <c:v>0.5199711041750249</c:v>
                </c:pt>
                <c:pt idx="498">
                  <c:v>0.51109724718608207</c:v>
                </c:pt>
                <c:pt idx="499">
                  <c:v>0.51067759353786712</c:v>
                </c:pt>
                <c:pt idx="500">
                  <c:v>0.50850045534409705</c:v>
                </c:pt>
                <c:pt idx="501">
                  <c:v>0.50791099265268358</c:v>
                </c:pt>
                <c:pt idx="502">
                  <c:v>0.50950682136860659</c:v>
                </c:pt>
                <c:pt idx="503">
                  <c:v>0.50983082773711363</c:v>
                </c:pt>
                <c:pt idx="504">
                  <c:v>0.5127532744390586</c:v>
                </c:pt>
                <c:pt idx="505">
                  <c:v>0.51260056472247395</c:v>
                </c:pt>
                <c:pt idx="506">
                  <c:v>0.51125759714844965</c:v>
                </c:pt>
                <c:pt idx="507">
                  <c:v>0.51644934701261824</c:v>
                </c:pt>
                <c:pt idx="508">
                  <c:v>0.51755060332217262</c:v>
                </c:pt>
                <c:pt idx="509">
                  <c:v>0.51828084754431658</c:v>
                </c:pt>
                <c:pt idx="510">
                  <c:v>0.5179866245116711</c:v>
                </c:pt>
                <c:pt idx="511">
                  <c:v>0.52026911215890181</c:v>
                </c:pt>
                <c:pt idx="512">
                  <c:v>0.51934962184992217</c:v>
                </c:pt>
                <c:pt idx="513">
                  <c:v>0.51943099772698131</c:v>
                </c:pt>
                <c:pt idx="514">
                  <c:v>0.51943811625190905</c:v>
                </c:pt>
                <c:pt idx="515">
                  <c:v>0.51907147226555594</c:v>
                </c:pt>
                <c:pt idx="516">
                  <c:v>0.51977689473447553</c:v>
                </c:pt>
                <c:pt idx="517">
                  <c:v>0.52022147231886406</c:v>
                </c:pt>
                <c:pt idx="518">
                  <c:v>0.52050893620694472</c:v>
                </c:pt>
                <c:pt idx="519">
                  <c:v>0.52165770472086048</c:v>
                </c:pt>
                <c:pt idx="520">
                  <c:v>0.52148946943596886</c:v>
                </c:pt>
                <c:pt idx="521">
                  <c:v>0.52217557818498861</c:v>
                </c:pt>
                <c:pt idx="522">
                  <c:v>0.5226701566222286</c:v>
                </c:pt>
                <c:pt idx="523">
                  <c:v>0.52271025479872124</c:v>
                </c:pt>
                <c:pt idx="524">
                  <c:v>0.52532488514689968</c:v>
                </c:pt>
                <c:pt idx="525">
                  <c:v>0.52524491390572259</c:v>
                </c:pt>
                <c:pt idx="526">
                  <c:v>0.52466871346272481</c:v>
                </c:pt>
                <c:pt idx="527">
                  <c:v>0.52262477065228274</c:v>
                </c:pt>
                <c:pt idx="528">
                  <c:v>0.52403657417521343</c:v>
                </c:pt>
                <c:pt idx="529">
                  <c:v>0.52484971663585178</c:v>
                </c:pt>
                <c:pt idx="530">
                  <c:v>0.52445364173328657</c:v>
                </c:pt>
                <c:pt idx="531">
                  <c:v>0.52428686182126061</c:v>
                </c:pt>
                <c:pt idx="532">
                  <c:v>0.52482928194686684</c:v>
                </c:pt>
                <c:pt idx="533">
                  <c:v>0.52318896085464872</c:v>
                </c:pt>
                <c:pt idx="534">
                  <c:v>0.52394198336623488</c:v>
                </c:pt>
                <c:pt idx="535">
                  <c:v>0.5247435221927651</c:v>
                </c:pt>
                <c:pt idx="536">
                  <c:v>0.52546868838248906</c:v>
                </c:pt>
                <c:pt idx="537">
                  <c:v>0.52642195168656947</c:v>
                </c:pt>
                <c:pt idx="538">
                  <c:v>0.52729634625921051</c:v>
                </c:pt>
                <c:pt idx="539">
                  <c:v>0.52622290574651376</c:v>
                </c:pt>
                <c:pt idx="540">
                  <c:v>0.52698547330221635</c:v>
                </c:pt>
                <c:pt idx="541">
                  <c:v>0.52680017301961657</c:v>
                </c:pt>
                <c:pt idx="542">
                  <c:v>0.52728028569737151</c:v>
                </c:pt>
                <c:pt idx="543">
                  <c:v>0.5274530483574511</c:v>
                </c:pt>
                <c:pt idx="544">
                  <c:v>0.52666726737548553</c:v>
                </c:pt>
                <c:pt idx="545">
                  <c:v>0.52655260426904527</c:v>
                </c:pt>
                <c:pt idx="546">
                  <c:v>0.52634111956582674</c:v>
                </c:pt>
                <c:pt idx="547">
                  <c:v>0.52756961646487022</c:v>
                </c:pt>
                <c:pt idx="548">
                  <c:v>0.52740206380526244</c:v>
                </c:pt>
                <c:pt idx="549">
                  <c:v>0.52765585681693805</c:v>
                </c:pt>
                <c:pt idx="550">
                  <c:v>0.52762759761939726</c:v>
                </c:pt>
                <c:pt idx="551">
                  <c:v>0.5273008554937475</c:v>
                </c:pt>
                <c:pt idx="552">
                  <c:v>0.52653685985541909</c:v>
                </c:pt>
                <c:pt idx="553">
                  <c:v>0.52659826810175325</c:v>
                </c:pt>
                <c:pt idx="554">
                  <c:v>0.52996175379531363</c:v>
                </c:pt>
                <c:pt idx="555">
                  <c:v>0.5299608901371512</c:v>
                </c:pt>
                <c:pt idx="556">
                  <c:v>0.53018993600224984</c:v>
                </c:pt>
                <c:pt idx="557">
                  <c:v>0.53063583563048267</c:v>
                </c:pt>
                <c:pt idx="558">
                  <c:v>0.53150869415602708</c:v>
                </c:pt>
                <c:pt idx="559">
                  <c:v>0.53213330114184965</c:v>
                </c:pt>
                <c:pt idx="560">
                  <c:v>0.53201005408819524</c:v>
                </c:pt>
                <c:pt idx="561">
                  <c:v>0.53194203367713866</c:v>
                </c:pt>
                <c:pt idx="562">
                  <c:v>0.53182153616143246</c:v>
                </c:pt>
                <c:pt idx="563">
                  <c:v>0.53159074423267938</c:v>
                </c:pt>
                <c:pt idx="564">
                  <c:v>0.53179311134604235</c:v>
                </c:pt>
                <c:pt idx="565">
                  <c:v>0.53187053581942356</c:v>
                </c:pt>
                <c:pt idx="566">
                  <c:v>0.53225831315738548</c:v>
                </c:pt>
                <c:pt idx="567">
                  <c:v>0.53066669819226087</c:v>
                </c:pt>
                <c:pt idx="568">
                  <c:v>0.53065668225645324</c:v>
                </c:pt>
                <c:pt idx="569">
                  <c:v>0.53262182099448052</c:v>
                </c:pt>
                <c:pt idx="570">
                  <c:v>0.53298815675529687</c:v>
                </c:pt>
                <c:pt idx="571">
                  <c:v>0.53285397957499037</c:v>
                </c:pt>
                <c:pt idx="572">
                  <c:v>0.53109149184282523</c:v>
                </c:pt>
                <c:pt idx="573">
                  <c:v>0.53159182925321602</c:v>
                </c:pt>
                <c:pt idx="574">
                  <c:v>0.53159764025659695</c:v>
                </c:pt>
                <c:pt idx="575">
                  <c:v>0.53061457772475895</c:v>
                </c:pt>
                <c:pt idx="576">
                  <c:v>0.53119766409277602</c:v>
                </c:pt>
                <c:pt idx="577">
                  <c:v>0.53104457909760472</c:v>
                </c:pt>
                <c:pt idx="578">
                  <c:v>0.53078228330701827</c:v>
                </c:pt>
                <c:pt idx="579">
                  <c:v>0.53105351993066396</c:v>
                </c:pt>
                <c:pt idx="580">
                  <c:v>0.53102313984067728</c:v>
                </c:pt>
                <c:pt idx="581">
                  <c:v>0.53100789395254977</c:v>
                </c:pt>
                <c:pt idx="582">
                  <c:v>0.53068091863908962</c:v>
                </c:pt>
                <c:pt idx="583">
                  <c:v>0.53092527418325342</c:v>
                </c:pt>
                <c:pt idx="584">
                  <c:v>0.53117046391342171</c:v>
                </c:pt>
                <c:pt idx="585">
                  <c:v>0.53204664871034679</c:v>
                </c:pt>
                <c:pt idx="586">
                  <c:v>0.5319045499466355</c:v>
                </c:pt>
                <c:pt idx="587">
                  <c:v>0.53142954324260483</c:v>
                </c:pt>
                <c:pt idx="588">
                  <c:v>0.53155440215661176</c:v>
                </c:pt>
                <c:pt idx="589">
                  <c:v>0.53176163285320288</c:v>
                </c:pt>
                <c:pt idx="590">
                  <c:v>0.53103547966163067</c:v>
                </c:pt>
                <c:pt idx="591">
                  <c:v>0.53095001833554334</c:v>
                </c:pt>
                <c:pt idx="592">
                  <c:v>0.53187513016432098</c:v>
                </c:pt>
                <c:pt idx="593">
                  <c:v>0.53184981096592077</c:v>
                </c:pt>
                <c:pt idx="594">
                  <c:v>0.53191210035408543</c:v>
                </c:pt>
                <c:pt idx="595">
                  <c:v>0.53246373558584903</c:v>
                </c:pt>
                <c:pt idx="596">
                  <c:v>0.53135258622245107</c:v>
                </c:pt>
                <c:pt idx="597">
                  <c:v>0.53132956323613612</c:v>
                </c:pt>
                <c:pt idx="598">
                  <c:v>0.53133457066762724</c:v>
                </c:pt>
                <c:pt idx="599">
                  <c:v>0.53209248777936058</c:v>
                </c:pt>
                <c:pt idx="600">
                  <c:v>0.53113938991765974</c:v>
                </c:pt>
                <c:pt idx="601">
                  <c:v>0.53132529251446226</c:v>
                </c:pt>
                <c:pt idx="602">
                  <c:v>0.53064922606353593</c:v>
                </c:pt>
                <c:pt idx="603">
                  <c:v>0.53175744403129965</c:v>
                </c:pt>
                <c:pt idx="604">
                  <c:v>0.53312556955007728</c:v>
                </c:pt>
                <c:pt idx="605">
                  <c:v>0.53383875898501654</c:v>
                </c:pt>
                <c:pt idx="606">
                  <c:v>0.53349370159049325</c:v>
                </c:pt>
                <c:pt idx="607">
                  <c:v>0.53507675866826709</c:v>
                </c:pt>
                <c:pt idx="608">
                  <c:v>0.53534593909361872</c:v>
                </c:pt>
                <c:pt idx="609">
                  <c:v>0.53355197921356867</c:v>
                </c:pt>
                <c:pt idx="610">
                  <c:v>0.53413719383654445</c:v>
                </c:pt>
                <c:pt idx="611">
                  <c:v>0.53427552870186656</c:v>
                </c:pt>
                <c:pt idx="612">
                  <c:v>0.53498259808231285</c:v>
                </c:pt>
                <c:pt idx="613">
                  <c:v>0.5357123586250141</c:v>
                </c:pt>
                <c:pt idx="614">
                  <c:v>0.53728615677191216</c:v>
                </c:pt>
                <c:pt idx="615">
                  <c:v>0.5363700507322583</c:v>
                </c:pt>
                <c:pt idx="616">
                  <c:v>0.5364309791364833</c:v>
                </c:pt>
                <c:pt idx="617">
                  <c:v>0.53498842798624624</c:v>
                </c:pt>
                <c:pt idx="618">
                  <c:v>0.53488207856331449</c:v>
                </c:pt>
                <c:pt idx="619">
                  <c:v>0.53495636652410039</c:v>
                </c:pt>
                <c:pt idx="620">
                  <c:v>0.5344899685005442</c:v>
                </c:pt>
                <c:pt idx="621">
                  <c:v>0.53472401810496073</c:v>
                </c:pt>
                <c:pt idx="622">
                  <c:v>0.53336882374664629</c:v>
                </c:pt>
                <c:pt idx="623">
                  <c:v>0.53348932703749163</c:v>
                </c:pt>
                <c:pt idx="624">
                  <c:v>0.53170831635202298</c:v>
                </c:pt>
                <c:pt idx="625">
                  <c:v>0.53154157577000449</c:v>
                </c:pt>
                <c:pt idx="626">
                  <c:v>0.53092559034314135</c:v>
                </c:pt>
                <c:pt idx="627">
                  <c:v>0.52919108037025575</c:v>
                </c:pt>
                <c:pt idx="628">
                  <c:v>0.53010983278935442</c:v>
                </c:pt>
                <c:pt idx="629">
                  <c:v>0.53090634748983168</c:v>
                </c:pt>
                <c:pt idx="630">
                  <c:v>0.53323876277304638</c:v>
                </c:pt>
                <c:pt idx="631">
                  <c:v>0.53571957684368299</c:v>
                </c:pt>
                <c:pt idx="632">
                  <c:v>0.5374519158419131</c:v>
                </c:pt>
                <c:pt idx="633">
                  <c:v>0.54059758267688041</c:v>
                </c:pt>
                <c:pt idx="634">
                  <c:v>0.54045260706081233</c:v>
                </c:pt>
                <c:pt idx="635">
                  <c:v>0.54071732142260276</c:v>
                </c:pt>
                <c:pt idx="636">
                  <c:v>0.54131347926187734</c:v>
                </c:pt>
                <c:pt idx="637">
                  <c:v>0.54080631343770491</c:v>
                </c:pt>
                <c:pt idx="638">
                  <c:v>0.54094294616501959</c:v>
                </c:pt>
                <c:pt idx="639">
                  <c:v>0.54078386468236317</c:v>
                </c:pt>
                <c:pt idx="640">
                  <c:v>0.5412166776760079</c:v>
                </c:pt>
                <c:pt idx="641">
                  <c:v>0.54128099867126533</c:v>
                </c:pt>
                <c:pt idx="642">
                  <c:v>0.54166807584315169</c:v>
                </c:pt>
                <c:pt idx="643">
                  <c:v>0.54139255236489381</c:v>
                </c:pt>
                <c:pt idx="644">
                  <c:v>0.54155055846979105</c:v>
                </c:pt>
                <c:pt idx="645">
                  <c:v>0.54133153245558474</c:v>
                </c:pt>
                <c:pt idx="646">
                  <c:v>0.54124318825430195</c:v>
                </c:pt>
                <c:pt idx="647">
                  <c:v>0.53946066164152351</c:v>
                </c:pt>
                <c:pt idx="648">
                  <c:v>0.53957986487108722</c:v>
                </c:pt>
                <c:pt idx="649">
                  <c:v>0.53937590055429696</c:v>
                </c:pt>
                <c:pt idx="650">
                  <c:v>0.53962724555696218</c:v>
                </c:pt>
                <c:pt idx="651">
                  <c:v>0.53961839899363395</c:v>
                </c:pt>
                <c:pt idx="652">
                  <c:v>0.53954786545647704</c:v>
                </c:pt>
                <c:pt idx="653">
                  <c:v>0.54027554238056752</c:v>
                </c:pt>
                <c:pt idx="654">
                  <c:v>0.540915059962082</c:v>
                </c:pt>
                <c:pt idx="655">
                  <c:v>0.54086864582346517</c:v>
                </c:pt>
                <c:pt idx="656">
                  <c:v>0.54076469537751193</c:v>
                </c:pt>
                <c:pt idx="657">
                  <c:v>0.54056984249062912</c:v>
                </c:pt>
                <c:pt idx="658">
                  <c:v>0.54057381047820352</c:v>
                </c:pt>
                <c:pt idx="659">
                  <c:v>0.54045337492388201</c:v>
                </c:pt>
                <c:pt idx="660">
                  <c:v>0.54017064929141689</c:v>
                </c:pt>
                <c:pt idx="661">
                  <c:v>0.54056805293418408</c:v>
                </c:pt>
                <c:pt idx="662">
                  <c:v>0.54044317695453969</c:v>
                </c:pt>
                <c:pt idx="663">
                  <c:v>0.54065979864080427</c:v>
                </c:pt>
                <c:pt idx="664">
                  <c:v>0.53946646478976434</c:v>
                </c:pt>
                <c:pt idx="665">
                  <c:v>0.54153935728911251</c:v>
                </c:pt>
                <c:pt idx="666">
                  <c:v>0.54540630926234634</c:v>
                </c:pt>
                <c:pt idx="667">
                  <c:v>0.54828283410611645</c:v>
                </c:pt>
                <c:pt idx="668">
                  <c:v>0.54966688847089373</c:v>
                </c:pt>
                <c:pt idx="669">
                  <c:v>0.55052067724496756</c:v>
                </c:pt>
                <c:pt idx="670">
                  <c:v>0.55075967808939108</c:v>
                </c:pt>
                <c:pt idx="671">
                  <c:v>0.5506180432955371</c:v>
                </c:pt>
                <c:pt idx="672">
                  <c:v>0.55092871509371766</c:v>
                </c:pt>
                <c:pt idx="673">
                  <c:v>0.54990460299575639</c:v>
                </c:pt>
                <c:pt idx="674">
                  <c:v>0.54960236740577872</c:v>
                </c:pt>
                <c:pt idx="675">
                  <c:v>0.54928905703806297</c:v>
                </c:pt>
                <c:pt idx="676">
                  <c:v>0.54220991613696934</c:v>
                </c:pt>
                <c:pt idx="677">
                  <c:v>0.54198193348209622</c:v>
                </c:pt>
                <c:pt idx="678">
                  <c:v>0.54142173037674168</c:v>
                </c:pt>
                <c:pt idx="679">
                  <c:v>0.5408615555625681</c:v>
                </c:pt>
                <c:pt idx="680">
                  <c:v>0.54114725705927225</c:v>
                </c:pt>
                <c:pt idx="681">
                  <c:v>0.54093426359897434</c:v>
                </c:pt>
                <c:pt idx="682">
                  <c:v>0.54212455671913162</c:v>
                </c:pt>
                <c:pt idx="683">
                  <c:v>0.5413446013681712</c:v>
                </c:pt>
                <c:pt idx="684">
                  <c:v>0.54106853356218654</c:v>
                </c:pt>
                <c:pt idx="685">
                  <c:v>0.54082391204629265</c:v>
                </c:pt>
                <c:pt idx="686">
                  <c:v>0.54074063074330592</c:v>
                </c:pt>
                <c:pt idx="687">
                  <c:v>0.54058037382219848</c:v>
                </c:pt>
                <c:pt idx="688">
                  <c:v>0.54164290352514466</c:v>
                </c:pt>
                <c:pt idx="689">
                  <c:v>0.54300302228577924</c:v>
                </c:pt>
                <c:pt idx="690">
                  <c:v>0.54281644132177509</c:v>
                </c:pt>
                <c:pt idx="691">
                  <c:v>0.54423585607200753</c:v>
                </c:pt>
                <c:pt idx="692">
                  <c:v>0.54478717247877329</c:v>
                </c:pt>
                <c:pt idx="693">
                  <c:v>0.54783856898348149</c:v>
                </c:pt>
                <c:pt idx="694">
                  <c:v>0.54775745744310245</c:v>
                </c:pt>
                <c:pt idx="695">
                  <c:v>0.54819358961370723</c:v>
                </c:pt>
                <c:pt idx="696">
                  <c:v>0.54779222730389932</c:v>
                </c:pt>
                <c:pt idx="697">
                  <c:v>0.54860823176045848</c:v>
                </c:pt>
                <c:pt idx="698">
                  <c:v>0.54860362068797686</c:v>
                </c:pt>
                <c:pt idx="699">
                  <c:v>0.54917305584165177</c:v>
                </c:pt>
                <c:pt idx="700">
                  <c:v>0.55055389731938265</c:v>
                </c:pt>
                <c:pt idx="701">
                  <c:v>0.54936345621667715</c:v>
                </c:pt>
                <c:pt idx="702">
                  <c:v>0.54902319022868151</c:v>
                </c:pt>
                <c:pt idx="703">
                  <c:v>0.54662258983870293</c:v>
                </c:pt>
                <c:pt idx="704">
                  <c:v>0.54119757887492859</c:v>
                </c:pt>
                <c:pt idx="705">
                  <c:v>0.53864326987848776</c:v>
                </c:pt>
                <c:pt idx="706">
                  <c:v>0.53782107886161135</c:v>
                </c:pt>
                <c:pt idx="707">
                  <c:v>0.53564366131821251</c:v>
                </c:pt>
                <c:pt idx="708">
                  <c:v>0.53546632309083697</c:v>
                </c:pt>
                <c:pt idx="709">
                  <c:v>0.53649964173691023</c:v>
                </c:pt>
                <c:pt idx="710">
                  <c:v>0.53636881869015729</c:v>
                </c:pt>
                <c:pt idx="711">
                  <c:v>0.53669081936861474</c:v>
                </c:pt>
                <c:pt idx="712">
                  <c:v>0.53595907692486422</c:v>
                </c:pt>
                <c:pt idx="713">
                  <c:v>0.53564816685286631</c:v>
                </c:pt>
                <c:pt idx="714">
                  <c:v>0.53596117117274378</c:v>
                </c:pt>
                <c:pt idx="715">
                  <c:v>0.53596889055391095</c:v>
                </c:pt>
                <c:pt idx="716">
                  <c:v>0.53550372369301591</c:v>
                </c:pt>
                <c:pt idx="717">
                  <c:v>0.53540075382108165</c:v>
                </c:pt>
                <c:pt idx="718">
                  <c:v>0.53508758557068425</c:v>
                </c:pt>
                <c:pt idx="719">
                  <c:v>0.53492863339076679</c:v>
                </c:pt>
                <c:pt idx="720">
                  <c:v>0.53494839870553557</c:v>
                </c:pt>
                <c:pt idx="721">
                  <c:v>0.53521490632924884</c:v>
                </c:pt>
                <c:pt idx="722">
                  <c:v>0.53402835841168661</c:v>
                </c:pt>
                <c:pt idx="723">
                  <c:v>0.53407270319073852</c:v>
                </c:pt>
                <c:pt idx="724">
                  <c:v>0.5342303013280344</c:v>
                </c:pt>
                <c:pt idx="725">
                  <c:v>0.53807926280287266</c:v>
                </c:pt>
                <c:pt idx="726">
                  <c:v>0.53808281788931589</c:v>
                </c:pt>
                <c:pt idx="727">
                  <c:v>0.53711457418916775</c:v>
                </c:pt>
                <c:pt idx="728">
                  <c:v>0.53805770080127358</c:v>
                </c:pt>
                <c:pt idx="729">
                  <c:v>0.53875124536386021</c:v>
                </c:pt>
                <c:pt idx="730">
                  <c:v>0.53873520495033744</c:v>
                </c:pt>
                <c:pt idx="731">
                  <c:v>0.5361769189852168</c:v>
                </c:pt>
                <c:pt idx="732">
                  <c:v>0.54052605135202458</c:v>
                </c:pt>
                <c:pt idx="733">
                  <c:v>0.54251458480510306</c:v>
                </c:pt>
                <c:pt idx="734">
                  <c:v>0.54390153699426314</c:v>
                </c:pt>
                <c:pt idx="735">
                  <c:v>0.54361901588821748</c:v>
                </c:pt>
                <c:pt idx="736">
                  <c:v>0.54337309227252462</c:v>
                </c:pt>
                <c:pt idx="737">
                  <c:v>0.54019176053851159</c:v>
                </c:pt>
                <c:pt idx="738">
                  <c:v>0.53928922846014238</c:v>
                </c:pt>
                <c:pt idx="739">
                  <c:v>0.52848356803032048</c:v>
                </c:pt>
                <c:pt idx="740">
                  <c:v>0.52676858285976247</c:v>
                </c:pt>
                <c:pt idx="741">
                  <c:v>0.52891654136112554</c:v>
                </c:pt>
                <c:pt idx="742">
                  <c:v>0.52906547173238594</c:v>
                </c:pt>
                <c:pt idx="743">
                  <c:v>0.52756913419463147</c:v>
                </c:pt>
                <c:pt idx="744">
                  <c:v>0.52691021540116911</c:v>
                </c:pt>
                <c:pt idx="745">
                  <c:v>0.52509317453112203</c:v>
                </c:pt>
                <c:pt idx="746">
                  <c:v>0.52476305712064375</c:v>
                </c:pt>
                <c:pt idx="747">
                  <c:v>0.52238296887706936</c:v>
                </c:pt>
                <c:pt idx="748">
                  <c:v>0.52157076111768486</c:v>
                </c:pt>
                <c:pt idx="749">
                  <c:v>0.52202450432067449</c:v>
                </c:pt>
                <c:pt idx="750">
                  <c:v>0.52706154457680343</c:v>
                </c:pt>
                <c:pt idx="751">
                  <c:v>0.52795645296956084</c:v>
                </c:pt>
                <c:pt idx="752">
                  <c:v>0.52987580914130794</c:v>
                </c:pt>
                <c:pt idx="753">
                  <c:v>0.52993060860961427</c:v>
                </c:pt>
                <c:pt idx="754">
                  <c:v>0.52811792831088478</c:v>
                </c:pt>
                <c:pt idx="755">
                  <c:v>0.52903547557403008</c:v>
                </c:pt>
                <c:pt idx="756">
                  <c:v>0.52714570254046811</c:v>
                </c:pt>
                <c:pt idx="757">
                  <c:v>0.52764309233515827</c:v>
                </c:pt>
                <c:pt idx="758">
                  <c:v>0.52783579995999708</c:v>
                </c:pt>
                <c:pt idx="759">
                  <c:v>0.52095634910666255</c:v>
                </c:pt>
                <c:pt idx="760">
                  <c:v>0.51947706953757822</c:v>
                </c:pt>
                <c:pt idx="761">
                  <c:v>0.51835514784187919</c:v>
                </c:pt>
                <c:pt idx="762">
                  <c:v>0.5186819474112998</c:v>
                </c:pt>
                <c:pt idx="763">
                  <c:v>0.51597988141465245</c:v>
                </c:pt>
                <c:pt idx="764">
                  <c:v>0.51742395128237895</c:v>
                </c:pt>
                <c:pt idx="765">
                  <c:v>0.51762096711518657</c:v>
                </c:pt>
                <c:pt idx="766">
                  <c:v>0.51724053810989667</c:v>
                </c:pt>
                <c:pt idx="767">
                  <c:v>0.51946456215571324</c:v>
                </c:pt>
                <c:pt idx="768">
                  <c:v>0.52096966510366638</c:v>
                </c:pt>
                <c:pt idx="769">
                  <c:v>0.52143158308326854</c:v>
                </c:pt>
                <c:pt idx="770">
                  <c:v>0.52124152891427944</c:v>
                </c:pt>
                <c:pt idx="771">
                  <c:v>0.51975658120497725</c:v>
                </c:pt>
                <c:pt idx="772">
                  <c:v>0.51925646348054866</c:v>
                </c:pt>
                <c:pt idx="773">
                  <c:v>0.51556440857750618</c:v>
                </c:pt>
                <c:pt idx="774">
                  <c:v>0.51722784200185035</c:v>
                </c:pt>
                <c:pt idx="775">
                  <c:v>0.5170947542106259</c:v>
                </c:pt>
                <c:pt idx="776">
                  <c:v>0.51317675666490892</c:v>
                </c:pt>
                <c:pt idx="777">
                  <c:v>0.51223966410887045</c:v>
                </c:pt>
                <c:pt idx="778">
                  <c:v>0.51372380965282516</c:v>
                </c:pt>
                <c:pt idx="779">
                  <c:v>0.51543081018660153</c:v>
                </c:pt>
                <c:pt idx="780">
                  <c:v>0.51457461008106742</c:v>
                </c:pt>
                <c:pt idx="781">
                  <c:v>0.51276320911046247</c:v>
                </c:pt>
                <c:pt idx="782">
                  <c:v>0.51339267264684996</c:v>
                </c:pt>
                <c:pt idx="783">
                  <c:v>0.51350347203710867</c:v>
                </c:pt>
                <c:pt idx="784">
                  <c:v>0.51797274688627781</c:v>
                </c:pt>
                <c:pt idx="785">
                  <c:v>0.5183452592554505</c:v>
                </c:pt>
                <c:pt idx="786">
                  <c:v>0.51787196416998882</c:v>
                </c:pt>
                <c:pt idx="787">
                  <c:v>0.51893276358636231</c:v>
                </c:pt>
                <c:pt idx="788">
                  <c:v>0.51659416604996589</c:v>
                </c:pt>
                <c:pt idx="789">
                  <c:v>0.51722348935571705</c:v>
                </c:pt>
                <c:pt idx="790">
                  <c:v>0.51707276366375354</c:v>
                </c:pt>
                <c:pt idx="791">
                  <c:v>0.51849519017337897</c:v>
                </c:pt>
                <c:pt idx="792">
                  <c:v>0.51767055369375581</c:v>
                </c:pt>
                <c:pt idx="793">
                  <c:v>0.51788937585166739</c:v>
                </c:pt>
                <c:pt idx="794">
                  <c:v>0.5186008819695026</c:v>
                </c:pt>
                <c:pt idx="795">
                  <c:v>0.51868269634457387</c:v>
                </c:pt>
                <c:pt idx="796">
                  <c:v>0.52160652339020053</c:v>
                </c:pt>
                <c:pt idx="797">
                  <c:v>0.52132289961344114</c:v>
                </c:pt>
                <c:pt idx="798">
                  <c:v>0.5190540139950236</c:v>
                </c:pt>
                <c:pt idx="799">
                  <c:v>0.51594888402240013</c:v>
                </c:pt>
                <c:pt idx="800">
                  <c:v>0.5185822881400024</c:v>
                </c:pt>
                <c:pt idx="801">
                  <c:v>0.51725817262537288</c:v>
                </c:pt>
                <c:pt idx="802">
                  <c:v>0.53710776038704433</c:v>
                </c:pt>
                <c:pt idx="803">
                  <c:v>0.53777606442009251</c:v>
                </c:pt>
                <c:pt idx="804">
                  <c:v>0.54233733553248964</c:v>
                </c:pt>
                <c:pt idx="805">
                  <c:v>0.54380096207723183</c:v>
                </c:pt>
                <c:pt idx="806">
                  <c:v>0.54938889813802894</c:v>
                </c:pt>
                <c:pt idx="807">
                  <c:v>0.54678675064288673</c:v>
                </c:pt>
                <c:pt idx="808">
                  <c:v>0.54397505053328377</c:v>
                </c:pt>
                <c:pt idx="809">
                  <c:v>0.54072113680768563</c:v>
                </c:pt>
                <c:pt idx="810">
                  <c:v>0.5412281125287095</c:v>
                </c:pt>
                <c:pt idx="811">
                  <c:v>0.53947832671710549</c:v>
                </c:pt>
                <c:pt idx="812">
                  <c:v>0.54369748190899037</c:v>
                </c:pt>
                <c:pt idx="813">
                  <c:v>0.54431068775324409</c:v>
                </c:pt>
                <c:pt idx="814">
                  <c:v>0.54391021544139995</c:v>
                </c:pt>
                <c:pt idx="815">
                  <c:v>0.54122914629163055</c:v>
                </c:pt>
                <c:pt idx="816">
                  <c:v>0.54125777817626486</c:v>
                </c:pt>
                <c:pt idx="817">
                  <c:v>0.54005167765801765</c:v>
                </c:pt>
                <c:pt idx="818">
                  <c:v>0.53648299251882003</c:v>
                </c:pt>
                <c:pt idx="819">
                  <c:v>0.53915569505290661</c:v>
                </c:pt>
                <c:pt idx="820">
                  <c:v>0.53959389837844762</c:v>
                </c:pt>
                <c:pt idx="821">
                  <c:v>0.53795880937610741</c:v>
                </c:pt>
                <c:pt idx="822">
                  <c:v>0.53774311957196752</c:v>
                </c:pt>
                <c:pt idx="823">
                  <c:v>0.53882099373376291</c:v>
                </c:pt>
                <c:pt idx="824">
                  <c:v>0.53991825189237963</c:v>
                </c:pt>
                <c:pt idx="825">
                  <c:v>0.54014227643482926</c:v>
                </c:pt>
                <c:pt idx="826">
                  <c:v>0.54058343713582935</c:v>
                </c:pt>
                <c:pt idx="827">
                  <c:v>0.5442834166767766</c:v>
                </c:pt>
                <c:pt idx="828">
                  <c:v>0.54357495027667846</c:v>
                </c:pt>
                <c:pt idx="829">
                  <c:v>0.5431872998513344</c:v>
                </c:pt>
                <c:pt idx="830">
                  <c:v>0.54455044352926141</c:v>
                </c:pt>
                <c:pt idx="831">
                  <c:v>0.54619886288120711</c:v>
                </c:pt>
                <c:pt idx="832">
                  <c:v>0.54630856097620351</c:v>
                </c:pt>
                <c:pt idx="833">
                  <c:v>0.54645879656498308</c:v>
                </c:pt>
                <c:pt idx="834">
                  <c:v>0.54682479346706692</c:v>
                </c:pt>
                <c:pt idx="835">
                  <c:v>0.54791112800061981</c:v>
                </c:pt>
                <c:pt idx="836">
                  <c:v>0.54918169686430607</c:v>
                </c:pt>
                <c:pt idx="837">
                  <c:v>0.54848153763282781</c:v>
                </c:pt>
                <c:pt idx="838">
                  <c:v>0.54913548724112959</c:v>
                </c:pt>
                <c:pt idx="839">
                  <c:v>0.54912802104523362</c:v>
                </c:pt>
                <c:pt idx="840">
                  <c:v>0.55048627766683944</c:v>
                </c:pt>
                <c:pt idx="841">
                  <c:v>0.5498404190724967</c:v>
                </c:pt>
                <c:pt idx="842">
                  <c:v>0.55211841951740448</c:v>
                </c:pt>
                <c:pt idx="843">
                  <c:v>0.55360658199186774</c:v>
                </c:pt>
                <c:pt idx="844">
                  <c:v>0.55544924301146348</c:v>
                </c:pt>
                <c:pt idx="845">
                  <c:v>0.55614328193627649</c:v>
                </c:pt>
                <c:pt idx="846">
                  <c:v>0.55590129265053634</c:v>
                </c:pt>
                <c:pt idx="847">
                  <c:v>0.5553199475646271</c:v>
                </c:pt>
                <c:pt idx="848">
                  <c:v>0.55876051319064346</c:v>
                </c:pt>
                <c:pt idx="849">
                  <c:v>0.5586977982146657</c:v>
                </c:pt>
                <c:pt idx="850">
                  <c:v>0.55997834276948144</c:v>
                </c:pt>
                <c:pt idx="851">
                  <c:v>0.55934786515379631</c:v>
                </c:pt>
                <c:pt idx="852">
                  <c:v>0.56062183007018207</c:v>
                </c:pt>
                <c:pt idx="853">
                  <c:v>0.56310399093533292</c:v>
                </c:pt>
                <c:pt idx="854">
                  <c:v>0.56501799254938589</c:v>
                </c:pt>
                <c:pt idx="855">
                  <c:v>0.56638600919892512</c:v>
                </c:pt>
                <c:pt idx="856">
                  <c:v>0.5662102378075099</c:v>
                </c:pt>
                <c:pt idx="857">
                  <c:v>0.56679583964814972</c:v>
                </c:pt>
                <c:pt idx="858">
                  <c:v>0.5689418728132144</c:v>
                </c:pt>
                <c:pt idx="859">
                  <c:v>0.57068313448128372</c:v>
                </c:pt>
                <c:pt idx="860">
                  <c:v>0.57133020786076694</c:v>
                </c:pt>
                <c:pt idx="861">
                  <c:v>0.57719579484166983</c:v>
                </c:pt>
                <c:pt idx="862">
                  <c:v>0.57668887973155014</c:v>
                </c:pt>
                <c:pt idx="863">
                  <c:v>0.57921766479396963</c:v>
                </c:pt>
                <c:pt idx="864">
                  <c:v>0.58255426287366119</c:v>
                </c:pt>
                <c:pt idx="865">
                  <c:v>0.58255625575680925</c:v>
                </c:pt>
                <c:pt idx="866">
                  <c:v>0.58193217809010522</c:v>
                </c:pt>
                <c:pt idx="867">
                  <c:v>0.5818744420574633</c:v>
                </c:pt>
                <c:pt idx="868">
                  <c:v>0.58189596122973641</c:v>
                </c:pt>
                <c:pt idx="869">
                  <c:v>0.583416080048762</c:v>
                </c:pt>
                <c:pt idx="870">
                  <c:v>0.59470083616613434</c:v>
                </c:pt>
                <c:pt idx="871">
                  <c:v>0.59618463116215603</c:v>
                </c:pt>
                <c:pt idx="872">
                  <c:v>0.59581993648574816</c:v>
                </c:pt>
                <c:pt idx="873">
                  <c:v>0.59576351328726362</c:v>
                </c:pt>
                <c:pt idx="874">
                  <c:v>0.59747561124263426</c:v>
                </c:pt>
                <c:pt idx="875">
                  <c:v>0.59826517485428732</c:v>
                </c:pt>
                <c:pt idx="876">
                  <c:v>0.60003429709233691</c:v>
                </c:pt>
                <c:pt idx="877">
                  <c:v>0.6001480589982352</c:v>
                </c:pt>
                <c:pt idx="878">
                  <c:v>0.60058464284954038</c:v>
                </c:pt>
                <c:pt idx="879">
                  <c:v>0.60208504028639298</c:v>
                </c:pt>
                <c:pt idx="880">
                  <c:v>0.60173214843056611</c:v>
                </c:pt>
                <c:pt idx="881">
                  <c:v>0.60228127813295651</c:v>
                </c:pt>
                <c:pt idx="882">
                  <c:v>0.60418071616013524</c:v>
                </c:pt>
                <c:pt idx="883">
                  <c:v>0.60266609538438098</c:v>
                </c:pt>
                <c:pt idx="884">
                  <c:v>0.60510252318988289</c:v>
                </c:pt>
                <c:pt idx="885">
                  <c:v>0.60293650290482403</c:v>
                </c:pt>
                <c:pt idx="886">
                  <c:v>0.60310256807029805</c:v>
                </c:pt>
                <c:pt idx="887">
                  <c:v>0.6030498644875083</c:v>
                </c:pt>
                <c:pt idx="888">
                  <c:v>0.60307805190430486</c:v>
                </c:pt>
                <c:pt idx="889">
                  <c:v>0.60302622335279332</c:v>
                </c:pt>
                <c:pt idx="890">
                  <c:v>0.60365124762860167</c:v>
                </c:pt>
                <c:pt idx="891">
                  <c:v>0.60488643118920971</c:v>
                </c:pt>
                <c:pt idx="892">
                  <c:v>0.60441094158553788</c:v>
                </c:pt>
                <c:pt idx="893">
                  <c:v>0.60446715609344026</c:v>
                </c:pt>
                <c:pt idx="894">
                  <c:v>0.60420133724488312</c:v>
                </c:pt>
                <c:pt idx="895">
                  <c:v>0.60403428296704087</c:v>
                </c:pt>
                <c:pt idx="896">
                  <c:v>0.60520485891182219</c:v>
                </c:pt>
                <c:pt idx="897">
                  <c:v>0.60515138469915097</c:v>
                </c:pt>
                <c:pt idx="898">
                  <c:v>0.60611803458725844</c:v>
                </c:pt>
                <c:pt idx="899">
                  <c:v>0.60909987852177239</c:v>
                </c:pt>
                <c:pt idx="900">
                  <c:v>0.60910975695884828</c:v>
                </c:pt>
                <c:pt idx="901">
                  <c:v>0.60915714989781911</c:v>
                </c:pt>
                <c:pt idx="902">
                  <c:v>0.60786763945060618</c:v>
                </c:pt>
                <c:pt idx="903">
                  <c:v>0.60804136490037242</c:v>
                </c:pt>
                <c:pt idx="904">
                  <c:v>0.60826111781649683</c:v>
                </c:pt>
                <c:pt idx="905">
                  <c:v>0.60861635536586234</c:v>
                </c:pt>
                <c:pt idx="906">
                  <c:v>0.60923462811875662</c:v>
                </c:pt>
                <c:pt idx="907">
                  <c:v>0.60929094416969731</c:v>
                </c:pt>
                <c:pt idx="908">
                  <c:v>0.6091436249973462</c:v>
                </c:pt>
                <c:pt idx="909">
                  <c:v>0.60944319697055516</c:v>
                </c:pt>
                <c:pt idx="910">
                  <c:v>0.60931281530286874</c:v>
                </c:pt>
                <c:pt idx="911">
                  <c:v>0.60962905856697613</c:v>
                </c:pt>
                <c:pt idx="912">
                  <c:v>0.60946410493984748</c:v>
                </c:pt>
                <c:pt idx="913">
                  <c:v>0.60903526942512087</c:v>
                </c:pt>
                <c:pt idx="914">
                  <c:v>0.60909857126978506</c:v>
                </c:pt>
                <c:pt idx="915">
                  <c:v>0.60728636777007039</c:v>
                </c:pt>
                <c:pt idx="916">
                  <c:v>0.60773803519092406</c:v>
                </c:pt>
                <c:pt idx="917">
                  <c:v>0.60782651753858652</c:v>
                </c:pt>
                <c:pt idx="918">
                  <c:v>0.60751925835597231</c:v>
                </c:pt>
                <c:pt idx="919">
                  <c:v>0.60713777107198974</c:v>
                </c:pt>
                <c:pt idx="920">
                  <c:v>0.60714822420641612</c:v>
                </c:pt>
                <c:pt idx="921">
                  <c:v>0.60729303113291466</c:v>
                </c:pt>
                <c:pt idx="922">
                  <c:v>0.60713729397282179</c:v>
                </c:pt>
                <c:pt idx="923">
                  <c:v>0.60718798144620101</c:v>
                </c:pt>
                <c:pt idx="924">
                  <c:v>0.60883639426404612</c:v>
                </c:pt>
                <c:pt idx="925">
                  <c:v>0.60885543382870888</c:v>
                </c:pt>
                <c:pt idx="926">
                  <c:v>0.60952152033381546</c:v>
                </c:pt>
                <c:pt idx="927">
                  <c:v>0.61002239161384253</c:v>
                </c:pt>
                <c:pt idx="928">
                  <c:v>0.61107767249536626</c:v>
                </c:pt>
                <c:pt idx="929">
                  <c:v>0.61086463667199853</c:v>
                </c:pt>
                <c:pt idx="930">
                  <c:v>0.61116222112611363</c:v>
                </c:pt>
                <c:pt idx="931">
                  <c:v>0.61181015537590611</c:v>
                </c:pt>
                <c:pt idx="932">
                  <c:v>0.6121924439169264</c:v>
                </c:pt>
                <c:pt idx="933">
                  <c:v>0.61246438517066137</c:v>
                </c:pt>
                <c:pt idx="934">
                  <c:v>0.61344560642822576</c:v>
                </c:pt>
                <c:pt idx="935">
                  <c:v>0.61377258210142571</c:v>
                </c:pt>
                <c:pt idx="936">
                  <c:v>0.61515743971133552</c:v>
                </c:pt>
                <c:pt idx="937">
                  <c:v>0.61530069091839645</c:v>
                </c:pt>
                <c:pt idx="938">
                  <c:v>0.61358667346447215</c:v>
                </c:pt>
                <c:pt idx="939">
                  <c:v>0.61346276963716762</c:v>
                </c:pt>
                <c:pt idx="940">
                  <c:v>0.61568989653256034</c:v>
                </c:pt>
                <c:pt idx="941">
                  <c:v>0.61634461966967413</c:v>
                </c:pt>
                <c:pt idx="942">
                  <c:v>0.616971990905956</c:v>
                </c:pt>
                <c:pt idx="943">
                  <c:v>0.61553555095601387</c:v>
                </c:pt>
                <c:pt idx="944">
                  <c:v>0.61518720676287475</c:v>
                </c:pt>
                <c:pt idx="945">
                  <c:v>0.6137183765365285</c:v>
                </c:pt>
                <c:pt idx="946">
                  <c:v>0.61397569177905664</c:v>
                </c:pt>
                <c:pt idx="947">
                  <c:v>0.61384148237812486</c:v>
                </c:pt>
                <c:pt idx="948">
                  <c:v>0.61279116913470777</c:v>
                </c:pt>
                <c:pt idx="949">
                  <c:v>0.61471782912121387</c:v>
                </c:pt>
                <c:pt idx="950">
                  <c:v>0.616255178661965</c:v>
                </c:pt>
                <c:pt idx="951">
                  <c:v>0.61637060665666954</c:v>
                </c:pt>
                <c:pt idx="952">
                  <c:v>0.61609652494852229</c:v>
                </c:pt>
                <c:pt idx="953">
                  <c:v>0.61812463723031774</c:v>
                </c:pt>
                <c:pt idx="954">
                  <c:v>0.61898857942818086</c:v>
                </c:pt>
                <c:pt idx="955">
                  <c:v>0.62264373741301693</c:v>
                </c:pt>
                <c:pt idx="956">
                  <c:v>0.62920918525779224</c:v>
                </c:pt>
                <c:pt idx="957">
                  <c:v>0.63047482868933924</c:v>
                </c:pt>
                <c:pt idx="958">
                  <c:v>0.6286129158626429</c:v>
                </c:pt>
                <c:pt idx="959">
                  <c:v>0.63032815877182347</c:v>
                </c:pt>
                <c:pt idx="960">
                  <c:v>0.63104088965603666</c:v>
                </c:pt>
                <c:pt idx="961">
                  <c:v>0.63057284486439247</c:v>
                </c:pt>
                <c:pt idx="962">
                  <c:v>0.63248375030030868</c:v>
                </c:pt>
                <c:pt idx="963">
                  <c:v>0.63389945735648889</c:v>
                </c:pt>
                <c:pt idx="964">
                  <c:v>0.63886768568341201</c:v>
                </c:pt>
                <c:pt idx="965">
                  <c:v>0.63926102598081325</c:v>
                </c:pt>
                <c:pt idx="966">
                  <c:v>0.63923418179285307</c:v>
                </c:pt>
                <c:pt idx="967">
                  <c:v>0.6392099823842905</c:v>
                </c:pt>
                <c:pt idx="968">
                  <c:v>0.63927319843168851</c:v>
                </c:pt>
                <c:pt idx="969">
                  <c:v>0.63937033458241466</c:v>
                </c:pt>
                <c:pt idx="970">
                  <c:v>0.63972136035270644</c:v>
                </c:pt>
                <c:pt idx="971">
                  <c:v>0.63996545668329585</c:v>
                </c:pt>
                <c:pt idx="972">
                  <c:v>0.63894253563309433</c:v>
                </c:pt>
                <c:pt idx="973">
                  <c:v>0.64060792225022789</c:v>
                </c:pt>
                <c:pt idx="974">
                  <c:v>0.64239802567336057</c:v>
                </c:pt>
                <c:pt idx="975">
                  <c:v>0.64520565170274868</c:v>
                </c:pt>
                <c:pt idx="976">
                  <c:v>0.64518071073922445</c:v>
                </c:pt>
                <c:pt idx="977">
                  <c:v>0.64530925389463167</c:v>
                </c:pt>
                <c:pt idx="978">
                  <c:v>0.64693240043112588</c:v>
                </c:pt>
                <c:pt idx="979">
                  <c:v>0.64935503985537413</c:v>
                </c:pt>
                <c:pt idx="980">
                  <c:v>0.64890452906947271</c:v>
                </c:pt>
                <c:pt idx="981">
                  <c:v>0.64836057851407936</c:v>
                </c:pt>
                <c:pt idx="982">
                  <c:v>0.64801062040801594</c:v>
                </c:pt>
                <c:pt idx="983">
                  <c:v>0.65135590114019826</c:v>
                </c:pt>
                <c:pt idx="984">
                  <c:v>0.65196280289426922</c:v>
                </c:pt>
                <c:pt idx="985">
                  <c:v>0.6520369376820635</c:v>
                </c:pt>
                <c:pt idx="986">
                  <c:v>0.65260367194666724</c:v>
                </c:pt>
                <c:pt idx="987">
                  <c:v>0.65237177856273887</c:v>
                </c:pt>
                <c:pt idx="988">
                  <c:v>0.65334183615121366</c:v>
                </c:pt>
                <c:pt idx="989">
                  <c:v>0.65330259052370487</c:v>
                </c:pt>
                <c:pt idx="990">
                  <c:v>0.65369340255062669</c:v>
                </c:pt>
                <c:pt idx="991">
                  <c:v>0.65485007127767325</c:v>
                </c:pt>
                <c:pt idx="992">
                  <c:v>0.65511799054802589</c:v>
                </c:pt>
                <c:pt idx="993">
                  <c:v>0.65548561436251507</c:v>
                </c:pt>
                <c:pt idx="994">
                  <c:v>0.65614380107711512</c:v>
                </c:pt>
                <c:pt idx="995">
                  <c:v>0.65701430217829848</c:v>
                </c:pt>
                <c:pt idx="996">
                  <c:v>0.65723795536702345</c:v>
                </c:pt>
                <c:pt idx="997">
                  <c:v>0.65825641074855157</c:v>
                </c:pt>
                <c:pt idx="998">
                  <c:v>0.65920430473247937</c:v>
                </c:pt>
                <c:pt idx="999">
                  <c:v>0.65950242991274377</c:v>
                </c:pt>
                <c:pt idx="1000">
                  <c:v>0.66091943807163622</c:v>
                </c:pt>
                <c:pt idx="1001">
                  <c:v>0.6619863115999689</c:v>
                </c:pt>
                <c:pt idx="1002">
                  <c:v>0.67099159744040915</c:v>
                </c:pt>
                <c:pt idx="1003">
                  <c:v>0.67127863122898068</c:v>
                </c:pt>
                <c:pt idx="1004">
                  <c:v>0.67134714085511038</c:v>
                </c:pt>
                <c:pt idx="1005">
                  <c:v>0.67157204731364906</c:v>
                </c:pt>
                <c:pt idx="1006">
                  <c:v>0.6720749543759944</c:v>
                </c:pt>
                <c:pt idx="1007">
                  <c:v>0.67290887169951186</c:v>
                </c:pt>
                <c:pt idx="1008">
                  <c:v>0.67433197381157461</c:v>
                </c:pt>
                <c:pt idx="1009">
                  <c:v>0.67766656794499414</c:v>
                </c:pt>
                <c:pt idx="1010">
                  <c:v>0.67744119976451334</c:v>
                </c:pt>
                <c:pt idx="1011">
                  <c:v>0.67772422566024504</c:v>
                </c:pt>
                <c:pt idx="1012">
                  <c:v>0.67825213764560388</c:v>
                </c:pt>
                <c:pt idx="1013">
                  <c:v>0.67947763950975304</c:v>
                </c:pt>
                <c:pt idx="1014">
                  <c:v>0.67956897783834114</c:v>
                </c:pt>
                <c:pt idx="1015">
                  <c:v>0.68012293343815677</c:v>
                </c:pt>
                <c:pt idx="1016">
                  <c:v>0.68384425351584266</c:v>
                </c:pt>
                <c:pt idx="1017">
                  <c:v>0.68400723048461609</c:v>
                </c:pt>
                <c:pt idx="1018">
                  <c:v>0.68432283849876052</c:v>
                </c:pt>
                <c:pt idx="1019">
                  <c:v>0.68640115570968829</c:v>
                </c:pt>
                <c:pt idx="1020">
                  <c:v>0.68691487769578374</c:v>
                </c:pt>
                <c:pt idx="1021">
                  <c:v>0.68556577328488333</c:v>
                </c:pt>
                <c:pt idx="1022">
                  <c:v>0.68635504982000872</c:v>
                </c:pt>
                <c:pt idx="1023">
                  <c:v>0.68785397956151695</c:v>
                </c:pt>
                <c:pt idx="1024">
                  <c:v>0.69088201057552745</c:v>
                </c:pt>
                <c:pt idx="1025">
                  <c:v>0.69171424370171342</c:v>
                </c:pt>
                <c:pt idx="1026">
                  <c:v>0.68803035542874313</c:v>
                </c:pt>
                <c:pt idx="1027">
                  <c:v>0.68814441238890123</c:v>
                </c:pt>
                <c:pt idx="1028">
                  <c:v>0.68784462842832717</c:v>
                </c:pt>
                <c:pt idx="1029">
                  <c:v>0.68895521593302489</c:v>
                </c:pt>
                <c:pt idx="1030">
                  <c:v>0.68759626658649875</c:v>
                </c:pt>
                <c:pt idx="1031">
                  <c:v>0.68786773025306014</c:v>
                </c:pt>
                <c:pt idx="1032">
                  <c:v>0.68800627531733116</c:v>
                </c:pt>
                <c:pt idx="1033">
                  <c:v>0.68875437910324844</c:v>
                </c:pt>
                <c:pt idx="1034">
                  <c:v>0.68876125986091952</c:v>
                </c:pt>
                <c:pt idx="1035">
                  <c:v>0.68802563709545328</c:v>
                </c:pt>
                <c:pt idx="1036">
                  <c:v>0.68839187839452898</c:v>
                </c:pt>
                <c:pt idx="1037">
                  <c:v>0.68949990717107734</c:v>
                </c:pt>
                <c:pt idx="1038">
                  <c:v>0.6894526046808962</c:v>
                </c:pt>
                <c:pt idx="1039">
                  <c:v>0.68913364318433601</c:v>
                </c:pt>
                <c:pt idx="1040">
                  <c:v>0.68979164930169468</c:v>
                </c:pt>
                <c:pt idx="1041">
                  <c:v>0.69038946576368165</c:v>
                </c:pt>
                <c:pt idx="1042">
                  <c:v>0.69016875800481881</c:v>
                </c:pt>
                <c:pt idx="1043">
                  <c:v>0.68989615982660324</c:v>
                </c:pt>
                <c:pt idx="1044">
                  <c:v>0.69075275078885379</c:v>
                </c:pt>
                <c:pt idx="1045">
                  <c:v>0.69002669970766262</c:v>
                </c:pt>
                <c:pt idx="1046">
                  <c:v>0.68970217290928515</c:v>
                </c:pt>
                <c:pt idx="1047">
                  <c:v>0.68986501356348118</c:v>
                </c:pt>
                <c:pt idx="1048">
                  <c:v>0.69193104209885414</c:v>
                </c:pt>
                <c:pt idx="1049">
                  <c:v>0.69213523432460711</c:v>
                </c:pt>
                <c:pt idx="1050">
                  <c:v>0.6939543754149089</c:v>
                </c:pt>
                <c:pt idx="1051">
                  <c:v>0.69465774183600348</c:v>
                </c:pt>
                <c:pt idx="1052">
                  <c:v>0.69337879525062773</c:v>
                </c:pt>
                <c:pt idx="1053">
                  <c:v>0.69426974583760803</c:v>
                </c:pt>
                <c:pt idx="1054">
                  <c:v>0.69185447237419206</c:v>
                </c:pt>
                <c:pt idx="1055">
                  <c:v>0.69092764461748768</c:v>
                </c:pt>
                <c:pt idx="1056">
                  <c:v>0.70623467389598971</c:v>
                </c:pt>
                <c:pt idx="1057">
                  <c:v>0.71691495030351282</c:v>
                </c:pt>
                <c:pt idx="1058">
                  <c:v>0.71334055249777506</c:v>
                </c:pt>
                <c:pt idx="1059">
                  <c:v>0.7164944009157751</c:v>
                </c:pt>
                <c:pt idx="1060">
                  <c:v>0.71850902341380274</c:v>
                </c:pt>
                <c:pt idx="1061">
                  <c:v>0.72296319404561937</c:v>
                </c:pt>
                <c:pt idx="1062">
                  <c:v>0.72326549910583071</c:v>
                </c:pt>
                <c:pt idx="1063">
                  <c:v>0.72527176355957668</c:v>
                </c:pt>
                <c:pt idx="1064">
                  <c:v>0.73426867214868596</c:v>
                </c:pt>
                <c:pt idx="1065">
                  <c:v>0.73266726933190485</c:v>
                </c:pt>
                <c:pt idx="1066">
                  <c:v>0.73176949434797633</c:v>
                </c:pt>
                <c:pt idx="1067">
                  <c:v>0.73960559071654586</c:v>
                </c:pt>
                <c:pt idx="1068">
                  <c:v>0.73845377127809897</c:v>
                </c:pt>
                <c:pt idx="1069">
                  <c:v>0.74185556772987771</c:v>
                </c:pt>
                <c:pt idx="1070">
                  <c:v>0.74529951594228561</c:v>
                </c:pt>
                <c:pt idx="1071">
                  <c:v>0.74578782131599641</c:v>
                </c:pt>
                <c:pt idx="1072">
                  <c:v>0.7451991584016463</c:v>
                </c:pt>
                <c:pt idx="1073">
                  <c:v>0.74516985893313947</c:v>
                </c:pt>
                <c:pt idx="1074">
                  <c:v>0.74537278310105681</c:v>
                </c:pt>
                <c:pt idx="1075">
                  <c:v>0.74284227939996683</c:v>
                </c:pt>
                <c:pt idx="1076">
                  <c:v>0.74496632860531697</c:v>
                </c:pt>
                <c:pt idx="1077">
                  <c:v>0.74875781889982451</c:v>
                </c:pt>
                <c:pt idx="1078">
                  <c:v>0.74827945048548439</c:v>
                </c:pt>
                <c:pt idx="1079">
                  <c:v>0.74554136182378805</c:v>
                </c:pt>
                <c:pt idx="1080">
                  <c:v>0.74560329257417512</c:v>
                </c:pt>
                <c:pt idx="1081">
                  <c:v>0.74706118544351363</c:v>
                </c:pt>
                <c:pt idx="1082">
                  <c:v>0.74345553212559945</c:v>
                </c:pt>
                <c:pt idx="1083">
                  <c:v>0.74378934666189922</c:v>
                </c:pt>
                <c:pt idx="1084">
                  <c:v>0.74372070958361536</c:v>
                </c:pt>
                <c:pt idx="1085">
                  <c:v>0.74385260565968725</c:v>
                </c:pt>
                <c:pt idx="1086">
                  <c:v>0.74374480782246311</c:v>
                </c:pt>
                <c:pt idx="1087">
                  <c:v>0.74502090798823395</c:v>
                </c:pt>
                <c:pt idx="1088">
                  <c:v>0.74472011999878818</c:v>
                </c:pt>
                <c:pt idx="1089">
                  <c:v>0.74447792056949558</c:v>
                </c:pt>
                <c:pt idx="1090">
                  <c:v>0.74595979299926696</c:v>
                </c:pt>
                <c:pt idx="1091">
                  <c:v>0.74422721522754953</c:v>
                </c:pt>
                <c:pt idx="1092">
                  <c:v>0.74329851293917404</c:v>
                </c:pt>
                <c:pt idx="1093">
                  <c:v>0.74333690407044095</c:v>
                </c:pt>
                <c:pt idx="1094">
                  <c:v>0.74203185368069702</c:v>
                </c:pt>
                <c:pt idx="1095">
                  <c:v>0.74003426173063147</c:v>
                </c:pt>
                <c:pt idx="1096">
                  <c:v>0.73849432775014867</c:v>
                </c:pt>
                <c:pt idx="1097">
                  <c:v>0.73838945699882408</c:v>
                </c:pt>
                <c:pt idx="1098">
                  <c:v>0.73894073499821566</c:v>
                </c:pt>
                <c:pt idx="1099">
                  <c:v>0.737648898753689</c:v>
                </c:pt>
                <c:pt idx="1100">
                  <c:v>0.7359115913732851</c:v>
                </c:pt>
                <c:pt idx="1101">
                  <c:v>0.73589448080044939</c:v>
                </c:pt>
                <c:pt idx="1102">
                  <c:v>0.73463763184580888</c:v>
                </c:pt>
                <c:pt idx="1103">
                  <c:v>0.73498695011980331</c:v>
                </c:pt>
                <c:pt idx="1104">
                  <c:v>0.73550288221518934</c:v>
                </c:pt>
                <c:pt idx="1105">
                  <c:v>0.73592701906934799</c:v>
                </c:pt>
                <c:pt idx="1106">
                  <c:v>0.73522984833710414</c:v>
                </c:pt>
                <c:pt idx="1107">
                  <c:v>0.73277292985004638</c:v>
                </c:pt>
                <c:pt idx="1108">
                  <c:v>0.72841841997392975</c:v>
                </c:pt>
                <c:pt idx="1109">
                  <c:v>0.72871127231411204</c:v>
                </c:pt>
                <c:pt idx="1110">
                  <c:v>0.73018782212338451</c:v>
                </c:pt>
                <c:pt idx="1111">
                  <c:v>0.72830902251359453</c:v>
                </c:pt>
                <c:pt idx="1112">
                  <c:v>0.72841082482978425</c:v>
                </c:pt>
                <c:pt idx="1113">
                  <c:v>0.72347172566240625</c:v>
                </c:pt>
                <c:pt idx="1114">
                  <c:v>0.72513790338137485</c:v>
                </c:pt>
                <c:pt idx="1115">
                  <c:v>0.73003913173192714</c:v>
                </c:pt>
                <c:pt idx="1116">
                  <c:v>0.72772587865905769</c:v>
                </c:pt>
                <c:pt idx="1117">
                  <c:v>0.72782188632807998</c:v>
                </c:pt>
                <c:pt idx="1118">
                  <c:v>0.72888386505058078</c:v>
                </c:pt>
                <c:pt idx="1119">
                  <c:v>0.73305747098570329</c:v>
                </c:pt>
                <c:pt idx="1120">
                  <c:v>0.73279993627995998</c:v>
                </c:pt>
                <c:pt idx="1121">
                  <c:v>0.73222420753562101</c:v>
                </c:pt>
                <c:pt idx="1122">
                  <c:v>0.72106992588198349</c:v>
                </c:pt>
                <c:pt idx="1123">
                  <c:v>0.71997715149014718</c:v>
                </c:pt>
                <c:pt idx="1124">
                  <c:v>0.72286278945733551</c:v>
                </c:pt>
                <c:pt idx="1125">
                  <c:v>0.72305248886540807</c:v>
                </c:pt>
                <c:pt idx="1126">
                  <c:v>0.72099037386644582</c:v>
                </c:pt>
                <c:pt idx="1127">
                  <c:v>0.722309080643458</c:v>
                </c:pt>
                <c:pt idx="1128">
                  <c:v>0.72167796108686555</c:v>
                </c:pt>
                <c:pt idx="1129">
                  <c:v>0.72304691392039733</c:v>
                </c:pt>
                <c:pt idx="1130">
                  <c:v>0.722989900401938</c:v>
                </c:pt>
                <c:pt idx="1131">
                  <c:v>0.72193014319333038</c:v>
                </c:pt>
                <c:pt idx="1132">
                  <c:v>0.72253936853682532</c:v>
                </c:pt>
                <c:pt idx="1133">
                  <c:v>0.72253453661879796</c:v>
                </c:pt>
                <c:pt idx="1134">
                  <c:v>0.72082256818963131</c:v>
                </c:pt>
                <c:pt idx="1135">
                  <c:v>0.72103235025530521</c:v>
                </c:pt>
                <c:pt idx="1136">
                  <c:v>0.71979617378034122</c:v>
                </c:pt>
                <c:pt idx="1137">
                  <c:v>0.71950042114899915</c:v>
                </c:pt>
                <c:pt idx="1138">
                  <c:v>0.71910853310034628</c:v>
                </c:pt>
                <c:pt idx="1139">
                  <c:v>0.71934588828120671</c:v>
                </c:pt>
                <c:pt idx="1140">
                  <c:v>0.71872997286527684</c:v>
                </c:pt>
                <c:pt idx="1141">
                  <c:v>0.71848652114658629</c:v>
                </c:pt>
                <c:pt idx="1142">
                  <c:v>0.71761866349106207</c:v>
                </c:pt>
                <c:pt idx="1143">
                  <c:v>0.71982757145253895</c:v>
                </c:pt>
                <c:pt idx="1144">
                  <c:v>0.72141415620423843</c:v>
                </c:pt>
                <c:pt idx="1145">
                  <c:v>0.7206671502151355</c:v>
                </c:pt>
                <c:pt idx="1146">
                  <c:v>0.7213332164888806</c:v>
                </c:pt>
                <c:pt idx="1147">
                  <c:v>0.72047104755511959</c:v>
                </c:pt>
                <c:pt idx="1148">
                  <c:v>0.71955170825716008</c:v>
                </c:pt>
                <c:pt idx="1149">
                  <c:v>0.72081773876654731</c:v>
                </c:pt>
                <c:pt idx="1150">
                  <c:v>0.72060588176952844</c:v>
                </c:pt>
                <c:pt idx="1151">
                  <c:v>0.71894370588751888</c:v>
                </c:pt>
                <c:pt idx="1152">
                  <c:v>0.72037389683729902</c:v>
                </c:pt>
                <c:pt idx="1153">
                  <c:v>0.72139654272001252</c:v>
                </c:pt>
                <c:pt idx="1154">
                  <c:v>0.73296529986692216</c:v>
                </c:pt>
                <c:pt idx="1155">
                  <c:v>0.74698866903316719</c:v>
                </c:pt>
                <c:pt idx="1156">
                  <c:v>0.74048106666295677</c:v>
                </c:pt>
                <c:pt idx="1157">
                  <c:v>0.73993588390570086</c:v>
                </c:pt>
                <c:pt idx="1158">
                  <c:v>0.73876635680175151</c:v>
                </c:pt>
                <c:pt idx="1159">
                  <c:v>0.73896412004412926</c:v>
                </c:pt>
                <c:pt idx="1160">
                  <c:v>0.73925999827133204</c:v>
                </c:pt>
                <c:pt idx="1161">
                  <c:v>0.7394482625821891</c:v>
                </c:pt>
                <c:pt idx="1162">
                  <c:v>0.74014796267440341</c:v>
                </c:pt>
                <c:pt idx="1163">
                  <c:v>0.74004235809389862</c:v>
                </c:pt>
                <c:pt idx="1164">
                  <c:v>0.7395820041638127</c:v>
                </c:pt>
                <c:pt idx="1165">
                  <c:v>0.73937026699235708</c:v>
                </c:pt>
                <c:pt idx="1166">
                  <c:v>0.73932050232214974</c:v>
                </c:pt>
                <c:pt idx="1167">
                  <c:v>0.74229756504162847</c:v>
                </c:pt>
                <c:pt idx="1168">
                  <c:v>0.74346155448320561</c:v>
                </c:pt>
                <c:pt idx="1169">
                  <c:v>0.7441775652397582</c:v>
                </c:pt>
                <c:pt idx="1170">
                  <c:v>0.74712718170230752</c:v>
                </c:pt>
                <c:pt idx="1171">
                  <c:v>0.74816071274953444</c:v>
                </c:pt>
                <c:pt idx="1172">
                  <c:v>0.74836896233875649</c:v>
                </c:pt>
                <c:pt idx="1173">
                  <c:v>0.7485028640827579</c:v>
                </c:pt>
                <c:pt idx="1174">
                  <c:v>0.74896043118213407</c:v>
                </c:pt>
                <c:pt idx="1175">
                  <c:v>0.75092596684363144</c:v>
                </c:pt>
                <c:pt idx="1176">
                  <c:v>0.75104178827193191</c:v>
                </c:pt>
                <c:pt idx="1177">
                  <c:v>0.74687527556935429</c:v>
                </c:pt>
                <c:pt idx="1178">
                  <c:v>0.74338233678802157</c:v>
                </c:pt>
                <c:pt idx="1179">
                  <c:v>0.74352068708933405</c:v>
                </c:pt>
                <c:pt idx="1180">
                  <c:v>0.74233642978690251</c:v>
                </c:pt>
                <c:pt idx="1181">
                  <c:v>0.74287465328512636</c:v>
                </c:pt>
                <c:pt idx="1182">
                  <c:v>0.74257365865685399</c:v>
                </c:pt>
                <c:pt idx="1183">
                  <c:v>0.74176441839004159</c:v>
                </c:pt>
                <c:pt idx="1184">
                  <c:v>0.74075067862202015</c:v>
                </c:pt>
                <c:pt idx="1185">
                  <c:v>0.74085954973409451</c:v>
                </c:pt>
                <c:pt idx="1186">
                  <c:v>0.74043957412081496</c:v>
                </c:pt>
                <c:pt idx="1187">
                  <c:v>0.73992991366670924</c:v>
                </c:pt>
                <c:pt idx="1188">
                  <c:v>0.73820189193072028</c:v>
                </c:pt>
                <c:pt idx="1189">
                  <c:v>0.7356785825893517</c:v>
                </c:pt>
                <c:pt idx="1190">
                  <c:v>0.73936121776725727</c:v>
                </c:pt>
                <c:pt idx="1191">
                  <c:v>0.73853732655809934</c:v>
                </c:pt>
                <c:pt idx="1192">
                  <c:v>0.72842178567593874</c:v>
                </c:pt>
                <c:pt idx="1193">
                  <c:v>0.72146938733082255</c:v>
                </c:pt>
                <c:pt idx="1194">
                  <c:v>0.72042548777881743</c:v>
                </c:pt>
                <c:pt idx="1195">
                  <c:v>0.7217976790774413</c:v>
                </c:pt>
                <c:pt idx="1196">
                  <c:v>0.72137049550044585</c:v>
                </c:pt>
                <c:pt idx="1197">
                  <c:v>0.72292104172841098</c:v>
                </c:pt>
                <c:pt idx="1198">
                  <c:v>0.7232077859851691</c:v>
                </c:pt>
                <c:pt idx="1199">
                  <c:v>0.7232104156533421</c:v>
                </c:pt>
                <c:pt idx="1200">
                  <c:v>0.72481600259506629</c:v>
                </c:pt>
                <c:pt idx="1201">
                  <c:v>0.72328479187072781</c:v>
                </c:pt>
                <c:pt idx="1202">
                  <c:v>0.7214988298897117</c:v>
                </c:pt>
                <c:pt idx="1203">
                  <c:v>0.72057287846065832</c:v>
                </c:pt>
                <c:pt idx="1204">
                  <c:v>0.72056280325758348</c:v>
                </c:pt>
                <c:pt idx="1205">
                  <c:v>0.72023340094784316</c:v>
                </c:pt>
                <c:pt idx="1206">
                  <c:v>0.72034847231873989</c:v>
                </c:pt>
                <c:pt idx="1207">
                  <c:v>0.70914027548334546</c:v>
                </c:pt>
                <c:pt idx="1208">
                  <c:v>0.70629781045557738</c:v>
                </c:pt>
                <c:pt idx="1209">
                  <c:v>0.70475788364884451</c:v>
                </c:pt>
                <c:pt idx="1210">
                  <c:v>0.70520238614940101</c:v>
                </c:pt>
                <c:pt idx="1211">
                  <c:v>0.70681021748232142</c:v>
                </c:pt>
                <c:pt idx="1212">
                  <c:v>0.70587203285470868</c:v>
                </c:pt>
                <c:pt idx="1213">
                  <c:v>0.70383721199825311</c:v>
                </c:pt>
                <c:pt idx="1214">
                  <c:v>0.70223044853678329</c:v>
                </c:pt>
                <c:pt idx="1215">
                  <c:v>0.69996505717619639</c:v>
                </c:pt>
                <c:pt idx="1216">
                  <c:v>0.6933220285465076</c:v>
                </c:pt>
                <c:pt idx="1217">
                  <c:v>0.69316036721889562</c:v>
                </c:pt>
                <c:pt idx="1218">
                  <c:v>0.6923855728564795</c:v>
                </c:pt>
                <c:pt idx="1219">
                  <c:v>0.69253915434489943</c:v>
                </c:pt>
                <c:pt idx="1220">
                  <c:v>0.69247588572379182</c:v>
                </c:pt>
                <c:pt idx="1221">
                  <c:v>0.69279846266011125</c:v>
                </c:pt>
                <c:pt idx="1222">
                  <c:v>0.6918644271423936</c:v>
                </c:pt>
                <c:pt idx="1223">
                  <c:v>0.69173910808586969</c:v>
                </c:pt>
                <c:pt idx="1224">
                  <c:v>0.69339021338158202</c:v>
                </c:pt>
                <c:pt idx="1225">
                  <c:v>0.69164852635198115</c:v>
                </c:pt>
                <c:pt idx="1226">
                  <c:v>0.66867850115598138</c:v>
                </c:pt>
                <c:pt idx="1227">
                  <c:v>0.66173776360334935</c:v>
                </c:pt>
                <c:pt idx="1228">
                  <c:v>0.66196396313496819</c:v>
                </c:pt>
                <c:pt idx="1229">
                  <c:v>0.66240202348125998</c:v>
                </c:pt>
                <c:pt idx="1230">
                  <c:v>0.65708961445884606</c:v>
                </c:pt>
                <c:pt idx="1231">
                  <c:v>0.65716928663744167</c:v>
                </c:pt>
                <c:pt idx="1232">
                  <c:v>0.65735513642582699</c:v>
                </c:pt>
                <c:pt idx="1233">
                  <c:v>0.65755662310895968</c:v>
                </c:pt>
                <c:pt idx="1234">
                  <c:v>0.65793089322861043</c:v>
                </c:pt>
                <c:pt idx="1235">
                  <c:v>0.65771930414358148</c:v>
                </c:pt>
                <c:pt idx="1236">
                  <c:v>0.65718160503327283</c:v>
                </c:pt>
                <c:pt idx="1237">
                  <c:v>0.65719343284104315</c:v>
                </c:pt>
                <c:pt idx="1238">
                  <c:v>0.65753755564578631</c:v>
                </c:pt>
                <c:pt idx="1239">
                  <c:v>0.65742671502573136</c:v>
                </c:pt>
                <c:pt idx="1240">
                  <c:v>0.65659330166474139</c:v>
                </c:pt>
                <c:pt idx="1241">
                  <c:v>0.6567435941834322</c:v>
                </c:pt>
                <c:pt idx="1242">
                  <c:v>0.65605087882024393</c:v>
                </c:pt>
                <c:pt idx="1243">
                  <c:v>0.65517003150188913</c:v>
                </c:pt>
                <c:pt idx="1244">
                  <c:v>0.65487692134198927</c:v>
                </c:pt>
                <c:pt idx="1245">
                  <c:v>0.65458139488008327</c:v>
                </c:pt>
                <c:pt idx="1246">
                  <c:v>0.65384119357581416</c:v>
                </c:pt>
                <c:pt idx="1247">
                  <c:v>0.65313220491810553</c:v>
                </c:pt>
                <c:pt idx="1248">
                  <c:v>0.652982794673861</c:v>
                </c:pt>
                <c:pt idx="1249">
                  <c:v>0.65271332540067706</c:v>
                </c:pt>
                <c:pt idx="1250">
                  <c:v>0.65177312819433242</c:v>
                </c:pt>
                <c:pt idx="1251">
                  <c:v>0.65069786131293417</c:v>
                </c:pt>
                <c:pt idx="1252">
                  <c:v>0.64976502588096652</c:v>
                </c:pt>
                <c:pt idx="1253">
                  <c:v>0.64782439805477487</c:v>
                </c:pt>
                <c:pt idx="1254">
                  <c:v>0.64180933554558206</c:v>
                </c:pt>
                <c:pt idx="1255">
                  <c:v>0.64141514845894576</c:v>
                </c:pt>
                <c:pt idx="1256">
                  <c:v>0.64040276498567839</c:v>
                </c:pt>
                <c:pt idx="1257">
                  <c:v>0.6406394279676848</c:v>
                </c:pt>
                <c:pt idx="1258">
                  <c:v>0.64025745172345838</c:v>
                </c:pt>
                <c:pt idx="1259">
                  <c:v>0.63687890751072307</c:v>
                </c:pt>
                <c:pt idx="1260">
                  <c:v>0.63371849131474856</c:v>
                </c:pt>
                <c:pt idx="1261">
                  <c:v>0.63375459181112948</c:v>
                </c:pt>
                <c:pt idx="1262">
                  <c:v>0.63427055199984161</c:v>
                </c:pt>
                <c:pt idx="1263">
                  <c:v>0.63379336828932642</c:v>
                </c:pt>
                <c:pt idx="1264">
                  <c:v>0.63201305940156427</c:v>
                </c:pt>
                <c:pt idx="1265">
                  <c:v>0.63030323132835597</c:v>
                </c:pt>
                <c:pt idx="1266">
                  <c:v>0.63212707044519756</c:v>
                </c:pt>
                <c:pt idx="1267">
                  <c:v>0.63332474253678872</c:v>
                </c:pt>
                <c:pt idx="1268">
                  <c:v>0.62803316098575734</c:v>
                </c:pt>
                <c:pt idx="1269">
                  <c:v>0.62842091929240229</c:v>
                </c:pt>
                <c:pt idx="1270">
                  <c:v>0.62794699288450084</c:v>
                </c:pt>
                <c:pt idx="1271">
                  <c:v>0.62726367764733471</c:v>
                </c:pt>
                <c:pt idx="1272">
                  <c:v>0.62649384776830219</c:v>
                </c:pt>
                <c:pt idx="1273">
                  <c:v>0.6259147218386637</c:v>
                </c:pt>
                <c:pt idx="1274">
                  <c:v>0.62449700444182654</c:v>
                </c:pt>
                <c:pt idx="1275">
                  <c:v>0.6245340068159021</c:v>
                </c:pt>
                <c:pt idx="1276">
                  <c:v>0.61790015146207655</c:v>
                </c:pt>
                <c:pt idx="1277">
                  <c:v>0.61713383069326899</c:v>
                </c:pt>
                <c:pt idx="1278">
                  <c:v>0.62128037344627185</c:v>
                </c:pt>
                <c:pt idx="1279">
                  <c:v>0.62111713555044834</c:v>
                </c:pt>
                <c:pt idx="1280">
                  <c:v>0.62121471849542387</c:v>
                </c:pt>
                <c:pt idx="1281">
                  <c:v>0.62143137262301684</c:v>
                </c:pt>
                <c:pt idx="1282">
                  <c:v>0.62218359053167716</c:v>
                </c:pt>
                <c:pt idx="1283">
                  <c:v>0.6228355708846256</c:v>
                </c:pt>
                <c:pt idx="1284">
                  <c:v>0.62290161603342487</c:v>
                </c:pt>
                <c:pt idx="1285">
                  <c:v>0.62134359589383614</c:v>
                </c:pt>
                <c:pt idx="1286">
                  <c:v>0.62119733330298488</c:v>
                </c:pt>
                <c:pt idx="1287">
                  <c:v>0.62205386679690677</c:v>
                </c:pt>
                <c:pt idx="1288">
                  <c:v>0.62101354418908572</c:v>
                </c:pt>
                <c:pt idx="1289">
                  <c:v>0.62040472771915145</c:v>
                </c:pt>
                <c:pt idx="1290">
                  <c:v>0.62055526831779739</c:v>
                </c:pt>
                <c:pt idx="1291">
                  <c:v>0.62062517240707926</c:v>
                </c:pt>
                <c:pt idx="1292">
                  <c:v>0.62083266003359039</c:v>
                </c:pt>
                <c:pt idx="1293">
                  <c:v>0.61848167640588303</c:v>
                </c:pt>
                <c:pt idx="1294">
                  <c:v>0.61875954338167216</c:v>
                </c:pt>
                <c:pt idx="1295">
                  <c:v>0.61863663702184102</c:v>
                </c:pt>
                <c:pt idx="1296">
                  <c:v>0.61728981635798919</c:v>
                </c:pt>
                <c:pt idx="1297">
                  <c:v>0.61685283563429549</c:v>
                </c:pt>
                <c:pt idx="1298">
                  <c:v>0.61697821218325033</c:v>
                </c:pt>
                <c:pt idx="1299">
                  <c:v>0.61665097901367527</c:v>
                </c:pt>
                <c:pt idx="1300">
                  <c:v>0.61408498367626052</c:v>
                </c:pt>
                <c:pt idx="1301">
                  <c:v>0.61419815114269838</c:v>
                </c:pt>
                <c:pt idx="1302">
                  <c:v>0.61361744311924415</c:v>
                </c:pt>
                <c:pt idx="1303">
                  <c:v>0.61260799125678334</c:v>
                </c:pt>
                <c:pt idx="1304">
                  <c:v>0.61258626815080064</c:v>
                </c:pt>
                <c:pt idx="1305">
                  <c:v>0.61180214344297024</c:v>
                </c:pt>
                <c:pt idx="1306">
                  <c:v>0.61115303411509847</c:v>
                </c:pt>
                <c:pt idx="1307">
                  <c:v>0.61171864537894227</c:v>
                </c:pt>
                <c:pt idx="1308">
                  <c:v>0.61138366822850021</c:v>
                </c:pt>
                <c:pt idx="1309">
                  <c:v>0.61003974598528488</c:v>
                </c:pt>
                <c:pt idx="1310">
                  <c:v>0.60968202618714062</c:v>
                </c:pt>
                <c:pt idx="1311">
                  <c:v>0.6095736835645531</c:v>
                </c:pt>
                <c:pt idx="1312">
                  <c:v>0.61012538344043832</c:v>
                </c:pt>
                <c:pt idx="1313">
                  <c:v>0.61036194043542125</c:v>
                </c:pt>
                <c:pt idx="1314">
                  <c:v>0.61026364510497033</c:v>
                </c:pt>
                <c:pt idx="1315">
                  <c:v>0.61034557344202256</c:v>
                </c:pt>
                <c:pt idx="1316">
                  <c:v>0.61057788492287002</c:v>
                </c:pt>
                <c:pt idx="1317">
                  <c:v>0.61046942049421726</c:v>
                </c:pt>
                <c:pt idx="1318">
                  <c:v>0.61004979503556467</c:v>
                </c:pt>
                <c:pt idx="1319">
                  <c:v>0.6102282341901234</c:v>
                </c:pt>
                <c:pt idx="1320">
                  <c:v>0.61250499801806146</c:v>
                </c:pt>
                <c:pt idx="1321">
                  <c:v>0.61199430553492973</c:v>
                </c:pt>
                <c:pt idx="1322">
                  <c:v>0.61357124944640629</c:v>
                </c:pt>
                <c:pt idx="1323">
                  <c:v>0.61355992300321271</c:v>
                </c:pt>
                <c:pt idx="1324">
                  <c:v>0.61401333856179108</c:v>
                </c:pt>
                <c:pt idx="1325">
                  <c:v>0.61311186742517876</c:v>
                </c:pt>
                <c:pt idx="1326">
                  <c:v>0.61280091960496907</c:v>
                </c:pt>
                <c:pt idx="1327">
                  <c:v>0.61354510204824697</c:v>
                </c:pt>
                <c:pt idx="1328">
                  <c:v>0.6137302120100574</c:v>
                </c:pt>
                <c:pt idx="1329">
                  <c:v>0.60933793468697928</c:v>
                </c:pt>
                <c:pt idx="1330">
                  <c:v>0.60887404675022017</c:v>
                </c:pt>
                <c:pt idx="1331">
                  <c:v>0.60703540128035094</c:v>
                </c:pt>
                <c:pt idx="1332">
                  <c:v>0.60692057821079948</c:v>
                </c:pt>
                <c:pt idx="1333">
                  <c:v>0.60592992524642175</c:v>
                </c:pt>
                <c:pt idx="1334">
                  <c:v>0.60758223562303237</c:v>
                </c:pt>
                <c:pt idx="1335">
                  <c:v>0.60677229557134138</c:v>
                </c:pt>
                <c:pt idx="1336">
                  <c:v>0.60615649082756429</c:v>
                </c:pt>
                <c:pt idx="1337">
                  <c:v>0.60574751617907696</c:v>
                </c:pt>
                <c:pt idx="1338">
                  <c:v>0.60395753286236109</c:v>
                </c:pt>
                <c:pt idx="1339">
                  <c:v>0.60382593207705515</c:v>
                </c:pt>
                <c:pt idx="1340">
                  <c:v>0.60372071237858738</c:v>
                </c:pt>
                <c:pt idx="1341">
                  <c:v>0.60380361481481493</c:v>
                </c:pt>
                <c:pt idx="1342">
                  <c:v>0.60118819536913226</c:v>
                </c:pt>
                <c:pt idx="1343">
                  <c:v>0.60247986207586879</c:v>
                </c:pt>
                <c:pt idx="1344">
                  <c:v>0.60071151212642471</c:v>
                </c:pt>
                <c:pt idx="1345">
                  <c:v>0.60254575348083383</c:v>
                </c:pt>
                <c:pt idx="1346">
                  <c:v>0.60315972127282613</c:v>
                </c:pt>
                <c:pt idx="1347">
                  <c:v>0.60287944771071789</c:v>
                </c:pt>
                <c:pt idx="1348">
                  <c:v>0.60446083468575973</c:v>
                </c:pt>
                <c:pt idx="1349">
                  <c:v>0.60518887997931647</c:v>
                </c:pt>
                <c:pt idx="1350">
                  <c:v>0.6054022231853603</c:v>
                </c:pt>
                <c:pt idx="1351">
                  <c:v>0.61054160889955278</c:v>
                </c:pt>
                <c:pt idx="1352">
                  <c:v>0.6100050977922421</c:v>
                </c:pt>
                <c:pt idx="1353">
                  <c:v>0.61015647177727017</c:v>
                </c:pt>
                <c:pt idx="1354">
                  <c:v>0.60414997513820912</c:v>
                </c:pt>
                <c:pt idx="1355">
                  <c:v>0.59617359416733162</c:v>
                </c:pt>
                <c:pt idx="1356">
                  <c:v>0.59638466345433661</c:v>
                </c:pt>
                <c:pt idx="1357">
                  <c:v>0.59608686872467387</c:v>
                </c:pt>
                <c:pt idx="1358">
                  <c:v>0.59615034942196399</c:v>
                </c:pt>
                <c:pt idx="1359">
                  <c:v>0.59614929363873537</c:v>
                </c:pt>
                <c:pt idx="1360">
                  <c:v>0.59808899080046696</c:v>
                </c:pt>
                <c:pt idx="1361">
                  <c:v>0.59823645625511834</c:v>
                </c:pt>
                <c:pt idx="1362">
                  <c:v>0.59505180136205649</c:v>
                </c:pt>
                <c:pt idx="1363">
                  <c:v>0.59494866700795823</c:v>
                </c:pt>
                <c:pt idx="1364">
                  <c:v>0.59479001975791834</c:v>
                </c:pt>
                <c:pt idx="1365">
                  <c:v>0.59495081897798496</c:v>
                </c:pt>
                <c:pt idx="1366">
                  <c:v>0.59435160228222406</c:v>
                </c:pt>
                <c:pt idx="1367">
                  <c:v>0.58978408581007868</c:v>
                </c:pt>
                <c:pt idx="1368">
                  <c:v>0.58901384362595421</c:v>
                </c:pt>
                <c:pt idx="1369">
                  <c:v>0.58908736130233719</c:v>
                </c:pt>
                <c:pt idx="1370">
                  <c:v>0.58769663709071263</c:v>
                </c:pt>
                <c:pt idx="1371">
                  <c:v>0.58302740895789829</c:v>
                </c:pt>
                <c:pt idx="1372">
                  <c:v>0.58302549323950348</c:v>
                </c:pt>
                <c:pt idx="1373">
                  <c:v>0.58300805376916043</c:v>
                </c:pt>
                <c:pt idx="1374">
                  <c:v>0.58150832465910907</c:v>
                </c:pt>
                <c:pt idx="1375">
                  <c:v>0.58131178017762308</c:v>
                </c:pt>
                <c:pt idx="1376">
                  <c:v>0.58052979069435218</c:v>
                </c:pt>
                <c:pt idx="1377">
                  <c:v>0.58051781329713947</c:v>
                </c:pt>
                <c:pt idx="1378">
                  <c:v>0.57859636209191367</c:v>
                </c:pt>
                <c:pt idx="1379">
                  <c:v>0.57601125658384633</c:v>
                </c:pt>
                <c:pt idx="1380">
                  <c:v>0.57597755181799459</c:v>
                </c:pt>
                <c:pt idx="1381">
                  <c:v>0.57576670792522722</c:v>
                </c:pt>
                <c:pt idx="1382">
                  <c:v>0.57527589633358123</c:v>
                </c:pt>
                <c:pt idx="1383">
                  <c:v>0.57550941287499346</c:v>
                </c:pt>
                <c:pt idx="1384">
                  <c:v>0.57499800135650936</c:v>
                </c:pt>
                <c:pt idx="1385">
                  <c:v>0.574591264182435</c:v>
                </c:pt>
                <c:pt idx="1386">
                  <c:v>0.57383634388549809</c:v>
                </c:pt>
                <c:pt idx="1387">
                  <c:v>0.57433730409517081</c:v>
                </c:pt>
                <c:pt idx="1388">
                  <c:v>0.5734396976740026</c:v>
                </c:pt>
                <c:pt idx="1389">
                  <c:v>0.57331952461461833</c:v>
                </c:pt>
                <c:pt idx="1390">
                  <c:v>0.57362331949755807</c:v>
                </c:pt>
                <c:pt idx="1391">
                  <c:v>0.5725177050976431</c:v>
                </c:pt>
                <c:pt idx="1392">
                  <c:v>0.57259761646555019</c:v>
                </c:pt>
                <c:pt idx="1393">
                  <c:v>0.57263877989533907</c:v>
                </c:pt>
                <c:pt idx="1394">
                  <c:v>0.57341584254663081</c:v>
                </c:pt>
                <c:pt idx="1395">
                  <c:v>0.57312928653514972</c:v>
                </c:pt>
                <c:pt idx="1396">
                  <c:v>0.5726763043807841</c:v>
                </c:pt>
                <c:pt idx="1397">
                  <c:v>0.57323986960377893</c:v>
                </c:pt>
                <c:pt idx="1398">
                  <c:v>0.57263536502929868</c:v>
                </c:pt>
                <c:pt idx="1399">
                  <c:v>0.56964100084608571</c:v>
                </c:pt>
                <c:pt idx="1400">
                  <c:v>0.56941523593129684</c:v>
                </c:pt>
                <c:pt idx="1401">
                  <c:v>0.56877798883165576</c:v>
                </c:pt>
                <c:pt idx="1402">
                  <c:v>0.56854477628844402</c:v>
                </c:pt>
                <c:pt idx="1403">
                  <c:v>0.56869885799890929</c:v>
                </c:pt>
                <c:pt idx="1404">
                  <c:v>0.56772919500968588</c:v>
                </c:pt>
                <c:pt idx="1405">
                  <c:v>0.56794919093284046</c:v>
                </c:pt>
                <c:pt idx="1406">
                  <c:v>0.55647917720529805</c:v>
                </c:pt>
                <c:pt idx="1407">
                  <c:v>0.53695734774181569</c:v>
                </c:pt>
                <c:pt idx="1408">
                  <c:v>0.53490754467689283</c:v>
                </c:pt>
                <c:pt idx="1409">
                  <c:v>0.53475912378523649</c:v>
                </c:pt>
                <c:pt idx="1410">
                  <c:v>0.53443683885516147</c:v>
                </c:pt>
                <c:pt idx="1411">
                  <c:v>0.5338782130253793</c:v>
                </c:pt>
                <c:pt idx="1412">
                  <c:v>0.53388953581282506</c:v>
                </c:pt>
                <c:pt idx="1413">
                  <c:v>0.53388651217598504</c:v>
                </c:pt>
                <c:pt idx="1414">
                  <c:v>0.53318644073855581</c:v>
                </c:pt>
                <c:pt idx="1415">
                  <c:v>0.53297037041680406</c:v>
                </c:pt>
                <c:pt idx="1416">
                  <c:v>0.53344728471143732</c:v>
                </c:pt>
                <c:pt idx="1417">
                  <c:v>0.53346469867484958</c:v>
                </c:pt>
                <c:pt idx="1418">
                  <c:v>0.53366524853698416</c:v>
                </c:pt>
                <c:pt idx="1419">
                  <c:v>0.53353154428017702</c:v>
                </c:pt>
                <c:pt idx="1420">
                  <c:v>0.53133197942722532</c:v>
                </c:pt>
                <c:pt idx="1421">
                  <c:v>0.53127818852100883</c:v>
                </c:pt>
                <c:pt idx="1422">
                  <c:v>0.53081755700473343</c:v>
                </c:pt>
                <c:pt idx="1423">
                  <c:v>0.52826074963762637</c:v>
                </c:pt>
                <c:pt idx="1424">
                  <c:v>0.5275349876670139</c:v>
                </c:pt>
                <c:pt idx="1425">
                  <c:v>0.52722640229644557</c:v>
                </c:pt>
                <c:pt idx="1426">
                  <c:v>0.52910673434542654</c:v>
                </c:pt>
                <c:pt idx="1427">
                  <c:v>0.5266720367089508</c:v>
                </c:pt>
                <c:pt idx="1428">
                  <c:v>0.5279429562725455</c:v>
                </c:pt>
                <c:pt idx="1429">
                  <c:v>0.53051202935507347</c:v>
                </c:pt>
                <c:pt idx="1430">
                  <c:v>0.52688868167671787</c:v>
                </c:pt>
                <c:pt idx="1431">
                  <c:v>0.5259385033428674</c:v>
                </c:pt>
                <c:pt idx="1432">
                  <c:v>0.53038277935390776</c:v>
                </c:pt>
                <c:pt idx="1433">
                  <c:v>0.53277538908193844</c:v>
                </c:pt>
                <c:pt idx="1434">
                  <c:v>0.53283916431286305</c:v>
                </c:pt>
                <c:pt idx="1435">
                  <c:v>0.53318094966047624</c:v>
                </c:pt>
                <c:pt idx="1436">
                  <c:v>0.53355666574385219</c:v>
                </c:pt>
                <c:pt idx="1437">
                  <c:v>0.53371818250308589</c:v>
                </c:pt>
                <c:pt idx="1438">
                  <c:v>0.53350112734409771</c:v>
                </c:pt>
                <c:pt idx="1439">
                  <c:v>0.53319212107793656</c:v>
                </c:pt>
                <c:pt idx="1440">
                  <c:v>0.53356889185376444</c:v>
                </c:pt>
                <c:pt idx="1441">
                  <c:v>0.53191833646338371</c:v>
                </c:pt>
                <c:pt idx="1442">
                  <c:v>0.53205660018973899</c:v>
                </c:pt>
                <c:pt idx="1443">
                  <c:v>0.53173527813801902</c:v>
                </c:pt>
                <c:pt idx="1444">
                  <c:v>0.52600403904400472</c:v>
                </c:pt>
                <c:pt idx="1445">
                  <c:v>0.52934148690263039</c:v>
                </c:pt>
                <c:pt idx="1446">
                  <c:v>0.52619966374946936</c:v>
                </c:pt>
                <c:pt idx="1447">
                  <c:v>0.52508279972767158</c:v>
                </c:pt>
                <c:pt idx="1448">
                  <c:v>0.52737893131905578</c:v>
                </c:pt>
                <c:pt idx="1449">
                  <c:v>0.5271018811441619</c:v>
                </c:pt>
                <c:pt idx="1450">
                  <c:v>0.52669346879310253</c:v>
                </c:pt>
                <c:pt idx="1451">
                  <c:v>0.52636589717655613</c:v>
                </c:pt>
                <c:pt idx="1452">
                  <c:v>0.52575552439186168</c:v>
                </c:pt>
                <c:pt idx="1453">
                  <c:v>0.52550163016381335</c:v>
                </c:pt>
                <c:pt idx="1454">
                  <c:v>0.52457523719241517</c:v>
                </c:pt>
                <c:pt idx="1455">
                  <c:v>0.52504623969830211</c:v>
                </c:pt>
                <c:pt idx="1456">
                  <c:v>0.52342593132405324</c:v>
                </c:pt>
                <c:pt idx="1457">
                  <c:v>0.52199674325603229</c:v>
                </c:pt>
                <c:pt idx="1458">
                  <c:v>0.5204215436992814</c:v>
                </c:pt>
                <c:pt idx="1459">
                  <c:v>0.52525052491317614</c:v>
                </c:pt>
                <c:pt idx="1460">
                  <c:v>0.52776755528442598</c:v>
                </c:pt>
                <c:pt idx="1461">
                  <c:v>0.52856935877518896</c:v>
                </c:pt>
                <c:pt idx="1462">
                  <c:v>0.5302321346260761</c:v>
                </c:pt>
                <c:pt idx="1463">
                  <c:v>0.53046082568513298</c:v>
                </c:pt>
                <c:pt idx="1464">
                  <c:v>0.52900189943351128</c:v>
                </c:pt>
                <c:pt idx="1465">
                  <c:v>0.52965622932480461</c:v>
                </c:pt>
                <c:pt idx="1466">
                  <c:v>0.52971009646170941</c:v>
                </c:pt>
                <c:pt idx="1467">
                  <c:v>0.52992507281580625</c:v>
                </c:pt>
                <c:pt idx="1468">
                  <c:v>0.53121734807077858</c:v>
                </c:pt>
                <c:pt idx="1469">
                  <c:v>0.53134186211154488</c:v>
                </c:pt>
                <c:pt idx="1470">
                  <c:v>0.53073826978141281</c:v>
                </c:pt>
                <c:pt idx="1471">
                  <c:v>0.53013576401781781</c:v>
                </c:pt>
                <c:pt idx="1472">
                  <c:v>0.53040023918631496</c:v>
                </c:pt>
                <c:pt idx="1473">
                  <c:v>0.52837564443402918</c:v>
                </c:pt>
                <c:pt idx="1474">
                  <c:v>0.5285528734754682</c:v>
                </c:pt>
                <c:pt idx="1475">
                  <c:v>0.52816649888504918</c:v>
                </c:pt>
                <c:pt idx="1476">
                  <c:v>0.53044079226991803</c:v>
                </c:pt>
                <c:pt idx="1477">
                  <c:v>0.52970136880990271</c:v>
                </c:pt>
                <c:pt idx="1478">
                  <c:v>0.53643798738526505</c:v>
                </c:pt>
                <c:pt idx="1479">
                  <c:v>0.53527410132832054</c:v>
                </c:pt>
                <c:pt idx="1480">
                  <c:v>0.5295789873924357</c:v>
                </c:pt>
                <c:pt idx="1481">
                  <c:v>0.52774914733270639</c:v>
                </c:pt>
                <c:pt idx="1482">
                  <c:v>0.52969058030070892</c:v>
                </c:pt>
                <c:pt idx="1483">
                  <c:v>0.52897555033216803</c:v>
                </c:pt>
                <c:pt idx="1484">
                  <c:v>0.52814081463139395</c:v>
                </c:pt>
                <c:pt idx="1485">
                  <c:v>0.52812510395152701</c:v>
                </c:pt>
                <c:pt idx="1486">
                  <c:v>0.52701251480926481</c:v>
                </c:pt>
                <c:pt idx="1487">
                  <c:v>0.52715115922727995</c:v>
                </c:pt>
                <c:pt idx="1488">
                  <c:v>0.52719653266430866</c:v>
                </c:pt>
                <c:pt idx="1489">
                  <c:v>0.52671133000095671</c:v>
                </c:pt>
                <c:pt idx="1490">
                  <c:v>0.52569705349670304</c:v>
                </c:pt>
                <c:pt idx="1491">
                  <c:v>0.52498232096280384</c:v>
                </c:pt>
                <c:pt idx="1492">
                  <c:v>0.5246401947498649</c:v>
                </c:pt>
                <c:pt idx="1493">
                  <c:v>0.52414536144886748</c:v>
                </c:pt>
                <c:pt idx="1494">
                  <c:v>0.52443609494054955</c:v>
                </c:pt>
                <c:pt idx="1495">
                  <c:v>0.52474088768934546</c:v>
                </c:pt>
                <c:pt idx="1496">
                  <c:v>0.52502377873803208</c:v>
                </c:pt>
                <c:pt idx="1497">
                  <c:v>0.52549870821641653</c:v>
                </c:pt>
                <c:pt idx="1498">
                  <c:v>0.52540545777988423</c:v>
                </c:pt>
                <c:pt idx="1499">
                  <c:v>0.52559419733153867</c:v>
                </c:pt>
                <c:pt idx="1500">
                  <c:v>0.52511860196615934</c:v>
                </c:pt>
                <c:pt idx="1501">
                  <c:v>0.52395384398838774</c:v>
                </c:pt>
                <c:pt idx="1502">
                  <c:v>0.52458779270358658</c:v>
                </c:pt>
                <c:pt idx="1503">
                  <c:v>0.52484184767088327</c:v>
                </c:pt>
                <c:pt idx="1504">
                  <c:v>0.52230351960625399</c:v>
                </c:pt>
                <c:pt idx="1505">
                  <c:v>0.52297141016652582</c:v>
                </c:pt>
                <c:pt idx="1506">
                  <c:v>0.52155268506612817</c:v>
                </c:pt>
                <c:pt idx="1507">
                  <c:v>0.52104882916176021</c:v>
                </c:pt>
                <c:pt idx="1508">
                  <c:v>0.52223917039026602</c:v>
                </c:pt>
                <c:pt idx="1509">
                  <c:v>0.52218119395962226</c:v>
                </c:pt>
                <c:pt idx="1510">
                  <c:v>0.52230272926673404</c:v>
                </c:pt>
                <c:pt idx="1511">
                  <c:v>0.52401380127451425</c:v>
                </c:pt>
                <c:pt idx="1512">
                  <c:v>0.52394339886211649</c:v>
                </c:pt>
                <c:pt idx="1513">
                  <c:v>0.52366421503167671</c:v>
                </c:pt>
                <c:pt idx="1514">
                  <c:v>0.52266714288260274</c:v>
                </c:pt>
                <c:pt idx="1515">
                  <c:v>0.52313038106918031</c:v>
                </c:pt>
                <c:pt idx="1516">
                  <c:v>0.52369050118695648</c:v>
                </c:pt>
                <c:pt idx="1517">
                  <c:v>0.52415476295575325</c:v>
                </c:pt>
                <c:pt idx="1518">
                  <c:v>0.52150760847281907</c:v>
                </c:pt>
                <c:pt idx="1519">
                  <c:v>0.51960868018290329</c:v>
                </c:pt>
                <c:pt idx="1520">
                  <c:v>0.51781883998086786</c:v>
                </c:pt>
                <c:pt idx="1521">
                  <c:v>0.5164462233920184</c:v>
                </c:pt>
                <c:pt idx="1522">
                  <c:v>0.51604180957931822</c:v>
                </c:pt>
                <c:pt idx="1523">
                  <c:v>0.51443004013560567</c:v>
                </c:pt>
                <c:pt idx="1524">
                  <c:v>0.51447375313817401</c:v>
                </c:pt>
                <c:pt idx="1525">
                  <c:v>0.51231918081489836</c:v>
                </c:pt>
                <c:pt idx="1526">
                  <c:v>0.51287255858072889</c:v>
                </c:pt>
                <c:pt idx="1527">
                  <c:v>0.5096991134381742</c:v>
                </c:pt>
                <c:pt idx="1528">
                  <c:v>0.51118331472249612</c:v>
                </c:pt>
                <c:pt idx="1529">
                  <c:v>0.5118946410019044</c:v>
                </c:pt>
                <c:pt idx="1530">
                  <c:v>0.51101879298574071</c:v>
                </c:pt>
                <c:pt idx="1531">
                  <c:v>0.51017426974059432</c:v>
                </c:pt>
                <c:pt idx="1532">
                  <c:v>0.5102979773466878</c:v>
                </c:pt>
                <c:pt idx="1533">
                  <c:v>0.51010191195021937</c:v>
                </c:pt>
                <c:pt idx="1534">
                  <c:v>0.50919968175567398</c:v>
                </c:pt>
                <c:pt idx="1535">
                  <c:v>0.5046339232649617</c:v>
                </c:pt>
                <c:pt idx="1536">
                  <c:v>0.50412511590133846</c:v>
                </c:pt>
                <c:pt idx="1537">
                  <c:v>0.50402361765238468</c:v>
                </c:pt>
                <c:pt idx="1538">
                  <c:v>0.50598155414527723</c:v>
                </c:pt>
                <c:pt idx="1539">
                  <c:v>0.50520032290545025</c:v>
                </c:pt>
                <c:pt idx="1540">
                  <c:v>0.50592244438252765</c:v>
                </c:pt>
                <c:pt idx="1541">
                  <c:v>0.50607181769449272</c:v>
                </c:pt>
                <c:pt idx="1542">
                  <c:v>0.50363124857213337</c:v>
                </c:pt>
                <c:pt idx="1543">
                  <c:v>0.48555620472536903</c:v>
                </c:pt>
                <c:pt idx="1544">
                  <c:v>0.47794328708662032</c:v>
                </c:pt>
                <c:pt idx="1545">
                  <c:v>0.47926837791008109</c:v>
                </c:pt>
                <c:pt idx="1546">
                  <c:v>0.47949740215309655</c:v>
                </c:pt>
                <c:pt idx="1547">
                  <c:v>0.47779887269486815</c:v>
                </c:pt>
                <c:pt idx="1548">
                  <c:v>0.47807971477794692</c:v>
                </c:pt>
                <c:pt idx="1549">
                  <c:v>0.47738770168217276</c:v>
                </c:pt>
                <c:pt idx="1550">
                  <c:v>0.47758671239119882</c:v>
                </c:pt>
                <c:pt idx="1551">
                  <c:v>0.47709398446848617</c:v>
                </c:pt>
                <c:pt idx="1552">
                  <c:v>0.47712576582322808</c:v>
                </c:pt>
                <c:pt idx="1553">
                  <c:v>0.47789059918806381</c:v>
                </c:pt>
                <c:pt idx="1554">
                  <c:v>0.47804849344865763</c:v>
                </c:pt>
                <c:pt idx="1555">
                  <c:v>0.47974688578764862</c:v>
                </c:pt>
                <c:pt idx="1556">
                  <c:v>0.48243010895064903</c:v>
                </c:pt>
                <c:pt idx="1557">
                  <c:v>0.48223260052722922</c:v>
                </c:pt>
                <c:pt idx="1558">
                  <c:v>0.4824899746284203</c:v>
                </c:pt>
                <c:pt idx="1559">
                  <c:v>0.48285614178724384</c:v>
                </c:pt>
                <c:pt idx="1560">
                  <c:v>0.48532079019166796</c:v>
                </c:pt>
                <c:pt idx="1561">
                  <c:v>0.48575589062892116</c:v>
                </c:pt>
                <c:pt idx="1562">
                  <c:v>0.4884475145063184</c:v>
                </c:pt>
                <c:pt idx="1563">
                  <c:v>0.48962691223513338</c:v>
                </c:pt>
                <c:pt idx="1564">
                  <c:v>0.4873805147301522</c:v>
                </c:pt>
                <c:pt idx="1565">
                  <c:v>0.48762114419835773</c:v>
                </c:pt>
                <c:pt idx="1566">
                  <c:v>0.48747802461826512</c:v>
                </c:pt>
                <c:pt idx="1567">
                  <c:v>0.4867276165707296</c:v>
                </c:pt>
                <c:pt idx="1568">
                  <c:v>0.48682908287547377</c:v>
                </c:pt>
                <c:pt idx="1569">
                  <c:v>0.48625691711837621</c:v>
                </c:pt>
                <c:pt idx="1570">
                  <c:v>0.48653028729210812</c:v>
                </c:pt>
                <c:pt idx="1571">
                  <c:v>0.48577901120087041</c:v>
                </c:pt>
                <c:pt idx="1572">
                  <c:v>0.48265241266911102</c:v>
                </c:pt>
                <c:pt idx="1573">
                  <c:v>0.48283568720358111</c:v>
                </c:pt>
                <c:pt idx="1574">
                  <c:v>0.48287570569722538</c:v>
                </c:pt>
                <c:pt idx="1575">
                  <c:v>0.48254827956546831</c:v>
                </c:pt>
                <c:pt idx="1576">
                  <c:v>0.48185889061230047</c:v>
                </c:pt>
                <c:pt idx="1577">
                  <c:v>0.48240307330973475</c:v>
                </c:pt>
                <c:pt idx="1578">
                  <c:v>0.48241366339259023</c:v>
                </c:pt>
                <c:pt idx="1579">
                  <c:v>0.48202060378793621</c:v>
                </c:pt>
                <c:pt idx="1580">
                  <c:v>0.4821214369559832</c:v>
                </c:pt>
                <c:pt idx="1581">
                  <c:v>0.48121199762175254</c:v>
                </c:pt>
                <c:pt idx="1582">
                  <c:v>0.48060317286844756</c:v>
                </c:pt>
                <c:pt idx="1583">
                  <c:v>0.48064903359864691</c:v>
                </c:pt>
                <c:pt idx="1584">
                  <c:v>0.48075463701131921</c:v>
                </c:pt>
                <c:pt idx="1585">
                  <c:v>0.4812173255333303</c:v>
                </c:pt>
                <c:pt idx="1586">
                  <c:v>0.48133369215123922</c:v>
                </c:pt>
                <c:pt idx="1587">
                  <c:v>0.47982872565669404</c:v>
                </c:pt>
                <c:pt idx="1588">
                  <c:v>0.48049501809207096</c:v>
                </c:pt>
                <c:pt idx="1589">
                  <c:v>0.48001543579030659</c:v>
                </c:pt>
                <c:pt idx="1590">
                  <c:v>0.48080778438165928</c:v>
                </c:pt>
                <c:pt idx="1591">
                  <c:v>0.47968885947736623</c:v>
                </c:pt>
                <c:pt idx="1592">
                  <c:v>0.47959369817285852</c:v>
                </c:pt>
                <c:pt idx="1593">
                  <c:v>0.47971285615200626</c:v>
                </c:pt>
                <c:pt idx="1594">
                  <c:v>0.48101789526437555</c:v>
                </c:pt>
                <c:pt idx="1595">
                  <c:v>0.48016339147179343</c:v>
                </c:pt>
                <c:pt idx="1596">
                  <c:v>0.47995041555478707</c:v>
                </c:pt>
                <c:pt idx="1597">
                  <c:v>0.47842810735689084</c:v>
                </c:pt>
                <c:pt idx="1598">
                  <c:v>0.47997173104205609</c:v>
                </c:pt>
                <c:pt idx="1599">
                  <c:v>0.48055727864614123</c:v>
                </c:pt>
                <c:pt idx="1600">
                  <c:v>0.48007647698332856</c:v>
                </c:pt>
                <c:pt idx="1601">
                  <c:v>0.48454691322298782</c:v>
                </c:pt>
                <c:pt idx="1602">
                  <c:v>0.48766027186415278</c:v>
                </c:pt>
                <c:pt idx="1603">
                  <c:v>0.48865141245325217</c:v>
                </c:pt>
                <c:pt idx="1604">
                  <c:v>0.4970668781700634</c:v>
                </c:pt>
                <c:pt idx="1605">
                  <c:v>0.4999050323594349</c:v>
                </c:pt>
                <c:pt idx="1606">
                  <c:v>0.51215916701778241</c:v>
                </c:pt>
                <c:pt idx="1607">
                  <c:v>0.51759511225966948</c:v>
                </c:pt>
                <c:pt idx="1608">
                  <c:v>0.51380977886016299</c:v>
                </c:pt>
                <c:pt idx="1609">
                  <c:v>0.51361309599801408</c:v>
                </c:pt>
                <c:pt idx="1610">
                  <c:v>0.51361181243526954</c:v>
                </c:pt>
                <c:pt idx="1611">
                  <c:v>0.51481651164932818</c:v>
                </c:pt>
                <c:pt idx="1612">
                  <c:v>0.51500111524332981</c:v>
                </c:pt>
                <c:pt idx="1613">
                  <c:v>0.51502060053065046</c:v>
                </c:pt>
                <c:pt idx="1614">
                  <c:v>0.51507618176590009</c:v>
                </c:pt>
                <c:pt idx="1615">
                  <c:v>0.51679508962553888</c:v>
                </c:pt>
                <c:pt idx="1616">
                  <c:v>0.51738182721076698</c:v>
                </c:pt>
                <c:pt idx="1617">
                  <c:v>0.51687804911390922</c:v>
                </c:pt>
                <c:pt idx="1618">
                  <c:v>0.51697566297394504</c:v>
                </c:pt>
                <c:pt idx="1619">
                  <c:v>0.51689670357263695</c:v>
                </c:pt>
                <c:pt idx="1620">
                  <c:v>0.51638056279053712</c:v>
                </c:pt>
                <c:pt idx="1621">
                  <c:v>0.51686430183363297</c:v>
                </c:pt>
                <c:pt idx="1622">
                  <c:v>0.51719950456368158</c:v>
                </c:pt>
                <c:pt idx="1623">
                  <c:v>0.51718655426366344</c:v>
                </c:pt>
                <c:pt idx="1624">
                  <c:v>0.51784538377574174</c:v>
                </c:pt>
                <c:pt idx="1625">
                  <c:v>0.51770174088436638</c:v>
                </c:pt>
                <c:pt idx="1626">
                  <c:v>0.51793690459759212</c:v>
                </c:pt>
                <c:pt idx="1627">
                  <c:v>0.51772483446214612</c:v>
                </c:pt>
                <c:pt idx="1628">
                  <c:v>0.51776635818335459</c:v>
                </c:pt>
                <c:pt idx="1629">
                  <c:v>0.51683576993044933</c:v>
                </c:pt>
                <c:pt idx="1630">
                  <c:v>0.51909625350288457</c:v>
                </c:pt>
                <c:pt idx="1631">
                  <c:v>0.5190833089671536</c:v>
                </c:pt>
                <c:pt idx="1632">
                  <c:v>0.51925044228663553</c:v>
                </c:pt>
                <c:pt idx="1633">
                  <c:v>0.51855968881374592</c:v>
                </c:pt>
                <c:pt idx="1634">
                  <c:v>0.5191059521566953</c:v>
                </c:pt>
                <c:pt idx="1635">
                  <c:v>0.51943658348481936</c:v>
                </c:pt>
                <c:pt idx="1636">
                  <c:v>0.51952248092405229</c:v>
                </c:pt>
                <c:pt idx="1637">
                  <c:v>0.51908244211241084</c:v>
                </c:pt>
                <c:pt idx="1638">
                  <c:v>0.52076326243272553</c:v>
                </c:pt>
                <c:pt idx="1639">
                  <c:v>0.5234389588646442</c:v>
                </c:pt>
                <c:pt idx="1640">
                  <c:v>0.52276091725365514</c:v>
                </c:pt>
                <c:pt idx="1641">
                  <c:v>0.52312192954792014</c:v>
                </c:pt>
                <c:pt idx="1642">
                  <c:v>0.52291009033793956</c:v>
                </c:pt>
                <c:pt idx="1643">
                  <c:v>0.52090642222083416</c:v>
                </c:pt>
                <c:pt idx="1644">
                  <c:v>0.52055305884632042</c:v>
                </c:pt>
                <c:pt idx="1645">
                  <c:v>0.52768695107711294</c:v>
                </c:pt>
                <c:pt idx="1646">
                  <c:v>0.52984246065757623</c:v>
                </c:pt>
                <c:pt idx="1647">
                  <c:v>0.52974778129945765</c:v>
                </c:pt>
                <c:pt idx="1648">
                  <c:v>0.52987239573827405</c:v>
                </c:pt>
                <c:pt idx="1649">
                  <c:v>0.52924993346699911</c:v>
                </c:pt>
                <c:pt idx="1650">
                  <c:v>0.53310803940133022</c:v>
                </c:pt>
                <c:pt idx="1651">
                  <c:v>0.52947621368273023</c:v>
                </c:pt>
                <c:pt idx="1652">
                  <c:v>0.53013812197464716</c:v>
                </c:pt>
                <c:pt idx="1653">
                  <c:v>0.52839545541640154</c:v>
                </c:pt>
                <c:pt idx="1654">
                  <c:v>0.52837799727160262</c:v>
                </c:pt>
                <c:pt idx="1655">
                  <c:v>0.52720333398680641</c:v>
                </c:pt>
                <c:pt idx="1656">
                  <c:v>0.52710148117565325</c:v>
                </c:pt>
                <c:pt idx="1657">
                  <c:v>0.52689591336892716</c:v>
                </c:pt>
                <c:pt idx="1658">
                  <c:v>0.52840491999843431</c:v>
                </c:pt>
                <c:pt idx="1659">
                  <c:v>0.52780668817318077</c:v>
                </c:pt>
                <c:pt idx="1660">
                  <c:v>0.5261242286969372</c:v>
                </c:pt>
                <c:pt idx="1661">
                  <c:v>0.52730098093428956</c:v>
                </c:pt>
                <c:pt idx="1662">
                  <c:v>0.52764475287282975</c:v>
                </c:pt>
                <c:pt idx="1663">
                  <c:v>0.52821104809142083</c:v>
                </c:pt>
                <c:pt idx="1664">
                  <c:v>0.52788103423320565</c:v>
                </c:pt>
                <c:pt idx="1665">
                  <c:v>0.5286581784170501</c:v>
                </c:pt>
                <c:pt idx="1666">
                  <c:v>0.52823528137305331</c:v>
                </c:pt>
                <c:pt idx="1667">
                  <c:v>0.52876764398025233</c:v>
                </c:pt>
                <c:pt idx="1668">
                  <c:v>0.52817176328888638</c:v>
                </c:pt>
                <c:pt idx="1669">
                  <c:v>0.52878001528396856</c:v>
                </c:pt>
                <c:pt idx="1670">
                  <c:v>0.52881240352031955</c:v>
                </c:pt>
                <c:pt idx="1671">
                  <c:v>0.52775676645816527</c:v>
                </c:pt>
                <c:pt idx="1672">
                  <c:v>0.52969541371047801</c:v>
                </c:pt>
                <c:pt idx="1673">
                  <c:v>0.52771047222702627</c:v>
                </c:pt>
                <c:pt idx="1674">
                  <c:v>0.52843697466958428</c:v>
                </c:pt>
                <c:pt idx="1675">
                  <c:v>0.53235417615423519</c:v>
                </c:pt>
                <c:pt idx="1676">
                  <c:v>0.53153194446070107</c:v>
                </c:pt>
                <c:pt idx="1677">
                  <c:v>0.53669039948585806</c:v>
                </c:pt>
                <c:pt idx="1678">
                  <c:v>0.53639730202972535</c:v>
                </c:pt>
                <c:pt idx="1679">
                  <c:v>0.53943232704873578</c:v>
                </c:pt>
                <c:pt idx="1680">
                  <c:v>0.53893530466201556</c:v>
                </c:pt>
                <c:pt idx="1681">
                  <c:v>0.5378091986294522</c:v>
                </c:pt>
                <c:pt idx="1682">
                  <c:v>0.54125661511195033</c:v>
                </c:pt>
                <c:pt idx="1683">
                  <c:v>0.54174355664767881</c:v>
                </c:pt>
                <c:pt idx="1684">
                  <c:v>0.53796147533303595</c:v>
                </c:pt>
                <c:pt idx="1685">
                  <c:v>0.53493036870041211</c:v>
                </c:pt>
                <c:pt idx="1686">
                  <c:v>0.53572682543742145</c:v>
                </c:pt>
                <c:pt idx="1687">
                  <c:v>0.53530531375332591</c:v>
                </c:pt>
                <c:pt idx="1688">
                  <c:v>0.53741998579981265</c:v>
                </c:pt>
                <c:pt idx="1689">
                  <c:v>0.53744907030323563</c:v>
                </c:pt>
                <c:pt idx="1690">
                  <c:v>0.53596309415242427</c:v>
                </c:pt>
                <c:pt idx="1691">
                  <c:v>0.5365068372739068</c:v>
                </c:pt>
                <c:pt idx="1692">
                  <c:v>0.53614825943802791</c:v>
                </c:pt>
                <c:pt idx="1693">
                  <c:v>0.53620187009788312</c:v>
                </c:pt>
                <c:pt idx="1694">
                  <c:v>0.53626659362298967</c:v>
                </c:pt>
                <c:pt idx="1695">
                  <c:v>0.53732147814155962</c:v>
                </c:pt>
                <c:pt idx="1696">
                  <c:v>0.53789658487448599</c:v>
                </c:pt>
                <c:pt idx="1697">
                  <c:v>0.53773914018801894</c:v>
                </c:pt>
                <c:pt idx="1698">
                  <c:v>0.53739996570399018</c:v>
                </c:pt>
                <c:pt idx="1699">
                  <c:v>0.5377196454212021</c:v>
                </c:pt>
                <c:pt idx="1700">
                  <c:v>0.53620529946272122</c:v>
                </c:pt>
                <c:pt idx="1701">
                  <c:v>0.53356980330874082</c:v>
                </c:pt>
                <c:pt idx="1702">
                  <c:v>0.53387901375365476</c:v>
                </c:pt>
                <c:pt idx="1703">
                  <c:v>0.53510207506596119</c:v>
                </c:pt>
                <c:pt idx="1704">
                  <c:v>0.53541489312177781</c:v>
                </c:pt>
                <c:pt idx="1705">
                  <c:v>0.53650521258497841</c:v>
                </c:pt>
                <c:pt idx="1706">
                  <c:v>0.53673200072535421</c:v>
                </c:pt>
                <c:pt idx="1707">
                  <c:v>0.53874797298568411</c:v>
                </c:pt>
                <c:pt idx="1708">
                  <c:v>0.54081528010447921</c:v>
                </c:pt>
                <c:pt idx="1709">
                  <c:v>0.5423032609945061</c:v>
                </c:pt>
                <c:pt idx="1710">
                  <c:v>0.54374842814914925</c:v>
                </c:pt>
                <c:pt idx="1711">
                  <c:v>0.54301481620846159</c:v>
                </c:pt>
                <c:pt idx="1712">
                  <c:v>0.54285463392263544</c:v>
                </c:pt>
                <c:pt idx="1713">
                  <c:v>0.54182405648011667</c:v>
                </c:pt>
                <c:pt idx="1714">
                  <c:v>0.5413786947666771</c:v>
                </c:pt>
                <c:pt idx="1715">
                  <c:v>0.54117560931282693</c:v>
                </c:pt>
                <c:pt idx="1716">
                  <c:v>0.54046545074373231</c:v>
                </c:pt>
                <c:pt idx="1717">
                  <c:v>0.54064764018488132</c:v>
                </c:pt>
                <c:pt idx="1718">
                  <c:v>0.54014009706157018</c:v>
                </c:pt>
                <c:pt idx="1719">
                  <c:v>0.54030143614659487</c:v>
                </c:pt>
                <c:pt idx="1720">
                  <c:v>0.54028621441229474</c:v>
                </c:pt>
                <c:pt idx="1721">
                  <c:v>0.53989367054078552</c:v>
                </c:pt>
                <c:pt idx="1722">
                  <c:v>0.54006550472971526</c:v>
                </c:pt>
                <c:pt idx="1723">
                  <c:v>0.54029174424751125</c:v>
                </c:pt>
                <c:pt idx="1724">
                  <c:v>0.54010859013772317</c:v>
                </c:pt>
                <c:pt idx="1725">
                  <c:v>0.54116517066700831</c:v>
                </c:pt>
                <c:pt idx="1726">
                  <c:v>0.54195938267613208</c:v>
                </c:pt>
                <c:pt idx="1727">
                  <c:v>0.54256577591668942</c:v>
                </c:pt>
                <c:pt idx="1728">
                  <c:v>0.54003344175738244</c:v>
                </c:pt>
                <c:pt idx="1729">
                  <c:v>0.54082236665145489</c:v>
                </c:pt>
                <c:pt idx="1730">
                  <c:v>0.54136450818649429</c:v>
                </c:pt>
                <c:pt idx="1731">
                  <c:v>0.5415377035908252</c:v>
                </c:pt>
                <c:pt idx="1732">
                  <c:v>0.54190720035291551</c:v>
                </c:pt>
                <c:pt idx="1733">
                  <c:v>0.54280728464754113</c:v>
                </c:pt>
                <c:pt idx="1734">
                  <c:v>0.54276737408723197</c:v>
                </c:pt>
                <c:pt idx="1735">
                  <c:v>0.54239141857739603</c:v>
                </c:pt>
                <c:pt idx="1736">
                  <c:v>0.54236623438686005</c:v>
                </c:pt>
                <c:pt idx="1737">
                  <c:v>0.54230195129886793</c:v>
                </c:pt>
                <c:pt idx="1738">
                  <c:v>0.54315489619754176</c:v>
                </c:pt>
                <c:pt idx="1739">
                  <c:v>0.54352978155099885</c:v>
                </c:pt>
                <c:pt idx="1740">
                  <c:v>0.54360985636050152</c:v>
                </c:pt>
                <c:pt idx="1741">
                  <c:v>0.54302953021285105</c:v>
                </c:pt>
                <c:pt idx="1742">
                  <c:v>0.54243789310922197</c:v>
                </c:pt>
                <c:pt idx="1743">
                  <c:v>0.54271376115468062</c:v>
                </c:pt>
                <c:pt idx="1744">
                  <c:v>0.54298918482236114</c:v>
                </c:pt>
                <c:pt idx="1745">
                  <c:v>0.5432201894403077</c:v>
                </c:pt>
                <c:pt idx="1746">
                  <c:v>0.5431145822657778</c:v>
                </c:pt>
                <c:pt idx="1747">
                  <c:v>0.54080529487251094</c:v>
                </c:pt>
                <c:pt idx="1748">
                  <c:v>0.54065904268082321</c:v>
                </c:pt>
                <c:pt idx="1749">
                  <c:v>0.54034515726002041</c:v>
                </c:pt>
                <c:pt idx="1750">
                  <c:v>0.54046543189574414</c:v>
                </c:pt>
                <c:pt idx="1751">
                  <c:v>0.54043768931513636</c:v>
                </c:pt>
                <c:pt idx="1752">
                  <c:v>0.54054200438352651</c:v>
                </c:pt>
                <c:pt idx="1753">
                  <c:v>0.54023452837988273</c:v>
                </c:pt>
                <c:pt idx="1754">
                  <c:v>0.54015288169363695</c:v>
                </c:pt>
                <c:pt idx="1755">
                  <c:v>0.54066657337215485</c:v>
                </c:pt>
                <c:pt idx="1756">
                  <c:v>0.5423661893308821</c:v>
                </c:pt>
                <c:pt idx="1757">
                  <c:v>0.54242175833539952</c:v>
                </c:pt>
                <c:pt idx="1758">
                  <c:v>0.53888428963388424</c:v>
                </c:pt>
                <c:pt idx="1759">
                  <c:v>0.5389374170452752</c:v>
                </c:pt>
                <c:pt idx="1760">
                  <c:v>0.53898586780564983</c:v>
                </c:pt>
                <c:pt idx="1761">
                  <c:v>0.53874145797987361</c:v>
                </c:pt>
                <c:pt idx="1762">
                  <c:v>0.53882046908674364</c:v>
                </c:pt>
                <c:pt idx="1763">
                  <c:v>0.53912003010636367</c:v>
                </c:pt>
                <c:pt idx="1764">
                  <c:v>0.53944672755699341</c:v>
                </c:pt>
                <c:pt idx="1765">
                  <c:v>0.53979092708586685</c:v>
                </c:pt>
                <c:pt idx="1766">
                  <c:v>0.53916282728478637</c:v>
                </c:pt>
                <c:pt idx="1767">
                  <c:v>0.53869710700904749</c:v>
                </c:pt>
                <c:pt idx="1768">
                  <c:v>0.53853313533377167</c:v>
                </c:pt>
                <c:pt idx="1769">
                  <c:v>0.53946626466395575</c:v>
                </c:pt>
                <c:pt idx="1770">
                  <c:v>0.53925649703101231</c:v>
                </c:pt>
                <c:pt idx="1771">
                  <c:v>0.53913455692063417</c:v>
                </c:pt>
                <c:pt idx="1772">
                  <c:v>0.53782345452509361</c:v>
                </c:pt>
                <c:pt idx="1773">
                  <c:v>0.53829410237357689</c:v>
                </c:pt>
                <c:pt idx="1774">
                  <c:v>0.53819189983820537</c:v>
                </c:pt>
                <c:pt idx="1775">
                  <c:v>0.53871663654602142</c:v>
                </c:pt>
                <c:pt idx="1776">
                  <c:v>0.538772364828632</c:v>
                </c:pt>
                <c:pt idx="1777">
                  <c:v>0.53932240741771487</c:v>
                </c:pt>
                <c:pt idx="1778">
                  <c:v>0.53959728688674757</c:v>
                </c:pt>
                <c:pt idx="1779">
                  <c:v>0.53972168153684907</c:v>
                </c:pt>
                <c:pt idx="1780">
                  <c:v>0.53858007111618222</c:v>
                </c:pt>
                <c:pt idx="1781">
                  <c:v>0.53856459904233345</c:v>
                </c:pt>
                <c:pt idx="1782">
                  <c:v>0.5430425072314311</c:v>
                </c:pt>
                <c:pt idx="1783">
                  <c:v>0.54310217643303704</c:v>
                </c:pt>
                <c:pt idx="1784">
                  <c:v>0.54409713700174644</c:v>
                </c:pt>
                <c:pt idx="1785">
                  <c:v>0.54526647616495882</c:v>
                </c:pt>
                <c:pt idx="1786">
                  <c:v>0.54583870000191326</c:v>
                </c:pt>
                <c:pt idx="1787">
                  <c:v>0.54776966732899668</c:v>
                </c:pt>
                <c:pt idx="1788">
                  <c:v>0.54971044742759967</c:v>
                </c:pt>
                <c:pt idx="1789">
                  <c:v>0.5499367446282547</c:v>
                </c:pt>
                <c:pt idx="1790">
                  <c:v>0.55109018239491403</c:v>
                </c:pt>
                <c:pt idx="1791">
                  <c:v>0.55606519935215115</c:v>
                </c:pt>
                <c:pt idx="1792">
                  <c:v>0.55588877716471496</c:v>
                </c:pt>
                <c:pt idx="1793">
                  <c:v>0.55577696735941284</c:v>
                </c:pt>
                <c:pt idx="1794">
                  <c:v>0.55850152833110711</c:v>
                </c:pt>
                <c:pt idx="1795">
                  <c:v>0.5721633739194657</c:v>
                </c:pt>
                <c:pt idx="1796">
                  <c:v>0.57863949870565445</c:v>
                </c:pt>
                <c:pt idx="1797">
                  <c:v>0.57871306153545476</c:v>
                </c:pt>
                <c:pt idx="1798">
                  <c:v>0.57865125041319454</c:v>
                </c:pt>
                <c:pt idx="1799">
                  <c:v>0.57989921730600835</c:v>
                </c:pt>
                <c:pt idx="1800">
                  <c:v>0.57977929274736206</c:v>
                </c:pt>
                <c:pt idx="1801">
                  <c:v>0.57931999279684276</c:v>
                </c:pt>
                <c:pt idx="1802">
                  <c:v>0.57966712171177226</c:v>
                </c:pt>
                <c:pt idx="1803">
                  <c:v>0.57936466087211957</c:v>
                </c:pt>
                <c:pt idx="1804">
                  <c:v>0.57916950755100871</c:v>
                </c:pt>
                <c:pt idx="1805">
                  <c:v>0.58261613181408023</c:v>
                </c:pt>
                <c:pt idx="1806">
                  <c:v>0.58178726848726803</c:v>
                </c:pt>
                <c:pt idx="1807">
                  <c:v>0.58187923126289731</c:v>
                </c:pt>
                <c:pt idx="1808">
                  <c:v>0.58040573603696144</c:v>
                </c:pt>
                <c:pt idx="1809">
                  <c:v>0.57995293528485159</c:v>
                </c:pt>
                <c:pt idx="1810">
                  <c:v>0.57961117535620488</c:v>
                </c:pt>
                <c:pt idx="1811">
                  <c:v>0.57912152845616927</c:v>
                </c:pt>
                <c:pt idx="1812">
                  <c:v>0.57814840354714403</c:v>
                </c:pt>
                <c:pt idx="1813">
                  <c:v>0.57814933952754732</c:v>
                </c:pt>
                <c:pt idx="1814">
                  <c:v>0.57680112420672636</c:v>
                </c:pt>
                <c:pt idx="1815">
                  <c:v>0.57498618811636648</c:v>
                </c:pt>
                <c:pt idx="1816">
                  <c:v>0.57601341381433846</c:v>
                </c:pt>
                <c:pt idx="1817">
                  <c:v>0.57538074814221674</c:v>
                </c:pt>
                <c:pt idx="1818">
                  <c:v>0.57418187197463388</c:v>
                </c:pt>
                <c:pt idx="1819">
                  <c:v>0.57030420450354025</c:v>
                </c:pt>
                <c:pt idx="1820">
                  <c:v>0.55343870373577908</c:v>
                </c:pt>
                <c:pt idx="1821">
                  <c:v>0.5597246013080035</c:v>
                </c:pt>
                <c:pt idx="1822">
                  <c:v>0.55438326282042572</c:v>
                </c:pt>
                <c:pt idx="1823">
                  <c:v>0.55137453004958015</c:v>
                </c:pt>
                <c:pt idx="1824">
                  <c:v>0.54302540866738291</c:v>
                </c:pt>
                <c:pt idx="1825">
                  <c:v>0.54305510611187802</c:v>
                </c:pt>
                <c:pt idx="1826">
                  <c:v>0.54461435789892554</c:v>
                </c:pt>
                <c:pt idx="1827">
                  <c:v>0.54800561292223571</c:v>
                </c:pt>
                <c:pt idx="1828">
                  <c:v>0.55109048969493335</c:v>
                </c:pt>
                <c:pt idx="1829">
                  <c:v>0.55117364368350552</c:v>
                </c:pt>
                <c:pt idx="1830">
                  <c:v>0.55302744240357882</c:v>
                </c:pt>
                <c:pt idx="1831">
                  <c:v>0.55710769212885913</c:v>
                </c:pt>
                <c:pt idx="1832">
                  <c:v>0.55752999049733531</c:v>
                </c:pt>
                <c:pt idx="1833">
                  <c:v>0.55802424369193837</c:v>
                </c:pt>
                <c:pt idx="1834">
                  <c:v>0.55820114580493785</c:v>
                </c:pt>
                <c:pt idx="1835">
                  <c:v>0.55766283927250571</c:v>
                </c:pt>
                <c:pt idx="1836">
                  <c:v>0.56044656199096199</c:v>
                </c:pt>
                <c:pt idx="1837">
                  <c:v>0.5619496455565266</c:v>
                </c:pt>
                <c:pt idx="1838">
                  <c:v>0.56143840964197156</c:v>
                </c:pt>
                <c:pt idx="1839">
                  <c:v>0.5625072706005092</c:v>
                </c:pt>
                <c:pt idx="1840">
                  <c:v>0.56409793654158735</c:v>
                </c:pt>
                <c:pt idx="1841">
                  <c:v>0.56730956592225756</c:v>
                </c:pt>
                <c:pt idx="1842">
                  <c:v>0.56807776444643143</c:v>
                </c:pt>
                <c:pt idx="1843">
                  <c:v>0.56934697607747309</c:v>
                </c:pt>
                <c:pt idx="1844">
                  <c:v>0.57072262573425725</c:v>
                </c:pt>
                <c:pt idx="1845">
                  <c:v>0.56985026456748156</c:v>
                </c:pt>
                <c:pt idx="1846">
                  <c:v>0.56905438165109301</c:v>
                </c:pt>
                <c:pt idx="1847">
                  <c:v>0.56829194286507156</c:v>
                </c:pt>
                <c:pt idx="1848">
                  <c:v>0.56742063729463443</c:v>
                </c:pt>
                <c:pt idx="1849">
                  <c:v>0.56776698520052948</c:v>
                </c:pt>
                <c:pt idx="1850">
                  <c:v>0.56712121778244773</c:v>
                </c:pt>
                <c:pt idx="1851">
                  <c:v>0.56690738395194629</c:v>
                </c:pt>
                <c:pt idx="1852">
                  <c:v>0.56591204647349092</c:v>
                </c:pt>
                <c:pt idx="1853">
                  <c:v>0.56393092040945869</c:v>
                </c:pt>
                <c:pt idx="1854">
                  <c:v>0.56390029226277616</c:v>
                </c:pt>
                <c:pt idx="1855">
                  <c:v>0.56049719858572866</c:v>
                </c:pt>
                <c:pt idx="1856">
                  <c:v>0.55783300621970955</c:v>
                </c:pt>
                <c:pt idx="1857">
                  <c:v>0.55616562655917923</c:v>
                </c:pt>
                <c:pt idx="1858">
                  <c:v>0.5535805418800499</c:v>
                </c:pt>
                <c:pt idx="1859">
                  <c:v>0.55230966580444352</c:v>
                </c:pt>
                <c:pt idx="1860">
                  <c:v>0.55418525730672741</c:v>
                </c:pt>
                <c:pt idx="1861">
                  <c:v>0.55626777827256724</c:v>
                </c:pt>
                <c:pt idx="1862">
                  <c:v>0.55801514650576789</c:v>
                </c:pt>
                <c:pt idx="1863">
                  <c:v>0.56105357855796556</c:v>
                </c:pt>
                <c:pt idx="1864">
                  <c:v>0.56114081258678628</c:v>
                </c:pt>
                <c:pt idx="1865">
                  <c:v>0.56081073098227718</c:v>
                </c:pt>
                <c:pt idx="1866">
                  <c:v>0.56067270347211029</c:v>
                </c:pt>
                <c:pt idx="1867">
                  <c:v>0.55934218475219366</c:v>
                </c:pt>
                <c:pt idx="1868">
                  <c:v>0.55905910711918194</c:v>
                </c:pt>
                <c:pt idx="1869">
                  <c:v>0.55969321923057946</c:v>
                </c:pt>
                <c:pt idx="1870">
                  <c:v>0.55997813916345518</c:v>
                </c:pt>
                <c:pt idx="1871">
                  <c:v>0.5604325110300421</c:v>
                </c:pt>
                <c:pt idx="1872">
                  <c:v>0.56060200333931098</c:v>
                </c:pt>
                <c:pt idx="1873">
                  <c:v>0.56085980805751734</c:v>
                </c:pt>
                <c:pt idx="1874">
                  <c:v>0.56056405085228744</c:v>
                </c:pt>
                <c:pt idx="1875">
                  <c:v>0.56144661801290618</c:v>
                </c:pt>
                <c:pt idx="1876">
                  <c:v>0.56087824997897195</c:v>
                </c:pt>
                <c:pt idx="1877">
                  <c:v>0.56111448757146398</c:v>
                </c:pt>
                <c:pt idx="1878">
                  <c:v>0.56315481547753066</c:v>
                </c:pt>
                <c:pt idx="1879">
                  <c:v>0.56544483702085624</c:v>
                </c:pt>
                <c:pt idx="1880">
                  <c:v>0.56797456749438402</c:v>
                </c:pt>
                <c:pt idx="1881">
                  <c:v>0.5688963592434374</c:v>
                </c:pt>
                <c:pt idx="1882">
                  <c:v>0.56743803551589123</c:v>
                </c:pt>
                <c:pt idx="1883">
                  <c:v>0.5674792849931557</c:v>
                </c:pt>
                <c:pt idx="1884">
                  <c:v>0.56673413711537424</c:v>
                </c:pt>
                <c:pt idx="1885">
                  <c:v>0.56711265731256044</c:v>
                </c:pt>
                <c:pt idx="1886">
                  <c:v>0.56710911944450304</c:v>
                </c:pt>
                <c:pt idx="1887">
                  <c:v>0.56753450603472921</c:v>
                </c:pt>
                <c:pt idx="1888">
                  <c:v>0.56739509837652924</c:v>
                </c:pt>
                <c:pt idx="1889">
                  <c:v>0.56630855349486142</c:v>
                </c:pt>
                <c:pt idx="1890">
                  <c:v>0.56560748452851672</c:v>
                </c:pt>
                <c:pt idx="1891">
                  <c:v>0.56383939351999923</c:v>
                </c:pt>
                <c:pt idx="1892">
                  <c:v>0.56536663028154455</c:v>
                </c:pt>
                <c:pt idx="1893">
                  <c:v>0.5658907810254864</c:v>
                </c:pt>
                <c:pt idx="1894">
                  <c:v>0.56537290952558072</c:v>
                </c:pt>
                <c:pt idx="1895">
                  <c:v>0.56853816220276709</c:v>
                </c:pt>
                <c:pt idx="1896">
                  <c:v>0.56913773543425605</c:v>
                </c:pt>
                <c:pt idx="1897">
                  <c:v>0.56507994314850596</c:v>
                </c:pt>
                <c:pt idx="1898">
                  <c:v>0.57182721705281392</c:v>
                </c:pt>
                <c:pt idx="1899">
                  <c:v>0.57287108684450327</c:v>
                </c:pt>
                <c:pt idx="1900">
                  <c:v>0.57413198970591728</c:v>
                </c:pt>
                <c:pt idx="1901">
                  <c:v>0.57052222600623703</c:v>
                </c:pt>
                <c:pt idx="1902">
                  <c:v>0.56963416242547471</c:v>
                </c:pt>
                <c:pt idx="1903">
                  <c:v>0.57464666595562308</c:v>
                </c:pt>
                <c:pt idx="1904">
                  <c:v>0.57551872342692134</c:v>
                </c:pt>
                <c:pt idx="1905">
                  <c:v>0.57614034007648174</c:v>
                </c:pt>
                <c:pt idx="1906">
                  <c:v>0.574542984622056</c:v>
                </c:pt>
                <c:pt idx="1907">
                  <c:v>0.57521690159153471</c:v>
                </c:pt>
                <c:pt idx="1908">
                  <c:v>0.57305327140219553</c:v>
                </c:pt>
                <c:pt idx="1909">
                  <c:v>0.57283068309505492</c:v>
                </c:pt>
                <c:pt idx="1910">
                  <c:v>0.5734229211218107</c:v>
                </c:pt>
                <c:pt idx="1911">
                  <c:v>0.57415551737121684</c:v>
                </c:pt>
                <c:pt idx="1912">
                  <c:v>0.57532407993288714</c:v>
                </c:pt>
                <c:pt idx="1913">
                  <c:v>0.57410886944561845</c:v>
                </c:pt>
                <c:pt idx="1914">
                  <c:v>0.57427297953407697</c:v>
                </c:pt>
                <c:pt idx="1915">
                  <c:v>0.57805816401453369</c:v>
                </c:pt>
                <c:pt idx="1916">
                  <c:v>0.5799580512263417</c:v>
                </c:pt>
                <c:pt idx="1917">
                  <c:v>0.57998213316300518</c:v>
                </c:pt>
                <c:pt idx="1918">
                  <c:v>0.58125894096159836</c:v>
                </c:pt>
                <c:pt idx="1919">
                  <c:v>0.58404661199071806</c:v>
                </c:pt>
                <c:pt idx="1920">
                  <c:v>0.58455510259205101</c:v>
                </c:pt>
                <c:pt idx="1921">
                  <c:v>0.58707617772915455</c:v>
                </c:pt>
                <c:pt idx="1922">
                  <c:v>0.58690294622455952</c:v>
                </c:pt>
                <c:pt idx="1923">
                  <c:v>0.58770845493029711</c:v>
                </c:pt>
                <c:pt idx="1924">
                  <c:v>0.58619584026928362</c:v>
                </c:pt>
                <c:pt idx="1925">
                  <c:v>0.58758721271283931</c:v>
                </c:pt>
                <c:pt idx="1926">
                  <c:v>0.58790051711172464</c:v>
                </c:pt>
                <c:pt idx="1927">
                  <c:v>0.58724095787782593</c:v>
                </c:pt>
                <c:pt idx="1928">
                  <c:v>0.58871784499661683</c:v>
                </c:pt>
                <c:pt idx="1929">
                  <c:v>0.58546203066640323</c:v>
                </c:pt>
                <c:pt idx="1930">
                  <c:v>0.58519857769616346</c:v>
                </c:pt>
                <c:pt idx="1931">
                  <c:v>0.58318008889718076</c:v>
                </c:pt>
                <c:pt idx="1932">
                  <c:v>0.58399073226018183</c:v>
                </c:pt>
                <c:pt idx="1933">
                  <c:v>0.58477952861840521</c:v>
                </c:pt>
                <c:pt idx="1934">
                  <c:v>0.58436080025882631</c:v>
                </c:pt>
                <c:pt idx="1935">
                  <c:v>0.58431621531461331</c:v>
                </c:pt>
                <c:pt idx="1936">
                  <c:v>0.58371987233978018</c:v>
                </c:pt>
                <c:pt idx="1937">
                  <c:v>0.58447545685935454</c:v>
                </c:pt>
                <c:pt idx="1938">
                  <c:v>0.58399506245061128</c:v>
                </c:pt>
                <c:pt idx="1939">
                  <c:v>0.5850740720859916</c:v>
                </c:pt>
                <c:pt idx="1940">
                  <c:v>0.58268706562065431</c:v>
                </c:pt>
                <c:pt idx="1941">
                  <c:v>0.58339938396851054</c:v>
                </c:pt>
                <c:pt idx="1942">
                  <c:v>0.58439583353576263</c:v>
                </c:pt>
                <c:pt idx="1943">
                  <c:v>0.58410366203908648</c:v>
                </c:pt>
                <c:pt idx="1944">
                  <c:v>0.58365454329699817</c:v>
                </c:pt>
                <c:pt idx="1945">
                  <c:v>0.58449871272012832</c:v>
                </c:pt>
                <c:pt idx="1946">
                  <c:v>0.58486479118863333</c:v>
                </c:pt>
                <c:pt idx="1947">
                  <c:v>0.58436767894228991</c:v>
                </c:pt>
                <c:pt idx="1948">
                  <c:v>0.58413149790700691</c:v>
                </c:pt>
                <c:pt idx="1949">
                  <c:v>0.58438218083951243</c:v>
                </c:pt>
                <c:pt idx="1950">
                  <c:v>0.58456235851041982</c:v>
                </c:pt>
                <c:pt idx="1951">
                  <c:v>0.58635903246517607</c:v>
                </c:pt>
                <c:pt idx="1952">
                  <c:v>0.58627102129875974</c:v>
                </c:pt>
                <c:pt idx="1953">
                  <c:v>0.58694855613873032</c:v>
                </c:pt>
                <c:pt idx="1954">
                  <c:v>0.58695354040542258</c:v>
                </c:pt>
                <c:pt idx="1955">
                  <c:v>0.58597178456712606</c:v>
                </c:pt>
                <c:pt idx="1956">
                  <c:v>0.5863764418103069</c:v>
                </c:pt>
                <c:pt idx="1957">
                  <c:v>0.58610492926091373</c:v>
                </c:pt>
                <c:pt idx="1958">
                  <c:v>0.58600260374405622</c:v>
                </c:pt>
                <c:pt idx="1959">
                  <c:v>0.58557275925720953</c:v>
                </c:pt>
                <c:pt idx="1960">
                  <c:v>0.58494406887448969</c:v>
                </c:pt>
                <c:pt idx="1961">
                  <c:v>0.584808822019104</c:v>
                </c:pt>
                <c:pt idx="1962">
                  <c:v>0.58321662317860734</c:v>
                </c:pt>
                <c:pt idx="1963">
                  <c:v>0.58436487448012997</c:v>
                </c:pt>
                <c:pt idx="1964">
                  <c:v>0.58413365109506332</c:v>
                </c:pt>
                <c:pt idx="1965">
                  <c:v>0.58544348283351244</c:v>
                </c:pt>
                <c:pt idx="1966">
                  <c:v>0.5854519514579446</c:v>
                </c:pt>
                <c:pt idx="1967">
                  <c:v>0.58623421921738028</c:v>
                </c:pt>
                <c:pt idx="1968">
                  <c:v>0.5882475866176855</c:v>
                </c:pt>
                <c:pt idx="1969">
                  <c:v>0.58788983218776403</c:v>
                </c:pt>
                <c:pt idx="1970">
                  <c:v>0.58846384621169445</c:v>
                </c:pt>
                <c:pt idx="1971">
                  <c:v>0.58838962168984577</c:v>
                </c:pt>
                <c:pt idx="1972">
                  <c:v>0.5881812352746445</c:v>
                </c:pt>
                <c:pt idx="1973">
                  <c:v>0.58792862676377355</c:v>
                </c:pt>
                <c:pt idx="1974">
                  <c:v>0.58739549564393645</c:v>
                </c:pt>
                <c:pt idx="1975">
                  <c:v>0.58752466800166048</c:v>
                </c:pt>
                <c:pt idx="1976">
                  <c:v>0.5883148984601726</c:v>
                </c:pt>
                <c:pt idx="1977">
                  <c:v>0.58991429509874738</c:v>
                </c:pt>
                <c:pt idx="1978">
                  <c:v>0.58961652703715262</c:v>
                </c:pt>
                <c:pt idx="1979">
                  <c:v>0.58888636184634269</c:v>
                </c:pt>
                <c:pt idx="1980">
                  <c:v>0.59056020255533526</c:v>
                </c:pt>
                <c:pt idx="1981">
                  <c:v>0.5914521168909781</c:v>
                </c:pt>
                <c:pt idx="1982">
                  <c:v>0.59208173442958711</c:v>
                </c:pt>
                <c:pt idx="1983">
                  <c:v>0.59203908605084488</c:v>
                </c:pt>
                <c:pt idx="1984">
                  <c:v>0.59348726966482546</c:v>
                </c:pt>
                <c:pt idx="1985">
                  <c:v>0.59333891057094545</c:v>
                </c:pt>
                <c:pt idx="1986">
                  <c:v>0.5933574581733807</c:v>
                </c:pt>
                <c:pt idx="1987">
                  <c:v>0.59345458136829188</c:v>
                </c:pt>
                <c:pt idx="1988">
                  <c:v>0.59353300358414018</c:v>
                </c:pt>
                <c:pt idx="1989">
                  <c:v>0.59249085557336623</c:v>
                </c:pt>
                <c:pt idx="1990">
                  <c:v>0.59267203648540168</c:v>
                </c:pt>
                <c:pt idx="1991">
                  <c:v>0.59253460268068003</c:v>
                </c:pt>
                <c:pt idx="1992">
                  <c:v>0.59289659524602223</c:v>
                </c:pt>
                <c:pt idx="1993">
                  <c:v>0.59380257888854171</c:v>
                </c:pt>
                <c:pt idx="1994">
                  <c:v>0.59559699016183909</c:v>
                </c:pt>
                <c:pt idx="1995">
                  <c:v>0.59618693521149657</c:v>
                </c:pt>
                <c:pt idx="1996">
                  <c:v>0.59686861457312812</c:v>
                </c:pt>
                <c:pt idx="1997">
                  <c:v>0.59698674034625465</c:v>
                </c:pt>
                <c:pt idx="1998">
                  <c:v>0.59754512048722597</c:v>
                </c:pt>
                <c:pt idx="1999">
                  <c:v>0.60002662278831376</c:v>
                </c:pt>
                <c:pt idx="2000">
                  <c:v>0.60101935270381468</c:v>
                </c:pt>
                <c:pt idx="2001">
                  <c:v>0.60219770770671976</c:v>
                </c:pt>
                <c:pt idx="2002">
                  <c:v>0.60227262878404098</c:v>
                </c:pt>
                <c:pt idx="2003">
                  <c:v>0.60286834959165836</c:v>
                </c:pt>
                <c:pt idx="2004">
                  <c:v>0.60337689015992435</c:v>
                </c:pt>
                <c:pt idx="2005">
                  <c:v>0.60406890694157311</c:v>
                </c:pt>
                <c:pt idx="2006">
                  <c:v>0.60400602626152977</c:v>
                </c:pt>
                <c:pt idx="2007">
                  <c:v>0.60378337545973582</c:v>
                </c:pt>
              </c:numCache>
            </c:numRef>
          </c:val>
          <c:smooth val="0"/>
          <c:extLst xmlns:c16r2="http://schemas.microsoft.com/office/drawing/2015/06/chart">
            <c:ext xmlns:c16="http://schemas.microsoft.com/office/drawing/2014/chart" uri="{C3380CC4-5D6E-409C-BE32-E72D297353CC}">
              <c16:uniqueId val="{00000000-2ABA-46E5-85D6-2306B79F7B0A}"/>
            </c:ext>
          </c:extLst>
        </c:ser>
        <c:ser>
          <c:idx val="1"/>
          <c:order val="1"/>
          <c:tx>
            <c:strRef>
              <c:f>beta!$AJ$256</c:f>
              <c:strCache>
                <c:ptCount val="1"/>
                <c:pt idx="0">
                  <c:v>2nd Nearby VIX future</c:v>
                </c:pt>
              </c:strCache>
            </c:strRef>
          </c:tx>
          <c:marker>
            <c:symbol val="none"/>
          </c:marker>
          <c:cat>
            <c:numRef>
              <c:f>beta!$AH$257:$AH$2264</c:f>
              <c:numCache>
                <c:formatCode>m/d/yyyy</c:formatCode>
                <c:ptCount val="2008"/>
                <c:pt idx="0">
                  <c:v>39598</c:v>
                </c:pt>
                <c:pt idx="1">
                  <c:v>39601</c:v>
                </c:pt>
                <c:pt idx="2">
                  <c:v>39602</c:v>
                </c:pt>
                <c:pt idx="3">
                  <c:v>39603</c:v>
                </c:pt>
                <c:pt idx="4">
                  <c:v>39604</c:v>
                </c:pt>
                <c:pt idx="5">
                  <c:v>39605</c:v>
                </c:pt>
                <c:pt idx="6">
                  <c:v>39608</c:v>
                </c:pt>
                <c:pt idx="7">
                  <c:v>39609</c:v>
                </c:pt>
                <c:pt idx="8">
                  <c:v>39610</c:v>
                </c:pt>
                <c:pt idx="9">
                  <c:v>39611</c:v>
                </c:pt>
                <c:pt idx="10">
                  <c:v>39612</c:v>
                </c:pt>
                <c:pt idx="11">
                  <c:v>39615</c:v>
                </c:pt>
                <c:pt idx="12">
                  <c:v>39616</c:v>
                </c:pt>
                <c:pt idx="13">
                  <c:v>39617</c:v>
                </c:pt>
                <c:pt idx="14">
                  <c:v>39618</c:v>
                </c:pt>
                <c:pt idx="15">
                  <c:v>39619</c:v>
                </c:pt>
                <c:pt idx="16">
                  <c:v>39622</c:v>
                </c:pt>
                <c:pt idx="17">
                  <c:v>39623</c:v>
                </c:pt>
                <c:pt idx="18">
                  <c:v>39624</c:v>
                </c:pt>
                <c:pt idx="19">
                  <c:v>39625</c:v>
                </c:pt>
                <c:pt idx="20">
                  <c:v>39626</c:v>
                </c:pt>
                <c:pt idx="21">
                  <c:v>39629</c:v>
                </c:pt>
                <c:pt idx="22">
                  <c:v>39630</c:v>
                </c:pt>
                <c:pt idx="23">
                  <c:v>39631</c:v>
                </c:pt>
                <c:pt idx="24">
                  <c:v>39632</c:v>
                </c:pt>
                <c:pt idx="25">
                  <c:v>39636</c:v>
                </c:pt>
                <c:pt idx="26">
                  <c:v>39637</c:v>
                </c:pt>
                <c:pt idx="27">
                  <c:v>39638</c:v>
                </c:pt>
                <c:pt idx="28">
                  <c:v>39639</c:v>
                </c:pt>
                <c:pt idx="29">
                  <c:v>39640</c:v>
                </c:pt>
                <c:pt idx="30">
                  <c:v>39643</c:v>
                </c:pt>
                <c:pt idx="31">
                  <c:v>39644</c:v>
                </c:pt>
                <c:pt idx="32">
                  <c:v>39645</c:v>
                </c:pt>
                <c:pt idx="33">
                  <c:v>39646</c:v>
                </c:pt>
                <c:pt idx="34">
                  <c:v>39647</c:v>
                </c:pt>
                <c:pt idx="35">
                  <c:v>39650</c:v>
                </c:pt>
                <c:pt idx="36">
                  <c:v>39651</c:v>
                </c:pt>
                <c:pt idx="37">
                  <c:v>39652</c:v>
                </c:pt>
                <c:pt idx="38">
                  <c:v>39653</c:v>
                </c:pt>
                <c:pt idx="39">
                  <c:v>39654</c:v>
                </c:pt>
                <c:pt idx="40">
                  <c:v>39657</c:v>
                </c:pt>
                <c:pt idx="41">
                  <c:v>39658</c:v>
                </c:pt>
                <c:pt idx="42">
                  <c:v>39659</c:v>
                </c:pt>
                <c:pt idx="43">
                  <c:v>39660</c:v>
                </c:pt>
                <c:pt idx="44">
                  <c:v>39661</c:v>
                </c:pt>
                <c:pt idx="45">
                  <c:v>39664</c:v>
                </c:pt>
                <c:pt idx="46">
                  <c:v>39665</c:v>
                </c:pt>
                <c:pt idx="47">
                  <c:v>39666</c:v>
                </c:pt>
                <c:pt idx="48">
                  <c:v>39667</c:v>
                </c:pt>
                <c:pt idx="49">
                  <c:v>39668</c:v>
                </c:pt>
                <c:pt idx="50">
                  <c:v>39671</c:v>
                </c:pt>
                <c:pt idx="51">
                  <c:v>39672</c:v>
                </c:pt>
                <c:pt idx="52">
                  <c:v>39673</c:v>
                </c:pt>
                <c:pt idx="53">
                  <c:v>39674</c:v>
                </c:pt>
                <c:pt idx="54">
                  <c:v>39675</c:v>
                </c:pt>
                <c:pt idx="55">
                  <c:v>39678</c:v>
                </c:pt>
                <c:pt idx="56">
                  <c:v>39679</c:v>
                </c:pt>
                <c:pt idx="57">
                  <c:v>39680</c:v>
                </c:pt>
                <c:pt idx="58">
                  <c:v>39681</c:v>
                </c:pt>
                <c:pt idx="59">
                  <c:v>39682</c:v>
                </c:pt>
                <c:pt idx="60">
                  <c:v>39685</c:v>
                </c:pt>
                <c:pt idx="61">
                  <c:v>39686</c:v>
                </c:pt>
                <c:pt idx="62">
                  <c:v>39687</c:v>
                </c:pt>
                <c:pt idx="63">
                  <c:v>39688</c:v>
                </c:pt>
                <c:pt idx="64">
                  <c:v>39689</c:v>
                </c:pt>
                <c:pt idx="65">
                  <c:v>39693</c:v>
                </c:pt>
                <c:pt idx="66">
                  <c:v>39694</c:v>
                </c:pt>
                <c:pt idx="67">
                  <c:v>39695</c:v>
                </c:pt>
                <c:pt idx="68">
                  <c:v>39696</c:v>
                </c:pt>
                <c:pt idx="69">
                  <c:v>39699</c:v>
                </c:pt>
                <c:pt idx="70">
                  <c:v>39700</c:v>
                </c:pt>
                <c:pt idx="71">
                  <c:v>39701</c:v>
                </c:pt>
                <c:pt idx="72">
                  <c:v>39702</c:v>
                </c:pt>
                <c:pt idx="73">
                  <c:v>39703</c:v>
                </c:pt>
                <c:pt idx="74">
                  <c:v>39706</c:v>
                </c:pt>
                <c:pt idx="75">
                  <c:v>39707</c:v>
                </c:pt>
                <c:pt idx="76">
                  <c:v>39708</c:v>
                </c:pt>
                <c:pt idx="77">
                  <c:v>39709</c:v>
                </c:pt>
                <c:pt idx="78">
                  <c:v>39710</c:v>
                </c:pt>
                <c:pt idx="79">
                  <c:v>39713</c:v>
                </c:pt>
                <c:pt idx="80">
                  <c:v>39714</c:v>
                </c:pt>
                <c:pt idx="81">
                  <c:v>39715</c:v>
                </c:pt>
                <c:pt idx="82">
                  <c:v>39716</c:v>
                </c:pt>
                <c:pt idx="83">
                  <c:v>39717</c:v>
                </c:pt>
                <c:pt idx="84">
                  <c:v>39720</c:v>
                </c:pt>
                <c:pt idx="85">
                  <c:v>39721</c:v>
                </c:pt>
                <c:pt idx="86">
                  <c:v>39722</c:v>
                </c:pt>
                <c:pt idx="87">
                  <c:v>39723</c:v>
                </c:pt>
                <c:pt idx="88">
                  <c:v>39724</c:v>
                </c:pt>
                <c:pt idx="89">
                  <c:v>39727</c:v>
                </c:pt>
                <c:pt idx="90">
                  <c:v>39728</c:v>
                </c:pt>
                <c:pt idx="91">
                  <c:v>39729</c:v>
                </c:pt>
                <c:pt idx="92">
                  <c:v>39730</c:v>
                </c:pt>
                <c:pt idx="93">
                  <c:v>39731</c:v>
                </c:pt>
                <c:pt idx="94">
                  <c:v>39734</c:v>
                </c:pt>
                <c:pt idx="95">
                  <c:v>39735</c:v>
                </c:pt>
                <c:pt idx="96">
                  <c:v>39736</c:v>
                </c:pt>
                <c:pt idx="97">
                  <c:v>39737</c:v>
                </c:pt>
                <c:pt idx="98">
                  <c:v>39738</c:v>
                </c:pt>
                <c:pt idx="99">
                  <c:v>39741</c:v>
                </c:pt>
                <c:pt idx="100">
                  <c:v>39742</c:v>
                </c:pt>
                <c:pt idx="101">
                  <c:v>39743</c:v>
                </c:pt>
                <c:pt idx="102">
                  <c:v>39744</c:v>
                </c:pt>
                <c:pt idx="103">
                  <c:v>39745</c:v>
                </c:pt>
                <c:pt idx="104">
                  <c:v>39748</c:v>
                </c:pt>
                <c:pt idx="105">
                  <c:v>39749</c:v>
                </c:pt>
                <c:pt idx="106">
                  <c:v>39750</c:v>
                </c:pt>
                <c:pt idx="107">
                  <c:v>39751</c:v>
                </c:pt>
                <c:pt idx="108">
                  <c:v>39752</c:v>
                </c:pt>
                <c:pt idx="109">
                  <c:v>39755</c:v>
                </c:pt>
                <c:pt idx="110">
                  <c:v>39756</c:v>
                </c:pt>
                <c:pt idx="111">
                  <c:v>39757</c:v>
                </c:pt>
                <c:pt idx="112">
                  <c:v>39758</c:v>
                </c:pt>
                <c:pt idx="113">
                  <c:v>39759</c:v>
                </c:pt>
                <c:pt idx="114">
                  <c:v>39762</c:v>
                </c:pt>
                <c:pt idx="115">
                  <c:v>39763</c:v>
                </c:pt>
                <c:pt idx="116">
                  <c:v>39764</c:v>
                </c:pt>
                <c:pt idx="117">
                  <c:v>39765</c:v>
                </c:pt>
                <c:pt idx="118">
                  <c:v>39766</c:v>
                </c:pt>
                <c:pt idx="119">
                  <c:v>39769</c:v>
                </c:pt>
                <c:pt idx="120">
                  <c:v>39770</c:v>
                </c:pt>
                <c:pt idx="121">
                  <c:v>39771</c:v>
                </c:pt>
                <c:pt idx="122">
                  <c:v>39772</c:v>
                </c:pt>
                <c:pt idx="123">
                  <c:v>39773</c:v>
                </c:pt>
                <c:pt idx="124">
                  <c:v>39776</c:v>
                </c:pt>
                <c:pt idx="125">
                  <c:v>39777</c:v>
                </c:pt>
                <c:pt idx="126">
                  <c:v>39778</c:v>
                </c:pt>
                <c:pt idx="127">
                  <c:v>39780</c:v>
                </c:pt>
                <c:pt idx="128">
                  <c:v>39783</c:v>
                </c:pt>
                <c:pt idx="129">
                  <c:v>39784</c:v>
                </c:pt>
                <c:pt idx="130">
                  <c:v>39785</c:v>
                </c:pt>
                <c:pt idx="131">
                  <c:v>39786</c:v>
                </c:pt>
                <c:pt idx="132">
                  <c:v>39787</c:v>
                </c:pt>
                <c:pt idx="133">
                  <c:v>39790</c:v>
                </c:pt>
                <c:pt idx="134">
                  <c:v>39791</c:v>
                </c:pt>
                <c:pt idx="135">
                  <c:v>39792</c:v>
                </c:pt>
                <c:pt idx="136">
                  <c:v>39793</c:v>
                </c:pt>
                <c:pt idx="137">
                  <c:v>39794</c:v>
                </c:pt>
                <c:pt idx="138">
                  <c:v>39797</c:v>
                </c:pt>
                <c:pt idx="139">
                  <c:v>39798</c:v>
                </c:pt>
                <c:pt idx="140">
                  <c:v>39799</c:v>
                </c:pt>
                <c:pt idx="141">
                  <c:v>39800</c:v>
                </c:pt>
                <c:pt idx="142">
                  <c:v>39801</c:v>
                </c:pt>
                <c:pt idx="143">
                  <c:v>39804</c:v>
                </c:pt>
                <c:pt idx="144">
                  <c:v>39805</c:v>
                </c:pt>
                <c:pt idx="145">
                  <c:v>39806</c:v>
                </c:pt>
                <c:pt idx="146">
                  <c:v>39808</c:v>
                </c:pt>
                <c:pt idx="147">
                  <c:v>39811</c:v>
                </c:pt>
                <c:pt idx="148">
                  <c:v>39812</c:v>
                </c:pt>
                <c:pt idx="149">
                  <c:v>39813</c:v>
                </c:pt>
                <c:pt idx="150">
                  <c:v>39815</c:v>
                </c:pt>
                <c:pt idx="151">
                  <c:v>39818</c:v>
                </c:pt>
                <c:pt idx="152">
                  <c:v>39819</c:v>
                </c:pt>
                <c:pt idx="153">
                  <c:v>39820</c:v>
                </c:pt>
                <c:pt idx="154">
                  <c:v>39821</c:v>
                </c:pt>
                <c:pt idx="155">
                  <c:v>39822</c:v>
                </c:pt>
                <c:pt idx="156">
                  <c:v>39825</c:v>
                </c:pt>
                <c:pt idx="157">
                  <c:v>39826</c:v>
                </c:pt>
                <c:pt idx="158">
                  <c:v>39827</c:v>
                </c:pt>
                <c:pt idx="159">
                  <c:v>39828</c:v>
                </c:pt>
                <c:pt idx="160">
                  <c:v>39829</c:v>
                </c:pt>
                <c:pt idx="161">
                  <c:v>39833</c:v>
                </c:pt>
                <c:pt idx="162">
                  <c:v>39834</c:v>
                </c:pt>
                <c:pt idx="163">
                  <c:v>39835</c:v>
                </c:pt>
                <c:pt idx="164">
                  <c:v>39836</c:v>
                </c:pt>
                <c:pt idx="165">
                  <c:v>39839</c:v>
                </c:pt>
                <c:pt idx="166">
                  <c:v>39840</c:v>
                </c:pt>
                <c:pt idx="167">
                  <c:v>39841</c:v>
                </c:pt>
                <c:pt idx="168">
                  <c:v>39842</c:v>
                </c:pt>
                <c:pt idx="169">
                  <c:v>39843</c:v>
                </c:pt>
                <c:pt idx="170">
                  <c:v>39846</c:v>
                </c:pt>
                <c:pt idx="171">
                  <c:v>39847</c:v>
                </c:pt>
                <c:pt idx="172">
                  <c:v>39848</c:v>
                </c:pt>
                <c:pt idx="173">
                  <c:v>39849</c:v>
                </c:pt>
                <c:pt idx="174">
                  <c:v>39850</c:v>
                </c:pt>
                <c:pt idx="175">
                  <c:v>39853</c:v>
                </c:pt>
                <c:pt idx="176">
                  <c:v>39854</c:v>
                </c:pt>
                <c:pt idx="177">
                  <c:v>39855</c:v>
                </c:pt>
                <c:pt idx="178">
                  <c:v>39856</c:v>
                </c:pt>
                <c:pt idx="179">
                  <c:v>39857</c:v>
                </c:pt>
                <c:pt idx="180">
                  <c:v>39861</c:v>
                </c:pt>
                <c:pt idx="181">
                  <c:v>39862</c:v>
                </c:pt>
                <c:pt idx="182">
                  <c:v>39863</c:v>
                </c:pt>
                <c:pt idx="183">
                  <c:v>39864</c:v>
                </c:pt>
                <c:pt idx="184">
                  <c:v>39867</c:v>
                </c:pt>
                <c:pt idx="185">
                  <c:v>39868</c:v>
                </c:pt>
                <c:pt idx="186">
                  <c:v>39869</c:v>
                </c:pt>
                <c:pt idx="187">
                  <c:v>39870</c:v>
                </c:pt>
                <c:pt idx="188">
                  <c:v>39871</c:v>
                </c:pt>
                <c:pt idx="189">
                  <c:v>39874</c:v>
                </c:pt>
                <c:pt idx="190">
                  <c:v>39875</c:v>
                </c:pt>
                <c:pt idx="191">
                  <c:v>39876</c:v>
                </c:pt>
                <c:pt idx="192">
                  <c:v>39877</c:v>
                </c:pt>
                <c:pt idx="193">
                  <c:v>39878</c:v>
                </c:pt>
                <c:pt idx="194">
                  <c:v>39881</c:v>
                </c:pt>
                <c:pt idx="195">
                  <c:v>39882</c:v>
                </c:pt>
                <c:pt idx="196">
                  <c:v>39883</c:v>
                </c:pt>
                <c:pt idx="197">
                  <c:v>39884</c:v>
                </c:pt>
                <c:pt idx="198">
                  <c:v>39885</c:v>
                </c:pt>
                <c:pt idx="199">
                  <c:v>39888</c:v>
                </c:pt>
                <c:pt idx="200">
                  <c:v>39889</c:v>
                </c:pt>
                <c:pt idx="201">
                  <c:v>39890</c:v>
                </c:pt>
                <c:pt idx="202">
                  <c:v>39891</c:v>
                </c:pt>
                <c:pt idx="203">
                  <c:v>39892</c:v>
                </c:pt>
                <c:pt idx="204">
                  <c:v>39895</c:v>
                </c:pt>
                <c:pt idx="205">
                  <c:v>39896</c:v>
                </c:pt>
                <c:pt idx="206">
                  <c:v>39897</c:v>
                </c:pt>
                <c:pt idx="207">
                  <c:v>39898</c:v>
                </c:pt>
                <c:pt idx="208">
                  <c:v>39899</c:v>
                </c:pt>
                <c:pt idx="209">
                  <c:v>39902</c:v>
                </c:pt>
                <c:pt idx="210">
                  <c:v>39903</c:v>
                </c:pt>
                <c:pt idx="211">
                  <c:v>39904</c:v>
                </c:pt>
                <c:pt idx="212">
                  <c:v>39905</c:v>
                </c:pt>
                <c:pt idx="213">
                  <c:v>39906</c:v>
                </c:pt>
                <c:pt idx="214">
                  <c:v>39909</c:v>
                </c:pt>
                <c:pt idx="215">
                  <c:v>39910</c:v>
                </c:pt>
                <c:pt idx="216">
                  <c:v>39911</c:v>
                </c:pt>
                <c:pt idx="217">
                  <c:v>39912</c:v>
                </c:pt>
                <c:pt idx="218">
                  <c:v>39916</c:v>
                </c:pt>
                <c:pt idx="219">
                  <c:v>39917</c:v>
                </c:pt>
                <c:pt idx="220">
                  <c:v>39918</c:v>
                </c:pt>
                <c:pt idx="221">
                  <c:v>39919</c:v>
                </c:pt>
                <c:pt idx="222">
                  <c:v>39920</c:v>
                </c:pt>
                <c:pt idx="223">
                  <c:v>39923</c:v>
                </c:pt>
                <c:pt idx="224">
                  <c:v>39924</c:v>
                </c:pt>
                <c:pt idx="225">
                  <c:v>39925</c:v>
                </c:pt>
                <c:pt idx="226">
                  <c:v>39926</c:v>
                </c:pt>
                <c:pt idx="227">
                  <c:v>39927</c:v>
                </c:pt>
                <c:pt idx="228">
                  <c:v>39930</c:v>
                </c:pt>
                <c:pt idx="229">
                  <c:v>39931</c:v>
                </c:pt>
                <c:pt idx="230">
                  <c:v>39932</c:v>
                </c:pt>
                <c:pt idx="231">
                  <c:v>39933</c:v>
                </c:pt>
                <c:pt idx="232">
                  <c:v>39934</c:v>
                </c:pt>
                <c:pt idx="233">
                  <c:v>39937</c:v>
                </c:pt>
                <c:pt idx="234">
                  <c:v>39938</c:v>
                </c:pt>
                <c:pt idx="235">
                  <c:v>39939</c:v>
                </c:pt>
                <c:pt idx="236">
                  <c:v>39940</c:v>
                </c:pt>
                <c:pt idx="237">
                  <c:v>39941</c:v>
                </c:pt>
                <c:pt idx="238">
                  <c:v>39944</c:v>
                </c:pt>
                <c:pt idx="239">
                  <c:v>39945</c:v>
                </c:pt>
                <c:pt idx="240">
                  <c:v>39946</c:v>
                </c:pt>
                <c:pt idx="241">
                  <c:v>39947</c:v>
                </c:pt>
                <c:pt idx="242">
                  <c:v>39948</c:v>
                </c:pt>
                <c:pt idx="243">
                  <c:v>39951</c:v>
                </c:pt>
                <c:pt idx="244">
                  <c:v>39952</c:v>
                </c:pt>
                <c:pt idx="245">
                  <c:v>39953</c:v>
                </c:pt>
                <c:pt idx="246">
                  <c:v>39954</c:v>
                </c:pt>
                <c:pt idx="247">
                  <c:v>39955</c:v>
                </c:pt>
                <c:pt idx="248">
                  <c:v>39959</c:v>
                </c:pt>
                <c:pt idx="249">
                  <c:v>39960</c:v>
                </c:pt>
                <c:pt idx="250">
                  <c:v>39961</c:v>
                </c:pt>
                <c:pt idx="251">
                  <c:v>39962</c:v>
                </c:pt>
                <c:pt idx="252">
                  <c:v>39965</c:v>
                </c:pt>
                <c:pt idx="253">
                  <c:v>39966</c:v>
                </c:pt>
                <c:pt idx="254">
                  <c:v>39967</c:v>
                </c:pt>
                <c:pt idx="255">
                  <c:v>39968</c:v>
                </c:pt>
                <c:pt idx="256">
                  <c:v>39969</c:v>
                </c:pt>
                <c:pt idx="257">
                  <c:v>39972</c:v>
                </c:pt>
                <c:pt idx="258">
                  <c:v>39973</c:v>
                </c:pt>
                <c:pt idx="259">
                  <c:v>39974</c:v>
                </c:pt>
                <c:pt idx="260">
                  <c:v>39975</c:v>
                </c:pt>
                <c:pt idx="261">
                  <c:v>39976</c:v>
                </c:pt>
                <c:pt idx="262">
                  <c:v>39979</c:v>
                </c:pt>
                <c:pt idx="263">
                  <c:v>39980</c:v>
                </c:pt>
                <c:pt idx="264">
                  <c:v>39981</c:v>
                </c:pt>
                <c:pt idx="265">
                  <c:v>39982</c:v>
                </c:pt>
                <c:pt idx="266">
                  <c:v>39983</c:v>
                </c:pt>
                <c:pt idx="267">
                  <c:v>39986</c:v>
                </c:pt>
                <c:pt idx="268">
                  <c:v>39987</c:v>
                </c:pt>
                <c:pt idx="269">
                  <c:v>39988</c:v>
                </c:pt>
                <c:pt idx="270">
                  <c:v>39989</c:v>
                </c:pt>
                <c:pt idx="271">
                  <c:v>39990</c:v>
                </c:pt>
                <c:pt idx="272">
                  <c:v>39993</c:v>
                </c:pt>
                <c:pt idx="273">
                  <c:v>39994</c:v>
                </c:pt>
                <c:pt idx="274">
                  <c:v>39995</c:v>
                </c:pt>
                <c:pt idx="275">
                  <c:v>39996</c:v>
                </c:pt>
                <c:pt idx="276">
                  <c:v>40000</c:v>
                </c:pt>
                <c:pt idx="277">
                  <c:v>40001</c:v>
                </c:pt>
                <c:pt idx="278">
                  <c:v>40002</c:v>
                </c:pt>
                <c:pt idx="279">
                  <c:v>40003</c:v>
                </c:pt>
                <c:pt idx="280">
                  <c:v>40004</c:v>
                </c:pt>
                <c:pt idx="281">
                  <c:v>40007</c:v>
                </c:pt>
                <c:pt idx="282">
                  <c:v>40008</c:v>
                </c:pt>
                <c:pt idx="283">
                  <c:v>40009</c:v>
                </c:pt>
                <c:pt idx="284">
                  <c:v>40010</c:v>
                </c:pt>
                <c:pt idx="285">
                  <c:v>40011</c:v>
                </c:pt>
                <c:pt idx="286">
                  <c:v>40014</c:v>
                </c:pt>
                <c:pt idx="287">
                  <c:v>40015</c:v>
                </c:pt>
                <c:pt idx="288">
                  <c:v>40016</c:v>
                </c:pt>
                <c:pt idx="289">
                  <c:v>40017</c:v>
                </c:pt>
                <c:pt idx="290">
                  <c:v>40018</c:v>
                </c:pt>
                <c:pt idx="291">
                  <c:v>40021</c:v>
                </c:pt>
                <c:pt idx="292">
                  <c:v>40022</c:v>
                </c:pt>
                <c:pt idx="293">
                  <c:v>40023</c:v>
                </c:pt>
                <c:pt idx="294">
                  <c:v>40024</c:v>
                </c:pt>
                <c:pt idx="295">
                  <c:v>40025</c:v>
                </c:pt>
                <c:pt idx="296">
                  <c:v>40028</c:v>
                </c:pt>
                <c:pt idx="297">
                  <c:v>40029</c:v>
                </c:pt>
                <c:pt idx="298">
                  <c:v>40030</c:v>
                </c:pt>
                <c:pt idx="299">
                  <c:v>40031</c:v>
                </c:pt>
                <c:pt idx="300">
                  <c:v>40032</c:v>
                </c:pt>
                <c:pt idx="301">
                  <c:v>40035</c:v>
                </c:pt>
                <c:pt idx="302">
                  <c:v>40036</c:v>
                </c:pt>
                <c:pt idx="303">
                  <c:v>40037</c:v>
                </c:pt>
                <c:pt idx="304">
                  <c:v>40038</c:v>
                </c:pt>
                <c:pt idx="305">
                  <c:v>40039</c:v>
                </c:pt>
                <c:pt idx="306">
                  <c:v>40042</c:v>
                </c:pt>
                <c:pt idx="307">
                  <c:v>40043</c:v>
                </c:pt>
                <c:pt idx="308">
                  <c:v>40044</c:v>
                </c:pt>
                <c:pt idx="309">
                  <c:v>40045</c:v>
                </c:pt>
                <c:pt idx="310">
                  <c:v>40046</c:v>
                </c:pt>
                <c:pt idx="311">
                  <c:v>40049</c:v>
                </c:pt>
                <c:pt idx="312">
                  <c:v>40050</c:v>
                </c:pt>
                <c:pt idx="313">
                  <c:v>40051</c:v>
                </c:pt>
                <c:pt idx="314">
                  <c:v>40052</c:v>
                </c:pt>
                <c:pt idx="315">
                  <c:v>40053</c:v>
                </c:pt>
                <c:pt idx="316">
                  <c:v>40056</c:v>
                </c:pt>
                <c:pt idx="317">
                  <c:v>40057</c:v>
                </c:pt>
                <c:pt idx="318">
                  <c:v>40058</c:v>
                </c:pt>
                <c:pt idx="319">
                  <c:v>40059</c:v>
                </c:pt>
                <c:pt idx="320">
                  <c:v>40060</c:v>
                </c:pt>
                <c:pt idx="321">
                  <c:v>40064</c:v>
                </c:pt>
                <c:pt idx="322">
                  <c:v>40065</c:v>
                </c:pt>
                <c:pt idx="323">
                  <c:v>40066</c:v>
                </c:pt>
                <c:pt idx="324">
                  <c:v>40067</c:v>
                </c:pt>
                <c:pt idx="325">
                  <c:v>40070</c:v>
                </c:pt>
                <c:pt idx="326">
                  <c:v>40071</c:v>
                </c:pt>
                <c:pt idx="327">
                  <c:v>40072</c:v>
                </c:pt>
                <c:pt idx="328">
                  <c:v>40073</c:v>
                </c:pt>
                <c:pt idx="329">
                  <c:v>40074</c:v>
                </c:pt>
                <c:pt idx="330">
                  <c:v>40077</c:v>
                </c:pt>
                <c:pt idx="331">
                  <c:v>40078</c:v>
                </c:pt>
                <c:pt idx="332">
                  <c:v>40079</c:v>
                </c:pt>
                <c:pt idx="333">
                  <c:v>40080</c:v>
                </c:pt>
                <c:pt idx="334">
                  <c:v>40081</c:v>
                </c:pt>
                <c:pt idx="335">
                  <c:v>40084</c:v>
                </c:pt>
                <c:pt idx="336">
                  <c:v>40085</c:v>
                </c:pt>
                <c:pt idx="337">
                  <c:v>40086</c:v>
                </c:pt>
                <c:pt idx="338">
                  <c:v>40087</c:v>
                </c:pt>
                <c:pt idx="339">
                  <c:v>40088</c:v>
                </c:pt>
                <c:pt idx="340">
                  <c:v>40091</c:v>
                </c:pt>
                <c:pt idx="341">
                  <c:v>40092</c:v>
                </c:pt>
                <c:pt idx="342">
                  <c:v>40093</c:v>
                </c:pt>
                <c:pt idx="343">
                  <c:v>40094</c:v>
                </c:pt>
                <c:pt idx="344">
                  <c:v>40095</c:v>
                </c:pt>
                <c:pt idx="345">
                  <c:v>40098</c:v>
                </c:pt>
                <c:pt idx="346">
                  <c:v>40099</c:v>
                </c:pt>
                <c:pt idx="347">
                  <c:v>40100</c:v>
                </c:pt>
                <c:pt idx="348">
                  <c:v>40101</c:v>
                </c:pt>
                <c:pt idx="349">
                  <c:v>40102</c:v>
                </c:pt>
                <c:pt idx="350">
                  <c:v>40105</c:v>
                </c:pt>
                <c:pt idx="351">
                  <c:v>40106</c:v>
                </c:pt>
                <c:pt idx="352">
                  <c:v>40107</c:v>
                </c:pt>
                <c:pt idx="353">
                  <c:v>40108</c:v>
                </c:pt>
                <c:pt idx="354">
                  <c:v>40109</c:v>
                </c:pt>
                <c:pt idx="355">
                  <c:v>40112</c:v>
                </c:pt>
                <c:pt idx="356">
                  <c:v>40113</c:v>
                </c:pt>
                <c:pt idx="357">
                  <c:v>40114</c:v>
                </c:pt>
                <c:pt idx="358">
                  <c:v>40115</c:v>
                </c:pt>
                <c:pt idx="359">
                  <c:v>40116</c:v>
                </c:pt>
                <c:pt idx="360">
                  <c:v>40119</c:v>
                </c:pt>
                <c:pt idx="361">
                  <c:v>40120</c:v>
                </c:pt>
                <c:pt idx="362">
                  <c:v>40121</c:v>
                </c:pt>
                <c:pt idx="363">
                  <c:v>40122</c:v>
                </c:pt>
                <c:pt idx="364">
                  <c:v>40123</c:v>
                </c:pt>
                <c:pt idx="365">
                  <c:v>40126</c:v>
                </c:pt>
                <c:pt idx="366">
                  <c:v>40127</c:v>
                </c:pt>
                <c:pt idx="367">
                  <c:v>40128</c:v>
                </c:pt>
                <c:pt idx="368">
                  <c:v>40129</c:v>
                </c:pt>
                <c:pt idx="369">
                  <c:v>40130</c:v>
                </c:pt>
                <c:pt idx="370">
                  <c:v>40133</c:v>
                </c:pt>
                <c:pt idx="371">
                  <c:v>40134</c:v>
                </c:pt>
                <c:pt idx="372">
                  <c:v>40135</c:v>
                </c:pt>
                <c:pt idx="373">
                  <c:v>40136</c:v>
                </c:pt>
                <c:pt idx="374">
                  <c:v>40137</c:v>
                </c:pt>
                <c:pt idx="375">
                  <c:v>40140</c:v>
                </c:pt>
                <c:pt idx="376">
                  <c:v>40141</c:v>
                </c:pt>
                <c:pt idx="377">
                  <c:v>40142</c:v>
                </c:pt>
                <c:pt idx="378">
                  <c:v>40144</c:v>
                </c:pt>
                <c:pt idx="379">
                  <c:v>40147</c:v>
                </c:pt>
                <c:pt idx="380">
                  <c:v>40148</c:v>
                </c:pt>
                <c:pt idx="381">
                  <c:v>40149</c:v>
                </c:pt>
                <c:pt idx="382">
                  <c:v>40150</c:v>
                </c:pt>
                <c:pt idx="383">
                  <c:v>40151</c:v>
                </c:pt>
                <c:pt idx="384">
                  <c:v>40154</c:v>
                </c:pt>
                <c:pt idx="385">
                  <c:v>40155</c:v>
                </c:pt>
                <c:pt idx="386">
                  <c:v>40156</c:v>
                </c:pt>
                <c:pt idx="387">
                  <c:v>40157</c:v>
                </c:pt>
                <c:pt idx="388">
                  <c:v>40158</c:v>
                </c:pt>
                <c:pt idx="389">
                  <c:v>40161</c:v>
                </c:pt>
                <c:pt idx="390">
                  <c:v>40162</c:v>
                </c:pt>
                <c:pt idx="391">
                  <c:v>40163</c:v>
                </c:pt>
                <c:pt idx="392">
                  <c:v>40164</c:v>
                </c:pt>
                <c:pt idx="393">
                  <c:v>40165</c:v>
                </c:pt>
                <c:pt idx="394">
                  <c:v>40168</c:v>
                </c:pt>
                <c:pt idx="395">
                  <c:v>40169</c:v>
                </c:pt>
                <c:pt idx="396">
                  <c:v>40170</c:v>
                </c:pt>
                <c:pt idx="397">
                  <c:v>40171</c:v>
                </c:pt>
                <c:pt idx="398">
                  <c:v>40175</c:v>
                </c:pt>
                <c:pt idx="399">
                  <c:v>40176</c:v>
                </c:pt>
                <c:pt idx="400">
                  <c:v>40177</c:v>
                </c:pt>
                <c:pt idx="401">
                  <c:v>40178</c:v>
                </c:pt>
                <c:pt idx="402">
                  <c:v>40182</c:v>
                </c:pt>
                <c:pt idx="403">
                  <c:v>40183</c:v>
                </c:pt>
                <c:pt idx="404">
                  <c:v>40184</c:v>
                </c:pt>
                <c:pt idx="405">
                  <c:v>40185</c:v>
                </c:pt>
                <c:pt idx="406">
                  <c:v>40186</c:v>
                </c:pt>
                <c:pt idx="407">
                  <c:v>40189</c:v>
                </c:pt>
                <c:pt idx="408">
                  <c:v>40190</c:v>
                </c:pt>
                <c:pt idx="409">
                  <c:v>40191</c:v>
                </c:pt>
                <c:pt idx="410">
                  <c:v>40192</c:v>
                </c:pt>
                <c:pt idx="411">
                  <c:v>40193</c:v>
                </c:pt>
                <c:pt idx="412">
                  <c:v>40197</c:v>
                </c:pt>
                <c:pt idx="413">
                  <c:v>40198</c:v>
                </c:pt>
                <c:pt idx="414">
                  <c:v>40199</c:v>
                </c:pt>
                <c:pt idx="415">
                  <c:v>40200</c:v>
                </c:pt>
                <c:pt idx="416">
                  <c:v>40203</c:v>
                </c:pt>
                <c:pt idx="417">
                  <c:v>40204</c:v>
                </c:pt>
                <c:pt idx="418">
                  <c:v>40205</c:v>
                </c:pt>
                <c:pt idx="419">
                  <c:v>40206</c:v>
                </c:pt>
                <c:pt idx="420">
                  <c:v>40207</c:v>
                </c:pt>
                <c:pt idx="421">
                  <c:v>40210</c:v>
                </c:pt>
                <c:pt idx="422">
                  <c:v>40211</c:v>
                </c:pt>
                <c:pt idx="423">
                  <c:v>40212</c:v>
                </c:pt>
                <c:pt idx="424">
                  <c:v>40213</c:v>
                </c:pt>
                <c:pt idx="425">
                  <c:v>40214</c:v>
                </c:pt>
                <c:pt idx="426">
                  <c:v>40217</c:v>
                </c:pt>
                <c:pt idx="427">
                  <c:v>40218</c:v>
                </c:pt>
                <c:pt idx="428">
                  <c:v>40219</c:v>
                </c:pt>
                <c:pt idx="429">
                  <c:v>40220</c:v>
                </c:pt>
                <c:pt idx="430">
                  <c:v>40221</c:v>
                </c:pt>
                <c:pt idx="431">
                  <c:v>40225</c:v>
                </c:pt>
                <c:pt idx="432">
                  <c:v>40226</c:v>
                </c:pt>
                <c:pt idx="433">
                  <c:v>40227</c:v>
                </c:pt>
                <c:pt idx="434">
                  <c:v>40228</c:v>
                </c:pt>
                <c:pt idx="435">
                  <c:v>40231</c:v>
                </c:pt>
                <c:pt idx="436">
                  <c:v>40232</c:v>
                </c:pt>
                <c:pt idx="437">
                  <c:v>40233</c:v>
                </c:pt>
                <c:pt idx="438">
                  <c:v>40234</c:v>
                </c:pt>
                <c:pt idx="439">
                  <c:v>40235</c:v>
                </c:pt>
                <c:pt idx="440">
                  <c:v>40238</c:v>
                </c:pt>
                <c:pt idx="441">
                  <c:v>40239</c:v>
                </c:pt>
                <c:pt idx="442">
                  <c:v>40240</c:v>
                </c:pt>
                <c:pt idx="443">
                  <c:v>40241</c:v>
                </c:pt>
                <c:pt idx="444">
                  <c:v>40242</c:v>
                </c:pt>
                <c:pt idx="445">
                  <c:v>40245</c:v>
                </c:pt>
                <c:pt idx="446">
                  <c:v>40246</c:v>
                </c:pt>
                <c:pt idx="447">
                  <c:v>40247</c:v>
                </c:pt>
                <c:pt idx="448">
                  <c:v>40248</c:v>
                </c:pt>
                <c:pt idx="449">
                  <c:v>40249</c:v>
                </c:pt>
                <c:pt idx="450">
                  <c:v>40252</c:v>
                </c:pt>
                <c:pt idx="451">
                  <c:v>40253</c:v>
                </c:pt>
                <c:pt idx="452">
                  <c:v>40254</c:v>
                </c:pt>
                <c:pt idx="453">
                  <c:v>40255</c:v>
                </c:pt>
                <c:pt idx="454">
                  <c:v>40256</c:v>
                </c:pt>
                <c:pt idx="455">
                  <c:v>40259</c:v>
                </c:pt>
                <c:pt idx="456">
                  <c:v>40260</c:v>
                </c:pt>
                <c:pt idx="457">
                  <c:v>40261</c:v>
                </c:pt>
                <c:pt idx="458">
                  <c:v>40262</c:v>
                </c:pt>
                <c:pt idx="459">
                  <c:v>40263</c:v>
                </c:pt>
                <c:pt idx="460">
                  <c:v>40266</c:v>
                </c:pt>
                <c:pt idx="461">
                  <c:v>40267</c:v>
                </c:pt>
                <c:pt idx="462">
                  <c:v>40268</c:v>
                </c:pt>
                <c:pt idx="463">
                  <c:v>40269</c:v>
                </c:pt>
                <c:pt idx="464">
                  <c:v>40273</c:v>
                </c:pt>
                <c:pt idx="465">
                  <c:v>40274</c:v>
                </c:pt>
                <c:pt idx="466">
                  <c:v>40275</c:v>
                </c:pt>
                <c:pt idx="467">
                  <c:v>40276</c:v>
                </c:pt>
                <c:pt idx="468">
                  <c:v>40277</c:v>
                </c:pt>
                <c:pt idx="469">
                  <c:v>40280</c:v>
                </c:pt>
                <c:pt idx="470">
                  <c:v>40281</c:v>
                </c:pt>
                <c:pt idx="471">
                  <c:v>40282</c:v>
                </c:pt>
                <c:pt idx="472">
                  <c:v>40283</c:v>
                </c:pt>
                <c:pt idx="473">
                  <c:v>40284</c:v>
                </c:pt>
                <c:pt idx="474">
                  <c:v>40287</c:v>
                </c:pt>
                <c:pt idx="475">
                  <c:v>40288</c:v>
                </c:pt>
                <c:pt idx="476">
                  <c:v>40289</c:v>
                </c:pt>
                <c:pt idx="477">
                  <c:v>40290</c:v>
                </c:pt>
                <c:pt idx="478">
                  <c:v>40291</c:v>
                </c:pt>
                <c:pt idx="479">
                  <c:v>40294</c:v>
                </c:pt>
                <c:pt idx="480">
                  <c:v>40295</c:v>
                </c:pt>
                <c:pt idx="481">
                  <c:v>40296</c:v>
                </c:pt>
                <c:pt idx="482">
                  <c:v>40297</c:v>
                </c:pt>
                <c:pt idx="483">
                  <c:v>40298</c:v>
                </c:pt>
                <c:pt idx="484">
                  <c:v>40301</c:v>
                </c:pt>
                <c:pt idx="485">
                  <c:v>40302</c:v>
                </c:pt>
                <c:pt idx="486">
                  <c:v>40303</c:v>
                </c:pt>
                <c:pt idx="487">
                  <c:v>40304</c:v>
                </c:pt>
                <c:pt idx="488">
                  <c:v>40305</c:v>
                </c:pt>
                <c:pt idx="489">
                  <c:v>40308</c:v>
                </c:pt>
                <c:pt idx="490">
                  <c:v>40309</c:v>
                </c:pt>
                <c:pt idx="491">
                  <c:v>40310</c:v>
                </c:pt>
                <c:pt idx="492">
                  <c:v>40311</c:v>
                </c:pt>
                <c:pt idx="493">
                  <c:v>40312</c:v>
                </c:pt>
                <c:pt idx="494">
                  <c:v>40315</c:v>
                </c:pt>
                <c:pt idx="495">
                  <c:v>40316</c:v>
                </c:pt>
                <c:pt idx="496">
                  <c:v>40317</c:v>
                </c:pt>
                <c:pt idx="497">
                  <c:v>40318</c:v>
                </c:pt>
                <c:pt idx="498">
                  <c:v>40319</c:v>
                </c:pt>
                <c:pt idx="499">
                  <c:v>40322</c:v>
                </c:pt>
                <c:pt idx="500">
                  <c:v>40323</c:v>
                </c:pt>
                <c:pt idx="501">
                  <c:v>40324</c:v>
                </c:pt>
                <c:pt idx="502">
                  <c:v>40325</c:v>
                </c:pt>
                <c:pt idx="503">
                  <c:v>40326</c:v>
                </c:pt>
                <c:pt idx="504">
                  <c:v>40330</c:v>
                </c:pt>
                <c:pt idx="505">
                  <c:v>40331</c:v>
                </c:pt>
                <c:pt idx="506">
                  <c:v>40332</c:v>
                </c:pt>
                <c:pt idx="507">
                  <c:v>40333</c:v>
                </c:pt>
                <c:pt idx="508">
                  <c:v>40336</c:v>
                </c:pt>
                <c:pt idx="509">
                  <c:v>40337</c:v>
                </c:pt>
                <c:pt idx="510">
                  <c:v>40338</c:v>
                </c:pt>
                <c:pt idx="511">
                  <c:v>40339</c:v>
                </c:pt>
                <c:pt idx="512">
                  <c:v>40340</c:v>
                </c:pt>
                <c:pt idx="513">
                  <c:v>40343</c:v>
                </c:pt>
                <c:pt idx="514">
                  <c:v>40344</c:v>
                </c:pt>
                <c:pt idx="515">
                  <c:v>40345</c:v>
                </c:pt>
                <c:pt idx="516">
                  <c:v>40346</c:v>
                </c:pt>
                <c:pt idx="517">
                  <c:v>40347</c:v>
                </c:pt>
                <c:pt idx="518">
                  <c:v>40350</c:v>
                </c:pt>
                <c:pt idx="519">
                  <c:v>40351</c:v>
                </c:pt>
                <c:pt idx="520">
                  <c:v>40352</c:v>
                </c:pt>
                <c:pt idx="521">
                  <c:v>40353</c:v>
                </c:pt>
                <c:pt idx="522">
                  <c:v>40354</c:v>
                </c:pt>
                <c:pt idx="523">
                  <c:v>40357</c:v>
                </c:pt>
                <c:pt idx="524">
                  <c:v>40358</c:v>
                </c:pt>
                <c:pt idx="525">
                  <c:v>40359</c:v>
                </c:pt>
                <c:pt idx="526">
                  <c:v>40360</c:v>
                </c:pt>
                <c:pt idx="527">
                  <c:v>40361</c:v>
                </c:pt>
                <c:pt idx="528">
                  <c:v>40365</c:v>
                </c:pt>
                <c:pt idx="529">
                  <c:v>40366</c:v>
                </c:pt>
                <c:pt idx="530">
                  <c:v>40367</c:v>
                </c:pt>
                <c:pt idx="531">
                  <c:v>40368</c:v>
                </c:pt>
                <c:pt idx="532">
                  <c:v>40371</c:v>
                </c:pt>
                <c:pt idx="533">
                  <c:v>40372</c:v>
                </c:pt>
                <c:pt idx="534">
                  <c:v>40373</c:v>
                </c:pt>
                <c:pt idx="535">
                  <c:v>40374</c:v>
                </c:pt>
                <c:pt idx="536">
                  <c:v>40375</c:v>
                </c:pt>
                <c:pt idx="537">
                  <c:v>40378</c:v>
                </c:pt>
                <c:pt idx="538">
                  <c:v>40379</c:v>
                </c:pt>
                <c:pt idx="539">
                  <c:v>40380</c:v>
                </c:pt>
                <c:pt idx="540">
                  <c:v>40381</c:v>
                </c:pt>
                <c:pt idx="541">
                  <c:v>40382</c:v>
                </c:pt>
                <c:pt idx="542">
                  <c:v>40385</c:v>
                </c:pt>
                <c:pt idx="543">
                  <c:v>40386</c:v>
                </c:pt>
                <c:pt idx="544">
                  <c:v>40387</c:v>
                </c:pt>
                <c:pt idx="545">
                  <c:v>40388</c:v>
                </c:pt>
                <c:pt idx="546">
                  <c:v>40389</c:v>
                </c:pt>
                <c:pt idx="547">
                  <c:v>40392</c:v>
                </c:pt>
                <c:pt idx="548">
                  <c:v>40393</c:v>
                </c:pt>
                <c:pt idx="549">
                  <c:v>40394</c:v>
                </c:pt>
                <c:pt idx="550">
                  <c:v>40395</c:v>
                </c:pt>
                <c:pt idx="551">
                  <c:v>40396</c:v>
                </c:pt>
                <c:pt idx="552">
                  <c:v>40399</c:v>
                </c:pt>
                <c:pt idx="553">
                  <c:v>40400</c:v>
                </c:pt>
                <c:pt idx="554">
                  <c:v>40401</c:v>
                </c:pt>
                <c:pt idx="555">
                  <c:v>40402</c:v>
                </c:pt>
                <c:pt idx="556">
                  <c:v>40403</c:v>
                </c:pt>
                <c:pt idx="557">
                  <c:v>40406</c:v>
                </c:pt>
                <c:pt idx="558">
                  <c:v>40407</c:v>
                </c:pt>
                <c:pt idx="559">
                  <c:v>40408</c:v>
                </c:pt>
                <c:pt idx="560">
                  <c:v>40409</c:v>
                </c:pt>
                <c:pt idx="561">
                  <c:v>40410</c:v>
                </c:pt>
                <c:pt idx="562">
                  <c:v>40413</c:v>
                </c:pt>
                <c:pt idx="563">
                  <c:v>40414</c:v>
                </c:pt>
                <c:pt idx="564">
                  <c:v>40415</c:v>
                </c:pt>
                <c:pt idx="565">
                  <c:v>40416</c:v>
                </c:pt>
                <c:pt idx="566">
                  <c:v>40417</c:v>
                </c:pt>
                <c:pt idx="567">
                  <c:v>40420</c:v>
                </c:pt>
                <c:pt idx="568">
                  <c:v>40421</c:v>
                </c:pt>
                <c:pt idx="569">
                  <c:v>40422</c:v>
                </c:pt>
                <c:pt idx="570">
                  <c:v>40423</c:v>
                </c:pt>
                <c:pt idx="571">
                  <c:v>40424</c:v>
                </c:pt>
                <c:pt idx="572">
                  <c:v>40428</c:v>
                </c:pt>
                <c:pt idx="573">
                  <c:v>40429</c:v>
                </c:pt>
                <c:pt idx="574">
                  <c:v>40430</c:v>
                </c:pt>
                <c:pt idx="575">
                  <c:v>40431</c:v>
                </c:pt>
                <c:pt idx="576">
                  <c:v>40434</c:v>
                </c:pt>
                <c:pt idx="577">
                  <c:v>40435</c:v>
                </c:pt>
                <c:pt idx="578">
                  <c:v>40436</c:v>
                </c:pt>
                <c:pt idx="579">
                  <c:v>40437</c:v>
                </c:pt>
                <c:pt idx="580">
                  <c:v>40438</c:v>
                </c:pt>
                <c:pt idx="581">
                  <c:v>40441</c:v>
                </c:pt>
                <c:pt idx="582">
                  <c:v>40442</c:v>
                </c:pt>
                <c:pt idx="583">
                  <c:v>40443</c:v>
                </c:pt>
                <c:pt idx="584">
                  <c:v>40444</c:v>
                </c:pt>
                <c:pt idx="585">
                  <c:v>40445</c:v>
                </c:pt>
                <c:pt idx="586">
                  <c:v>40448</c:v>
                </c:pt>
                <c:pt idx="587">
                  <c:v>40449</c:v>
                </c:pt>
                <c:pt idx="588">
                  <c:v>40450</c:v>
                </c:pt>
                <c:pt idx="589">
                  <c:v>40451</c:v>
                </c:pt>
                <c:pt idx="590">
                  <c:v>40452</c:v>
                </c:pt>
                <c:pt idx="591">
                  <c:v>40455</c:v>
                </c:pt>
                <c:pt idx="592">
                  <c:v>40456</c:v>
                </c:pt>
                <c:pt idx="593">
                  <c:v>40457</c:v>
                </c:pt>
                <c:pt idx="594">
                  <c:v>40458</c:v>
                </c:pt>
                <c:pt idx="595">
                  <c:v>40459</c:v>
                </c:pt>
                <c:pt idx="596">
                  <c:v>40462</c:v>
                </c:pt>
                <c:pt idx="597">
                  <c:v>40463</c:v>
                </c:pt>
                <c:pt idx="598">
                  <c:v>40464</c:v>
                </c:pt>
                <c:pt idx="599">
                  <c:v>40465</c:v>
                </c:pt>
                <c:pt idx="600">
                  <c:v>40466</c:v>
                </c:pt>
                <c:pt idx="601">
                  <c:v>40469</c:v>
                </c:pt>
                <c:pt idx="602">
                  <c:v>40470</c:v>
                </c:pt>
                <c:pt idx="603">
                  <c:v>40471</c:v>
                </c:pt>
                <c:pt idx="604">
                  <c:v>40472</c:v>
                </c:pt>
                <c:pt idx="605">
                  <c:v>40473</c:v>
                </c:pt>
                <c:pt idx="606">
                  <c:v>40476</c:v>
                </c:pt>
                <c:pt idx="607">
                  <c:v>40477</c:v>
                </c:pt>
                <c:pt idx="608">
                  <c:v>40478</c:v>
                </c:pt>
                <c:pt idx="609">
                  <c:v>40479</c:v>
                </c:pt>
                <c:pt idx="610">
                  <c:v>40480</c:v>
                </c:pt>
                <c:pt idx="611">
                  <c:v>40483</c:v>
                </c:pt>
                <c:pt idx="612">
                  <c:v>40484</c:v>
                </c:pt>
                <c:pt idx="613">
                  <c:v>40485</c:v>
                </c:pt>
                <c:pt idx="614">
                  <c:v>40486</c:v>
                </c:pt>
                <c:pt idx="615">
                  <c:v>40487</c:v>
                </c:pt>
                <c:pt idx="616">
                  <c:v>40490</c:v>
                </c:pt>
                <c:pt idx="617">
                  <c:v>40491</c:v>
                </c:pt>
                <c:pt idx="618">
                  <c:v>40492</c:v>
                </c:pt>
                <c:pt idx="619">
                  <c:v>40493</c:v>
                </c:pt>
                <c:pt idx="620">
                  <c:v>40494</c:v>
                </c:pt>
                <c:pt idx="621">
                  <c:v>40497</c:v>
                </c:pt>
                <c:pt idx="622">
                  <c:v>40498</c:v>
                </c:pt>
                <c:pt idx="623">
                  <c:v>40499</c:v>
                </c:pt>
                <c:pt idx="624">
                  <c:v>40500</c:v>
                </c:pt>
                <c:pt idx="625">
                  <c:v>40501</c:v>
                </c:pt>
                <c:pt idx="626">
                  <c:v>40504</c:v>
                </c:pt>
                <c:pt idx="627">
                  <c:v>40505</c:v>
                </c:pt>
                <c:pt idx="628">
                  <c:v>40506</c:v>
                </c:pt>
                <c:pt idx="629">
                  <c:v>40508</c:v>
                </c:pt>
                <c:pt idx="630">
                  <c:v>40511</c:v>
                </c:pt>
                <c:pt idx="631">
                  <c:v>40512</c:v>
                </c:pt>
                <c:pt idx="632">
                  <c:v>40513</c:v>
                </c:pt>
                <c:pt idx="633">
                  <c:v>40514</c:v>
                </c:pt>
                <c:pt idx="634">
                  <c:v>40515</c:v>
                </c:pt>
                <c:pt idx="635">
                  <c:v>40518</c:v>
                </c:pt>
                <c:pt idx="636">
                  <c:v>40519</c:v>
                </c:pt>
                <c:pt idx="637">
                  <c:v>40520</c:v>
                </c:pt>
                <c:pt idx="638">
                  <c:v>40521</c:v>
                </c:pt>
                <c:pt idx="639">
                  <c:v>40522</c:v>
                </c:pt>
                <c:pt idx="640">
                  <c:v>40525</c:v>
                </c:pt>
                <c:pt idx="641">
                  <c:v>40526</c:v>
                </c:pt>
                <c:pt idx="642">
                  <c:v>40527</c:v>
                </c:pt>
                <c:pt idx="643">
                  <c:v>40528</c:v>
                </c:pt>
                <c:pt idx="644">
                  <c:v>40529</c:v>
                </c:pt>
                <c:pt idx="645">
                  <c:v>40532</c:v>
                </c:pt>
                <c:pt idx="646">
                  <c:v>40533</c:v>
                </c:pt>
                <c:pt idx="647">
                  <c:v>40534</c:v>
                </c:pt>
                <c:pt idx="648">
                  <c:v>40535</c:v>
                </c:pt>
                <c:pt idx="649">
                  <c:v>40539</c:v>
                </c:pt>
                <c:pt idx="650">
                  <c:v>40540</c:v>
                </c:pt>
                <c:pt idx="651">
                  <c:v>40541</c:v>
                </c:pt>
                <c:pt idx="652">
                  <c:v>40542</c:v>
                </c:pt>
                <c:pt idx="653">
                  <c:v>40543</c:v>
                </c:pt>
                <c:pt idx="654">
                  <c:v>40546</c:v>
                </c:pt>
                <c:pt idx="655">
                  <c:v>40547</c:v>
                </c:pt>
                <c:pt idx="656">
                  <c:v>40548</c:v>
                </c:pt>
                <c:pt idx="657">
                  <c:v>40549</c:v>
                </c:pt>
                <c:pt idx="658">
                  <c:v>40550</c:v>
                </c:pt>
                <c:pt idx="659">
                  <c:v>40553</c:v>
                </c:pt>
                <c:pt idx="660">
                  <c:v>40554</c:v>
                </c:pt>
                <c:pt idx="661">
                  <c:v>40555</c:v>
                </c:pt>
                <c:pt idx="662">
                  <c:v>40556</c:v>
                </c:pt>
                <c:pt idx="663">
                  <c:v>40557</c:v>
                </c:pt>
                <c:pt idx="664">
                  <c:v>40561</c:v>
                </c:pt>
                <c:pt idx="665">
                  <c:v>40562</c:v>
                </c:pt>
                <c:pt idx="666">
                  <c:v>40563</c:v>
                </c:pt>
                <c:pt idx="667">
                  <c:v>40564</c:v>
                </c:pt>
                <c:pt idx="668">
                  <c:v>40567</c:v>
                </c:pt>
                <c:pt idx="669">
                  <c:v>40568</c:v>
                </c:pt>
                <c:pt idx="670">
                  <c:v>40569</c:v>
                </c:pt>
                <c:pt idx="671">
                  <c:v>40570</c:v>
                </c:pt>
                <c:pt idx="672">
                  <c:v>40571</c:v>
                </c:pt>
                <c:pt idx="673">
                  <c:v>40574</c:v>
                </c:pt>
                <c:pt idx="674">
                  <c:v>40575</c:v>
                </c:pt>
                <c:pt idx="675">
                  <c:v>40576</c:v>
                </c:pt>
                <c:pt idx="676">
                  <c:v>40577</c:v>
                </c:pt>
                <c:pt idx="677">
                  <c:v>40578</c:v>
                </c:pt>
                <c:pt idx="678">
                  <c:v>40581</c:v>
                </c:pt>
                <c:pt idx="679">
                  <c:v>40582</c:v>
                </c:pt>
                <c:pt idx="680">
                  <c:v>40583</c:v>
                </c:pt>
                <c:pt idx="681">
                  <c:v>40584</c:v>
                </c:pt>
                <c:pt idx="682">
                  <c:v>40585</c:v>
                </c:pt>
                <c:pt idx="683">
                  <c:v>40588</c:v>
                </c:pt>
                <c:pt idx="684">
                  <c:v>40589</c:v>
                </c:pt>
                <c:pt idx="685">
                  <c:v>40590</c:v>
                </c:pt>
                <c:pt idx="686">
                  <c:v>40591</c:v>
                </c:pt>
                <c:pt idx="687">
                  <c:v>40592</c:v>
                </c:pt>
                <c:pt idx="688">
                  <c:v>40596</c:v>
                </c:pt>
                <c:pt idx="689">
                  <c:v>40597</c:v>
                </c:pt>
                <c:pt idx="690">
                  <c:v>40598</c:v>
                </c:pt>
                <c:pt idx="691">
                  <c:v>40599</c:v>
                </c:pt>
                <c:pt idx="692">
                  <c:v>40602</c:v>
                </c:pt>
                <c:pt idx="693">
                  <c:v>40603</c:v>
                </c:pt>
                <c:pt idx="694">
                  <c:v>40604</c:v>
                </c:pt>
                <c:pt idx="695">
                  <c:v>40605</c:v>
                </c:pt>
                <c:pt idx="696">
                  <c:v>40606</c:v>
                </c:pt>
                <c:pt idx="697">
                  <c:v>40609</c:v>
                </c:pt>
                <c:pt idx="698">
                  <c:v>40610</c:v>
                </c:pt>
                <c:pt idx="699">
                  <c:v>40611</c:v>
                </c:pt>
                <c:pt idx="700">
                  <c:v>40612</c:v>
                </c:pt>
                <c:pt idx="701">
                  <c:v>40613</c:v>
                </c:pt>
                <c:pt idx="702">
                  <c:v>40616</c:v>
                </c:pt>
                <c:pt idx="703">
                  <c:v>40617</c:v>
                </c:pt>
                <c:pt idx="704">
                  <c:v>40618</c:v>
                </c:pt>
                <c:pt idx="705">
                  <c:v>40619</c:v>
                </c:pt>
                <c:pt idx="706">
                  <c:v>40620</c:v>
                </c:pt>
                <c:pt idx="707">
                  <c:v>40623</c:v>
                </c:pt>
                <c:pt idx="708">
                  <c:v>40624</c:v>
                </c:pt>
                <c:pt idx="709">
                  <c:v>40625</c:v>
                </c:pt>
                <c:pt idx="710">
                  <c:v>40626</c:v>
                </c:pt>
                <c:pt idx="711">
                  <c:v>40627</c:v>
                </c:pt>
                <c:pt idx="712">
                  <c:v>40630</c:v>
                </c:pt>
                <c:pt idx="713">
                  <c:v>40631</c:v>
                </c:pt>
                <c:pt idx="714">
                  <c:v>40632</c:v>
                </c:pt>
                <c:pt idx="715">
                  <c:v>40633</c:v>
                </c:pt>
                <c:pt idx="716">
                  <c:v>40634</c:v>
                </c:pt>
                <c:pt idx="717">
                  <c:v>40637</c:v>
                </c:pt>
                <c:pt idx="718">
                  <c:v>40638</c:v>
                </c:pt>
                <c:pt idx="719">
                  <c:v>40639</c:v>
                </c:pt>
                <c:pt idx="720">
                  <c:v>40640</c:v>
                </c:pt>
                <c:pt idx="721">
                  <c:v>40641</c:v>
                </c:pt>
                <c:pt idx="722">
                  <c:v>40644</c:v>
                </c:pt>
                <c:pt idx="723">
                  <c:v>40645</c:v>
                </c:pt>
                <c:pt idx="724">
                  <c:v>40646</c:v>
                </c:pt>
                <c:pt idx="725">
                  <c:v>40647</c:v>
                </c:pt>
                <c:pt idx="726">
                  <c:v>40648</c:v>
                </c:pt>
                <c:pt idx="727">
                  <c:v>40651</c:v>
                </c:pt>
                <c:pt idx="728">
                  <c:v>40652</c:v>
                </c:pt>
                <c:pt idx="729">
                  <c:v>40653</c:v>
                </c:pt>
                <c:pt idx="730">
                  <c:v>40654</c:v>
                </c:pt>
                <c:pt idx="731">
                  <c:v>40658</c:v>
                </c:pt>
                <c:pt idx="732">
                  <c:v>40659</c:v>
                </c:pt>
                <c:pt idx="733">
                  <c:v>40660</c:v>
                </c:pt>
                <c:pt idx="734">
                  <c:v>40661</c:v>
                </c:pt>
                <c:pt idx="735">
                  <c:v>40662</c:v>
                </c:pt>
                <c:pt idx="736">
                  <c:v>40665</c:v>
                </c:pt>
                <c:pt idx="737">
                  <c:v>40666</c:v>
                </c:pt>
                <c:pt idx="738">
                  <c:v>40667</c:v>
                </c:pt>
                <c:pt idx="739">
                  <c:v>40668</c:v>
                </c:pt>
                <c:pt idx="740">
                  <c:v>40669</c:v>
                </c:pt>
                <c:pt idx="741">
                  <c:v>40672</c:v>
                </c:pt>
                <c:pt idx="742">
                  <c:v>40673</c:v>
                </c:pt>
                <c:pt idx="743">
                  <c:v>40674</c:v>
                </c:pt>
                <c:pt idx="744">
                  <c:v>40675</c:v>
                </c:pt>
                <c:pt idx="745">
                  <c:v>40676</c:v>
                </c:pt>
                <c:pt idx="746">
                  <c:v>40679</c:v>
                </c:pt>
                <c:pt idx="747">
                  <c:v>40680</c:v>
                </c:pt>
                <c:pt idx="748">
                  <c:v>40681</c:v>
                </c:pt>
                <c:pt idx="749">
                  <c:v>40682</c:v>
                </c:pt>
                <c:pt idx="750">
                  <c:v>40683</c:v>
                </c:pt>
                <c:pt idx="751">
                  <c:v>40686</c:v>
                </c:pt>
                <c:pt idx="752">
                  <c:v>40687</c:v>
                </c:pt>
                <c:pt idx="753">
                  <c:v>40688</c:v>
                </c:pt>
                <c:pt idx="754">
                  <c:v>40689</c:v>
                </c:pt>
                <c:pt idx="755">
                  <c:v>40690</c:v>
                </c:pt>
                <c:pt idx="756">
                  <c:v>40694</c:v>
                </c:pt>
                <c:pt idx="757">
                  <c:v>40695</c:v>
                </c:pt>
                <c:pt idx="758">
                  <c:v>40696</c:v>
                </c:pt>
                <c:pt idx="759">
                  <c:v>40697</c:v>
                </c:pt>
                <c:pt idx="760">
                  <c:v>40700</c:v>
                </c:pt>
                <c:pt idx="761">
                  <c:v>40701</c:v>
                </c:pt>
                <c:pt idx="762">
                  <c:v>40702</c:v>
                </c:pt>
                <c:pt idx="763">
                  <c:v>40703</c:v>
                </c:pt>
                <c:pt idx="764">
                  <c:v>40704</c:v>
                </c:pt>
                <c:pt idx="765">
                  <c:v>40707</c:v>
                </c:pt>
                <c:pt idx="766">
                  <c:v>40708</c:v>
                </c:pt>
                <c:pt idx="767">
                  <c:v>40709</c:v>
                </c:pt>
                <c:pt idx="768">
                  <c:v>40710</c:v>
                </c:pt>
                <c:pt idx="769">
                  <c:v>40711</c:v>
                </c:pt>
                <c:pt idx="770">
                  <c:v>40714</c:v>
                </c:pt>
                <c:pt idx="771">
                  <c:v>40715</c:v>
                </c:pt>
                <c:pt idx="772">
                  <c:v>40716</c:v>
                </c:pt>
                <c:pt idx="773">
                  <c:v>40717</c:v>
                </c:pt>
                <c:pt idx="774">
                  <c:v>40718</c:v>
                </c:pt>
                <c:pt idx="775">
                  <c:v>40721</c:v>
                </c:pt>
                <c:pt idx="776">
                  <c:v>40722</c:v>
                </c:pt>
                <c:pt idx="777">
                  <c:v>40723</c:v>
                </c:pt>
                <c:pt idx="778">
                  <c:v>40724</c:v>
                </c:pt>
                <c:pt idx="779">
                  <c:v>40725</c:v>
                </c:pt>
                <c:pt idx="780">
                  <c:v>40729</c:v>
                </c:pt>
                <c:pt idx="781">
                  <c:v>40730</c:v>
                </c:pt>
                <c:pt idx="782">
                  <c:v>40731</c:v>
                </c:pt>
                <c:pt idx="783">
                  <c:v>40732</c:v>
                </c:pt>
                <c:pt idx="784">
                  <c:v>40735</c:v>
                </c:pt>
                <c:pt idx="785">
                  <c:v>40736</c:v>
                </c:pt>
                <c:pt idx="786">
                  <c:v>40737</c:v>
                </c:pt>
                <c:pt idx="787">
                  <c:v>40738</c:v>
                </c:pt>
                <c:pt idx="788">
                  <c:v>40739</c:v>
                </c:pt>
                <c:pt idx="789">
                  <c:v>40742</c:v>
                </c:pt>
                <c:pt idx="790">
                  <c:v>40743</c:v>
                </c:pt>
                <c:pt idx="791">
                  <c:v>40744</c:v>
                </c:pt>
                <c:pt idx="792">
                  <c:v>40745</c:v>
                </c:pt>
                <c:pt idx="793">
                  <c:v>40746</c:v>
                </c:pt>
                <c:pt idx="794">
                  <c:v>40749</c:v>
                </c:pt>
                <c:pt idx="795">
                  <c:v>40750</c:v>
                </c:pt>
                <c:pt idx="796">
                  <c:v>40751</c:v>
                </c:pt>
                <c:pt idx="797">
                  <c:v>40752</c:v>
                </c:pt>
                <c:pt idx="798">
                  <c:v>40753</c:v>
                </c:pt>
                <c:pt idx="799">
                  <c:v>40756</c:v>
                </c:pt>
                <c:pt idx="800">
                  <c:v>40757</c:v>
                </c:pt>
                <c:pt idx="801">
                  <c:v>40758</c:v>
                </c:pt>
                <c:pt idx="802">
                  <c:v>40759</c:v>
                </c:pt>
                <c:pt idx="803">
                  <c:v>40760</c:v>
                </c:pt>
                <c:pt idx="804">
                  <c:v>40763</c:v>
                </c:pt>
                <c:pt idx="805">
                  <c:v>40764</c:v>
                </c:pt>
                <c:pt idx="806">
                  <c:v>40765</c:v>
                </c:pt>
                <c:pt idx="807">
                  <c:v>40766</c:v>
                </c:pt>
                <c:pt idx="808">
                  <c:v>40767</c:v>
                </c:pt>
                <c:pt idx="809">
                  <c:v>40770</c:v>
                </c:pt>
                <c:pt idx="810">
                  <c:v>40771</c:v>
                </c:pt>
                <c:pt idx="811">
                  <c:v>40772</c:v>
                </c:pt>
                <c:pt idx="812">
                  <c:v>40773</c:v>
                </c:pt>
                <c:pt idx="813">
                  <c:v>40774</c:v>
                </c:pt>
                <c:pt idx="814">
                  <c:v>40777</c:v>
                </c:pt>
                <c:pt idx="815">
                  <c:v>40778</c:v>
                </c:pt>
                <c:pt idx="816">
                  <c:v>40779</c:v>
                </c:pt>
                <c:pt idx="817">
                  <c:v>40780</c:v>
                </c:pt>
                <c:pt idx="818">
                  <c:v>40781</c:v>
                </c:pt>
                <c:pt idx="819">
                  <c:v>40784</c:v>
                </c:pt>
                <c:pt idx="820">
                  <c:v>40785</c:v>
                </c:pt>
                <c:pt idx="821">
                  <c:v>40786</c:v>
                </c:pt>
                <c:pt idx="822">
                  <c:v>40787</c:v>
                </c:pt>
                <c:pt idx="823">
                  <c:v>40788</c:v>
                </c:pt>
                <c:pt idx="824">
                  <c:v>40792</c:v>
                </c:pt>
                <c:pt idx="825">
                  <c:v>40793</c:v>
                </c:pt>
                <c:pt idx="826">
                  <c:v>40794</c:v>
                </c:pt>
                <c:pt idx="827">
                  <c:v>40795</c:v>
                </c:pt>
                <c:pt idx="828">
                  <c:v>40798</c:v>
                </c:pt>
                <c:pt idx="829">
                  <c:v>40799</c:v>
                </c:pt>
                <c:pt idx="830">
                  <c:v>40800</c:v>
                </c:pt>
                <c:pt idx="831">
                  <c:v>40801</c:v>
                </c:pt>
                <c:pt idx="832">
                  <c:v>40802</c:v>
                </c:pt>
                <c:pt idx="833">
                  <c:v>40805</c:v>
                </c:pt>
                <c:pt idx="834">
                  <c:v>40806</c:v>
                </c:pt>
                <c:pt idx="835">
                  <c:v>40807</c:v>
                </c:pt>
                <c:pt idx="836">
                  <c:v>40808</c:v>
                </c:pt>
                <c:pt idx="837">
                  <c:v>40809</c:v>
                </c:pt>
                <c:pt idx="838">
                  <c:v>40812</c:v>
                </c:pt>
                <c:pt idx="839">
                  <c:v>40813</c:v>
                </c:pt>
                <c:pt idx="840">
                  <c:v>40814</c:v>
                </c:pt>
                <c:pt idx="841">
                  <c:v>40815</c:v>
                </c:pt>
                <c:pt idx="842">
                  <c:v>40816</c:v>
                </c:pt>
                <c:pt idx="843">
                  <c:v>40819</c:v>
                </c:pt>
                <c:pt idx="844">
                  <c:v>40820</c:v>
                </c:pt>
                <c:pt idx="845">
                  <c:v>40821</c:v>
                </c:pt>
                <c:pt idx="846">
                  <c:v>40822</c:v>
                </c:pt>
                <c:pt idx="847">
                  <c:v>40823</c:v>
                </c:pt>
                <c:pt idx="848">
                  <c:v>40826</c:v>
                </c:pt>
                <c:pt idx="849">
                  <c:v>40827</c:v>
                </c:pt>
                <c:pt idx="850">
                  <c:v>40828</c:v>
                </c:pt>
                <c:pt idx="851">
                  <c:v>40829</c:v>
                </c:pt>
                <c:pt idx="852">
                  <c:v>40830</c:v>
                </c:pt>
                <c:pt idx="853">
                  <c:v>40833</c:v>
                </c:pt>
                <c:pt idx="854">
                  <c:v>40834</c:v>
                </c:pt>
                <c:pt idx="855">
                  <c:v>40835</c:v>
                </c:pt>
                <c:pt idx="856">
                  <c:v>40836</c:v>
                </c:pt>
                <c:pt idx="857">
                  <c:v>40837</c:v>
                </c:pt>
                <c:pt idx="858">
                  <c:v>40840</c:v>
                </c:pt>
                <c:pt idx="859">
                  <c:v>40841</c:v>
                </c:pt>
                <c:pt idx="860">
                  <c:v>40842</c:v>
                </c:pt>
                <c:pt idx="861">
                  <c:v>40843</c:v>
                </c:pt>
                <c:pt idx="862">
                  <c:v>40844</c:v>
                </c:pt>
                <c:pt idx="863">
                  <c:v>40847</c:v>
                </c:pt>
                <c:pt idx="864">
                  <c:v>40848</c:v>
                </c:pt>
                <c:pt idx="865">
                  <c:v>40849</c:v>
                </c:pt>
                <c:pt idx="866">
                  <c:v>40850</c:v>
                </c:pt>
                <c:pt idx="867">
                  <c:v>40851</c:v>
                </c:pt>
                <c:pt idx="868">
                  <c:v>40854</c:v>
                </c:pt>
                <c:pt idx="869">
                  <c:v>40855</c:v>
                </c:pt>
                <c:pt idx="870">
                  <c:v>40856</c:v>
                </c:pt>
                <c:pt idx="871">
                  <c:v>40857</c:v>
                </c:pt>
                <c:pt idx="872">
                  <c:v>40858</c:v>
                </c:pt>
                <c:pt idx="873">
                  <c:v>40861</c:v>
                </c:pt>
                <c:pt idx="874">
                  <c:v>40862</c:v>
                </c:pt>
                <c:pt idx="875">
                  <c:v>40863</c:v>
                </c:pt>
                <c:pt idx="876">
                  <c:v>40864</c:v>
                </c:pt>
                <c:pt idx="877">
                  <c:v>40865</c:v>
                </c:pt>
                <c:pt idx="878">
                  <c:v>40868</c:v>
                </c:pt>
                <c:pt idx="879">
                  <c:v>40869</c:v>
                </c:pt>
                <c:pt idx="880">
                  <c:v>40870</c:v>
                </c:pt>
                <c:pt idx="881">
                  <c:v>40872</c:v>
                </c:pt>
                <c:pt idx="882">
                  <c:v>40875</c:v>
                </c:pt>
                <c:pt idx="883">
                  <c:v>40876</c:v>
                </c:pt>
                <c:pt idx="884">
                  <c:v>40877</c:v>
                </c:pt>
                <c:pt idx="885">
                  <c:v>40878</c:v>
                </c:pt>
                <c:pt idx="886">
                  <c:v>40879</c:v>
                </c:pt>
                <c:pt idx="887">
                  <c:v>40882</c:v>
                </c:pt>
                <c:pt idx="888">
                  <c:v>40883</c:v>
                </c:pt>
                <c:pt idx="889">
                  <c:v>40884</c:v>
                </c:pt>
                <c:pt idx="890">
                  <c:v>40885</c:v>
                </c:pt>
                <c:pt idx="891">
                  <c:v>40886</c:v>
                </c:pt>
                <c:pt idx="892">
                  <c:v>40889</c:v>
                </c:pt>
                <c:pt idx="893">
                  <c:v>40890</c:v>
                </c:pt>
                <c:pt idx="894">
                  <c:v>40891</c:v>
                </c:pt>
                <c:pt idx="895">
                  <c:v>40892</c:v>
                </c:pt>
                <c:pt idx="896">
                  <c:v>40893</c:v>
                </c:pt>
                <c:pt idx="897">
                  <c:v>40896</c:v>
                </c:pt>
                <c:pt idx="898">
                  <c:v>40897</c:v>
                </c:pt>
                <c:pt idx="899">
                  <c:v>40898</c:v>
                </c:pt>
                <c:pt idx="900">
                  <c:v>40899</c:v>
                </c:pt>
                <c:pt idx="901">
                  <c:v>40900</c:v>
                </c:pt>
                <c:pt idx="902">
                  <c:v>40904</c:v>
                </c:pt>
                <c:pt idx="903">
                  <c:v>40905</c:v>
                </c:pt>
                <c:pt idx="904">
                  <c:v>40906</c:v>
                </c:pt>
                <c:pt idx="905">
                  <c:v>40907</c:v>
                </c:pt>
                <c:pt idx="906">
                  <c:v>40911</c:v>
                </c:pt>
                <c:pt idx="907">
                  <c:v>40912</c:v>
                </c:pt>
                <c:pt idx="908">
                  <c:v>40913</c:v>
                </c:pt>
                <c:pt idx="909">
                  <c:v>40914</c:v>
                </c:pt>
                <c:pt idx="910">
                  <c:v>40917</c:v>
                </c:pt>
                <c:pt idx="911">
                  <c:v>40918</c:v>
                </c:pt>
                <c:pt idx="912">
                  <c:v>40919</c:v>
                </c:pt>
                <c:pt idx="913">
                  <c:v>40920</c:v>
                </c:pt>
                <c:pt idx="914">
                  <c:v>40921</c:v>
                </c:pt>
                <c:pt idx="915">
                  <c:v>40925</c:v>
                </c:pt>
                <c:pt idx="916">
                  <c:v>40926</c:v>
                </c:pt>
                <c:pt idx="917">
                  <c:v>40927</c:v>
                </c:pt>
                <c:pt idx="918">
                  <c:v>40928</c:v>
                </c:pt>
                <c:pt idx="919">
                  <c:v>40931</c:v>
                </c:pt>
                <c:pt idx="920">
                  <c:v>40932</c:v>
                </c:pt>
                <c:pt idx="921">
                  <c:v>40933</c:v>
                </c:pt>
                <c:pt idx="922">
                  <c:v>40934</c:v>
                </c:pt>
                <c:pt idx="923">
                  <c:v>40935</c:v>
                </c:pt>
                <c:pt idx="924">
                  <c:v>40938</c:v>
                </c:pt>
                <c:pt idx="925">
                  <c:v>40939</c:v>
                </c:pt>
                <c:pt idx="926">
                  <c:v>40940</c:v>
                </c:pt>
                <c:pt idx="927">
                  <c:v>40941</c:v>
                </c:pt>
                <c:pt idx="928">
                  <c:v>40942</c:v>
                </c:pt>
                <c:pt idx="929">
                  <c:v>40945</c:v>
                </c:pt>
                <c:pt idx="930">
                  <c:v>40946</c:v>
                </c:pt>
                <c:pt idx="931">
                  <c:v>40947</c:v>
                </c:pt>
                <c:pt idx="932">
                  <c:v>40948</c:v>
                </c:pt>
                <c:pt idx="933">
                  <c:v>40949</c:v>
                </c:pt>
                <c:pt idx="934">
                  <c:v>40952</c:v>
                </c:pt>
                <c:pt idx="935">
                  <c:v>40953</c:v>
                </c:pt>
                <c:pt idx="936">
                  <c:v>40954</c:v>
                </c:pt>
                <c:pt idx="937">
                  <c:v>40955</c:v>
                </c:pt>
                <c:pt idx="938">
                  <c:v>40956</c:v>
                </c:pt>
                <c:pt idx="939">
                  <c:v>40960</c:v>
                </c:pt>
                <c:pt idx="940">
                  <c:v>40961</c:v>
                </c:pt>
                <c:pt idx="941">
                  <c:v>40962</c:v>
                </c:pt>
                <c:pt idx="942">
                  <c:v>40963</c:v>
                </c:pt>
                <c:pt idx="943">
                  <c:v>40966</c:v>
                </c:pt>
                <c:pt idx="944">
                  <c:v>40967</c:v>
                </c:pt>
                <c:pt idx="945">
                  <c:v>40968</c:v>
                </c:pt>
                <c:pt idx="946">
                  <c:v>40969</c:v>
                </c:pt>
                <c:pt idx="947">
                  <c:v>40970</c:v>
                </c:pt>
                <c:pt idx="948">
                  <c:v>40973</c:v>
                </c:pt>
                <c:pt idx="949">
                  <c:v>40974</c:v>
                </c:pt>
                <c:pt idx="950">
                  <c:v>40975</c:v>
                </c:pt>
                <c:pt idx="951">
                  <c:v>40976</c:v>
                </c:pt>
                <c:pt idx="952">
                  <c:v>40977</c:v>
                </c:pt>
                <c:pt idx="953">
                  <c:v>40980</c:v>
                </c:pt>
                <c:pt idx="954">
                  <c:v>40981</c:v>
                </c:pt>
                <c:pt idx="955">
                  <c:v>40982</c:v>
                </c:pt>
                <c:pt idx="956">
                  <c:v>40983</c:v>
                </c:pt>
                <c:pt idx="957">
                  <c:v>40984</c:v>
                </c:pt>
                <c:pt idx="958">
                  <c:v>40987</c:v>
                </c:pt>
                <c:pt idx="959">
                  <c:v>40988</c:v>
                </c:pt>
                <c:pt idx="960">
                  <c:v>40989</c:v>
                </c:pt>
                <c:pt idx="961">
                  <c:v>40990</c:v>
                </c:pt>
                <c:pt idx="962">
                  <c:v>40991</c:v>
                </c:pt>
                <c:pt idx="963">
                  <c:v>40994</c:v>
                </c:pt>
                <c:pt idx="964">
                  <c:v>40995</c:v>
                </c:pt>
                <c:pt idx="965">
                  <c:v>40996</c:v>
                </c:pt>
                <c:pt idx="966">
                  <c:v>40997</c:v>
                </c:pt>
                <c:pt idx="967">
                  <c:v>40998</c:v>
                </c:pt>
                <c:pt idx="968">
                  <c:v>41001</c:v>
                </c:pt>
                <c:pt idx="969">
                  <c:v>41002</c:v>
                </c:pt>
                <c:pt idx="970">
                  <c:v>41003</c:v>
                </c:pt>
                <c:pt idx="971">
                  <c:v>41004</c:v>
                </c:pt>
                <c:pt idx="972">
                  <c:v>41008</c:v>
                </c:pt>
                <c:pt idx="973">
                  <c:v>41009</c:v>
                </c:pt>
                <c:pt idx="974">
                  <c:v>41010</c:v>
                </c:pt>
                <c:pt idx="975">
                  <c:v>41011</c:v>
                </c:pt>
                <c:pt idx="976">
                  <c:v>41012</c:v>
                </c:pt>
                <c:pt idx="977">
                  <c:v>41015</c:v>
                </c:pt>
                <c:pt idx="978">
                  <c:v>41016</c:v>
                </c:pt>
                <c:pt idx="979">
                  <c:v>41017</c:v>
                </c:pt>
                <c:pt idx="980">
                  <c:v>41018</c:v>
                </c:pt>
                <c:pt idx="981">
                  <c:v>41019</c:v>
                </c:pt>
                <c:pt idx="982">
                  <c:v>41022</c:v>
                </c:pt>
                <c:pt idx="983">
                  <c:v>41023</c:v>
                </c:pt>
                <c:pt idx="984">
                  <c:v>41024</c:v>
                </c:pt>
                <c:pt idx="985">
                  <c:v>41025</c:v>
                </c:pt>
                <c:pt idx="986">
                  <c:v>41026</c:v>
                </c:pt>
                <c:pt idx="987">
                  <c:v>41029</c:v>
                </c:pt>
                <c:pt idx="988">
                  <c:v>41030</c:v>
                </c:pt>
                <c:pt idx="989">
                  <c:v>41031</c:v>
                </c:pt>
                <c:pt idx="990">
                  <c:v>41032</c:v>
                </c:pt>
                <c:pt idx="991">
                  <c:v>41033</c:v>
                </c:pt>
                <c:pt idx="992">
                  <c:v>41036</c:v>
                </c:pt>
                <c:pt idx="993">
                  <c:v>41037</c:v>
                </c:pt>
                <c:pt idx="994">
                  <c:v>41038</c:v>
                </c:pt>
                <c:pt idx="995">
                  <c:v>41039</c:v>
                </c:pt>
                <c:pt idx="996">
                  <c:v>41040</c:v>
                </c:pt>
                <c:pt idx="997">
                  <c:v>41043</c:v>
                </c:pt>
                <c:pt idx="998">
                  <c:v>41044</c:v>
                </c:pt>
                <c:pt idx="999">
                  <c:v>41045</c:v>
                </c:pt>
                <c:pt idx="1000">
                  <c:v>41046</c:v>
                </c:pt>
                <c:pt idx="1001">
                  <c:v>41047</c:v>
                </c:pt>
                <c:pt idx="1002">
                  <c:v>41050</c:v>
                </c:pt>
                <c:pt idx="1003">
                  <c:v>41051</c:v>
                </c:pt>
                <c:pt idx="1004">
                  <c:v>41052</c:v>
                </c:pt>
                <c:pt idx="1005">
                  <c:v>41053</c:v>
                </c:pt>
                <c:pt idx="1006">
                  <c:v>41054</c:v>
                </c:pt>
                <c:pt idx="1007">
                  <c:v>41058</c:v>
                </c:pt>
                <c:pt idx="1008">
                  <c:v>41059</c:v>
                </c:pt>
                <c:pt idx="1009">
                  <c:v>41060</c:v>
                </c:pt>
                <c:pt idx="1010">
                  <c:v>41061</c:v>
                </c:pt>
                <c:pt idx="1011">
                  <c:v>41064</c:v>
                </c:pt>
                <c:pt idx="1012">
                  <c:v>41065</c:v>
                </c:pt>
                <c:pt idx="1013">
                  <c:v>41066</c:v>
                </c:pt>
                <c:pt idx="1014">
                  <c:v>41067</c:v>
                </c:pt>
                <c:pt idx="1015">
                  <c:v>41068</c:v>
                </c:pt>
                <c:pt idx="1016">
                  <c:v>41071</c:v>
                </c:pt>
                <c:pt idx="1017">
                  <c:v>41072</c:v>
                </c:pt>
                <c:pt idx="1018">
                  <c:v>41073</c:v>
                </c:pt>
                <c:pt idx="1019">
                  <c:v>41074</c:v>
                </c:pt>
                <c:pt idx="1020">
                  <c:v>41075</c:v>
                </c:pt>
                <c:pt idx="1021">
                  <c:v>41078</c:v>
                </c:pt>
                <c:pt idx="1022">
                  <c:v>41079</c:v>
                </c:pt>
                <c:pt idx="1023">
                  <c:v>41080</c:v>
                </c:pt>
                <c:pt idx="1024">
                  <c:v>41081</c:v>
                </c:pt>
                <c:pt idx="1025">
                  <c:v>41082</c:v>
                </c:pt>
                <c:pt idx="1026">
                  <c:v>41085</c:v>
                </c:pt>
                <c:pt idx="1027">
                  <c:v>41086</c:v>
                </c:pt>
                <c:pt idx="1028">
                  <c:v>41087</c:v>
                </c:pt>
                <c:pt idx="1029">
                  <c:v>41088</c:v>
                </c:pt>
                <c:pt idx="1030">
                  <c:v>41089</c:v>
                </c:pt>
                <c:pt idx="1031">
                  <c:v>41092</c:v>
                </c:pt>
                <c:pt idx="1032">
                  <c:v>41093</c:v>
                </c:pt>
                <c:pt idx="1033">
                  <c:v>41095</c:v>
                </c:pt>
                <c:pt idx="1034">
                  <c:v>41096</c:v>
                </c:pt>
                <c:pt idx="1035">
                  <c:v>41099</c:v>
                </c:pt>
                <c:pt idx="1036">
                  <c:v>41100</c:v>
                </c:pt>
                <c:pt idx="1037">
                  <c:v>41101</c:v>
                </c:pt>
                <c:pt idx="1038">
                  <c:v>41102</c:v>
                </c:pt>
                <c:pt idx="1039">
                  <c:v>41103</c:v>
                </c:pt>
                <c:pt idx="1040">
                  <c:v>41106</c:v>
                </c:pt>
                <c:pt idx="1041">
                  <c:v>41107</c:v>
                </c:pt>
                <c:pt idx="1042">
                  <c:v>41108</c:v>
                </c:pt>
                <c:pt idx="1043">
                  <c:v>41109</c:v>
                </c:pt>
                <c:pt idx="1044">
                  <c:v>41110</c:v>
                </c:pt>
                <c:pt idx="1045">
                  <c:v>41113</c:v>
                </c:pt>
                <c:pt idx="1046">
                  <c:v>41114</c:v>
                </c:pt>
                <c:pt idx="1047">
                  <c:v>41115</c:v>
                </c:pt>
                <c:pt idx="1048">
                  <c:v>41116</c:v>
                </c:pt>
                <c:pt idx="1049">
                  <c:v>41117</c:v>
                </c:pt>
                <c:pt idx="1050">
                  <c:v>41120</c:v>
                </c:pt>
                <c:pt idx="1051">
                  <c:v>41121</c:v>
                </c:pt>
                <c:pt idx="1052">
                  <c:v>41122</c:v>
                </c:pt>
                <c:pt idx="1053">
                  <c:v>41123</c:v>
                </c:pt>
                <c:pt idx="1054">
                  <c:v>41124</c:v>
                </c:pt>
                <c:pt idx="1055">
                  <c:v>41127</c:v>
                </c:pt>
                <c:pt idx="1056">
                  <c:v>41128</c:v>
                </c:pt>
                <c:pt idx="1057">
                  <c:v>41129</c:v>
                </c:pt>
                <c:pt idx="1058">
                  <c:v>41130</c:v>
                </c:pt>
                <c:pt idx="1059">
                  <c:v>41131</c:v>
                </c:pt>
                <c:pt idx="1060">
                  <c:v>41134</c:v>
                </c:pt>
                <c:pt idx="1061">
                  <c:v>41135</c:v>
                </c:pt>
                <c:pt idx="1062">
                  <c:v>41136</c:v>
                </c:pt>
                <c:pt idx="1063">
                  <c:v>41137</c:v>
                </c:pt>
                <c:pt idx="1064">
                  <c:v>41138</c:v>
                </c:pt>
                <c:pt idx="1065">
                  <c:v>41141</c:v>
                </c:pt>
                <c:pt idx="1066">
                  <c:v>41142</c:v>
                </c:pt>
                <c:pt idx="1067">
                  <c:v>41143</c:v>
                </c:pt>
                <c:pt idx="1068">
                  <c:v>41144</c:v>
                </c:pt>
                <c:pt idx="1069">
                  <c:v>41145</c:v>
                </c:pt>
                <c:pt idx="1070">
                  <c:v>41148</c:v>
                </c:pt>
                <c:pt idx="1071">
                  <c:v>41149</c:v>
                </c:pt>
                <c:pt idx="1072">
                  <c:v>41150</c:v>
                </c:pt>
                <c:pt idx="1073">
                  <c:v>41151</c:v>
                </c:pt>
                <c:pt idx="1074">
                  <c:v>41152</c:v>
                </c:pt>
                <c:pt idx="1075">
                  <c:v>41156</c:v>
                </c:pt>
                <c:pt idx="1076">
                  <c:v>41157</c:v>
                </c:pt>
                <c:pt idx="1077">
                  <c:v>41158</c:v>
                </c:pt>
                <c:pt idx="1078">
                  <c:v>41159</c:v>
                </c:pt>
                <c:pt idx="1079">
                  <c:v>41162</c:v>
                </c:pt>
                <c:pt idx="1080">
                  <c:v>41163</c:v>
                </c:pt>
                <c:pt idx="1081">
                  <c:v>41164</c:v>
                </c:pt>
                <c:pt idx="1082">
                  <c:v>41165</c:v>
                </c:pt>
                <c:pt idx="1083">
                  <c:v>41166</c:v>
                </c:pt>
                <c:pt idx="1084">
                  <c:v>41169</c:v>
                </c:pt>
                <c:pt idx="1085">
                  <c:v>41170</c:v>
                </c:pt>
                <c:pt idx="1086">
                  <c:v>41171</c:v>
                </c:pt>
                <c:pt idx="1087">
                  <c:v>41172</c:v>
                </c:pt>
                <c:pt idx="1088">
                  <c:v>41173</c:v>
                </c:pt>
                <c:pt idx="1089">
                  <c:v>41176</c:v>
                </c:pt>
                <c:pt idx="1090">
                  <c:v>41177</c:v>
                </c:pt>
                <c:pt idx="1091">
                  <c:v>41178</c:v>
                </c:pt>
                <c:pt idx="1092">
                  <c:v>41179</c:v>
                </c:pt>
                <c:pt idx="1093">
                  <c:v>41180</c:v>
                </c:pt>
                <c:pt idx="1094">
                  <c:v>41183</c:v>
                </c:pt>
                <c:pt idx="1095">
                  <c:v>41184</c:v>
                </c:pt>
                <c:pt idx="1096">
                  <c:v>41185</c:v>
                </c:pt>
                <c:pt idx="1097">
                  <c:v>41186</c:v>
                </c:pt>
                <c:pt idx="1098">
                  <c:v>41187</c:v>
                </c:pt>
                <c:pt idx="1099">
                  <c:v>41190</c:v>
                </c:pt>
                <c:pt idx="1100">
                  <c:v>41191</c:v>
                </c:pt>
                <c:pt idx="1101">
                  <c:v>41192</c:v>
                </c:pt>
                <c:pt idx="1102">
                  <c:v>41193</c:v>
                </c:pt>
                <c:pt idx="1103">
                  <c:v>41194</c:v>
                </c:pt>
                <c:pt idx="1104">
                  <c:v>41197</c:v>
                </c:pt>
                <c:pt idx="1105">
                  <c:v>41198</c:v>
                </c:pt>
                <c:pt idx="1106">
                  <c:v>41199</c:v>
                </c:pt>
                <c:pt idx="1107">
                  <c:v>41200</c:v>
                </c:pt>
                <c:pt idx="1108">
                  <c:v>41201</c:v>
                </c:pt>
                <c:pt idx="1109">
                  <c:v>41204</c:v>
                </c:pt>
                <c:pt idx="1110">
                  <c:v>41205</c:v>
                </c:pt>
                <c:pt idx="1111">
                  <c:v>41206</c:v>
                </c:pt>
                <c:pt idx="1112">
                  <c:v>41207</c:v>
                </c:pt>
                <c:pt idx="1113">
                  <c:v>41208</c:v>
                </c:pt>
                <c:pt idx="1114">
                  <c:v>41213</c:v>
                </c:pt>
                <c:pt idx="1115">
                  <c:v>41214</c:v>
                </c:pt>
                <c:pt idx="1116">
                  <c:v>41215</c:v>
                </c:pt>
                <c:pt idx="1117">
                  <c:v>41218</c:v>
                </c:pt>
                <c:pt idx="1118">
                  <c:v>41219</c:v>
                </c:pt>
                <c:pt idx="1119">
                  <c:v>41220</c:v>
                </c:pt>
                <c:pt idx="1120">
                  <c:v>41221</c:v>
                </c:pt>
                <c:pt idx="1121">
                  <c:v>41222</c:v>
                </c:pt>
                <c:pt idx="1122">
                  <c:v>41225</c:v>
                </c:pt>
                <c:pt idx="1123">
                  <c:v>41226</c:v>
                </c:pt>
                <c:pt idx="1124">
                  <c:v>41227</c:v>
                </c:pt>
                <c:pt idx="1125">
                  <c:v>41228</c:v>
                </c:pt>
                <c:pt idx="1126">
                  <c:v>41229</c:v>
                </c:pt>
                <c:pt idx="1127">
                  <c:v>41232</c:v>
                </c:pt>
                <c:pt idx="1128">
                  <c:v>41233</c:v>
                </c:pt>
                <c:pt idx="1129">
                  <c:v>41234</c:v>
                </c:pt>
                <c:pt idx="1130">
                  <c:v>41236</c:v>
                </c:pt>
                <c:pt idx="1131">
                  <c:v>41239</c:v>
                </c:pt>
                <c:pt idx="1132">
                  <c:v>41240</c:v>
                </c:pt>
                <c:pt idx="1133">
                  <c:v>41241</c:v>
                </c:pt>
                <c:pt idx="1134">
                  <c:v>41242</c:v>
                </c:pt>
                <c:pt idx="1135">
                  <c:v>41243</c:v>
                </c:pt>
                <c:pt idx="1136">
                  <c:v>41246</c:v>
                </c:pt>
                <c:pt idx="1137">
                  <c:v>41247</c:v>
                </c:pt>
                <c:pt idx="1138">
                  <c:v>41248</c:v>
                </c:pt>
                <c:pt idx="1139">
                  <c:v>41249</c:v>
                </c:pt>
                <c:pt idx="1140">
                  <c:v>41250</c:v>
                </c:pt>
                <c:pt idx="1141">
                  <c:v>41253</c:v>
                </c:pt>
                <c:pt idx="1142">
                  <c:v>41254</c:v>
                </c:pt>
                <c:pt idx="1143">
                  <c:v>41255</c:v>
                </c:pt>
                <c:pt idx="1144">
                  <c:v>41256</c:v>
                </c:pt>
                <c:pt idx="1145">
                  <c:v>41257</c:v>
                </c:pt>
                <c:pt idx="1146">
                  <c:v>41260</c:v>
                </c:pt>
                <c:pt idx="1147">
                  <c:v>41261</c:v>
                </c:pt>
                <c:pt idx="1148">
                  <c:v>41262</c:v>
                </c:pt>
                <c:pt idx="1149">
                  <c:v>41263</c:v>
                </c:pt>
                <c:pt idx="1150">
                  <c:v>41264</c:v>
                </c:pt>
                <c:pt idx="1151">
                  <c:v>41267</c:v>
                </c:pt>
                <c:pt idx="1152">
                  <c:v>41269</c:v>
                </c:pt>
                <c:pt idx="1153">
                  <c:v>41270</c:v>
                </c:pt>
                <c:pt idx="1154">
                  <c:v>41271</c:v>
                </c:pt>
                <c:pt idx="1155">
                  <c:v>41274</c:v>
                </c:pt>
                <c:pt idx="1156">
                  <c:v>41276</c:v>
                </c:pt>
                <c:pt idx="1157">
                  <c:v>41277</c:v>
                </c:pt>
                <c:pt idx="1158">
                  <c:v>41278</c:v>
                </c:pt>
                <c:pt idx="1159">
                  <c:v>41281</c:v>
                </c:pt>
                <c:pt idx="1160">
                  <c:v>41282</c:v>
                </c:pt>
                <c:pt idx="1161">
                  <c:v>41283</c:v>
                </c:pt>
                <c:pt idx="1162">
                  <c:v>41284</c:v>
                </c:pt>
                <c:pt idx="1163">
                  <c:v>41285</c:v>
                </c:pt>
                <c:pt idx="1164">
                  <c:v>41288</c:v>
                </c:pt>
                <c:pt idx="1165">
                  <c:v>41289</c:v>
                </c:pt>
                <c:pt idx="1166">
                  <c:v>41290</c:v>
                </c:pt>
                <c:pt idx="1167">
                  <c:v>41291</c:v>
                </c:pt>
                <c:pt idx="1168">
                  <c:v>41292</c:v>
                </c:pt>
                <c:pt idx="1169">
                  <c:v>41296</c:v>
                </c:pt>
                <c:pt idx="1170">
                  <c:v>41297</c:v>
                </c:pt>
                <c:pt idx="1171">
                  <c:v>41298</c:v>
                </c:pt>
                <c:pt idx="1172">
                  <c:v>41299</c:v>
                </c:pt>
                <c:pt idx="1173">
                  <c:v>41302</c:v>
                </c:pt>
                <c:pt idx="1174">
                  <c:v>41303</c:v>
                </c:pt>
                <c:pt idx="1175">
                  <c:v>41304</c:v>
                </c:pt>
                <c:pt idx="1176">
                  <c:v>41305</c:v>
                </c:pt>
                <c:pt idx="1177">
                  <c:v>41306</c:v>
                </c:pt>
                <c:pt idx="1178">
                  <c:v>41309</c:v>
                </c:pt>
                <c:pt idx="1179">
                  <c:v>41310</c:v>
                </c:pt>
                <c:pt idx="1180">
                  <c:v>41311</c:v>
                </c:pt>
                <c:pt idx="1181">
                  <c:v>41312</c:v>
                </c:pt>
                <c:pt idx="1182">
                  <c:v>41313</c:v>
                </c:pt>
                <c:pt idx="1183">
                  <c:v>41316</c:v>
                </c:pt>
                <c:pt idx="1184">
                  <c:v>41317</c:v>
                </c:pt>
                <c:pt idx="1185">
                  <c:v>41318</c:v>
                </c:pt>
                <c:pt idx="1186">
                  <c:v>41319</c:v>
                </c:pt>
                <c:pt idx="1187">
                  <c:v>41320</c:v>
                </c:pt>
                <c:pt idx="1188">
                  <c:v>41324</c:v>
                </c:pt>
                <c:pt idx="1189">
                  <c:v>41325</c:v>
                </c:pt>
                <c:pt idx="1190">
                  <c:v>41326</c:v>
                </c:pt>
                <c:pt idx="1191">
                  <c:v>41327</c:v>
                </c:pt>
                <c:pt idx="1192">
                  <c:v>41330</c:v>
                </c:pt>
                <c:pt idx="1193">
                  <c:v>41331</c:v>
                </c:pt>
                <c:pt idx="1194">
                  <c:v>41332</c:v>
                </c:pt>
                <c:pt idx="1195">
                  <c:v>41333</c:v>
                </c:pt>
                <c:pt idx="1196">
                  <c:v>41334</c:v>
                </c:pt>
                <c:pt idx="1197">
                  <c:v>41337</c:v>
                </c:pt>
                <c:pt idx="1198">
                  <c:v>41338</c:v>
                </c:pt>
                <c:pt idx="1199">
                  <c:v>41339</c:v>
                </c:pt>
                <c:pt idx="1200">
                  <c:v>41340</c:v>
                </c:pt>
                <c:pt idx="1201">
                  <c:v>41341</c:v>
                </c:pt>
                <c:pt idx="1202">
                  <c:v>41344</c:v>
                </c:pt>
                <c:pt idx="1203">
                  <c:v>41345</c:v>
                </c:pt>
                <c:pt idx="1204">
                  <c:v>41346</c:v>
                </c:pt>
                <c:pt idx="1205">
                  <c:v>41347</c:v>
                </c:pt>
                <c:pt idx="1206">
                  <c:v>41348</c:v>
                </c:pt>
                <c:pt idx="1207">
                  <c:v>41351</c:v>
                </c:pt>
                <c:pt idx="1208">
                  <c:v>41352</c:v>
                </c:pt>
                <c:pt idx="1209">
                  <c:v>41353</c:v>
                </c:pt>
                <c:pt idx="1210">
                  <c:v>41354</c:v>
                </c:pt>
                <c:pt idx="1211">
                  <c:v>41355</c:v>
                </c:pt>
                <c:pt idx="1212">
                  <c:v>41358</c:v>
                </c:pt>
                <c:pt idx="1213">
                  <c:v>41359</c:v>
                </c:pt>
                <c:pt idx="1214">
                  <c:v>41360</c:v>
                </c:pt>
                <c:pt idx="1215">
                  <c:v>41361</c:v>
                </c:pt>
                <c:pt idx="1216">
                  <c:v>41365</c:v>
                </c:pt>
                <c:pt idx="1217">
                  <c:v>41366</c:v>
                </c:pt>
                <c:pt idx="1218">
                  <c:v>41367</c:v>
                </c:pt>
                <c:pt idx="1219">
                  <c:v>41368</c:v>
                </c:pt>
                <c:pt idx="1220">
                  <c:v>41369</c:v>
                </c:pt>
                <c:pt idx="1221">
                  <c:v>41372</c:v>
                </c:pt>
                <c:pt idx="1222">
                  <c:v>41373</c:v>
                </c:pt>
                <c:pt idx="1223">
                  <c:v>41374</c:v>
                </c:pt>
                <c:pt idx="1224">
                  <c:v>41375</c:v>
                </c:pt>
                <c:pt idx="1225">
                  <c:v>41376</c:v>
                </c:pt>
                <c:pt idx="1226">
                  <c:v>41379</c:v>
                </c:pt>
                <c:pt idx="1227">
                  <c:v>41380</c:v>
                </c:pt>
                <c:pt idx="1228">
                  <c:v>41381</c:v>
                </c:pt>
                <c:pt idx="1229">
                  <c:v>41382</c:v>
                </c:pt>
                <c:pt idx="1230">
                  <c:v>41383</c:v>
                </c:pt>
                <c:pt idx="1231">
                  <c:v>41386</c:v>
                </c:pt>
                <c:pt idx="1232">
                  <c:v>41387</c:v>
                </c:pt>
                <c:pt idx="1233">
                  <c:v>41388</c:v>
                </c:pt>
                <c:pt idx="1234">
                  <c:v>41389</c:v>
                </c:pt>
                <c:pt idx="1235">
                  <c:v>41390</c:v>
                </c:pt>
                <c:pt idx="1236">
                  <c:v>41393</c:v>
                </c:pt>
                <c:pt idx="1237">
                  <c:v>41394</c:v>
                </c:pt>
                <c:pt idx="1238">
                  <c:v>41395</c:v>
                </c:pt>
                <c:pt idx="1239">
                  <c:v>41396</c:v>
                </c:pt>
                <c:pt idx="1240">
                  <c:v>41397</c:v>
                </c:pt>
                <c:pt idx="1241">
                  <c:v>41400</c:v>
                </c:pt>
                <c:pt idx="1242">
                  <c:v>41401</c:v>
                </c:pt>
                <c:pt idx="1243">
                  <c:v>41402</c:v>
                </c:pt>
                <c:pt idx="1244">
                  <c:v>41403</c:v>
                </c:pt>
                <c:pt idx="1245">
                  <c:v>41404</c:v>
                </c:pt>
                <c:pt idx="1246">
                  <c:v>41407</c:v>
                </c:pt>
                <c:pt idx="1247">
                  <c:v>41408</c:v>
                </c:pt>
                <c:pt idx="1248">
                  <c:v>41409</c:v>
                </c:pt>
                <c:pt idx="1249">
                  <c:v>41410</c:v>
                </c:pt>
                <c:pt idx="1250">
                  <c:v>41411</c:v>
                </c:pt>
                <c:pt idx="1251">
                  <c:v>41414</c:v>
                </c:pt>
                <c:pt idx="1252">
                  <c:v>41415</c:v>
                </c:pt>
                <c:pt idx="1253">
                  <c:v>41416</c:v>
                </c:pt>
                <c:pt idx="1254">
                  <c:v>41417</c:v>
                </c:pt>
                <c:pt idx="1255">
                  <c:v>41418</c:v>
                </c:pt>
                <c:pt idx="1256">
                  <c:v>41422</c:v>
                </c:pt>
                <c:pt idx="1257">
                  <c:v>41423</c:v>
                </c:pt>
                <c:pt idx="1258">
                  <c:v>41424</c:v>
                </c:pt>
                <c:pt idx="1259">
                  <c:v>41425</c:v>
                </c:pt>
                <c:pt idx="1260">
                  <c:v>41428</c:v>
                </c:pt>
                <c:pt idx="1261">
                  <c:v>41429</c:v>
                </c:pt>
                <c:pt idx="1262">
                  <c:v>41430</c:v>
                </c:pt>
                <c:pt idx="1263">
                  <c:v>41431</c:v>
                </c:pt>
                <c:pt idx="1264">
                  <c:v>41432</c:v>
                </c:pt>
                <c:pt idx="1265">
                  <c:v>41435</c:v>
                </c:pt>
                <c:pt idx="1266">
                  <c:v>41436</c:v>
                </c:pt>
                <c:pt idx="1267">
                  <c:v>41437</c:v>
                </c:pt>
                <c:pt idx="1268">
                  <c:v>41438</c:v>
                </c:pt>
                <c:pt idx="1269">
                  <c:v>41439</c:v>
                </c:pt>
                <c:pt idx="1270">
                  <c:v>41442</c:v>
                </c:pt>
                <c:pt idx="1271">
                  <c:v>41443</c:v>
                </c:pt>
                <c:pt idx="1272">
                  <c:v>41444</c:v>
                </c:pt>
                <c:pt idx="1273">
                  <c:v>41445</c:v>
                </c:pt>
                <c:pt idx="1274">
                  <c:v>41446</c:v>
                </c:pt>
                <c:pt idx="1275">
                  <c:v>41449</c:v>
                </c:pt>
                <c:pt idx="1276">
                  <c:v>41450</c:v>
                </c:pt>
                <c:pt idx="1277">
                  <c:v>41451</c:v>
                </c:pt>
                <c:pt idx="1278">
                  <c:v>41452</c:v>
                </c:pt>
                <c:pt idx="1279">
                  <c:v>41453</c:v>
                </c:pt>
                <c:pt idx="1280">
                  <c:v>41456</c:v>
                </c:pt>
                <c:pt idx="1281">
                  <c:v>41457</c:v>
                </c:pt>
                <c:pt idx="1282">
                  <c:v>41458</c:v>
                </c:pt>
                <c:pt idx="1283">
                  <c:v>41460</c:v>
                </c:pt>
                <c:pt idx="1284">
                  <c:v>41463</c:v>
                </c:pt>
                <c:pt idx="1285">
                  <c:v>41464</c:v>
                </c:pt>
                <c:pt idx="1286">
                  <c:v>41465</c:v>
                </c:pt>
                <c:pt idx="1287">
                  <c:v>41466</c:v>
                </c:pt>
                <c:pt idx="1288">
                  <c:v>41467</c:v>
                </c:pt>
                <c:pt idx="1289">
                  <c:v>41470</c:v>
                </c:pt>
                <c:pt idx="1290">
                  <c:v>41471</c:v>
                </c:pt>
                <c:pt idx="1291">
                  <c:v>41472</c:v>
                </c:pt>
                <c:pt idx="1292">
                  <c:v>41473</c:v>
                </c:pt>
                <c:pt idx="1293">
                  <c:v>41474</c:v>
                </c:pt>
                <c:pt idx="1294">
                  <c:v>41477</c:v>
                </c:pt>
                <c:pt idx="1295">
                  <c:v>41478</c:v>
                </c:pt>
                <c:pt idx="1296">
                  <c:v>41479</c:v>
                </c:pt>
                <c:pt idx="1297">
                  <c:v>41480</c:v>
                </c:pt>
                <c:pt idx="1298">
                  <c:v>41481</c:v>
                </c:pt>
                <c:pt idx="1299">
                  <c:v>41484</c:v>
                </c:pt>
                <c:pt idx="1300">
                  <c:v>41485</c:v>
                </c:pt>
                <c:pt idx="1301">
                  <c:v>41486</c:v>
                </c:pt>
                <c:pt idx="1302">
                  <c:v>41487</c:v>
                </c:pt>
                <c:pt idx="1303">
                  <c:v>41488</c:v>
                </c:pt>
                <c:pt idx="1304">
                  <c:v>41491</c:v>
                </c:pt>
                <c:pt idx="1305">
                  <c:v>41492</c:v>
                </c:pt>
                <c:pt idx="1306">
                  <c:v>41493</c:v>
                </c:pt>
                <c:pt idx="1307">
                  <c:v>41494</c:v>
                </c:pt>
                <c:pt idx="1308">
                  <c:v>41495</c:v>
                </c:pt>
                <c:pt idx="1309">
                  <c:v>41498</c:v>
                </c:pt>
                <c:pt idx="1310">
                  <c:v>41499</c:v>
                </c:pt>
                <c:pt idx="1311">
                  <c:v>41500</c:v>
                </c:pt>
                <c:pt idx="1312">
                  <c:v>41501</c:v>
                </c:pt>
                <c:pt idx="1313">
                  <c:v>41502</c:v>
                </c:pt>
                <c:pt idx="1314">
                  <c:v>41505</c:v>
                </c:pt>
                <c:pt idx="1315">
                  <c:v>41506</c:v>
                </c:pt>
                <c:pt idx="1316">
                  <c:v>41507</c:v>
                </c:pt>
                <c:pt idx="1317">
                  <c:v>41508</c:v>
                </c:pt>
                <c:pt idx="1318">
                  <c:v>41509</c:v>
                </c:pt>
                <c:pt idx="1319">
                  <c:v>41512</c:v>
                </c:pt>
                <c:pt idx="1320">
                  <c:v>41513</c:v>
                </c:pt>
                <c:pt idx="1321">
                  <c:v>41514</c:v>
                </c:pt>
                <c:pt idx="1322">
                  <c:v>41515</c:v>
                </c:pt>
                <c:pt idx="1323">
                  <c:v>41516</c:v>
                </c:pt>
                <c:pt idx="1324">
                  <c:v>41520</c:v>
                </c:pt>
                <c:pt idx="1325">
                  <c:v>41521</c:v>
                </c:pt>
                <c:pt idx="1326">
                  <c:v>41522</c:v>
                </c:pt>
                <c:pt idx="1327">
                  <c:v>41523</c:v>
                </c:pt>
                <c:pt idx="1328">
                  <c:v>41526</c:v>
                </c:pt>
                <c:pt idx="1329">
                  <c:v>41527</c:v>
                </c:pt>
                <c:pt idx="1330">
                  <c:v>41528</c:v>
                </c:pt>
                <c:pt idx="1331">
                  <c:v>41529</c:v>
                </c:pt>
                <c:pt idx="1332">
                  <c:v>41530</c:v>
                </c:pt>
                <c:pt idx="1333">
                  <c:v>41533</c:v>
                </c:pt>
                <c:pt idx="1334">
                  <c:v>41534</c:v>
                </c:pt>
                <c:pt idx="1335">
                  <c:v>41535</c:v>
                </c:pt>
                <c:pt idx="1336">
                  <c:v>41536</c:v>
                </c:pt>
                <c:pt idx="1337">
                  <c:v>41537</c:v>
                </c:pt>
                <c:pt idx="1338">
                  <c:v>41540</c:v>
                </c:pt>
                <c:pt idx="1339">
                  <c:v>41541</c:v>
                </c:pt>
                <c:pt idx="1340">
                  <c:v>41542</c:v>
                </c:pt>
                <c:pt idx="1341">
                  <c:v>41543</c:v>
                </c:pt>
                <c:pt idx="1342">
                  <c:v>41544</c:v>
                </c:pt>
                <c:pt idx="1343">
                  <c:v>41547</c:v>
                </c:pt>
                <c:pt idx="1344">
                  <c:v>41548</c:v>
                </c:pt>
                <c:pt idx="1345">
                  <c:v>41549</c:v>
                </c:pt>
                <c:pt idx="1346">
                  <c:v>41550</c:v>
                </c:pt>
                <c:pt idx="1347">
                  <c:v>41551</c:v>
                </c:pt>
                <c:pt idx="1348">
                  <c:v>41554</c:v>
                </c:pt>
                <c:pt idx="1349">
                  <c:v>41555</c:v>
                </c:pt>
                <c:pt idx="1350">
                  <c:v>41556</c:v>
                </c:pt>
                <c:pt idx="1351">
                  <c:v>41557</c:v>
                </c:pt>
                <c:pt idx="1352">
                  <c:v>41558</c:v>
                </c:pt>
                <c:pt idx="1353">
                  <c:v>41561</c:v>
                </c:pt>
                <c:pt idx="1354">
                  <c:v>41562</c:v>
                </c:pt>
                <c:pt idx="1355">
                  <c:v>41563</c:v>
                </c:pt>
                <c:pt idx="1356">
                  <c:v>41564</c:v>
                </c:pt>
                <c:pt idx="1357">
                  <c:v>41565</c:v>
                </c:pt>
                <c:pt idx="1358">
                  <c:v>41568</c:v>
                </c:pt>
                <c:pt idx="1359">
                  <c:v>41569</c:v>
                </c:pt>
                <c:pt idx="1360">
                  <c:v>41570</c:v>
                </c:pt>
                <c:pt idx="1361">
                  <c:v>41571</c:v>
                </c:pt>
                <c:pt idx="1362">
                  <c:v>41572</c:v>
                </c:pt>
                <c:pt idx="1363">
                  <c:v>41575</c:v>
                </c:pt>
                <c:pt idx="1364">
                  <c:v>41576</c:v>
                </c:pt>
                <c:pt idx="1365">
                  <c:v>41577</c:v>
                </c:pt>
                <c:pt idx="1366">
                  <c:v>41578</c:v>
                </c:pt>
                <c:pt idx="1367">
                  <c:v>41579</c:v>
                </c:pt>
                <c:pt idx="1368">
                  <c:v>41582</c:v>
                </c:pt>
                <c:pt idx="1369">
                  <c:v>41583</c:v>
                </c:pt>
                <c:pt idx="1370">
                  <c:v>41584</c:v>
                </c:pt>
                <c:pt idx="1371">
                  <c:v>41585</c:v>
                </c:pt>
                <c:pt idx="1372">
                  <c:v>41586</c:v>
                </c:pt>
                <c:pt idx="1373">
                  <c:v>41589</c:v>
                </c:pt>
                <c:pt idx="1374">
                  <c:v>41590</c:v>
                </c:pt>
                <c:pt idx="1375">
                  <c:v>41591</c:v>
                </c:pt>
                <c:pt idx="1376">
                  <c:v>41592</c:v>
                </c:pt>
                <c:pt idx="1377">
                  <c:v>41593</c:v>
                </c:pt>
                <c:pt idx="1378">
                  <c:v>41596</c:v>
                </c:pt>
                <c:pt idx="1379">
                  <c:v>41597</c:v>
                </c:pt>
                <c:pt idx="1380">
                  <c:v>41598</c:v>
                </c:pt>
                <c:pt idx="1381">
                  <c:v>41599</c:v>
                </c:pt>
                <c:pt idx="1382">
                  <c:v>41600</c:v>
                </c:pt>
                <c:pt idx="1383">
                  <c:v>41603</c:v>
                </c:pt>
                <c:pt idx="1384">
                  <c:v>41604</c:v>
                </c:pt>
                <c:pt idx="1385">
                  <c:v>41605</c:v>
                </c:pt>
                <c:pt idx="1386">
                  <c:v>41607</c:v>
                </c:pt>
                <c:pt idx="1387">
                  <c:v>41610</c:v>
                </c:pt>
                <c:pt idx="1388">
                  <c:v>41611</c:v>
                </c:pt>
                <c:pt idx="1389">
                  <c:v>41612</c:v>
                </c:pt>
                <c:pt idx="1390">
                  <c:v>41613</c:v>
                </c:pt>
                <c:pt idx="1391">
                  <c:v>41614</c:v>
                </c:pt>
                <c:pt idx="1392">
                  <c:v>41617</c:v>
                </c:pt>
                <c:pt idx="1393">
                  <c:v>41618</c:v>
                </c:pt>
                <c:pt idx="1394">
                  <c:v>41619</c:v>
                </c:pt>
                <c:pt idx="1395">
                  <c:v>41620</c:v>
                </c:pt>
                <c:pt idx="1396">
                  <c:v>41621</c:v>
                </c:pt>
                <c:pt idx="1397">
                  <c:v>41624</c:v>
                </c:pt>
                <c:pt idx="1398">
                  <c:v>41625</c:v>
                </c:pt>
                <c:pt idx="1399">
                  <c:v>41626</c:v>
                </c:pt>
                <c:pt idx="1400">
                  <c:v>41627</c:v>
                </c:pt>
                <c:pt idx="1401">
                  <c:v>41628</c:v>
                </c:pt>
                <c:pt idx="1402">
                  <c:v>41631</c:v>
                </c:pt>
                <c:pt idx="1403">
                  <c:v>41632</c:v>
                </c:pt>
                <c:pt idx="1404">
                  <c:v>41634</c:v>
                </c:pt>
                <c:pt idx="1405">
                  <c:v>41635</c:v>
                </c:pt>
                <c:pt idx="1406">
                  <c:v>41638</c:v>
                </c:pt>
                <c:pt idx="1407">
                  <c:v>41639</c:v>
                </c:pt>
                <c:pt idx="1408">
                  <c:v>41641</c:v>
                </c:pt>
                <c:pt idx="1409">
                  <c:v>41642</c:v>
                </c:pt>
                <c:pt idx="1410">
                  <c:v>41645</c:v>
                </c:pt>
                <c:pt idx="1411">
                  <c:v>41646</c:v>
                </c:pt>
                <c:pt idx="1412">
                  <c:v>41647</c:v>
                </c:pt>
                <c:pt idx="1413">
                  <c:v>41648</c:v>
                </c:pt>
                <c:pt idx="1414">
                  <c:v>41649</c:v>
                </c:pt>
                <c:pt idx="1415">
                  <c:v>41652</c:v>
                </c:pt>
                <c:pt idx="1416">
                  <c:v>41653</c:v>
                </c:pt>
                <c:pt idx="1417">
                  <c:v>41654</c:v>
                </c:pt>
                <c:pt idx="1418">
                  <c:v>41655</c:v>
                </c:pt>
                <c:pt idx="1419">
                  <c:v>41656</c:v>
                </c:pt>
                <c:pt idx="1420">
                  <c:v>41660</c:v>
                </c:pt>
                <c:pt idx="1421">
                  <c:v>41661</c:v>
                </c:pt>
                <c:pt idx="1422">
                  <c:v>41662</c:v>
                </c:pt>
                <c:pt idx="1423">
                  <c:v>41663</c:v>
                </c:pt>
                <c:pt idx="1424">
                  <c:v>41666</c:v>
                </c:pt>
                <c:pt idx="1425">
                  <c:v>41667</c:v>
                </c:pt>
                <c:pt idx="1426">
                  <c:v>41668</c:v>
                </c:pt>
                <c:pt idx="1427">
                  <c:v>41669</c:v>
                </c:pt>
                <c:pt idx="1428">
                  <c:v>41670</c:v>
                </c:pt>
                <c:pt idx="1429">
                  <c:v>41673</c:v>
                </c:pt>
                <c:pt idx="1430">
                  <c:v>41674</c:v>
                </c:pt>
                <c:pt idx="1431">
                  <c:v>41675</c:v>
                </c:pt>
                <c:pt idx="1432">
                  <c:v>41676</c:v>
                </c:pt>
                <c:pt idx="1433">
                  <c:v>41677</c:v>
                </c:pt>
                <c:pt idx="1434">
                  <c:v>41680</c:v>
                </c:pt>
                <c:pt idx="1435">
                  <c:v>41681</c:v>
                </c:pt>
                <c:pt idx="1436">
                  <c:v>41682</c:v>
                </c:pt>
                <c:pt idx="1437">
                  <c:v>41683</c:v>
                </c:pt>
                <c:pt idx="1438">
                  <c:v>41684</c:v>
                </c:pt>
                <c:pt idx="1439">
                  <c:v>41688</c:v>
                </c:pt>
                <c:pt idx="1440">
                  <c:v>41689</c:v>
                </c:pt>
                <c:pt idx="1441">
                  <c:v>41690</c:v>
                </c:pt>
                <c:pt idx="1442">
                  <c:v>41691</c:v>
                </c:pt>
                <c:pt idx="1443">
                  <c:v>41694</c:v>
                </c:pt>
                <c:pt idx="1444">
                  <c:v>41695</c:v>
                </c:pt>
                <c:pt idx="1445">
                  <c:v>41696</c:v>
                </c:pt>
                <c:pt idx="1446">
                  <c:v>41697</c:v>
                </c:pt>
                <c:pt idx="1447">
                  <c:v>41698</c:v>
                </c:pt>
                <c:pt idx="1448">
                  <c:v>41701</c:v>
                </c:pt>
                <c:pt idx="1449">
                  <c:v>41702</c:v>
                </c:pt>
                <c:pt idx="1450">
                  <c:v>41703</c:v>
                </c:pt>
                <c:pt idx="1451">
                  <c:v>41704</c:v>
                </c:pt>
                <c:pt idx="1452">
                  <c:v>41705</c:v>
                </c:pt>
                <c:pt idx="1453">
                  <c:v>41708</c:v>
                </c:pt>
                <c:pt idx="1454">
                  <c:v>41709</c:v>
                </c:pt>
                <c:pt idx="1455">
                  <c:v>41710</c:v>
                </c:pt>
                <c:pt idx="1456">
                  <c:v>41711</c:v>
                </c:pt>
                <c:pt idx="1457">
                  <c:v>41712</c:v>
                </c:pt>
                <c:pt idx="1458">
                  <c:v>41715</c:v>
                </c:pt>
                <c:pt idx="1459">
                  <c:v>41716</c:v>
                </c:pt>
                <c:pt idx="1460">
                  <c:v>41717</c:v>
                </c:pt>
                <c:pt idx="1461">
                  <c:v>41718</c:v>
                </c:pt>
                <c:pt idx="1462">
                  <c:v>41719</c:v>
                </c:pt>
                <c:pt idx="1463">
                  <c:v>41722</c:v>
                </c:pt>
                <c:pt idx="1464">
                  <c:v>41723</c:v>
                </c:pt>
                <c:pt idx="1465">
                  <c:v>41724</c:v>
                </c:pt>
                <c:pt idx="1466">
                  <c:v>41725</c:v>
                </c:pt>
                <c:pt idx="1467">
                  <c:v>41726</c:v>
                </c:pt>
                <c:pt idx="1468">
                  <c:v>41729</c:v>
                </c:pt>
                <c:pt idx="1469">
                  <c:v>41730</c:v>
                </c:pt>
                <c:pt idx="1470">
                  <c:v>41731</c:v>
                </c:pt>
                <c:pt idx="1471">
                  <c:v>41732</c:v>
                </c:pt>
                <c:pt idx="1472">
                  <c:v>41733</c:v>
                </c:pt>
                <c:pt idx="1473">
                  <c:v>41736</c:v>
                </c:pt>
                <c:pt idx="1474">
                  <c:v>41737</c:v>
                </c:pt>
                <c:pt idx="1475">
                  <c:v>41738</c:v>
                </c:pt>
                <c:pt idx="1476">
                  <c:v>41739</c:v>
                </c:pt>
                <c:pt idx="1477">
                  <c:v>41740</c:v>
                </c:pt>
                <c:pt idx="1478">
                  <c:v>41743</c:v>
                </c:pt>
                <c:pt idx="1479">
                  <c:v>41744</c:v>
                </c:pt>
                <c:pt idx="1480">
                  <c:v>41745</c:v>
                </c:pt>
                <c:pt idx="1481">
                  <c:v>41746</c:v>
                </c:pt>
                <c:pt idx="1482">
                  <c:v>41750</c:v>
                </c:pt>
                <c:pt idx="1483">
                  <c:v>41751</c:v>
                </c:pt>
                <c:pt idx="1484">
                  <c:v>41752</c:v>
                </c:pt>
                <c:pt idx="1485">
                  <c:v>41753</c:v>
                </c:pt>
                <c:pt idx="1486">
                  <c:v>41754</c:v>
                </c:pt>
                <c:pt idx="1487">
                  <c:v>41757</c:v>
                </c:pt>
                <c:pt idx="1488">
                  <c:v>41758</c:v>
                </c:pt>
                <c:pt idx="1489">
                  <c:v>41759</c:v>
                </c:pt>
                <c:pt idx="1490">
                  <c:v>41760</c:v>
                </c:pt>
                <c:pt idx="1491">
                  <c:v>41761</c:v>
                </c:pt>
                <c:pt idx="1492">
                  <c:v>41764</c:v>
                </c:pt>
                <c:pt idx="1493">
                  <c:v>41765</c:v>
                </c:pt>
                <c:pt idx="1494">
                  <c:v>41766</c:v>
                </c:pt>
                <c:pt idx="1495">
                  <c:v>41767</c:v>
                </c:pt>
                <c:pt idx="1496">
                  <c:v>41768</c:v>
                </c:pt>
                <c:pt idx="1497">
                  <c:v>41771</c:v>
                </c:pt>
                <c:pt idx="1498">
                  <c:v>41772</c:v>
                </c:pt>
                <c:pt idx="1499">
                  <c:v>41773</c:v>
                </c:pt>
                <c:pt idx="1500">
                  <c:v>41774</c:v>
                </c:pt>
                <c:pt idx="1501">
                  <c:v>41775</c:v>
                </c:pt>
                <c:pt idx="1502">
                  <c:v>41778</c:v>
                </c:pt>
                <c:pt idx="1503">
                  <c:v>41779</c:v>
                </c:pt>
                <c:pt idx="1504">
                  <c:v>41780</c:v>
                </c:pt>
                <c:pt idx="1505">
                  <c:v>41781</c:v>
                </c:pt>
                <c:pt idx="1506">
                  <c:v>41782</c:v>
                </c:pt>
                <c:pt idx="1507">
                  <c:v>41786</c:v>
                </c:pt>
                <c:pt idx="1508">
                  <c:v>41787</c:v>
                </c:pt>
                <c:pt idx="1509">
                  <c:v>41788</c:v>
                </c:pt>
                <c:pt idx="1510">
                  <c:v>41789</c:v>
                </c:pt>
                <c:pt idx="1511">
                  <c:v>41792</c:v>
                </c:pt>
                <c:pt idx="1512">
                  <c:v>41793</c:v>
                </c:pt>
                <c:pt idx="1513">
                  <c:v>41794</c:v>
                </c:pt>
                <c:pt idx="1514">
                  <c:v>41795</c:v>
                </c:pt>
                <c:pt idx="1515">
                  <c:v>41796</c:v>
                </c:pt>
                <c:pt idx="1516">
                  <c:v>41799</c:v>
                </c:pt>
                <c:pt idx="1517">
                  <c:v>41800</c:v>
                </c:pt>
                <c:pt idx="1518">
                  <c:v>41801</c:v>
                </c:pt>
                <c:pt idx="1519">
                  <c:v>41802</c:v>
                </c:pt>
                <c:pt idx="1520">
                  <c:v>41803</c:v>
                </c:pt>
                <c:pt idx="1521">
                  <c:v>41806</c:v>
                </c:pt>
                <c:pt idx="1522">
                  <c:v>41807</c:v>
                </c:pt>
                <c:pt idx="1523">
                  <c:v>41808</c:v>
                </c:pt>
                <c:pt idx="1524">
                  <c:v>41809</c:v>
                </c:pt>
                <c:pt idx="1525">
                  <c:v>41810</c:v>
                </c:pt>
                <c:pt idx="1526">
                  <c:v>41813</c:v>
                </c:pt>
                <c:pt idx="1527">
                  <c:v>41814</c:v>
                </c:pt>
                <c:pt idx="1528">
                  <c:v>41815</c:v>
                </c:pt>
                <c:pt idx="1529">
                  <c:v>41816</c:v>
                </c:pt>
                <c:pt idx="1530">
                  <c:v>41817</c:v>
                </c:pt>
                <c:pt idx="1531">
                  <c:v>41820</c:v>
                </c:pt>
                <c:pt idx="1532">
                  <c:v>41821</c:v>
                </c:pt>
                <c:pt idx="1533">
                  <c:v>41822</c:v>
                </c:pt>
                <c:pt idx="1534">
                  <c:v>41823</c:v>
                </c:pt>
                <c:pt idx="1535">
                  <c:v>41827</c:v>
                </c:pt>
                <c:pt idx="1536">
                  <c:v>41828</c:v>
                </c:pt>
                <c:pt idx="1537">
                  <c:v>41829</c:v>
                </c:pt>
                <c:pt idx="1538">
                  <c:v>41830</c:v>
                </c:pt>
                <c:pt idx="1539">
                  <c:v>41831</c:v>
                </c:pt>
                <c:pt idx="1540">
                  <c:v>41834</c:v>
                </c:pt>
                <c:pt idx="1541">
                  <c:v>41835</c:v>
                </c:pt>
                <c:pt idx="1542">
                  <c:v>41836</c:v>
                </c:pt>
                <c:pt idx="1543">
                  <c:v>41837</c:v>
                </c:pt>
                <c:pt idx="1544">
                  <c:v>41838</c:v>
                </c:pt>
                <c:pt idx="1545">
                  <c:v>41841</c:v>
                </c:pt>
                <c:pt idx="1546">
                  <c:v>41842</c:v>
                </c:pt>
                <c:pt idx="1547">
                  <c:v>41843</c:v>
                </c:pt>
                <c:pt idx="1548">
                  <c:v>41844</c:v>
                </c:pt>
                <c:pt idx="1549">
                  <c:v>41845</c:v>
                </c:pt>
                <c:pt idx="1550">
                  <c:v>41848</c:v>
                </c:pt>
                <c:pt idx="1551">
                  <c:v>41849</c:v>
                </c:pt>
                <c:pt idx="1552">
                  <c:v>41850</c:v>
                </c:pt>
                <c:pt idx="1553">
                  <c:v>41851</c:v>
                </c:pt>
                <c:pt idx="1554">
                  <c:v>41852</c:v>
                </c:pt>
                <c:pt idx="1555">
                  <c:v>41855</c:v>
                </c:pt>
                <c:pt idx="1556">
                  <c:v>41856</c:v>
                </c:pt>
                <c:pt idx="1557">
                  <c:v>41857</c:v>
                </c:pt>
                <c:pt idx="1558">
                  <c:v>41858</c:v>
                </c:pt>
                <c:pt idx="1559">
                  <c:v>41859</c:v>
                </c:pt>
                <c:pt idx="1560">
                  <c:v>41862</c:v>
                </c:pt>
                <c:pt idx="1561">
                  <c:v>41863</c:v>
                </c:pt>
                <c:pt idx="1562">
                  <c:v>41864</c:v>
                </c:pt>
                <c:pt idx="1563">
                  <c:v>41865</c:v>
                </c:pt>
                <c:pt idx="1564">
                  <c:v>41866</c:v>
                </c:pt>
                <c:pt idx="1565">
                  <c:v>41869</c:v>
                </c:pt>
                <c:pt idx="1566">
                  <c:v>41870</c:v>
                </c:pt>
                <c:pt idx="1567">
                  <c:v>41871</c:v>
                </c:pt>
                <c:pt idx="1568">
                  <c:v>41872</c:v>
                </c:pt>
                <c:pt idx="1569">
                  <c:v>41873</c:v>
                </c:pt>
                <c:pt idx="1570">
                  <c:v>41876</c:v>
                </c:pt>
                <c:pt idx="1571">
                  <c:v>41877</c:v>
                </c:pt>
                <c:pt idx="1572">
                  <c:v>41878</c:v>
                </c:pt>
                <c:pt idx="1573">
                  <c:v>41879</c:v>
                </c:pt>
                <c:pt idx="1574">
                  <c:v>41880</c:v>
                </c:pt>
                <c:pt idx="1575">
                  <c:v>41884</c:v>
                </c:pt>
                <c:pt idx="1576">
                  <c:v>41885</c:v>
                </c:pt>
                <c:pt idx="1577">
                  <c:v>41886</c:v>
                </c:pt>
                <c:pt idx="1578">
                  <c:v>41887</c:v>
                </c:pt>
                <c:pt idx="1579">
                  <c:v>41890</c:v>
                </c:pt>
                <c:pt idx="1580">
                  <c:v>41891</c:v>
                </c:pt>
                <c:pt idx="1581">
                  <c:v>41892</c:v>
                </c:pt>
                <c:pt idx="1582">
                  <c:v>41893</c:v>
                </c:pt>
                <c:pt idx="1583">
                  <c:v>41894</c:v>
                </c:pt>
                <c:pt idx="1584">
                  <c:v>41897</c:v>
                </c:pt>
                <c:pt idx="1585">
                  <c:v>41898</c:v>
                </c:pt>
                <c:pt idx="1586">
                  <c:v>41899</c:v>
                </c:pt>
                <c:pt idx="1587">
                  <c:v>41900</c:v>
                </c:pt>
                <c:pt idx="1588">
                  <c:v>41901</c:v>
                </c:pt>
                <c:pt idx="1589">
                  <c:v>41904</c:v>
                </c:pt>
                <c:pt idx="1590">
                  <c:v>41905</c:v>
                </c:pt>
                <c:pt idx="1591">
                  <c:v>41906</c:v>
                </c:pt>
                <c:pt idx="1592">
                  <c:v>41907</c:v>
                </c:pt>
                <c:pt idx="1593">
                  <c:v>41908</c:v>
                </c:pt>
                <c:pt idx="1594">
                  <c:v>41911</c:v>
                </c:pt>
                <c:pt idx="1595">
                  <c:v>41912</c:v>
                </c:pt>
                <c:pt idx="1596">
                  <c:v>41913</c:v>
                </c:pt>
                <c:pt idx="1597">
                  <c:v>41914</c:v>
                </c:pt>
                <c:pt idx="1598">
                  <c:v>41915</c:v>
                </c:pt>
                <c:pt idx="1599">
                  <c:v>41918</c:v>
                </c:pt>
                <c:pt idx="1600">
                  <c:v>41919</c:v>
                </c:pt>
                <c:pt idx="1601">
                  <c:v>41920</c:v>
                </c:pt>
                <c:pt idx="1602">
                  <c:v>41921</c:v>
                </c:pt>
                <c:pt idx="1603">
                  <c:v>41922</c:v>
                </c:pt>
                <c:pt idx="1604">
                  <c:v>41925</c:v>
                </c:pt>
                <c:pt idx="1605">
                  <c:v>41926</c:v>
                </c:pt>
                <c:pt idx="1606">
                  <c:v>41927</c:v>
                </c:pt>
                <c:pt idx="1607">
                  <c:v>41928</c:v>
                </c:pt>
                <c:pt idx="1608">
                  <c:v>41929</c:v>
                </c:pt>
                <c:pt idx="1609">
                  <c:v>41932</c:v>
                </c:pt>
                <c:pt idx="1610">
                  <c:v>41933</c:v>
                </c:pt>
                <c:pt idx="1611">
                  <c:v>41934</c:v>
                </c:pt>
                <c:pt idx="1612">
                  <c:v>41935</c:v>
                </c:pt>
                <c:pt idx="1613">
                  <c:v>41936</c:v>
                </c:pt>
                <c:pt idx="1614">
                  <c:v>41939</c:v>
                </c:pt>
                <c:pt idx="1615">
                  <c:v>41940</c:v>
                </c:pt>
                <c:pt idx="1616">
                  <c:v>41941</c:v>
                </c:pt>
                <c:pt idx="1617">
                  <c:v>41942</c:v>
                </c:pt>
                <c:pt idx="1618">
                  <c:v>41943</c:v>
                </c:pt>
                <c:pt idx="1619">
                  <c:v>41946</c:v>
                </c:pt>
                <c:pt idx="1620">
                  <c:v>41947</c:v>
                </c:pt>
                <c:pt idx="1621">
                  <c:v>41948</c:v>
                </c:pt>
                <c:pt idx="1622">
                  <c:v>41949</c:v>
                </c:pt>
                <c:pt idx="1623">
                  <c:v>41950</c:v>
                </c:pt>
                <c:pt idx="1624">
                  <c:v>41953</c:v>
                </c:pt>
                <c:pt idx="1625">
                  <c:v>41954</c:v>
                </c:pt>
                <c:pt idx="1626">
                  <c:v>41955</c:v>
                </c:pt>
                <c:pt idx="1627">
                  <c:v>41956</c:v>
                </c:pt>
                <c:pt idx="1628">
                  <c:v>41957</c:v>
                </c:pt>
                <c:pt idx="1629">
                  <c:v>41960</c:v>
                </c:pt>
                <c:pt idx="1630">
                  <c:v>41961</c:v>
                </c:pt>
                <c:pt idx="1631">
                  <c:v>41962</c:v>
                </c:pt>
                <c:pt idx="1632">
                  <c:v>41963</c:v>
                </c:pt>
                <c:pt idx="1633">
                  <c:v>41964</c:v>
                </c:pt>
                <c:pt idx="1634">
                  <c:v>41967</c:v>
                </c:pt>
                <c:pt idx="1635">
                  <c:v>41968</c:v>
                </c:pt>
                <c:pt idx="1636">
                  <c:v>41969</c:v>
                </c:pt>
                <c:pt idx="1637">
                  <c:v>41971</c:v>
                </c:pt>
                <c:pt idx="1638">
                  <c:v>41974</c:v>
                </c:pt>
                <c:pt idx="1639">
                  <c:v>41975</c:v>
                </c:pt>
                <c:pt idx="1640">
                  <c:v>41976</c:v>
                </c:pt>
                <c:pt idx="1641">
                  <c:v>41977</c:v>
                </c:pt>
                <c:pt idx="1642">
                  <c:v>41978</c:v>
                </c:pt>
                <c:pt idx="1643">
                  <c:v>41981</c:v>
                </c:pt>
                <c:pt idx="1644">
                  <c:v>41982</c:v>
                </c:pt>
                <c:pt idx="1645">
                  <c:v>41983</c:v>
                </c:pt>
                <c:pt idx="1646">
                  <c:v>41984</c:v>
                </c:pt>
                <c:pt idx="1647">
                  <c:v>41985</c:v>
                </c:pt>
                <c:pt idx="1648">
                  <c:v>41988</c:v>
                </c:pt>
                <c:pt idx="1649">
                  <c:v>41989</c:v>
                </c:pt>
                <c:pt idx="1650">
                  <c:v>41990</c:v>
                </c:pt>
                <c:pt idx="1651">
                  <c:v>41991</c:v>
                </c:pt>
                <c:pt idx="1652">
                  <c:v>41992</c:v>
                </c:pt>
                <c:pt idx="1653">
                  <c:v>41995</c:v>
                </c:pt>
                <c:pt idx="1654">
                  <c:v>41996</c:v>
                </c:pt>
                <c:pt idx="1655">
                  <c:v>41997</c:v>
                </c:pt>
                <c:pt idx="1656">
                  <c:v>41999</c:v>
                </c:pt>
                <c:pt idx="1657">
                  <c:v>42002</c:v>
                </c:pt>
                <c:pt idx="1658">
                  <c:v>42003</c:v>
                </c:pt>
                <c:pt idx="1659">
                  <c:v>42004</c:v>
                </c:pt>
                <c:pt idx="1660">
                  <c:v>42006</c:v>
                </c:pt>
                <c:pt idx="1661">
                  <c:v>42009</c:v>
                </c:pt>
                <c:pt idx="1662">
                  <c:v>42010</c:v>
                </c:pt>
                <c:pt idx="1663">
                  <c:v>42011</c:v>
                </c:pt>
                <c:pt idx="1664">
                  <c:v>42012</c:v>
                </c:pt>
                <c:pt idx="1665">
                  <c:v>42013</c:v>
                </c:pt>
                <c:pt idx="1666">
                  <c:v>42016</c:v>
                </c:pt>
                <c:pt idx="1667">
                  <c:v>42017</c:v>
                </c:pt>
                <c:pt idx="1668">
                  <c:v>42018</c:v>
                </c:pt>
                <c:pt idx="1669">
                  <c:v>42019</c:v>
                </c:pt>
                <c:pt idx="1670">
                  <c:v>42020</c:v>
                </c:pt>
                <c:pt idx="1671">
                  <c:v>42024</c:v>
                </c:pt>
                <c:pt idx="1672">
                  <c:v>42025</c:v>
                </c:pt>
                <c:pt idx="1673">
                  <c:v>42026</c:v>
                </c:pt>
                <c:pt idx="1674">
                  <c:v>42027</c:v>
                </c:pt>
                <c:pt idx="1675">
                  <c:v>42030</c:v>
                </c:pt>
                <c:pt idx="1676">
                  <c:v>42031</c:v>
                </c:pt>
                <c:pt idx="1677">
                  <c:v>42032</c:v>
                </c:pt>
                <c:pt idx="1678">
                  <c:v>42033</c:v>
                </c:pt>
                <c:pt idx="1679">
                  <c:v>42034</c:v>
                </c:pt>
                <c:pt idx="1680">
                  <c:v>42037</c:v>
                </c:pt>
                <c:pt idx="1681">
                  <c:v>42038</c:v>
                </c:pt>
                <c:pt idx="1682">
                  <c:v>42039</c:v>
                </c:pt>
                <c:pt idx="1683">
                  <c:v>42040</c:v>
                </c:pt>
                <c:pt idx="1684">
                  <c:v>42041</c:v>
                </c:pt>
                <c:pt idx="1685">
                  <c:v>42044</c:v>
                </c:pt>
                <c:pt idx="1686">
                  <c:v>42045</c:v>
                </c:pt>
                <c:pt idx="1687">
                  <c:v>42046</c:v>
                </c:pt>
                <c:pt idx="1688">
                  <c:v>42047</c:v>
                </c:pt>
                <c:pt idx="1689">
                  <c:v>42048</c:v>
                </c:pt>
                <c:pt idx="1690">
                  <c:v>42052</c:v>
                </c:pt>
                <c:pt idx="1691">
                  <c:v>42053</c:v>
                </c:pt>
                <c:pt idx="1692">
                  <c:v>42054</c:v>
                </c:pt>
                <c:pt idx="1693">
                  <c:v>42055</c:v>
                </c:pt>
                <c:pt idx="1694">
                  <c:v>42058</c:v>
                </c:pt>
                <c:pt idx="1695">
                  <c:v>42059</c:v>
                </c:pt>
                <c:pt idx="1696">
                  <c:v>42060</c:v>
                </c:pt>
                <c:pt idx="1697">
                  <c:v>42061</c:v>
                </c:pt>
                <c:pt idx="1698">
                  <c:v>42062</c:v>
                </c:pt>
                <c:pt idx="1699">
                  <c:v>42065</c:v>
                </c:pt>
                <c:pt idx="1700">
                  <c:v>42066</c:v>
                </c:pt>
                <c:pt idx="1701">
                  <c:v>42067</c:v>
                </c:pt>
                <c:pt idx="1702">
                  <c:v>42068</c:v>
                </c:pt>
                <c:pt idx="1703">
                  <c:v>42069</c:v>
                </c:pt>
                <c:pt idx="1704">
                  <c:v>42072</c:v>
                </c:pt>
                <c:pt idx="1705">
                  <c:v>42073</c:v>
                </c:pt>
                <c:pt idx="1706">
                  <c:v>42074</c:v>
                </c:pt>
                <c:pt idx="1707">
                  <c:v>42075</c:v>
                </c:pt>
                <c:pt idx="1708">
                  <c:v>42076</c:v>
                </c:pt>
                <c:pt idx="1709">
                  <c:v>42079</c:v>
                </c:pt>
                <c:pt idx="1710">
                  <c:v>42080</c:v>
                </c:pt>
                <c:pt idx="1711">
                  <c:v>42081</c:v>
                </c:pt>
                <c:pt idx="1712">
                  <c:v>42082</c:v>
                </c:pt>
                <c:pt idx="1713">
                  <c:v>42083</c:v>
                </c:pt>
                <c:pt idx="1714">
                  <c:v>42086</c:v>
                </c:pt>
                <c:pt idx="1715">
                  <c:v>42087</c:v>
                </c:pt>
                <c:pt idx="1716">
                  <c:v>42088</c:v>
                </c:pt>
                <c:pt idx="1717">
                  <c:v>42089</c:v>
                </c:pt>
                <c:pt idx="1718">
                  <c:v>42090</c:v>
                </c:pt>
                <c:pt idx="1719">
                  <c:v>42093</c:v>
                </c:pt>
                <c:pt idx="1720">
                  <c:v>42094</c:v>
                </c:pt>
                <c:pt idx="1721">
                  <c:v>42095</c:v>
                </c:pt>
                <c:pt idx="1722">
                  <c:v>42096</c:v>
                </c:pt>
                <c:pt idx="1723">
                  <c:v>42100</c:v>
                </c:pt>
                <c:pt idx="1724">
                  <c:v>42101</c:v>
                </c:pt>
                <c:pt idx="1725">
                  <c:v>42102</c:v>
                </c:pt>
                <c:pt idx="1726">
                  <c:v>42103</c:v>
                </c:pt>
                <c:pt idx="1727">
                  <c:v>42104</c:v>
                </c:pt>
                <c:pt idx="1728">
                  <c:v>42107</c:v>
                </c:pt>
                <c:pt idx="1729">
                  <c:v>42108</c:v>
                </c:pt>
                <c:pt idx="1730">
                  <c:v>42109</c:v>
                </c:pt>
                <c:pt idx="1731">
                  <c:v>42110</c:v>
                </c:pt>
                <c:pt idx="1732">
                  <c:v>42111</c:v>
                </c:pt>
                <c:pt idx="1733">
                  <c:v>42114</c:v>
                </c:pt>
                <c:pt idx="1734">
                  <c:v>42115</c:v>
                </c:pt>
                <c:pt idx="1735">
                  <c:v>42116</c:v>
                </c:pt>
                <c:pt idx="1736">
                  <c:v>42117</c:v>
                </c:pt>
                <c:pt idx="1737">
                  <c:v>42118</c:v>
                </c:pt>
                <c:pt idx="1738">
                  <c:v>42121</c:v>
                </c:pt>
                <c:pt idx="1739">
                  <c:v>42122</c:v>
                </c:pt>
                <c:pt idx="1740">
                  <c:v>42123</c:v>
                </c:pt>
                <c:pt idx="1741">
                  <c:v>42124</c:v>
                </c:pt>
                <c:pt idx="1742">
                  <c:v>42125</c:v>
                </c:pt>
                <c:pt idx="1743">
                  <c:v>42128</c:v>
                </c:pt>
                <c:pt idx="1744">
                  <c:v>42129</c:v>
                </c:pt>
                <c:pt idx="1745">
                  <c:v>42130</c:v>
                </c:pt>
                <c:pt idx="1746">
                  <c:v>42131</c:v>
                </c:pt>
                <c:pt idx="1747">
                  <c:v>42132</c:v>
                </c:pt>
                <c:pt idx="1748">
                  <c:v>42135</c:v>
                </c:pt>
                <c:pt idx="1749">
                  <c:v>42136</c:v>
                </c:pt>
                <c:pt idx="1750">
                  <c:v>42137</c:v>
                </c:pt>
                <c:pt idx="1751">
                  <c:v>42138</c:v>
                </c:pt>
                <c:pt idx="1752">
                  <c:v>42139</c:v>
                </c:pt>
                <c:pt idx="1753">
                  <c:v>42142</c:v>
                </c:pt>
                <c:pt idx="1754">
                  <c:v>42143</c:v>
                </c:pt>
                <c:pt idx="1755">
                  <c:v>42144</c:v>
                </c:pt>
                <c:pt idx="1756">
                  <c:v>42145</c:v>
                </c:pt>
                <c:pt idx="1757">
                  <c:v>42146</c:v>
                </c:pt>
                <c:pt idx="1758">
                  <c:v>42150</c:v>
                </c:pt>
                <c:pt idx="1759">
                  <c:v>42151</c:v>
                </c:pt>
                <c:pt idx="1760">
                  <c:v>42152</c:v>
                </c:pt>
                <c:pt idx="1761">
                  <c:v>42153</c:v>
                </c:pt>
                <c:pt idx="1762">
                  <c:v>42156</c:v>
                </c:pt>
                <c:pt idx="1763">
                  <c:v>42157</c:v>
                </c:pt>
                <c:pt idx="1764">
                  <c:v>42158</c:v>
                </c:pt>
                <c:pt idx="1765">
                  <c:v>42159</c:v>
                </c:pt>
                <c:pt idx="1766">
                  <c:v>42160</c:v>
                </c:pt>
                <c:pt idx="1767">
                  <c:v>42163</c:v>
                </c:pt>
                <c:pt idx="1768">
                  <c:v>42164</c:v>
                </c:pt>
                <c:pt idx="1769">
                  <c:v>42165</c:v>
                </c:pt>
                <c:pt idx="1770">
                  <c:v>42166</c:v>
                </c:pt>
                <c:pt idx="1771">
                  <c:v>42167</c:v>
                </c:pt>
                <c:pt idx="1772">
                  <c:v>42170</c:v>
                </c:pt>
                <c:pt idx="1773">
                  <c:v>42171</c:v>
                </c:pt>
                <c:pt idx="1774">
                  <c:v>42172</c:v>
                </c:pt>
                <c:pt idx="1775">
                  <c:v>42173</c:v>
                </c:pt>
                <c:pt idx="1776">
                  <c:v>42174</c:v>
                </c:pt>
                <c:pt idx="1777">
                  <c:v>42177</c:v>
                </c:pt>
                <c:pt idx="1778">
                  <c:v>42178</c:v>
                </c:pt>
                <c:pt idx="1779">
                  <c:v>42179</c:v>
                </c:pt>
                <c:pt idx="1780">
                  <c:v>42180</c:v>
                </c:pt>
                <c:pt idx="1781">
                  <c:v>42181</c:v>
                </c:pt>
                <c:pt idx="1782">
                  <c:v>42184</c:v>
                </c:pt>
                <c:pt idx="1783">
                  <c:v>42185</c:v>
                </c:pt>
                <c:pt idx="1784">
                  <c:v>42186</c:v>
                </c:pt>
                <c:pt idx="1785">
                  <c:v>42187</c:v>
                </c:pt>
                <c:pt idx="1786">
                  <c:v>42191</c:v>
                </c:pt>
                <c:pt idx="1787">
                  <c:v>42192</c:v>
                </c:pt>
                <c:pt idx="1788">
                  <c:v>42193</c:v>
                </c:pt>
                <c:pt idx="1789">
                  <c:v>42194</c:v>
                </c:pt>
                <c:pt idx="1790">
                  <c:v>42195</c:v>
                </c:pt>
                <c:pt idx="1791">
                  <c:v>42198</c:v>
                </c:pt>
                <c:pt idx="1792">
                  <c:v>42199</c:v>
                </c:pt>
                <c:pt idx="1793">
                  <c:v>42200</c:v>
                </c:pt>
                <c:pt idx="1794">
                  <c:v>42201</c:v>
                </c:pt>
                <c:pt idx="1795">
                  <c:v>42202</c:v>
                </c:pt>
                <c:pt idx="1796">
                  <c:v>42205</c:v>
                </c:pt>
                <c:pt idx="1797">
                  <c:v>42206</c:v>
                </c:pt>
                <c:pt idx="1798">
                  <c:v>42207</c:v>
                </c:pt>
                <c:pt idx="1799">
                  <c:v>42208</c:v>
                </c:pt>
                <c:pt idx="1800">
                  <c:v>42209</c:v>
                </c:pt>
                <c:pt idx="1801">
                  <c:v>42212</c:v>
                </c:pt>
                <c:pt idx="1802">
                  <c:v>42213</c:v>
                </c:pt>
                <c:pt idx="1803">
                  <c:v>42214</c:v>
                </c:pt>
                <c:pt idx="1804">
                  <c:v>42215</c:v>
                </c:pt>
                <c:pt idx="1805">
                  <c:v>42216</c:v>
                </c:pt>
                <c:pt idx="1806">
                  <c:v>42219</c:v>
                </c:pt>
                <c:pt idx="1807">
                  <c:v>42220</c:v>
                </c:pt>
                <c:pt idx="1808">
                  <c:v>42221</c:v>
                </c:pt>
                <c:pt idx="1809">
                  <c:v>42222</c:v>
                </c:pt>
                <c:pt idx="1810">
                  <c:v>42223</c:v>
                </c:pt>
                <c:pt idx="1811">
                  <c:v>42226</c:v>
                </c:pt>
                <c:pt idx="1812">
                  <c:v>42227</c:v>
                </c:pt>
                <c:pt idx="1813">
                  <c:v>42228</c:v>
                </c:pt>
                <c:pt idx="1814">
                  <c:v>42229</c:v>
                </c:pt>
                <c:pt idx="1815">
                  <c:v>42230</c:v>
                </c:pt>
                <c:pt idx="1816">
                  <c:v>42233</c:v>
                </c:pt>
                <c:pt idx="1817">
                  <c:v>42234</c:v>
                </c:pt>
                <c:pt idx="1818">
                  <c:v>42235</c:v>
                </c:pt>
                <c:pt idx="1819">
                  <c:v>42236</c:v>
                </c:pt>
                <c:pt idx="1820">
                  <c:v>42237</c:v>
                </c:pt>
                <c:pt idx="1821">
                  <c:v>42240</c:v>
                </c:pt>
                <c:pt idx="1822">
                  <c:v>42241</c:v>
                </c:pt>
                <c:pt idx="1823">
                  <c:v>42242</c:v>
                </c:pt>
                <c:pt idx="1824">
                  <c:v>42243</c:v>
                </c:pt>
                <c:pt idx="1825">
                  <c:v>42244</c:v>
                </c:pt>
                <c:pt idx="1826">
                  <c:v>42247</c:v>
                </c:pt>
                <c:pt idx="1827">
                  <c:v>42248</c:v>
                </c:pt>
                <c:pt idx="1828">
                  <c:v>42249</c:v>
                </c:pt>
                <c:pt idx="1829">
                  <c:v>42250</c:v>
                </c:pt>
                <c:pt idx="1830">
                  <c:v>42251</c:v>
                </c:pt>
                <c:pt idx="1831">
                  <c:v>42255</c:v>
                </c:pt>
                <c:pt idx="1832">
                  <c:v>42256</c:v>
                </c:pt>
                <c:pt idx="1833">
                  <c:v>42257</c:v>
                </c:pt>
                <c:pt idx="1834">
                  <c:v>42258</c:v>
                </c:pt>
                <c:pt idx="1835">
                  <c:v>42261</c:v>
                </c:pt>
                <c:pt idx="1836">
                  <c:v>42262</c:v>
                </c:pt>
                <c:pt idx="1837">
                  <c:v>42263</c:v>
                </c:pt>
                <c:pt idx="1838">
                  <c:v>42264</c:v>
                </c:pt>
                <c:pt idx="1839">
                  <c:v>42265</c:v>
                </c:pt>
                <c:pt idx="1840">
                  <c:v>42268</c:v>
                </c:pt>
                <c:pt idx="1841">
                  <c:v>42269</c:v>
                </c:pt>
                <c:pt idx="1842">
                  <c:v>42270</c:v>
                </c:pt>
                <c:pt idx="1843">
                  <c:v>42271</c:v>
                </c:pt>
                <c:pt idx="1844">
                  <c:v>42272</c:v>
                </c:pt>
                <c:pt idx="1845">
                  <c:v>42275</c:v>
                </c:pt>
                <c:pt idx="1846">
                  <c:v>42276</c:v>
                </c:pt>
                <c:pt idx="1847">
                  <c:v>42277</c:v>
                </c:pt>
                <c:pt idx="1848">
                  <c:v>42278</c:v>
                </c:pt>
                <c:pt idx="1849">
                  <c:v>42279</c:v>
                </c:pt>
                <c:pt idx="1850">
                  <c:v>42282</c:v>
                </c:pt>
                <c:pt idx="1851">
                  <c:v>42283</c:v>
                </c:pt>
                <c:pt idx="1852">
                  <c:v>42284</c:v>
                </c:pt>
                <c:pt idx="1853">
                  <c:v>42285</c:v>
                </c:pt>
                <c:pt idx="1854">
                  <c:v>42286</c:v>
                </c:pt>
                <c:pt idx="1855">
                  <c:v>42289</c:v>
                </c:pt>
                <c:pt idx="1856">
                  <c:v>42290</c:v>
                </c:pt>
                <c:pt idx="1857">
                  <c:v>42291</c:v>
                </c:pt>
                <c:pt idx="1858">
                  <c:v>42292</c:v>
                </c:pt>
                <c:pt idx="1859">
                  <c:v>42293</c:v>
                </c:pt>
                <c:pt idx="1860">
                  <c:v>42296</c:v>
                </c:pt>
                <c:pt idx="1861">
                  <c:v>42297</c:v>
                </c:pt>
                <c:pt idx="1862">
                  <c:v>42298</c:v>
                </c:pt>
                <c:pt idx="1863">
                  <c:v>42299</c:v>
                </c:pt>
                <c:pt idx="1864">
                  <c:v>42300</c:v>
                </c:pt>
                <c:pt idx="1865">
                  <c:v>42303</c:v>
                </c:pt>
                <c:pt idx="1866">
                  <c:v>42304</c:v>
                </c:pt>
                <c:pt idx="1867">
                  <c:v>42305</c:v>
                </c:pt>
                <c:pt idx="1868">
                  <c:v>42306</c:v>
                </c:pt>
                <c:pt idx="1869">
                  <c:v>42307</c:v>
                </c:pt>
                <c:pt idx="1870">
                  <c:v>42310</c:v>
                </c:pt>
                <c:pt idx="1871">
                  <c:v>42311</c:v>
                </c:pt>
                <c:pt idx="1872">
                  <c:v>42312</c:v>
                </c:pt>
                <c:pt idx="1873">
                  <c:v>42313</c:v>
                </c:pt>
                <c:pt idx="1874">
                  <c:v>42314</c:v>
                </c:pt>
                <c:pt idx="1875">
                  <c:v>42317</c:v>
                </c:pt>
                <c:pt idx="1876">
                  <c:v>42318</c:v>
                </c:pt>
                <c:pt idx="1877">
                  <c:v>42319</c:v>
                </c:pt>
                <c:pt idx="1878">
                  <c:v>42320</c:v>
                </c:pt>
                <c:pt idx="1879">
                  <c:v>42321</c:v>
                </c:pt>
                <c:pt idx="1880">
                  <c:v>42324</c:v>
                </c:pt>
                <c:pt idx="1881">
                  <c:v>42325</c:v>
                </c:pt>
                <c:pt idx="1882">
                  <c:v>42326</c:v>
                </c:pt>
                <c:pt idx="1883">
                  <c:v>42327</c:v>
                </c:pt>
                <c:pt idx="1884">
                  <c:v>42328</c:v>
                </c:pt>
                <c:pt idx="1885">
                  <c:v>42331</c:v>
                </c:pt>
                <c:pt idx="1886">
                  <c:v>42332</c:v>
                </c:pt>
                <c:pt idx="1887">
                  <c:v>42333</c:v>
                </c:pt>
                <c:pt idx="1888">
                  <c:v>42335</c:v>
                </c:pt>
                <c:pt idx="1889">
                  <c:v>42338</c:v>
                </c:pt>
                <c:pt idx="1890">
                  <c:v>42339</c:v>
                </c:pt>
                <c:pt idx="1891">
                  <c:v>42340</c:v>
                </c:pt>
                <c:pt idx="1892">
                  <c:v>42341</c:v>
                </c:pt>
                <c:pt idx="1893">
                  <c:v>42342</c:v>
                </c:pt>
                <c:pt idx="1894">
                  <c:v>42345</c:v>
                </c:pt>
                <c:pt idx="1895">
                  <c:v>42346</c:v>
                </c:pt>
                <c:pt idx="1896">
                  <c:v>42347</c:v>
                </c:pt>
                <c:pt idx="1897">
                  <c:v>42348</c:v>
                </c:pt>
                <c:pt idx="1898">
                  <c:v>42349</c:v>
                </c:pt>
                <c:pt idx="1899">
                  <c:v>42352</c:v>
                </c:pt>
                <c:pt idx="1900">
                  <c:v>42353</c:v>
                </c:pt>
                <c:pt idx="1901">
                  <c:v>42354</c:v>
                </c:pt>
                <c:pt idx="1902">
                  <c:v>42355</c:v>
                </c:pt>
                <c:pt idx="1903">
                  <c:v>42356</c:v>
                </c:pt>
                <c:pt idx="1904">
                  <c:v>42359</c:v>
                </c:pt>
                <c:pt idx="1905">
                  <c:v>42360</c:v>
                </c:pt>
                <c:pt idx="1906">
                  <c:v>42361</c:v>
                </c:pt>
                <c:pt idx="1907">
                  <c:v>42362</c:v>
                </c:pt>
                <c:pt idx="1908">
                  <c:v>42366</c:v>
                </c:pt>
                <c:pt idx="1909">
                  <c:v>42367</c:v>
                </c:pt>
                <c:pt idx="1910">
                  <c:v>42368</c:v>
                </c:pt>
                <c:pt idx="1911">
                  <c:v>42369</c:v>
                </c:pt>
                <c:pt idx="1912">
                  <c:v>42373</c:v>
                </c:pt>
                <c:pt idx="1913">
                  <c:v>42374</c:v>
                </c:pt>
                <c:pt idx="1914">
                  <c:v>42375</c:v>
                </c:pt>
                <c:pt idx="1915">
                  <c:v>42376</c:v>
                </c:pt>
                <c:pt idx="1916">
                  <c:v>42377</c:v>
                </c:pt>
                <c:pt idx="1917">
                  <c:v>42380</c:v>
                </c:pt>
                <c:pt idx="1918">
                  <c:v>42381</c:v>
                </c:pt>
                <c:pt idx="1919">
                  <c:v>42382</c:v>
                </c:pt>
                <c:pt idx="1920">
                  <c:v>42383</c:v>
                </c:pt>
                <c:pt idx="1921">
                  <c:v>42384</c:v>
                </c:pt>
                <c:pt idx="1922">
                  <c:v>42388</c:v>
                </c:pt>
                <c:pt idx="1923">
                  <c:v>42389</c:v>
                </c:pt>
                <c:pt idx="1924">
                  <c:v>42390</c:v>
                </c:pt>
                <c:pt idx="1925">
                  <c:v>42391</c:v>
                </c:pt>
                <c:pt idx="1926">
                  <c:v>42394</c:v>
                </c:pt>
                <c:pt idx="1927">
                  <c:v>42395</c:v>
                </c:pt>
                <c:pt idx="1928">
                  <c:v>42396</c:v>
                </c:pt>
                <c:pt idx="1929">
                  <c:v>42397</c:v>
                </c:pt>
                <c:pt idx="1930">
                  <c:v>42398</c:v>
                </c:pt>
                <c:pt idx="1931">
                  <c:v>42401</c:v>
                </c:pt>
                <c:pt idx="1932">
                  <c:v>42402</c:v>
                </c:pt>
                <c:pt idx="1933">
                  <c:v>42403</c:v>
                </c:pt>
                <c:pt idx="1934">
                  <c:v>42404</c:v>
                </c:pt>
                <c:pt idx="1935">
                  <c:v>42405</c:v>
                </c:pt>
                <c:pt idx="1936">
                  <c:v>42408</c:v>
                </c:pt>
                <c:pt idx="1937">
                  <c:v>42409</c:v>
                </c:pt>
                <c:pt idx="1938">
                  <c:v>42410</c:v>
                </c:pt>
                <c:pt idx="1939">
                  <c:v>42411</c:v>
                </c:pt>
                <c:pt idx="1940">
                  <c:v>42412</c:v>
                </c:pt>
                <c:pt idx="1941">
                  <c:v>42416</c:v>
                </c:pt>
                <c:pt idx="1942">
                  <c:v>42417</c:v>
                </c:pt>
                <c:pt idx="1943">
                  <c:v>42418</c:v>
                </c:pt>
                <c:pt idx="1944">
                  <c:v>42419</c:v>
                </c:pt>
                <c:pt idx="1945">
                  <c:v>42422</c:v>
                </c:pt>
                <c:pt idx="1946">
                  <c:v>42423</c:v>
                </c:pt>
                <c:pt idx="1947">
                  <c:v>42424</c:v>
                </c:pt>
                <c:pt idx="1948">
                  <c:v>42425</c:v>
                </c:pt>
                <c:pt idx="1949">
                  <c:v>42426</c:v>
                </c:pt>
                <c:pt idx="1950">
                  <c:v>42429</c:v>
                </c:pt>
                <c:pt idx="1951">
                  <c:v>42430</c:v>
                </c:pt>
                <c:pt idx="1952">
                  <c:v>42431</c:v>
                </c:pt>
                <c:pt idx="1953">
                  <c:v>42432</c:v>
                </c:pt>
                <c:pt idx="1954">
                  <c:v>42433</c:v>
                </c:pt>
                <c:pt idx="1955">
                  <c:v>42436</c:v>
                </c:pt>
                <c:pt idx="1956">
                  <c:v>42437</c:v>
                </c:pt>
                <c:pt idx="1957">
                  <c:v>42438</c:v>
                </c:pt>
                <c:pt idx="1958">
                  <c:v>42439</c:v>
                </c:pt>
                <c:pt idx="1959">
                  <c:v>42440</c:v>
                </c:pt>
                <c:pt idx="1960">
                  <c:v>42443</c:v>
                </c:pt>
                <c:pt idx="1961">
                  <c:v>42444</c:v>
                </c:pt>
                <c:pt idx="1962">
                  <c:v>42445</c:v>
                </c:pt>
                <c:pt idx="1963">
                  <c:v>42446</c:v>
                </c:pt>
                <c:pt idx="1964">
                  <c:v>42447</c:v>
                </c:pt>
                <c:pt idx="1965">
                  <c:v>42450</c:v>
                </c:pt>
                <c:pt idx="1966">
                  <c:v>42451</c:v>
                </c:pt>
                <c:pt idx="1967">
                  <c:v>42452</c:v>
                </c:pt>
                <c:pt idx="1968">
                  <c:v>42453</c:v>
                </c:pt>
                <c:pt idx="1969">
                  <c:v>42457</c:v>
                </c:pt>
                <c:pt idx="1970">
                  <c:v>42458</c:v>
                </c:pt>
                <c:pt idx="1971">
                  <c:v>42459</c:v>
                </c:pt>
                <c:pt idx="1972">
                  <c:v>42460</c:v>
                </c:pt>
                <c:pt idx="1973">
                  <c:v>42461</c:v>
                </c:pt>
                <c:pt idx="1974">
                  <c:v>42464</c:v>
                </c:pt>
                <c:pt idx="1975">
                  <c:v>42465</c:v>
                </c:pt>
                <c:pt idx="1976">
                  <c:v>42466</c:v>
                </c:pt>
                <c:pt idx="1977">
                  <c:v>42467</c:v>
                </c:pt>
                <c:pt idx="1978">
                  <c:v>42468</c:v>
                </c:pt>
                <c:pt idx="1979">
                  <c:v>42471</c:v>
                </c:pt>
                <c:pt idx="1980">
                  <c:v>42472</c:v>
                </c:pt>
                <c:pt idx="1981">
                  <c:v>42473</c:v>
                </c:pt>
                <c:pt idx="1982">
                  <c:v>42474</c:v>
                </c:pt>
                <c:pt idx="1983">
                  <c:v>42475</c:v>
                </c:pt>
                <c:pt idx="1984">
                  <c:v>42478</c:v>
                </c:pt>
                <c:pt idx="1985">
                  <c:v>42479</c:v>
                </c:pt>
                <c:pt idx="1986">
                  <c:v>42480</c:v>
                </c:pt>
                <c:pt idx="1987">
                  <c:v>42481</c:v>
                </c:pt>
                <c:pt idx="1988">
                  <c:v>42482</c:v>
                </c:pt>
                <c:pt idx="1989">
                  <c:v>42485</c:v>
                </c:pt>
                <c:pt idx="1990">
                  <c:v>42486</c:v>
                </c:pt>
                <c:pt idx="1991">
                  <c:v>42487</c:v>
                </c:pt>
                <c:pt idx="1992">
                  <c:v>42488</c:v>
                </c:pt>
                <c:pt idx="1993">
                  <c:v>42489</c:v>
                </c:pt>
                <c:pt idx="1994">
                  <c:v>42492</c:v>
                </c:pt>
                <c:pt idx="1995">
                  <c:v>42493</c:v>
                </c:pt>
                <c:pt idx="1996">
                  <c:v>42494</c:v>
                </c:pt>
                <c:pt idx="1997">
                  <c:v>42495</c:v>
                </c:pt>
                <c:pt idx="1998">
                  <c:v>42496</c:v>
                </c:pt>
                <c:pt idx="1999">
                  <c:v>42499</c:v>
                </c:pt>
                <c:pt idx="2000">
                  <c:v>42500</c:v>
                </c:pt>
                <c:pt idx="2001">
                  <c:v>42501</c:v>
                </c:pt>
                <c:pt idx="2002">
                  <c:v>42502</c:v>
                </c:pt>
                <c:pt idx="2003">
                  <c:v>42503</c:v>
                </c:pt>
                <c:pt idx="2004">
                  <c:v>42506</c:v>
                </c:pt>
                <c:pt idx="2005">
                  <c:v>42507</c:v>
                </c:pt>
                <c:pt idx="2006">
                  <c:v>42508</c:v>
                </c:pt>
                <c:pt idx="2007">
                  <c:v>42509</c:v>
                </c:pt>
              </c:numCache>
            </c:numRef>
          </c:cat>
          <c:val>
            <c:numRef>
              <c:f>beta!$AJ$257:$AJ$2264</c:f>
              <c:numCache>
                <c:formatCode>0.00%</c:formatCode>
                <c:ptCount val="2008"/>
                <c:pt idx="0">
                  <c:v>0.36312405293346828</c:v>
                </c:pt>
                <c:pt idx="1">
                  <c:v>0.36365217279685746</c:v>
                </c:pt>
                <c:pt idx="2">
                  <c:v>0.36406768180992782</c:v>
                </c:pt>
                <c:pt idx="3">
                  <c:v>0.36391515902462374</c:v>
                </c:pt>
                <c:pt idx="4">
                  <c:v>0.3647247136950888</c:v>
                </c:pt>
                <c:pt idx="5">
                  <c:v>0.36467403642485369</c:v>
                </c:pt>
                <c:pt idx="6">
                  <c:v>0.36842306668506453</c:v>
                </c:pt>
                <c:pt idx="7">
                  <c:v>0.36830468095425895</c:v>
                </c:pt>
                <c:pt idx="8">
                  <c:v>0.37030394775959447</c:v>
                </c:pt>
                <c:pt idx="9">
                  <c:v>0.37229450324072455</c:v>
                </c:pt>
                <c:pt idx="10">
                  <c:v>0.37252018696802125</c:v>
                </c:pt>
                <c:pt idx="11">
                  <c:v>0.37291821038974382</c:v>
                </c:pt>
                <c:pt idx="12">
                  <c:v>0.37327947171434273</c:v>
                </c:pt>
                <c:pt idx="13">
                  <c:v>0.37308846238398125</c:v>
                </c:pt>
                <c:pt idx="14">
                  <c:v>0.37411111473720871</c:v>
                </c:pt>
                <c:pt idx="15">
                  <c:v>0.37424488273462209</c:v>
                </c:pt>
                <c:pt idx="16">
                  <c:v>0.37510212711888491</c:v>
                </c:pt>
                <c:pt idx="17">
                  <c:v>0.3753070787289759</c:v>
                </c:pt>
                <c:pt idx="18">
                  <c:v>0.37792079500652992</c:v>
                </c:pt>
                <c:pt idx="19">
                  <c:v>0.38216700278961846</c:v>
                </c:pt>
                <c:pt idx="20">
                  <c:v>0.3821208735613103</c:v>
                </c:pt>
                <c:pt idx="21">
                  <c:v>0.38178079807007015</c:v>
                </c:pt>
                <c:pt idx="22">
                  <c:v>0.38188654632660757</c:v>
                </c:pt>
                <c:pt idx="23">
                  <c:v>0.38254733284385678</c:v>
                </c:pt>
                <c:pt idx="24">
                  <c:v>0.38230471708359043</c:v>
                </c:pt>
                <c:pt idx="25">
                  <c:v>0.38189868973640728</c:v>
                </c:pt>
                <c:pt idx="26">
                  <c:v>0.3830796260897521</c:v>
                </c:pt>
                <c:pt idx="27">
                  <c:v>0.38357502783900405</c:v>
                </c:pt>
                <c:pt idx="28">
                  <c:v>0.38417216779871366</c:v>
                </c:pt>
                <c:pt idx="29">
                  <c:v>0.38384063085749504</c:v>
                </c:pt>
                <c:pt idx="30">
                  <c:v>0.38436808470412914</c:v>
                </c:pt>
                <c:pt idx="31">
                  <c:v>0.3844422052378545</c:v>
                </c:pt>
                <c:pt idx="32">
                  <c:v>0.38573280595909842</c:v>
                </c:pt>
                <c:pt idx="33">
                  <c:v>0.38557057259781524</c:v>
                </c:pt>
                <c:pt idx="34">
                  <c:v>0.38591801937023723</c:v>
                </c:pt>
                <c:pt idx="35">
                  <c:v>0.38742454874738025</c:v>
                </c:pt>
                <c:pt idx="36">
                  <c:v>0.38732488180952013</c:v>
                </c:pt>
                <c:pt idx="37">
                  <c:v>0.3880930314730609</c:v>
                </c:pt>
                <c:pt idx="38">
                  <c:v>0.3884124864688896</c:v>
                </c:pt>
                <c:pt idx="39">
                  <c:v>0.38731288932374675</c:v>
                </c:pt>
                <c:pt idx="40">
                  <c:v>0.39242735469857903</c:v>
                </c:pt>
                <c:pt idx="41">
                  <c:v>0.39771290550805272</c:v>
                </c:pt>
                <c:pt idx="42">
                  <c:v>0.39647804838102607</c:v>
                </c:pt>
                <c:pt idx="43">
                  <c:v>0.39663328894336197</c:v>
                </c:pt>
                <c:pt idx="44">
                  <c:v>0.39685947327379295</c:v>
                </c:pt>
                <c:pt idx="45">
                  <c:v>0.39529396506999193</c:v>
                </c:pt>
                <c:pt idx="46">
                  <c:v>0.39625719281089833</c:v>
                </c:pt>
                <c:pt idx="47">
                  <c:v>0.39412804784847322</c:v>
                </c:pt>
                <c:pt idx="48">
                  <c:v>0.39494109293251495</c:v>
                </c:pt>
                <c:pt idx="49">
                  <c:v>0.38851965125179094</c:v>
                </c:pt>
                <c:pt idx="50">
                  <c:v>0.38837975316685569</c:v>
                </c:pt>
                <c:pt idx="51">
                  <c:v>0.38923281905460116</c:v>
                </c:pt>
                <c:pt idx="52">
                  <c:v>0.38844670135062076</c:v>
                </c:pt>
                <c:pt idx="53">
                  <c:v>0.3894672437064623</c:v>
                </c:pt>
                <c:pt idx="54">
                  <c:v>0.38865338336510918</c:v>
                </c:pt>
                <c:pt idx="55">
                  <c:v>0.38845083261550001</c:v>
                </c:pt>
                <c:pt idx="56">
                  <c:v>0.38714071619488266</c:v>
                </c:pt>
                <c:pt idx="57">
                  <c:v>0.38743183799566994</c:v>
                </c:pt>
                <c:pt idx="58">
                  <c:v>0.38834595797468868</c:v>
                </c:pt>
                <c:pt idx="59">
                  <c:v>0.38829599440925505</c:v>
                </c:pt>
                <c:pt idx="60">
                  <c:v>0.3863806046836557</c:v>
                </c:pt>
                <c:pt idx="61">
                  <c:v>0.38565319696824146</c:v>
                </c:pt>
                <c:pt idx="62">
                  <c:v>0.38275606506236048</c:v>
                </c:pt>
                <c:pt idx="63">
                  <c:v>0.38301870652759173</c:v>
                </c:pt>
                <c:pt idx="64">
                  <c:v>0.38319603782007067</c:v>
                </c:pt>
                <c:pt idx="65">
                  <c:v>0.38210870666441094</c:v>
                </c:pt>
                <c:pt idx="66">
                  <c:v>0.38139755611438075</c:v>
                </c:pt>
                <c:pt idx="67">
                  <c:v>0.38057516975602212</c:v>
                </c:pt>
                <c:pt idx="68">
                  <c:v>0.38054871983819066</c:v>
                </c:pt>
                <c:pt idx="69">
                  <c:v>0.37953670056964012</c:v>
                </c:pt>
                <c:pt idx="70">
                  <c:v>0.38026131430611149</c:v>
                </c:pt>
                <c:pt idx="71">
                  <c:v>0.37945270639805101</c:v>
                </c:pt>
                <c:pt idx="72">
                  <c:v>0.37956869854806868</c:v>
                </c:pt>
                <c:pt idx="73">
                  <c:v>0.37908298098036441</c:v>
                </c:pt>
                <c:pt idx="74">
                  <c:v>0.37046639143378096</c:v>
                </c:pt>
                <c:pt idx="75">
                  <c:v>0.37036018650773761</c:v>
                </c:pt>
                <c:pt idx="76">
                  <c:v>0.36985177876972414</c:v>
                </c:pt>
                <c:pt idx="77">
                  <c:v>0.36955822720539033</c:v>
                </c:pt>
                <c:pt idx="78">
                  <c:v>0.36966290678476271</c:v>
                </c:pt>
                <c:pt idx="79">
                  <c:v>0.36991737240822414</c:v>
                </c:pt>
                <c:pt idx="80">
                  <c:v>0.37153711907648962</c:v>
                </c:pt>
                <c:pt idx="81">
                  <c:v>0.37242556263899584</c:v>
                </c:pt>
                <c:pt idx="82">
                  <c:v>0.37208563319495858</c:v>
                </c:pt>
                <c:pt idx="83">
                  <c:v>0.37173517392408784</c:v>
                </c:pt>
                <c:pt idx="84">
                  <c:v>0.37577741840008838</c:v>
                </c:pt>
                <c:pt idx="85">
                  <c:v>0.37454190617280214</c:v>
                </c:pt>
                <c:pt idx="86">
                  <c:v>0.3745383340499287</c:v>
                </c:pt>
                <c:pt idx="87">
                  <c:v>0.37554349222730354</c:v>
                </c:pt>
                <c:pt idx="88">
                  <c:v>0.37570915524561338</c:v>
                </c:pt>
                <c:pt idx="89">
                  <c:v>0.37180796579264364</c:v>
                </c:pt>
                <c:pt idx="90">
                  <c:v>0.37296469723335524</c:v>
                </c:pt>
                <c:pt idx="91">
                  <c:v>0.3721508740337644</c:v>
                </c:pt>
                <c:pt idx="92">
                  <c:v>0.37410995123734586</c:v>
                </c:pt>
                <c:pt idx="93">
                  <c:v>0.37176309790656353</c:v>
                </c:pt>
                <c:pt idx="94">
                  <c:v>0.36720929313290468</c:v>
                </c:pt>
                <c:pt idx="95">
                  <c:v>0.36644183298053262</c:v>
                </c:pt>
                <c:pt idx="96">
                  <c:v>0.3711152739301517</c:v>
                </c:pt>
                <c:pt idx="97">
                  <c:v>0.37228161065768028</c:v>
                </c:pt>
                <c:pt idx="98">
                  <c:v>0.37307521467838028</c:v>
                </c:pt>
                <c:pt idx="99">
                  <c:v>0.36870356863984788</c:v>
                </c:pt>
                <c:pt idx="100">
                  <c:v>0.36846590501223492</c:v>
                </c:pt>
                <c:pt idx="101">
                  <c:v>0.36340903394431762</c:v>
                </c:pt>
                <c:pt idx="102">
                  <c:v>0.36295138694362372</c:v>
                </c:pt>
                <c:pt idx="103">
                  <c:v>0.36525890544298728</c:v>
                </c:pt>
                <c:pt idx="104">
                  <c:v>0.36521226958014846</c:v>
                </c:pt>
                <c:pt idx="105">
                  <c:v>0.36354127301556449</c:v>
                </c:pt>
                <c:pt idx="106">
                  <c:v>0.36351184638247158</c:v>
                </c:pt>
                <c:pt idx="107">
                  <c:v>0.35931022286714887</c:v>
                </c:pt>
                <c:pt idx="108">
                  <c:v>0.35564010355678272</c:v>
                </c:pt>
                <c:pt idx="109">
                  <c:v>0.3535574948169779</c:v>
                </c:pt>
                <c:pt idx="110">
                  <c:v>0.35509514327693076</c:v>
                </c:pt>
                <c:pt idx="111">
                  <c:v>0.35495069036288857</c:v>
                </c:pt>
                <c:pt idx="112">
                  <c:v>0.35535036501030115</c:v>
                </c:pt>
                <c:pt idx="113">
                  <c:v>0.35231321332298432</c:v>
                </c:pt>
                <c:pt idx="114">
                  <c:v>0.35090078797798352</c:v>
                </c:pt>
                <c:pt idx="115">
                  <c:v>0.35226940873779922</c:v>
                </c:pt>
                <c:pt idx="116">
                  <c:v>0.35710010381525137</c:v>
                </c:pt>
                <c:pt idx="117">
                  <c:v>0.35930455406136846</c:v>
                </c:pt>
                <c:pt idx="118">
                  <c:v>0.35844725490378126</c:v>
                </c:pt>
                <c:pt idx="119">
                  <c:v>0.36066953179063499</c:v>
                </c:pt>
                <c:pt idx="120">
                  <c:v>0.3601645063527148</c:v>
                </c:pt>
                <c:pt idx="121">
                  <c:v>0.36275223457457434</c:v>
                </c:pt>
                <c:pt idx="122">
                  <c:v>0.3644703100626322</c:v>
                </c:pt>
                <c:pt idx="123">
                  <c:v>0.36534300924038587</c:v>
                </c:pt>
                <c:pt idx="124">
                  <c:v>0.36777633959644807</c:v>
                </c:pt>
                <c:pt idx="125">
                  <c:v>0.36920597383916637</c:v>
                </c:pt>
                <c:pt idx="126">
                  <c:v>0.36652196090051642</c:v>
                </c:pt>
                <c:pt idx="127">
                  <c:v>0.36652559516904482</c:v>
                </c:pt>
                <c:pt idx="128">
                  <c:v>0.36989212085256962</c:v>
                </c:pt>
                <c:pt idx="129">
                  <c:v>0.36940246269447108</c:v>
                </c:pt>
                <c:pt idx="130">
                  <c:v>0.3691525625268442</c:v>
                </c:pt>
                <c:pt idx="131">
                  <c:v>0.3690787539255837</c:v>
                </c:pt>
                <c:pt idx="132">
                  <c:v>0.36797450437334422</c:v>
                </c:pt>
                <c:pt idx="133">
                  <c:v>0.36861908867467058</c:v>
                </c:pt>
                <c:pt idx="134">
                  <c:v>0.3685380153005563</c:v>
                </c:pt>
                <c:pt idx="135">
                  <c:v>0.36915953383674921</c:v>
                </c:pt>
                <c:pt idx="136">
                  <c:v>0.36943287423479088</c:v>
                </c:pt>
                <c:pt idx="137">
                  <c:v>0.36950496950856282</c:v>
                </c:pt>
                <c:pt idx="138">
                  <c:v>0.36871339849059337</c:v>
                </c:pt>
                <c:pt idx="139">
                  <c:v>0.36944887156152728</c:v>
                </c:pt>
                <c:pt idx="140">
                  <c:v>0.36907220746237906</c:v>
                </c:pt>
                <c:pt idx="141">
                  <c:v>0.36918786838824341</c:v>
                </c:pt>
                <c:pt idx="142">
                  <c:v>0.37055856701910556</c:v>
                </c:pt>
                <c:pt idx="143">
                  <c:v>0.37094988759035424</c:v>
                </c:pt>
                <c:pt idx="144">
                  <c:v>0.37105761315536756</c:v>
                </c:pt>
                <c:pt idx="145">
                  <c:v>0.37117226290066624</c:v>
                </c:pt>
                <c:pt idx="146">
                  <c:v>0.37128225787095787</c:v>
                </c:pt>
                <c:pt idx="147">
                  <c:v>0.37141751821896324</c:v>
                </c:pt>
                <c:pt idx="148">
                  <c:v>0.37279740393995087</c:v>
                </c:pt>
                <c:pt idx="149">
                  <c:v>0.37381643957691951</c:v>
                </c:pt>
                <c:pt idx="150">
                  <c:v>0.37501890439880681</c:v>
                </c:pt>
                <c:pt idx="151">
                  <c:v>0.37477532192144963</c:v>
                </c:pt>
                <c:pt idx="152">
                  <c:v>0.37479573115296971</c:v>
                </c:pt>
                <c:pt idx="153">
                  <c:v>0.37604964055769147</c:v>
                </c:pt>
                <c:pt idx="154">
                  <c:v>0.37637337521937053</c:v>
                </c:pt>
                <c:pt idx="155">
                  <c:v>0.37596080150404559</c:v>
                </c:pt>
                <c:pt idx="156">
                  <c:v>0.37783310449656948</c:v>
                </c:pt>
                <c:pt idx="157">
                  <c:v>0.37718985705456043</c:v>
                </c:pt>
                <c:pt idx="158">
                  <c:v>0.37941951601330637</c:v>
                </c:pt>
                <c:pt idx="159">
                  <c:v>0.37927749428441182</c:v>
                </c:pt>
                <c:pt idx="160">
                  <c:v>0.37688297788357333</c:v>
                </c:pt>
                <c:pt idx="161">
                  <c:v>0.37956326428169446</c:v>
                </c:pt>
                <c:pt idx="162">
                  <c:v>0.38515609274711832</c:v>
                </c:pt>
                <c:pt idx="163">
                  <c:v>0.38424078031209247</c:v>
                </c:pt>
                <c:pt idx="164">
                  <c:v>0.38468897441817823</c:v>
                </c:pt>
                <c:pt idx="165">
                  <c:v>0.3852830183757639</c:v>
                </c:pt>
                <c:pt idx="166">
                  <c:v>0.3862272716315247</c:v>
                </c:pt>
                <c:pt idx="167">
                  <c:v>0.38797204488517101</c:v>
                </c:pt>
                <c:pt idx="168">
                  <c:v>0.38675010834543821</c:v>
                </c:pt>
                <c:pt idx="169">
                  <c:v>0.38730583362573939</c:v>
                </c:pt>
                <c:pt idx="170">
                  <c:v>0.38755243464398903</c:v>
                </c:pt>
                <c:pt idx="171">
                  <c:v>0.38788848440553891</c:v>
                </c:pt>
                <c:pt idx="172">
                  <c:v>0.38695189622378029</c:v>
                </c:pt>
                <c:pt idx="173">
                  <c:v>0.38680379794821851</c:v>
                </c:pt>
                <c:pt idx="174">
                  <c:v>0.38695008941522802</c:v>
                </c:pt>
                <c:pt idx="175">
                  <c:v>0.38691851476711492</c:v>
                </c:pt>
                <c:pt idx="176">
                  <c:v>0.38786477870363062</c:v>
                </c:pt>
                <c:pt idx="177">
                  <c:v>0.38801456645232552</c:v>
                </c:pt>
                <c:pt idx="178">
                  <c:v>0.38708836988617484</c:v>
                </c:pt>
                <c:pt idx="179">
                  <c:v>0.38705582390518806</c:v>
                </c:pt>
                <c:pt idx="180">
                  <c:v>0.38479930905846232</c:v>
                </c:pt>
                <c:pt idx="181">
                  <c:v>0.38500278677303751</c:v>
                </c:pt>
                <c:pt idx="182">
                  <c:v>0.38472704087403631</c:v>
                </c:pt>
                <c:pt idx="183">
                  <c:v>0.38532738235273323</c:v>
                </c:pt>
                <c:pt idx="184">
                  <c:v>0.38576473996952937</c:v>
                </c:pt>
                <c:pt idx="185">
                  <c:v>0.38673776297256485</c:v>
                </c:pt>
                <c:pt idx="186">
                  <c:v>0.38720438881450853</c:v>
                </c:pt>
                <c:pt idx="187">
                  <c:v>0.38729075049671841</c:v>
                </c:pt>
                <c:pt idx="188">
                  <c:v>0.38680965180401722</c:v>
                </c:pt>
                <c:pt idx="189">
                  <c:v>0.38651305816668363</c:v>
                </c:pt>
                <c:pt idx="190">
                  <c:v>0.3861235343869942</c:v>
                </c:pt>
                <c:pt idx="191">
                  <c:v>0.38825421505681079</c:v>
                </c:pt>
                <c:pt idx="192">
                  <c:v>0.38853546728334637</c:v>
                </c:pt>
                <c:pt idx="193">
                  <c:v>0.38754415232983103</c:v>
                </c:pt>
                <c:pt idx="194">
                  <c:v>0.38756153146040817</c:v>
                </c:pt>
                <c:pt idx="195">
                  <c:v>0.39005313822740495</c:v>
                </c:pt>
                <c:pt idx="196">
                  <c:v>0.38890182129876305</c:v>
                </c:pt>
                <c:pt idx="197">
                  <c:v>0.3883131222374876</c:v>
                </c:pt>
                <c:pt idx="198">
                  <c:v>0.3883264648729966</c:v>
                </c:pt>
                <c:pt idx="199">
                  <c:v>0.38982539151400691</c:v>
                </c:pt>
                <c:pt idx="200">
                  <c:v>0.39023065037042254</c:v>
                </c:pt>
                <c:pt idx="201">
                  <c:v>0.39117504800938718</c:v>
                </c:pt>
                <c:pt idx="202">
                  <c:v>0.39366407749487176</c:v>
                </c:pt>
                <c:pt idx="203">
                  <c:v>0.39693852868252211</c:v>
                </c:pt>
                <c:pt idx="204">
                  <c:v>0.398516092623664</c:v>
                </c:pt>
                <c:pt idx="205">
                  <c:v>0.39845179333806285</c:v>
                </c:pt>
                <c:pt idx="206">
                  <c:v>0.39855836692819319</c:v>
                </c:pt>
                <c:pt idx="207">
                  <c:v>0.39885964509882055</c:v>
                </c:pt>
                <c:pt idx="208">
                  <c:v>0.39906807977314668</c:v>
                </c:pt>
                <c:pt idx="209">
                  <c:v>0.39987972098127023</c:v>
                </c:pt>
                <c:pt idx="210">
                  <c:v>0.39885490266063522</c:v>
                </c:pt>
                <c:pt idx="211">
                  <c:v>0.39906447993810207</c:v>
                </c:pt>
                <c:pt idx="212">
                  <c:v>0.39913817000241575</c:v>
                </c:pt>
                <c:pt idx="213">
                  <c:v>0.39925260677809798</c:v>
                </c:pt>
                <c:pt idx="214">
                  <c:v>0.3990637217996113</c:v>
                </c:pt>
                <c:pt idx="215">
                  <c:v>0.39893565347145854</c:v>
                </c:pt>
                <c:pt idx="216">
                  <c:v>0.39901041613309129</c:v>
                </c:pt>
                <c:pt idx="217">
                  <c:v>0.39973646874269753</c:v>
                </c:pt>
                <c:pt idx="218">
                  <c:v>0.39888492683014221</c:v>
                </c:pt>
                <c:pt idx="219">
                  <c:v>0.39904667132213195</c:v>
                </c:pt>
                <c:pt idx="220">
                  <c:v>0.39933578848949941</c:v>
                </c:pt>
                <c:pt idx="221">
                  <c:v>0.39851230137956584</c:v>
                </c:pt>
                <c:pt idx="222">
                  <c:v>0.39875491869828306</c:v>
                </c:pt>
                <c:pt idx="223">
                  <c:v>0.39860240317019008</c:v>
                </c:pt>
                <c:pt idx="224">
                  <c:v>0.39942289120952784</c:v>
                </c:pt>
                <c:pt idx="225">
                  <c:v>0.39940319898762638</c:v>
                </c:pt>
                <c:pt idx="226">
                  <c:v>0.39957334818346807</c:v>
                </c:pt>
                <c:pt idx="227">
                  <c:v>0.39940185917244386</c:v>
                </c:pt>
                <c:pt idx="228">
                  <c:v>0.39916687771032705</c:v>
                </c:pt>
                <c:pt idx="229">
                  <c:v>0.39921853701208776</c:v>
                </c:pt>
                <c:pt idx="230">
                  <c:v>0.39997992632954099</c:v>
                </c:pt>
                <c:pt idx="231">
                  <c:v>0.39980081319091754</c:v>
                </c:pt>
                <c:pt idx="232">
                  <c:v>0.39861352190450627</c:v>
                </c:pt>
                <c:pt idx="233">
                  <c:v>0.39923457525877032</c:v>
                </c:pt>
                <c:pt idx="234">
                  <c:v>0.39895303954681544</c:v>
                </c:pt>
                <c:pt idx="235">
                  <c:v>0.39876521084015487</c:v>
                </c:pt>
                <c:pt idx="236">
                  <c:v>0.3981229763396239</c:v>
                </c:pt>
                <c:pt idx="237">
                  <c:v>0.39893647863057069</c:v>
                </c:pt>
                <c:pt idx="238">
                  <c:v>0.39884847858973999</c:v>
                </c:pt>
                <c:pt idx="239">
                  <c:v>0.39885546398848448</c:v>
                </c:pt>
                <c:pt idx="240">
                  <c:v>0.39907683044469161</c:v>
                </c:pt>
                <c:pt idx="241">
                  <c:v>0.3995493317158626</c:v>
                </c:pt>
                <c:pt idx="242">
                  <c:v>0.39981785073899023</c:v>
                </c:pt>
                <c:pt idx="243">
                  <c:v>0.40185346081073026</c:v>
                </c:pt>
                <c:pt idx="244">
                  <c:v>0.40161334877114524</c:v>
                </c:pt>
                <c:pt idx="245">
                  <c:v>0.40126731755501122</c:v>
                </c:pt>
                <c:pt idx="246">
                  <c:v>0.40085011905942924</c:v>
                </c:pt>
                <c:pt idx="247">
                  <c:v>0.40073585513577559</c:v>
                </c:pt>
                <c:pt idx="248">
                  <c:v>0.40180225320901813</c:v>
                </c:pt>
                <c:pt idx="249">
                  <c:v>0.40194788397517633</c:v>
                </c:pt>
                <c:pt idx="250">
                  <c:v>0.40188958888134196</c:v>
                </c:pt>
                <c:pt idx="251">
                  <c:v>0.40040358701174733</c:v>
                </c:pt>
                <c:pt idx="252">
                  <c:v>0.39934083174011953</c:v>
                </c:pt>
                <c:pt idx="253">
                  <c:v>0.39912845659702922</c:v>
                </c:pt>
                <c:pt idx="254">
                  <c:v>0.39993666960207974</c:v>
                </c:pt>
                <c:pt idx="255">
                  <c:v>0.40028907377785261</c:v>
                </c:pt>
                <c:pt idx="256">
                  <c:v>0.40018451505037711</c:v>
                </c:pt>
                <c:pt idx="257">
                  <c:v>0.40292932050298519</c:v>
                </c:pt>
                <c:pt idx="258">
                  <c:v>0.40323924123801236</c:v>
                </c:pt>
                <c:pt idx="259">
                  <c:v>0.40325256224237976</c:v>
                </c:pt>
                <c:pt idx="260">
                  <c:v>0.40324607249338251</c:v>
                </c:pt>
                <c:pt idx="261">
                  <c:v>0.40332383172430514</c:v>
                </c:pt>
                <c:pt idx="262">
                  <c:v>0.403175760389479</c:v>
                </c:pt>
                <c:pt idx="263">
                  <c:v>0.40310880607369304</c:v>
                </c:pt>
                <c:pt idx="264">
                  <c:v>0.40273019390370779</c:v>
                </c:pt>
                <c:pt idx="265">
                  <c:v>0.40244419106634394</c:v>
                </c:pt>
                <c:pt idx="266">
                  <c:v>0.40169041023781643</c:v>
                </c:pt>
                <c:pt idx="267">
                  <c:v>0.40122044369406806</c:v>
                </c:pt>
                <c:pt idx="268">
                  <c:v>0.40134759429570732</c:v>
                </c:pt>
                <c:pt idx="269">
                  <c:v>0.40166490118143683</c:v>
                </c:pt>
                <c:pt idx="270">
                  <c:v>0.40083575293562779</c:v>
                </c:pt>
                <c:pt idx="271">
                  <c:v>0.39998209644983185</c:v>
                </c:pt>
                <c:pt idx="272">
                  <c:v>0.40038756201263215</c:v>
                </c:pt>
                <c:pt idx="273">
                  <c:v>0.40049611666062518</c:v>
                </c:pt>
                <c:pt idx="274">
                  <c:v>0.40047979439236991</c:v>
                </c:pt>
                <c:pt idx="275">
                  <c:v>0.40085310350175363</c:v>
                </c:pt>
                <c:pt idx="276">
                  <c:v>0.4003980659761826</c:v>
                </c:pt>
                <c:pt idx="277">
                  <c:v>0.40105134398336001</c:v>
                </c:pt>
                <c:pt idx="278">
                  <c:v>0.40031005365541478</c:v>
                </c:pt>
                <c:pt idx="279">
                  <c:v>0.39915151005429667</c:v>
                </c:pt>
                <c:pt idx="280">
                  <c:v>0.39891292219373042</c:v>
                </c:pt>
                <c:pt idx="281">
                  <c:v>0.39984706615184218</c:v>
                </c:pt>
                <c:pt idx="282">
                  <c:v>0.39978978811033755</c:v>
                </c:pt>
                <c:pt idx="283">
                  <c:v>0.39861069099100216</c:v>
                </c:pt>
                <c:pt idx="284">
                  <c:v>0.3975607615062573</c:v>
                </c:pt>
                <c:pt idx="285">
                  <c:v>0.39697921980883949</c:v>
                </c:pt>
                <c:pt idx="286">
                  <c:v>0.39706496758972165</c:v>
                </c:pt>
                <c:pt idx="287">
                  <c:v>0.39699985148552508</c:v>
                </c:pt>
                <c:pt idx="288">
                  <c:v>0.39706148676118702</c:v>
                </c:pt>
                <c:pt idx="289">
                  <c:v>0.39711234475624851</c:v>
                </c:pt>
                <c:pt idx="290">
                  <c:v>0.39701955108810161</c:v>
                </c:pt>
                <c:pt idx="291">
                  <c:v>0.39678332412797218</c:v>
                </c:pt>
                <c:pt idx="292">
                  <c:v>0.39707873702268481</c:v>
                </c:pt>
                <c:pt idx="293">
                  <c:v>0.39585251978068864</c:v>
                </c:pt>
                <c:pt idx="294">
                  <c:v>0.39529061763752649</c:v>
                </c:pt>
                <c:pt idx="295">
                  <c:v>0.39512181809682906</c:v>
                </c:pt>
                <c:pt idx="296">
                  <c:v>0.39539114835982064</c:v>
                </c:pt>
                <c:pt idx="297">
                  <c:v>0.3959284618370737</c:v>
                </c:pt>
                <c:pt idx="298">
                  <c:v>0.39592587560176701</c:v>
                </c:pt>
                <c:pt idx="299">
                  <c:v>0.39540115168677292</c:v>
                </c:pt>
                <c:pt idx="300">
                  <c:v>0.39520873817988722</c:v>
                </c:pt>
                <c:pt idx="301">
                  <c:v>0.39481150135853849</c:v>
                </c:pt>
                <c:pt idx="302">
                  <c:v>0.39480026448223471</c:v>
                </c:pt>
                <c:pt idx="303">
                  <c:v>0.39438559049272981</c:v>
                </c:pt>
                <c:pt idx="304">
                  <c:v>0.39445864508088263</c:v>
                </c:pt>
                <c:pt idx="305">
                  <c:v>0.39375957121166527</c:v>
                </c:pt>
                <c:pt idx="306">
                  <c:v>0.39373330278182211</c:v>
                </c:pt>
                <c:pt idx="307">
                  <c:v>0.39401788737382232</c:v>
                </c:pt>
                <c:pt idx="308">
                  <c:v>0.39385474345644078</c:v>
                </c:pt>
                <c:pt idx="309">
                  <c:v>0.39373607843490327</c:v>
                </c:pt>
                <c:pt idx="310">
                  <c:v>0.39403417866175261</c:v>
                </c:pt>
                <c:pt idx="311">
                  <c:v>0.39417041244151857</c:v>
                </c:pt>
                <c:pt idx="312">
                  <c:v>0.3957850040701007</c:v>
                </c:pt>
                <c:pt idx="313">
                  <c:v>0.39575487757559968</c:v>
                </c:pt>
                <c:pt idx="314">
                  <c:v>0.39575695814204392</c:v>
                </c:pt>
                <c:pt idx="315">
                  <c:v>0.39567878028769116</c:v>
                </c:pt>
                <c:pt idx="316">
                  <c:v>0.39597418364245962</c:v>
                </c:pt>
                <c:pt idx="317">
                  <c:v>0.39627866156216851</c:v>
                </c:pt>
                <c:pt idx="318">
                  <c:v>0.39626296192255173</c:v>
                </c:pt>
                <c:pt idx="319">
                  <c:v>0.396931085913033</c:v>
                </c:pt>
                <c:pt idx="320">
                  <c:v>0.39695680424074181</c:v>
                </c:pt>
                <c:pt idx="321">
                  <c:v>0.39630286569470857</c:v>
                </c:pt>
                <c:pt idx="322">
                  <c:v>0.39619197124040817</c:v>
                </c:pt>
                <c:pt idx="323">
                  <c:v>0.39686890609332404</c:v>
                </c:pt>
                <c:pt idx="324">
                  <c:v>0.3968739018623007</c:v>
                </c:pt>
                <c:pt idx="325">
                  <c:v>0.39748007615889086</c:v>
                </c:pt>
                <c:pt idx="326">
                  <c:v>0.40626126304328108</c:v>
                </c:pt>
                <c:pt idx="327">
                  <c:v>0.40641975927208907</c:v>
                </c:pt>
                <c:pt idx="328">
                  <c:v>0.41131846014998219</c:v>
                </c:pt>
                <c:pt idx="329">
                  <c:v>0.41136827406555171</c:v>
                </c:pt>
                <c:pt idx="330">
                  <c:v>0.41101435567224154</c:v>
                </c:pt>
                <c:pt idx="331">
                  <c:v>0.41024204368840284</c:v>
                </c:pt>
                <c:pt idx="332">
                  <c:v>0.40887206354040756</c:v>
                </c:pt>
                <c:pt idx="333">
                  <c:v>0.40817961890907001</c:v>
                </c:pt>
                <c:pt idx="334">
                  <c:v>0.40796385097312271</c:v>
                </c:pt>
                <c:pt idx="335">
                  <c:v>0.40887371813611595</c:v>
                </c:pt>
                <c:pt idx="336">
                  <c:v>0.40754365517406416</c:v>
                </c:pt>
                <c:pt idx="337">
                  <c:v>0.40910511644022612</c:v>
                </c:pt>
                <c:pt idx="338">
                  <c:v>0.40778808381940707</c:v>
                </c:pt>
                <c:pt idx="339">
                  <c:v>0.40705222402689928</c:v>
                </c:pt>
                <c:pt idx="340">
                  <c:v>0.407312771531605</c:v>
                </c:pt>
                <c:pt idx="341">
                  <c:v>0.41181700789736436</c:v>
                </c:pt>
                <c:pt idx="342">
                  <c:v>0.40982650847262053</c:v>
                </c:pt>
                <c:pt idx="343">
                  <c:v>0.40984651894717689</c:v>
                </c:pt>
                <c:pt idx="344">
                  <c:v>0.40830737578915882</c:v>
                </c:pt>
                <c:pt idx="345">
                  <c:v>0.41008368666156214</c:v>
                </c:pt>
                <c:pt idx="346">
                  <c:v>0.41797303473675462</c:v>
                </c:pt>
                <c:pt idx="347">
                  <c:v>0.41772422626392119</c:v>
                </c:pt>
                <c:pt idx="348">
                  <c:v>0.41290673498097469</c:v>
                </c:pt>
                <c:pt idx="349">
                  <c:v>0.41296861541285274</c:v>
                </c:pt>
                <c:pt idx="350">
                  <c:v>0.41145648372767374</c:v>
                </c:pt>
                <c:pt idx="351">
                  <c:v>0.42465167157853845</c:v>
                </c:pt>
                <c:pt idx="352">
                  <c:v>0.42278665893154982</c:v>
                </c:pt>
                <c:pt idx="353">
                  <c:v>0.43508126854698354</c:v>
                </c:pt>
                <c:pt idx="354">
                  <c:v>0.43401105981987331</c:v>
                </c:pt>
                <c:pt idx="355">
                  <c:v>0.42953236060644218</c:v>
                </c:pt>
                <c:pt idx="356">
                  <c:v>0.4287051774705844</c:v>
                </c:pt>
                <c:pt idx="357">
                  <c:v>0.43287802628212557</c:v>
                </c:pt>
                <c:pt idx="358">
                  <c:v>0.43088607637793941</c:v>
                </c:pt>
                <c:pt idx="359">
                  <c:v>0.43105588381869375</c:v>
                </c:pt>
                <c:pt idx="360">
                  <c:v>0.43212509006230204</c:v>
                </c:pt>
                <c:pt idx="361">
                  <c:v>0.43637006904147713</c:v>
                </c:pt>
                <c:pt idx="362">
                  <c:v>0.43422355541133612</c:v>
                </c:pt>
                <c:pt idx="363">
                  <c:v>0.43514708386634876</c:v>
                </c:pt>
                <c:pt idx="364">
                  <c:v>0.43218475381631322</c:v>
                </c:pt>
                <c:pt idx="365">
                  <c:v>0.44096572750984225</c:v>
                </c:pt>
                <c:pt idx="366">
                  <c:v>0.44194558898828945</c:v>
                </c:pt>
                <c:pt idx="367">
                  <c:v>0.44146529131820739</c:v>
                </c:pt>
                <c:pt idx="368">
                  <c:v>0.43940418091701366</c:v>
                </c:pt>
                <c:pt idx="369">
                  <c:v>0.4379674028081918</c:v>
                </c:pt>
                <c:pt idx="370">
                  <c:v>0.43761512932477603</c:v>
                </c:pt>
                <c:pt idx="371">
                  <c:v>0.43610479159640397</c:v>
                </c:pt>
                <c:pt idx="372">
                  <c:v>0.4363563780667572</c:v>
                </c:pt>
                <c:pt idx="373">
                  <c:v>0.43153433782702488</c:v>
                </c:pt>
                <c:pt idx="374">
                  <c:v>0.42998662672526922</c:v>
                </c:pt>
                <c:pt idx="375">
                  <c:v>0.42975034676376173</c:v>
                </c:pt>
                <c:pt idx="376">
                  <c:v>0.42987471672342509</c:v>
                </c:pt>
                <c:pt idx="377">
                  <c:v>0.4296886600785077</c:v>
                </c:pt>
                <c:pt idx="378">
                  <c:v>0.42422176409128626</c:v>
                </c:pt>
                <c:pt idx="379">
                  <c:v>0.42426110103492792</c:v>
                </c:pt>
                <c:pt idx="380">
                  <c:v>0.41729183254803154</c:v>
                </c:pt>
                <c:pt idx="381">
                  <c:v>0.41865518748563374</c:v>
                </c:pt>
                <c:pt idx="382">
                  <c:v>0.41864340024414282</c:v>
                </c:pt>
                <c:pt idx="383">
                  <c:v>0.41667854615093702</c:v>
                </c:pt>
                <c:pt idx="384">
                  <c:v>0.41643983909653071</c:v>
                </c:pt>
                <c:pt idx="385">
                  <c:v>0.4149700514610592</c:v>
                </c:pt>
                <c:pt idx="386">
                  <c:v>0.41397758973764465</c:v>
                </c:pt>
                <c:pt idx="387">
                  <c:v>0.41454197890006467</c:v>
                </c:pt>
                <c:pt idx="388">
                  <c:v>0.41427336499557171</c:v>
                </c:pt>
                <c:pt idx="389">
                  <c:v>0.41419166450603151</c:v>
                </c:pt>
                <c:pt idx="390">
                  <c:v>0.41485522281298798</c:v>
                </c:pt>
                <c:pt idx="391">
                  <c:v>0.41370437076061339</c:v>
                </c:pt>
                <c:pt idx="392">
                  <c:v>0.41132833095964944</c:v>
                </c:pt>
                <c:pt idx="393">
                  <c:v>0.41130207005580777</c:v>
                </c:pt>
                <c:pt idx="394">
                  <c:v>0.40986630536196927</c:v>
                </c:pt>
                <c:pt idx="395">
                  <c:v>0.40981199756997438</c:v>
                </c:pt>
                <c:pt idx="396">
                  <c:v>0.40936469914632551</c:v>
                </c:pt>
                <c:pt idx="397">
                  <c:v>0.40929132170799742</c:v>
                </c:pt>
                <c:pt idx="398">
                  <c:v>0.40893733345042033</c:v>
                </c:pt>
                <c:pt idx="399">
                  <c:v>0.40857575790227479</c:v>
                </c:pt>
                <c:pt idx="400">
                  <c:v>0.40773629368045533</c:v>
                </c:pt>
                <c:pt idx="401">
                  <c:v>0.40597754486714277</c:v>
                </c:pt>
                <c:pt idx="402">
                  <c:v>0.40495384432396053</c:v>
                </c:pt>
                <c:pt idx="403">
                  <c:v>0.40498630151983911</c:v>
                </c:pt>
                <c:pt idx="404">
                  <c:v>0.40515909969561698</c:v>
                </c:pt>
                <c:pt idx="405">
                  <c:v>0.4012264737969703</c:v>
                </c:pt>
                <c:pt idx="406">
                  <c:v>0.4017983068361497</c:v>
                </c:pt>
                <c:pt idx="407">
                  <c:v>0.40135543909513755</c:v>
                </c:pt>
                <c:pt idx="408">
                  <c:v>0.39708404015533955</c:v>
                </c:pt>
                <c:pt idx="409">
                  <c:v>0.39750489101802455</c:v>
                </c:pt>
                <c:pt idx="410">
                  <c:v>0.39275689313376855</c:v>
                </c:pt>
                <c:pt idx="411">
                  <c:v>0.39463297704563105</c:v>
                </c:pt>
                <c:pt idx="412">
                  <c:v>0.40053668185370739</c:v>
                </c:pt>
                <c:pt idx="413">
                  <c:v>0.39395443550110465</c:v>
                </c:pt>
                <c:pt idx="414">
                  <c:v>0.39194835958989216</c:v>
                </c:pt>
                <c:pt idx="415">
                  <c:v>0.38242884513982228</c:v>
                </c:pt>
                <c:pt idx="416">
                  <c:v>0.38037079224266163</c:v>
                </c:pt>
                <c:pt idx="417">
                  <c:v>0.37833881654422419</c:v>
                </c:pt>
                <c:pt idx="418">
                  <c:v>0.37669802495639354</c:v>
                </c:pt>
                <c:pt idx="419">
                  <c:v>0.37348503791365467</c:v>
                </c:pt>
                <c:pt idx="420">
                  <c:v>0.37599312855259037</c:v>
                </c:pt>
                <c:pt idx="421">
                  <c:v>0.37609170655196988</c:v>
                </c:pt>
                <c:pt idx="422">
                  <c:v>0.37690369973098165</c:v>
                </c:pt>
                <c:pt idx="423">
                  <c:v>0.3762866830741482</c:v>
                </c:pt>
                <c:pt idx="424">
                  <c:v>0.38036509949149733</c:v>
                </c:pt>
                <c:pt idx="425">
                  <c:v>0.38039295875027612</c:v>
                </c:pt>
                <c:pt idx="426">
                  <c:v>0.38056433294217284</c:v>
                </c:pt>
                <c:pt idx="427">
                  <c:v>0.38073087648105158</c:v>
                </c:pt>
                <c:pt idx="428">
                  <c:v>0.3775011410285643</c:v>
                </c:pt>
                <c:pt idx="429">
                  <c:v>0.37766795747614534</c:v>
                </c:pt>
                <c:pt idx="430">
                  <c:v>0.37732863396570449</c:v>
                </c:pt>
                <c:pt idx="431">
                  <c:v>0.37786913458046711</c:v>
                </c:pt>
                <c:pt idx="432">
                  <c:v>0.38168938790646229</c:v>
                </c:pt>
                <c:pt idx="433">
                  <c:v>0.38188551380711339</c:v>
                </c:pt>
                <c:pt idx="434">
                  <c:v>0.38286827924151234</c:v>
                </c:pt>
                <c:pt idx="435">
                  <c:v>0.38157685581899098</c:v>
                </c:pt>
                <c:pt idx="436">
                  <c:v>0.37969714989046394</c:v>
                </c:pt>
                <c:pt idx="437">
                  <c:v>0.37727758357648256</c:v>
                </c:pt>
                <c:pt idx="438">
                  <c:v>0.37709249011219681</c:v>
                </c:pt>
                <c:pt idx="439">
                  <c:v>0.3769204159598939</c:v>
                </c:pt>
                <c:pt idx="440">
                  <c:v>0.3775223375270203</c:v>
                </c:pt>
                <c:pt idx="441">
                  <c:v>0.37718938206235392</c:v>
                </c:pt>
                <c:pt idx="442">
                  <c:v>0.37807967841198969</c:v>
                </c:pt>
                <c:pt idx="443">
                  <c:v>0.37364932269852724</c:v>
                </c:pt>
                <c:pt idx="444">
                  <c:v>0.37331785269467216</c:v>
                </c:pt>
                <c:pt idx="445">
                  <c:v>0.3725924993628183</c:v>
                </c:pt>
                <c:pt idx="446">
                  <c:v>0.37233047875614306</c:v>
                </c:pt>
                <c:pt idx="447">
                  <c:v>0.3672237730640005</c:v>
                </c:pt>
                <c:pt idx="448">
                  <c:v>0.3666387426465646</c:v>
                </c:pt>
                <c:pt idx="449">
                  <c:v>0.36724294011864739</c:v>
                </c:pt>
                <c:pt idx="450">
                  <c:v>0.36697786713012681</c:v>
                </c:pt>
                <c:pt idx="451">
                  <c:v>0.36653886697097499</c:v>
                </c:pt>
                <c:pt idx="452">
                  <c:v>0.36715314059928539</c:v>
                </c:pt>
                <c:pt idx="453">
                  <c:v>0.3674740049290805</c:v>
                </c:pt>
                <c:pt idx="454">
                  <c:v>0.3637577208619317</c:v>
                </c:pt>
                <c:pt idx="455">
                  <c:v>0.35971670155859659</c:v>
                </c:pt>
                <c:pt idx="456">
                  <c:v>0.35660925355853806</c:v>
                </c:pt>
                <c:pt idx="457">
                  <c:v>0.35578989177030995</c:v>
                </c:pt>
                <c:pt idx="458">
                  <c:v>0.35559219465653269</c:v>
                </c:pt>
                <c:pt idx="459">
                  <c:v>0.35509826655312415</c:v>
                </c:pt>
                <c:pt idx="460">
                  <c:v>0.35451914667436829</c:v>
                </c:pt>
                <c:pt idx="461">
                  <c:v>0.3508133462689611</c:v>
                </c:pt>
                <c:pt idx="462">
                  <c:v>0.35101928621132705</c:v>
                </c:pt>
                <c:pt idx="463">
                  <c:v>0.35111210812624943</c:v>
                </c:pt>
                <c:pt idx="464">
                  <c:v>0.35178040992208909</c:v>
                </c:pt>
                <c:pt idx="465">
                  <c:v>0.35263016731472729</c:v>
                </c:pt>
                <c:pt idx="466">
                  <c:v>0.35288440870753224</c:v>
                </c:pt>
                <c:pt idx="467">
                  <c:v>0.35314364417404343</c:v>
                </c:pt>
                <c:pt idx="468">
                  <c:v>0.35290238212157965</c:v>
                </c:pt>
                <c:pt idx="469">
                  <c:v>0.35083463420807265</c:v>
                </c:pt>
                <c:pt idx="470">
                  <c:v>0.35127198933925324</c:v>
                </c:pt>
                <c:pt idx="471">
                  <c:v>0.35160220821433408</c:v>
                </c:pt>
                <c:pt idx="472">
                  <c:v>0.35132795312399956</c:v>
                </c:pt>
                <c:pt idx="473">
                  <c:v>0.34599746185145636</c:v>
                </c:pt>
                <c:pt idx="474">
                  <c:v>0.34576164700449746</c:v>
                </c:pt>
                <c:pt idx="475">
                  <c:v>0.34127001753282737</c:v>
                </c:pt>
                <c:pt idx="476">
                  <c:v>0.3406664861802769</c:v>
                </c:pt>
                <c:pt idx="477">
                  <c:v>0.34045583025205906</c:v>
                </c:pt>
                <c:pt idx="478">
                  <c:v>0.34028312985073855</c:v>
                </c:pt>
                <c:pt idx="479">
                  <c:v>0.34007211158254097</c:v>
                </c:pt>
                <c:pt idx="480">
                  <c:v>0.33222734392514924</c:v>
                </c:pt>
                <c:pt idx="481">
                  <c:v>0.33015762656800102</c:v>
                </c:pt>
                <c:pt idx="482">
                  <c:v>0.32525263644136304</c:v>
                </c:pt>
                <c:pt idx="483">
                  <c:v>0.32634480969779167</c:v>
                </c:pt>
                <c:pt idx="484">
                  <c:v>0.32491026702340137</c:v>
                </c:pt>
                <c:pt idx="485">
                  <c:v>0.32942572862048874</c:v>
                </c:pt>
                <c:pt idx="486">
                  <c:v>0.33154774487011945</c:v>
                </c:pt>
                <c:pt idx="487">
                  <c:v>0.34458944354202431</c:v>
                </c:pt>
                <c:pt idx="488">
                  <c:v>0.34171755072534349</c:v>
                </c:pt>
                <c:pt idx="489">
                  <c:v>0.34476070919499496</c:v>
                </c:pt>
                <c:pt idx="490">
                  <c:v>0.34462102493732472</c:v>
                </c:pt>
                <c:pt idx="491">
                  <c:v>0.34572965370266717</c:v>
                </c:pt>
                <c:pt idx="492">
                  <c:v>0.34547092770077342</c:v>
                </c:pt>
                <c:pt idx="493">
                  <c:v>0.34744119974293197</c:v>
                </c:pt>
                <c:pt idx="494">
                  <c:v>0.34702439441987037</c:v>
                </c:pt>
                <c:pt idx="495">
                  <c:v>0.34642432785732119</c:v>
                </c:pt>
                <c:pt idx="496">
                  <c:v>0.34806792676202303</c:v>
                </c:pt>
                <c:pt idx="497">
                  <c:v>0.35224973318398262</c:v>
                </c:pt>
                <c:pt idx="498">
                  <c:v>0.34552139485213085</c:v>
                </c:pt>
                <c:pt idx="499">
                  <c:v>0.34568417302910326</c:v>
                </c:pt>
                <c:pt idx="500">
                  <c:v>0.34453917427948955</c:v>
                </c:pt>
                <c:pt idx="501">
                  <c:v>0.34380827353151355</c:v>
                </c:pt>
                <c:pt idx="502">
                  <c:v>0.34562613282216631</c:v>
                </c:pt>
                <c:pt idx="503">
                  <c:v>0.3451733398988851</c:v>
                </c:pt>
                <c:pt idx="504">
                  <c:v>0.34696859880753306</c:v>
                </c:pt>
                <c:pt idx="505">
                  <c:v>0.34622982541191938</c:v>
                </c:pt>
                <c:pt idx="506">
                  <c:v>0.34483289586172566</c:v>
                </c:pt>
                <c:pt idx="507">
                  <c:v>0.34541691316315826</c:v>
                </c:pt>
                <c:pt idx="508">
                  <c:v>0.34621724713690827</c:v>
                </c:pt>
                <c:pt idx="509">
                  <c:v>0.34648966082393684</c:v>
                </c:pt>
                <c:pt idx="510">
                  <c:v>0.34594982361842014</c:v>
                </c:pt>
                <c:pt idx="511">
                  <c:v>0.3473857431083836</c:v>
                </c:pt>
                <c:pt idx="512">
                  <c:v>0.34695179453381614</c:v>
                </c:pt>
                <c:pt idx="513">
                  <c:v>0.34699310893843666</c:v>
                </c:pt>
                <c:pt idx="514">
                  <c:v>0.34742851369052746</c:v>
                </c:pt>
                <c:pt idx="515">
                  <c:v>0.3470280759110228</c:v>
                </c:pt>
                <c:pt idx="516">
                  <c:v>0.34748721526220816</c:v>
                </c:pt>
                <c:pt idx="517">
                  <c:v>0.34802125203814399</c:v>
                </c:pt>
                <c:pt idx="518">
                  <c:v>0.3487665404910481</c:v>
                </c:pt>
                <c:pt idx="519">
                  <c:v>0.34928943211587066</c:v>
                </c:pt>
                <c:pt idx="520">
                  <c:v>0.34915725953301269</c:v>
                </c:pt>
                <c:pt idx="521">
                  <c:v>0.34960840542098065</c:v>
                </c:pt>
                <c:pt idx="522">
                  <c:v>0.34957014538944936</c:v>
                </c:pt>
                <c:pt idx="523">
                  <c:v>0.34973146637281016</c:v>
                </c:pt>
                <c:pt idx="524">
                  <c:v>0.3517232428615224</c:v>
                </c:pt>
                <c:pt idx="525">
                  <c:v>0.35191678951576416</c:v>
                </c:pt>
                <c:pt idx="526">
                  <c:v>0.35118946403604373</c:v>
                </c:pt>
                <c:pt idx="527">
                  <c:v>0.34921512480703415</c:v>
                </c:pt>
                <c:pt idx="528">
                  <c:v>0.35021227330360644</c:v>
                </c:pt>
                <c:pt idx="529">
                  <c:v>0.35126895303135158</c:v>
                </c:pt>
                <c:pt idx="530">
                  <c:v>0.3512252000989346</c:v>
                </c:pt>
                <c:pt idx="531">
                  <c:v>0.35195046896800158</c:v>
                </c:pt>
                <c:pt idx="532">
                  <c:v>0.35251288720014062</c:v>
                </c:pt>
                <c:pt idx="533">
                  <c:v>0.35248793773294834</c:v>
                </c:pt>
                <c:pt idx="534">
                  <c:v>0.35281647119351489</c:v>
                </c:pt>
                <c:pt idx="535">
                  <c:v>0.35402703208615843</c:v>
                </c:pt>
                <c:pt idx="536">
                  <c:v>0.35492964380115644</c:v>
                </c:pt>
                <c:pt idx="537">
                  <c:v>0.35563531280800975</c:v>
                </c:pt>
                <c:pt idx="538">
                  <c:v>0.35629224945604832</c:v>
                </c:pt>
                <c:pt idx="539">
                  <c:v>0.35563144146550368</c:v>
                </c:pt>
                <c:pt idx="540">
                  <c:v>0.3564044648274427</c:v>
                </c:pt>
                <c:pt idx="541">
                  <c:v>0.35640708888157396</c:v>
                </c:pt>
                <c:pt idx="542">
                  <c:v>0.3569006463819695</c:v>
                </c:pt>
                <c:pt idx="543">
                  <c:v>0.35674071359756415</c:v>
                </c:pt>
                <c:pt idx="544">
                  <c:v>0.35619333965659528</c:v>
                </c:pt>
                <c:pt idx="545">
                  <c:v>0.35617913736431328</c:v>
                </c:pt>
                <c:pt idx="546">
                  <c:v>0.35593588312764801</c:v>
                </c:pt>
                <c:pt idx="547">
                  <c:v>0.35709595093417384</c:v>
                </c:pt>
                <c:pt idx="548">
                  <c:v>0.35706888875692416</c:v>
                </c:pt>
                <c:pt idx="549">
                  <c:v>0.35708110854197112</c:v>
                </c:pt>
                <c:pt idx="550">
                  <c:v>0.35703041013223996</c:v>
                </c:pt>
                <c:pt idx="551">
                  <c:v>0.35701993802910842</c:v>
                </c:pt>
                <c:pt idx="552">
                  <c:v>0.35633477555741316</c:v>
                </c:pt>
                <c:pt idx="553">
                  <c:v>0.35636160069611089</c:v>
                </c:pt>
                <c:pt idx="554">
                  <c:v>0.35887406276221367</c:v>
                </c:pt>
                <c:pt idx="555">
                  <c:v>0.35900291536734102</c:v>
                </c:pt>
                <c:pt idx="556">
                  <c:v>0.35906514796657851</c:v>
                </c:pt>
                <c:pt idx="557">
                  <c:v>0.35926872207881222</c:v>
                </c:pt>
                <c:pt idx="558">
                  <c:v>0.35842888115321109</c:v>
                </c:pt>
                <c:pt idx="559">
                  <c:v>0.35899326706778301</c:v>
                </c:pt>
                <c:pt idx="560">
                  <c:v>0.35947829647097013</c:v>
                </c:pt>
                <c:pt idx="561">
                  <c:v>0.35909820274836518</c:v>
                </c:pt>
                <c:pt idx="562">
                  <c:v>0.35907881456021157</c:v>
                </c:pt>
                <c:pt idx="563">
                  <c:v>0.3590386020911242</c:v>
                </c:pt>
                <c:pt idx="564">
                  <c:v>0.35921195617241475</c:v>
                </c:pt>
                <c:pt idx="565">
                  <c:v>0.35918716392042321</c:v>
                </c:pt>
                <c:pt idx="566">
                  <c:v>0.35986616556754031</c:v>
                </c:pt>
                <c:pt idx="567">
                  <c:v>0.35911176372637876</c:v>
                </c:pt>
                <c:pt idx="568">
                  <c:v>0.35909484047535428</c:v>
                </c:pt>
                <c:pt idx="569">
                  <c:v>0.3599273411795646</c:v>
                </c:pt>
                <c:pt idx="570">
                  <c:v>0.36018797857296397</c:v>
                </c:pt>
                <c:pt idx="571">
                  <c:v>0.36012649116266288</c:v>
                </c:pt>
                <c:pt idx="572">
                  <c:v>0.35930748453462519</c:v>
                </c:pt>
                <c:pt idx="573">
                  <c:v>0.35995912712165717</c:v>
                </c:pt>
                <c:pt idx="574">
                  <c:v>0.35966538643014018</c:v>
                </c:pt>
                <c:pt idx="575">
                  <c:v>0.35881755448772462</c:v>
                </c:pt>
                <c:pt idx="576">
                  <c:v>0.35938459120953564</c:v>
                </c:pt>
                <c:pt idx="577">
                  <c:v>0.35932205009422225</c:v>
                </c:pt>
                <c:pt idx="578">
                  <c:v>0.35921334185446041</c:v>
                </c:pt>
                <c:pt idx="579">
                  <c:v>0.35913841624445941</c:v>
                </c:pt>
                <c:pt idx="580">
                  <c:v>0.35918827129279685</c:v>
                </c:pt>
                <c:pt idx="581">
                  <c:v>0.35912244529676729</c:v>
                </c:pt>
                <c:pt idx="582">
                  <c:v>0.35883007823842195</c:v>
                </c:pt>
                <c:pt idx="583">
                  <c:v>0.35901540281319166</c:v>
                </c:pt>
                <c:pt idx="584">
                  <c:v>0.3591304158399341</c:v>
                </c:pt>
                <c:pt idx="585">
                  <c:v>0.35956539068583332</c:v>
                </c:pt>
                <c:pt idx="586">
                  <c:v>0.35940905754390007</c:v>
                </c:pt>
                <c:pt idx="587">
                  <c:v>0.3592306846180523</c:v>
                </c:pt>
                <c:pt idx="588">
                  <c:v>0.35941883804453933</c:v>
                </c:pt>
                <c:pt idx="589">
                  <c:v>0.35963156653387635</c:v>
                </c:pt>
                <c:pt idx="590">
                  <c:v>0.35972025052931705</c:v>
                </c:pt>
                <c:pt idx="591">
                  <c:v>0.35968016894119736</c:v>
                </c:pt>
                <c:pt idx="592">
                  <c:v>0.36013131187940101</c:v>
                </c:pt>
                <c:pt idx="593">
                  <c:v>0.36014003802368472</c:v>
                </c:pt>
                <c:pt idx="594">
                  <c:v>0.36050477293567779</c:v>
                </c:pt>
                <c:pt idx="595">
                  <c:v>0.36110411280653426</c:v>
                </c:pt>
                <c:pt idx="596">
                  <c:v>0.36037883939546334</c:v>
                </c:pt>
                <c:pt idx="597">
                  <c:v>0.36032536084369282</c:v>
                </c:pt>
                <c:pt idx="598">
                  <c:v>0.36014976719594288</c:v>
                </c:pt>
                <c:pt idx="599">
                  <c:v>0.36057388513316985</c:v>
                </c:pt>
                <c:pt idx="600">
                  <c:v>0.36040175791657703</c:v>
                </c:pt>
                <c:pt idx="601">
                  <c:v>0.36054175926552157</c:v>
                </c:pt>
                <c:pt idx="602">
                  <c:v>0.36001009396936279</c:v>
                </c:pt>
                <c:pt idx="603">
                  <c:v>0.36067723215052533</c:v>
                </c:pt>
                <c:pt idx="604">
                  <c:v>0.3614663057828888</c:v>
                </c:pt>
                <c:pt idx="605">
                  <c:v>0.36210679385831401</c:v>
                </c:pt>
                <c:pt idx="606">
                  <c:v>0.36152713311129669</c:v>
                </c:pt>
                <c:pt idx="607">
                  <c:v>0.36221875304056927</c:v>
                </c:pt>
                <c:pt idx="608">
                  <c:v>0.36247511686239436</c:v>
                </c:pt>
                <c:pt idx="609">
                  <c:v>0.36252660288257033</c:v>
                </c:pt>
                <c:pt idx="610">
                  <c:v>0.36280813339572154</c:v>
                </c:pt>
                <c:pt idx="611">
                  <c:v>0.36332199501079993</c:v>
                </c:pt>
                <c:pt idx="612">
                  <c:v>0.36403245666192297</c:v>
                </c:pt>
                <c:pt idx="613">
                  <c:v>0.36622307364268497</c:v>
                </c:pt>
                <c:pt idx="614">
                  <c:v>0.36805079527952522</c:v>
                </c:pt>
                <c:pt idx="615">
                  <c:v>0.36836051186241731</c:v>
                </c:pt>
                <c:pt idx="616">
                  <c:v>0.36798181703036292</c:v>
                </c:pt>
                <c:pt idx="617">
                  <c:v>0.36632209482320194</c:v>
                </c:pt>
                <c:pt idx="618">
                  <c:v>0.36635160187747806</c:v>
                </c:pt>
                <c:pt idx="619">
                  <c:v>0.3663905053115778</c:v>
                </c:pt>
                <c:pt idx="620">
                  <c:v>0.36565928883636034</c:v>
                </c:pt>
                <c:pt idx="621">
                  <c:v>0.36582751020226539</c:v>
                </c:pt>
                <c:pt idx="622">
                  <c:v>0.36517690586750118</c:v>
                </c:pt>
                <c:pt idx="623">
                  <c:v>0.36541000094401499</c:v>
                </c:pt>
                <c:pt idx="624">
                  <c:v>0.36465263937303227</c:v>
                </c:pt>
                <c:pt idx="625">
                  <c:v>0.3644905125161485</c:v>
                </c:pt>
                <c:pt idx="626">
                  <c:v>0.36405925099351427</c:v>
                </c:pt>
                <c:pt idx="627">
                  <c:v>0.36368752243399105</c:v>
                </c:pt>
                <c:pt idx="628">
                  <c:v>0.3641764417042303</c:v>
                </c:pt>
                <c:pt idx="629">
                  <c:v>0.36385318671801847</c:v>
                </c:pt>
                <c:pt idx="630">
                  <c:v>0.36537814811509794</c:v>
                </c:pt>
                <c:pt idx="631">
                  <c:v>0.3668770823734922</c:v>
                </c:pt>
                <c:pt idx="632">
                  <c:v>0.36809593958145326</c:v>
                </c:pt>
                <c:pt idx="633">
                  <c:v>0.37093705896479201</c:v>
                </c:pt>
                <c:pt idx="634">
                  <c:v>0.37145938529695366</c:v>
                </c:pt>
                <c:pt idx="635">
                  <c:v>0.37162775833588396</c:v>
                </c:pt>
                <c:pt idx="636">
                  <c:v>0.37208459513079456</c:v>
                </c:pt>
                <c:pt idx="637">
                  <c:v>0.37254475675125631</c:v>
                </c:pt>
                <c:pt idx="638">
                  <c:v>0.37327894406159251</c:v>
                </c:pt>
                <c:pt idx="639">
                  <c:v>0.37304061232026003</c:v>
                </c:pt>
                <c:pt idx="640">
                  <c:v>0.37312620333980295</c:v>
                </c:pt>
                <c:pt idx="641">
                  <c:v>0.37326338098214551</c:v>
                </c:pt>
                <c:pt idx="642">
                  <c:v>0.37371670617835312</c:v>
                </c:pt>
                <c:pt idx="643">
                  <c:v>0.37375544524552823</c:v>
                </c:pt>
                <c:pt idx="644">
                  <c:v>0.37335817596830612</c:v>
                </c:pt>
                <c:pt idx="645">
                  <c:v>0.37310169511253827</c:v>
                </c:pt>
                <c:pt idx="646">
                  <c:v>0.37283832911198611</c:v>
                </c:pt>
                <c:pt idx="647">
                  <c:v>0.37171493515617754</c:v>
                </c:pt>
                <c:pt idx="648">
                  <c:v>0.37133073601735761</c:v>
                </c:pt>
                <c:pt idx="649">
                  <c:v>0.37060998424624947</c:v>
                </c:pt>
                <c:pt idx="650">
                  <c:v>0.37070440257137616</c:v>
                </c:pt>
                <c:pt idx="651">
                  <c:v>0.37062902252599955</c:v>
                </c:pt>
                <c:pt idx="652">
                  <c:v>0.37055571809774374</c:v>
                </c:pt>
                <c:pt idx="653">
                  <c:v>0.37037085297772876</c:v>
                </c:pt>
                <c:pt idx="654">
                  <c:v>0.37008905813594956</c:v>
                </c:pt>
                <c:pt idx="655">
                  <c:v>0.37003031183955387</c:v>
                </c:pt>
                <c:pt idx="656">
                  <c:v>0.36990147912411891</c:v>
                </c:pt>
                <c:pt idx="657">
                  <c:v>0.36972779445737108</c:v>
                </c:pt>
                <c:pt idx="658">
                  <c:v>0.36939758661373706</c:v>
                </c:pt>
                <c:pt idx="659">
                  <c:v>0.36933462455839211</c:v>
                </c:pt>
                <c:pt idx="660">
                  <c:v>0.36929650477780035</c:v>
                </c:pt>
                <c:pt idx="661">
                  <c:v>0.37014739380211509</c:v>
                </c:pt>
                <c:pt idx="662">
                  <c:v>0.36995469886182036</c:v>
                </c:pt>
                <c:pt idx="663">
                  <c:v>0.37047201635360355</c:v>
                </c:pt>
                <c:pt idx="664">
                  <c:v>0.36942180284612108</c:v>
                </c:pt>
                <c:pt idx="665">
                  <c:v>0.37060116265928278</c:v>
                </c:pt>
                <c:pt idx="666">
                  <c:v>0.37137401395663205</c:v>
                </c:pt>
                <c:pt idx="667">
                  <c:v>0.37625697525161222</c:v>
                </c:pt>
                <c:pt idx="668">
                  <c:v>0.37755471639213001</c:v>
                </c:pt>
                <c:pt idx="669">
                  <c:v>0.37835425612788165</c:v>
                </c:pt>
                <c:pt idx="670">
                  <c:v>0.37867335487718928</c:v>
                </c:pt>
                <c:pt idx="671">
                  <c:v>0.37870736598610566</c:v>
                </c:pt>
                <c:pt idx="672">
                  <c:v>0.37584816523081999</c:v>
                </c:pt>
                <c:pt idx="673">
                  <c:v>0.37521677830799127</c:v>
                </c:pt>
                <c:pt idx="674">
                  <c:v>0.3748410963798024</c:v>
                </c:pt>
                <c:pt idx="675">
                  <c:v>0.37470536493454204</c:v>
                </c:pt>
                <c:pt idx="676">
                  <c:v>0.37181850501256269</c:v>
                </c:pt>
                <c:pt idx="677">
                  <c:v>0.3719840239758726</c:v>
                </c:pt>
                <c:pt idx="678">
                  <c:v>0.37134800790680461</c:v>
                </c:pt>
                <c:pt idx="679">
                  <c:v>0.37118763118608206</c:v>
                </c:pt>
                <c:pt idx="680">
                  <c:v>0.37134951549017398</c:v>
                </c:pt>
                <c:pt idx="681">
                  <c:v>0.37142976532926392</c:v>
                </c:pt>
                <c:pt idx="682">
                  <c:v>0.37258230352748373</c:v>
                </c:pt>
                <c:pt idx="683">
                  <c:v>0.37192983530801899</c:v>
                </c:pt>
                <c:pt idx="684">
                  <c:v>0.37201097996148358</c:v>
                </c:pt>
                <c:pt idx="685">
                  <c:v>0.37218298157297885</c:v>
                </c:pt>
                <c:pt idx="686">
                  <c:v>0.37201518267880207</c:v>
                </c:pt>
                <c:pt idx="687">
                  <c:v>0.3718753037407358</c:v>
                </c:pt>
                <c:pt idx="688">
                  <c:v>0.37208241399749453</c:v>
                </c:pt>
                <c:pt idx="689">
                  <c:v>0.37368094027879323</c:v>
                </c:pt>
                <c:pt idx="690">
                  <c:v>0.37351319645466702</c:v>
                </c:pt>
                <c:pt idx="691">
                  <c:v>0.37462793545875683</c:v>
                </c:pt>
                <c:pt idx="692">
                  <c:v>0.37522625369660395</c:v>
                </c:pt>
                <c:pt idx="693">
                  <c:v>0.37713401250306766</c:v>
                </c:pt>
                <c:pt idx="694">
                  <c:v>0.37707681487821371</c:v>
                </c:pt>
                <c:pt idx="695">
                  <c:v>0.37699340633773498</c:v>
                </c:pt>
                <c:pt idx="696">
                  <c:v>0.37671942205894898</c:v>
                </c:pt>
                <c:pt idx="697">
                  <c:v>0.37721923774879179</c:v>
                </c:pt>
                <c:pt idx="698">
                  <c:v>0.3772084598976902</c:v>
                </c:pt>
                <c:pt idx="699">
                  <c:v>0.37749645120774422</c:v>
                </c:pt>
                <c:pt idx="700">
                  <c:v>0.37876013869997316</c:v>
                </c:pt>
                <c:pt idx="701">
                  <c:v>0.37792257358137071</c:v>
                </c:pt>
                <c:pt idx="702">
                  <c:v>0.37763665189370926</c:v>
                </c:pt>
                <c:pt idx="703">
                  <c:v>0.37522232357599528</c:v>
                </c:pt>
                <c:pt idx="704">
                  <c:v>0.373648953053904</c:v>
                </c:pt>
                <c:pt idx="705">
                  <c:v>0.37255408495552889</c:v>
                </c:pt>
                <c:pt idx="706">
                  <c:v>0.37245127773705816</c:v>
                </c:pt>
                <c:pt idx="707">
                  <c:v>0.37155736594696109</c:v>
                </c:pt>
                <c:pt idx="708">
                  <c:v>0.37146163198795984</c:v>
                </c:pt>
                <c:pt idx="709">
                  <c:v>0.37215662397751559</c:v>
                </c:pt>
                <c:pt idx="710">
                  <c:v>0.37215160926406332</c:v>
                </c:pt>
                <c:pt idx="711">
                  <c:v>0.37224276698874215</c:v>
                </c:pt>
                <c:pt idx="712">
                  <c:v>0.37192244631115851</c:v>
                </c:pt>
                <c:pt idx="713">
                  <c:v>0.37193608494695596</c:v>
                </c:pt>
                <c:pt idx="714">
                  <c:v>0.37205218054288114</c:v>
                </c:pt>
                <c:pt idx="715">
                  <c:v>0.37209688094173754</c:v>
                </c:pt>
                <c:pt idx="716">
                  <c:v>0.37174925713542178</c:v>
                </c:pt>
                <c:pt idx="717">
                  <c:v>0.37155970490790885</c:v>
                </c:pt>
                <c:pt idx="718">
                  <c:v>0.37142100430292224</c:v>
                </c:pt>
                <c:pt idx="719">
                  <c:v>0.37123696543907581</c:v>
                </c:pt>
                <c:pt idx="720">
                  <c:v>0.37131122433686142</c:v>
                </c:pt>
                <c:pt idx="721">
                  <c:v>0.37173729383844134</c:v>
                </c:pt>
                <c:pt idx="722">
                  <c:v>0.37086515758836497</c:v>
                </c:pt>
                <c:pt idx="723">
                  <c:v>0.3707869155040992</c:v>
                </c:pt>
                <c:pt idx="724">
                  <c:v>0.37091409645748002</c:v>
                </c:pt>
                <c:pt idx="725">
                  <c:v>0.37340661163221162</c:v>
                </c:pt>
                <c:pt idx="726">
                  <c:v>0.37297066635750459</c:v>
                </c:pt>
                <c:pt idx="727">
                  <c:v>0.37313271766485906</c:v>
                </c:pt>
                <c:pt idx="728">
                  <c:v>0.37313625994313676</c:v>
                </c:pt>
                <c:pt idx="729">
                  <c:v>0.37356268866628534</c:v>
                </c:pt>
                <c:pt idx="730">
                  <c:v>0.37365207387962918</c:v>
                </c:pt>
                <c:pt idx="731">
                  <c:v>0.37174261446830947</c:v>
                </c:pt>
                <c:pt idx="732">
                  <c:v>0.37741380709203376</c:v>
                </c:pt>
                <c:pt idx="733">
                  <c:v>0.37889234572192382</c:v>
                </c:pt>
                <c:pt idx="734">
                  <c:v>0.38155119540385979</c:v>
                </c:pt>
                <c:pt idx="735">
                  <c:v>0.38214227333575906</c:v>
                </c:pt>
                <c:pt idx="736">
                  <c:v>0.3831739438424987</c:v>
                </c:pt>
                <c:pt idx="737">
                  <c:v>0.38139059026108135</c:v>
                </c:pt>
                <c:pt idx="738">
                  <c:v>0.38056831010369074</c:v>
                </c:pt>
                <c:pt idx="739">
                  <c:v>0.37290121716178526</c:v>
                </c:pt>
                <c:pt idx="740">
                  <c:v>0.37605131624258553</c:v>
                </c:pt>
                <c:pt idx="741">
                  <c:v>0.3766723183081066</c:v>
                </c:pt>
                <c:pt idx="742">
                  <c:v>0.3770329972147512</c:v>
                </c:pt>
                <c:pt idx="743">
                  <c:v>0.3768511321393771</c:v>
                </c:pt>
                <c:pt idx="744">
                  <c:v>0.37601968374127326</c:v>
                </c:pt>
                <c:pt idx="745">
                  <c:v>0.37308967292747458</c:v>
                </c:pt>
                <c:pt idx="746">
                  <c:v>0.37276541360361659</c:v>
                </c:pt>
                <c:pt idx="747">
                  <c:v>0.37028167207593105</c:v>
                </c:pt>
                <c:pt idx="748">
                  <c:v>0.36846021382971161</c:v>
                </c:pt>
                <c:pt idx="749">
                  <c:v>0.36367266148750194</c:v>
                </c:pt>
                <c:pt idx="750">
                  <c:v>0.36830089470104338</c:v>
                </c:pt>
                <c:pt idx="751">
                  <c:v>0.36855937524830079</c:v>
                </c:pt>
                <c:pt idx="752">
                  <c:v>0.36971720089782834</c:v>
                </c:pt>
                <c:pt idx="753">
                  <c:v>0.36975959027225647</c:v>
                </c:pt>
                <c:pt idx="754">
                  <c:v>0.36854351400920321</c:v>
                </c:pt>
                <c:pt idx="755">
                  <c:v>0.36968954869866794</c:v>
                </c:pt>
                <c:pt idx="756">
                  <c:v>0.36908056398162692</c:v>
                </c:pt>
                <c:pt idx="757">
                  <c:v>0.37020170580264178</c:v>
                </c:pt>
                <c:pt idx="758">
                  <c:v>0.37029613151105106</c:v>
                </c:pt>
                <c:pt idx="759">
                  <c:v>0.36990741258090126</c:v>
                </c:pt>
                <c:pt idx="760">
                  <c:v>0.36888032583899638</c:v>
                </c:pt>
                <c:pt idx="761">
                  <c:v>0.36895255623509127</c:v>
                </c:pt>
                <c:pt idx="762">
                  <c:v>0.36890456307913794</c:v>
                </c:pt>
                <c:pt idx="763">
                  <c:v>0.36753883743246263</c:v>
                </c:pt>
                <c:pt idx="764">
                  <c:v>0.36885708397838102</c:v>
                </c:pt>
                <c:pt idx="765">
                  <c:v>0.36872707918358166</c:v>
                </c:pt>
                <c:pt idx="766">
                  <c:v>0.3685764947556664</c:v>
                </c:pt>
                <c:pt idx="767">
                  <c:v>0.37033740569210205</c:v>
                </c:pt>
                <c:pt idx="768">
                  <c:v>0.37251035342912181</c:v>
                </c:pt>
                <c:pt idx="769">
                  <c:v>0.37227089619448844</c:v>
                </c:pt>
                <c:pt idx="770">
                  <c:v>0.37266485499711993</c:v>
                </c:pt>
                <c:pt idx="771">
                  <c:v>0.37185479586879655</c:v>
                </c:pt>
                <c:pt idx="772">
                  <c:v>0.37150078556759786</c:v>
                </c:pt>
                <c:pt idx="773">
                  <c:v>0.36940570370750725</c:v>
                </c:pt>
                <c:pt idx="774">
                  <c:v>0.37026118048395473</c:v>
                </c:pt>
                <c:pt idx="775">
                  <c:v>0.37017757056838069</c:v>
                </c:pt>
                <c:pt idx="776">
                  <c:v>0.36743327210444693</c:v>
                </c:pt>
                <c:pt idx="777">
                  <c:v>0.36711360224192813</c:v>
                </c:pt>
                <c:pt idx="778">
                  <c:v>0.36877450032543024</c:v>
                </c:pt>
                <c:pt idx="779">
                  <c:v>0.37112712886814364</c:v>
                </c:pt>
                <c:pt idx="780">
                  <c:v>0.37075057407941764</c:v>
                </c:pt>
                <c:pt idx="781">
                  <c:v>0.36904323794290778</c:v>
                </c:pt>
                <c:pt idx="782">
                  <c:v>0.36948334433938629</c:v>
                </c:pt>
                <c:pt idx="783">
                  <c:v>0.36953382747833668</c:v>
                </c:pt>
                <c:pt idx="784">
                  <c:v>0.37290215166473839</c:v>
                </c:pt>
                <c:pt idx="785">
                  <c:v>0.37257236483111073</c:v>
                </c:pt>
                <c:pt idx="786">
                  <c:v>0.37216949277130273</c:v>
                </c:pt>
                <c:pt idx="787">
                  <c:v>0.37287001418566013</c:v>
                </c:pt>
                <c:pt idx="788">
                  <c:v>0.37047709837966897</c:v>
                </c:pt>
                <c:pt idx="789">
                  <c:v>0.37074858808812705</c:v>
                </c:pt>
                <c:pt idx="790">
                  <c:v>0.37045789268487972</c:v>
                </c:pt>
                <c:pt idx="791">
                  <c:v>0.37148656531542551</c:v>
                </c:pt>
                <c:pt idx="792">
                  <c:v>0.37155601467497257</c:v>
                </c:pt>
                <c:pt idx="793">
                  <c:v>0.37167400974648762</c:v>
                </c:pt>
                <c:pt idx="794">
                  <c:v>0.36991314169942868</c:v>
                </c:pt>
                <c:pt idx="795">
                  <c:v>0.37056458839652356</c:v>
                </c:pt>
                <c:pt idx="796">
                  <c:v>0.37144435667336284</c:v>
                </c:pt>
                <c:pt idx="797">
                  <c:v>0.37112539762400432</c:v>
                </c:pt>
                <c:pt idx="798">
                  <c:v>0.36840679377661445</c:v>
                </c:pt>
                <c:pt idx="799">
                  <c:v>0.3665028208885221</c:v>
                </c:pt>
                <c:pt idx="800">
                  <c:v>0.36885371654488258</c:v>
                </c:pt>
                <c:pt idx="801">
                  <c:v>0.36780676777461402</c:v>
                </c:pt>
                <c:pt idx="802">
                  <c:v>0.38582001467120941</c:v>
                </c:pt>
                <c:pt idx="803">
                  <c:v>0.38615818554072778</c:v>
                </c:pt>
                <c:pt idx="804">
                  <c:v>0.38293234836834661</c:v>
                </c:pt>
                <c:pt idx="805">
                  <c:v>0.39455135528012741</c:v>
                </c:pt>
                <c:pt idx="806">
                  <c:v>0.39929663697500895</c:v>
                </c:pt>
                <c:pt idx="807">
                  <c:v>0.39887388908825816</c:v>
                </c:pt>
                <c:pt idx="808">
                  <c:v>0.39734016592360766</c:v>
                </c:pt>
                <c:pt idx="809">
                  <c:v>0.3953365865516541</c:v>
                </c:pt>
                <c:pt idx="810">
                  <c:v>0.39599388890763454</c:v>
                </c:pt>
                <c:pt idx="811">
                  <c:v>0.39476829983993672</c:v>
                </c:pt>
                <c:pt idx="812">
                  <c:v>0.39530913026646769</c:v>
                </c:pt>
                <c:pt idx="813">
                  <c:v>0.39609645679272937</c:v>
                </c:pt>
                <c:pt idx="814">
                  <c:v>0.39563013406795816</c:v>
                </c:pt>
                <c:pt idx="815">
                  <c:v>0.39163330931059565</c:v>
                </c:pt>
                <c:pt idx="816">
                  <c:v>0.39160289494572592</c:v>
                </c:pt>
                <c:pt idx="817">
                  <c:v>0.38978432566354348</c:v>
                </c:pt>
                <c:pt idx="818">
                  <c:v>0.38783385503167878</c:v>
                </c:pt>
                <c:pt idx="819">
                  <c:v>0.38868916835861544</c:v>
                </c:pt>
                <c:pt idx="820">
                  <c:v>0.38912282766230072</c:v>
                </c:pt>
                <c:pt idx="821">
                  <c:v>0.38821132184783352</c:v>
                </c:pt>
                <c:pt idx="822">
                  <c:v>0.38815775569928851</c:v>
                </c:pt>
                <c:pt idx="823">
                  <c:v>0.38851196529910026</c:v>
                </c:pt>
                <c:pt idx="824">
                  <c:v>0.38914294778222697</c:v>
                </c:pt>
                <c:pt idx="825">
                  <c:v>0.38903608899082504</c:v>
                </c:pt>
                <c:pt idx="826">
                  <c:v>0.38931441611960971</c:v>
                </c:pt>
                <c:pt idx="827">
                  <c:v>0.39178141023816049</c:v>
                </c:pt>
                <c:pt idx="828">
                  <c:v>0.39120311535989921</c:v>
                </c:pt>
                <c:pt idx="829">
                  <c:v>0.39046273098479589</c:v>
                </c:pt>
                <c:pt idx="830">
                  <c:v>0.3907559735523139</c:v>
                </c:pt>
                <c:pt idx="831">
                  <c:v>0.39163654230982753</c:v>
                </c:pt>
                <c:pt idx="832">
                  <c:v>0.39157947791313436</c:v>
                </c:pt>
                <c:pt idx="833">
                  <c:v>0.39185197615173023</c:v>
                </c:pt>
                <c:pt idx="834">
                  <c:v>0.39210074714008214</c:v>
                </c:pt>
                <c:pt idx="835">
                  <c:v>0.39296216393802552</c:v>
                </c:pt>
                <c:pt idx="836">
                  <c:v>0.39423640119086245</c:v>
                </c:pt>
                <c:pt idx="837">
                  <c:v>0.39435326899982159</c:v>
                </c:pt>
                <c:pt idx="838">
                  <c:v>0.39494969469565167</c:v>
                </c:pt>
                <c:pt idx="839">
                  <c:v>0.39484021808922509</c:v>
                </c:pt>
                <c:pt idx="840">
                  <c:v>0.39575399601257533</c:v>
                </c:pt>
                <c:pt idx="841">
                  <c:v>0.39544466916115023</c:v>
                </c:pt>
                <c:pt idx="842">
                  <c:v>0.39773682127841575</c:v>
                </c:pt>
                <c:pt idx="843">
                  <c:v>0.39961914342086918</c:v>
                </c:pt>
                <c:pt idx="844">
                  <c:v>0.40041207152806041</c:v>
                </c:pt>
                <c:pt idx="845">
                  <c:v>0.40117327313437756</c:v>
                </c:pt>
                <c:pt idx="846">
                  <c:v>0.40094801331217722</c:v>
                </c:pt>
                <c:pt idx="847">
                  <c:v>0.40039846302776466</c:v>
                </c:pt>
                <c:pt idx="848">
                  <c:v>0.40285716020275286</c:v>
                </c:pt>
                <c:pt idx="849">
                  <c:v>0.40278100598118127</c:v>
                </c:pt>
                <c:pt idx="850">
                  <c:v>0.40424361018012317</c:v>
                </c:pt>
                <c:pt idx="851">
                  <c:v>0.40389144479156541</c:v>
                </c:pt>
                <c:pt idx="852">
                  <c:v>0.40474715087562851</c:v>
                </c:pt>
                <c:pt idx="853">
                  <c:v>0.40526462785004203</c:v>
                </c:pt>
                <c:pt idx="854">
                  <c:v>0.40624123582384702</c:v>
                </c:pt>
                <c:pt idx="855">
                  <c:v>0.4069286843778433</c:v>
                </c:pt>
                <c:pt idx="856">
                  <c:v>0.40686755876108055</c:v>
                </c:pt>
                <c:pt idx="857">
                  <c:v>0.40695086721341206</c:v>
                </c:pt>
                <c:pt idx="858">
                  <c:v>0.40838284228928895</c:v>
                </c:pt>
                <c:pt idx="859">
                  <c:v>0.4089532177831669</c:v>
                </c:pt>
                <c:pt idx="860">
                  <c:v>0.40898319809818412</c:v>
                </c:pt>
                <c:pt idx="861">
                  <c:v>0.41448060786990409</c:v>
                </c:pt>
                <c:pt idx="862">
                  <c:v>0.41434587782979282</c:v>
                </c:pt>
                <c:pt idx="863">
                  <c:v>0.4166995593854611</c:v>
                </c:pt>
                <c:pt idx="864">
                  <c:v>0.42031663706448497</c:v>
                </c:pt>
                <c:pt idx="865">
                  <c:v>0.41928925479781765</c:v>
                </c:pt>
                <c:pt idx="866">
                  <c:v>0.41833544947035328</c:v>
                </c:pt>
                <c:pt idx="867">
                  <c:v>0.41817776913530513</c:v>
                </c:pt>
                <c:pt idx="868">
                  <c:v>0.4181588808718113</c:v>
                </c:pt>
                <c:pt idx="869">
                  <c:v>0.41906677197394887</c:v>
                </c:pt>
                <c:pt idx="870">
                  <c:v>0.42717481901027338</c:v>
                </c:pt>
                <c:pt idx="871">
                  <c:v>0.42809751377150712</c:v>
                </c:pt>
                <c:pt idx="872">
                  <c:v>0.42806415571098722</c:v>
                </c:pt>
                <c:pt idx="873">
                  <c:v>0.42804343824851943</c:v>
                </c:pt>
                <c:pt idx="874">
                  <c:v>0.42894897369181501</c:v>
                </c:pt>
                <c:pt idx="875">
                  <c:v>0.42948638298100728</c:v>
                </c:pt>
                <c:pt idx="876">
                  <c:v>0.43126872397866328</c:v>
                </c:pt>
                <c:pt idx="877">
                  <c:v>0.43105596457278289</c:v>
                </c:pt>
                <c:pt idx="878">
                  <c:v>0.43146410647719946</c:v>
                </c:pt>
                <c:pt idx="879">
                  <c:v>0.43231105219382465</c:v>
                </c:pt>
                <c:pt idx="880">
                  <c:v>0.43234508225548696</c:v>
                </c:pt>
                <c:pt idx="881">
                  <c:v>0.43343035253268686</c:v>
                </c:pt>
                <c:pt idx="882">
                  <c:v>0.43487058441714938</c:v>
                </c:pt>
                <c:pt idx="883">
                  <c:v>0.43394348117807346</c:v>
                </c:pt>
                <c:pt idx="884">
                  <c:v>0.43566022698038798</c:v>
                </c:pt>
                <c:pt idx="885">
                  <c:v>0.43412181477640943</c:v>
                </c:pt>
                <c:pt idx="886">
                  <c:v>0.43392885331237407</c:v>
                </c:pt>
                <c:pt idx="887">
                  <c:v>0.43385391509303134</c:v>
                </c:pt>
                <c:pt idx="888">
                  <c:v>0.43387102540491024</c:v>
                </c:pt>
                <c:pt idx="889">
                  <c:v>0.43375640181099279</c:v>
                </c:pt>
                <c:pt idx="890">
                  <c:v>0.43432526585269743</c:v>
                </c:pt>
                <c:pt idx="891">
                  <c:v>0.4359850531491013</c:v>
                </c:pt>
                <c:pt idx="892">
                  <c:v>0.43550714562224735</c:v>
                </c:pt>
                <c:pt idx="893">
                  <c:v>0.43550719067641802</c:v>
                </c:pt>
                <c:pt idx="894">
                  <c:v>0.43537086811304965</c:v>
                </c:pt>
                <c:pt idx="895">
                  <c:v>0.43588894363630931</c:v>
                </c:pt>
                <c:pt idx="896">
                  <c:v>0.43746301358331285</c:v>
                </c:pt>
                <c:pt idx="897">
                  <c:v>0.43733383945305759</c:v>
                </c:pt>
                <c:pt idx="898">
                  <c:v>0.43842967497052249</c:v>
                </c:pt>
                <c:pt idx="899">
                  <c:v>0.44082896744820194</c:v>
                </c:pt>
                <c:pt idx="900">
                  <c:v>0.44126464995205861</c:v>
                </c:pt>
                <c:pt idx="901">
                  <c:v>0.44176305819144551</c:v>
                </c:pt>
                <c:pt idx="902">
                  <c:v>0.44086585092937419</c:v>
                </c:pt>
                <c:pt idx="903">
                  <c:v>0.44107242474662017</c:v>
                </c:pt>
                <c:pt idx="904">
                  <c:v>0.44120864328947507</c:v>
                </c:pt>
                <c:pt idx="905">
                  <c:v>0.4414399518121882</c:v>
                </c:pt>
                <c:pt idx="906">
                  <c:v>0.44187006591158856</c:v>
                </c:pt>
                <c:pt idx="907">
                  <c:v>0.4419761617335185</c:v>
                </c:pt>
                <c:pt idx="908">
                  <c:v>0.44189222259516209</c:v>
                </c:pt>
                <c:pt idx="909">
                  <c:v>0.44204264162716039</c:v>
                </c:pt>
                <c:pt idx="910">
                  <c:v>0.44195012064015837</c:v>
                </c:pt>
                <c:pt idx="911">
                  <c:v>0.44218085044566552</c:v>
                </c:pt>
                <c:pt idx="912">
                  <c:v>0.44208571791942869</c:v>
                </c:pt>
                <c:pt idx="913">
                  <c:v>0.44147027119912646</c:v>
                </c:pt>
                <c:pt idx="914">
                  <c:v>0.44160931753832788</c:v>
                </c:pt>
                <c:pt idx="915">
                  <c:v>0.44011721333433945</c:v>
                </c:pt>
                <c:pt idx="916">
                  <c:v>0.44052550360044274</c:v>
                </c:pt>
                <c:pt idx="917">
                  <c:v>0.44051905092912808</c:v>
                </c:pt>
                <c:pt idx="918">
                  <c:v>0.44009351109284039</c:v>
                </c:pt>
                <c:pt idx="919">
                  <c:v>0.43984176891811388</c:v>
                </c:pt>
                <c:pt idx="920">
                  <c:v>0.43972080046566325</c:v>
                </c:pt>
                <c:pt idx="921">
                  <c:v>0.44002785250233867</c:v>
                </c:pt>
                <c:pt idx="922">
                  <c:v>0.43987213975952233</c:v>
                </c:pt>
                <c:pt idx="923">
                  <c:v>0.43983280787553802</c:v>
                </c:pt>
                <c:pt idx="924">
                  <c:v>0.44369795118901462</c:v>
                </c:pt>
                <c:pt idx="925">
                  <c:v>0.4437532919549928</c:v>
                </c:pt>
                <c:pt idx="926">
                  <c:v>0.44426243475403943</c:v>
                </c:pt>
                <c:pt idx="927">
                  <c:v>0.44465966898773795</c:v>
                </c:pt>
                <c:pt idx="928">
                  <c:v>0.44523988434005957</c:v>
                </c:pt>
                <c:pt idx="929">
                  <c:v>0.44440803765961434</c:v>
                </c:pt>
                <c:pt idx="930">
                  <c:v>0.44472723961707744</c:v>
                </c:pt>
                <c:pt idx="931">
                  <c:v>0.44503206960489766</c:v>
                </c:pt>
                <c:pt idx="932">
                  <c:v>0.44553012483848636</c:v>
                </c:pt>
                <c:pt idx="933">
                  <c:v>0.44505372896661699</c:v>
                </c:pt>
                <c:pt idx="934">
                  <c:v>0.44433266797535337</c:v>
                </c:pt>
                <c:pt idx="935">
                  <c:v>0.44451731736335937</c:v>
                </c:pt>
                <c:pt idx="936">
                  <c:v>0.44610957612467589</c:v>
                </c:pt>
                <c:pt idx="937">
                  <c:v>0.44568449786396896</c:v>
                </c:pt>
                <c:pt idx="938">
                  <c:v>0.44389705049100042</c:v>
                </c:pt>
                <c:pt idx="939">
                  <c:v>0.44403243540199328</c:v>
                </c:pt>
                <c:pt idx="940">
                  <c:v>0.44639547901513227</c:v>
                </c:pt>
                <c:pt idx="941">
                  <c:v>0.44642518083919175</c:v>
                </c:pt>
                <c:pt idx="942">
                  <c:v>0.44711889049741849</c:v>
                </c:pt>
                <c:pt idx="943">
                  <c:v>0.44630410845492058</c:v>
                </c:pt>
                <c:pt idx="944">
                  <c:v>0.44587295854435288</c:v>
                </c:pt>
                <c:pt idx="945">
                  <c:v>0.4450734295624959</c:v>
                </c:pt>
                <c:pt idx="946">
                  <c:v>0.44507544260250437</c:v>
                </c:pt>
                <c:pt idx="947">
                  <c:v>0.44549056067546011</c:v>
                </c:pt>
                <c:pt idx="948">
                  <c:v>0.44478407503972622</c:v>
                </c:pt>
                <c:pt idx="949">
                  <c:v>0.44534878309406739</c:v>
                </c:pt>
                <c:pt idx="950">
                  <c:v>0.44610851688615683</c:v>
                </c:pt>
                <c:pt idx="951">
                  <c:v>0.44603213835902861</c:v>
                </c:pt>
                <c:pt idx="952">
                  <c:v>0.44570045728124991</c:v>
                </c:pt>
                <c:pt idx="953">
                  <c:v>0.44691614230323767</c:v>
                </c:pt>
                <c:pt idx="954">
                  <c:v>0.4476121188890585</c:v>
                </c:pt>
                <c:pt idx="955">
                  <c:v>0.45134655501486987</c:v>
                </c:pt>
                <c:pt idx="956">
                  <c:v>0.45449889500516599</c:v>
                </c:pt>
                <c:pt idx="957">
                  <c:v>0.45477353638104018</c:v>
                </c:pt>
                <c:pt idx="958">
                  <c:v>0.45340529821487247</c:v>
                </c:pt>
                <c:pt idx="959">
                  <c:v>0.45451072192415204</c:v>
                </c:pt>
                <c:pt idx="960">
                  <c:v>0.4550855119483535</c:v>
                </c:pt>
                <c:pt idx="961">
                  <c:v>0.45508728376648666</c:v>
                </c:pt>
                <c:pt idx="962">
                  <c:v>0.45659218197318985</c:v>
                </c:pt>
                <c:pt idx="963">
                  <c:v>0.45850441332906899</c:v>
                </c:pt>
                <c:pt idx="964">
                  <c:v>0.46069838517722334</c:v>
                </c:pt>
                <c:pt idx="965">
                  <c:v>0.46085531310080541</c:v>
                </c:pt>
                <c:pt idx="966">
                  <c:v>0.46087279618783705</c:v>
                </c:pt>
                <c:pt idx="967">
                  <c:v>0.46083264181818506</c:v>
                </c:pt>
                <c:pt idx="968">
                  <c:v>0.46075821281155888</c:v>
                </c:pt>
                <c:pt idx="969">
                  <c:v>0.46084589376785534</c:v>
                </c:pt>
                <c:pt idx="970">
                  <c:v>0.4611920758700977</c:v>
                </c:pt>
                <c:pt idx="971">
                  <c:v>0.46155888399843287</c:v>
                </c:pt>
                <c:pt idx="972">
                  <c:v>0.46111252139342396</c:v>
                </c:pt>
                <c:pt idx="973">
                  <c:v>0.4622833747979187</c:v>
                </c:pt>
                <c:pt idx="974">
                  <c:v>0.46359860653578217</c:v>
                </c:pt>
                <c:pt idx="975">
                  <c:v>0.46726466265682026</c:v>
                </c:pt>
                <c:pt idx="976">
                  <c:v>0.46734613709442918</c:v>
                </c:pt>
                <c:pt idx="977">
                  <c:v>0.46760892047620722</c:v>
                </c:pt>
                <c:pt idx="978">
                  <c:v>0.46878267982644201</c:v>
                </c:pt>
                <c:pt idx="979">
                  <c:v>0.4701317201046406</c:v>
                </c:pt>
                <c:pt idx="980">
                  <c:v>0.47021828147213801</c:v>
                </c:pt>
                <c:pt idx="981">
                  <c:v>0.4699045884003315</c:v>
                </c:pt>
                <c:pt idx="982">
                  <c:v>0.46942401104918424</c:v>
                </c:pt>
                <c:pt idx="983">
                  <c:v>0.47196418965665682</c:v>
                </c:pt>
                <c:pt idx="984">
                  <c:v>0.47235513446940325</c:v>
                </c:pt>
                <c:pt idx="985">
                  <c:v>0.47233524189627646</c:v>
                </c:pt>
                <c:pt idx="986">
                  <c:v>0.47249588551220056</c:v>
                </c:pt>
                <c:pt idx="987">
                  <c:v>0.4723897919867594</c:v>
                </c:pt>
                <c:pt idx="988">
                  <c:v>0.47309215397362048</c:v>
                </c:pt>
                <c:pt idx="989">
                  <c:v>0.47270403654307513</c:v>
                </c:pt>
                <c:pt idx="990">
                  <c:v>0.47299759711830441</c:v>
                </c:pt>
                <c:pt idx="991">
                  <c:v>0.4737929984028541</c:v>
                </c:pt>
                <c:pt idx="992">
                  <c:v>0.47405330692096775</c:v>
                </c:pt>
                <c:pt idx="993">
                  <c:v>0.47400616420272434</c:v>
                </c:pt>
                <c:pt idx="994">
                  <c:v>0.47466053473655218</c:v>
                </c:pt>
                <c:pt idx="995">
                  <c:v>0.47540117443040736</c:v>
                </c:pt>
                <c:pt idx="996">
                  <c:v>0.47582679126250604</c:v>
                </c:pt>
                <c:pt idx="997">
                  <c:v>0.47662659144596031</c:v>
                </c:pt>
                <c:pt idx="998">
                  <c:v>0.47740626842924416</c:v>
                </c:pt>
                <c:pt idx="999">
                  <c:v>0.47771657457542871</c:v>
                </c:pt>
                <c:pt idx="1000">
                  <c:v>0.47876493864782121</c:v>
                </c:pt>
                <c:pt idx="1001">
                  <c:v>0.47981458840082458</c:v>
                </c:pt>
                <c:pt idx="1002">
                  <c:v>0.48395354524470341</c:v>
                </c:pt>
                <c:pt idx="1003">
                  <c:v>0.48434220749705786</c:v>
                </c:pt>
                <c:pt idx="1004">
                  <c:v>0.48444365068392592</c:v>
                </c:pt>
                <c:pt idx="1005">
                  <c:v>0.48458391404340512</c:v>
                </c:pt>
                <c:pt idx="1006">
                  <c:v>0.48466040473503258</c:v>
                </c:pt>
                <c:pt idx="1007">
                  <c:v>0.48533451080032997</c:v>
                </c:pt>
                <c:pt idx="1008">
                  <c:v>0.48646986646340418</c:v>
                </c:pt>
                <c:pt idx="1009">
                  <c:v>0.48942217565156931</c:v>
                </c:pt>
                <c:pt idx="1010">
                  <c:v>0.49032037029080344</c:v>
                </c:pt>
                <c:pt idx="1011">
                  <c:v>0.49055865469232979</c:v>
                </c:pt>
                <c:pt idx="1012">
                  <c:v>0.49098866269442876</c:v>
                </c:pt>
                <c:pt idx="1013">
                  <c:v>0.49201455831276258</c:v>
                </c:pt>
                <c:pt idx="1014">
                  <c:v>0.49215503535460237</c:v>
                </c:pt>
                <c:pt idx="1015">
                  <c:v>0.49283950845228236</c:v>
                </c:pt>
                <c:pt idx="1016">
                  <c:v>0.49615679273585372</c:v>
                </c:pt>
                <c:pt idx="1017">
                  <c:v>0.49639541624373512</c:v>
                </c:pt>
                <c:pt idx="1018">
                  <c:v>0.49650912964316923</c:v>
                </c:pt>
                <c:pt idx="1019">
                  <c:v>0.49816791666423849</c:v>
                </c:pt>
                <c:pt idx="1020">
                  <c:v>0.49802404446461135</c:v>
                </c:pt>
                <c:pt idx="1021">
                  <c:v>0.49673130690371359</c:v>
                </c:pt>
                <c:pt idx="1022">
                  <c:v>0.49705526006735351</c:v>
                </c:pt>
                <c:pt idx="1023">
                  <c:v>0.49809316175378388</c:v>
                </c:pt>
                <c:pt idx="1024">
                  <c:v>0.49947935972460578</c:v>
                </c:pt>
                <c:pt idx="1025">
                  <c:v>0.49917002638548003</c:v>
                </c:pt>
                <c:pt idx="1026">
                  <c:v>0.49653953438916987</c:v>
                </c:pt>
                <c:pt idx="1027">
                  <c:v>0.49646219764249311</c:v>
                </c:pt>
                <c:pt idx="1028">
                  <c:v>0.49629886224320996</c:v>
                </c:pt>
                <c:pt idx="1029">
                  <c:v>0.49679388331042379</c:v>
                </c:pt>
                <c:pt idx="1030">
                  <c:v>0.49546458927228204</c:v>
                </c:pt>
                <c:pt idx="1031">
                  <c:v>0.49544206327942553</c:v>
                </c:pt>
                <c:pt idx="1032">
                  <c:v>0.4954974350433069</c:v>
                </c:pt>
                <c:pt idx="1033">
                  <c:v>0.4957607101023439</c:v>
                </c:pt>
                <c:pt idx="1034">
                  <c:v>0.49557433279308533</c:v>
                </c:pt>
                <c:pt idx="1035">
                  <c:v>0.49474239424474187</c:v>
                </c:pt>
                <c:pt idx="1036">
                  <c:v>0.4948838939334535</c:v>
                </c:pt>
                <c:pt idx="1037">
                  <c:v>0.49599914874688</c:v>
                </c:pt>
                <c:pt idx="1038">
                  <c:v>0.49597691539550876</c:v>
                </c:pt>
                <c:pt idx="1039">
                  <c:v>0.49565615887913944</c:v>
                </c:pt>
                <c:pt idx="1040">
                  <c:v>0.49616504428992403</c:v>
                </c:pt>
                <c:pt idx="1041">
                  <c:v>0.49684153571501555</c:v>
                </c:pt>
                <c:pt idx="1042">
                  <c:v>0.49698754809136303</c:v>
                </c:pt>
                <c:pt idx="1043">
                  <c:v>0.49689957264694562</c:v>
                </c:pt>
                <c:pt idx="1044">
                  <c:v>0.49723066692091628</c:v>
                </c:pt>
                <c:pt idx="1045">
                  <c:v>0.49699184017099829</c:v>
                </c:pt>
                <c:pt idx="1046">
                  <c:v>0.49832422590054165</c:v>
                </c:pt>
                <c:pt idx="1047">
                  <c:v>0.49844827462432961</c:v>
                </c:pt>
                <c:pt idx="1048">
                  <c:v>0.50064151998700401</c:v>
                </c:pt>
                <c:pt idx="1049">
                  <c:v>0.50058904093136103</c:v>
                </c:pt>
                <c:pt idx="1050">
                  <c:v>0.50239207686405063</c:v>
                </c:pt>
                <c:pt idx="1051">
                  <c:v>0.50265240706056125</c:v>
                </c:pt>
                <c:pt idx="1052">
                  <c:v>0.50136342084419694</c:v>
                </c:pt>
                <c:pt idx="1053">
                  <c:v>0.50179927323627738</c:v>
                </c:pt>
                <c:pt idx="1054">
                  <c:v>0.49830726355146648</c:v>
                </c:pt>
                <c:pt idx="1055">
                  <c:v>0.49782832334318405</c:v>
                </c:pt>
                <c:pt idx="1056">
                  <c:v>0.51488114648125605</c:v>
                </c:pt>
                <c:pt idx="1057">
                  <c:v>0.51309492588123518</c:v>
                </c:pt>
                <c:pt idx="1058">
                  <c:v>0.50965227885138742</c:v>
                </c:pt>
                <c:pt idx="1059">
                  <c:v>0.51019695263192988</c:v>
                </c:pt>
                <c:pt idx="1060">
                  <c:v>0.51052706281092719</c:v>
                </c:pt>
                <c:pt idx="1061">
                  <c:v>0.51399880996725833</c:v>
                </c:pt>
                <c:pt idx="1062">
                  <c:v>0.51396834042615747</c:v>
                </c:pt>
                <c:pt idx="1063">
                  <c:v>0.51520390652479786</c:v>
                </c:pt>
                <c:pt idx="1064">
                  <c:v>0.52342534179696509</c:v>
                </c:pt>
                <c:pt idx="1065">
                  <c:v>0.52253468486583177</c:v>
                </c:pt>
                <c:pt idx="1066">
                  <c:v>0.52182938288347647</c:v>
                </c:pt>
                <c:pt idx="1067">
                  <c:v>0.52955404406345108</c:v>
                </c:pt>
                <c:pt idx="1068">
                  <c:v>0.52902126375828618</c:v>
                </c:pt>
                <c:pt idx="1069">
                  <c:v>0.53254125626994964</c:v>
                </c:pt>
                <c:pt idx="1070">
                  <c:v>0.53385562906833317</c:v>
                </c:pt>
                <c:pt idx="1071">
                  <c:v>0.5348956671562245</c:v>
                </c:pt>
                <c:pt idx="1072">
                  <c:v>0.53436787428058918</c:v>
                </c:pt>
                <c:pt idx="1073">
                  <c:v>0.53446449457573775</c:v>
                </c:pt>
                <c:pt idx="1074">
                  <c:v>0.53472062943122023</c:v>
                </c:pt>
                <c:pt idx="1075">
                  <c:v>0.53307722215212316</c:v>
                </c:pt>
                <c:pt idx="1076">
                  <c:v>0.53467818311800619</c:v>
                </c:pt>
                <c:pt idx="1077">
                  <c:v>0.53818118785178393</c:v>
                </c:pt>
                <c:pt idx="1078">
                  <c:v>0.53844912862359928</c:v>
                </c:pt>
                <c:pt idx="1079">
                  <c:v>0.53614015471806242</c:v>
                </c:pt>
                <c:pt idx="1080">
                  <c:v>0.53594325322469061</c:v>
                </c:pt>
                <c:pt idx="1081">
                  <c:v>0.53759859672723942</c:v>
                </c:pt>
                <c:pt idx="1082">
                  <c:v>0.53812138826897593</c:v>
                </c:pt>
                <c:pt idx="1083">
                  <c:v>0.53843647249913795</c:v>
                </c:pt>
                <c:pt idx="1084">
                  <c:v>0.53853409198089286</c:v>
                </c:pt>
                <c:pt idx="1085">
                  <c:v>0.53861036961470266</c:v>
                </c:pt>
                <c:pt idx="1086">
                  <c:v>0.53846590065378042</c:v>
                </c:pt>
                <c:pt idx="1087">
                  <c:v>0.53955031732502579</c:v>
                </c:pt>
                <c:pt idx="1088">
                  <c:v>0.53900075735366626</c:v>
                </c:pt>
                <c:pt idx="1089">
                  <c:v>0.53868888799033543</c:v>
                </c:pt>
                <c:pt idx="1090">
                  <c:v>0.53855630682572919</c:v>
                </c:pt>
                <c:pt idx="1091">
                  <c:v>0.53780319775728114</c:v>
                </c:pt>
                <c:pt idx="1092">
                  <c:v>0.53635193901525391</c:v>
                </c:pt>
                <c:pt idx="1093">
                  <c:v>0.53635220265108352</c:v>
                </c:pt>
                <c:pt idx="1094">
                  <c:v>0.53468457938442526</c:v>
                </c:pt>
                <c:pt idx="1095">
                  <c:v>0.53205507796872764</c:v>
                </c:pt>
                <c:pt idx="1096">
                  <c:v>0.53195367290322315</c:v>
                </c:pt>
                <c:pt idx="1097">
                  <c:v>0.53079940236147716</c:v>
                </c:pt>
                <c:pt idx="1098">
                  <c:v>0.53128199380491536</c:v>
                </c:pt>
                <c:pt idx="1099">
                  <c:v>0.5304730333629496</c:v>
                </c:pt>
                <c:pt idx="1100">
                  <c:v>0.52926050625429388</c:v>
                </c:pt>
                <c:pt idx="1101">
                  <c:v>0.52924107388917974</c:v>
                </c:pt>
                <c:pt idx="1102">
                  <c:v>0.52806969935089298</c:v>
                </c:pt>
                <c:pt idx="1103">
                  <c:v>0.52793149095228653</c:v>
                </c:pt>
                <c:pt idx="1104">
                  <c:v>0.52796169281179017</c:v>
                </c:pt>
                <c:pt idx="1105">
                  <c:v>0.53027083428889177</c:v>
                </c:pt>
                <c:pt idx="1106">
                  <c:v>0.53023488473852121</c:v>
                </c:pt>
                <c:pt idx="1107">
                  <c:v>0.52940727061065163</c:v>
                </c:pt>
                <c:pt idx="1108">
                  <c:v>0.52748525092737353</c:v>
                </c:pt>
                <c:pt idx="1109">
                  <c:v>0.5284374925192431</c:v>
                </c:pt>
                <c:pt idx="1110">
                  <c:v>0.52970143208818543</c:v>
                </c:pt>
                <c:pt idx="1111">
                  <c:v>0.52960661312617663</c:v>
                </c:pt>
                <c:pt idx="1112">
                  <c:v>0.53023934135664796</c:v>
                </c:pt>
                <c:pt idx="1113">
                  <c:v>0.52463558284492151</c:v>
                </c:pt>
                <c:pt idx="1114">
                  <c:v>0.52564526831978298</c:v>
                </c:pt>
                <c:pt idx="1115">
                  <c:v>0.52878908620731957</c:v>
                </c:pt>
                <c:pt idx="1116">
                  <c:v>0.52529917523187397</c:v>
                </c:pt>
                <c:pt idx="1117">
                  <c:v>0.52556421494409922</c:v>
                </c:pt>
                <c:pt idx="1118">
                  <c:v>0.52642308678420646</c:v>
                </c:pt>
                <c:pt idx="1119">
                  <c:v>0.52972857422479536</c:v>
                </c:pt>
                <c:pt idx="1120">
                  <c:v>0.52946991030659118</c:v>
                </c:pt>
                <c:pt idx="1121">
                  <c:v>0.52957404453957202</c:v>
                </c:pt>
                <c:pt idx="1122">
                  <c:v>0.52272545401757209</c:v>
                </c:pt>
                <c:pt idx="1123">
                  <c:v>0.52218932724326705</c:v>
                </c:pt>
                <c:pt idx="1124">
                  <c:v>0.52431413177479635</c:v>
                </c:pt>
                <c:pt idx="1125">
                  <c:v>0.52453096329965931</c:v>
                </c:pt>
                <c:pt idx="1126">
                  <c:v>0.52275570081884459</c:v>
                </c:pt>
                <c:pt idx="1127">
                  <c:v>0.52369952963310507</c:v>
                </c:pt>
                <c:pt idx="1128">
                  <c:v>0.52318058486077756</c:v>
                </c:pt>
                <c:pt idx="1129">
                  <c:v>0.52484594419830244</c:v>
                </c:pt>
                <c:pt idx="1130">
                  <c:v>0.52472644295647775</c:v>
                </c:pt>
                <c:pt idx="1131">
                  <c:v>0.52389731178056198</c:v>
                </c:pt>
                <c:pt idx="1132">
                  <c:v>0.52371010174089816</c:v>
                </c:pt>
                <c:pt idx="1133">
                  <c:v>0.52372483019737071</c:v>
                </c:pt>
                <c:pt idx="1134">
                  <c:v>0.52264615560685423</c:v>
                </c:pt>
                <c:pt idx="1135">
                  <c:v>0.52251426311286719</c:v>
                </c:pt>
                <c:pt idx="1136">
                  <c:v>0.52141962798063224</c:v>
                </c:pt>
                <c:pt idx="1137">
                  <c:v>0.5212818582159704</c:v>
                </c:pt>
                <c:pt idx="1138">
                  <c:v>0.52157763972762894</c:v>
                </c:pt>
                <c:pt idx="1139">
                  <c:v>0.52188923449740532</c:v>
                </c:pt>
                <c:pt idx="1140">
                  <c:v>0.52163361505242944</c:v>
                </c:pt>
                <c:pt idx="1141">
                  <c:v>0.52109350903524643</c:v>
                </c:pt>
                <c:pt idx="1142">
                  <c:v>0.52006243687367204</c:v>
                </c:pt>
                <c:pt idx="1143">
                  <c:v>0.52081210763165176</c:v>
                </c:pt>
                <c:pt idx="1144">
                  <c:v>0.5217531975636942</c:v>
                </c:pt>
                <c:pt idx="1145">
                  <c:v>0.52124060223378277</c:v>
                </c:pt>
                <c:pt idx="1146">
                  <c:v>0.52186856697492279</c:v>
                </c:pt>
                <c:pt idx="1147">
                  <c:v>0.52098701794350211</c:v>
                </c:pt>
                <c:pt idx="1148">
                  <c:v>0.52059521470286962</c:v>
                </c:pt>
                <c:pt idx="1149">
                  <c:v>0.52162588966581858</c:v>
                </c:pt>
                <c:pt idx="1150">
                  <c:v>0.52058937876295064</c:v>
                </c:pt>
                <c:pt idx="1151">
                  <c:v>0.51889293732810926</c:v>
                </c:pt>
                <c:pt idx="1152">
                  <c:v>0.51974117920109031</c:v>
                </c:pt>
                <c:pt idx="1153">
                  <c:v>0.52044620518979212</c:v>
                </c:pt>
                <c:pt idx="1154">
                  <c:v>0.53061363515254645</c:v>
                </c:pt>
                <c:pt idx="1155">
                  <c:v>0.54123894367400005</c:v>
                </c:pt>
                <c:pt idx="1156">
                  <c:v>0.5380878580084858</c:v>
                </c:pt>
                <c:pt idx="1157">
                  <c:v>0.53763087965176803</c:v>
                </c:pt>
                <c:pt idx="1158">
                  <c:v>0.53615638468428317</c:v>
                </c:pt>
                <c:pt idx="1159">
                  <c:v>0.53624243391242066</c:v>
                </c:pt>
                <c:pt idx="1160">
                  <c:v>0.53633548728768821</c:v>
                </c:pt>
                <c:pt idx="1161">
                  <c:v>0.53645717597546971</c:v>
                </c:pt>
                <c:pt idx="1162">
                  <c:v>0.53689668899685827</c:v>
                </c:pt>
                <c:pt idx="1163">
                  <c:v>0.53675002241941727</c:v>
                </c:pt>
                <c:pt idx="1164">
                  <c:v>0.5361751302231913</c:v>
                </c:pt>
                <c:pt idx="1165">
                  <c:v>0.53623348516114322</c:v>
                </c:pt>
                <c:pt idx="1166">
                  <c:v>0.53602522755671422</c:v>
                </c:pt>
                <c:pt idx="1167">
                  <c:v>0.53792460180923074</c:v>
                </c:pt>
                <c:pt idx="1168">
                  <c:v>0.53802730183153724</c:v>
                </c:pt>
                <c:pt idx="1169">
                  <c:v>0.53849423958383147</c:v>
                </c:pt>
                <c:pt idx="1170">
                  <c:v>0.54083013665967827</c:v>
                </c:pt>
                <c:pt idx="1171">
                  <c:v>0.54134101957735992</c:v>
                </c:pt>
                <c:pt idx="1172">
                  <c:v>0.54152227382706131</c:v>
                </c:pt>
                <c:pt idx="1173">
                  <c:v>0.54063053042855225</c:v>
                </c:pt>
                <c:pt idx="1174">
                  <c:v>0.5408545165904991</c:v>
                </c:pt>
                <c:pt idx="1175">
                  <c:v>0.54238115846146062</c:v>
                </c:pt>
                <c:pt idx="1176">
                  <c:v>0.54260612119904572</c:v>
                </c:pt>
                <c:pt idx="1177">
                  <c:v>0.5388051454147208</c:v>
                </c:pt>
                <c:pt idx="1178">
                  <c:v>0.53447245308637148</c:v>
                </c:pt>
                <c:pt idx="1179">
                  <c:v>0.53275180245814213</c:v>
                </c:pt>
                <c:pt idx="1180">
                  <c:v>0.53239567553344513</c:v>
                </c:pt>
                <c:pt idx="1181">
                  <c:v>0.53368372766851158</c:v>
                </c:pt>
                <c:pt idx="1182">
                  <c:v>0.53348799184222262</c:v>
                </c:pt>
                <c:pt idx="1183">
                  <c:v>0.5329915250370505</c:v>
                </c:pt>
                <c:pt idx="1184">
                  <c:v>0.53174897266224308</c:v>
                </c:pt>
                <c:pt idx="1185">
                  <c:v>0.53313133491417763</c:v>
                </c:pt>
                <c:pt idx="1186">
                  <c:v>0.53515902113311842</c:v>
                </c:pt>
                <c:pt idx="1187">
                  <c:v>0.53497500272517107</c:v>
                </c:pt>
                <c:pt idx="1188">
                  <c:v>0.5329368845146385</c:v>
                </c:pt>
                <c:pt idx="1189">
                  <c:v>0.53082774787531084</c:v>
                </c:pt>
                <c:pt idx="1190">
                  <c:v>0.53469569215441037</c:v>
                </c:pt>
                <c:pt idx="1191">
                  <c:v>0.53347303297225357</c:v>
                </c:pt>
                <c:pt idx="1192">
                  <c:v>0.52199195769550688</c:v>
                </c:pt>
                <c:pt idx="1193">
                  <c:v>0.51542902452921047</c:v>
                </c:pt>
                <c:pt idx="1194">
                  <c:v>0.51461951046894072</c:v>
                </c:pt>
                <c:pt idx="1195">
                  <c:v>0.5157903744886797</c:v>
                </c:pt>
                <c:pt idx="1196">
                  <c:v>0.51548841741198959</c:v>
                </c:pt>
                <c:pt idx="1197">
                  <c:v>0.51695542793292759</c:v>
                </c:pt>
                <c:pt idx="1198">
                  <c:v>0.5172923553241553</c:v>
                </c:pt>
                <c:pt idx="1199">
                  <c:v>0.51725364163296617</c:v>
                </c:pt>
                <c:pt idx="1200">
                  <c:v>0.51791582676645842</c:v>
                </c:pt>
                <c:pt idx="1201">
                  <c:v>0.51787673349393049</c:v>
                </c:pt>
                <c:pt idx="1202">
                  <c:v>0.51722743350018396</c:v>
                </c:pt>
                <c:pt idx="1203">
                  <c:v>0.51744345967915806</c:v>
                </c:pt>
                <c:pt idx="1204">
                  <c:v>0.51723417903134206</c:v>
                </c:pt>
                <c:pt idx="1205">
                  <c:v>0.51685494972884272</c:v>
                </c:pt>
                <c:pt idx="1206">
                  <c:v>0.51676847499548895</c:v>
                </c:pt>
                <c:pt idx="1207">
                  <c:v>0.5078981763319288</c:v>
                </c:pt>
                <c:pt idx="1208">
                  <c:v>0.50539931036181507</c:v>
                </c:pt>
                <c:pt idx="1209">
                  <c:v>0.50166610486527441</c:v>
                </c:pt>
                <c:pt idx="1210">
                  <c:v>0.50088174933962859</c:v>
                </c:pt>
                <c:pt idx="1211">
                  <c:v>0.50191435145052632</c:v>
                </c:pt>
                <c:pt idx="1212">
                  <c:v>0.50118883730830621</c:v>
                </c:pt>
                <c:pt idx="1213">
                  <c:v>0.49914703827915674</c:v>
                </c:pt>
                <c:pt idx="1214">
                  <c:v>0.49742725953379752</c:v>
                </c:pt>
                <c:pt idx="1215">
                  <c:v>0.49445393927034481</c:v>
                </c:pt>
                <c:pt idx="1216">
                  <c:v>0.49123990887068519</c:v>
                </c:pt>
                <c:pt idx="1217">
                  <c:v>0.49124186016475629</c:v>
                </c:pt>
                <c:pt idx="1218">
                  <c:v>0.48980621411837921</c:v>
                </c:pt>
                <c:pt idx="1219">
                  <c:v>0.48979117033313824</c:v>
                </c:pt>
                <c:pt idx="1220">
                  <c:v>0.48985765942448528</c:v>
                </c:pt>
                <c:pt idx="1221">
                  <c:v>0.48960796903232218</c:v>
                </c:pt>
                <c:pt idx="1222">
                  <c:v>0.48881386397725413</c:v>
                </c:pt>
                <c:pt idx="1223">
                  <c:v>0.48892373306973108</c:v>
                </c:pt>
                <c:pt idx="1224">
                  <c:v>0.48949655078782878</c:v>
                </c:pt>
                <c:pt idx="1225">
                  <c:v>0.48790511673716513</c:v>
                </c:pt>
                <c:pt idx="1226">
                  <c:v>0.46671776621577193</c:v>
                </c:pt>
                <c:pt idx="1227">
                  <c:v>0.457043472417348</c:v>
                </c:pt>
                <c:pt idx="1228">
                  <c:v>0.45551420349568583</c:v>
                </c:pt>
                <c:pt idx="1229">
                  <c:v>0.45648362137290793</c:v>
                </c:pt>
                <c:pt idx="1230">
                  <c:v>0.45161238793482333</c:v>
                </c:pt>
                <c:pt idx="1231">
                  <c:v>0.45204594127898889</c:v>
                </c:pt>
                <c:pt idx="1232">
                  <c:v>0.45267291752144778</c:v>
                </c:pt>
                <c:pt idx="1233">
                  <c:v>0.45278482810927378</c:v>
                </c:pt>
                <c:pt idx="1234">
                  <c:v>0.45308409823005941</c:v>
                </c:pt>
                <c:pt idx="1235">
                  <c:v>0.4528036769777844</c:v>
                </c:pt>
                <c:pt idx="1236">
                  <c:v>0.45226879275452214</c:v>
                </c:pt>
                <c:pt idx="1237">
                  <c:v>0.45215029705857784</c:v>
                </c:pt>
                <c:pt idx="1238">
                  <c:v>0.45259891846102557</c:v>
                </c:pt>
                <c:pt idx="1239">
                  <c:v>0.45241530888343845</c:v>
                </c:pt>
                <c:pt idx="1240">
                  <c:v>0.45178392493780228</c:v>
                </c:pt>
                <c:pt idx="1241">
                  <c:v>0.45199198957513254</c:v>
                </c:pt>
                <c:pt idx="1242">
                  <c:v>0.45144131440067226</c:v>
                </c:pt>
                <c:pt idx="1243">
                  <c:v>0.45070641599242056</c:v>
                </c:pt>
                <c:pt idx="1244">
                  <c:v>0.45068021593362606</c:v>
                </c:pt>
                <c:pt idx="1245">
                  <c:v>0.4504289768408663</c:v>
                </c:pt>
                <c:pt idx="1246">
                  <c:v>0.44958860558060926</c:v>
                </c:pt>
                <c:pt idx="1247">
                  <c:v>0.44882347822467306</c:v>
                </c:pt>
                <c:pt idx="1248">
                  <c:v>0.44869623185360502</c:v>
                </c:pt>
                <c:pt idx="1249">
                  <c:v>0.44821966211003994</c:v>
                </c:pt>
                <c:pt idx="1250">
                  <c:v>0.44758348980077056</c:v>
                </c:pt>
                <c:pt idx="1251">
                  <c:v>0.4469183237386789</c:v>
                </c:pt>
                <c:pt idx="1252">
                  <c:v>0.44635227215321877</c:v>
                </c:pt>
                <c:pt idx="1253">
                  <c:v>0.44493020916647835</c:v>
                </c:pt>
                <c:pt idx="1254">
                  <c:v>0.44275524651827747</c:v>
                </c:pt>
                <c:pt idx="1255">
                  <c:v>0.44238293257460853</c:v>
                </c:pt>
                <c:pt idx="1256">
                  <c:v>0.44182678221443317</c:v>
                </c:pt>
                <c:pt idx="1257">
                  <c:v>0.44196290205606509</c:v>
                </c:pt>
                <c:pt idx="1258">
                  <c:v>0.44158909290745096</c:v>
                </c:pt>
                <c:pt idx="1259">
                  <c:v>0.43982483179351439</c:v>
                </c:pt>
                <c:pt idx="1260">
                  <c:v>0.4370582804362505</c:v>
                </c:pt>
                <c:pt idx="1261">
                  <c:v>0.43709783483669945</c:v>
                </c:pt>
                <c:pt idx="1262">
                  <c:v>0.4355818640875691</c:v>
                </c:pt>
                <c:pt idx="1263">
                  <c:v>0.43537817312847454</c:v>
                </c:pt>
                <c:pt idx="1264">
                  <c:v>0.43312870703171752</c:v>
                </c:pt>
                <c:pt idx="1265">
                  <c:v>0.43127060855269833</c:v>
                </c:pt>
                <c:pt idx="1266">
                  <c:v>0.43244836329603836</c:v>
                </c:pt>
                <c:pt idx="1267">
                  <c:v>0.43302595380910786</c:v>
                </c:pt>
                <c:pt idx="1268">
                  <c:v>0.42691992268605344</c:v>
                </c:pt>
                <c:pt idx="1269">
                  <c:v>0.42722416599480145</c:v>
                </c:pt>
                <c:pt idx="1270">
                  <c:v>0.42654672882854944</c:v>
                </c:pt>
                <c:pt idx="1271">
                  <c:v>0.42557414635140461</c:v>
                </c:pt>
                <c:pt idx="1272">
                  <c:v>0.42491571148594764</c:v>
                </c:pt>
                <c:pt idx="1273">
                  <c:v>0.42176732075351281</c:v>
                </c:pt>
                <c:pt idx="1274">
                  <c:v>0.41950980606297605</c:v>
                </c:pt>
                <c:pt idx="1275">
                  <c:v>0.41982374079425433</c:v>
                </c:pt>
                <c:pt idx="1276">
                  <c:v>0.41512692384782157</c:v>
                </c:pt>
                <c:pt idx="1277">
                  <c:v>0.41523089339263514</c:v>
                </c:pt>
                <c:pt idx="1278">
                  <c:v>0.4183700034672222</c:v>
                </c:pt>
                <c:pt idx="1279">
                  <c:v>0.41823596389052864</c:v>
                </c:pt>
                <c:pt idx="1280">
                  <c:v>0.41849453421477695</c:v>
                </c:pt>
                <c:pt idx="1281">
                  <c:v>0.41868707833151758</c:v>
                </c:pt>
                <c:pt idx="1282">
                  <c:v>0.41913354793460456</c:v>
                </c:pt>
                <c:pt idx="1283">
                  <c:v>0.41922306628052181</c:v>
                </c:pt>
                <c:pt idx="1284">
                  <c:v>0.4193202095032833</c:v>
                </c:pt>
                <c:pt idx="1285">
                  <c:v>0.41837433547959091</c:v>
                </c:pt>
                <c:pt idx="1286">
                  <c:v>0.41843411501306632</c:v>
                </c:pt>
                <c:pt idx="1287">
                  <c:v>0.41943335246106606</c:v>
                </c:pt>
                <c:pt idx="1288">
                  <c:v>0.41860314554444372</c:v>
                </c:pt>
                <c:pt idx="1289">
                  <c:v>0.41815284681281073</c:v>
                </c:pt>
                <c:pt idx="1290">
                  <c:v>0.41864145204118658</c:v>
                </c:pt>
                <c:pt idx="1291">
                  <c:v>0.41859772439973469</c:v>
                </c:pt>
                <c:pt idx="1292">
                  <c:v>0.41882468983841242</c:v>
                </c:pt>
                <c:pt idx="1293">
                  <c:v>0.41690499707794426</c:v>
                </c:pt>
                <c:pt idx="1294">
                  <c:v>0.41721719108305577</c:v>
                </c:pt>
                <c:pt idx="1295">
                  <c:v>0.41694777903732955</c:v>
                </c:pt>
                <c:pt idx="1296">
                  <c:v>0.41570994378656528</c:v>
                </c:pt>
                <c:pt idx="1297">
                  <c:v>0.41463597329497881</c:v>
                </c:pt>
                <c:pt idx="1298">
                  <c:v>0.41415092658601532</c:v>
                </c:pt>
                <c:pt idx="1299">
                  <c:v>0.41342958631498478</c:v>
                </c:pt>
                <c:pt idx="1300">
                  <c:v>0.4112314659687194</c:v>
                </c:pt>
                <c:pt idx="1301">
                  <c:v>0.41163411368046898</c:v>
                </c:pt>
                <c:pt idx="1302">
                  <c:v>0.41164309249311154</c:v>
                </c:pt>
                <c:pt idx="1303">
                  <c:v>0.410956371708532</c:v>
                </c:pt>
                <c:pt idx="1304">
                  <c:v>0.41102637990004903</c:v>
                </c:pt>
                <c:pt idx="1305">
                  <c:v>0.41143166898049188</c:v>
                </c:pt>
                <c:pt idx="1306">
                  <c:v>0.41033153861669047</c:v>
                </c:pt>
                <c:pt idx="1307">
                  <c:v>0.410786646366266</c:v>
                </c:pt>
                <c:pt idx="1308">
                  <c:v>0.41094367595085751</c:v>
                </c:pt>
                <c:pt idx="1309">
                  <c:v>0.40986726275115626</c:v>
                </c:pt>
                <c:pt idx="1310">
                  <c:v>0.40940538089442635</c:v>
                </c:pt>
                <c:pt idx="1311">
                  <c:v>0.40965303526121777</c:v>
                </c:pt>
                <c:pt idx="1312">
                  <c:v>0.41001266170907774</c:v>
                </c:pt>
                <c:pt idx="1313">
                  <c:v>0.40913501002208152</c:v>
                </c:pt>
                <c:pt idx="1314">
                  <c:v>0.40908550998265047</c:v>
                </c:pt>
                <c:pt idx="1315">
                  <c:v>0.40912367885744544</c:v>
                </c:pt>
                <c:pt idx="1316">
                  <c:v>0.40914613252065984</c:v>
                </c:pt>
                <c:pt idx="1317">
                  <c:v>0.40907414695503491</c:v>
                </c:pt>
                <c:pt idx="1318">
                  <c:v>0.40870313092066268</c:v>
                </c:pt>
                <c:pt idx="1319">
                  <c:v>0.40876897106561583</c:v>
                </c:pt>
                <c:pt idx="1320">
                  <c:v>0.41142909507302722</c:v>
                </c:pt>
                <c:pt idx="1321">
                  <c:v>0.41148318477877577</c:v>
                </c:pt>
                <c:pt idx="1322">
                  <c:v>0.41277290299993386</c:v>
                </c:pt>
                <c:pt idx="1323">
                  <c:v>0.41281985271936045</c:v>
                </c:pt>
                <c:pt idx="1324">
                  <c:v>0.41305772320443396</c:v>
                </c:pt>
                <c:pt idx="1325">
                  <c:v>0.41244874145982113</c:v>
                </c:pt>
                <c:pt idx="1326">
                  <c:v>0.41204577330798631</c:v>
                </c:pt>
                <c:pt idx="1327">
                  <c:v>0.4128023448115139</c:v>
                </c:pt>
                <c:pt idx="1328">
                  <c:v>0.41304520600358813</c:v>
                </c:pt>
                <c:pt idx="1329">
                  <c:v>0.40875876022233792</c:v>
                </c:pt>
                <c:pt idx="1330">
                  <c:v>0.40804609730021618</c:v>
                </c:pt>
                <c:pt idx="1331">
                  <c:v>0.40695084544054516</c:v>
                </c:pt>
                <c:pt idx="1332">
                  <c:v>0.40699511272860228</c:v>
                </c:pt>
                <c:pt idx="1333">
                  <c:v>0.40606319136682967</c:v>
                </c:pt>
                <c:pt idx="1334">
                  <c:v>0.40430694383639293</c:v>
                </c:pt>
                <c:pt idx="1335">
                  <c:v>0.40354657038815989</c:v>
                </c:pt>
                <c:pt idx="1336">
                  <c:v>0.40312680310874094</c:v>
                </c:pt>
                <c:pt idx="1337">
                  <c:v>0.40276591663006728</c:v>
                </c:pt>
                <c:pt idx="1338">
                  <c:v>0.40172195382078713</c:v>
                </c:pt>
                <c:pt idx="1339">
                  <c:v>0.401505620792733</c:v>
                </c:pt>
                <c:pt idx="1340">
                  <c:v>0.40148270083526955</c:v>
                </c:pt>
                <c:pt idx="1341">
                  <c:v>0.40163141176335349</c:v>
                </c:pt>
                <c:pt idx="1342">
                  <c:v>0.40004910181100006</c:v>
                </c:pt>
                <c:pt idx="1343">
                  <c:v>0.40063778452307031</c:v>
                </c:pt>
                <c:pt idx="1344">
                  <c:v>0.4001594485812206</c:v>
                </c:pt>
                <c:pt idx="1345">
                  <c:v>0.40124593213045184</c:v>
                </c:pt>
                <c:pt idx="1346">
                  <c:v>0.4017301148883527</c:v>
                </c:pt>
                <c:pt idx="1347">
                  <c:v>0.40175706314083093</c:v>
                </c:pt>
                <c:pt idx="1348">
                  <c:v>0.40425123051381762</c:v>
                </c:pt>
                <c:pt idx="1349">
                  <c:v>0.40570808322128277</c:v>
                </c:pt>
                <c:pt idx="1350">
                  <c:v>0.40581237812301763</c:v>
                </c:pt>
                <c:pt idx="1351">
                  <c:v>0.41063856720712266</c:v>
                </c:pt>
                <c:pt idx="1352">
                  <c:v>0.41040756564966879</c:v>
                </c:pt>
                <c:pt idx="1353">
                  <c:v>0.41061791783187135</c:v>
                </c:pt>
                <c:pt idx="1354">
                  <c:v>0.40625993170435126</c:v>
                </c:pt>
                <c:pt idx="1355">
                  <c:v>0.39966484047785023</c:v>
                </c:pt>
                <c:pt idx="1356">
                  <c:v>0.40077100570999535</c:v>
                </c:pt>
                <c:pt idx="1357">
                  <c:v>0.40088630742973375</c:v>
                </c:pt>
                <c:pt idx="1358">
                  <c:v>0.40099830346002485</c:v>
                </c:pt>
                <c:pt idx="1359">
                  <c:v>0.40102964789139689</c:v>
                </c:pt>
                <c:pt idx="1360">
                  <c:v>0.40106480291000907</c:v>
                </c:pt>
                <c:pt idx="1361">
                  <c:v>0.40085973909070149</c:v>
                </c:pt>
                <c:pt idx="1362">
                  <c:v>0.39824005925831674</c:v>
                </c:pt>
                <c:pt idx="1363">
                  <c:v>0.39816150767492642</c:v>
                </c:pt>
                <c:pt idx="1364">
                  <c:v>0.39814270084358105</c:v>
                </c:pt>
                <c:pt idx="1365">
                  <c:v>0.3982676495888452</c:v>
                </c:pt>
                <c:pt idx="1366">
                  <c:v>0.39762815653611017</c:v>
                </c:pt>
                <c:pt idx="1367">
                  <c:v>0.3935824763346627</c:v>
                </c:pt>
                <c:pt idx="1368">
                  <c:v>0.3930611180878914</c:v>
                </c:pt>
                <c:pt idx="1369">
                  <c:v>0.39300792024147996</c:v>
                </c:pt>
                <c:pt idx="1370">
                  <c:v>0.39203364098412047</c:v>
                </c:pt>
                <c:pt idx="1371">
                  <c:v>0.38867582837590381</c:v>
                </c:pt>
                <c:pt idx="1372">
                  <c:v>0.38902019795984188</c:v>
                </c:pt>
                <c:pt idx="1373">
                  <c:v>0.38873433189301471</c:v>
                </c:pt>
                <c:pt idx="1374">
                  <c:v>0.38694931671472221</c:v>
                </c:pt>
                <c:pt idx="1375">
                  <c:v>0.38690209211003601</c:v>
                </c:pt>
                <c:pt idx="1376">
                  <c:v>0.38575666527770619</c:v>
                </c:pt>
                <c:pt idx="1377">
                  <c:v>0.38568015753178764</c:v>
                </c:pt>
                <c:pt idx="1378">
                  <c:v>0.38401085572387844</c:v>
                </c:pt>
                <c:pt idx="1379">
                  <c:v>0.38222677556294266</c:v>
                </c:pt>
                <c:pt idx="1380">
                  <c:v>0.38199670910239525</c:v>
                </c:pt>
                <c:pt idx="1381">
                  <c:v>0.38211272179786759</c:v>
                </c:pt>
                <c:pt idx="1382">
                  <c:v>0.38206359672194296</c:v>
                </c:pt>
                <c:pt idx="1383">
                  <c:v>0.38188177609464163</c:v>
                </c:pt>
                <c:pt idx="1384">
                  <c:v>0.38158360296973642</c:v>
                </c:pt>
                <c:pt idx="1385">
                  <c:v>0.38133055593379334</c:v>
                </c:pt>
                <c:pt idx="1386">
                  <c:v>0.38064978652582271</c:v>
                </c:pt>
                <c:pt idx="1387">
                  <c:v>0.38074029718817343</c:v>
                </c:pt>
                <c:pt idx="1388">
                  <c:v>0.38034295306983928</c:v>
                </c:pt>
                <c:pt idx="1389">
                  <c:v>0.38018786196584453</c:v>
                </c:pt>
                <c:pt idx="1390">
                  <c:v>0.37978870131945774</c:v>
                </c:pt>
                <c:pt idx="1391">
                  <c:v>0.37933227124638935</c:v>
                </c:pt>
                <c:pt idx="1392">
                  <c:v>0.37924175479175082</c:v>
                </c:pt>
                <c:pt idx="1393">
                  <c:v>0.37930257856817784</c:v>
                </c:pt>
                <c:pt idx="1394">
                  <c:v>0.3789231302689236</c:v>
                </c:pt>
                <c:pt idx="1395">
                  <c:v>0.3783003910821901</c:v>
                </c:pt>
                <c:pt idx="1396">
                  <c:v>0.37828583404146254</c:v>
                </c:pt>
                <c:pt idx="1397">
                  <c:v>0.37864244468056657</c:v>
                </c:pt>
                <c:pt idx="1398">
                  <c:v>0.37786252516009117</c:v>
                </c:pt>
                <c:pt idx="1399">
                  <c:v>0.3762848562578659</c:v>
                </c:pt>
                <c:pt idx="1400">
                  <c:v>0.37550543626485189</c:v>
                </c:pt>
                <c:pt idx="1401">
                  <c:v>0.37527619505949611</c:v>
                </c:pt>
                <c:pt idx="1402">
                  <c:v>0.37531169284867022</c:v>
                </c:pt>
                <c:pt idx="1403">
                  <c:v>0.37522387258009021</c:v>
                </c:pt>
                <c:pt idx="1404">
                  <c:v>0.37453871406796457</c:v>
                </c:pt>
                <c:pt idx="1405">
                  <c:v>0.37464179889519317</c:v>
                </c:pt>
                <c:pt idx="1406">
                  <c:v>0.36478546149104335</c:v>
                </c:pt>
                <c:pt idx="1407">
                  <c:v>0.34851591373730056</c:v>
                </c:pt>
                <c:pt idx="1408">
                  <c:v>0.34450358488512917</c:v>
                </c:pt>
                <c:pt idx="1409">
                  <c:v>0.34448116421970176</c:v>
                </c:pt>
                <c:pt idx="1410">
                  <c:v>0.34479175412807772</c:v>
                </c:pt>
                <c:pt idx="1411">
                  <c:v>0.34478695955519134</c:v>
                </c:pt>
                <c:pt idx="1412">
                  <c:v>0.34485582627139311</c:v>
                </c:pt>
                <c:pt idx="1413">
                  <c:v>0.34492398691847609</c:v>
                </c:pt>
                <c:pt idx="1414">
                  <c:v>0.34442392039097669</c:v>
                </c:pt>
                <c:pt idx="1415">
                  <c:v>0.34364648259456804</c:v>
                </c:pt>
                <c:pt idx="1416">
                  <c:v>0.34389833417415505</c:v>
                </c:pt>
                <c:pt idx="1417">
                  <c:v>0.34390759452261321</c:v>
                </c:pt>
                <c:pt idx="1418">
                  <c:v>0.34401730808417791</c:v>
                </c:pt>
                <c:pt idx="1419">
                  <c:v>0.34400524767675938</c:v>
                </c:pt>
                <c:pt idx="1420">
                  <c:v>0.34267420477254185</c:v>
                </c:pt>
                <c:pt idx="1421">
                  <c:v>0.34259179476632851</c:v>
                </c:pt>
                <c:pt idx="1422">
                  <c:v>0.3419865496335282</c:v>
                </c:pt>
                <c:pt idx="1423">
                  <c:v>0.33957996882174135</c:v>
                </c:pt>
                <c:pt idx="1424">
                  <c:v>0.33888242021315251</c:v>
                </c:pt>
                <c:pt idx="1425">
                  <c:v>0.33954654025485825</c:v>
                </c:pt>
                <c:pt idx="1426">
                  <c:v>0.34133621542851444</c:v>
                </c:pt>
                <c:pt idx="1427">
                  <c:v>0.33933872760564482</c:v>
                </c:pt>
                <c:pt idx="1428">
                  <c:v>0.34063545069270251</c:v>
                </c:pt>
                <c:pt idx="1429">
                  <c:v>0.34437110374483987</c:v>
                </c:pt>
                <c:pt idx="1430">
                  <c:v>0.34262177092871349</c:v>
                </c:pt>
                <c:pt idx="1431">
                  <c:v>0.34331339540583417</c:v>
                </c:pt>
                <c:pt idx="1432">
                  <c:v>0.3484217187657529</c:v>
                </c:pt>
                <c:pt idx="1433">
                  <c:v>0.35049995229815095</c:v>
                </c:pt>
                <c:pt idx="1434">
                  <c:v>0.35050937227983697</c:v>
                </c:pt>
                <c:pt idx="1435">
                  <c:v>0.35103218303540629</c:v>
                </c:pt>
                <c:pt idx="1436">
                  <c:v>0.35132053883224823</c:v>
                </c:pt>
                <c:pt idx="1437">
                  <c:v>0.35134699752773552</c:v>
                </c:pt>
                <c:pt idx="1438">
                  <c:v>0.35130378398335521</c:v>
                </c:pt>
                <c:pt idx="1439">
                  <c:v>0.35087652239030115</c:v>
                </c:pt>
                <c:pt idx="1440">
                  <c:v>0.35130902779695122</c:v>
                </c:pt>
                <c:pt idx="1441">
                  <c:v>0.35026929763720277</c:v>
                </c:pt>
                <c:pt idx="1442">
                  <c:v>0.35022211136887438</c:v>
                </c:pt>
                <c:pt idx="1443">
                  <c:v>0.3499501776710115</c:v>
                </c:pt>
                <c:pt idx="1444">
                  <c:v>0.34731719038947223</c:v>
                </c:pt>
                <c:pt idx="1445">
                  <c:v>0.35127698891662201</c:v>
                </c:pt>
                <c:pt idx="1446">
                  <c:v>0.34837149211865864</c:v>
                </c:pt>
                <c:pt idx="1447">
                  <c:v>0.34735949626394996</c:v>
                </c:pt>
                <c:pt idx="1448">
                  <c:v>0.34931112935437042</c:v>
                </c:pt>
                <c:pt idx="1449">
                  <c:v>0.34873826076360476</c:v>
                </c:pt>
                <c:pt idx="1450">
                  <c:v>0.34854526701334837</c:v>
                </c:pt>
                <c:pt idx="1451">
                  <c:v>0.34838339877399427</c:v>
                </c:pt>
                <c:pt idx="1452">
                  <c:v>0.34810322450418646</c:v>
                </c:pt>
                <c:pt idx="1453">
                  <c:v>0.34830753252993879</c:v>
                </c:pt>
                <c:pt idx="1454">
                  <c:v>0.34750337351587329</c:v>
                </c:pt>
                <c:pt idx="1455">
                  <c:v>0.34716483317930952</c:v>
                </c:pt>
                <c:pt idx="1456">
                  <c:v>0.34648840565914668</c:v>
                </c:pt>
                <c:pt idx="1457">
                  <c:v>0.34557052553131745</c:v>
                </c:pt>
                <c:pt idx="1458">
                  <c:v>0.34450066421430997</c:v>
                </c:pt>
                <c:pt idx="1459">
                  <c:v>0.34738137939882946</c:v>
                </c:pt>
                <c:pt idx="1460">
                  <c:v>0.34935926389882627</c:v>
                </c:pt>
                <c:pt idx="1461">
                  <c:v>0.35258362384028114</c:v>
                </c:pt>
                <c:pt idx="1462">
                  <c:v>0.35445760449350111</c:v>
                </c:pt>
                <c:pt idx="1463">
                  <c:v>0.35457852384246635</c:v>
                </c:pt>
                <c:pt idx="1464">
                  <c:v>0.3536593000993935</c:v>
                </c:pt>
                <c:pt idx="1465">
                  <c:v>0.35494460414135365</c:v>
                </c:pt>
                <c:pt idx="1466">
                  <c:v>0.3550658083757301</c:v>
                </c:pt>
                <c:pt idx="1467">
                  <c:v>0.35535259965931548</c:v>
                </c:pt>
                <c:pt idx="1468">
                  <c:v>0.35630445123637255</c:v>
                </c:pt>
                <c:pt idx="1469">
                  <c:v>0.35599760398434022</c:v>
                </c:pt>
                <c:pt idx="1470">
                  <c:v>0.35624433547111867</c:v>
                </c:pt>
                <c:pt idx="1471">
                  <c:v>0.35593479933702415</c:v>
                </c:pt>
                <c:pt idx="1472">
                  <c:v>0.35631500165070673</c:v>
                </c:pt>
                <c:pt idx="1473">
                  <c:v>0.35418554836782146</c:v>
                </c:pt>
                <c:pt idx="1474">
                  <c:v>0.35428765875489232</c:v>
                </c:pt>
                <c:pt idx="1475">
                  <c:v>0.35293106318682066</c:v>
                </c:pt>
                <c:pt idx="1476">
                  <c:v>0.35346005553472271</c:v>
                </c:pt>
                <c:pt idx="1477">
                  <c:v>0.35339310855967271</c:v>
                </c:pt>
                <c:pt idx="1478">
                  <c:v>0.36169681975631801</c:v>
                </c:pt>
                <c:pt idx="1479">
                  <c:v>0.36350898559554562</c:v>
                </c:pt>
                <c:pt idx="1480">
                  <c:v>0.36054900131870571</c:v>
                </c:pt>
                <c:pt idx="1481">
                  <c:v>0.35849957223455281</c:v>
                </c:pt>
                <c:pt idx="1482">
                  <c:v>0.36163130664197196</c:v>
                </c:pt>
                <c:pt idx="1483">
                  <c:v>0.36061912480993075</c:v>
                </c:pt>
                <c:pt idx="1484">
                  <c:v>0.35934780231973085</c:v>
                </c:pt>
                <c:pt idx="1485">
                  <c:v>0.35942528570265719</c:v>
                </c:pt>
                <c:pt idx="1486">
                  <c:v>0.35898675312584638</c:v>
                </c:pt>
                <c:pt idx="1487">
                  <c:v>0.35908948401722107</c:v>
                </c:pt>
                <c:pt idx="1488">
                  <c:v>0.35917893655066913</c:v>
                </c:pt>
                <c:pt idx="1489">
                  <c:v>0.35883132735824569</c:v>
                </c:pt>
                <c:pt idx="1490">
                  <c:v>0.35781152592769672</c:v>
                </c:pt>
                <c:pt idx="1491">
                  <c:v>0.35710737570505119</c:v>
                </c:pt>
                <c:pt idx="1492">
                  <c:v>0.35675160152124291</c:v>
                </c:pt>
                <c:pt idx="1493">
                  <c:v>0.35663501886066618</c:v>
                </c:pt>
                <c:pt idx="1494">
                  <c:v>0.35700402819535726</c:v>
                </c:pt>
                <c:pt idx="1495">
                  <c:v>0.35730391816045637</c:v>
                </c:pt>
                <c:pt idx="1496">
                  <c:v>0.35706410703044777</c:v>
                </c:pt>
                <c:pt idx="1497">
                  <c:v>0.35737306584064404</c:v>
                </c:pt>
                <c:pt idx="1498">
                  <c:v>0.35730876742766227</c:v>
                </c:pt>
                <c:pt idx="1499">
                  <c:v>0.35741636074343441</c:v>
                </c:pt>
                <c:pt idx="1500">
                  <c:v>0.3561154363628431</c:v>
                </c:pt>
                <c:pt idx="1501">
                  <c:v>0.35513691164359179</c:v>
                </c:pt>
                <c:pt idx="1502">
                  <c:v>0.355555605583874</c:v>
                </c:pt>
                <c:pt idx="1503">
                  <c:v>0.35547868149795675</c:v>
                </c:pt>
                <c:pt idx="1504">
                  <c:v>0.35294001180008944</c:v>
                </c:pt>
                <c:pt idx="1505">
                  <c:v>0.35349321079388918</c:v>
                </c:pt>
                <c:pt idx="1506">
                  <c:v>0.35223492510951621</c:v>
                </c:pt>
                <c:pt idx="1507">
                  <c:v>0.35182653711371037</c:v>
                </c:pt>
                <c:pt idx="1508">
                  <c:v>0.35257470343319114</c:v>
                </c:pt>
                <c:pt idx="1509">
                  <c:v>0.3526209900462734</c:v>
                </c:pt>
                <c:pt idx="1510">
                  <c:v>0.35279421600279359</c:v>
                </c:pt>
                <c:pt idx="1511">
                  <c:v>0.35295977860332012</c:v>
                </c:pt>
                <c:pt idx="1512">
                  <c:v>0.35279469767071514</c:v>
                </c:pt>
                <c:pt idx="1513">
                  <c:v>0.35245154515779409</c:v>
                </c:pt>
                <c:pt idx="1514">
                  <c:v>0.35222619911789649</c:v>
                </c:pt>
                <c:pt idx="1515">
                  <c:v>0.35390338373148139</c:v>
                </c:pt>
                <c:pt idx="1516">
                  <c:v>0.35547394624985368</c:v>
                </c:pt>
                <c:pt idx="1517">
                  <c:v>0.35592065029892572</c:v>
                </c:pt>
                <c:pt idx="1518">
                  <c:v>0.35391222304144637</c:v>
                </c:pt>
                <c:pt idx="1519">
                  <c:v>0.35345096737169068</c:v>
                </c:pt>
                <c:pt idx="1520">
                  <c:v>0.35369368293106918</c:v>
                </c:pt>
                <c:pt idx="1521">
                  <c:v>0.35239225704393801</c:v>
                </c:pt>
                <c:pt idx="1522">
                  <c:v>0.35190886248293579</c:v>
                </c:pt>
                <c:pt idx="1523">
                  <c:v>0.3511432511107157</c:v>
                </c:pt>
                <c:pt idx="1524">
                  <c:v>0.35116295289510824</c:v>
                </c:pt>
                <c:pt idx="1525">
                  <c:v>0.35400888142560133</c:v>
                </c:pt>
                <c:pt idx="1526">
                  <c:v>0.35633699543854547</c:v>
                </c:pt>
                <c:pt idx="1527">
                  <c:v>0.35282694083965693</c:v>
                </c:pt>
                <c:pt idx="1528">
                  <c:v>0.35461957071859312</c:v>
                </c:pt>
                <c:pt idx="1529">
                  <c:v>0.35547969964647763</c:v>
                </c:pt>
                <c:pt idx="1530">
                  <c:v>0.35483667769323113</c:v>
                </c:pt>
                <c:pt idx="1531">
                  <c:v>0.35428116367089496</c:v>
                </c:pt>
                <c:pt idx="1532">
                  <c:v>0.35420633561534776</c:v>
                </c:pt>
                <c:pt idx="1533">
                  <c:v>0.35411236467467772</c:v>
                </c:pt>
                <c:pt idx="1534">
                  <c:v>0.35352266383140407</c:v>
                </c:pt>
                <c:pt idx="1535">
                  <c:v>0.35083971962603722</c:v>
                </c:pt>
                <c:pt idx="1536">
                  <c:v>0.34979954779939021</c:v>
                </c:pt>
                <c:pt idx="1537">
                  <c:v>0.35023300501047205</c:v>
                </c:pt>
                <c:pt idx="1538">
                  <c:v>0.35136036784301056</c:v>
                </c:pt>
                <c:pt idx="1539">
                  <c:v>0.35088656597302798</c:v>
                </c:pt>
                <c:pt idx="1540">
                  <c:v>0.35157480569571209</c:v>
                </c:pt>
                <c:pt idx="1541">
                  <c:v>0.3517119704827652</c:v>
                </c:pt>
                <c:pt idx="1542">
                  <c:v>0.34823670735799345</c:v>
                </c:pt>
                <c:pt idx="1543">
                  <c:v>0.33434107984166772</c:v>
                </c:pt>
                <c:pt idx="1544">
                  <c:v>0.32948981633753266</c:v>
                </c:pt>
                <c:pt idx="1545">
                  <c:v>0.33050632176568062</c:v>
                </c:pt>
                <c:pt idx="1546">
                  <c:v>0.33032970268533429</c:v>
                </c:pt>
                <c:pt idx="1547">
                  <c:v>0.32859384006646492</c:v>
                </c:pt>
                <c:pt idx="1548">
                  <c:v>0.32910749371356668</c:v>
                </c:pt>
                <c:pt idx="1549">
                  <c:v>0.32879352082393754</c:v>
                </c:pt>
                <c:pt idx="1550">
                  <c:v>0.32895365496405132</c:v>
                </c:pt>
                <c:pt idx="1551">
                  <c:v>0.32869045560352195</c:v>
                </c:pt>
                <c:pt idx="1552">
                  <c:v>0.32872314700567107</c:v>
                </c:pt>
                <c:pt idx="1553">
                  <c:v>0.32978420998664226</c:v>
                </c:pt>
                <c:pt idx="1554">
                  <c:v>0.3296422119940372</c:v>
                </c:pt>
                <c:pt idx="1555">
                  <c:v>0.33036848876520591</c:v>
                </c:pt>
                <c:pt idx="1556">
                  <c:v>0.33229142763907921</c:v>
                </c:pt>
                <c:pt idx="1557">
                  <c:v>0.33136822337825195</c:v>
                </c:pt>
                <c:pt idx="1558">
                  <c:v>0.33147847231717864</c:v>
                </c:pt>
                <c:pt idx="1559">
                  <c:v>0.33189568685623555</c:v>
                </c:pt>
                <c:pt idx="1560">
                  <c:v>0.33312673969895312</c:v>
                </c:pt>
                <c:pt idx="1561">
                  <c:v>0.33335273909906094</c:v>
                </c:pt>
                <c:pt idx="1562">
                  <c:v>0.33514991986678883</c:v>
                </c:pt>
                <c:pt idx="1563">
                  <c:v>0.33582469261968867</c:v>
                </c:pt>
                <c:pt idx="1564">
                  <c:v>0.3347012748398786</c:v>
                </c:pt>
                <c:pt idx="1565">
                  <c:v>0.33493590550263347</c:v>
                </c:pt>
                <c:pt idx="1566">
                  <c:v>0.3349994842645394</c:v>
                </c:pt>
                <c:pt idx="1567">
                  <c:v>0.33424844183702412</c:v>
                </c:pt>
                <c:pt idx="1568">
                  <c:v>0.33453911624146676</c:v>
                </c:pt>
                <c:pt idx="1569">
                  <c:v>0.3338255812508325</c:v>
                </c:pt>
                <c:pt idx="1570">
                  <c:v>0.33419227504572546</c:v>
                </c:pt>
                <c:pt idx="1571">
                  <c:v>0.33366014401408101</c:v>
                </c:pt>
                <c:pt idx="1572">
                  <c:v>0.33003739336856203</c:v>
                </c:pt>
                <c:pt idx="1573">
                  <c:v>0.33009759710933567</c:v>
                </c:pt>
                <c:pt idx="1574">
                  <c:v>0.33011427735392679</c:v>
                </c:pt>
                <c:pt idx="1575">
                  <c:v>0.33004280957579513</c:v>
                </c:pt>
                <c:pt idx="1576">
                  <c:v>0.32958007008850393</c:v>
                </c:pt>
                <c:pt idx="1577">
                  <c:v>0.3299015085726974</c:v>
                </c:pt>
                <c:pt idx="1578">
                  <c:v>0.32987620285843716</c:v>
                </c:pt>
                <c:pt idx="1579">
                  <c:v>0.32945292023168143</c:v>
                </c:pt>
                <c:pt idx="1580">
                  <c:v>0.32919882371079917</c:v>
                </c:pt>
                <c:pt idx="1581">
                  <c:v>0.32853269074071889</c:v>
                </c:pt>
                <c:pt idx="1582">
                  <c:v>0.32766001415105739</c:v>
                </c:pt>
                <c:pt idx="1583">
                  <c:v>0.32793486925145682</c:v>
                </c:pt>
                <c:pt idx="1584">
                  <c:v>0.32828752519293986</c:v>
                </c:pt>
                <c:pt idx="1585">
                  <c:v>0.32906153454729387</c:v>
                </c:pt>
                <c:pt idx="1586">
                  <c:v>0.329137127012118</c:v>
                </c:pt>
                <c:pt idx="1587">
                  <c:v>0.32870480416972497</c:v>
                </c:pt>
                <c:pt idx="1588">
                  <c:v>0.32915818521096774</c:v>
                </c:pt>
                <c:pt idx="1589">
                  <c:v>0.32866233507975884</c:v>
                </c:pt>
                <c:pt idx="1590">
                  <c:v>0.32972218447120671</c:v>
                </c:pt>
                <c:pt idx="1591">
                  <c:v>0.32904179445118986</c:v>
                </c:pt>
                <c:pt idx="1592">
                  <c:v>0.32849583426669771</c:v>
                </c:pt>
                <c:pt idx="1593">
                  <c:v>0.32835702038907766</c:v>
                </c:pt>
                <c:pt idx="1594">
                  <c:v>0.33008024388983886</c:v>
                </c:pt>
                <c:pt idx="1595">
                  <c:v>0.32935400402991494</c:v>
                </c:pt>
                <c:pt idx="1596">
                  <c:v>0.32885459372527287</c:v>
                </c:pt>
                <c:pt idx="1597">
                  <c:v>0.3277304410868126</c:v>
                </c:pt>
                <c:pt idx="1598">
                  <c:v>0.32921805036133012</c:v>
                </c:pt>
                <c:pt idx="1599">
                  <c:v>0.32935118822319986</c:v>
                </c:pt>
                <c:pt idx="1600">
                  <c:v>0.32795972814649937</c:v>
                </c:pt>
                <c:pt idx="1601">
                  <c:v>0.33204678098632434</c:v>
                </c:pt>
                <c:pt idx="1602">
                  <c:v>0.33378270212456773</c:v>
                </c:pt>
                <c:pt idx="1603">
                  <c:v>0.33295774294423253</c:v>
                </c:pt>
                <c:pt idx="1604">
                  <c:v>0.34048191440346393</c:v>
                </c:pt>
                <c:pt idx="1605">
                  <c:v>0.34203049332141233</c:v>
                </c:pt>
                <c:pt idx="1606">
                  <c:v>0.3527229393325263</c:v>
                </c:pt>
                <c:pt idx="1607">
                  <c:v>0.35848984416384166</c:v>
                </c:pt>
                <c:pt idx="1608">
                  <c:v>0.35553437003993943</c:v>
                </c:pt>
                <c:pt idx="1609">
                  <c:v>0.35358717795884875</c:v>
                </c:pt>
                <c:pt idx="1610">
                  <c:v>0.35493627673227135</c:v>
                </c:pt>
                <c:pt idx="1611">
                  <c:v>0.35603515539306696</c:v>
                </c:pt>
                <c:pt idx="1612">
                  <c:v>0.35687012381737293</c:v>
                </c:pt>
                <c:pt idx="1613">
                  <c:v>0.356965193938587</c:v>
                </c:pt>
                <c:pt idx="1614">
                  <c:v>0.3570626569855051</c:v>
                </c:pt>
                <c:pt idx="1615">
                  <c:v>0.35865106544138264</c:v>
                </c:pt>
                <c:pt idx="1616">
                  <c:v>0.35900793034478756</c:v>
                </c:pt>
                <c:pt idx="1617">
                  <c:v>0.35841982918110682</c:v>
                </c:pt>
                <c:pt idx="1618">
                  <c:v>0.35847511671253057</c:v>
                </c:pt>
                <c:pt idx="1619">
                  <c:v>0.35895207275946456</c:v>
                </c:pt>
                <c:pt idx="1620">
                  <c:v>0.35847198226050297</c:v>
                </c:pt>
                <c:pt idx="1621">
                  <c:v>0.35856831383211424</c:v>
                </c:pt>
                <c:pt idx="1622">
                  <c:v>0.35905257551693232</c:v>
                </c:pt>
                <c:pt idx="1623">
                  <c:v>0.35852063627402903</c:v>
                </c:pt>
                <c:pt idx="1624">
                  <c:v>0.35868435093824791</c:v>
                </c:pt>
                <c:pt idx="1625">
                  <c:v>0.35863512966713879</c:v>
                </c:pt>
                <c:pt idx="1626">
                  <c:v>0.35882865604579012</c:v>
                </c:pt>
                <c:pt idx="1627">
                  <c:v>0.35902937036855048</c:v>
                </c:pt>
                <c:pt idx="1628">
                  <c:v>0.35910273215507682</c:v>
                </c:pt>
                <c:pt idx="1629">
                  <c:v>0.3584759403878241</c:v>
                </c:pt>
                <c:pt idx="1630">
                  <c:v>0.36037969506972517</c:v>
                </c:pt>
                <c:pt idx="1631">
                  <c:v>0.3602975376625871</c:v>
                </c:pt>
                <c:pt idx="1632">
                  <c:v>0.36032302566696151</c:v>
                </c:pt>
                <c:pt idx="1633">
                  <c:v>0.35902024821022488</c:v>
                </c:pt>
                <c:pt idx="1634">
                  <c:v>0.3589064108373074</c:v>
                </c:pt>
                <c:pt idx="1635">
                  <c:v>0.35950215156773391</c:v>
                </c:pt>
                <c:pt idx="1636">
                  <c:v>0.35953763354416263</c:v>
                </c:pt>
                <c:pt idx="1637">
                  <c:v>0.35827228437241954</c:v>
                </c:pt>
                <c:pt idx="1638">
                  <c:v>0.36001703126801482</c:v>
                </c:pt>
                <c:pt idx="1639">
                  <c:v>0.36274262243088568</c:v>
                </c:pt>
                <c:pt idx="1640">
                  <c:v>0.36205292550043161</c:v>
                </c:pt>
                <c:pt idx="1641">
                  <c:v>0.36217553702023858</c:v>
                </c:pt>
                <c:pt idx="1642">
                  <c:v>0.36176925097526996</c:v>
                </c:pt>
                <c:pt idx="1643">
                  <c:v>0.35975847310213721</c:v>
                </c:pt>
                <c:pt idx="1644">
                  <c:v>0.35912942453279989</c:v>
                </c:pt>
                <c:pt idx="1645">
                  <c:v>0.36209460696833679</c:v>
                </c:pt>
                <c:pt idx="1646">
                  <c:v>0.36499013775225969</c:v>
                </c:pt>
                <c:pt idx="1647">
                  <c:v>0.36438811684701272</c:v>
                </c:pt>
                <c:pt idx="1648">
                  <c:v>0.36445872414126579</c:v>
                </c:pt>
                <c:pt idx="1649">
                  <c:v>0.36418220944280821</c:v>
                </c:pt>
                <c:pt idx="1650">
                  <c:v>0.36859917377484408</c:v>
                </c:pt>
                <c:pt idx="1651">
                  <c:v>0.36689680311918532</c:v>
                </c:pt>
                <c:pt idx="1652">
                  <c:v>0.36723177451890793</c:v>
                </c:pt>
                <c:pt idx="1653">
                  <c:v>0.36594354533512657</c:v>
                </c:pt>
                <c:pt idx="1654">
                  <c:v>0.36574642517591044</c:v>
                </c:pt>
                <c:pt idx="1655">
                  <c:v>0.36490513972399147</c:v>
                </c:pt>
                <c:pt idx="1656">
                  <c:v>0.36473485620545432</c:v>
                </c:pt>
                <c:pt idx="1657">
                  <c:v>0.3646671782553092</c:v>
                </c:pt>
                <c:pt idx="1658">
                  <c:v>0.36560342516823524</c:v>
                </c:pt>
                <c:pt idx="1659">
                  <c:v>0.36580070062249048</c:v>
                </c:pt>
                <c:pt idx="1660">
                  <c:v>0.36399046436366495</c:v>
                </c:pt>
                <c:pt idx="1661">
                  <c:v>0.36503366642194868</c:v>
                </c:pt>
                <c:pt idx="1662">
                  <c:v>0.36516316658870812</c:v>
                </c:pt>
                <c:pt idx="1663">
                  <c:v>0.36609563240974397</c:v>
                </c:pt>
                <c:pt idx="1664">
                  <c:v>0.36650065532842951</c:v>
                </c:pt>
                <c:pt idx="1665">
                  <c:v>0.36731551127174183</c:v>
                </c:pt>
                <c:pt idx="1666">
                  <c:v>0.36736016382432513</c:v>
                </c:pt>
                <c:pt idx="1667">
                  <c:v>0.36829297258010507</c:v>
                </c:pt>
                <c:pt idx="1668">
                  <c:v>0.36799113702926034</c:v>
                </c:pt>
                <c:pt idx="1669">
                  <c:v>0.3688168967078046</c:v>
                </c:pt>
                <c:pt idx="1670">
                  <c:v>0.36906389779015325</c:v>
                </c:pt>
                <c:pt idx="1671">
                  <c:v>0.36837739127991131</c:v>
                </c:pt>
                <c:pt idx="1672">
                  <c:v>0.37009225829360137</c:v>
                </c:pt>
                <c:pt idx="1673">
                  <c:v>0.36966162679939668</c:v>
                </c:pt>
                <c:pt idx="1674">
                  <c:v>0.37053647811986412</c:v>
                </c:pt>
                <c:pt idx="1675">
                  <c:v>0.37585677933689687</c:v>
                </c:pt>
                <c:pt idx="1676">
                  <c:v>0.37543957966775865</c:v>
                </c:pt>
                <c:pt idx="1677">
                  <c:v>0.38026654513131863</c:v>
                </c:pt>
                <c:pt idx="1678">
                  <c:v>0.38072614004272204</c:v>
                </c:pt>
                <c:pt idx="1679">
                  <c:v>0.3829876830309476</c:v>
                </c:pt>
                <c:pt idx="1680">
                  <c:v>0.38213870016412332</c:v>
                </c:pt>
                <c:pt idx="1681">
                  <c:v>0.37951998751822674</c:v>
                </c:pt>
                <c:pt idx="1682">
                  <c:v>0.38276896076698758</c:v>
                </c:pt>
                <c:pt idx="1683">
                  <c:v>0.38289575527092373</c:v>
                </c:pt>
                <c:pt idx="1684">
                  <c:v>0.37890870390662695</c:v>
                </c:pt>
                <c:pt idx="1685">
                  <c:v>0.37676492368665748</c:v>
                </c:pt>
                <c:pt idx="1686">
                  <c:v>0.37735332469035027</c:v>
                </c:pt>
                <c:pt idx="1687">
                  <c:v>0.3767519009812178</c:v>
                </c:pt>
                <c:pt idx="1688">
                  <c:v>0.37711314488630371</c:v>
                </c:pt>
                <c:pt idx="1689">
                  <c:v>0.37672688490696243</c:v>
                </c:pt>
                <c:pt idx="1690">
                  <c:v>0.37600091791479784</c:v>
                </c:pt>
                <c:pt idx="1691">
                  <c:v>0.37642413104492062</c:v>
                </c:pt>
                <c:pt idx="1692">
                  <c:v>0.37609476127639885</c:v>
                </c:pt>
                <c:pt idx="1693">
                  <c:v>0.37638891626508275</c:v>
                </c:pt>
                <c:pt idx="1694">
                  <c:v>0.37643509888023863</c:v>
                </c:pt>
                <c:pt idx="1695">
                  <c:v>0.37720678192974172</c:v>
                </c:pt>
                <c:pt idx="1696">
                  <c:v>0.37760480095062104</c:v>
                </c:pt>
                <c:pt idx="1697">
                  <c:v>0.37738409163263947</c:v>
                </c:pt>
                <c:pt idx="1698">
                  <c:v>0.37710198950030516</c:v>
                </c:pt>
                <c:pt idx="1699">
                  <c:v>0.37734717539444085</c:v>
                </c:pt>
                <c:pt idx="1700">
                  <c:v>0.37637673837937197</c:v>
                </c:pt>
                <c:pt idx="1701">
                  <c:v>0.37466446304170015</c:v>
                </c:pt>
                <c:pt idx="1702">
                  <c:v>0.3748207270642408</c:v>
                </c:pt>
                <c:pt idx="1703">
                  <c:v>0.37565048118187444</c:v>
                </c:pt>
                <c:pt idx="1704">
                  <c:v>0.37581919976652267</c:v>
                </c:pt>
                <c:pt idx="1705">
                  <c:v>0.37631673597354698</c:v>
                </c:pt>
                <c:pt idx="1706">
                  <c:v>0.3764169635345701</c:v>
                </c:pt>
                <c:pt idx="1707">
                  <c:v>0.37813242893405891</c:v>
                </c:pt>
                <c:pt idx="1708">
                  <c:v>0.37974432044988898</c:v>
                </c:pt>
                <c:pt idx="1709">
                  <c:v>0.38140335110314061</c:v>
                </c:pt>
                <c:pt idx="1710">
                  <c:v>0.38256263440530058</c:v>
                </c:pt>
                <c:pt idx="1711">
                  <c:v>0.38139512914491697</c:v>
                </c:pt>
                <c:pt idx="1712">
                  <c:v>0.38142679480998648</c:v>
                </c:pt>
                <c:pt idx="1713">
                  <c:v>0.37980823588711493</c:v>
                </c:pt>
                <c:pt idx="1714">
                  <c:v>0.37948911584480871</c:v>
                </c:pt>
                <c:pt idx="1715">
                  <c:v>0.379402937136401</c:v>
                </c:pt>
                <c:pt idx="1716">
                  <c:v>0.37858241306295448</c:v>
                </c:pt>
                <c:pt idx="1717">
                  <c:v>0.37815559467219334</c:v>
                </c:pt>
                <c:pt idx="1718">
                  <c:v>0.37760242617377499</c:v>
                </c:pt>
                <c:pt idx="1719">
                  <c:v>0.37770279653202482</c:v>
                </c:pt>
                <c:pt idx="1720">
                  <c:v>0.37768658376201353</c:v>
                </c:pt>
                <c:pt idx="1721">
                  <c:v>0.37759369834093931</c:v>
                </c:pt>
                <c:pt idx="1722">
                  <c:v>0.37758618783413678</c:v>
                </c:pt>
                <c:pt idx="1723">
                  <c:v>0.37777277560044775</c:v>
                </c:pt>
                <c:pt idx="1724">
                  <c:v>0.37754557218032281</c:v>
                </c:pt>
                <c:pt idx="1725">
                  <c:v>0.37946417972764074</c:v>
                </c:pt>
                <c:pt idx="1726">
                  <c:v>0.37989485242871712</c:v>
                </c:pt>
                <c:pt idx="1727">
                  <c:v>0.3813500920928436</c:v>
                </c:pt>
                <c:pt idx="1728">
                  <c:v>0.38112384391758514</c:v>
                </c:pt>
                <c:pt idx="1729">
                  <c:v>0.38143669166517785</c:v>
                </c:pt>
                <c:pt idx="1730">
                  <c:v>0.38174448857207588</c:v>
                </c:pt>
                <c:pt idx="1731">
                  <c:v>0.38174175457527071</c:v>
                </c:pt>
                <c:pt idx="1732">
                  <c:v>0.38226196725922279</c:v>
                </c:pt>
                <c:pt idx="1733">
                  <c:v>0.38264554918587557</c:v>
                </c:pt>
                <c:pt idx="1734">
                  <c:v>0.38265456257477226</c:v>
                </c:pt>
                <c:pt idx="1735">
                  <c:v>0.38246902164625485</c:v>
                </c:pt>
                <c:pt idx="1736">
                  <c:v>0.38250252457668538</c:v>
                </c:pt>
                <c:pt idx="1737">
                  <c:v>0.38237690478624764</c:v>
                </c:pt>
                <c:pt idx="1738">
                  <c:v>0.38252372157607401</c:v>
                </c:pt>
                <c:pt idx="1739">
                  <c:v>0.38279663263352004</c:v>
                </c:pt>
                <c:pt idx="1740">
                  <c:v>0.38290161943064854</c:v>
                </c:pt>
                <c:pt idx="1741">
                  <c:v>0.38180429533399651</c:v>
                </c:pt>
                <c:pt idx="1742">
                  <c:v>0.38054497580030761</c:v>
                </c:pt>
                <c:pt idx="1743">
                  <c:v>0.38084646434036457</c:v>
                </c:pt>
                <c:pt idx="1744">
                  <c:v>0.38092882902060443</c:v>
                </c:pt>
                <c:pt idx="1745">
                  <c:v>0.38047414147102443</c:v>
                </c:pt>
                <c:pt idx="1746">
                  <c:v>0.38027550795333387</c:v>
                </c:pt>
                <c:pt idx="1747">
                  <c:v>0.37676030421305967</c:v>
                </c:pt>
                <c:pt idx="1748">
                  <c:v>0.37672321963453281</c:v>
                </c:pt>
                <c:pt idx="1749">
                  <c:v>0.3765344767678811</c:v>
                </c:pt>
                <c:pt idx="1750">
                  <c:v>0.37662801399331369</c:v>
                </c:pt>
                <c:pt idx="1751">
                  <c:v>0.37603173432397291</c:v>
                </c:pt>
                <c:pt idx="1752">
                  <c:v>0.37694128692194245</c:v>
                </c:pt>
                <c:pt idx="1753">
                  <c:v>0.37679611222817416</c:v>
                </c:pt>
                <c:pt idx="1754">
                  <c:v>0.3766987045836856</c:v>
                </c:pt>
                <c:pt idx="1755">
                  <c:v>0.37705279777177669</c:v>
                </c:pt>
                <c:pt idx="1756">
                  <c:v>0.37881276317632839</c:v>
                </c:pt>
                <c:pt idx="1757">
                  <c:v>0.37882207155703423</c:v>
                </c:pt>
                <c:pt idx="1758">
                  <c:v>0.37564079145298135</c:v>
                </c:pt>
                <c:pt idx="1759">
                  <c:v>0.37573119676139111</c:v>
                </c:pt>
                <c:pt idx="1760">
                  <c:v>0.37571071394835898</c:v>
                </c:pt>
                <c:pt idx="1761">
                  <c:v>0.37553663500211354</c:v>
                </c:pt>
                <c:pt idx="1762">
                  <c:v>0.37565485282758854</c:v>
                </c:pt>
                <c:pt idx="1763">
                  <c:v>0.37586294729693326</c:v>
                </c:pt>
                <c:pt idx="1764">
                  <c:v>0.37614229116617326</c:v>
                </c:pt>
                <c:pt idx="1765">
                  <c:v>0.37629788321702023</c:v>
                </c:pt>
                <c:pt idx="1766">
                  <c:v>0.3755992734046269</c:v>
                </c:pt>
                <c:pt idx="1767">
                  <c:v>0.37391553448402021</c:v>
                </c:pt>
                <c:pt idx="1768">
                  <c:v>0.37366057320296148</c:v>
                </c:pt>
                <c:pt idx="1769">
                  <c:v>0.37387489536317636</c:v>
                </c:pt>
                <c:pt idx="1770">
                  <c:v>0.3740460588582713</c:v>
                </c:pt>
                <c:pt idx="1771">
                  <c:v>0.37262629601555264</c:v>
                </c:pt>
                <c:pt idx="1772">
                  <c:v>0.3717636801347014</c:v>
                </c:pt>
                <c:pt idx="1773">
                  <c:v>0.37225668910865412</c:v>
                </c:pt>
                <c:pt idx="1774">
                  <c:v>0.37224360589784222</c:v>
                </c:pt>
                <c:pt idx="1775">
                  <c:v>0.3722125304949272</c:v>
                </c:pt>
                <c:pt idx="1776">
                  <c:v>0.37239842498717768</c:v>
                </c:pt>
                <c:pt idx="1777">
                  <c:v>0.37313717910660382</c:v>
                </c:pt>
                <c:pt idx="1778">
                  <c:v>0.37325287511099292</c:v>
                </c:pt>
                <c:pt idx="1779">
                  <c:v>0.37384964771486418</c:v>
                </c:pt>
                <c:pt idx="1780">
                  <c:v>0.37289734456408996</c:v>
                </c:pt>
                <c:pt idx="1781">
                  <c:v>0.37289775840450962</c:v>
                </c:pt>
                <c:pt idx="1782">
                  <c:v>0.37482689708445549</c:v>
                </c:pt>
                <c:pt idx="1783">
                  <c:v>0.37491046592698335</c:v>
                </c:pt>
                <c:pt idx="1784">
                  <c:v>0.37663294606595138</c:v>
                </c:pt>
                <c:pt idx="1785">
                  <c:v>0.37759818540390216</c:v>
                </c:pt>
                <c:pt idx="1786">
                  <c:v>0.37806325626384962</c:v>
                </c:pt>
                <c:pt idx="1787">
                  <c:v>0.37964991658805608</c:v>
                </c:pt>
                <c:pt idx="1788">
                  <c:v>0.38157690494030239</c:v>
                </c:pt>
                <c:pt idx="1789">
                  <c:v>0.38161769541786</c:v>
                </c:pt>
                <c:pt idx="1790">
                  <c:v>0.38306159897484382</c:v>
                </c:pt>
                <c:pt idx="1791">
                  <c:v>0.38595969973704902</c:v>
                </c:pt>
                <c:pt idx="1792">
                  <c:v>0.38526246535078484</c:v>
                </c:pt>
                <c:pt idx="1793">
                  <c:v>0.38525034607293296</c:v>
                </c:pt>
                <c:pt idx="1794">
                  <c:v>0.3880211280697794</c:v>
                </c:pt>
                <c:pt idx="1795">
                  <c:v>0.39872895301307598</c:v>
                </c:pt>
                <c:pt idx="1796">
                  <c:v>0.40272353624207963</c:v>
                </c:pt>
                <c:pt idx="1797">
                  <c:v>0.40291922027760019</c:v>
                </c:pt>
                <c:pt idx="1798">
                  <c:v>0.40290006872472017</c:v>
                </c:pt>
                <c:pt idx="1799">
                  <c:v>0.40408950712396657</c:v>
                </c:pt>
                <c:pt idx="1800">
                  <c:v>0.40355508129124162</c:v>
                </c:pt>
                <c:pt idx="1801">
                  <c:v>0.4025507958745233</c:v>
                </c:pt>
                <c:pt idx="1802">
                  <c:v>0.40177566304657159</c:v>
                </c:pt>
                <c:pt idx="1803">
                  <c:v>0.40130670861946577</c:v>
                </c:pt>
                <c:pt idx="1804">
                  <c:v>0.401103675897997</c:v>
                </c:pt>
                <c:pt idx="1805">
                  <c:v>0.40344560901310689</c:v>
                </c:pt>
                <c:pt idx="1806">
                  <c:v>0.40265795318815623</c:v>
                </c:pt>
                <c:pt idx="1807">
                  <c:v>0.40263133515444111</c:v>
                </c:pt>
                <c:pt idx="1808">
                  <c:v>0.40147740671040411</c:v>
                </c:pt>
                <c:pt idx="1809">
                  <c:v>0.40051531386386496</c:v>
                </c:pt>
                <c:pt idx="1810">
                  <c:v>0.40033141241612913</c:v>
                </c:pt>
                <c:pt idx="1811">
                  <c:v>0.39922040355404759</c:v>
                </c:pt>
                <c:pt idx="1812">
                  <c:v>0.39808019219926033</c:v>
                </c:pt>
                <c:pt idx="1813">
                  <c:v>0.39809564486913174</c:v>
                </c:pt>
                <c:pt idx="1814">
                  <c:v>0.3973499915942284</c:v>
                </c:pt>
                <c:pt idx="1815">
                  <c:v>0.3960509351437278</c:v>
                </c:pt>
                <c:pt idx="1816">
                  <c:v>0.3968881008739501</c:v>
                </c:pt>
                <c:pt idx="1817">
                  <c:v>0.39674606917786437</c:v>
                </c:pt>
                <c:pt idx="1818">
                  <c:v>0.39541963261740271</c:v>
                </c:pt>
                <c:pt idx="1819">
                  <c:v>0.39175965116061662</c:v>
                </c:pt>
                <c:pt idx="1820">
                  <c:v>0.37498330200485319</c:v>
                </c:pt>
                <c:pt idx="1821">
                  <c:v>0.38538779706388337</c:v>
                </c:pt>
                <c:pt idx="1822">
                  <c:v>0.38197407933430633</c:v>
                </c:pt>
                <c:pt idx="1823">
                  <c:v>0.38036136383547392</c:v>
                </c:pt>
                <c:pt idx="1824">
                  <c:v>0.37539714135488317</c:v>
                </c:pt>
                <c:pt idx="1825">
                  <c:v>0.37542978954624651</c:v>
                </c:pt>
                <c:pt idx="1826">
                  <c:v>0.37708108089487774</c:v>
                </c:pt>
                <c:pt idx="1827">
                  <c:v>0.3801114130810529</c:v>
                </c:pt>
                <c:pt idx="1828">
                  <c:v>0.38086559903206318</c:v>
                </c:pt>
                <c:pt idx="1829">
                  <c:v>0.38089533800382236</c:v>
                </c:pt>
                <c:pt idx="1830">
                  <c:v>0.38273233764291903</c:v>
                </c:pt>
                <c:pt idx="1831">
                  <c:v>0.38569752948825092</c:v>
                </c:pt>
                <c:pt idx="1832">
                  <c:v>0.38599560516868719</c:v>
                </c:pt>
                <c:pt idx="1833">
                  <c:v>0.38663904912312491</c:v>
                </c:pt>
                <c:pt idx="1834">
                  <c:v>0.38664828241096494</c:v>
                </c:pt>
                <c:pt idx="1835">
                  <c:v>0.38627700264572662</c:v>
                </c:pt>
                <c:pt idx="1836">
                  <c:v>0.38870492841550608</c:v>
                </c:pt>
                <c:pt idx="1837">
                  <c:v>0.39000386930944253</c:v>
                </c:pt>
                <c:pt idx="1838">
                  <c:v>0.38973603883370161</c:v>
                </c:pt>
                <c:pt idx="1839">
                  <c:v>0.39062907119890949</c:v>
                </c:pt>
                <c:pt idx="1840">
                  <c:v>0.39144310284786588</c:v>
                </c:pt>
                <c:pt idx="1841">
                  <c:v>0.39348793735340876</c:v>
                </c:pt>
                <c:pt idx="1842">
                  <c:v>0.39380478029628485</c:v>
                </c:pt>
                <c:pt idx="1843">
                  <c:v>0.3945883148046519</c:v>
                </c:pt>
                <c:pt idx="1844">
                  <c:v>0.39600245216162078</c:v>
                </c:pt>
                <c:pt idx="1845">
                  <c:v>0.39505370724909838</c:v>
                </c:pt>
                <c:pt idx="1846">
                  <c:v>0.3943401671199715</c:v>
                </c:pt>
                <c:pt idx="1847">
                  <c:v>0.39378156422833938</c:v>
                </c:pt>
                <c:pt idx="1848">
                  <c:v>0.39355058704096613</c:v>
                </c:pt>
                <c:pt idx="1849">
                  <c:v>0.39412090780742726</c:v>
                </c:pt>
                <c:pt idx="1850">
                  <c:v>0.39387417646954681</c:v>
                </c:pt>
                <c:pt idx="1851">
                  <c:v>0.39370321607295533</c:v>
                </c:pt>
                <c:pt idx="1852">
                  <c:v>0.39313948095660611</c:v>
                </c:pt>
                <c:pt idx="1853">
                  <c:v>0.39084735766018908</c:v>
                </c:pt>
                <c:pt idx="1854">
                  <c:v>0.39131882553849545</c:v>
                </c:pt>
                <c:pt idx="1855">
                  <c:v>0.38962619247556779</c:v>
                </c:pt>
                <c:pt idx="1856">
                  <c:v>0.38765816927124808</c:v>
                </c:pt>
                <c:pt idx="1857">
                  <c:v>0.38667397903999418</c:v>
                </c:pt>
                <c:pt idx="1858">
                  <c:v>0.38461077593506415</c:v>
                </c:pt>
                <c:pt idx="1859">
                  <c:v>0.3832714849605145</c:v>
                </c:pt>
                <c:pt idx="1860">
                  <c:v>0.38412464321316214</c:v>
                </c:pt>
                <c:pt idx="1861">
                  <c:v>0.38649825265598742</c:v>
                </c:pt>
                <c:pt idx="1862">
                  <c:v>0.38699865339326778</c:v>
                </c:pt>
                <c:pt idx="1863">
                  <c:v>0.3900057750723917</c:v>
                </c:pt>
                <c:pt idx="1864">
                  <c:v>0.38957275335359409</c:v>
                </c:pt>
                <c:pt idx="1865">
                  <c:v>0.38943391473404504</c:v>
                </c:pt>
                <c:pt idx="1866">
                  <c:v>0.38929927488261978</c:v>
                </c:pt>
                <c:pt idx="1867">
                  <c:v>0.38803962632702305</c:v>
                </c:pt>
                <c:pt idx="1868">
                  <c:v>0.38788991696451414</c:v>
                </c:pt>
                <c:pt idx="1869">
                  <c:v>0.38848159324354975</c:v>
                </c:pt>
                <c:pt idx="1870">
                  <c:v>0.38900583397363708</c:v>
                </c:pt>
                <c:pt idx="1871">
                  <c:v>0.38927657047725422</c:v>
                </c:pt>
                <c:pt idx="1872">
                  <c:v>0.38948605730994718</c:v>
                </c:pt>
                <c:pt idx="1873">
                  <c:v>0.38982577208960378</c:v>
                </c:pt>
                <c:pt idx="1874">
                  <c:v>0.3895724730865362</c:v>
                </c:pt>
                <c:pt idx="1875">
                  <c:v>0.39043362194348674</c:v>
                </c:pt>
                <c:pt idx="1876">
                  <c:v>0.39003519909514744</c:v>
                </c:pt>
                <c:pt idx="1877">
                  <c:v>0.39039158648316918</c:v>
                </c:pt>
                <c:pt idx="1878">
                  <c:v>0.39202562879633185</c:v>
                </c:pt>
                <c:pt idx="1879">
                  <c:v>0.39321050042684824</c:v>
                </c:pt>
                <c:pt idx="1880">
                  <c:v>0.39564315169119768</c:v>
                </c:pt>
                <c:pt idx="1881">
                  <c:v>0.39617978992414393</c:v>
                </c:pt>
                <c:pt idx="1882">
                  <c:v>0.39492726748455043</c:v>
                </c:pt>
                <c:pt idx="1883">
                  <c:v>0.39497937949937656</c:v>
                </c:pt>
                <c:pt idx="1884">
                  <c:v>0.39454495930020211</c:v>
                </c:pt>
                <c:pt idx="1885">
                  <c:v>0.39501031369628581</c:v>
                </c:pt>
                <c:pt idx="1886">
                  <c:v>0.39519224471375292</c:v>
                </c:pt>
                <c:pt idx="1887">
                  <c:v>0.39562184115795296</c:v>
                </c:pt>
                <c:pt idx="1888">
                  <c:v>0.39555194007690681</c:v>
                </c:pt>
                <c:pt idx="1889">
                  <c:v>0.39524618581582449</c:v>
                </c:pt>
                <c:pt idx="1890">
                  <c:v>0.39454246284554462</c:v>
                </c:pt>
                <c:pt idx="1891">
                  <c:v>0.39290868423183878</c:v>
                </c:pt>
                <c:pt idx="1892">
                  <c:v>0.39344437734995397</c:v>
                </c:pt>
                <c:pt idx="1893">
                  <c:v>0.39198615617877902</c:v>
                </c:pt>
                <c:pt idx="1894">
                  <c:v>0.39183994133103178</c:v>
                </c:pt>
                <c:pt idx="1895">
                  <c:v>0.39401950511202988</c:v>
                </c:pt>
                <c:pt idx="1896">
                  <c:v>0.39421433950874879</c:v>
                </c:pt>
                <c:pt idx="1897">
                  <c:v>0.3930114488278873</c:v>
                </c:pt>
                <c:pt idx="1898">
                  <c:v>0.39675681577983196</c:v>
                </c:pt>
                <c:pt idx="1899">
                  <c:v>0.39810950264618944</c:v>
                </c:pt>
                <c:pt idx="1900">
                  <c:v>0.39916267400711219</c:v>
                </c:pt>
                <c:pt idx="1901">
                  <c:v>0.39697374971864829</c:v>
                </c:pt>
                <c:pt idx="1902">
                  <c:v>0.39527271835144484</c:v>
                </c:pt>
                <c:pt idx="1903">
                  <c:v>0.39816066009618589</c:v>
                </c:pt>
                <c:pt idx="1904">
                  <c:v>0.39926370127376565</c:v>
                </c:pt>
                <c:pt idx="1905">
                  <c:v>0.39990295355149164</c:v>
                </c:pt>
                <c:pt idx="1906">
                  <c:v>0.3987423961364765</c:v>
                </c:pt>
                <c:pt idx="1907">
                  <c:v>0.39918497383040147</c:v>
                </c:pt>
                <c:pt idx="1908">
                  <c:v>0.3972708221808372</c:v>
                </c:pt>
                <c:pt idx="1909">
                  <c:v>0.39710957923106649</c:v>
                </c:pt>
                <c:pt idx="1910">
                  <c:v>0.39759072197963302</c:v>
                </c:pt>
                <c:pt idx="1911">
                  <c:v>0.39772387957692562</c:v>
                </c:pt>
                <c:pt idx="1912">
                  <c:v>0.3979252020003729</c:v>
                </c:pt>
                <c:pt idx="1913">
                  <c:v>0.39685874656491132</c:v>
                </c:pt>
                <c:pt idx="1914">
                  <c:v>0.39693296643206438</c:v>
                </c:pt>
                <c:pt idx="1915">
                  <c:v>0.39817206659768684</c:v>
                </c:pt>
                <c:pt idx="1916">
                  <c:v>0.39927162546638445</c:v>
                </c:pt>
                <c:pt idx="1917">
                  <c:v>0.39898856599981108</c:v>
                </c:pt>
                <c:pt idx="1918">
                  <c:v>0.39972553202580691</c:v>
                </c:pt>
                <c:pt idx="1919">
                  <c:v>0.40259323771588995</c:v>
                </c:pt>
                <c:pt idx="1920">
                  <c:v>0.40322091790134384</c:v>
                </c:pt>
                <c:pt idx="1921">
                  <c:v>0.40519589311079696</c:v>
                </c:pt>
                <c:pt idx="1922">
                  <c:v>0.40496084904319535</c:v>
                </c:pt>
                <c:pt idx="1923">
                  <c:v>0.40556697929239777</c:v>
                </c:pt>
                <c:pt idx="1924">
                  <c:v>0.40438165347440713</c:v>
                </c:pt>
                <c:pt idx="1925">
                  <c:v>0.40588280584640146</c:v>
                </c:pt>
                <c:pt idx="1926">
                  <c:v>0.40629162833538895</c:v>
                </c:pt>
                <c:pt idx="1927">
                  <c:v>0.40599651296730099</c:v>
                </c:pt>
                <c:pt idx="1928">
                  <c:v>0.407129526845045</c:v>
                </c:pt>
                <c:pt idx="1929">
                  <c:v>0.4037842964452108</c:v>
                </c:pt>
                <c:pt idx="1930">
                  <c:v>0.40301533117223087</c:v>
                </c:pt>
                <c:pt idx="1931">
                  <c:v>0.40146197783432408</c:v>
                </c:pt>
                <c:pt idx="1932">
                  <c:v>0.40235725741048051</c:v>
                </c:pt>
                <c:pt idx="1933">
                  <c:v>0.40352538055116371</c:v>
                </c:pt>
                <c:pt idx="1934">
                  <c:v>0.40307332497262377</c:v>
                </c:pt>
                <c:pt idx="1935">
                  <c:v>0.40286888389943626</c:v>
                </c:pt>
                <c:pt idx="1936">
                  <c:v>0.40254051392893347</c:v>
                </c:pt>
                <c:pt idx="1937">
                  <c:v>0.40297743099308186</c:v>
                </c:pt>
                <c:pt idx="1938">
                  <c:v>0.4025548832587883</c:v>
                </c:pt>
                <c:pt idx="1939">
                  <c:v>0.40325935521569528</c:v>
                </c:pt>
                <c:pt idx="1940">
                  <c:v>0.40210730101882203</c:v>
                </c:pt>
                <c:pt idx="1941">
                  <c:v>0.40296949838319823</c:v>
                </c:pt>
                <c:pt idx="1942">
                  <c:v>0.40371909919347804</c:v>
                </c:pt>
                <c:pt idx="1943">
                  <c:v>0.40346437279967623</c:v>
                </c:pt>
                <c:pt idx="1944">
                  <c:v>0.4033695677375701</c:v>
                </c:pt>
                <c:pt idx="1945">
                  <c:v>0.40386405898247296</c:v>
                </c:pt>
                <c:pt idx="1946">
                  <c:v>0.40425370411831441</c:v>
                </c:pt>
                <c:pt idx="1947">
                  <c:v>0.40397229485655678</c:v>
                </c:pt>
                <c:pt idx="1948">
                  <c:v>0.40383034722650746</c:v>
                </c:pt>
                <c:pt idx="1949">
                  <c:v>0.40394283973498213</c:v>
                </c:pt>
                <c:pt idx="1950">
                  <c:v>0.40425305899565989</c:v>
                </c:pt>
                <c:pt idx="1951">
                  <c:v>0.40611812149455018</c:v>
                </c:pt>
                <c:pt idx="1952">
                  <c:v>0.40598869180220065</c:v>
                </c:pt>
                <c:pt idx="1953">
                  <c:v>0.40646050251678539</c:v>
                </c:pt>
                <c:pt idx="1954">
                  <c:v>0.40650285651527168</c:v>
                </c:pt>
                <c:pt idx="1955">
                  <c:v>0.40583678007218454</c:v>
                </c:pt>
                <c:pt idx="1956">
                  <c:v>0.40629833068779264</c:v>
                </c:pt>
                <c:pt idx="1957">
                  <c:v>0.40628541935452256</c:v>
                </c:pt>
                <c:pt idx="1958">
                  <c:v>0.40628163379560212</c:v>
                </c:pt>
                <c:pt idx="1959">
                  <c:v>0.40538857163225556</c:v>
                </c:pt>
                <c:pt idx="1960">
                  <c:v>0.40484733896813341</c:v>
                </c:pt>
                <c:pt idx="1961">
                  <c:v>0.40475956515772349</c:v>
                </c:pt>
                <c:pt idx="1962">
                  <c:v>0.40372726633695216</c:v>
                </c:pt>
                <c:pt idx="1963">
                  <c:v>0.40506567606519039</c:v>
                </c:pt>
                <c:pt idx="1964">
                  <c:v>0.40479011574835866</c:v>
                </c:pt>
                <c:pt idx="1965">
                  <c:v>0.40616431195819414</c:v>
                </c:pt>
                <c:pt idx="1966">
                  <c:v>0.40619105154972857</c:v>
                </c:pt>
                <c:pt idx="1967">
                  <c:v>0.40693987148892174</c:v>
                </c:pt>
                <c:pt idx="1968">
                  <c:v>0.40841238148568837</c:v>
                </c:pt>
                <c:pt idx="1969">
                  <c:v>0.40818130620667287</c:v>
                </c:pt>
                <c:pt idx="1970">
                  <c:v>0.40911186012592132</c:v>
                </c:pt>
                <c:pt idx="1971">
                  <c:v>0.40915282817503512</c:v>
                </c:pt>
                <c:pt idx="1972">
                  <c:v>0.40897795929503905</c:v>
                </c:pt>
                <c:pt idx="1973">
                  <c:v>0.40893268279669825</c:v>
                </c:pt>
                <c:pt idx="1974">
                  <c:v>0.40881252570758225</c:v>
                </c:pt>
                <c:pt idx="1975">
                  <c:v>0.40929861011591306</c:v>
                </c:pt>
                <c:pt idx="1976">
                  <c:v>0.4101438485870651</c:v>
                </c:pt>
                <c:pt idx="1977">
                  <c:v>0.41197976905468536</c:v>
                </c:pt>
                <c:pt idx="1978">
                  <c:v>0.41171067844520376</c:v>
                </c:pt>
                <c:pt idx="1979">
                  <c:v>0.41119238793937862</c:v>
                </c:pt>
                <c:pt idx="1980">
                  <c:v>0.41174996616405052</c:v>
                </c:pt>
                <c:pt idx="1981">
                  <c:v>0.41223563875388208</c:v>
                </c:pt>
                <c:pt idx="1982">
                  <c:v>0.41274394873204323</c:v>
                </c:pt>
                <c:pt idx="1983">
                  <c:v>0.4128003402640274</c:v>
                </c:pt>
                <c:pt idx="1984">
                  <c:v>0.41402932967537448</c:v>
                </c:pt>
                <c:pt idx="1985">
                  <c:v>0.41399739441677497</c:v>
                </c:pt>
                <c:pt idx="1986">
                  <c:v>0.41401796608635255</c:v>
                </c:pt>
                <c:pt idx="1987">
                  <c:v>0.41442128086715097</c:v>
                </c:pt>
                <c:pt idx="1988">
                  <c:v>0.41445563636339489</c:v>
                </c:pt>
                <c:pt idx="1989">
                  <c:v>0.41396682586168859</c:v>
                </c:pt>
                <c:pt idx="1990">
                  <c:v>0.41424384943630516</c:v>
                </c:pt>
                <c:pt idx="1991">
                  <c:v>0.41416155602536014</c:v>
                </c:pt>
                <c:pt idx="1992">
                  <c:v>0.41449120115364935</c:v>
                </c:pt>
                <c:pt idx="1993">
                  <c:v>0.41577980602085052</c:v>
                </c:pt>
                <c:pt idx="1994">
                  <c:v>0.41754137000759134</c:v>
                </c:pt>
                <c:pt idx="1995">
                  <c:v>0.41806730202910131</c:v>
                </c:pt>
                <c:pt idx="1996">
                  <c:v>0.41860032577519202</c:v>
                </c:pt>
                <c:pt idx="1997">
                  <c:v>0.41899840337419841</c:v>
                </c:pt>
                <c:pt idx="1998">
                  <c:v>0.41926745104277602</c:v>
                </c:pt>
                <c:pt idx="1999">
                  <c:v>0.4225090307512282</c:v>
                </c:pt>
                <c:pt idx="2000">
                  <c:v>0.42345555709996768</c:v>
                </c:pt>
                <c:pt idx="2001">
                  <c:v>0.42416425536901453</c:v>
                </c:pt>
                <c:pt idx="2002">
                  <c:v>0.42432848247242044</c:v>
                </c:pt>
                <c:pt idx="2003">
                  <c:v>0.42530461756415849</c:v>
                </c:pt>
                <c:pt idx="2004">
                  <c:v>0.42568113980651923</c:v>
                </c:pt>
                <c:pt idx="2005">
                  <c:v>0.42659060777417296</c:v>
                </c:pt>
                <c:pt idx="2006">
                  <c:v>0.42659467728681244</c:v>
                </c:pt>
                <c:pt idx="2007">
                  <c:v>0.42641714894045629</c:v>
                </c:pt>
              </c:numCache>
            </c:numRef>
          </c:val>
          <c:smooth val="0"/>
          <c:extLst xmlns:c16r2="http://schemas.microsoft.com/office/drawing/2015/06/chart">
            <c:ext xmlns:c16="http://schemas.microsoft.com/office/drawing/2014/chart" uri="{C3380CC4-5D6E-409C-BE32-E72D297353CC}">
              <c16:uniqueId val="{00000001-2ABA-46E5-85D6-2306B79F7B0A}"/>
            </c:ext>
          </c:extLst>
        </c:ser>
        <c:ser>
          <c:idx val="2"/>
          <c:order val="2"/>
          <c:tx>
            <c:strRef>
              <c:f>beta!$AK$256</c:f>
              <c:strCache>
                <c:ptCount val="1"/>
                <c:pt idx="0">
                  <c:v>3rd Nearby VIX future</c:v>
                </c:pt>
              </c:strCache>
            </c:strRef>
          </c:tx>
          <c:marker>
            <c:symbol val="none"/>
          </c:marker>
          <c:cat>
            <c:numRef>
              <c:f>beta!$AH$257:$AH$2264</c:f>
              <c:numCache>
                <c:formatCode>m/d/yyyy</c:formatCode>
                <c:ptCount val="2008"/>
                <c:pt idx="0">
                  <c:v>39598</c:v>
                </c:pt>
                <c:pt idx="1">
                  <c:v>39601</c:v>
                </c:pt>
                <c:pt idx="2">
                  <c:v>39602</c:v>
                </c:pt>
                <c:pt idx="3">
                  <c:v>39603</c:v>
                </c:pt>
                <c:pt idx="4">
                  <c:v>39604</c:v>
                </c:pt>
                <c:pt idx="5">
                  <c:v>39605</c:v>
                </c:pt>
                <c:pt idx="6">
                  <c:v>39608</c:v>
                </c:pt>
                <c:pt idx="7">
                  <c:v>39609</c:v>
                </c:pt>
                <c:pt idx="8">
                  <c:v>39610</c:v>
                </c:pt>
                <c:pt idx="9">
                  <c:v>39611</c:v>
                </c:pt>
                <c:pt idx="10">
                  <c:v>39612</c:v>
                </c:pt>
                <c:pt idx="11">
                  <c:v>39615</c:v>
                </c:pt>
                <c:pt idx="12">
                  <c:v>39616</c:v>
                </c:pt>
                <c:pt idx="13">
                  <c:v>39617</c:v>
                </c:pt>
                <c:pt idx="14">
                  <c:v>39618</c:v>
                </c:pt>
                <c:pt idx="15">
                  <c:v>39619</c:v>
                </c:pt>
                <c:pt idx="16">
                  <c:v>39622</c:v>
                </c:pt>
                <c:pt idx="17">
                  <c:v>39623</c:v>
                </c:pt>
                <c:pt idx="18">
                  <c:v>39624</c:v>
                </c:pt>
                <c:pt idx="19">
                  <c:v>39625</c:v>
                </c:pt>
                <c:pt idx="20">
                  <c:v>39626</c:v>
                </c:pt>
                <c:pt idx="21">
                  <c:v>39629</c:v>
                </c:pt>
                <c:pt idx="22">
                  <c:v>39630</c:v>
                </c:pt>
                <c:pt idx="23">
                  <c:v>39631</c:v>
                </c:pt>
                <c:pt idx="24">
                  <c:v>39632</c:v>
                </c:pt>
                <c:pt idx="25">
                  <c:v>39636</c:v>
                </c:pt>
                <c:pt idx="26">
                  <c:v>39637</c:v>
                </c:pt>
                <c:pt idx="27">
                  <c:v>39638</c:v>
                </c:pt>
                <c:pt idx="28">
                  <c:v>39639</c:v>
                </c:pt>
                <c:pt idx="29">
                  <c:v>39640</c:v>
                </c:pt>
                <c:pt idx="30">
                  <c:v>39643</c:v>
                </c:pt>
                <c:pt idx="31">
                  <c:v>39644</c:v>
                </c:pt>
                <c:pt idx="32">
                  <c:v>39645</c:v>
                </c:pt>
                <c:pt idx="33">
                  <c:v>39646</c:v>
                </c:pt>
                <c:pt idx="34">
                  <c:v>39647</c:v>
                </c:pt>
                <c:pt idx="35">
                  <c:v>39650</c:v>
                </c:pt>
                <c:pt idx="36">
                  <c:v>39651</c:v>
                </c:pt>
                <c:pt idx="37">
                  <c:v>39652</c:v>
                </c:pt>
                <c:pt idx="38">
                  <c:v>39653</c:v>
                </c:pt>
                <c:pt idx="39">
                  <c:v>39654</c:v>
                </c:pt>
                <c:pt idx="40">
                  <c:v>39657</c:v>
                </c:pt>
                <c:pt idx="41">
                  <c:v>39658</c:v>
                </c:pt>
                <c:pt idx="42">
                  <c:v>39659</c:v>
                </c:pt>
                <c:pt idx="43">
                  <c:v>39660</c:v>
                </c:pt>
                <c:pt idx="44">
                  <c:v>39661</c:v>
                </c:pt>
                <c:pt idx="45">
                  <c:v>39664</c:v>
                </c:pt>
                <c:pt idx="46">
                  <c:v>39665</c:v>
                </c:pt>
                <c:pt idx="47">
                  <c:v>39666</c:v>
                </c:pt>
                <c:pt idx="48">
                  <c:v>39667</c:v>
                </c:pt>
                <c:pt idx="49">
                  <c:v>39668</c:v>
                </c:pt>
                <c:pt idx="50">
                  <c:v>39671</c:v>
                </c:pt>
                <c:pt idx="51">
                  <c:v>39672</c:v>
                </c:pt>
                <c:pt idx="52">
                  <c:v>39673</c:v>
                </c:pt>
                <c:pt idx="53">
                  <c:v>39674</c:v>
                </c:pt>
                <c:pt idx="54">
                  <c:v>39675</c:v>
                </c:pt>
                <c:pt idx="55">
                  <c:v>39678</c:v>
                </c:pt>
                <c:pt idx="56">
                  <c:v>39679</c:v>
                </c:pt>
                <c:pt idx="57">
                  <c:v>39680</c:v>
                </c:pt>
                <c:pt idx="58">
                  <c:v>39681</c:v>
                </c:pt>
                <c:pt idx="59">
                  <c:v>39682</c:v>
                </c:pt>
                <c:pt idx="60">
                  <c:v>39685</c:v>
                </c:pt>
                <c:pt idx="61">
                  <c:v>39686</c:v>
                </c:pt>
                <c:pt idx="62">
                  <c:v>39687</c:v>
                </c:pt>
                <c:pt idx="63">
                  <c:v>39688</c:v>
                </c:pt>
                <c:pt idx="64">
                  <c:v>39689</c:v>
                </c:pt>
                <c:pt idx="65">
                  <c:v>39693</c:v>
                </c:pt>
                <c:pt idx="66">
                  <c:v>39694</c:v>
                </c:pt>
                <c:pt idx="67">
                  <c:v>39695</c:v>
                </c:pt>
                <c:pt idx="68">
                  <c:v>39696</c:v>
                </c:pt>
                <c:pt idx="69">
                  <c:v>39699</c:v>
                </c:pt>
                <c:pt idx="70">
                  <c:v>39700</c:v>
                </c:pt>
                <c:pt idx="71">
                  <c:v>39701</c:v>
                </c:pt>
                <c:pt idx="72">
                  <c:v>39702</c:v>
                </c:pt>
                <c:pt idx="73">
                  <c:v>39703</c:v>
                </c:pt>
                <c:pt idx="74">
                  <c:v>39706</c:v>
                </c:pt>
                <c:pt idx="75">
                  <c:v>39707</c:v>
                </c:pt>
                <c:pt idx="76">
                  <c:v>39708</c:v>
                </c:pt>
                <c:pt idx="77">
                  <c:v>39709</c:v>
                </c:pt>
                <c:pt idx="78">
                  <c:v>39710</c:v>
                </c:pt>
                <c:pt idx="79">
                  <c:v>39713</c:v>
                </c:pt>
                <c:pt idx="80">
                  <c:v>39714</c:v>
                </c:pt>
                <c:pt idx="81">
                  <c:v>39715</c:v>
                </c:pt>
                <c:pt idx="82">
                  <c:v>39716</c:v>
                </c:pt>
                <c:pt idx="83">
                  <c:v>39717</c:v>
                </c:pt>
                <c:pt idx="84">
                  <c:v>39720</c:v>
                </c:pt>
                <c:pt idx="85">
                  <c:v>39721</c:v>
                </c:pt>
                <c:pt idx="86">
                  <c:v>39722</c:v>
                </c:pt>
                <c:pt idx="87">
                  <c:v>39723</c:v>
                </c:pt>
                <c:pt idx="88">
                  <c:v>39724</c:v>
                </c:pt>
                <c:pt idx="89">
                  <c:v>39727</c:v>
                </c:pt>
                <c:pt idx="90">
                  <c:v>39728</c:v>
                </c:pt>
                <c:pt idx="91">
                  <c:v>39729</c:v>
                </c:pt>
                <c:pt idx="92">
                  <c:v>39730</c:v>
                </c:pt>
                <c:pt idx="93">
                  <c:v>39731</c:v>
                </c:pt>
                <c:pt idx="94">
                  <c:v>39734</c:v>
                </c:pt>
                <c:pt idx="95">
                  <c:v>39735</c:v>
                </c:pt>
                <c:pt idx="96">
                  <c:v>39736</c:v>
                </c:pt>
                <c:pt idx="97">
                  <c:v>39737</c:v>
                </c:pt>
                <c:pt idx="98">
                  <c:v>39738</c:v>
                </c:pt>
                <c:pt idx="99">
                  <c:v>39741</c:v>
                </c:pt>
                <c:pt idx="100">
                  <c:v>39742</c:v>
                </c:pt>
                <c:pt idx="101">
                  <c:v>39743</c:v>
                </c:pt>
                <c:pt idx="102">
                  <c:v>39744</c:v>
                </c:pt>
                <c:pt idx="103">
                  <c:v>39745</c:v>
                </c:pt>
                <c:pt idx="104">
                  <c:v>39748</c:v>
                </c:pt>
                <c:pt idx="105">
                  <c:v>39749</c:v>
                </c:pt>
                <c:pt idx="106">
                  <c:v>39750</c:v>
                </c:pt>
                <c:pt idx="107">
                  <c:v>39751</c:v>
                </c:pt>
                <c:pt idx="108">
                  <c:v>39752</c:v>
                </c:pt>
                <c:pt idx="109">
                  <c:v>39755</c:v>
                </c:pt>
                <c:pt idx="110">
                  <c:v>39756</c:v>
                </c:pt>
                <c:pt idx="111">
                  <c:v>39757</c:v>
                </c:pt>
                <c:pt idx="112">
                  <c:v>39758</c:v>
                </c:pt>
                <c:pt idx="113">
                  <c:v>39759</c:v>
                </c:pt>
                <c:pt idx="114">
                  <c:v>39762</c:v>
                </c:pt>
                <c:pt idx="115">
                  <c:v>39763</c:v>
                </c:pt>
                <c:pt idx="116">
                  <c:v>39764</c:v>
                </c:pt>
                <c:pt idx="117">
                  <c:v>39765</c:v>
                </c:pt>
                <c:pt idx="118">
                  <c:v>39766</c:v>
                </c:pt>
                <c:pt idx="119">
                  <c:v>39769</c:v>
                </c:pt>
                <c:pt idx="120">
                  <c:v>39770</c:v>
                </c:pt>
                <c:pt idx="121">
                  <c:v>39771</c:v>
                </c:pt>
                <c:pt idx="122">
                  <c:v>39772</c:v>
                </c:pt>
                <c:pt idx="123">
                  <c:v>39773</c:v>
                </c:pt>
                <c:pt idx="124">
                  <c:v>39776</c:v>
                </c:pt>
                <c:pt idx="125">
                  <c:v>39777</c:v>
                </c:pt>
                <c:pt idx="126">
                  <c:v>39778</c:v>
                </c:pt>
                <c:pt idx="127">
                  <c:v>39780</c:v>
                </c:pt>
                <c:pt idx="128">
                  <c:v>39783</c:v>
                </c:pt>
                <c:pt idx="129">
                  <c:v>39784</c:v>
                </c:pt>
                <c:pt idx="130">
                  <c:v>39785</c:v>
                </c:pt>
                <c:pt idx="131">
                  <c:v>39786</c:v>
                </c:pt>
                <c:pt idx="132">
                  <c:v>39787</c:v>
                </c:pt>
                <c:pt idx="133">
                  <c:v>39790</c:v>
                </c:pt>
                <c:pt idx="134">
                  <c:v>39791</c:v>
                </c:pt>
                <c:pt idx="135">
                  <c:v>39792</c:v>
                </c:pt>
                <c:pt idx="136">
                  <c:v>39793</c:v>
                </c:pt>
                <c:pt idx="137">
                  <c:v>39794</c:v>
                </c:pt>
                <c:pt idx="138">
                  <c:v>39797</c:v>
                </c:pt>
                <c:pt idx="139">
                  <c:v>39798</c:v>
                </c:pt>
                <c:pt idx="140">
                  <c:v>39799</c:v>
                </c:pt>
                <c:pt idx="141">
                  <c:v>39800</c:v>
                </c:pt>
                <c:pt idx="142">
                  <c:v>39801</c:v>
                </c:pt>
                <c:pt idx="143">
                  <c:v>39804</c:v>
                </c:pt>
                <c:pt idx="144">
                  <c:v>39805</c:v>
                </c:pt>
                <c:pt idx="145">
                  <c:v>39806</c:v>
                </c:pt>
                <c:pt idx="146">
                  <c:v>39808</c:v>
                </c:pt>
                <c:pt idx="147">
                  <c:v>39811</c:v>
                </c:pt>
                <c:pt idx="148">
                  <c:v>39812</c:v>
                </c:pt>
                <c:pt idx="149">
                  <c:v>39813</c:v>
                </c:pt>
                <c:pt idx="150">
                  <c:v>39815</c:v>
                </c:pt>
                <c:pt idx="151">
                  <c:v>39818</c:v>
                </c:pt>
                <c:pt idx="152">
                  <c:v>39819</c:v>
                </c:pt>
                <c:pt idx="153">
                  <c:v>39820</c:v>
                </c:pt>
                <c:pt idx="154">
                  <c:v>39821</c:v>
                </c:pt>
                <c:pt idx="155">
                  <c:v>39822</c:v>
                </c:pt>
                <c:pt idx="156">
                  <c:v>39825</c:v>
                </c:pt>
                <c:pt idx="157">
                  <c:v>39826</c:v>
                </c:pt>
                <c:pt idx="158">
                  <c:v>39827</c:v>
                </c:pt>
                <c:pt idx="159">
                  <c:v>39828</c:v>
                </c:pt>
                <c:pt idx="160">
                  <c:v>39829</c:v>
                </c:pt>
                <c:pt idx="161">
                  <c:v>39833</c:v>
                </c:pt>
                <c:pt idx="162">
                  <c:v>39834</c:v>
                </c:pt>
                <c:pt idx="163">
                  <c:v>39835</c:v>
                </c:pt>
                <c:pt idx="164">
                  <c:v>39836</c:v>
                </c:pt>
                <c:pt idx="165">
                  <c:v>39839</c:v>
                </c:pt>
                <c:pt idx="166">
                  <c:v>39840</c:v>
                </c:pt>
                <c:pt idx="167">
                  <c:v>39841</c:v>
                </c:pt>
                <c:pt idx="168">
                  <c:v>39842</c:v>
                </c:pt>
                <c:pt idx="169">
                  <c:v>39843</c:v>
                </c:pt>
                <c:pt idx="170">
                  <c:v>39846</c:v>
                </c:pt>
                <c:pt idx="171">
                  <c:v>39847</c:v>
                </c:pt>
                <c:pt idx="172">
                  <c:v>39848</c:v>
                </c:pt>
                <c:pt idx="173">
                  <c:v>39849</c:v>
                </c:pt>
                <c:pt idx="174">
                  <c:v>39850</c:v>
                </c:pt>
                <c:pt idx="175">
                  <c:v>39853</c:v>
                </c:pt>
                <c:pt idx="176">
                  <c:v>39854</c:v>
                </c:pt>
                <c:pt idx="177">
                  <c:v>39855</c:v>
                </c:pt>
                <c:pt idx="178">
                  <c:v>39856</c:v>
                </c:pt>
                <c:pt idx="179">
                  <c:v>39857</c:v>
                </c:pt>
                <c:pt idx="180">
                  <c:v>39861</c:v>
                </c:pt>
                <c:pt idx="181">
                  <c:v>39862</c:v>
                </c:pt>
                <c:pt idx="182">
                  <c:v>39863</c:v>
                </c:pt>
                <c:pt idx="183">
                  <c:v>39864</c:v>
                </c:pt>
                <c:pt idx="184">
                  <c:v>39867</c:v>
                </c:pt>
                <c:pt idx="185">
                  <c:v>39868</c:v>
                </c:pt>
                <c:pt idx="186">
                  <c:v>39869</c:v>
                </c:pt>
                <c:pt idx="187">
                  <c:v>39870</c:v>
                </c:pt>
                <c:pt idx="188">
                  <c:v>39871</c:v>
                </c:pt>
                <c:pt idx="189">
                  <c:v>39874</c:v>
                </c:pt>
                <c:pt idx="190">
                  <c:v>39875</c:v>
                </c:pt>
                <c:pt idx="191">
                  <c:v>39876</c:v>
                </c:pt>
                <c:pt idx="192">
                  <c:v>39877</c:v>
                </c:pt>
                <c:pt idx="193">
                  <c:v>39878</c:v>
                </c:pt>
                <c:pt idx="194">
                  <c:v>39881</c:v>
                </c:pt>
                <c:pt idx="195">
                  <c:v>39882</c:v>
                </c:pt>
                <c:pt idx="196">
                  <c:v>39883</c:v>
                </c:pt>
                <c:pt idx="197">
                  <c:v>39884</c:v>
                </c:pt>
                <c:pt idx="198">
                  <c:v>39885</c:v>
                </c:pt>
                <c:pt idx="199">
                  <c:v>39888</c:v>
                </c:pt>
                <c:pt idx="200">
                  <c:v>39889</c:v>
                </c:pt>
                <c:pt idx="201">
                  <c:v>39890</c:v>
                </c:pt>
                <c:pt idx="202">
                  <c:v>39891</c:v>
                </c:pt>
                <c:pt idx="203">
                  <c:v>39892</c:v>
                </c:pt>
                <c:pt idx="204">
                  <c:v>39895</c:v>
                </c:pt>
                <c:pt idx="205">
                  <c:v>39896</c:v>
                </c:pt>
                <c:pt idx="206">
                  <c:v>39897</c:v>
                </c:pt>
                <c:pt idx="207">
                  <c:v>39898</c:v>
                </c:pt>
                <c:pt idx="208">
                  <c:v>39899</c:v>
                </c:pt>
                <c:pt idx="209">
                  <c:v>39902</c:v>
                </c:pt>
                <c:pt idx="210">
                  <c:v>39903</c:v>
                </c:pt>
                <c:pt idx="211">
                  <c:v>39904</c:v>
                </c:pt>
                <c:pt idx="212">
                  <c:v>39905</c:v>
                </c:pt>
                <c:pt idx="213">
                  <c:v>39906</c:v>
                </c:pt>
                <c:pt idx="214">
                  <c:v>39909</c:v>
                </c:pt>
                <c:pt idx="215">
                  <c:v>39910</c:v>
                </c:pt>
                <c:pt idx="216">
                  <c:v>39911</c:v>
                </c:pt>
                <c:pt idx="217">
                  <c:v>39912</c:v>
                </c:pt>
                <c:pt idx="218">
                  <c:v>39916</c:v>
                </c:pt>
                <c:pt idx="219">
                  <c:v>39917</c:v>
                </c:pt>
                <c:pt idx="220">
                  <c:v>39918</c:v>
                </c:pt>
                <c:pt idx="221">
                  <c:v>39919</c:v>
                </c:pt>
                <c:pt idx="222">
                  <c:v>39920</c:v>
                </c:pt>
                <c:pt idx="223">
                  <c:v>39923</c:v>
                </c:pt>
                <c:pt idx="224">
                  <c:v>39924</c:v>
                </c:pt>
                <c:pt idx="225">
                  <c:v>39925</c:v>
                </c:pt>
                <c:pt idx="226">
                  <c:v>39926</c:v>
                </c:pt>
                <c:pt idx="227">
                  <c:v>39927</c:v>
                </c:pt>
                <c:pt idx="228">
                  <c:v>39930</c:v>
                </c:pt>
                <c:pt idx="229">
                  <c:v>39931</c:v>
                </c:pt>
                <c:pt idx="230">
                  <c:v>39932</c:v>
                </c:pt>
                <c:pt idx="231">
                  <c:v>39933</c:v>
                </c:pt>
                <c:pt idx="232">
                  <c:v>39934</c:v>
                </c:pt>
                <c:pt idx="233">
                  <c:v>39937</c:v>
                </c:pt>
                <c:pt idx="234">
                  <c:v>39938</c:v>
                </c:pt>
                <c:pt idx="235">
                  <c:v>39939</c:v>
                </c:pt>
                <c:pt idx="236">
                  <c:v>39940</c:v>
                </c:pt>
                <c:pt idx="237">
                  <c:v>39941</c:v>
                </c:pt>
                <c:pt idx="238">
                  <c:v>39944</c:v>
                </c:pt>
                <c:pt idx="239">
                  <c:v>39945</c:v>
                </c:pt>
                <c:pt idx="240">
                  <c:v>39946</c:v>
                </c:pt>
                <c:pt idx="241">
                  <c:v>39947</c:v>
                </c:pt>
                <c:pt idx="242">
                  <c:v>39948</c:v>
                </c:pt>
                <c:pt idx="243">
                  <c:v>39951</c:v>
                </c:pt>
                <c:pt idx="244">
                  <c:v>39952</c:v>
                </c:pt>
                <c:pt idx="245">
                  <c:v>39953</c:v>
                </c:pt>
                <c:pt idx="246">
                  <c:v>39954</c:v>
                </c:pt>
                <c:pt idx="247">
                  <c:v>39955</c:v>
                </c:pt>
                <c:pt idx="248">
                  <c:v>39959</c:v>
                </c:pt>
                <c:pt idx="249">
                  <c:v>39960</c:v>
                </c:pt>
                <c:pt idx="250">
                  <c:v>39961</c:v>
                </c:pt>
                <c:pt idx="251">
                  <c:v>39962</c:v>
                </c:pt>
                <c:pt idx="252">
                  <c:v>39965</c:v>
                </c:pt>
                <c:pt idx="253">
                  <c:v>39966</c:v>
                </c:pt>
                <c:pt idx="254">
                  <c:v>39967</c:v>
                </c:pt>
                <c:pt idx="255">
                  <c:v>39968</c:v>
                </c:pt>
                <c:pt idx="256">
                  <c:v>39969</c:v>
                </c:pt>
                <c:pt idx="257">
                  <c:v>39972</c:v>
                </c:pt>
                <c:pt idx="258">
                  <c:v>39973</c:v>
                </c:pt>
                <c:pt idx="259">
                  <c:v>39974</c:v>
                </c:pt>
                <c:pt idx="260">
                  <c:v>39975</c:v>
                </c:pt>
                <c:pt idx="261">
                  <c:v>39976</c:v>
                </c:pt>
                <c:pt idx="262">
                  <c:v>39979</c:v>
                </c:pt>
                <c:pt idx="263">
                  <c:v>39980</c:v>
                </c:pt>
                <c:pt idx="264">
                  <c:v>39981</c:v>
                </c:pt>
                <c:pt idx="265">
                  <c:v>39982</c:v>
                </c:pt>
                <c:pt idx="266">
                  <c:v>39983</c:v>
                </c:pt>
                <c:pt idx="267">
                  <c:v>39986</c:v>
                </c:pt>
                <c:pt idx="268">
                  <c:v>39987</c:v>
                </c:pt>
                <c:pt idx="269">
                  <c:v>39988</c:v>
                </c:pt>
                <c:pt idx="270">
                  <c:v>39989</c:v>
                </c:pt>
                <c:pt idx="271">
                  <c:v>39990</c:v>
                </c:pt>
                <c:pt idx="272">
                  <c:v>39993</c:v>
                </c:pt>
                <c:pt idx="273">
                  <c:v>39994</c:v>
                </c:pt>
                <c:pt idx="274">
                  <c:v>39995</c:v>
                </c:pt>
                <c:pt idx="275">
                  <c:v>39996</c:v>
                </c:pt>
                <c:pt idx="276">
                  <c:v>40000</c:v>
                </c:pt>
                <c:pt idx="277">
                  <c:v>40001</c:v>
                </c:pt>
                <c:pt idx="278">
                  <c:v>40002</c:v>
                </c:pt>
                <c:pt idx="279">
                  <c:v>40003</c:v>
                </c:pt>
                <c:pt idx="280">
                  <c:v>40004</c:v>
                </c:pt>
                <c:pt idx="281">
                  <c:v>40007</c:v>
                </c:pt>
                <c:pt idx="282">
                  <c:v>40008</c:v>
                </c:pt>
                <c:pt idx="283">
                  <c:v>40009</c:v>
                </c:pt>
                <c:pt idx="284">
                  <c:v>40010</c:v>
                </c:pt>
                <c:pt idx="285">
                  <c:v>40011</c:v>
                </c:pt>
                <c:pt idx="286">
                  <c:v>40014</c:v>
                </c:pt>
                <c:pt idx="287">
                  <c:v>40015</c:v>
                </c:pt>
                <c:pt idx="288">
                  <c:v>40016</c:v>
                </c:pt>
                <c:pt idx="289">
                  <c:v>40017</c:v>
                </c:pt>
                <c:pt idx="290">
                  <c:v>40018</c:v>
                </c:pt>
                <c:pt idx="291">
                  <c:v>40021</c:v>
                </c:pt>
                <c:pt idx="292">
                  <c:v>40022</c:v>
                </c:pt>
                <c:pt idx="293">
                  <c:v>40023</c:v>
                </c:pt>
                <c:pt idx="294">
                  <c:v>40024</c:v>
                </c:pt>
                <c:pt idx="295">
                  <c:v>40025</c:v>
                </c:pt>
                <c:pt idx="296">
                  <c:v>40028</c:v>
                </c:pt>
                <c:pt idx="297">
                  <c:v>40029</c:v>
                </c:pt>
                <c:pt idx="298">
                  <c:v>40030</c:v>
                </c:pt>
                <c:pt idx="299">
                  <c:v>40031</c:v>
                </c:pt>
                <c:pt idx="300">
                  <c:v>40032</c:v>
                </c:pt>
                <c:pt idx="301">
                  <c:v>40035</c:v>
                </c:pt>
                <c:pt idx="302">
                  <c:v>40036</c:v>
                </c:pt>
                <c:pt idx="303">
                  <c:v>40037</c:v>
                </c:pt>
                <c:pt idx="304">
                  <c:v>40038</c:v>
                </c:pt>
                <c:pt idx="305">
                  <c:v>40039</c:v>
                </c:pt>
                <c:pt idx="306">
                  <c:v>40042</c:v>
                </c:pt>
                <c:pt idx="307">
                  <c:v>40043</c:v>
                </c:pt>
                <c:pt idx="308">
                  <c:v>40044</c:v>
                </c:pt>
                <c:pt idx="309">
                  <c:v>40045</c:v>
                </c:pt>
                <c:pt idx="310">
                  <c:v>40046</c:v>
                </c:pt>
                <c:pt idx="311">
                  <c:v>40049</c:v>
                </c:pt>
                <c:pt idx="312">
                  <c:v>40050</c:v>
                </c:pt>
                <c:pt idx="313">
                  <c:v>40051</c:v>
                </c:pt>
                <c:pt idx="314">
                  <c:v>40052</c:v>
                </c:pt>
                <c:pt idx="315">
                  <c:v>40053</c:v>
                </c:pt>
                <c:pt idx="316">
                  <c:v>40056</c:v>
                </c:pt>
                <c:pt idx="317">
                  <c:v>40057</c:v>
                </c:pt>
                <c:pt idx="318">
                  <c:v>40058</c:v>
                </c:pt>
                <c:pt idx="319">
                  <c:v>40059</c:v>
                </c:pt>
                <c:pt idx="320">
                  <c:v>40060</c:v>
                </c:pt>
                <c:pt idx="321">
                  <c:v>40064</c:v>
                </c:pt>
                <c:pt idx="322">
                  <c:v>40065</c:v>
                </c:pt>
                <c:pt idx="323">
                  <c:v>40066</c:v>
                </c:pt>
                <c:pt idx="324">
                  <c:v>40067</c:v>
                </c:pt>
                <c:pt idx="325">
                  <c:v>40070</c:v>
                </c:pt>
                <c:pt idx="326">
                  <c:v>40071</c:v>
                </c:pt>
                <c:pt idx="327">
                  <c:v>40072</c:v>
                </c:pt>
                <c:pt idx="328">
                  <c:v>40073</c:v>
                </c:pt>
                <c:pt idx="329">
                  <c:v>40074</c:v>
                </c:pt>
                <c:pt idx="330">
                  <c:v>40077</c:v>
                </c:pt>
                <c:pt idx="331">
                  <c:v>40078</c:v>
                </c:pt>
                <c:pt idx="332">
                  <c:v>40079</c:v>
                </c:pt>
                <c:pt idx="333">
                  <c:v>40080</c:v>
                </c:pt>
                <c:pt idx="334">
                  <c:v>40081</c:v>
                </c:pt>
                <c:pt idx="335">
                  <c:v>40084</c:v>
                </c:pt>
                <c:pt idx="336">
                  <c:v>40085</c:v>
                </c:pt>
                <c:pt idx="337">
                  <c:v>40086</c:v>
                </c:pt>
                <c:pt idx="338">
                  <c:v>40087</c:v>
                </c:pt>
                <c:pt idx="339">
                  <c:v>40088</c:v>
                </c:pt>
                <c:pt idx="340">
                  <c:v>40091</c:v>
                </c:pt>
                <c:pt idx="341">
                  <c:v>40092</c:v>
                </c:pt>
                <c:pt idx="342">
                  <c:v>40093</c:v>
                </c:pt>
                <c:pt idx="343">
                  <c:v>40094</c:v>
                </c:pt>
                <c:pt idx="344">
                  <c:v>40095</c:v>
                </c:pt>
                <c:pt idx="345">
                  <c:v>40098</c:v>
                </c:pt>
                <c:pt idx="346">
                  <c:v>40099</c:v>
                </c:pt>
                <c:pt idx="347">
                  <c:v>40100</c:v>
                </c:pt>
                <c:pt idx="348">
                  <c:v>40101</c:v>
                </c:pt>
                <c:pt idx="349">
                  <c:v>40102</c:v>
                </c:pt>
                <c:pt idx="350">
                  <c:v>40105</c:v>
                </c:pt>
                <c:pt idx="351">
                  <c:v>40106</c:v>
                </c:pt>
                <c:pt idx="352">
                  <c:v>40107</c:v>
                </c:pt>
                <c:pt idx="353">
                  <c:v>40108</c:v>
                </c:pt>
                <c:pt idx="354">
                  <c:v>40109</c:v>
                </c:pt>
                <c:pt idx="355">
                  <c:v>40112</c:v>
                </c:pt>
                <c:pt idx="356">
                  <c:v>40113</c:v>
                </c:pt>
                <c:pt idx="357">
                  <c:v>40114</c:v>
                </c:pt>
                <c:pt idx="358">
                  <c:v>40115</c:v>
                </c:pt>
                <c:pt idx="359">
                  <c:v>40116</c:v>
                </c:pt>
                <c:pt idx="360">
                  <c:v>40119</c:v>
                </c:pt>
                <c:pt idx="361">
                  <c:v>40120</c:v>
                </c:pt>
                <c:pt idx="362">
                  <c:v>40121</c:v>
                </c:pt>
                <c:pt idx="363">
                  <c:v>40122</c:v>
                </c:pt>
                <c:pt idx="364">
                  <c:v>40123</c:v>
                </c:pt>
                <c:pt idx="365">
                  <c:v>40126</c:v>
                </c:pt>
                <c:pt idx="366">
                  <c:v>40127</c:v>
                </c:pt>
                <c:pt idx="367">
                  <c:v>40128</c:v>
                </c:pt>
                <c:pt idx="368">
                  <c:v>40129</c:v>
                </c:pt>
                <c:pt idx="369">
                  <c:v>40130</c:v>
                </c:pt>
                <c:pt idx="370">
                  <c:v>40133</c:v>
                </c:pt>
                <c:pt idx="371">
                  <c:v>40134</c:v>
                </c:pt>
                <c:pt idx="372">
                  <c:v>40135</c:v>
                </c:pt>
                <c:pt idx="373">
                  <c:v>40136</c:v>
                </c:pt>
                <c:pt idx="374">
                  <c:v>40137</c:v>
                </c:pt>
                <c:pt idx="375">
                  <c:v>40140</c:v>
                </c:pt>
                <c:pt idx="376">
                  <c:v>40141</c:v>
                </c:pt>
                <c:pt idx="377">
                  <c:v>40142</c:v>
                </c:pt>
                <c:pt idx="378">
                  <c:v>40144</c:v>
                </c:pt>
                <c:pt idx="379">
                  <c:v>40147</c:v>
                </c:pt>
                <c:pt idx="380">
                  <c:v>40148</c:v>
                </c:pt>
                <c:pt idx="381">
                  <c:v>40149</c:v>
                </c:pt>
                <c:pt idx="382">
                  <c:v>40150</c:v>
                </c:pt>
                <c:pt idx="383">
                  <c:v>40151</c:v>
                </c:pt>
                <c:pt idx="384">
                  <c:v>40154</c:v>
                </c:pt>
                <c:pt idx="385">
                  <c:v>40155</c:v>
                </c:pt>
                <c:pt idx="386">
                  <c:v>40156</c:v>
                </c:pt>
                <c:pt idx="387">
                  <c:v>40157</c:v>
                </c:pt>
                <c:pt idx="388">
                  <c:v>40158</c:v>
                </c:pt>
                <c:pt idx="389">
                  <c:v>40161</c:v>
                </c:pt>
                <c:pt idx="390">
                  <c:v>40162</c:v>
                </c:pt>
                <c:pt idx="391">
                  <c:v>40163</c:v>
                </c:pt>
                <c:pt idx="392">
                  <c:v>40164</c:v>
                </c:pt>
                <c:pt idx="393">
                  <c:v>40165</c:v>
                </c:pt>
                <c:pt idx="394">
                  <c:v>40168</c:v>
                </c:pt>
                <c:pt idx="395">
                  <c:v>40169</c:v>
                </c:pt>
                <c:pt idx="396">
                  <c:v>40170</c:v>
                </c:pt>
                <c:pt idx="397">
                  <c:v>40171</c:v>
                </c:pt>
                <c:pt idx="398">
                  <c:v>40175</c:v>
                </c:pt>
                <c:pt idx="399">
                  <c:v>40176</c:v>
                </c:pt>
                <c:pt idx="400">
                  <c:v>40177</c:v>
                </c:pt>
                <c:pt idx="401">
                  <c:v>40178</c:v>
                </c:pt>
                <c:pt idx="402">
                  <c:v>40182</c:v>
                </c:pt>
                <c:pt idx="403">
                  <c:v>40183</c:v>
                </c:pt>
                <c:pt idx="404">
                  <c:v>40184</c:v>
                </c:pt>
                <c:pt idx="405">
                  <c:v>40185</c:v>
                </c:pt>
                <c:pt idx="406">
                  <c:v>40186</c:v>
                </c:pt>
                <c:pt idx="407">
                  <c:v>40189</c:v>
                </c:pt>
                <c:pt idx="408">
                  <c:v>40190</c:v>
                </c:pt>
                <c:pt idx="409">
                  <c:v>40191</c:v>
                </c:pt>
                <c:pt idx="410">
                  <c:v>40192</c:v>
                </c:pt>
                <c:pt idx="411">
                  <c:v>40193</c:v>
                </c:pt>
                <c:pt idx="412">
                  <c:v>40197</c:v>
                </c:pt>
                <c:pt idx="413">
                  <c:v>40198</c:v>
                </c:pt>
                <c:pt idx="414">
                  <c:v>40199</c:v>
                </c:pt>
                <c:pt idx="415">
                  <c:v>40200</c:v>
                </c:pt>
                <c:pt idx="416">
                  <c:v>40203</c:v>
                </c:pt>
                <c:pt idx="417">
                  <c:v>40204</c:v>
                </c:pt>
                <c:pt idx="418">
                  <c:v>40205</c:v>
                </c:pt>
                <c:pt idx="419">
                  <c:v>40206</c:v>
                </c:pt>
                <c:pt idx="420">
                  <c:v>40207</c:v>
                </c:pt>
                <c:pt idx="421">
                  <c:v>40210</c:v>
                </c:pt>
                <c:pt idx="422">
                  <c:v>40211</c:v>
                </c:pt>
                <c:pt idx="423">
                  <c:v>40212</c:v>
                </c:pt>
                <c:pt idx="424">
                  <c:v>40213</c:v>
                </c:pt>
                <c:pt idx="425">
                  <c:v>40214</c:v>
                </c:pt>
                <c:pt idx="426">
                  <c:v>40217</c:v>
                </c:pt>
                <c:pt idx="427">
                  <c:v>40218</c:v>
                </c:pt>
                <c:pt idx="428">
                  <c:v>40219</c:v>
                </c:pt>
                <c:pt idx="429">
                  <c:v>40220</c:v>
                </c:pt>
                <c:pt idx="430">
                  <c:v>40221</c:v>
                </c:pt>
                <c:pt idx="431">
                  <c:v>40225</c:v>
                </c:pt>
                <c:pt idx="432">
                  <c:v>40226</c:v>
                </c:pt>
                <c:pt idx="433">
                  <c:v>40227</c:v>
                </c:pt>
                <c:pt idx="434">
                  <c:v>40228</c:v>
                </c:pt>
                <c:pt idx="435">
                  <c:v>40231</c:v>
                </c:pt>
                <c:pt idx="436">
                  <c:v>40232</c:v>
                </c:pt>
                <c:pt idx="437">
                  <c:v>40233</c:v>
                </c:pt>
                <c:pt idx="438">
                  <c:v>40234</c:v>
                </c:pt>
                <c:pt idx="439">
                  <c:v>40235</c:v>
                </c:pt>
                <c:pt idx="440">
                  <c:v>40238</c:v>
                </c:pt>
                <c:pt idx="441">
                  <c:v>40239</c:v>
                </c:pt>
                <c:pt idx="442">
                  <c:v>40240</c:v>
                </c:pt>
                <c:pt idx="443">
                  <c:v>40241</c:v>
                </c:pt>
                <c:pt idx="444">
                  <c:v>40242</c:v>
                </c:pt>
                <c:pt idx="445">
                  <c:v>40245</c:v>
                </c:pt>
                <c:pt idx="446">
                  <c:v>40246</c:v>
                </c:pt>
                <c:pt idx="447">
                  <c:v>40247</c:v>
                </c:pt>
                <c:pt idx="448">
                  <c:v>40248</c:v>
                </c:pt>
                <c:pt idx="449">
                  <c:v>40249</c:v>
                </c:pt>
                <c:pt idx="450">
                  <c:v>40252</c:v>
                </c:pt>
                <c:pt idx="451">
                  <c:v>40253</c:v>
                </c:pt>
                <c:pt idx="452">
                  <c:v>40254</c:v>
                </c:pt>
                <c:pt idx="453">
                  <c:v>40255</c:v>
                </c:pt>
                <c:pt idx="454">
                  <c:v>40256</c:v>
                </c:pt>
                <c:pt idx="455">
                  <c:v>40259</c:v>
                </c:pt>
                <c:pt idx="456">
                  <c:v>40260</c:v>
                </c:pt>
                <c:pt idx="457">
                  <c:v>40261</c:v>
                </c:pt>
                <c:pt idx="458">
                  <c:v>40262</c:v>
                </c:pt>
                <c:pt idx="459">
                  <c:v>40263</c:v>
                </c:pt>
                <c:pt idx="460">
                  <c:v>40266</c:v>
                </c:pt>
                <c:pt idx="461">
                  <c:v>40267</c:v>
                </c:pt>
                <c:pt idx="462">
                  <c:v>40268</c:v>
                </c:pt>
                <c:pt idx="463">
                  <c:v>40269</c:v>
                </c:pt>
                <c:pt idx="464">
                  <c:v>40273</c:v>
                </c:pt>
                <c:pt idx="465">
                  <c:v>40274</c:v>
                </c:pt>
                <c:pt idx="466">
                  <c:v>40275</c:v>
                </c:pt>
                <c:pt idx="467">
                  <c:v>40276</c:v>
                </c:pt>
                <c:pt idx="468">
                  <c:v>40277</c:v>
                </c:pt>
                <c:pt idx="469">
                  <c:v>40280</c:v>
                </c:pt>
                <c:pt idx="470">
                  <c:v>40281</c:v>
                </c:pt>
                <c:pt idx="471">
                  <c:v>40282</c:v>
                </c:pt>
                <c:pt idx="472">
                  <c:v>40283</c:v>
                </c:pt>
                <c:pt idx="473">
                  <c:v>40284</c:v>
                </c:pt>
                <c:pt idx="474">
                  <c:v>40287</c:v>
                </c:pt>
                <c:pt idx="475">
                  <c:v>40288</c:v>
                </c:pt>
                <c:pt idx="476">
                  <c:v>40289</c:v>
                </c:pt>
                <c:pt idx="477">
                  <c:v>40290</c:v>
                </c:pt>
                <c:pt idx="478">
                  <c:v>40291</c:v>
                </c:pt>
                <c:pt idx="479">
                  <c:v>40294</c:v>
                </c:pt>
                <c:pt idx="480">
                  <c:v>40295</c:v>
                </c:pt>
                <c:pt idx="481">
                  <c:v>40296</c:v>
                </c:pt>
                <c:pt idx="482">
                  <c:v>40297</c:v>
                </c:pt>
                <c:pt idx="483">
                  <c:v>40298</c:v>
                </c:pt>
                <c:pt idx="484">
                  <c:v>40301</c:v>
                </c:pt>
                <c:pt idx="485">
                  <c:v>40302</c:v>
                </c:pt>
                <c:pt idx="486">
                  <c:v>40303</c:v>
                </c:pt>
                <c:pt idx="487">
                  <c:v>40304</c:v>
                </c:pt>
                <c:pt idx="488">
                  <c:v>40305</c:v>
                </c:pt>
                <c:pt idx="489">
                  <c:v>40308</c:v>
                </c:pt>
                <c:pt idx="490">
                  <c:v>40309</c:v>
                </c:pt>
                <c:pt idx="491">
                  <c:v>40310</c:v>
                </c:pt>
                <c:pt idx="492">
                  <c:v>40311</c:v>
                </c:pt>
                <c:pt idx="493">
                  <c:v>40312</c:v>
                </c:pt>
                <c:pt idx="494">
                  <c:v>40315</c:v>
                </c:pt>
                <c:pt idx="495">
                  <c:v>40316</c:v>
                </c:pt>
                <c:pt idx="496">
                  <c:v>40317</c:v>
                </c:pt>
                <c:pt idx="497">
                  <c:v>40318</c:v>
                </c:pt>
                <c:pt idx="498">
                  <c:v>40319</c:v>
                </c:pt>
                <c:pt idx="499">
                  <c:v>40322</c:v>
                </c:pt>
                <c:pt idx="500">
                  <c:v>40323</c:v>
                </c:pt>
                <c:pt idx="501">
                  <c:v>40324</c:v>
                </c:pt>
                <c:pt idx="502">
                  <c:v>40325</c:v>
                </c:pt>
                <c:pt idx="503">
                  <c:v>40326</c:v>
                </c:pt>
                <c:pt idx="504">
                  <c:v>40330</c:v>
                </c:pt>
                <c:pt idx="505">
                  <c:v>40331</c:v>
                </c:pt>
                <c:pt idx="506">
                  <c:v>40332</c:v>
                </c:pt>
                <c:pt idx="507">
                  <c:v>40333</c:v>
                </c:pt>
                <c:pt idx="508">
                  <c:v>40336</c:v>
                </c:pt>
                <c:pt idx="509">
                  <c:v>40337</c:v>
                </c:pt>
                <c:pt idx="510">
                  <c:v>40338</c:v>
                </c:pt>
                <c:pt idx="511">
                  <c:v>40339</c:v>
                </c:pt>
                <c:pt idx="512">
                  <c:v>40340</c:v>
                </c:pt>
                <c:pt idx="513">
                  <c:v>40343</c:v>
                </c:pt>
                <c:pt idx="514">
                  <c:v>40344</c:v>
                </c:pt>
                <c:pt idx="515">
                  <c:v>40345</c:v>
                </c:pt>
                <c:pt idx="516">
                  <c:v>40346</c:v>
                </c:pt>
                <c:pt idx="517">
                  <c:v>40347</c:v>
                </c:pt>
                <c:pt idx="518">
                  <c:v>40350</c:v>
                </c:pt>
                <c:pt idx="519">
                  <c:v>40351</c:v>
                </c:pt>
                <c:pt idx="520">
                  <c:v>40352</c:v>
                </c:pt>
                <c:pt idx="521">
                  <c:v>40353</c:v>
                </c:pt>
                <c:pt idx="522">
                  <c:v>40354</c:v>
                </c:pt>
                <c:pt idx="523">
                  <c:v>40357</c:v>
                </c:pt>
                <c:pt idx="524">
                  <c:v>40358</c:v>
                </c:pt>
                <c:pt idx="525">
                  <c:v>40359</c:v>
                </c:pt>
                <c:pt idx="526">
                  <c:v>40360</c:v>
                </c:pt>
                <c:pt idx="527">
                  <c:v>40361</c:v>
                </c:pt>
                <c:pt idx="528">
                  <c:v>40365</c:v>
                </c:pt>
                <c:pt idx="529">
                  <c:v>40366</c:v>
                </c:pt>
                <c:pt idx="530">
                  <c:v>40367</c:v>
                </c:pt>
                <c:pt idx="531">
                  <c:v>40368</c:v>
                </c:pt>
                <c:pt idx="532">
                  <c:v>40371</c:v>
                </c:pt>
                <c:pt idx="533">
                  <c:v>40372</c:v>
                </c:pt>
                <c:pt idx="534">
                  <c:v>40373</c:v>
                </c:pt>
                <c:pt idx="535">
                  <c:v>40374</c:v>
                </c:pt>
                <c:pt idx="536">
                  <c:v>40375</c:v>
                </c:pt>
                <c:pt idx="537">
                  <c:v>40378</c:v>
                </c:pt>
                <c:pt idx="538">
                  <c:v>40379</c:v>
                </c:pt>
                <c:pt idx="539">
                  <c:v>40380</c:v>
                </c:pt>
                <c:pt idx="540">
                  <c:v>40381</c:v>
                </c:pt>
                <c:pt idx="541">
                  <c:v>40382</c:v>
                </c:pt>
                <c:pt idx="542">
                  <c:v>40385</c:v>
                </c:pt>
                <c:pt idx="543">
                  <c:v>40386</c:v>
                </c:pt>
                <c:pt idx="544">
                  <c:v>40387</c:v>
                </c:pt>
                <c:pt idx="545">
                  <c:v>40388</c:v>
                </c:pt>
                <c:pt idx="546">
                  <c:v>40389</c:v>
                </c:pt>
                <c:pt idx="547">
                  <c:v>40392</c:v>
                </c:pt>
                <c:pt idx="548">
                  <c:v>40393</c:v>
                </c:pt>
                <c:pt idx="549">
                  <c:v>40394</c:v>
                </c:pt>
                <c:pt idx="550">
                  <c:v>40395</c:v>
                </c:pt>
                <c:pt idx="551">
                  <c:v>40396</c:v>
                </c:pt>
                <c:pt idx="552">
                  <c:v>40399</c:v>
                </c:pt>
                <c:pt idx="553">
                  <c:v>40400</c:v>
                </c:pt>
                <c:pt idx="554">
                  <c:v>40401</c:v>
                </c:pt>
                <c:pt idx="555">
                  <c:v>40402</c:v>
                </c:pt>
                <c:pt idx="556">
                  <c:v>40403</c:v>
                </c:pt>
                <c:pt idx="557">
                  <c:v>40406</c:v>
                </c:pt>
                <c:pt idx="558">
                  <c:v>40407</c:v>
                </c:pt>
                <c:pt idx="559">
                  <c:v>40408</c:v>
                </c:pt>
                <c:pt idx="560">
                  <c:v>40409</c:v>
                </c:pt>
                <c:pt idx="561">
                  <c:v>40410</c:v>
                </c:pt>
                <c:pt idx="562">
                  <c:v>40413</c:v>
                </c:pt>
                <c:pt idx="563">
                  <c:v>40414</c:v>
                </c:pt>
                <c:pt idx="564">
                  <c:v>40415</c:v>
                </c:pt>
                <c:pt idx="565">
                  <c:v>40416</c:v>
                </c:pt>
                <c:pt idx="566">
                  <c:v>40417</c:v>
                </c:pt>
                <c:pt idx="567">
                  <c:v>40420</c:v>
                </c:pt>
                <c:pt idx="568">
                  <c:v>40421</c:v>
                </c:pt>
                <c:pt idx="569">
                  <c:v>40422</c:v>
                </c:pt>
                <c:pt idx="570">
                  <c:v>40423</c:v>
                </c:pt>
                <c:pt idx="571">
                  <c:v>40424</c:v>
                </c:pt>
                <c:pt idx="572">
                  <c:v>40428</c:v>
                </c:pt>
                <c:pt idx="573">
                  <c:v>40429</c:v>
                </c:pt>
                <c:pt idx="574">
                  <c:v>40430</c:v>
                </c:pt>
                <c:pt idx="575">
                  <c:v>40431</c:v>
                </c:pt>
                <c:pt idx="576">
                  <c:v>40434</c:v>
                </c:pt>
                <c:pt idx="577">
                  <c:v>40435</c:v>
                </c:pt>
                <c:pt idx="578">
                  <c:v>40436</c:v>
                </c:pt>
                <c:pt idx="579">
                  <c:v>40437</c:v>
                </c:pt>
                <c:pt idx="580">
                  <c:v>40438</c:v>
                </c:pt>
                <c:pt idx="581">
                  <c:v>40441</c:v>
                </c:pt>
                <c:pt idx="582">
                  <c:v>40442</c:v>
                </c:pt>
                <c:pt idx="583">
                  <c:v>40443</c:v>
                </c:pt>
                <c:pt idx="584">
                  <c:v>40444</c:v>
                </c:pt>
                <c:pt idx="585">
                  <c:v>40445</c:v>
                </c:pt>
                <c:pt idx="586">
                  <c:v>40448</c:v>
                </c:pt>
                <c:pt idx="587">
                  <c:v>40449</c:v>
                </c:pt>
                <c:pt idx="588">
                  <c:v>40450</c:v>
                </c:pt>
                <c:pt idx="589">
                  <c:v>40451</c:v>
                </c:pt>
                <c:pt idx="590">
                  <c:v>40452</c:v>
                </c:pt>
                <c:pt idx="591">
                  <c:v>40455</c:v>
                </c:pt>
                <c:pt idx="592">
                  <c:v>40456</c:v>
                </c:pt>
                <c:pt idx="593">
                  <c:v>40457</c:v>
                </c:pt>
                <c:pt idx="594">
                  <c:v>40458</c:v>
                </c:pt>
                <c:pt idx="595">
                  <c:v>40459</c:v>
                </c:pt>
                <c:pt idx="596">
                  <c:v>40462</c:v>
                </c:pt>
                <c:pt idx="597">
                  <c:v>40463</c:v>
                </c:pt>
                <c:pt idx="598">
                  <c:v>40464</c:v>
                </c:pt>
                <c:pt idx="599">
                  <c:v>40465</c:v>
                </c:pt>
                <c:pt idx="600">
                  <c:v>40466</c:v>
                </c:pt>
                <c:pt idx="601">
                  <c:v>40469</c:v>
                </c:pt>
                <c:pt idx="602">
                  <c:v>40470</c:v>
                </c:pt>
                <c:pt idx="603">
                  <c:v>40471</c:v>
                </c:pt>
                <c:pt idx="604">
                  <c:v>40472</c:v>
                </c:pt>
                <c:pt idx="605">
                  <c:v>40473</c:v>
                </c:pt>
                <c:pt idx="606">
                  <c:v>40476</c:v>
                </c:pt>
                <c:pt idx="607">
                  <c:v>40477</c:v>
                </c:pt>
                <c:pt idx="608">
                  <c:v>40478</c:v>
                </c:pt>
                <c:pt idx="609">
                  <c:v>40479</c:v>
                </c:pt>
                <c:pt idx="610">
                  <c:v>40480</c:v>
                </c:pt>
                <c:pt idx="611">
                  <c:v>40483</c:v>
                </c:pt>
                <c:pt idx="612">
                  <c:v>40484</c:v>
                </c:pt>
                <c:pt idx="613">
                  <c:v>40485</c:v>
                </c:pt>
                <c:pt idx="614">
                  <c:v>40486</c:v>
                </c:pt>
                <c:pt idx="615">
                  <c:v>40487</c:v>
                </c:pt>
                <c:pt idx="616">
                  <c:v>40490</c:v>
                </c:pt>
                <c:pt idx="617">
                  <c:v>40491</c:v>
                </c:pt>
                <c:pt idx="618">
                  <c:v>40492</c:v>
                </c:pt>
                <c:pt idx="619">
                  <c:v>40493</c:v>
                </c:pt>
                <c:pt idx="620">
                  <c:v>40494</c:v>
                </c:pt>
                <c:pt idx="621">
                  <c:v>40497</c:v>
                </c:pt>
                <c:pt idx="622">
                  <c:v>40498</c:v>
                </c:pt>
                <c:pt idx="623">
                  <c:v>40499</c:v>
                </c:pt>
                <c:pt idx="624">
                  <c:v>40500</c:v>
                </c:pt>
                <c:pt idx="625">
                  <c:v>40501</c:v>
                </c:pt>
                <c:pt idx="626">
                  <c:v>40504</c:v>
                </c:pt>
                <c:pt idx="627">
                  <c:v>40505</c:v>
                </c:pt>
                <c:pt idx="628">
                  <c:v>40506</c:v>
                </c:pt>
                <c:pt idx="629">
                  <c:v>40508</c:v>
                </c:pt>
                <c:pt idx="630">
                  <c:v>40511</c:v>
                </c:pt>
                <c:pt idx="631">
                  <c:v>40512</c:v>
                </c:pt>
                <c:pt idx="632">
                  <c:v>40513</c:v>
                </c:pt>
                <c:pt idx="633">
                  <c:v>40514</c:v>
                </c:pt>
                <c:pt idx="634">
                  <c:v>40515</c:v>
                </c:pt>
                <c:pt idx="635">
                  <c:v>40518</c:v>
                </c:pt>
                <c:pt idx="636">
                  <c:v>40519</c:v>
                </c:pt>
                <c:pt idx="637">
                  <c:v>40520</c:v>
                </c:pt>
                <c:pt idx="638">
                  <c:v>40521</c:v>
                </c:pt>
                <c:pt idx="639">
                  <c:v>40522</c:v>
                </c:pt>
                <c:pt idx="640">
                  <c:v>40525</c:v>
                </c:pt>
                <c:pt idx="641">
                  <c:v>40526</c:v>
                </c:pt>
                <c:pt idx="642">
                  <c:v>40527</c:v>
                </c:pt>
                <c:pt idx="643">
                  <c:v>40528</c:v>
                </c:pt>
                <c:pt idx="644">
                  <c:v>40529</c:v>
                </c:pt>
                <c:pt idx="645">
                  <c:v>40532</c:v>
                </c:pt>
                <c:pt idx="646">
                  <c:v>40533</c:v>
                </c:pt>
                <c:pt idx="647">
                  <c:v>40534</c:v>
                </c:pt>
                <c:pt idx="648">
                  <c:v>40535</c:v>
                </c:pt>
                <c:pt idx="649">
                  <c:v>40539</c:v>
                </c:pt>
                <c:pt idx="650">
                  <c:v>40540</c:v>
                </c:pt>
                <c:pt idx="651">
                  <c:v>40541</c:v>
                </c:pt>
                <c:pt idx="652">
                  <c:v>40542</c:v>
                </c:pt>
                <c:pt idx="653">
                  <c:v>40543</c:v>
                </c:pt>
                <c:pt idx="654">
                  <c:v>40546</c:v>
                </c:pt>
                <c:pt idx="655">
                  <c:v>40547</c:v>
                </c:pt>
                <c:pt idx="656">
                  <c:v>40548</c:v>
                </c:pt>
                <c:pt idx="657">
                  <c:v>40549</c:v>
                </c:pt>
                <c:pt idx="658">
                  <c:v>40550</c:v>
                </c:pt>
                <c:pt idx="659">
                  <c:v>40553</c:v>
                </c:pt>
                <c:pt idx="660">
                  <c:v>40554</c:v>
                </c:pt>
                <c:pt idx="661">
                  <c:v>40555</c:v>
                </c:pt>
                <c:pt idx="662">
                  <c:v>40556</c:v>
                </c:pt>
                <c:pt idx="663">
                  <c:v>40557</c:v>
                </c:pt>
                <c:pt idx="664">
                  <c:v>40561</c:v>
                </c:pt>
                <c:pt idx="665">
                  <c:v>40562</c:v>
                </c:pt>
                <c:pt idx="666">
                  <c:v>40563</c:v>
                </c:pt>
                <c:pt idx="667">
                  <c:v>40564</c:v>
                </c:pt>
                <c:pt idx="668">
                  <c:v>40567</c:v>
                </c:pt>
                <c:pt idx="669">
                  <c:v>40568</c:v>
                </c:pt>
                <c:pt idx="670">
                  <c:v>40569</c:v>
                </c:pt>
                <c:pt idx="671">
                  <c:v>40570</c:v>
                </c:pt>
                <c:pt idx="672">
                  <c:v>40571</c:v>
                </c:pt>
                <c:pt idx="673">
                  <c:v>40574</c:v>
                </c:pt>
                <c:pt idx="674">
                  <c:v>40575</c:v>
                </c:pt>
                <c:pt idx="675">
                  <c:v>40576</c:v>
                </c:pt>
                <c:pt idx="676">
                  <c:v>40577</c:v>
                </c:pt>
                <c:pt idx="677">
                  <c:v>40578</c:v>
                </c:pt>
                <c:pt idx="678">
                  <c:v>40581</c:v>
                </c:pt>
                <c:pt idx="679">
                  <c:v>40582</c:v>
                </c:pt>
                <c:pt idx="680">
                  <c:v>40583</c:v>
                </c:pt>
                <c:pt idx="681">
                  <c:v>40584</c:v>
                </c:pt>
                <c:pt idx="682">
                  <c:v>40585</c:v>
                </c:pt>
                <c:pt idx="683">
                  <c:v>40588</c:v>
                </c:pt>
                <c:pt idx="684">
                  <c:v>40589</c:v>
                </c:pt>
                <c:pt idx="685">
                  <c:v>40590</c:v>
                </c:pt>
                <c:pt idx="686">
                  <c:v>40591</c:v>
                </c:pt>
                <c:pt idx="687">
                  <c:v>40592</c:v>
                </c:pt>
                <c:pt idx="688">
                  <c:v>40596</c:v>
                </c:pt>
                <c:pt idx="689">
                  <c:v>40597</c:v>
                </c:pt>
                <c:pt idx="690">
                  <c:v>40598</c:v>
                </c:pt>
                <c:pt idx="691">
                  <c:v>40599</c:v>
                </c:pt>
                <c:pt idx="692">
                  <c:v>40602</c:v>
                </c:pt>
                <c:pt idx="693">
                  <c:v>40603</c:v>
                </c:pt>
                <c:pt idx="694">
                  <c:v>40604</c:v>
                </c:pt>
                <c:pt idx="695">
                  <c:v>40605</c:v>
                </c:pt>
                <c:pt idx="696">
                  <c:v>40606</c:v>
                </c:pt>
                <c:pt idx="697">
                  <c:v>40609</c:v>
                </c:pt>
                <c:pt idx="698">
                  <c:v>40610</c:v>
                </c:pt>
                <c:pt idx="699">
                  <c:v>40611</c:v>
                </c:pt>
                <c:pt idx="700">
                  <c:v>40612</c:v>
                </c:pt>
                <c:pt idx="701">
                  <c:v>40613</c:v>
                </c:pt>
                <c:pt idx="702">
                  <c:v>40616</c:v>
                </c:pt>
                <c:pt idx="703">
                  <c:v>40617</c:v>
                </c:pt>
                <c:pt idx="704">
                  <c:v>40618</c:v>
                </c:pt>
                <c:pt idx="705">
                  <c:v>40619</c:v>
                </c:pt>
                <c:pt idx="706">
                  <c:v>40620</c:v>
                </c:pt>
                <c:pt idx="707">
                  <c:v>40623</c:v>
                </c:pt>
                <c:pt idx="708">
                  <c:v>40624</c:v>
                </c:pt>
                <c:pt idx="709">
                  <c:v>40625</c:v>
                </c:pt>
                <c:pt idx="710">
                  <c:v>40626</c:v>
                </c:pt>
                <c:pt idx="711">
                  <c:v>40627</c:v>
                </c:pt>
                <c:pt idx="712">
                  <c:v>40630</c:v>
                </c:pt>
                <c:pt idx="713">
                  <c:v>40631</c:v>
                </c:pt>
                <c:pt idx="714">
                  <c:v>40632</c:v>
                </c:pt>
                <c:pt idx="715">
                  <c:v>40633</c:v>
                </c:pt>
                <c:pt idx="716">
                  <c:v>40634</c:v>
                </c:pt>
                <c:pt idx="717">
                  <c:v>40637</c:v>
                </c:pt>
                <c:pt idx="718">
                  <c:v>40638</c:v>
                </c:pt>
                <c:pt idx="719">
                  <c:v>40639</c:v>
                </c:pt>
                <c:pt idx="720">
                  <c:v>40640</c:v>
                </c:pt>
                <c:pt idx="721">
                  <c:v>40641</c:v>
                </c:pt>
                <c:pt idx="722">
                  <c:v>40644</c:v>
                </c:pt>
                <c:pt idx="723">
                  <c:v>40645</c:v>
                </c:pt>
                <c:pt idx="724">
                  <c:v>40646</c:v>
                </c:pt>
                <c:pt idx="725">
                  <c:v>40647</c:v>
                </c:pt>
                <c:pt idx="726">
                  <c:v>40648</c:v>
                </c:pt>
                <c:pt idx="727">
                  <c:v>40651</c:v>
                </c:pt>
                <c:pt idx="728">
                  <c:v>40652</c:v>
                </c:pt>
                <c:pt idx="729">
                  <c:v>40653</c:v>
                </c:pt>
                <c:pt idx="730">
                  <c:v>40654</c:v>
                </c:pt>
                <c:pt idx="731">
                  <c:v>40658</c:v>
                </c:pt>
                <c:pt idx="732">
                  <c:v>40659</c:v>
                </c:pt>
                <c:pt idx="733">
                  <c:v>40660</c:v>
                </c:pt>
                <c:pt idx="734">
                  <c:v>40661</c:v>
                </c:pt>
                <c:pt idx="735">
                  <c:v>40662</c:v>
                </c:pt>
                <c:pt idx="736">
                  <c:v>40665</c:v>
                </c:pt>
                <c:pt idx="737">
                  <c:v>40666</c:v>
                </c:pt>
                <c:pt idx="738">
                  <c:v>40667</c:v>
                </c:pt>
                <c:pt idx="739">
                  <c:v>40668</c:v>
                </c:pt>
                <c:pt idx="740">
                  <c:v>40669</c:v>
                </c:pt>
                <c:pt idx="741">
                  <c:v>40672</c:v>
                </c:pt>
                <c:pt idx="742">
                  <c:v>40673</c:v>
                </c:pt>
                <c:pt idx="743">
                  <c:v>40674</c:v>
                </c:pt>
                <c:pt idx="744">
                  <c:v>40675</c:v>
                </c:pt>
                <c:pt idx="745">
                  <c:v>40676</c:v>
                </c:pt>
                <c:pt idx="746">
                  <c:v>40679</c:v>
                </c:pt>
                <c:pt idx="747">
                  <c:v>40680</c:v>
                </c:pt>
                <c:pt idx="748">
                  <c:v>40681</c:v>
                </c:pt>
                <c:pt idx="749">
                  <c:v>40682</c:v>
                </c:pt>
                <c:pt idx="750">
                  <c:v>40683</c:v>
                </c:pt>
                <c:pt idx="751">
                  <c:v>40686</c:v>
                </c:pt>
                <c:pt idx="752">
                  <c:v>40687</c:v>
                </c:pt>
                <c:pt idx="753">
                  <c:v>40688</c:v>
                </c:pt>
                <c:pt idx="754">
                  <c:v>40689</c:v>
                </c:pt>
                <c:pt idx="755">
                  <c:v>40690</c:v>
                </c:pt>
                <c:pt idx="756">
                  <c:v>40694</c:v>
                </c:pt>
                <c:pt idx="757">
                  <c:v>40695</c:v>
                </c:pt>
                <c:pt idx="758">
                  <c:v>40696</c:v>
                </c:pt>
                <c:pt idx="759">
                  <c:v>40697</c:v>
                </c:pt>
                <c:pt idx="760">
                  <c:v>40700</c:v>
                </c:pt>
                <c:pt idx="761">
                  <c:v>40701</c:v>
                </c:pt>
                <c:pt idx="762">
                  <c:v>40702</c:v>
                </c:pt>
                <c:pt idx="763">
                  <c:v>40703</c:v>
                </c:pt>
                <c:pt idx="764">
                  <c:v>40704</c:v>
                </c:pt>
                <c:pt idx="765">
                  <c:v>40707</c:v>
                </c:pt>
                <c:pt idx="766">
                  <c:v>40708</c:v>
                </c:pt>
                <c:pt idx="767">
                  <c:v>40709</c:v>
                </c:pt>
                <c:pt idx="768">
                  <c:v>40710</c:v>
                </c:pt>
                <c:pt idx="769">
                  <c:v>40711</c:v>
                </c:pt>
                <c:pt idx="770">
                  <c:v>40714</c:v>
                </c:pt>
                <c:pt idx="771">
                  <c:v>40715</c:v>
                </c:pt>
                <c:pt idx="772">
                  <c:v>40716</c:v>
                </c:pt>
                <c:pt idx="773">
                  <c:v>40717</c:v>
                </c:pt>
                <c:pt idx="774">
                  <c:v>40718</c:v>
                </c:pt>
                <c:pt idx="775">
                  <c:v>40721</c:v>
                </c:pt>
                <c:pt idx="776">
                  <c:v>40722</c:v>
                </c:pt>
                <c:pt idx="777">
                  <c:v>40723</c:v>
                </c:pt>
                <c:pt idx="778">
                  <c:v>40724</c:v>
                </c:pt>
                <c:pt idx="779">
                  <c:v>40725</c:v>
                </c:pt>
                <c:pt idx="780">
                  <c:v>40729</c:v>
                </c:pt>
                <c:pt idx="781">
                  <c:v>40730</c:v>
                </c:pt>
                <c:pt idx="782">
                  <c:v>40731</c:v>
                </c:pt>
                <c:pt idx="783">
                  <c:v>40732</c:v>
                </c:pt>
                <c:pt idx="784">
                  <c:v>40735</c:v>
                </c:pt>
                <c:pt idx="785">
                  <c:v>40736</c:v>
                </c:pt>
                <c:pt idx="786">
                  <c:v>40737</c:v>
                </c:pt>
                <c:pt idx="787">
                  <c:v>40738</c:v>
                </c:pt>
                <c:pt idx="788">
                  <c:v>40739</c:v>
                </c:pt>
                <c:pt idx="789">
                  <c:v>40742</c:v>
                </c:pt>
                <c:pt idx="790">
                  <c:v>40743</c:v>
                </c:pt>
                <c:pt idx="791">
                  <c:v>40744</c:v>
                </c:pt>
                <c:pt idx="792">
                  <c:v>40745</c:v>
                </c:pt>
                <c:pt idx="793">
                  <c:v>40746</c:v>
                </c:pt>
                <c:pt idx="794">
                  <c:v>40749</c:v>
                </c:pt>
                <c:pt idx="795">
                  <c:v>40750</c:v>
                </c:pt>
                <c:pt idx="796">
                  <c:v>40751</c:v>
                </c:pt>
                <c:pt idx="797">
                  <c:v>40752</c:v>
                </c:pt>
                <c:pt idx="798">
                  <c:v>40753</c:v>
                </c:pt>
                <c:pt idx="799">
                  <c:v>40756</c:v>
                </c:pt>
                <c:pt idx="800">
                  <c:v>40757</c:v>
                </c:pt>
                <c:pt idx="801">
                  <c:v>40758</c:v>
                </c:pt>
                <c:pt idx="802">
                  <c:v>40759</c:v>
                </c:pt>
                <c:pt idx="803">
                  <c:v>40760</c:v>
                </c:pt>
                <c:pt idx="804">
                  <c:v>40763</c:v>
                </c:pt>
                <c:pt idx="805">
                  <c:v>40764</c:v>
                </c:pt>
                <c:pt idx="806">
                  <c:v>40765</c:v>
                </c:pt>
                <c:pt idx="807">
                  <c:v>40766</c:v>
                </c:pt>
                <c:pt idx="808">
                  <c:v>40767</c:v>
                </c:pt>
                <c:pt idx="809">
                  <c:v>40770</c:v>
                </c:pt>
                <c:pt idx="810">
                  <c:v>40771</c:v>
                </c:pt>
                <c:pt idx="811">
                  <c:v>40772</c:v>
                </c:pt>
                <c:pt idx="812">
                  <c:v>40773</c:v>
                </c:pt>
                <c:pt idx="813">
                  <c:v>40774</c:v>
                </c:pt>
                <c:pt idx="814">
                  <c:v>40777</c:v>
                </c:pt>
                <c:pt idx="815">
                  <c:v>40778</c:v>
                </c:pt>
                <c:pt idx="816">
                  <c:v>40779</c:v>
                </c:pt>
                <c:pt idx="817">
                  <c:v>40780</c:v>
                </c:pt>
                <c:pt idx="818">
                  <c:v>40781</c:v>
                </c:pt>
                <c:pt idx="819">
                  <c:v>40784</c:v>
                </c:pt>
                <c:pt idx="820">
                  <c:v>40785</c:v>
                </c:pt>
                <c:pt idx="821">
                  <c:v>40786</c:v>
                </c:pt>
                <c:pt idx="822">
                  <c:v>40787</c:v>
                </c:pt>
                <c:pt idx="823">
                  <c:v>40788</c:v>
                </c:pt>
                <c:pt idx="824">
                  <c:v>40792</c:v>
                </c:pt>
                <c:pt idx="825">
                  <c:v>40793</c:v>
                </c:pt>
                <c:pt idx="826">
                  <c:v>40794</c:v>
                </c:pt>
                <c:pt idx="827">
                  <c:v>40795</c:v>
                </c:pt>
                <c:pt idx="828">
                  <c:v>40798</c:v>
                </c:pt>
                <c:pt idx="829">
                  <c:v>40799</c:v>
                </c:pt>
                <c:pt idx="830">
                  <c:v>40800</c:v>
                </c:pt>
                <c:pt idx="831">
                  <c:v>40801</c:v>
                </c:pt>
                <c:pt idx="832">
                  <c:v>40802</c:v>
                </c:pt>
                <c:pt idx="833">
                  <c:v>40805</c:v>
                </c:pt>
                <c:pt idx="834">
                  <c:v>40806</c:v>
                </c:pt>
                <c:pt idx="835">
                  <c:v>40807</c:v>
                </c:pt>
                <c:pt idx="836">
                  <c:v>40808</c:v>
                </c:pt>
                <c:pt idx="837">
                  <c:v>40809</c:v>
                </c:pt>
                <c:pt idx="838">
                  <c:v>40812</c:v>
                </c:pt>
                <c:pt idx="839">
                  <c:v>40813</c:v>
                </c:pt>
                <c:pt idx="840">
                  <c:v>40814</c:v>
                </c:pt>
                <c:pt idx="841">
                  <c:v>40815</c:v>
                </c:pt>
                <c:pt idx="842">
                  <c:v>40816</c:v>
                </c:pt>
                <c:pt idx="843">
                  <c:v>40819</c:v>
                </c:pt>
                <c:pt idx="844">
                  <c:v>40820</c:v>
                </c:pt>
                <c:pt idx="845">
                  <c:v>40821</c:v>
                </c:pt>
                <c:pt idx="846">
                  <c:v>40822</c:v>
                </c:pt>
                <c:pt idx="847">
                  <c:v>40823</c:v>
                </c:pt>
                <c:pt idx="848">
                  <c:v>40826</c:v>
                </c:pt>
                <c:pt idx="849">
                  <c:v>40827</c:v>
                </c:pt>
                <c:pt idx="850">
                  <c:v>40828</c:v>
                </c:pt>
                <c:pt idx="851">
                  <c:v>40829</c:v>
                </c:pt>
                <c:pt idx="852">
                  <c:v>40830</c:v>
                </c:pt>
                <c:pt idx="853">
                  <c:v>40833</c:v>
                </c:pt>
                <c:pt idx="854">
                  <c:v>40834</c:v>
                </c:pt>
                <c:pt idx="855">
                  <c:v>40835</c:v>
                </c:pt>
                <c:pt idx="856">
                  <c:v>40836</c:v>
                </c:pt>
                <c:pt idx="857">
                  <c:v>40837</c:v>
                </c:pt>
                <c:pt idx="858">
                  <c:v>40840</c:v>
                </c:pt>
                <c:pt idx="859">
                  <c:v>40841</c:v>
                </c:pt>
                <c:pt idx="860">
                  <c:v>40842</c:v>
                </c:pt>
                <c:pt idx="861">
                  <c:v>40843</c:v>
                </c:pt>
                <c:pt idx="862">
                  <c:v>40844</c:v>
                </c:pt>
                <c:pt idx="863">
                  <c:v>40847</c:v>
                </c:pt>
                <c:pt idx="864">
                  <c:v>40848</c:v>
                </c:pt>
                <c:pt idx="865">
                  <c:v>40849</c:v>
                </c:pt>
                <c:pt idx="866">
                  <c:v>40850</c:v>
                </c:pt>
                <c:pt idx="867">
                  <c:v>40851</c:v>
                </c:pt>
                <c:pt idx="868">
                  <c:v>40854</c:v>
                </c:pt>
                <c:pt idx="869">
                  <c:v>40855</c:v>
                </c:pt>
                <c:pt idx="870">
                  <c:v>40856</c:v>
                </c:pt>
                <c:pt idx="871">
                  <c:v>40857</c:v>
                </c:pt>
                <c:pt idx="872">
                  <c:v>40858</c:v>
                </c:pt>
                <c:pt idx="873">
                  <c:v>40861</c:v>
                </c:pt>
                <c:pt idx="874">
                  <c:v>40862</c:v>
                </c:pt>
                <c:pt idx="875">
                  <c:v>40863</c:v>
                </c:pt>
                <c:pt idx="876">
                  <c:v>40864</c:v>
                </c:pt>
                <c:pt idx="877">
                  <c:v>40865</c:v>
                </c:pt>
                <c:pt idx="878">
                  <c:v>40868</c:v>
                </c:pt>
                <c:pt idx="879">
                  <c:v>40869</c:v>
                </c:pt>
                <c:pt idx="880">
                  <c:v>40870</c:v>
                </c:pt>
                <c:pt idx="881">
                  <c:v>40872</c:v>
                </c:pt>
                <c:pt idx="882">
                  <c:v>40875</c:v>
                </c:pt>
                <c:pt idx="883">
                  <c:v>40876</c:v>
                </c:pt>
                <c:pt idx="884">
                  <c:v>40877</c:v>
                </c:pt>
                <c:pt idx="885">
                  <c:v>40878</c:v>
                </c:pt>
                <c:pt idx="886">
                  <c:v>40879</c:v>
                </c:pt>
                <c:pt idx="887">
                  <c:v>40882</c:v>
                </c:pt>
                <c:pt idx="888">
                  <c:v>40883</c:v>
                </c:pt>
                <c:pt idx="889">
                  <c:v>40884</c:v>
                </c:pt>
                <c:pt idx="890">
                  <c:v>40885</c:v>
                </c:pt>
                <c:pt idx="891">
                  <c:v>40886</c:v>
                </c:pt>
                <c:pt idx="892">
                  <c:v>40889</c:v>
                </c:pt>
                <c:pt idx="893">
                  <c:v>40890</c:v>
                </c:pt>
                <c:pt idx="894">
                  <c:v>40891</c:v>
                </c:pt>
                <c:pt idx="895">
                  <c:v>40892</c:v>
                </c:pt>
                <c:pt idx="896">
                  <c:v>40893</c:v>
                </c:pt>
                <c:pt idx="897">
                  <c:v>40896</c:v>
                </c:pt>
                <c:pt idx="898">
                  <c:v>40897</c:v>
                </c:pt>
                <c:pt idx="899">
                  <c:v>40898</c:v>
                </c:pt>
                <c:pt idx="900">
                  <c:v>40899</c:v>
                </c:pt>
                <c:pt idx="901">
                  <c:v>40900</c:v>
                </c:pt>
                <c:pt idx="902">
                  <c:v>40904</c:v>
                </c:pt>
                <c:pt idx="903">
                  <c:v>40905</c:v>
                </c:pt>
                <c:pt idx="904">
                  <c:v>40906</c:v>
                </c:pt>
                <c:pt idx="905">
                  <c:v>40907</c:v>
                </c:pt>
                <c:pt idx="906">
                  <c:v>40911</c:v>
                </c:pt>
                <c:pt idx="907">
                  <c:v>40912</c:v>
                </c:pt>
                <c:pt idx="908">
                  <c:v>40913</c:v>
                </c:pt>
                <c:pt idx="909">
                  <c:v>40914</c:v>
                </c:pt>
                <c:pt idx="910">
                  <c:v>40917</c:v>
                </c:pt>
                <c:pt idx="911">
                  <c:v>40918</c:v>
                </c:pt>
                <c:pt idx="912">
                  <c:v>40919</c:v>
                </c:pt>
                <c:pt idx="913">
                  <c:v>40920</c:v>
                </c:pt>
                <c:pt idx="914">
                  <c:v>40921</c:v>
                </c:pt>
                <c:pt idx="915">
                  <c:v>40925</c:v>
                </c:pt>
                <c:pt idx="916">
                  <c:v>40926</c:v>
                </c:pt>
                <c:pt idx="917">
                  <c:v>40927</c:v>
                </c:pt>
                <c:pt idx="918">
                  <c:v>40928</c:v>
                </c:pt>
                <c:pt idx="919">
                  <c:v>40931</c:v>
                </c:pt>
                <c:pt idx="920">
                  <c:v>40932</c:v>
                </c:pt>
                <c:pt idx="921">
                  <c:v>40933</c:v>
                </c:pt>
                <c:pt idx="922">
                  <c:v>40934</c:v>
                </c:pt>
                <c:pt idx="923">
                  <c:v>40935</c:v>
                </c:pt>
                <c:pt idx="924">
                  <c:v>40938</c:v>
                </c:pt>
                <c:pt idx="925">
                  <c:v>40939</c:v>
                </c:pt>
                <c:pt idx="926">
                  <c:v>40940</c:v>
                </c:pt>
                <c:pt idx="927">
                  <c:v>40941</c:v>
                </c:pt>
                <c:pt idx="928">
                  <c:v>40942</c:v>
                </c:pt>
                <c:pt idx="929">
                  <c:v>40945</c:v>
                </c:pt>
                <c:pt idx="930">
                  <c:v>40946</c:v>
                </c:pt>
                <c:pt idx="931">
                  <c:v>40947</c:v>
                </c:pt>
                <c:pt idx="932">
                  <c:v>40948</c:v>
                </c:pt>
                <c:pt idx="933">
                  <c:v>40949</c:v>
                </c:pt>
                <c:pt idx="934">
                  <c:v>40952</c:v>
                </c:pt>
                <c:pt idx="935">
                  <c:v>40953</c:v>
                </c:pt>
                <c:pt idx="936">
                  <c:v>40954</c:v>
                </c:pt>
                <c:pt idx="937">
                  <c:v>40955</c:v>
                </c:pt>
                <c:pt idx="938">
                  <c:v>40956</c:v>
                </c:pt>
                <c:pt idx="939">
                  <c:v>40960</c:v>
                </c:pt>
                <c:pt idx="940">
                  <c:v>40961</c:v>
                </c:pt>
                <c:pt idx="941">
                  <c:v>40962</c:v>
                </c:pt>
                <c:pt idx="942">
                  <c:v>40963</c:v>
                </c:pt>
                <c:pt idx="943">
                  <c:v>40966</c:v>
                </c:pt>
                <c:pt idx="944">
                  <c:v>40967</c:v>
                </c:pt>
                <c:pt idx="945">
                  <c:v>40968</c:v>
                </c:pt>
                <c:pt idx="946">
                  <c:v>40969</c:v>
                </c:pt>
                <c:pt idx="947">
                  <c:v>40970</c:v>
                </c:pt>
                <c:pt idx="948">
                  <c:v>40973</c:v>
                </c:pt>
                <c:pt idx="949">
                  <c:v>40974</c:v>
                </c:pt>
                <c:pt idx="950">
                  <c:v>40975</c:v>
                </c:pt>
                <c:pt idx="951">
                  <c:v>40976</c:v>
                </c:pt>
                <c:pt idx="952">
                  <c:v>40977</c:v>
                </c:pt>
                <c:pt idx="953">
                  <c:v>40980</c:v>
                </c:pt>
                <c:pt idx="954">
                  <c:v>40981</c:v>
                </c:pt>
                <c:pt idx="955">
                  <c:v>40982</c:v>
                </c:pt>
                <c:pt idx="956">
                  <c:v>40983</c:v>
                </c:pt>
                <c:pt idx="957">
                  <c:v>40984</c:v>
                </c:pt>
                <c:pt idx="958">
                  <c:v>40987</c:v>
                </c:pt>
                <c:pt idx="959">
                  <c:v>40988</c:v>
                </c:pt>
                <c:pt idx="960">
                  <c:v>40989</c:v>
                </c:pt>
                <c:pt idx="961">
                  <c:v>40990</c:v>
                </c:pt>
                <c:pt idx="962">
                  <c:v>40991</c:v>
                </c:pt>
                <c:pt idx="963">
                  <c:v>40994</c:v>
                </c:pt>
                <c:pt idx="964">
                  <c:v>40995</c:v>
                </c:pt>
                <c:pt idx="965">
                  <c:v>40996</c:v>
                </c:pt>
                <c:pt idx="966">
                  <c:v>40997</c:v>
                </c:pt>
                <c:pt idx="967">
                  <c:v>40998</c:v>
                </c:pt>
                <c:pt idx="968">
                  <c:v>41001</c:v>
                </c:pt>
                <c:pt idx="969">
                  <c:v>41002</c:v>
                </c:pt>
                <c:pt idx="970">
                  <c:v>41003</c:v>
                </c:pt>
                <c:pt idx="971">
                  <c:v>41004</c:v>
                </c:pt>
                <c:pt idx="972">
                  <c:v>41008</c:v>
                </c:pt>
                <c:pt idx="973">
                  <c:v>41009</c:v>
                </c:pt>
                <c:pt idx="974">
                  <c:v>41010</c:v>
                </c:pt>
                <c:pt idx="975">
                  <c:v>41011</c:v>
                </c:pt>
                <c:pt idx="976">
                  <c:v>41012</c:v>
                </c:pt>
                <c:pt idx="977">
                  <c:v>41015</c:v>
                </c:pt>
                <c:pt idx="978">
                  <c:v>41016</c:v>
                </c:pt>
                <c:pt idx="979">
                  <c:v>41017</c:v>
                </c:pt>
                <c:pt idx="980">
                  <c:v>41018</c:v>
                </c:pt>
                <c:pt idx="981">
                  <c:v>41019</c:v>
                </c:pt>
                <c:pt idx="982">
                  <c:v>41022</c:v>
                </c:pt>
                <c:pt idx="983">
                  <c:v>41023</c:v>
                </c:pt>
                <c:pt idx="984">
                  <c:v>41024</c:v>
                </c:pt>
                <c:pt idx="985">
                  <c:v>41025</c:v>
                </c:pt>
                <c:pt idx="986">
                  <c:v>41026</c:v>
                </c:pt>
                <c:pt idx="987">
                  <c:v>41029</c:v>
                </c:pt>
                <c:pt idx="988">
                  <c:v>41030</c:v>
                </c:pt>
                <c:pt idx="989">
                  <c:v>41031</c:v>
                </c:pt>
                <c:pt idx="990">
                  <c:v>41032</c:v>
                </c:pt>
                <c:pt idx="991">
                  <c:v>41033</c:v>
                </c:pt>
                <c:pt idx="992">
                  <c:v>41036</c:v>
                </c:pt>
                <c:pt idx="993">
                  <c:v>41037</c:v>
                </c:pt>
                <c:pt idx="994">
                  <c:v>41038</c:v>
                </c:pt>
                <c:pt idx="995">
                  <c:v>41039</c:v>
                </c:pt>
                <c:pt idx="996">
                  <c:v>41040</c:v>
                </c:pt>
                <c:pt idx="997">
                  <c:v>41043</c:v>
                </c:pt>
                <c:pt idx="998">
                  <c:v>41044</c:v>
                </c:pt>
                <c:pt idx="999">
                  <c:v>41045</c:v>
                </c:pt>
                <c:pt idx="1000">
                  <c:v>41046</c:v>
                </c:pt>
                <c:pt idx="1001">
                  <c:v>41047</c:v>
                </c:pt>
                <c:pt idx="1002">
                  <c:v>41050</c:v>
                </c:pt>
                <c:pt idx="1003">
                  <c:v>41051</c:v>
                </c:pt>
                <c:pt idx="1004">
                  <c:v>41052</c:v>
                </c:pt>
                <c:pt idx="1005">
                  <c:v>41053</c:v>
                </c:pt>
                <c:pt idx="1006">
                  <c:v>41054</c:v>
                </c:pt>
                <c:pt idx="1007">
                  <c:v>41058</c:v>
                </c:pt>
                <c:pt idx="1008">
                  <c:v>41059</c:v>
                </c:pt>
                <c:pt idx="1009">
                  <c:v>41060</c:v>
                </c:pt>
                <c:pt idx="1010">
                  <c:v>41061</c:v>
                </c:pt>
                <c:pt idx="1011">
                  <c:v>41064</c:v>
                </c:pt>
                <c:pt idx="1012">
                  <c:v>41065</c:v>
                </c:pt>
                <c:pt idx="1013">
                  <c:v>41066</c:v>
                </c:pt>
                <c:pt idx="1014">
                  <c:v>41067</c:v>
                </c:pt>
                <c:pt idx="1015">
                  <c:v>41068</c:v>
                </c:pt>
                <c:pt idx="1016">
                  <c:v>41071</c:v>
                </c:pt>
                <c:pt idx="1017">
                  <c:v>41072</c:v>
                </c:pt>
                <c:pt idx="1018">
                  <c:v>41073</c:v>
                </c:pt>
                <c:pt idx="1019">
                  <c:v>41074</c:v>
                </c:pt>
                <c:pt idx="1020">
                  <c:v>41075</c:v>
                </c:pt>
                <c:pt idx="1021">
                  <c:v>41078</c:v>
                </c:pt>
                <c:pt idx="1022">
                  <c:v>41079</c:v>
                </c:pt>
                <c:pt idx="1023">
                  <c:v>41080</c:v>
                </c:pt>
                <c:pt idx="1024">
                  <c:v>41081</c:v>
                </c:pt>
                <c:pt idx="1025">
                  <c:v>41082</c:v>
                </c:pt>
                <c:pt idx="1026">
                  <c:v>41085</c:v>
                </c:pt>
                <c:pt idx="1027">
                  <c:v>41086</c:v>
                </c:pt>
                <c:pt idx="1028">
                  <c:v>41087</c:v>
                </c:pt>
                <c:pt idx="1029">
                  <c:v>41088</c:v>
                </c:pt>
                <c:pt idx="1030">
                  <c:v>41089</c:v>
                </c:pt>
                <c:pt idx="1031">
                  <c:v>41092</c:v>
                </c:pt>
                <c:pt idx="1032">
                  <c:v>41093</c:v>
                </c:pt>
                <c:pt idx="1033">
                  <c:v>41095</c:v>
                </c:pt>
                <c:pt idx="1034">
                  <c:v>41096</c:v>
                </c:pt>
                <c:pt idx="1035">
                  <c:v>41099</c:v>
                </c:pt>
                <c:pt idx="1036">
                  <c:v>41100</c:v>
                </c:pt>
                <c:pt idx="1037">
                  <c:v>41101</c:v>
                </c:pt>
                <c:pt idx="1038">
                  <c:v>41102</c:v>
                </c:pt>
                <c:pt idx="1039">
                  <c:v>41103</c:v>
                </c:pt>
                <c:pt idx="1040">
                  <c:v>41106</c:v>
                </c:pt>
                <c:pt idx="1041">
                  <c:v>41107</c:v>
                </c:pt>
                <c:pt idx="1042">
                  <c:v>41108</c:v>
                </c:pt>
                <c:pt idx="1043">
                  <c:v>41109</c:v>
                </c:pt>
                <c:pt idx="1044">
                  <c:v>41110</c:v>
                </c:pt>
                <c:pt idx="1045">
                  <c:v>41113</c:v>
                </c:pt>
                <c:pt idx="1046">
                  <c:v>41114</c:v>
                </c:pt>
                <c:pt idx="1047">
                  <c:v>41115</c:v>
                </c:pt>
                <c:pt idx="1048">
                  <c:v>41116</c:v>
                </c:pt>
                <c:pt idx="1049">
                  <c:v>41117</c:v>
                </c:pt>
                <c:pt idx="1050">
                  <c:v>41120</c:v>
                </c:pt>
                <c:pt idx="1051">
                  <c:v>41121</c:v>
                </c:pt>
                <c:pt idx="1052">
                  <c:v>41122</c:v>
                </c:pt>
                <c:pt idx="1053">
                  <c:v>41123</c:v>
                </c:pt>
                <c:pt idx="1054">
                  <c:v>41124</c:v>
                </c:pt>
                <c:pt idx="1055">
                  <c:v>41127</c:v>
                </c:pt>
                <c:pt idx="1056">
                  <c:v>41128</c:v>
                </c:pt>
                <c:pt idx="1057">
                  <c:v>41129</c:v>
                </c:pt>
                <c:pt idx="1058">
                  <c:v>41130</c:v>
                </c:pt>
                <c:pt idx="1059">
                  <c:v>41131</c:v>
                </c:pt>
                <c:pt idx="1060">
                  <c:v>41134</c:v>
                </c:pt>
                <c:pt idx="1061">
                  <c:v>41135</c:v>
                </c:pt>
                <c:pt idx="1062">
                  <c:v>41136</c:v>
                </c:pt>
                <c:pt idx="1063">
                  <c:v>41137</c:v>
                </c:pt>
                <c:pt idx="1064">
                  <c:v>41138</c:v>
                </c:pt>
                <c:pt idx="1065">
                  <c:v>41141</c:v>
                </c:pt>
                <c:pt idx="1066">
                  <c:v>41142</c:v>
                </c:pt>
                <c:pt idx="1067">
                  <c:v>41143</c:v>
                </c:pt>
                <c:pt idx="1068">
                  <c:v>41144</c:v>
                </c:pt>
                <c:pt idx="1069">
                  <c:v>41145</c:v>
                </c:pt>
                <c:pt idx="1070">
                  <c:v>41148</c:v>
                </c:pt>
                <c:pt idx="1071">
                  <c:v>41149</c:v>
                </c:pt>
                <c:pt idx="1072">
                  <c:v>41150</c:v>
                </c:pt>
                <c:pt idx="1073">
                  <c:v>41151</c:v>
                </c:pt>
                <c:pt idx="1074">
                  <c:v>41152</c:v>
                </c:pt>
                <c:pt idx="1075">
                  <c:v>41156</c:v>
                </c:pt>
                <c:pt idx="1076">
                  <c:v>41157</c:v>
                </c:pt>
                <c:pt idx="1077">
                  <c:v>41158</c:v>
                </c:pt>
                <c:pt idx="1078">
                  <c:v>41159</c:v>
                </c:pt>
                <c:pt idx="1079">
                  <c:v>41162</c:v>
                </c:pt>
                <c:pt idx="1080">
                  <c:v>41163</c:v>
                </c:pt>
                <c:pt idx="1081">
                  <c:v>41164</c:v>
                </c:pt>
                <c:pt idx="1082">
                  <c:v>41165</c:v>
                </c:pt>
                <c:pt idx="1083">
                  <c:v>41166</c:v>
                </c:pt>
                <c:pt idx="1084">
                  <c:v>41169</c:v>
                </c:pt>
                <c:pt idx="1085">
                  <c:v>41170</c:v>
                </c:pt>
                <c:pt idx="1086">
                  <c:v>41171</c:v>
                </c:pt>
                <c:pt idx="1087">
                  <c:v>41172</c:v>
                </c:pt>
                <c:pt idx="1088">
                  <c:v>41173</c:v>
                </c:pt>
                <c:pt idx="1089">
                  <c:v>41176</c:v>
                </c:pt>
                <c:pt idx="1090">
                  <c:v>41177</c:v>
                </c:pt>
                <c:pt idx="1091">
                  <c:v>41178</c:v>
                </c:pt>
                <c:pt idx="1092">
                  <c:v>41179</c:v>
                </c:pt>
                <c:pt idx="1093">
                  <c:v>41180</c:v>
                </c:pt>
                <c:pt idx="1094">
                  <c:v>41183</c:v>
                </c:pt>
                <c:pt idx="1095">
                  <c:v>41184</c:v>
                </c:pt>
                <c:pt idx="1096">
                  <c:v>41185</c:v>
                </c:pt>
                <c:pt idx="1097">
                  <c:v>41186</c:v>
                </c:pt>
                <c:pt idx="1098">
                  <c:v>41187</c:v>
                </c:pt>
                <c:pt idx="1099">
                  <c:v>41190</c:v>
                </c:pt>
                <c:pt idx="1100">
                  <c:v>41191</c:v>
                </c:pt>
                <c:pt idx="1101">
                  <c:v>41192</c:v>
                </c:pt>
                <c:pt idx="1102">
                  <c:v>41193</c:v>
                </c:pt>
                <c:pt idx="1103">
                  <c:v>41194</c:v>
                </c:pt>
                <c:pt idx="1104">
                  <c:v>41197</c:v>
                </c:pt>
                <c:pt idx="1105">
                  <c:v>41198</c:v>
                </c:pt>
                <c:pt idx="1106">
                  <c:v>41199</c:v>
                </c:pt>
                <c:pt idx="1107">
                  <c:v>41200</c:v>
                </c:pt>
                <c:pt idx="1108">
                  <c:v>41201</c:v>
                </c:pt>
                <c:pt idx="1109">
                  <c:v>41204</c:v>
                </c:pt>
                <c:pt idx="1110">
                  <c:v>41205</c:v>
                </c:pt>
                <c:pt idx="1111">
                  <c:v>41206</c:v>
                </c:pt>
                <c:pt idx="1112">
                  <c:v>41207</c:v>
                </c:pt>
                <c:pt idx="1113">
                  <c:v>41208</c:v>
                </c:pt>
                <c:pt idx="1114">
                  <c:v>41213</c:v>
                </c:pt>
                <c:pt idx="1115">
                  <c:v>41214</c:v>
                </c:pt>
                <c:pt idx="1116">
                  <c:v>41215</c:v>
                </c:pt>
                <c:pt idx="1117">
                  <c:v>41218</c:v>
                </c:pt>
                <c:pt idx="1118">
                  <c:v>41219</c:v>
                </c:pt>
                <c:pt idx="1119">
                  <c:v>41220</c:v>
                </c:pt>
                <c:pt idx="1120">
                  <c:v>41221</c:v>
                </c:pt>
                <c:pt idx="1121">
                  <c:v>41222</c:v>
                </c:pt>
                <c:pt idx="1122">
                  <c:v>41225</c:v>
                </c:pt>
                <c:pt idx="1123">
                  <c:v>41226</c:v>
                </c:pt>
                <c:pt idx="1124">
                  <c:v>41227</c:v>
                </c:pt>
                <c:pt idx="1125">
                  <c:v>41228</c:v>
                </c:pt>
                <c:pt idx="1126">
                  <c:v>41229</c:v>
                </c:pt>
                <c:pt idx="1127">
                  <c:v>41232</c:v>
                </c:pt>
                <c:pt idx="1128">
                  <c:v>41233</c:v>
                </c:pt>
                <c:pt idx="1129">
                  <c:v>41234</c:v>
                </c:pt>
                <c:pt idx="1130">
                  <c:v>41236</c:v>
                </c:pt>
                <c:pt idx="1131">
                  <c:v>41239</c:v>
                </c:pt>
                <c:pt idx="1132">
                  <c:v>41240</c:v>
                </c:pt>
                <c:pt idx="1133">
                  <c:v>41241</c:v>
                </c:pt>
                <c:pt idx="1134">
                  <c:v>41242</c:v>
                </c:pt>
                <c:pt idx="1135">
                  <c:v>41243</c:v>
                </c:pt>
                <c:pt idx="1136">
                  <c:v>41246</c:v>
                </c:pt>
                <c:pt idx="1137">
                  <c:v>41247</c:v>
                </c:pt>
                <c:pt idx="1138">
                  <c:v>41248</c:v>
                </c:pt>
                <c:pt idx="1139">
                  <c:v>41249</c:v>
                </c:pt>
                <c:pt idx="1140">
                  <c:v>41250</c:v>
                </c:pt>
                <c:pt idx="1141">
                  <c:v>41253</c:v>
                </c:pt>
                <c:pt idx="1142">
                  <c:v>41254</c:v>
                </c:pt>
                <c:pt idx="1143">
                  <c:v>41255</c:v>
                </c:pt>
                <c:pt idx="1144">
                  <c:v>41256</c:v>
                </c:pt>
                <c:pt idx="1145">
                  <c:v>41257</c:v>
                </c:pt>
                <c:pt idx="1146">
                  <c:v>41260</c:v>
                </c:pt>
                <c:pt idx="1147">
                  <c:v>41261</c:v>
                </c:pt>
                <c:pt idx="1148">
                  <c:v>41262</c:v>
                </c:pt>
                <c:pt idx="1149">
                  <c:v>41263</c:v>
                </c:pt>
                <c:pt idx="1150">
                  <c:v>41264</c:v>
                </c:pt>
                <c:pt idx="1151">
                  <c:v>41267</c:v>
                </c:pt>
                <c:pt idx="1152">
                  <c:v>41269</c:v>
                </c:pt>
                <c:pt idx="1153">
                  <c:v>41270</c:v>
                </c:pt>
                <c:pt idx="1154">
                  <c:v>41271</c:v>
                </c:pt>
                <c:pt idx="1155">
                  <c:v>41274</c:v>
                </c:pt>
                <c:pt idx="1156">
                  <c:v>41276</c:v>
                </c:pt>
                <c:pt idx="1157">
                  <c:v>41277</c:v>
                </c:pt>
                <c:pt idx="1158">
                  <c:v>41278</c:v>
                </c:pt>
                <c:pt idx="1159">
                  <c:v>41281</c:v>
                </c:pt>
                <c:pt idx="1160">
                  <c:v>41282</c:v>
                </c:pt>
                <c:pt idx="1161">
                  <c:v>41283</c:v>
                </c:pt>
                <c:pt idx="1162">
                  <c:v>41284</c:v>
                </c:pt>
                <c:pt idx="1163">
                  <c:v>41285</c:v>
                </c:pt>
                <c:pt idx="1164">
                  <c:v>41288</c:v>
                </c:pt>
                <c:pt idx="1165">
                  <c:v>41289</c:v>
                </c:pt>
                <c:pt idx="1166">
                  <c:v>41290</c:v>
                </c:pt>
                <c:pt idx="1167">
                  <c:v>41291</c:v>
                </c:pt>
                <c:pt idx="1168">
                  <c:v>41292</c:v>
                </c:pt>
                <c:pt idx="1169">
                  <c:v>41296</c:v>
                </c:pt>
                <c:pt idx="1170">
                  <c:v>41297</c:v>
                </c:pt>
                <c:pt idx="1171">
                  <c:v>41298</c:v>
                </c:pt>
                <c:pt idx="1172">
                  <c:v>41299</c:v>
                </c:pt>
                <c:pt idx="1173">
                  <c:v>41302</c:v>
                </c:pt>
                <c:pt idx="1174">
                  <c:v>41303</c:v>
                </c:pt>
                <c:pt idx="1175">
                  <c:v>41304</c:v>
                </c:pt>
                <c:pt idx="1176">
                  <c:v>41305</c:v>
                </c:pt>
                <c:pt idx="1177">
                  <c:v>41306</c:v>
                </c:pt>
                <c:pt idx="1178">
                  <c:v>41309</c:v>
                </c:pt>
                <c:pt idx="1179">
                  <c:v>41310</c:v>
                </c:pt>
                <c:pt idx="1180">
                  <c:v>41311</c:v>
                </c:pt>
                <c:pt idx="1181">
                  <c:v>41312</c:v>
                </c:pt>
                <c:pt idx="1182">
                  <c:v>41313</c:v>
                </c:pt>
                <c:pt idx="1183">
                  <c:v>41316</c:v>
                </c:pt>
                <c:pt idx="1184">
                  <c:v>41317</c:v>
                </c:pt>
                <c:pt idx="1185">
                  <c:v>41318</c:v>
                </c:pt>
                <c:pt idx="1186">
                  <c:v>41319</c:v>
                </c:pt>
                <c:pt idx="1187">
                  <c:v>41320</c:v>
                </c:pt>
                <c:pt idx="1188">
                  <c:v>41324</c:v>
                </c:pt>
                <c:pt idx="1189">
                  <c:v>41325</c:v>
                </c:pt>
                <c:pt idx="1190">
                  <c:v>41326</c:v>
                </c:pt>
                <c:pt idx="1191">
                  <c:v>41327</c:v>
                </c:pt>
                <c:pt idx="1192">
                  <c:v>41330</c:v>
                </c:pt>
                <c:pt idx="1193">
                  <c:v>41331</c:v>
                </c:pt>
                <c:pt idx="1194">
                  <c:v>41332</c:v>
                </c:pt>
                <c:pt idx="1195">
                  <c:v>41333</c:v>
                </c:pt>
                <c:pt idx="1196">
                  <c:v>41334</c:v>
                </c:pt>
                <c:pt idx="1197">
                  <c:v>41337</c:v>
                </c:pt>
                <c:pt idx="1198">
                  <c:v>41338</c:v>
                </c:pt>
                <c:pt idx="1199">
                  <c:v>41339</c:v>
                </c:pt>
                <c:pt idx="1200">
                  <c:v>41340</c:v>
                </c:pt>
                <c:pt idx="1201">
                  <c:v>41341</c:v>
                </c:pt>
                <c:pt idx="1202">
                  <c:v>41344</c:v>
                </c:pt>
                <c:pt idx="1203">
                  <c:v>41345</c:v>
                </c:pt>
                <c:pt idx="1204">
                  <c:v>41346</c:v>
                </c:pt>
                <c:pt idx="1205">
                  <c:v>41347</c:v>
                </c:pt>
                <c:pt idx="1206">
                  <c:v>41348</c:v>
                </c:pt>
                <c:pt idx="1207">
                  <c:v>41351</c:v>
                </c:pt>
                <c:pt idx="1208">
                  <c:v>41352</c:v>
                </c:pt>
                <c:pt idx="1209">
                  <c:v>41353</c:v>
                </c:pt>
                <c:pt idx="1210">
                  <c:v>41354</c:v>
                </c:pt>
                <c:pt idx="1211">
                  <c:v>41355</c:v>
                </c:pt>
                <c:pt idx="1212">
                  <c:v>41358</c:v>
                </c:pt>
                <c:pt idx="1213">
                  <c:v>41359</c:v>
                </c:pt>
                <c:pt idx="1214">
                  <c:v>41360</c:v>
                </c:pt>
                <c:pt idx="1215">
                  <c:v>41361</c:v>
                </c:pt>
                <c:pt idx="1216">
                  <c:v>41365</c:v>
                </c:pt>
                <c:pt idx="1217">
                  <c:v>41366</c:v>
                </c:pt>
                <c:pt idx="1218">
                  <c:v>41367</c:v>
                </c:pt>
                <c:pt idx="1219">
                  <c:v>41368</c:v>
                </c:pt>
                <c:pt idx="1220">
                  <c:v>41369</c:v>
                </c:pt>
                <c:pt idx="1221">
                  <c:v>41372</c:v>
                </c:pt>
                <c:pt idx="1222">
                  <c:v>41373</c:v>
                </c:pt>
                <c:pt idx="1223">
                  <c:v>41374</c:v>
                </c:pt>
                <c:pt idx="1224">
                  <c:v>41375</c:v>
                </c:pt>
                <c:pt idx="1225">
                  <c:v>41376</c:v>
                </c:pt>
                <c:pt idx="1226">
                  <c:v>41379</c:v>
                </c:pt>
                <c:pt idx="1227">
                  <c:v>41380</c:v>
                </c:pt>
                <c:pt idx="1228">
                  <c:v>41381</c:v>
                </c:pt>
                <c:pt idx="1229">
                  <c:v>41382</c:v>
                </c:pt>
                <c:pt idx="1230">
                  <c:v>41383</c:v>
                </c:pt>
                <c:pt idx="1231">
                  <c:v>41386</c:v>
                </c:pt>
                <c:pt idx="1232">
                  <c:v>41387</c:v>
                </c:pt>
                <c:pt idx="1233">
                  <c:v>41388</c:v>
                </c:pt>
                <c:pt idx="1234">
                  <c:v>41389</c:v>
                </c:pt>
                <c:pt idx="1235">
                  <c:v>41390</c:v>
                </c:pt>
                <c:pt idx="1236">
                  <c:v>41393</c:v>
                </c:pt>
                <c:pt idx="1237">
                  <c:v>41394</c:v>
                </c:pt>
                <c:pt idx="1238">
                  <c:v>41395</c:v>
                </c:pt>
                <c:pt idx="1239">
                  <c:v>41396</c:v>
                </c:pt>
                <c:pt idx="1240">
                  <c:v>41397</c:v>
                </c:pt>
                <c:pt idx="1241">
                  <c:v>41400</c:v>
                </c:pt>
                <c:pt idx="1242">
                  <c:v>41401</c:v>
                </c:pt>
                <c:pt idx="1243">
                  <c:v>41402</c:v>
                </c:pt>
                <c:pt idx="1244">
                  <c:v>41403</c:v>
                </c:pt>
                <c:pt idx="1245">
                  <c:v>41404</c:v>
                </c:pt>
                <c:pt idx="1246">
                  <c:v>41407</c:v>
                </c:pt>
                <c:pt idx="1247">
                  <c:v>41408</c:v>
                </c:pt>
                <c:pt idx="1248">
                  <c:v>41409</c:v>
                </c:pt>
                <c:pt idx="1249">
                  <c:v>41410</c:v>
                </c:pt>
                <c:pt idx="1250">
                  <c:v>41411</c:v>
                </c:pt>
                <c:pt idx="1251">
                  <c:v>41414</c:v>
                </c:pt>
                <c:pt idx="1252">
                  <c:v>41415</c:v>
                </c:pt>
                <c:pt idx="1253">
                  <c:v>41416</c:v>
                </c:pt>
                <c:pt idx="1254">
                  <c:v>41417</c:v>
                </c:pt>
                <c:pt idx="1255">
                  <c:v>41418</c:v>
                </c:pt>
                <c:pt idx="1256">
                  <c:v>41422</c:v>
                </c:pt>
                <c:pt idx="1257">
                  <c:v>41423</c:v>
                </c:pt>
                <c:pt idx="1258">
                  <c:v>41424</c:v>
                </c:pt>
                <c:pt idx="1259">
                  <c:v>41425</c:v>
                </c:pt>
                <c:pt idx="1260">
                  <c:v>41428</c:v>
                </c:pt>
                <c:pt idx="1261">
                  <c:v>41429</c:v>
                </c:pt>
                <c:pt idx="1262">
                  <c:v>41430</c:v>
                </c:pt>
                <c:pt idx="1263">
                  <c:v>41431</c:v>
                </c:pt>
                <c:pt idx="1264">
                  <c:v>41432</c:v>
                </c:pt>
                <c:pt idx="1265">
                  <c:v>41435</c:v>
                </c:pt>
                <c:pt idx="1266">
                  <c:v>41436</c:v>
                </c:pt>
                <c:pt idx="1267">
                  <c:v>41437</c:v>
                </c:pt>
                <c:pt idx="1268">
                  <c:v>41438</c:v>
                </c:pt>
                <c:pt idx="1269">
                  <c:v>41439</c:v>
                </c:pt>
                <c:pt idx="1270">
                  <c:v>41442</c:v>
                </c:pt>
                <c:pt idx="1271">
                  <c:v>41443</c:v>
                </c:pt>
                <c:pt idx="1272">
                  <c:v>41444</c:v>
                </c:pt>
                <c:pt idx="1273">
                  <c:v>41445</c:v>
                </c:pt>
                <c:pt idx="1274">
                  <c:v>41446</c:v>
                </c:pt>
                <c:pt idx="1275">
                  <c:v>41449</c:v>
                </c:pt>
                <c:pt idx="1276">
                  <c:v>41450</c:v>
                </c:pt>
                <c:pt idx="1277">
                  <c:v>41451</c:v>
                </c:pt>
                <c:pt idx="1278">
                  <c:v>41452</c:v>
                </c:pt>
                <c:pt idx="1279">
                  <c:v>41453</c:v>
                </c:pt>
                <c:pt idx="1280">
                  <c:v>41456</c:v>
                </c:pt>
                <c:pt idx="1281">
                  <c:v>41457</c:v>
                </c:pt>
                <c:pt idx="1282">
                  <c:v>41458</c:v>
                </c:pt>
                <c:pt idx="1283">
                  <c:v>41460</c:v>
                </c:pt>
                <c:pt idx="1284">
                  <c:v>41463</c:v>
                </c:pt>
                <c:pt idx="1285">
                  <c:v>41464</c:v>
                </c:pt>
                <c:pt idx="1286">
                  <c:v>41465</c:v>
                </c:pt>
                <c:pt idx="1287">
                  <c:v>41466</c:v>
                </c:pt>
                <c:pt idx="1288">
                  <c:v>41467</c:v>
                </c:pt>
                <c:pt idx="1289">
                  <c:v>41470</c:v>
                </c:pt>
                <c:pt idx="1290">
                  <c:v>41471</c:v>
                </c:pt>
                <c:pt idx="1291">
                  <c:v>41472</c:v>
                </c:pt>
                <c:pt idx="1292">
                  <c:v>41473</c:v>
                </c:pt>
                <c:pt idx="1293">
                  <c:v>41474</c:v>
                </c:pt>
                <c:pt idx="1294">
                  <c:v>41477</c:v>
                </c:pt>
                <c:pt idx="1295">
                  <c:v>41478</c:v>
                </c:pt>
                <c:pt idx="1296">
                  <c:v>41479</c:v>
                </c:pt>
                <c:pt idx="1297">
                  <c:v>41480</c:v>
                </c:pt>
                <c:pt idx="1298">
                  <c:v>41481</c:v>
                </c:pt>
                <c:pt idx="1299">
                  <c:v>41484</c:v>
                </c:pt>
                <c:pt idx="1300">
                  <c:v>41485</c:v>
                </c:pt>
                <c:pt idx="1301">
                  <c:v>41486</c:v>
                </c:pt>
                <c:pt idx="1302">
                  <c:v>41487</c:v>
                </c:pt>
                <c:pt idx="1303">
                  <c:v>41488</c:v>
                </c:pt>
                <c:pt idx="1304">
                  <c:v>41491</c:v>
                </c:pt>
                <c:pt idx="1305">
                  <c:v>41492</c:v>
                </c:pt>
                <c:pt idx="1306">
                  <c:v>41493</c:v>
                </c:pt>
                <c:pt idx="1307">
                  <c:v>41494</c:v>
                </c:pt>
                <c:pt idx="1308">
                  <c:v>41495</c:v>
                </c:pt>
                <c:pt idx="1309">
                  <c:v>41498</c:v>
                </c:pt>
                <c:pt idx="1310">
                  <c:v>41499</c:v>
                </c:pt>
                <c:pt idx="1311">
                  <c:v>41500</c:v>
                </c:pt>
                <c:pt idx="1312">
                  <c:v>41501</c:v>
                </c:pt>
                <c:pt idx="1313">
                  <c:v>41502</c:v>
                </c:pt>
                <c:pt idx="1314">
                  <c:v>41505</c:v>
                </c:pt>
                <c:pt idx="1315">
                  <c:v>41506</c:v>
                </c:pt>
                <c:pt idx="1316">
                  <c:v>41507</c:v>
                </c:pt>
                <c:pt idx="1317">
                  <c:v>41508</c:v>
                </c:pt>
                <c:pt idx="1318">
                  <c:v>41509</c:v>
                </c:pt>
                <c:pt idx="1319">
                  <c:v>41512</c:v>
                </c:pt>
                <c:pt idx="1320">
                  <c:v>41513</c:v>
                </c:pt>
                <c:pt idx="1321">
                  <c:v>41514</c:v>
                </c:pt>
                <c:pt idx="1322">
                  <c:v>41515</c:v>
                </c:pt>
                <c:pt idx="1323">
                  <c:v>41516</c:v>
                </c:pt>
                <c:pt idx="1324">
                  <c:v>41520</c:v>
                </c:pt>
                <c:pt idx="1325">
                  <c:v>41521</c:v>
                </c:pt>
                <c:pt idx="1326">
                  <c:v>41522</c:v>
                </c:pt>
                <c:pt idx="1327">
                  <c:v>41523</c:v>
                </c:pt>
                <c:pt idx="1328">
                  <c:v>41526</c:v>
                </c:pt>
                <c:pt idx="1329">
                  <c:v>41527</c:v>
                </c:pt>
                <c:pt idx="1330">
                  <c:v>41528</c:v>
                </c:pt>
                <c:pt idx="1331">
                  <c:v>41529</c:v>
                </c:pt>
                <c:pt idx="1332">
                  <c:v>41530</c:v>
                </c:pt>
                <c:pt idx="1333">
                  <c:v>41533</c:v>
                </c:pt>
                <c:pt idx="1334">
                  <c:v>41534</c:v>
                </c:pt>
                <c:pt idx="1335">
                  <c:v>41535</c:v>
                </c:pt>
                <c:pt idx="1336">
                  <c:v>41536</c:v>
                </c:pt>
                <c:pt idx="1337">
                  <c:v>41537</c:v>
                </c:pt>
                <c:pt idx="1338">
                  <c:v>41540</c:v>
                </c:pt>
                <c:pt idx="1339">
                  <c:v>41541</c:v>
                </c:pt>
                <c:pt idx="1340">
                  <c:v>41542</c:v>
                </c:pt>
                <c:pt idx="1341">
                  <c:v>41543</c:v>
                </c:pt>
                <c:pt idx="1342">
                  <c:v>41544</c:v>
                </c:pt>
                <c:pt idx="1343">
                  <c:v>41547</c:v>
                </c:pt>
                <c:pt idx="1344">
                  <c:v>41548</c:v>
                </c:pt>
                <c:pt idx="1345">
                  <c:v>41549</c:v>
                </c:pt>
                <c:pt idx="1346">
                  <c:v>41550</c:v>
                </c:pt>
                <c:pt idx="1347">
                  <c:v>41551</c:v>
                </c:pt>
                <c:pt idx="1348">
                  <c:v>41554</c:v>
                </c:pt>
                <c:pt idx="1349">
                  <c:v>41555</c:v>
                </c:pt>
                <c:pt idx="1350">
                  <c:v>41556</c:v>
                </c:pt>
                <c:pt idx="1351">
                  <c:v>41557</c:v>
                </c:pt>
                <c:pt idx="1352">
                  <c:v>41558</c:v>
                </c:pt>
                <c:pt idx="1353">
                  <c:v>41561</c:v>
                </c:pt>
                <c:pt idx="1354">
                  <c:v>41562</c:v>
                </c:pt>
                <c:pt idx="1355">
                  <c:v>41563</c:v>
                </c:pt>
                <c:pt idx="1356">
                  <c:v>41564</c:v>
                </c:pt>
                <c:pt idx="1357">
                  <c:v>41565</c:v>
                </c:pt>
                <c:pt idx="1358">
                  <c:v>41568</c:v>
                </c:pt>
                <c:pt idx="1359">
                  <c:v>41569</c:v>
                </c:pt>
                <c:pt idx="1360">
                  <c:v>41570</c:v>
                </c:pt>
                <c:pt idx="1361">
                  <c:v>41571</c:v>
                </c:pt>
                <c:pt idx="1362">
                  <c:v>41572</c:v>
                </c:pt>
                <c:pt idx="1363">
                  <c:v>41575</c:v>
                </c:pt>
                <c:pt idx="1364">
                  <c:v>41576</c:v>
                </c:pt>
                <c:pt idx="1365">
                  <c:v>41577</c:v>
                </c:pt>
                <c:pt idx="1366">
                  <c:v>41578</c:v>
                </c:pt>
                <c:pt idx="1367">
                  <c:v>41579</c:v>
                </c:pt>
                <c:pt idx="1368">
                  <c:v>41582</c:v>
                </c:pt>
                <c:pt idx="1369">
                  <c:v>41583</c:v>
                </c:pt>
                <c:pt idx="1370">
                  <c:v>41584</c:v>
                </c:pt>
                <c:pt idx="1371">
                  <c:v>41585</c:v>
                </c:pt>
                <c:pt idx="1372">
                  <c:v>41586</c:v>
                </c:pt>
                <c:pt idx="1373">
                  <c:v>41589</c:v>
                </c:pt>
                <c:pt idx="1374">
                  <c:v>41590</c:v>
                </c:pt>
                <c:pt idx="1375">
                  <c:v>41591</c:v>
                </c:pt>
                <c:pt idx="1376">
                  <c:v>41592</c:v>
                </c:pt>
                <c:pt idx="1377">
                  <c:v>41593</c:v>
                </c:pt>
                <c:pt idx="1378">
                  <c:v>41596</c:v>
                </c:pt>
                <c:pt idx="1379">
                  <c:v>41597</c:v>
                </c:pt>
                <c:pt idx="1380">
                  <c:v>41598</c:v>
                </c:pt>
                <c:pt idx="1381">
                  <c:v>41599</c:v>
                </c:pt>
                <c:pt idx="1382">
                  <c:v>41600</c:v>
                </c:pt>
                <c:pt idx="1383">
                  <c:v>41603</c:v>
                </c:pt>
                <c:pt idx="1384">
                  <c:v>41604</c:v>
                </c:pt>
                <c:pt idx="1385">
                  <c:v>41605</c:v>
                </c:pt>
                <c:pt idx="1386">
                  <c:v>41607</c:v>
                </c:pt>
                <c:pt idx="1387">
                  <c:v>41610</c:v>
                </c:pt>
                <c:pt idx="1388">
                  <c:v>41611</c:v>
                </c:pt>
                <c:pt idx="1389">
                  <c:v>41612</c:v>
                </c:pt>
                <c:pt idx="1390">
                  <c:v>41613</c:v>
                </c:pt>
                <c:pt idx="1391">
                  <c:v>41614</c:v>
                </c:pt>
                <c:pt idx="1392">
                  <c:v>41617</c:v>
                </c:pt>
                <c:pt idx="1393">
                  <c:v>41618</c:v>
                </c:pt>
                <c:pt idx="1394">
                  <c:v>41619</c:v>
                </c:pt>
                <c:pt idx="1395">
                  <c:v>41620</c:v>
                </c:pt>
                <c:pt idx="1396">
                  <c:v>41621</c:v>
                </c:pt>
                <c:pt idx="1397">
                  <c:v>41624</c:v>
                </c:pt>
                <c:pt idx="1398">
                  <c:v>41625</c:v>
                </c:pt>
                <c:pt idx="1399">
                  <c:v>41626</c:v>
                </c:pt>
                <c:pt idx="1400">
                  <c:v>41627</c:v>
                </c:pt>
                <c:pt idx="1401">
                  <c:v>41628</c:v>
                </c:pt>
                <c:pt idx="1402">
                  <c:v>41631</c:v>
                </c:pt>
                <c:pt idx="1403">
                  <c:v>41632</c:v>
                </c:pt>
                <c:pt idx="1404">
                  <c:v>41634</c:v>
                </c:pt>
                <c:pt idx="1405">
                  <c:v>41635</c:v>
                </c:pt>
                <c:pt idx="1406">
                  <c:v>41638</c:v>
                </c:pt>
                <c:pt idx="1407">
                  <c:v>41639</c:v>
                </c:pt>
                <c:pt idx="1408">
                  <c:v>41641</c:v>
                </c:pt>
                <c:pt idx="1409">
                  <c:v>41642</c:v>
                </c:pt>
                <c:pt idx="1410">
                  <c:v>41645</c:v>
                </c:pt>
                <c:pt idx="1411">
                  <c:v>41646</c:v>
                </c:pt>
                <c:pt idx="1412">
                  <c:v>41647</c:v>
                </c:pt>
                <c:pt idx="1413">
                  <c:v>41648</c:v>
                </c:pt>
                <c:pt idx="1414">
                  <c:v>41649</c:v>
                </c:pt>
                <c:pt idx="1415">
                  <c:v>41652</c:v>
                </c:pt>
                <c:pt idx="1416">
                  <c:v>41653</c:v>
                </c:pt>
                <c:pt idx="1417">
                  <c:v>41654</c:v>
                </c:pt>
                <c:pt idx="1418">
                  <c:v>41655</c:v>
                </c:pt>
                <c:pt idx="1419">
                  <c:v>41656</c:v>
                </c:pt>
                <c:pt idx="1420">
                  <c:v>41660</c:v>
                </c:pt>
                <c:pt idx="1421">
                  <c:v>41661</c:v>
                </c:pt>
                <c:pt idx="1422">
                  <c:v>41662</c:v>
                </c:pt>
                <c:pt idx="1423">
                  <c:v>41663</c:v>
                </c:pt>
                <c:pt idx="1424">
                  <c:v>41666</c:v>
                </c:pt>
                <c:pt idx="1425">
                  <c:v>41667</c:v>
                </c:pt>
                <c:pt idx="1426">
                  <c:v>41668</c:v>
                </c:pt>
                <c:pt idx="1427">
                  <c:v>41669</c:v>
                </c:pt>
                <c:pt idx="1428">
                  <c:v>41670</c:v>
                </c:pt>
                <c:pt idx="1429">
                  <c:v>41673</c:v>
                </c:pt>
                <c:pt idx="1430">
                  <c:v>41674</c:v>
                </c:pt>
                <c:pt idx="1431">
                  <c:v>41675</c:v>
                </c:pt>
                <c:pt idx="1432">
                  <c:v>41676</c:v>
                </c:pt>
                <c:pt idx="1433">
                  <c:v>41677</c:v>
                </c:pt>
                <c:pt idx="1434">
                  <c:v>41680</c:v>
                </c:pt>
                <c:pt idx="1435">
                  <c:v>41681</c:v>
                </c:pt>
                <c:pt idx="1436">
                  <c:v>41682</c:v>
                </c:pt>
                <c:pt idx="1437">
                  <c:v>41683</c:v>
                </c:pt>
                <c:pt idx="1438">
                  <c:v>41684</c:v>
                </c:pt>
                <c:pt idx="1439">
                  <c:v>41688</c:v>
                </c:pt>
                <c:pt idx="1440">
                  <c:v>41689</c:v>
                </c:pt>
                <c:pt idx="1441">
                  <c:v>41690</c:v>
                </c:pt>
                <c:pt idx="1442">
                  <c:v>41691</c:v>
                </c:pt>
                <c:pt idx="1443">
                  <c:v>41694</c:v>
                </c:pt>
                <c:pt idx="1444">
                  <c:v>41695</c:v>
                </c:pt>
                <c:pt idx="1445">
                  <c:v>41696</c:v>
                </c:pt>
                <c:pt idx="1446">
                  <c:v>41697</c:v>
                </c:pt>
                <c:pt idx="1447">
                  <c:v>41698</c:v>
                </c:pt>
                <c:pt idx="1448">
                  <c:v>41701</c:v>
                </c:pt>
                <c:pt idx="1449">
                  <c:v>41702</c:v>
                </c:pt>
                <c:pt idx="1450">
                  <c:v>41703</c:v>
                </c:pt>
                <c:pt idx="1451">
                  <c:v>41704</c:v>
                </c:pt>
                <c:pt idx="1452">
                  <c:v>41705</c:v>
                </c:pt>
                <c:pt idx="1453">
                  <c:v>41708</c:v>
                </c:pt>
                <c:pt idx="1454">
                  <c:v>41709</c:v>
                </c:pt>
                <c:pt idx="1455">
                  <c:v>41710</c:v>
                </c:pt>
                <c:pt idx="1456">
                  <c:v>41711</c:v>
                </c:pt>
                <c:pt idx="1457">
                  <c:v>41712</c:v>
                </c:pt>
                <c:pt idx="1458">
                  <c:v>41715</c:v>
                </c:pt>
                <c:pt idx="1459">
                  <c:v>41716</c:v>
                </c:pt>
                <c:pt idx="1460">
                  <c:v>41717</c:v>
                </c:pt>
                <c:pt idx="1461">
                  <c:v>41718</c:v>
                </c:pt>
                <c:pt idx="1462">
                  <c:v>41719</c:v>
                </c:pt>
                <c:pt idx="1463">
                  <c:v>41722</c:v>
                </c:pt>
                <c:pt idx="1464">
                  <c:v>41723</c:v>
                </c:pt>
                <c:pt idx="1465">
                  <c:v>41724</c:v>
                </c:pt>
                <c:pt idx="1466">
                  <c:v>41725</c:v>
                </c:pt>
                <c:pt idx="1467">
                  <c:v>41726</c:v>
                </c:pt>
                <c:pt idx="1468">
                  <c:v>41729</c:v>
                </c:pt>
                <c:pt idx="1469">
                  <c:v>41730</c:v>
                </c:pt>
                <c:pt idx="1470">
                  <c:v>41731</c:v>
                </c:pt>
                <c:pt idx="1471">
                  <c:v>41732</c:v>
                </c:pt>
                <c:pt idx="1472">
                  <c:v>41733</c:v>
                </c:pt>
                <c:pt idx="1473">
                  <c:v>41736</c:v>
                </c:pt>
                <c:pt idx="1474">
                  <c:v>41737</c:v>
                </c:pt>
                <c:pt idx="1475">
                  <c:v>41738</c:v>
                </c:pt>
                <c:pt idx="1476">
                  <c:v>41739</c:v>
                </c:pt>
                <c:pt idx="1477">
                  <c:v>41740</c:v>
                </c:pt>
                <c:pt idx="1478">
                  <c:v>41743</c:v>
                </c:pt>
                <c:pt idx="1479">
                  <c:v>41744</c:v>
                </c:pt>
                <c:pt idx="1480">
                  <c:v>41745</c:v>
                </c:pt>
                <c:pt idx="1481">
                  <c:v>41746</c:v>
                </c:pt>
                <c:pt idx="1482">
                  <c:v>41750</c:v>
                </c:pt>
                <c:pt idx="1483">
                  <c:v>41751</c:v>
                </c:pt>
                <c:pt idx="1484">
                  <c:v>41752</c:v>
                </c:pt>
                <c:pt idx="1485">
                  <c:v>41753</c:v>
                </c:pt>
                <c:pt idx="1486">
                  <c:v>41754</c:v>
                </c:pt>
                <c:pt idx="1487">
                  <c:v>41757</c:v>
                </c:pt>
                <c:pt idx="1488">
                  <c:v>41758</c:v>
                </c:pt>
                <c:pt idx="1489">
                  <c:v>41759</c:v>
                </c:pt>
                <c:pt idx="1490">
                  <c:v>41760</c:v>
                </c:pt>
                <c:pt idx="1491">
                  <c:v>41761</c:v>
                </c:pt>
                <c:pt idx="1492">
                  <c:v>41764</c:v>
                </c:pt>
                <c:pt idx="1493">
                  <c:v>41765</c:v>
                </c:pt>
                <c:pt idx="1494">
                  <c:v>41766</c:v>
                </c:pt>
                <c:pt idx="1495">
                  <c:v>41767</c:v>
                </c:pt>
                <c:pt idx="1496">
                  <c:v>41768</c:v>
                </c:pt>
                <c:pt idx="1497">
                  <c:v>41771</c:v>
                </c:pt>
                <c:pt idx="1498">
                  <c:v>41772</c:v>
                </c:pt>
                <c:pt idx="1499">
                  <c:v>41773</c:v>
                </c:pt>
                <c:pt idx="1500">
                  <c:v>41774</c:v>
                </c:pt>
                <c:pt idx="1501">
                  <c:v>41775</c:v>
                </c:pt>
                <c:pt idx="1502">
                  <c:v>41778</c:v>
                </c:pt>
                <c:pt idx="1503">
                  <c:v>41779</c:v>
                </c:pt>
                <c:pt idx="1504">
                  <c:v>41780</c:v>
                </c:pt>
                <c:pt idx="1505">
                  <c:v>41781</c:v>
                </c:pt>
                <c:pt idx="1506">
                  <c:v>41782</c:v>
                </c:pt>
                <c:pt idx="1507">
                  <c:v>41786</c:v>
                </c:pt>
                <c:pt idx="1508">
                  <c:v>41787</c:v>
                </c:pt>
                <c:pt idx="1509">
                  <c:v>41788</c:v>
                </c:pt>
                <c:pt idx="1510">
                  <c:v>41789</c:v>
                </c:pt>
                <c:pt idx="1511">
                  <c:v>41792</c:v>
                </c:pt>
                <c:pt idx="1512">
                  <c:v>41793</c:v>
                </c:pt>
                <c:pt idx="1513">
                  <c:v>41794</c:v>
                </c:pt>
                <c:pt idx="1514">
                  <c:v>41795</c:v>
                </c:pt>
                <c:pt idx="1515">
                  <c:v>41796</c:v>
                </c:pt>
                <c:pt idx="1516">
                  <c:v>41799</c:v>
                </c:pt>
                <c:pt idx="1517">
                  <c:v>41800</c:v>
                </c:pt>
                <c:pt idx="1518">
                  <c:v>41801</c:v>
                </c:pt>
                <c:pt idx="1519">
                  <c:v>41802</c:v>
                </c:pt>
                <c:pt idx="1520">
                  <c:v>41803</c:v>
                </c:pt>
                <c:pt idx="1521">
                  <c:v>41806</c:v>
                </c:pt>
                <c:pt idx="1522">
                  <c:v>41807</c:v>
                </c:pt>
                <c:pt idx="1523">
                  <c:v>41808</c:v>
                </c:pt>
                <c:pt idx="1524">
                  <c:v>41809</c:v>
                </c:pt>
                <c:pt idx="1525">
                  <c:v>41810</c:v>
                </c:pt>
                <c:pt idx="1526">
                  <c:v>41813</c:v>
                </c:pt>
                <c:pt idx="1527">
                  <c:v>41814</c:v>
                </c:pt>
                <c:pt idx="1528">
                  <c:v>41815</c:v>
                </c:pt>
                <c:pt idx="1529">
                  <c:v>41816</c:v>
                </c:pt>
                <c:pt idx="1530">
                  <c:v>41817</c:v>
                </c:pt>
                <c:pt idx="1531">
                  <c:v>41820</c:v>
                </c:pt>
                <c:pt idx="1532">
                  <c:v>41821</c:v>
                </c:pt>
                <c:pt idx="1533">
                  <c:v>41822</c:v>
                </c:pt>
                <c:pt idx="1534">
                  <c:v>41823</c:v>
                </c:pt>
                <c:pt idx="1535">
                  <c:v>41827</c:v>
                </c:pt>
                <c:pt idx="1536">
                  <c:v>41828</c:v>
                </c:pt>
                <c:pt idx="1537">
                  <c:v>41829</c:v>
                </c:pt>
                <c:pt idx="1538">
                  <c:v>41830</c:v>
                </c:pt>
                <c:pt idx="1539">
                  <c:v>41831</c:v>
                </c:pt>
                <c:pt idx="1540">
                  <c:v>41834</c:v>
                </c:pt>
                <c:pt idx="1541">
                  <c:v>41835</c:v>
                </c:pt>
                <c:pt idx="1542">
                  <c:v>41836</c:v>
                </c:pt>
                <c:pt idx="1543">
                  <c:v>41837</c:v>
                </c:pt>
                <c:pt idx="1544">
                  <c:v>41838</c:v>
                </c:pt>
                <c:pt idx="1545">
                  <c:v>41841</c:v>
                </c:pt>
                <c:pt idx="1546">
                  <c:v>41842</c:v>
                </c:pt>
                <c:pt idx="1547">
                  <c:v>41843</c:v>
                </c:pt>
                <c:pt idx="1548">
                  <c:v>41844</c:v>
                </c:pt>
                <c:pt idx="1549">
                  <c:v>41845</c:v>
                </c:pt>
                <c:pt idx="1550">
                  <c:v>41848</c:v>
                </c:pt>
                <c:pt idx="1551">
                  <c:v>41849</c:v>
                </c:pt>
                <c:pt idx="1552">
                  <c:v>41850</c:v>
                </c:pt>
                <c:pt idx="1553">
                  <c:v>41851</c:v>
                </c:pt>
                <c:pt idx="1554">
                  <c:v>41852</c:v>
                </c:pt>
                <c:pt idx="1555">
                  <c:v>41855</c:v>
                </c:pt>
                <c:pt idx="1556">
                  <c:v>41856</c:v>
                </c:pt>
                <c:pt idx="1557">
                  <c:v>41857</c:v>
                </c:pt>
                <c:pt idx="1558">
                  <c:v>41858</c:v>
                </c:pt>
                <c:pt idx="1559">
                  <c:v>41859</c:v>
                </c:pt>
                <c:pt idx="1560">
                  <c:v>41862</c:v>
                </c:pt>
                <c:pt idx="1561">
                  <c:v>41863</c:v>
                </c:pt>
                <c:pt idx="1562">
                  <c:v>41864</c:v>
                </c:pt>
                <c:pt idx="1563">
                  <c:v>41865</c:v>
                </c:pt>
                <c:pt idx="1564">
                  <c:v>41866</c:v>
                </c:pt>
                <c:pt idx="1565">
                  <c:v>41869</c:v>
                </c:pt>
                <c:pt idx="1566">
                  <c:v>41870</c:v>
                </c:pt>
                <c:pt idx="1567">
                  <c:v>41871</c:v>
                </c:pt>
                <c:pt idx="1568">
                  <c:v>41872</c:v>
                </c:pt>
                <c:pt idx="1569">
                  <c:v>41873</c:v>
                </c:pt>
                <c:pt idx="1570">
                  <c:v>41876</c:v>
                </c:pt>
                <c:pt idx="1571">
                  <c:v>41877</c:v>
                </c:pt>
                <c:pt idx="1572">
                  <c:v>41878</c:v>
                </c:pt>
                <c:pt idx="1573">
                  <c:v>41879</c:v>
                </c:pt>
                <c:pt idx="1574">
                  <c:v>41880</c:v>
                </c:pt>
                <c:pt idx="1575">
                  <c:v>41884</c:v>
                </c:pt>
                <c:pt idx="1576">
                  <c:v>41885</c:v>
                </c:pt>
                <c:pt idx="1577">
                  <c:v>41886</c:v>
                </c:pt>
                <c:pt idx="1578">
                  <c:v>41887</c:v>
                </c:pt>
                <c:pt idx="1579">
                  <c:v>41890</c:v>
                </c:pt>
                <c:pt idx="1580">
                  <c:v>41891</c:v>
                </c:pt>
                <c:pt idx="1581">
                  <c:v>41892</c:v>
                </c:pt>
                <c:pt idx="1582">
                  <c:v>41893</c:v>
                </c:pt>
                <c:pt idx="1583">
                  <c:v>41894</c:v>
                </c:pt>
                <c:pt idx="1584">
                  <c:v>41897</c:v>
                </c:pt>
                <c:pt idx="1585">
                  <c:v>41898</c:v>
                </c:pt>
                <c:pt idx="1586">
                  <c:v>41899</c:v>
                </c:pt>
                <c:pt idx="1587">
                  <c:v>41900</c:v>
                </c:pt>
                <c:pt idx="1588">
                  <c:v>41901</c:v>
                </c:pt>
                <c:pt idx="1589">
                  <c:v>41904</c:v>
                </c:pt>
                <c:pt idx="1590">
                  <c:v>41905</c:v>
                </c:pt>
                <c:pt idx="1591">
                  <c:v>41906</c:v>
                </c:pt>
                <c:pt idx="1592">
                  <c:v>41907</c:v>
                </c:pt>
                <c:pt idx="1593">
                  <c:v>41908</c:v>
                </c:pt>
                <c:pt idx="1594">
                  <c:v>41911</c:v>
                </c:pt>
                <c:pt idx="1595">
                  <c:v>41912</c:v>
                </c:pt>
                <c:pt idx="1596">
                  <c:v>41913</c:v>
                </c:pt>
                <c:pt idx="1597">
                  <c:v>41914</c:v>
                </c:pt>
                <c:pt idx="1598">
                  <c:v>41915</c:v>
                </c:pt>
                <c:pt idx="1599">
                  <c:v>41918</c:v>
                </c:pt>
                <c:pt idx="1600">
                  <c:v>41919</c:v>
                </c:pt>
                <c:pt idx="1601">
                  <c:v>41920</c:v>
                </c:pt>
                <c:pt idx="1602">
                  <c:v>41921</c:v>
                </c:pt>
                <c:pt idx="1603">
                  <c:v>41922</c:v>
                </c:pt>
                <c:pt idx="1604">
                  <c:v>41925</c:v>
                </c:pt>
                <c:pt idx="1605">
                  <c:v>41926</c:v>
                </c:pt>
                <c:pt idx="1606">
                  <c:v>41927</c:v>
                </c:pt>
                <c:pt idx="1607">
                  <c:v>41928</c:v>
                </c:pt>
                <c:pt idx="1608">
                  <c:v>41929</c:v>
                </c:pt>
                <c:pt idx="1609">
                  <c:v>41932</c:v>
                </c:pt>
                <c:pt idx="1610">
                  <c:v>41933</c:v>
                </c:pt>
                <c:pt idx="1611">
                  <c:v>41934</c:v>
                </c:pt>
                <c:pt idx="1612">
                  <c:v>41935</c:v>
                </c:pt>
                <c:pt idx="1613">
                  <c:v>41936</c:v>
                </c:pt>
                <c:pt idx="1614">
                  <c:v>41939</c:v>
                </c:pt>
                <c:pt idx="1615">
                  <c:v>41940</c:v>
                </c:pt>
                <c:pt idx="1616">
                  <c:v>41941</c:v>
                </c:pt>
                <c:pt idx="1617">
                  <c:v>41942</c:v>
                </c:pt>
                <c:pt idx="1618">
                  <c:v>41943</c:v>
                </c:pt>
                <c:pt idx="1619">
                  <c:v>41946</c:v>
                </c:pt>
                <c:pt idx="1620">
                  <c:v>41947</c:v>
                </c:pt>
                <c:pt idx="1621">
                  <c:v>41948</c:v>
                </c:pt>
                <c:pt idx="1622">
                  <c:v>41949</c:v>
                </c:pt>
                <c:pt idx="1623">
                  <c:v>41950</c:v>
                </c:pt>
                <c:pt idx="1624">
                  <c:v>41953</c:v>
                </c:pt>
                <c:pt idx="1625">
                  <c:v>41954</c:v>
                </c:pt>
                <c:pt idx="1626">
                  <c:v>41955</c:v>
                </c:pt>
                <c:pt idx="1627">
                  <c:v>41956</c:v>
                </c:pt>
                <c:pt idx="1628">
                  <c:v>41957</c:v>
                </c:pt>
                <c:pt idx="1629">
                  <c:v>41960</c:v>
                </c:pt>
                <c:pt idx="1630">
                  <c:v>41961</c:v>
                </c:pt>
                <c:pt idx="1631">
                  <c:v>41962</c:v>
                </c:pt>
                <c:pt idx="1632">
                  <c:v>41963</c:v>
                </c:pt>
                <c:pt idx="1633">
                  <c:v>41964</c:v>
                </c:pt>
                <c:pt idx="1634">
                  <c:v>41967</c:v>
                </c:pt>
                <c:pt idx="1635">
                  <c:v>41968</c:v>
                </c:pt>
                <c:pt idx="1636">
                  <c:v>41969</c:v>
                </c:pt>
                <c:pt idx="1637">
                  <c:v>41971</c:v>
                </c:pt>
                <c:pt idx="1638">
                  <c:v>41974</c:v>
                </c:pt>
                <c:pt idx="1639">
                  <c:v>41975</c:v>
                </c:pt>
                <c:pt idx="1640">
                  <c:v>41976</c:v>
                </c:pt>
                <c:pt idx="1641">
                  <c:v>41977</c:v>
                </c:pt>
                <c:pt idx="1642">
                  <c:v>41978</c:v>
                </c:pt>
                <c:pt idx="1643">
                  <c:v>41981</c:v>
                </c:pt>
                <c:pt idx="1644">
                  <c:v>41982</c:v>
                </c:pt>
                <c:pt idx="1645">
                  <c:v>41983</c:v>
                </c:pt>
                <c:pt idx="1646">
                  <c:v>41984</c:v>
                </c:pt>
                <c:pt idx="1647">
                  <c:v>41985</c:v>
                </c:pt>
                <c:pt idx="1648">
                  <c:v>41988</c:v>
                </c:pt>
                <c:pt idx="1649">
                  <c:v>41989</c:v>
                </c:pt>
                <c:pt idx="1650">
                  <c:v>41990</c:v>
                </c:pt>
                <c:pt idx="1651">
                  <c:v>41991</c:v>
                </c:pt>
                <c:pt idx="1652">
                  <c:v>41992</c:v>
                </c:pt>
                <c:pt idx="1653">
                  <c:v>41995</c:v>
                </c:pt>
                <c:pt idx="1654">
                  <c:v>41996</c:v>
                </c:pt>
                <c:pt idx="1655">
                  <c:v>41997</c:v>
                </c:pt>
                <c:pt idx="1656">
                  <c:v>41999</c:v>
                </c:pt>
                <c:pt idx="1657">
                  <c:v>42002</c:v>
                </c:pt>
                <c:pt idx="1658">
                  <c:v>42003</c:v>
                </c:pt>
                <c:pt idx="1659">
                  <c:v>42004</c:v>
                </c:pt>
                <c:pt idx="1660">
                  <c:v>42006</c:v>
                </c:pt>
                <c:pt idx="1661">
                  <c:v>42009</c:v>
                </c:pt>
                <c:pt idx="1662">
                  <c:v>42010</c:v>
                </c:pt>
                <c:pt idx="1663">
                  <c:v>42011</c:v>
                </c:pt>
                <c:pt idx="1664">
                  <c:v>42012</c:v>
                </c:pt>
                <c:pt idx="1665">
                  <c:v>42013</c:v>
                </c:pt>
                <c:pt idx="1666">
                  <c:v>42016</c:v>
                </c:pt>
                <c:pt idx="1667">
                  <c:v>42017</c:v>
                </c:pt>
                <c:pt idx="1668">
                  <c:v>42018</c:v>
                </c:pt>
                <c:pt idx="1669">
                  <c:v>42019</c:v>
                </c:pt>
                <c:pt idx="1670">
                  <c:v>42020</c:v>
                </c:pt>
                <c:pt idx="1671">
                  <c:v>42024</c:v>
                </c:pt>
                <c:pt idx="1672">
                  <c:v>42025</c:v>
                </c:pt>
                <c:pt idx="1673">
                  <c:v>42026</c:v>
                </c:pt>
                <c:pt idx="1674">
                  <c:v>42027</c:v>
                </c:pt>
                <c:pt idx="1675">
                  <c:v>42030</c:v>
                </c:pt>
                <c:pt idx="1676">
                  <c:v>42031</c:v>
                </c:pt>
                <c:pt idx="1677">
                  <c:v>42032</c:v>
                </c:pt>
                <c:pt idx="1678">
                  <c:v>42033</c:v>
                </c:pt>
                <c:pt idx="1679">
                  <c:v>42034</c:v>
                </c:pt>
                <c:pt idx="1680">
                  <c:v>42037</c:v>
                </c:pt>
                <c:pt idx="1681">
                  <c:v>42038</c:v>
                </c:pt>
                <c:pt idx="1682">
                  <c:v>42039</c:v>
                </c:pt>
                <c:pt idx="1683">
                  <c:v>42040</c:v>
                </c:pt>
                <c:pt idx="1684">
                  <c:v>42041</c:v>
                </c:pt>
                <c:pt idx="1685">
                  <c:v>42044</c:v>
                </c:pt>
                <c:pt idx="1686">
                  <c:v>42045</c:v>
                </c:pt>
                <c:pt idx="1687">
                  <c:v>42046</c:v>
                </c:pt>
                <c:pt idx="1688">
                  <c:v>42047</c:v>
                </c:pt>
                <c:pt idx="1689">
                  <c:v>42048</c:v>
                </c:pt>
                <c:pt idx="1690">
                  <c:v>42052</c:v>
                </c:pt>
                <c:pt idx="1691">
                  <c:v>42053</c:v>
                </c:pt>
                <c:pt idx="1692">
                  <c:v>42054</c:v>
                </c:pt>
                <c:pt idx="1693">
                  <c:v>42055</c:v>
                </c:pt>
                <c:pt idx="1694">
                  <c:v>42058</c:v>
                </c:pt>
                <c:pt idx="1695">
                  <c:v>42059</c:v>
                </c:pt>
                <c:pt idx="1696">
                  <c:v>42060</c:v>
                </c:pt>
                <c:pt idx="1697">
                  <c:v>42061</c:v>
                </c:pt>
                <c:pt idx="1698">
                  <c:v>42062</c:v>
                </c:pt>
                <c:pt idx="1699">
                  <c:v>42065</c:v>
                </c:pt>
                <c:pt idx="1700">
                  <c:v>42066</c:v>
                </c:pt>
                <c:pt idx="1701">
                  <c:v>42067</c:v>
                </c:pt>
                <c:pt idx="1702">
                  <c:v>42068</c:v>
                </c:pt>
                <c:pt idx="1703">
                  <c:v>42069</c:v>
                </c:pt>
                <c:pt idx="1704">
                  <c:v>42072</c:v>
                </c:pt>
                <c:pt idx="1705">
                  <c:v>42073</c:v>
                </c:pt>
                <c:pt idx="1706">
                  <c:v>42074</c:v>
                </c:pt>
                <c:pt idx="1707">
                  <c:v>42075</c:v>
                </c:pt>
                <c:pt idx="1708">
                  <c:v>42076</c:v>
                </c:pt>
                <c:pt idx="1709">
                  <c:v>42079</c:v>
                </c:pt>
                <c:pt idx="1710">
                  <c:v>42080</c:v>
                </c:pt>
                <c:pt idx="1711">
                  <c:v>42081</c:v>
                </c:pt>
                <c:pt idx="1712">
                  <c:v>42082</c:v>
                </c:pt>
                <c:pt idx="1713">
                  <c:v>42083</c:v>
                </c:pt>
                <c:pt idx="1714">
                  <c:v>42086</c:v>
                </c:pt>
                <c:pt idx="1715">
                  <c:v>42087</c:v>
                </c:pt>
                <c:pt idx="1716">
                  <c:v>42088</c:v>
                </c:pt>
                <c:pt idx="1717">
                  <c:v>42089</c:v>
                </c:pt>
                <c:pt idx="1718">
                  <c:v>42090</c:v>
                </c:pt>
                <c:pt idx="1719">
                  <c:v>42093</c:v>
                </c:pt>
                <c:pt idx="1720">
                  <c:v>42094</c:v>
                </c:pt>
                <c:pt idx="1721">
                  <c:v>42095</c:v>
                </c:pt>
                <c:pt idx="1722">
                  <c:v>42096</c:v>
                </c:pt>
                <c:pt idx="1723">
                  <c:v>42100</c:v>
                </c:pt>
                <c:pt idx="1724">
                  <c:v>42101</c:v>
                </c:pt>
                <c:pt idx="1725">
                  <c:v>42102</c:v>
                </c:pt>
                <c:pt idx="1726">
                  <c:v>42103</c:v>
                </c:pt>
                <c:pt idx="1727">
                  <c:v>42104</c:v>
                </c:pt>
                <c:pt idx="1728">
                  <c:v>42107</c:v>
                </c:pt>
                <c:pt idx="1729">
                  <c:v>42108</c:v>
                </c:pt>
                <c:pt idx="1730">
                  <c:v>42109</c:v>
                </c:pt>
                <c:pt idx="1731">
                  <c:v>42110</c:v>
                </c:pt>
                <c:pt idx="1732">
                  <c:v>42111</c:v>
                </c:pt>
                <c:pt idx="1733">
                  <c:v>42114</c:v>
                </c:pt>
                <c:pt idx="1734">
                  <c:v>42115</c:v>
                </c:pt>
                <c:pt idx="1735">
                  <c:v>42116</c:v>
                </c:pt>
                <c:pt idx="1736">
                  <c:v>42117</c:v>
                </c:pt>
                <c:pt idx="1737">
                  <c:v>42118</c:v>
                </c:pt>
                <c:pt idx="1738">
                  <c:v>42121</c:v>
                </c:pt>
                <c:pt idx="1739">
                  <c:v>42122</c:v>
                </c:pt>
                <c:pt idx="1740">
                  <c:v>42123</c:v>
                </c:pt>
                <c:pt idx="1741">
                  <c:v>42124</c:v>
                </c:pt>
                <c:pt idx="1742">
                  <c:v>42125</c:v>
                </c:pt>
                <c:pt idx="1743">
                  <c:v>42128</c:v>
                </c:pt>
                <c:pt idx="1744">
                  <c:v>42129</c:v>
                </c:pt>
                <c:pt idx="1745">
                  <c:v>42130</c:v>
                </c:pt>
                <c:pt idx="1746">
                  <c:v>42131</c:v>
                </c:pt>
                <c:pt idx="1747">
                  <c:v>42132</c:v>
                </c:pt>
                <c:pt idx="1748">
                  <c:v>42135</c:v>
                </c:pt>
                <c:pt idx="1749">
                  <c:v>42136</c:v>
                </c:pt>
                <c:pt idx="1750">
                  <c:v>42137</c:v>
                </c:pt>
                <c:pt idx="1751">
                  <c:v>42138</c:v>
                </c:pt>
                <c:pt idx="1752">
                  <c:v>42139</c:v>
                </c:pt>
                <c:pt idx="1753">
                  <c:v>42142</c:v>
                </c:pt>
                <c:pt idx="1754">
                  <c:v>42143</c:v>
                </c:pt>
                <c:pt idx="1755">
                  <c:v>42144</c:v>
                </c:pt>
                <c:pt idx="1756">
                  <c:v>42145</c:v>
                </c:pt>
                <c:pt idx="1757">
                  <c:v>42146</c:v>
                </c:pt>
                <c:pt idx="1758">
                  <c:v>42150</c:v>
                </c:pt>
                <c:pt idx="1759">
                  <c:v>42151</c:v>
                </c:pt>
                <c:pt idx="1760">
                  <c:v>42152</c:v>
                </c:pt>
                <c:pt idx="1761">
                  <c:v>42153</c:v>
                </c:pt>
                <c:pt idx="1762">
                  <c:v>42156</c:v>
                </c:pt>
                <c:pt idx="1763">
                  <c:v>42157</c:v>
                </c:pt>
                <c:pt idx="1764">
                  <c:v>42158</c:v>
                </c:pt>
                <c:pt idx="1765">
                  <c:v>42159</c:v>
                </c:pt>
                <c:pt idx="1766">
                  <c:v>42160</c:v>
                </c:pt>
                <c:pt idx="1767">
                  <c:v>42163</c:v>
                </c:pt>
                <c:pt idx="1768">
                  <c:v>42164</c:v>
                </c:pt>
                <c:pt idx="1769">
                  <c:v>42165</c:v>
                </c:pt>
                <c:pt idx="1770">
                  <c:v>42166</c:v>
                </c:pt>
                <c:pt idx="1771">
                  <c:v>42167</c:v>
                </c:pt>
                <c:pt idx="1772">
                  <c:v>42170</c:v>
                </c:pt>
                <c:pt idx="1773">
                  <c:v>42171</c:v>
                </c:pt>
                <c:pt idx="1774">
                  <c:v>42172</c:v>
                </c:pt>
                <c:pt idx="1775">
                  <c:v>42173</c:v>
                </c:pt>
                <c:pt idx="1776">
                  <c:v>42174</c:v>
                </c:pt>
                <c:pt idx="1777">
                  <c:v>42177</c:v>
                </c:pt>
                <c:pt idx="1778">
                  <c:v>42178</c:v>
                </c:pt>
                <c:pt idx="1779">
                  <c:v>42179</c:v>
                </c:pt>
                <c:pt idx="1780">
                  <c:v>42180</c:v>
                </c:pt>
                <c:pt idx="1781">
                  <c:v>42181</c:v>
                </c:pt>
                <c:pt idx="1782">
                  <c:v>42184</c:v>
                </c:pt>
                <c:pt idx="1783">
                  <c:v>42185</c:v>
                </c:pt>
                <c:pt idx="1784">
                  <c:v>42186</c:v>
                </c:pt>
                <c:pt idx="1785">
                  <c:v>42187</c:v>
                </c:pt>
                <c:pt idx="1786">
                  <c:v>42191</c:v>
                </c:pt>
                <c:pt idx="1787">
                  <c:v>42192</c:v>
                </c:pt>
                <c:pt idx="1788">
                  <c:v>42193</c:v>
                </c:pt>
                <c:pt idx="1789">
                  <c:v>42194</c:v>
                </c:pt>
                <c:pt idx="1790">
                  <c:v>42195</c:v>
                </c:pt>
                <c:pt idx="1791">
                  <c:v>42198</c:v>
                </c:pt>
                <c:pt idx="1792">
                  <c:v>42199</c:v>
                </c:pt>
                <c:pt idx="1793">
                  <c:v>42200</c:v>
                </c:pt>
                <c:pt idx="1794">
                  <c:v>42201</c:v>
                </c:pt>
                <c:pt idx="1795">
                  <c:v>42202</c:v>
                </c:pt>
                <c:pt idx="1796">
                  <c:v>42205</c:v>
                </c:pt>
                <c:pt idx="1797">
                  <c:v>42206</c:v>
                </c:pt>
                <c:pt idx="1798">
                  <c:v>42207</c:v>
                </c:pt>
                <c:pt idx="1799">
                  <c:v>42208</c:v>
                </c:pt>
                <c:pt idx="1800">
                  <c:v>42209</c:v>
                </c:pt>
                <c:pt idx="1801">
                  <c:v>42212</c:v>
                </c:pt>
                <c:pt idx="1802">
                  <c:v>42213</c:v>
                </c:pt>
                <c:pt idx="1803">
                  <c:v>42214</c:v>
                </c:pt>
                <c:pt idx="1804">
                  <c:v>42215</c:v>
                </c:pt>
                <c:pt idx="1805">
                  <c:v>42216</c:v>
                </c:pt>
                <c:pt idx="1806">
                  <c:v>42219</c:v>
                </c:pt>
                <c:pt idx="1807">
                  <c:v>42220</c:v>
                </c:pt>
                <c:pt idx="1808">
                  <c:v>42221</c:v>
                </c:pt>
                <c:pt idx="1809">
                  <c:v>42222</c:v>
                </c:pt>
                <c:pt idx="1810">
                  <c:v>42223</c:v>
                </c:pt>
                <c:pt idx="1811">
                  <c:v>42226</c:v>
                </c:pt>
                <c:pt idx="1812">
                  <c:v>42227</c:v>
                </c:pt>
                <c:pt idx="1813">
                  <c:v>42228</c:v>
                </c:pt>
                <c:pt idx="1814">
                  <c:v>42229</c:v>
                </c:pt>
                <c:pt idx="1815">
                  <c:v>42230</c:v>
                </c:pt>
                <c:pt idx="1816">
                  <c:v>42233</c:v>
                </c:pt>
                <c:pt idx="1817">
                  <c:v>42234</c:v>
                </c:pt>
                <c:pt idx="1818">
                  <c:v>42235</c:v>
                </c:pt>
                <c:pt idx="1819">
                  <c:v>42236</c:v>
                </c:pt>
                <c:pt idx="1820">
                  <c:v>42237</c:v>
                </c:pt>
                <c:pt idx="1821">
                  <c:v>42240</c:v>
                </c:pt>
                <c:pt idx="1822">
                  <c:v>42241</c:v>
                </c:pt>
                <c:pt idx="1823">
                  <c:v>42242</c:v>
                </c:pt>
                <c:pt idx="1824">
                  <c:v>42243</c:v>
                </c:pt>
                <c:pt idx="1825">
                  <c:v>42244</c:v>
                </c:pt>
                <c:pt idx="1826">
                  <c:v>42247</c:v>
                </c:pt>
                <c:pt idx="1827">
                  <c:v>42248</c:v>
                </c:pt>
                <c:pt idx="1828">
                  <c:v>42249</c:v>
                </c:pt>
                <c:pt idx="1829">
                  <c:v>42250</c:v>
                </c:pt>
                <c:pt idx="1830">
                  <c:v>42251</c:v>
                </c:pt>
                <c:pt idx="1831">
                  <c:v>42255</c:v>
                </c:pt>
                <c:pt idx="1832">
                  <c:v>42256</c:v>
                </c:pt>
                <c:pt idx="1833">
                  <c:v>42257</c:v>
                </c:pt>
                <c:pt idx="1834">
                  <c:v>42258</c:v>
                </c:pt>
                <c:pt idx="1835">
                  <c:v>42261</c:v>
                </c:pt>
                <c:pt idx="1836">
                  <c:v>42262</c:v>
                </c:pt>
                <c:pt idx="1837">
                  <c:v>42263</c:v>
                </c:pt>
                <c:pt idx="1838">
                  <c:v>42264</c:v>
                </c:pt>
                <c:pt idx="1839">
                  <c:v>42265</c:v>
                </c:pt>
                <c:pt idx="1840">
                  <c:v>42268</c:v>
                </c:pt>
                <c:pt idx="1841">
                  <c:v>42269</c:v>
                </c:pt>
                <c:pt idx="1842">
                  <c:v>42270</c:v>
                </c:pt>
                <c:pt idx="1843">
                  <c:v>42271</c:v>
                </c:pt>
                <c:pt idx="1844">
                  <c:v>42272</c:v>
                </c:pt>
                <c:pt idx="1845">
                  <c:v>42275</c:v>
                </c:pt>
                <c:pt idx="1846">
                  <c:v>42276</c:v>
                </c:pt>
                <c:pt idx="1847">
                  <c:v>42277</c:v>
                </c:pt>
                <c:pt idx="1848">
                  <c:v>42278</c:v>
                </c:pt>
                <c:pt idx="1849">
                  <c:v>42279</c:v>
                </c:pt>
                <c:pt idx="1850">
                  <c:v>42282</c:v>
                </c:pt>
                <c:pt idx="1851">
                  <c:v>42283</c:v>
                </c:pt>
                <c:pt idx="1852">
                  <c:v>42284</c:v>
                </c:pt>
                <c:pt idx="1853">
                  <c:v>42285</c:v>
                </c:pt>
                <c:pt idx="1854">
                  <c:v>42286</c:v>
                </c:pt>
                <c:pt idx="1855">
                  <c:v>42289</c:v>
                </c:pt>
                <c:pt idx="1856">
                  <c:v>42290</c:v>
                </c:pt>
                <c:pt idx="1857">
                  <c:v>42291</c:v>
                </c:pt>
                <c:pt idx="1858">
                  <c:v>42292</c:v>
                </c:pt>
                <c:pt idx="1859">
                  <c:v>42293</c:v>
                </c:pt>
                <c:pt idx="1860">
                  <c:v>42296</c:v>
                </c:pt>
                <c:pt idx="1861">
                  <c:v>42297</c:v>
                </c:pt>
                <c:pt idx="1862">
                  <c:v>42298</c:v>
                </c:pt>
                <c:pt idx="1863">
                  <c:v>42299</c:v>
                </c:pt>
                <c:pt idx="1864">
                  <c:v>42300</c:v>
                </c:pt>
                <c:pt idx="1865">
                  <c:v>42303</c:v>
                </c:pt>
                <c:pt idx="1866">
                  <c:v>42304</c:v>
                </c:pt>
                <c:pt idx="1867">
                  <c:v>42305</c:v>
                </c:pt>
                <c:pt idx="1868">
                  <c:v>42306</c:v>
                </c:pt>
                <c:pt idx="1869">
                  <c:v>42307</c:v>
                </c:pt>
                <c:pt idx="1870">
                  <c:v>42310</c:v>
                </c:pt>
                <c:pt idx="1871">
                  <c:v>42311</c:v>
                </c:pt>
                <c:pt idx="1872">
                  <c:v>42312</c:v>
                </c:pt>
                <c:pt idx="1873">
                  <c:v>42313</c:v>
                </c:pt>
                <c:pt idx="1874">
                  <c:v>42314</c:v>
                </c:pt>
                <c:pt idx="1875">
                  <c:v>42317</c:v>
                </c:pt>
                <c:pt idx="1876">
                  <c:v>42318</c:v>
                </c:pt>
                <c:pt idx="1877">
                  <c:v>42319</c:v>
                </c:pt>
                <c:pt idx="1878">
                  <c:v>42320</c:v>
                </c:pt>
                <c:pt idx="1879">
                  <c:v>42321</c:v>
                </c:pt>
                <c:pt idx="1880">
                  <c:v>42324</c:v>
                </c:pt>
                <c:pt idx="1881">
                  <c:v>42325</c:v>
                </c:pt>
                <c:pt idx="1882">
                  <c:v>42326</c:v>
                </c:pt>
                <c:pt idx="1883">
                  <c:v>42327</c:v>
                </c:pt>
                <c:pt idx="1884">
                  <c:v>42328</c:v>
                </c:pt>
                <c:pt idx="1885">
                  <c:v>42331</c:v>
                </c:pt>
                <c:pt idx="1886">
                  <c:v>42332</c:v>
                </c:pt>
                <c:pt idx="1887">
                  <c:v>42333</c:v>
                </c:pt>
                <c:pt idx="1888">
                  <c:v>42335</c:v>
                </c:pt>
                <c:pt idx="1889">
                  <c:v>42338</c:v>
                </c:pt>
                <c:pt idx="1890">
                  <c:v>42339</c:v>
                </c:pt>
                <c:pt idx="1891">
                  <c:v>42340</c:v>
                </c:pt>
                <c:pt idx="1892">
                  <c:v>42341</c:v>
                </c:pt>
                <c:pt idx="1893">
                  <c:v>42342</c:v>
                </c:pt>
                <c:pt idx="1894">
                  <c:v>42345</c:v>
                </c:pt>
                <c:pt idx="1895">
                  <c:v>42346</c:v>
                </c:pt>
                <c:pt idx="1896">
                  <c:v>42347</c:v>
                </c:pt>
                <c:pt idx="1897">
                  <c:v>42348</c:v>
                </c:pt>
                <c:pt idx="1898">
                  <c:v>42349</c:v>
                </c:pt>
                <c:pt idx="1899">
                  <c:v>42352</c:v>
                </c:pt>
                <c:pt idx="1900">
                  <c:v>42353</c:v>
                </c:pt>
                <c:pt idx="1901">
                  <c:v>42354</c:v>
                </c:pt>
                <c:pt idx="1902">
                  <c:v>42355</c:v>
                </c:pt>
                <c:pt idx="1903">
                  <c:v>42356</c:v>
                </c:pt>
                <c:pt idx="1904">
                  <c:v>42359</c:v>
                </c:pt>
                <c:pt idx="1905">
                  <c:v>42360</c:v>
                </c:pt>
                <c:pt idx="1906">
                  <c:v>42361</c:v>
                </c:pt>
                <c:pt idx="1907">
                  <c:v>42362</c:v>
                </c:pt>
                <c:pt idx="1908">
                  <c:v>42366</c:v>
                </c:pt>
                <c:pt idx="1909">
                  <c:v>42367</c:v>
                </c:pt>
                <c:pt idx="1910">
                  <c:v>42368</c:v>
                </c:pt>
                <c:pt idx="1911">
                  <c:v>42369</c:v>
                </c:pt>
                <c:pt idx="1912">
                  <c:v>42373</c:v>
                </c:pt>
                <c:pt idx="1913">
                  <c:v>42374</c:v>
                </c:pt>
                <c:pt idx="1914">
                  <c:v>42375</c:v>
                </c:pt>
                <c:pt idx="1915">
                  <c:v>42376</c:v>
                </c:pt>
                <c:pt idx="1916">
                  <c:v>42377</c:v>
                </c:pt>
                <c:pt idx="1917">
                  <c:v>42380</c:v>
                </c:pt>
                <c:pt idx="1918">
                  <c:v>42381</c:v>
                </c:pt>
                <c:pt idx="1919">
                  <c:v>42382</c:v>
                </c:pt>
                <c:pt idx="1920">
                  <c:v>42383</c:v>
                </c:pt>
                <c:pt idx="1921">
                  <c:v>42384</c:v>
                </c:pt>
                <c:pt idx="1922">
                  <c:v>42388</c:v>
                </c:pt>
                <c:pt idx="1923">
                  <c:v>42389</c:v>
                </c:pt>
                <c:pt idx="1924">
                  <c:v>42390</c:v>
                </c:pt>
                <c:pt idx="1925">
                  <c:v>42391</c:v>
                </c:pt>
                <c:pt idx="1926">
                  <c:v>42394</c:v>
                </c:pt>
                <c:pt idx="1927">
                  <c:v>42395</c:v>
                </c:pt>
                <c:pt idx="1928">
                  <c:v>42396</c:v>
                </c:pt>
                <c:pt idx="1929">
                  <c:v>42397</c:v>
                </c:pt>
                <c:pt idx="1930">
                  <c:v>42398</c:v>
                </c:pt>
                <c:pt idx="1931">
                  <c:v>42401</c:v>
                </c:pt>
                <c:pt idx="1932">
                  <c:v>42402</c:v>
                </c:pt>
                <c:pt idx="1933">
                  <c:v>42403</c:v>
                </c:pt>
                <c:pt idx="1934">
                  <c:v>42404</c:v>
                </c:pt>
                <c:pt idx="1935">
                  <c:v>42405</c:v>
                </c:pt>
                <c:pt idx="1936">
                  <c:v>42408</c:v>
                </c:pt>
                <c:pt idx="1937">
                  <c:v>42409</c:v>
                </c:pt>
                <c:pt idx="1938">
                  <c:v>42410</c:v>
                </c:pt>
                <c:pt idx="1939">
                  <c:v>42411</c:v>
                </c:pt>
                <c:pt idx="1940">
                  <c:v>42412</c:v>
                </c:pt>
                <c:pt idx="1941">
                  <c:v>42416</c:v>
                </c:pt>
                <c:pt idx="1942">
                  <c:v>42417</c:v>
                </c:pt>
                <c:pt idx="1943">
                  <c:v>42418</c:v>
                </c:pt>
                <c:pt idx="1944">
                  <c:v>42419</c:v>
                </c:pt>
                <c:pt idx="1945">
                  <c:v>42422</c:v>
                </c:pt>
                <c:pt idx="1946">
                  <c:v>42423</c:v>
                </c:pt>
                <c:pt idx="1947">
                  <c:v>42424</c:v>
                </c:pt>
                <c:pt idx="1948">
                  <c:v>42425</c:v>
                </c:pt>
                <c:pt idx="1949">
                  <c:v>42426</c:v>
                </c:pt>
                <c:pt idx="1950">
                  <c:v>42429</c:v>
                </c:pt>
                <c:pt idx="1951">
                  <c:v>42430</c:v>
                </c:pt>
                <c:pt idx="1952">
                  <c:v>42431</c:v>
                </c:pt>
                <c:pt idx="1953">
                  <c:v>42432</c:v>
                </c:pt>
                <c:pt idx="1954">
                  <c:v>42433</c:v>
                </c:pt>
                <c:pt idx="1955">
                  <c:v>42436</c:v>
                </c:pt>
                <c:pt idx="1956">
                  <c:v>42437</c:v>
                </c:pt>
                <c:pt idx="1957">
                  <c:v>42438</c:v>
                </c:pt>
                <c:pt idx="1958">
                  <c:v>42439</c:v>
                </c:pt>
                <c:pt idx="1959">
                  <c:v>42440</c:v>
                </c:pt>
                <c:pt idx="1960">
                  <c:v>42443</c:v>
                </c:pt>
                <c:pt idx="1961">
                  <c:v>42444</c:v>
                </c:pt>
                <c:pt idx="1962">
                  <c:v>42445</c:v>
                </c:pt>
                <c:pt idx="1963">
                  <c:v>42446</c:v>
                </c:pt>
                <c:pt idx="1964">
                  <c:v>42447</c:v>
                </c:pt>
                <c:pt idx="1965">
                  <c:v>42450</c:v>
                </c:pt>
                <c:pt idx="1966">
                  <c:v>42451</c:v>
                </c:pt>
                <c:pt idx="1967">
                  <c:v>42452</c:v>
                </c:pt>
                <c:pt idx="1968">
                  <c:v>42453</c:v>
                </c:pt>
                <c:pt idx="1969">
                  <c:v>42457</c:v>
                </c:pt>
                <c:pt idx="1970">
                  <c:v>42458</c:v>
                </c:pt>
                <c:pt idx="1971">
                  <c:v>42459</c:v>
                </c:pt>
                <c:pt idx="1972">
                  <c:v>42460</c:v>
                </c:pt>
                <c:pt idx="1973">
                  <c:v>42461</c:v>
                </c:pt>
                <c:pt idx="1974">
                  <c:v>42464</c:v>
                </c:pt>
                <c:pt idx="1975">
                  <c:v>42465</c:v>
                </c:pt>
                <c:pt idx="1976">
                  <c:v>42466</c:v>
                </c:pt>
                <c:pt idx="1977">
                  <c:v>42467</c:v>
                </c:pt>
                <c:pt idx="1978">
                  <c:v>42468</c:v>
                </c:pt>
                <c:pt idx="1979">
                  <c:v>42471</c:v>
                </c:pt>
                <c:pt idx="1980">
                  <c:v>42472</c:v>
                </c:pt>
                <c:pt idx="1981">
                  <c:v>42473</c:v>
                </c:pt>
                <c:pt idx="1982">
                  <c:v>42474</c:v>
                </c:pt>
                <c:pt idx="1983">
                  <c:v>42475</c:v>
                </c:pt>
                <c:pt idx="1984">
                  <c:v>42478</c:v>
                </c:pt>
                <c:pt idx="1985">
                  <c:v>42479</c:v>
                </c:pt>
                <c:pt idx="1986">
                  <c:v>42480</c:v>
                </c:pt>
                <c:pt idx="1987">
                  <c:v>42481</c:v>
                </c:pt>
                <c:pt idx="1988">
                  <c:v>42482</c:v>
                </c:pt>
                <c:pt idx="1989">
                  <c:v>42485</c:v>
                </c:pt>
                <c:pt idx="1990">
                  <c:v>42486</c:v>
                </c:pt>
                <c:pt idx="1991">
                  <c:v>42487</c:v>
                </c:pt>
                <c:pt idx="1992">
                  <c:v>42488</c:v>
                </c:pt>
                <c:pt idx="1993">
                  <c:v>42489</c:v>
                </c:pt>
                <c:pt idx="1994">
                  <c:v>42492</c:v>
                </c:pt>
                <c:pt idx="1995">
                  <c:v>42493</c:v>
                </c:pt>
                <c:pt idx="1996">
                  <c:v>42494</c:v>
                </c:pt>
                <c:pt idx="1997">
                  <c:v>42495</c:v>
                </c:pt>
                <c:pt idx="1998">
                  <c:v>42496</c:v>
                </c:pt>
                <c:pt idx="1999">
                  <c:v>42499</c:v>
                </c:pt>
                <c:pt idx="2000">
                  <c:v>42500</c:v>
                </c:pt>
                <c:pt idx="2001">
                  <c:v>42501</c:v>
                </c:pt>
                <c:pt idx="2002">
                  <c:v>42502</c:v>
                </c:pt>
                <c:pt idx="2003">
                  <c:v>42503</c:v>
                </c:pt>
                <c:pt idx="2004">
                  <c:v>42506</c:v>
                </c:pt>
                <c:pt idx="2005">
                  <c:v>42507</c:v>
                </c:pt>
                <c:pt idx="2006">
                  <c:v>42508</c:v>
                </c:pt>
                <c:pt idx="2007">
                  <c:v>42509</c:v>
                </c:pt>
              </c:numCache>
            </c:numRef>
          </c:cat>
          <c:val>
            <c:numRef>
              <c:f>beta!$AK$257:$AK$2264</c:f>
              <c:numCache>
                <c:formatCode>0.00%</c:formatCode>
                <c:ptCount val="2008"/>
                <c:pt idx="0">
                  <c:v>0.30941140732630734</c:v>
                </c:pt>
                <c:pt idx="1">
                  <c:v>0.30896898050066357</c:v>
                </c:pt>
                <c:pt idx="2">
                  <c:v>0.30934279592461228</c:v>
                </c:pt>
                <c:pt idx="3">
                  <c:v>0.30904667405745145</c:v>
                </c:pt>
                <c:pt idx="4">
                  <c:v>0.30918829744775783</c:v>
                </c:pt>
                <c:pt idx="5">
                  <c:v>0.30601372781300196</c:v>
                </c:pt>
                <c:pt idx="6">
                  <c:v>0.30948706824524863</c:v>
                </c:pt>
                <c:pt idx="7">
                  <c:v>0.30934782671018896</c:v>
                </c:pt>
                <c:pt idx="8">
                  <c:v>0.3118875964676831</c:v>
                </c:pt>
                <c:pt idx="9">
                  <c:v>0.31418125348311693</c:v>
                </c:pt>
                <c:pt idx="10">
                  <c:v>0.31534592689576635</c:v>
                </c:pt>
                <c:pt idx="11">
                  <c:v>0.31578551405036903</c:v>
                </c:pt>
                <c:pt idx="12">
                  <c:v>0.31617104018205167</c:v>
                </c:pt>
                <c:pt idx="13">
                  <c:v>0.31600487051680626</c:v>
                </c:pt>
                <c:pt idx="14">
                  <c:v>0.3169976055357771</c:v>
                </c:pt>
                <c:pt idx="15">
                  <c:v>0.31691551540104168</c:v>
                </c:pt>
                <c:pt idx="16">
                  <c:v>0.3178640295420655</c:v>
                </c:pt>
                <c:pt idx="17">
                  <c:v>0.31792134694418928</c:v>
                </c:pt>
                <c:pt idx="18">
                  <c:v>0.31962426319636295</c:v>
                </c:pt>
                <c:pt idx="19">
                  <c:v>0.32316947948605929</c:v>
                </c:pt>
                <c:pt idx="20">
                  <c:v>0.32312055175464027</c:v>
                </c:pt>
                <c:pt idx="21">
                  <c:v>0.32223837971571145</c:v>
                </c:pt>
                <c:pt idx="22">
                  <c:v>0.32192031240823382</c:v>
                </c:pt>
                <c:pt idx="23">
                  <c:v>0.32169676566181005</c:v>
                </c:pt>
                <c:pt idx="24">
                  <c:v>0.3214500069989038</c:v>
                </c:pt>
                <c:pt idx="25">
                  <c:v>0.32120595544028929</c:v>
                </c:pt>
                <c:pt idx="26">
                  <c:v>0.32262932256877674</c:v>
                </c:pt>
                <c:pt idx="27">
                  <c:v>0.32327989016923675</c:v>
                </c:pt>
                <c:pt idx="28">
                  <c:v>0.32399483170492943</c:v>
                </c:pt>
                <c:pt idx="29">
                  <c:v>0.32348762129504466</c:v>
                </c:pt>
                <c:pt idx="30">
                  <c:v>0.32360923493750277</c:v>
                </c:pt>
                <c:pt idx="31">
                  <c:v>0.32350332227443962</c:v>
                </c:pt>
                <c:pt idx="32">
                  <c:v>0.32488905850300426</c:v>
                </c:pt>
                <c:pt idx="33">
                  <c:v>0.32474354317856058</c:v>
                </c:pt>
                <c:pt idx="34">
                  <c:v>0.32496106827045212</c:v>
                </c:pt>
                <c:pt idx="35">
                  <c:v>0.32577584024508704</c:v>
                </c:pt>
                <c:pt idx="36">
                  <c:v>0.32555307091429425</c:v>
                </c:pt>
                <c:pt idx="37">
                  <c:v>0.32559178361838714</c:v>
                </c:pt>
                <c:pt idx="38">
                  <c:v>0.32657401961517218</c:v>
                </c:pt>
                <c:pt idx="39">
                  <c:v>0.32532041323043065</c:v>
                </c:pt>
                <c:pt idx="40">
                  <c:v>0.3290722964130588</c:v>
                </c:pt>
                <c:pt idx="41">
                  <c:v>0.3331214123461701</c:v>
                </c:pt>
                <c:pt idx="42">
                  <c:v>0.32959864622647056</c:v>
                </c:pt>
                <c:pt idx="43">
                  <c:v>0.32947645040800999</c:v>
                </c:pt>
                <c:pt idx="44">
                  <c:v>0.32994602909671505</c:v>
                </c:pt>
                <c:pt idx="45">
                  <c:v>0.3282590454521464</c:v>
                </c:pt>
                <c:pt idx="46">
                  <c:v>0.32777701726003916</c:v>
                </c:pt>
                <c:pt idx="47">
                  <c:v>0.32622577746591663</c:v>
                </c:pt>
                <c:pt idx="48">
                  <c:v>0.32673027825541007</c:v>
                </c:pt>
                <c:pt idx="49">
                  <c:v>0.31957724870501708</c:v>
                </c:pt>
                <c:pt idx="50">
                  <c:v>0.31927425398422743</c:v>
                </c:pt>
                <c:pt idx="51">
                  <c:v>0.31698074500556667</c:v>
                </c:pt>
                <c:pt idx="52">
                  <c:v>0.31619303315381342</c:v>
                </c:pt>
                <c:pt idx="53">
                  <c:v>0.31868173413186457</c:v>
                </c:pt>
                <c:pt idx="54">
                  <c:v>0.31817044829889612</c:v>
                </c:pt>
                <c:pt idx="55">
                  <c:v>0.31798894640755265</c:v>
                </c:pt>
                <c:pt idx="56">
                  <c:v>0.31932948757236529</c:v>
                </c:pt>
                <c:pt idx="57">
                  <c:v>0.31929735853683672</c:v>
                </c:pt>
                <c:pt idx="58">
                  <c:v>0.3195858841975544</c:v>
                </c:pt>
                <c:pt idx="59">
                  <c:v>0.31920504371856251</c:v>
                </c:pt>
                <c:pt idx="60">
                  <c:v>0.31843514025905206</c:v>
                </c:pt>
                <c:pt idx="61">
                  <c:v>0.31931492946075934</c:v>
                </c:pt>
                <c:pt idx="62">
                  <c:v>0.31677238803332108</c:v>
                </c:pt>
                <c:pt idx="63">
                  <c:v>0.31782912054843537</c:v>
                </c:pt>
                <c:pt idx="64">
                  <c:v>0.31779817920915082</c:v>
                </c:pt>
                <c:pt idx="65">
                  <c:v>0.31691172020208119</c:v>
                </c:pt>
                <c:pt idx="66">
                  <c:v>0.31638947145029933</c:v>
                </c:pt>
                <c:pt idx="67">
                  <c:v>0.3169899821573387</c:v>
                </c:pt>
                <c:pt idx="68">
                  <c:v>0.31706797358655564</c:v>
                </c:pt>
                <c:pt idx="69">
                  <c:v>0.31678872790975288</c:v>
                </c:pt>
                <c:pt idx="70">
                  <c:v>0.31666650564757837</c:v>
                </c:pt>
                <c:pt idx="71">
                  <c:v>0.31692865995641917</c:v>
                </c:pt>
                <c:pt idx="72">
                  <c:v>0.31706819398610386</c:v>
                </c:pt>
                <c:pt idx="73">
                  <c:v>0.31683899402603138</c:v>
                </c:pt>
                <c:pt idx="74">
                  <c:v>0.31076526318628783</c:v>
                </c:pt>
                <c:pt idx="75">
                  <c:v>0.3111095486434724</c:v>
                </c:pt>
                <c:pt idx="76">
                  <c:v>0.31373589873872337</c:v>
                </c:pt>
                <c:pt idx="77">
                  <c:v>0.31387631256477039</c:v>
                </c:pt>
                <c:pt idx="78">
                  <c:v>0.31408748917020302</c:v>
                </c:pt>
                <c:pt idx="79">
                  <c:v>0.31397189661741831</c:v>
                </c:pt>
                <c:pt idx="80">
                  <c:v>0.31473841924974605</c:v>
                </c:pt>
                <c:pt idx="81">
                  <c:v>0.31532708678079718</c:v>
                </c:pt>
                <c:pt idx="82">
                  <c:v>0.31524270940111698</c:v>
                </c:pt>
                <c:pt idx="83">
                  <c:v>0.31462184678103428</c:v>
                </c:pt>
                <c:pt idx="84">
                  <c:v>0.31754537609514183</c:v>
                </c:pt>
                <c:pt idx="85">
                  <c:v>0.31681675037575308</c:v>
                </c:pt>
                <c:pt idx="86">
                  <c:v>0.31656924233552164</c:v>
                </c:pt>
                <c:pt idx="87">
                  <c:v>0.31675725218463702</c:v>
                </c:pt>
                <c:pt idx="88">
                  <c:v>0.31685837529069011</c:v>
                </c:pt>
                <c:pt idx="89">
                  <c:v>0.3136079544583395</c:v>
                </c:pt>
                <c:pt idx="90">
                  <c:v>0.31415127108850976</c:v>
                </c:pt>
                <c:pt idx="91">
                  <c:v>0.31399679945259584</c:v>
                </c:pt>
                <c:pt idx="92">
                  <c:v>0.31664312750009888</c:v>
                </c:pt>
                <c:pt idx="93">
                  <c:v>0.31421561863624969</c:v>
                </c:pt>
                <c:pt idx="94">
                  <c:v>0.31265738261962617</c:v>
                </c:pt>
                <c:pt idx="95">
                  <c:v>0.31167185259568159</c:v>
                </c:pt>
                <c:pt idx="96">
                  <c:v>0.31519701051363436</c:v>
                </c:pt>
                <c:pt idx="97">
                  <c:v>0.31642554272301887</c:v>
                </c:pt>
                <c:pt idx="98">
                  <c:v>0.31700768502877485</c:v>
                </c:pt>
                <c:pt idx="99">
                  <c:v>0.31265855840207096</c:v>
                </c:pt>
                <c:pt idx="100">
                  <c:v>0.31282880024824306</c:v>
                </c:pt>
                <c:pt idx="101">
                  <c:v>0.31169415351139512</c:v>
                </c:pt>
                <c:pt idx="102">
                  <c:v>0.31135946659403912</c:v>
                </c:pt>
                <c:pt idx="103">
                  <c:v>0.3129900790803703</c:v>
                </c:pt>
                <c:pt idx="104">
                  <c:v>0.31341064202252505</c:v>
                </c:pt>
                <c:pt idx="105">
                  <c:v>0.31450261732008378</c:v>
                </c:pt>
                <c:pt idx="106">
                  <c:v>0.31475952032974752</c:v>
                </c:pt>
                <c:pt idx="107">
                  <c:v>0.3112190758782063</c:v>
                </c:pt>
                <c:pt idx="108">
                  <c:v>0.30942381258729312</c:v>
                </c:pt>
                <c:pt idx="109">
                  <c:v>0.3076501277692622</c:v>
                </c:pt>
                <c:pt idx="110">
                  <c:v>0.30821597786256433</c:v>
                </c:pt>
                <c:pt idx="111">
                  <c:v>0.3103624206566884</c:v>
                </c:pt>
                <c:pt idx="112">
                  <c:v>0.31132055948024057</c:v>
                </c:pt>
                <c:pt idx="113">
                  <c:v>0.30919542489629931</c:v>
                </c:pt>
                <c:pt idx="114">
                  <c:v>0.30807569088040859</c:v>
                </c:pt>
                <c:pt idx="115">
                  <c:v>0.30946664341731028</c:v>
                </c:pt>
                <c:pt idx="116">
                  <c:v>0.31171929420483491</c:v>
                </c:pt>
                <c:pt idx="117">
                  <c:v>0.31062682135054648</c:v>
                </c:pt>
                <c:pt idx="118">
                  <c:v>0.30973772215558704</c:v>
                </c:pt>
                <c:pt idx="119">
                  <c:v>0.31164264481706277</c:v>
                </c:pt>
                <c:pt idx="120">
                  <c:v>0.31102656119261296</c:v>
                </c:pt>
                <c:pt idx="121">
                  <c:v>0.31366542208220483</c:v>
                </c:pt>
                <c:pt idx="122">
                  <c:v>0.31500594576587043</c:v>
                </c:pt>
                <c:pt idx="123">
                  <c:v>0.3148838964621743</c:v>
                </c:pt>
                <c:pt idx="124">
                  <c:v>0.31875442975604867</c:v>
                </c:pt>
                <c:pt idx="125">
                  <c:v>0.3202250260823738</c:v>
                </c:pt>
                <c:pt idx="126">
                  <c:v>0.31840762457365046</c:v>
                </c:pt>
                <c:pt idx="127">
                  <c:v>0.31840489747350076</c:v>
                </c:pt>
                <c:pt idx="128">
                  <c:v>0.32190889651087323</c:v>
                </c:pt>
                <c:pt idx="129">
                  <c:v>0.32083231948758401</c:v>
                </c:pt>
                <c:pt idx="130">
                  <c:v>0.32085369000506342</c:v>
                </c:pt>
                <c:pt idx="131">
                  <c:v>0.32124219453040981</c:v>
                </c:pt>
                <c:pt idx="132">
                  <c:v>0.31971479371960354</c:v>
                </c:pt>
                <c:pt idx="133">
                  <c:v>0.31998644398506987</c:v>
                </c:pt>
                <c:pt idx="134">
                  <c:v>0.31992808357947677</c:v>
                </c:pt>
                <c:pt idx="135">
                  <c:v>0.32033410907205989</c:v>
                </c:pt>
                <c:pt idx="136">
                  <c:v>0.32053181552972188</c:v>
                </c:pt>
                <c:pt idx="137">
                  <c:v>0.32061375319499835</c:v>
                </c:pt>
                <c:pt idx="138">
                  <c:v>0.32008780832801154</c:v>
                </c:pt>
                <c:pt idx="139">
                  <c:v>0.32061960953022189</c:v>
                </c:pt>
                <c:pt idx="140">
                  <c:v>0.32017759678211716</c:v>
                </c:pt>
                <c:pt idx="141">
                  <c:v>0.320411683880168</c:v>
                </c:pt>
                <c:pt idx="142">
                  <c:v>0.32144354348028398</c:v>
                </c:pt>
                <c:pt idx="143">
                  <c:v>0.32167855072879836</c:v>
                </c:pt>
                <c:pt idx="144">
                  <c:v>0.32177234290571843</c:v>
                </c:pt>
                <c:pt idx="145">
                  <c:v>0.32187107214778526</c:v>
                </c:pt>
                <c:pt idx="146">
                  <c:v>0.32206857822974527</c:v>
                </c:pt>
                <c:pt idx="147">
                  <c:v>0.32214193728416474</c:v>
                </c:pt>
                <c:pt idx="148">
                  <c:v>0.32327605054085407</c:v>
                </c:pt>
                <c:pt idx="149">
                  <c:v>0.32420066623632071</c:v>
                </c:pt>
                <c:pt idx="150">
                  <c:v>0.32529019041835444</c:v>
                </c:pt>
                <c:pt idx="151">
                  <c:v>0.3250361189372471</c:v>
                </c:pt>
                <c:pt idx="152">
                  <c:v>0.32499811243377785</c:v>
                </c:pt>
                <c:pt idx="153">
                  <c:v>0.32633672337058239</c:v>
                </c:pt>
                <c:pt idx="154">
                  <c:v>0.32661563945181876</c:v>
                </c:pt>
                <c:pt idx="155">
                  <c:v>0.32621217481056886</c:v>
                </c:pt>
                <c:pt idx="156">
                  <c:v>0.32739170298989878</c:v>
                </c:pt>
                <c:pt idx="157">
                  <c:v>0.3261503127854794</c:v>
                </c:pt>
                <c:pt idx="158">
                  <c:v>0.32687421869888067</c:v>
                </c:pt>
                <c:pt idx="159">
                  <c:v>0.32728259378217783</c:v>
                </c:pt>
                <c:pt idx="160">
                  <c:v>0.32397219757253221</c:v>
                </c:pt>
                <c:pt idx="161">
                  <c:v>0.32692693038130038</c:v>
                </c:pt>
                <c:pt idx="162">
                  <c:v>0.33181403205767557</c:v>
                </c:pt>
                <c:pt idx="163">
                  <c:v>0.33107580433419681</c:v>
                </c:pt>
                <c:pt idx="164">
                  <c:v>0.33140738628931099</c:v>
                </c:pt>
                <c:pt idx="165">
                  <c:v>0.33175797601122209</c:v>
                </c:pt>
                <c:pt idx="166">
                  <c:v>0.33258843215274314</c:v>
                </c:pt>
                <c:pt idx="167">
                  <c:v>0.33399841892170995</c:v>
                </c:pt>
                <c:pt idx="168">
                  <c:v>0.33248570532131855</c:v>
                </c:pt>
                <c:pt idx="169">
                  <c:v>0.33273985549699459</c:v>
                </c:pt>
                <c:pt idx="170">
                  <c:v>0.33321392625682655</c:v>
                </c:pt>
                <c:pt idx="171">
                  <c:v>0.33405796351030226</c:v>
                </c:pt>
                <c:pt idx="172">
                  <c:v>0.3325834995523716</c:v>
                </c:pt>
                <c:pt idx="173">
                  <c:v>0.33237377792976747</c:v>
                </c:pt>
                <c:pt idx="174">
                  <c:v>0.33209100852979179</c:v>
                </c:pt>
                <c:pt idx="175">
                  <c:v>0.33194243088129199</c:v>
                </c:pt>
                <c:pt idx="176">
                  <c:v>0.33253162742907028</c:v>
                </c:pt>
                <c:pt idx="177">
                  <c:v>0.3327537879761705</c:v>
                </c:pt>
                <c:pt idx="178">
                  <c:v>0.33135091946883621</c:v>
                </c:pt>
                <c:pt idx="179">
                  <c:v>0.33126701212124615</c:v>
                </c:pt>
                <c:pt idx="180">
                  <c:v>0.32979557300552526</c:v>
                </c:pt>
                <c:pt idx="181">
                  <c:v>0.32997283739038485</c:v>
                </c:pt>
                <c:pt idx="182">
                  <c:v>0.32985155779254866</c:v>
                </c:pt>
                <c:pt idx="183">
                  <c:v>0.33028772623778391</c:v>
                </c:pt>
                <c:pt idx="184">
                  <c:v>0.33074675063710929</c:v>
                </c:pt>
                <c:pt idx="185">
                  <c:v>0.33127067044617725</c:v>
                </c:pt>
                <c:pt idx="186">
                  <c:v>0.33164418727155953</c:v>
                </c:pt>
                <c:pt idx="187">
                  <c:v>0.33165731635142892</c:v>
                </c:pt>
                <c:pt idx="188">
                  <c:v>0.33144774188849663</c:v>
                </c:pt>
                <c:pt idx="189">
                  <c:v>0.32976606972469197</c:v>
                </c:pt>
                <c:pt idx="190">
                  <c:v>0.32924929705627171</c:v>
                </c:pt>
                <c:pt idx="191">
                  <c:v>0.33144473263766611</c:v>
                </c:pt>
                <c:pt idx="192">
                  <c:v>0.33139440251222119</c:v>
                </c:pt>
                <c:pt idx="193">
                  <c:v>0.3304708309832094</c:v>
                </c:pt>
                <c:pt idx="194">
                  <c:v>0.33047213432762662</c:v>
                </c:pt>
                <c:pt idx="195">
                  <c:v>0.33304188775997556</c:v>
                </c:pt>
                <c:pt idx="196">
                  <c:v>0.33137717184861748</c:v>
                </c:pt>
                <c:pt idx="197">
                  <c:v>0.33069044945299531</c:v>
                </c:pt>
                <c:pt idx="198">
                  <c:v>0.3308288819369814</c:v>
                </c:pt>
                <c:pt idx="199">
                  <c:v>0.33131678743685217</c:v>
                </c:pt>
                <c:pt idx="200">
                  <c:v>0.33135587762694313</c:v>
                </c:pt>
                <c:pt idx="201">
                  <c:v>0.3306812827461274</c:v>
                </c:pt>
                <c:pt idx="202">
                  <c:v>0.33220623618812356</c:v>
                </c:pt>
                <c:pt idx="203">
                  <c:v>0.33498294534656947</c:v>
                </c:pt>
                <c:pt idx="204">
                  <c:v>0.33595432300029909</c:v>
                </c:pt>
                <c:pt idx="205">
                  <c:v>0.3359071069000516</c:v>
                </c:pt>
                <c:pt idx="206">
                  <c:v>0.33589718885440989</c:v>
                </c:pt>
                <c:pt idx="207">
                  <c:v>0.33604953161595635</c:v>
                </c:pt>
                <c:pt idx="208">
                  <c:v>0.33619796344568237</c:v>
                </c:pt>
                <c:pt idx="209">
                  <c:v>0.33668745597102273</c:v>
                </c:pt>
                <c:pt idx="210">
                  <c:v>0.33534715150617972</c:v>
                </c:pt>
                <c:pt idx="211">
                  <c:v>0.3358108853356655</c:v>
                </c:pt>
                <c:pt idx="212">
                  <c:v>0.33586824852557301</c:v>
                </c:pt>
                <c:pt idx="213">
                  <c:v>0.33604468763443374</c:v>
                </c:pt>
                <c:pt idx="214">
                  <c:v>0.33592442061888522</c:v>
                </c:pt>
                <c:pt idx="215">
                  <c:v>0.33578792932821244</c:v>
                </c:pt>
                <c:pt idx="216">
                  <c:v>0.33589127336261765</c:v>
                </c:pt>
                <c:pt idx="217">
                  <c:v>0.33652358616052602</c:v>
                </c:pt>
                <c:pt idx="218">
                  <c:v>0.33553666464237364</c:v>
                </c:pt>
                <c:pt idx="219">
                  <c:v>0.33566171407968681</c:v>
                </c:pt>
                <c:pt idx="220">
                  <c:v>0.33573553572710885</c:v>
                </c:pt>
                <c:pt idx="221">
                  <c:v>0.33511151135998907</c:v>
                </c:pt>
                <c:pt idx="222">
                  <c:v>0.33535872829976709</c:v>
                </c:pt>
                <c:pt idx="223">
                  <c:v>0.33516997512603458</c:v>
                </c:pt>
                <c:pt idx="224">
                  <c:v>0.33582583436774233</c:v>
                </c:pt>
                <c:pt idx="225">
                  <c:v>0.33573709795147361</c:v>
                </c:pt>
                <c:pt idx="226">
                  <c:v>0.33607323038733022</c:v>
                </c:pt>
                <c:pt idx="227">
                  <c:v>0.33593200240966592</c:v>
                </c:pt>
                <c:pt idx="228">
                  <c:v>0.33573122613164497</c:v>
                </c:pt>
                <c:pt idx="229">
                  <c:v>0.33579639900068037</c:v>
                </c:pt>
                <c:pt idx="230">
                  <c:v>0.33654864030000925</c:v>
                </c:pt>
                <c:pt idx="231">
                  <c:v>0.3366059819183107</c:v>
                </c:pt>
                <c:pt idx="232">
                  <c:v>0.33609052167329145</c:v>
                </c:pt>
                <c:pt idx="233">
                  <c:v>0.33681237545853104</c:v>
                </c:pt>
                <c:pt idx="234">
                  <c:v>0.33652572730616759</c:v>
                </c:pt>
                <c:pt idx="235">
                  <c:v>0.33666530850301341</c:v>
                </c:pt>
                <c:pt idx="236">
                  <c:v>0.33593283714812683</c:v>
                </c:pt>
                <c:pt idx="237">
                  <c:v>0.33680201525564785</c:v>
                </c:pt>
                <c:pt idx="238">
                  <c:v>0.33684871499025332</c:v>
                </c:pt>
                <c:pt idx="239">
                  <c:v>0.33730574402999147</c:v>
                </c:pt>
                <c:pt idx="240">
                  <c:v>0.33758376404658325</c:v>
                </c:pt>
                <c:pt idx="241">
                  <c:v>0.33838055590020699</c:v>
                </c:pt>
                <c:pt idx="242">
                  <c:v>0.33889111107744707</c:v>
                </c:pt>
                <c:pt idx="243">
                  <c:v>0.34150737019945721</c:v>
                </c:pt>
                <c:pt idx="244">
                  <c:v>0.34118468220368547</c:v>
                </c:pt>
                <c:pt idx="245">
                  <c:v>0.34063017197737</c:v>
                </c:pt>
                <c:pt idx="246">
                  <c:v>0.33987181041339887</c:v>
                </c:pt>
                <c:pt idx="247">
                  <c:v>0.33960534223954375</c:v>
                </c:pt>
                <c:pt idx="248">
                  <c:v>0.34056080120041676</c:v>
                </c:pt>
                <c:pt idx="249">
                  <c:v>0.34064290221609056</c:v>
                </c:pt>
                <c:pt idx="250">
                  <c:v>0.34077132424408779</c:v>
                </c:pt>
                <c:pt idx="251">
                  <c:v>0.33903911745889431</c:v>
                </c:pt>
                <c:pt idx="252">
                  <c:v>0.33821603676679701</c:v>
                </c:pt>
                <c:pt idx="253">
                  <c:v>0.33886763291006111</c:v>
                </c:pt>
                <c:pt idx="254">
                  <c:v>0.33961368758758381</c:v>
                </c:pt>
                <c:pt idx="255">
                  <c:v>0.33988780535051411</c:v>
                </c:pt>
                <c:pt idx="256">
                  <c:v>0.34107354654058453</c:v>
                </c:pt>
                <c:pt idx="257">
                  <c:v>0.34610856856151739</c:v>
                </c:pt>
                <c:pt idx="258">
                  <c:v>0.34636762381074787</c:v>
                </c:pt>
                <c:pt idx="259">
                  <c:v>0.34640909772014378</c:v>
                </c:pt>
                <c:pt idx="260">
                  <c:v>0.34645673468105753</c:v>
                </c:pt>
                <c:pt idx="261">
                  <c:v>0.34638367635271405</c:v>
                </c:pt>
                <c:pt idx="262">
                  <c:v>0.34558965176733419</c:v>
                </c:pt>
                <c:pt idx="263">
                  <c:v>0.34554358253360107</c:v>
                </c:pt>
                <c:pt idx="264">
                  <c:v>0.34535353308275613</c:v>
                </c:pt>
                <c:pt idx="265">
                  <c:v>0.34524967656595396</c:v>
                </c:pt>
                <c:pt idx="266">
                  <c:v>0.34456447634622916</c:v>
                </c:pt>
                <c:pt idx="267">
                  <c:v>0.34439949692972305</c:v>
                </c:pt>
                <c:pt idx="268">
                  <c:v>0.34443952726590682</c:v>
                </c:pt>
                <c:pt idx="269">
                  <c:v>0.34468747574505793</c:v>
                </c:pt>
                <c:pt idx="270">
                  <c:v>0.34388616078127843</c:v>
                </c:pt>
                <c:pt idx="271">
                  <c:v>0.34288210442289385</c:v>
                </c:pt>
                <c:pt idx="272">
                  <c:v>0.34324081965354963</c:v>
                </c:pt>
                <c:pt idx="273">
                  <c:v>0.34338347641845546</c:v>
                </c:pt>
                <c:pt idx="274">
                  <c:v>0.34340992211690874</c:v>
                </c:pt>
                <c:pt idx="275">
                  <c:v>0.34444474642683393</c:v>
                </c:pt>
                <c:pt idx="276">
                  <c:v>0.34423109706507971</c:v>
                </c:pt>
                <c:pt idx="277">
                  <c:v>0.34465777074709036</c:v>
                </c:pt>
                <c:pt idx="278">
                  <c:v>0.34362891785590954</c:v>
                </c:pt>
                <c:pt idx="279">
                  <c:v>0.3425199933205485</c:v>
                </c:pt>
                <c:pt idx="280">
                  <c:v>0.34227917719740336</c:v>
                </c:pt>
                <c:pt idx="281">
                  <c:v>0.34264319204873595</c:v>
                </c:pt>
                <c:pt idx="282">
                  <c:v>0.34288050149483951</c:v>
                </c:pt>
                <c:pt idx="283">
                  <c:v>0.34212561791599289</c:v>
                </c:pt>
                <c:pt idx="284">
                  <c:v>0.34110647135946426</c:v>
                </c:pt>
                <c:pt idx="285">
                  <c:v>0.34066569680336323</c:v>
                </c:pt>
                <c:pt idx="286">
                  <c:v>0.3407626813786227</c:v>
                </c:pt>
                <c:pt idx="287">
                  <c:v>0.34075665600414484</c:v>
                </c:pt>
                <c:pt idx="288">
                  <c:v>0.3409573108049947</c:v>
                </c:pt>
                <c:pt idx="289">
                  <c:v>0.34097505634427161</c:v>
                </c:pt>
                <c:pt idx="290">
                  <c:v>0.34024174687240599</c:v>
                </c:pt>
                <c:pt idx="291">
                  <c:v>0.3399356576097981</c:v>
                </c:pt>
                <c:pt idx="292">
                  <c:v>0.34013041423782159</c:v>
                </c:pt>
                <c:pt idx="293">
                  <c:v>0.33912687207802517</c:v>
                </c:pt>
                <c:pt idx="294">
                  <c:v>0.33862691168805931</c:v>
                </c:pt>
                <c:pt idx="295">
                  <c:v>0.33877043290799569</c:v>
                </c:pt>
                <c:pt idx="296">
                  <c:v>0.33898735375145111</c:v>
                </c:pt>
                <c:pt idx="297">
                  <c:v>0.33935159763622935</c:v>
                </c:pt>
                <c:pt idx="298">
                  <c:v>0.33959846137335614</c:v>
                </c:pt>
                <c:pt idx="299">
                  <c:v>0.33962852540676269</c:v>
                </c:pt>
                <c:pt idx="300">
                  <c:v>0.33951566114760856</c:v>
                </c:pt>
                <c:pt idx="301">
                  <c:v>0.33935843753485556</c:v>
                </c:pt>
                <c:pt idx="302">
                  <c:v>0.33942020283149621</c:v>
                </c:pt>
                <c:pt idx="303">
                  <c:v>0.33960255475698897</c:v>
                </c:pt>
                <c:pt idx="304">
                  <c:v>0.33945776934318472</c:v>
                </c:pt>
                <c:pt idx="305">
                  <c:v>0.33911921041676385</c:v>
                </c:pt>
                <c:pt idx="306">
                  <c:v>0.34024213295546663</c:v>
                </c:pt>
                <c:pt idx="307">
                  <c:v>0.34040283254865311</c:v>
                </c:pt>
                <c:pt idx="308">
                  <c:v>0.34025360335529364</c:v>
                </c:pt>
                <c:pt idx="309">
                  <c:v>0.34004444847099285</c:v>
                </c:pt>
                <c:pt idx="310">
                  <c:v>0.34028282445221858</c:v>
                </c:pt>
                <c:pt idx="311">
                  <c:v>0.34060668152005635</c:v>
                </c:pt>
                <c:pt idx="312">
                  <c:v>0.3416739964447939</c:v>
                </c:pt>
                <c:pt idx="313">
                  <c:v>0.34161039072001848</c:v>
                </c:pt>
                <c:pt idx="314">
                  <c:v>0.34154589864264923</c:v>
                </c:pt>
                <c:pt idx="315">
                  <c:v>0.34149157038133815</c:v>
                </c:pt>
                <c:pt idx="316">
                  <c:v>0.34125479177739371</c:v>
                </c:pt>
                <c:pt idx="317">
                  <c:v>0.34127419148623006</c:v>
                </c:pt>
                <c:pt idx="318">
                  <c:v>0.34128564962553798</c:v>
                </c:pt>
                <c:pt idx="319">
                  <c:v>0.34196111272684621</c:v>
                </c:pt>
                <c:pt idx="320">
                  <c:v>0.34177609865605529</c:v>
                </c:pt>
                <c:pt idx="321">
                  <c:v>0.34129652757679318</c:v>
                </c:pt>
                <c:pt idx="322">
                  <c:v>0.3415901282862433</c:v>
                </c:pt>
                <c:pt idx="323">
                  <c:v>0.34192474686026736</c:v>
                </c:pt>
                <c:pt idx="324">
                  <c:v>0.34186046888904137</c:v>
                </c:pt>
                <c:pt idx="325">
                  <c:v>0.34214501422893939</c:v>
                </c:pt>
                <c:pt idx="326">
                  <c:v>0.34875163378592261</c:v>
                </c:pt>
                <c:pt idx="327">
                  <c:v>0.34867000211300681</c:v>
                </c:pt>
                <c:pt idx="328">
                  <c:v>0.3521965466307731</c:v>
                </c:pt>
                <c:pt idx="329">
                  <c:v>0.35215546275189269</c:v>
                </c:pt>
                <c:pt idx="330">
                  <c:v>0.35193296658574158</c:v>
                </c:pt>
                <c:pt idx="331">
                  <c:v>0.35118079873062552</c:v>
                </c:pt>
                <c:pt idx="332">
                  <c:v>0.35060974862321947</c:v>
                </c:pt>
                <c:pt idx="333">
                  <c:v>0.35025454148576407</c:v>
                </c:pt>
                <c:pt idx="334">
                  <c:v>0.35017345846403192</c:v>
                </c:pt>
                <c:pt idx="335">
                  <c:v>0.35129513797883144</c:v>
                </c:pt>
                <c:pt idx="336">
                  <c:v>0.35090918955676714</c:v>
                </c:pt>
                <c:pt idx="337">
                  <c:v>0.35209383391187715</c:v>
                </c:pt>
                <c:pt idx="338">
                  <c:v>0.35115072057057695</c:v>
                </c:pt>
                <c:pt idx="339">
                  <c:v>0.3515233664806543</c:v>
                </c:pt>
                <c:pt idx="340">
                  <c:v>0.35160391138728231</c:v>
                </c:pt>
                <c:pt idx="341">
                  <c:v>0.35504183084531288</c:v>
                </c:pt>
                <c:pt idx="342">
                  <c:v>0.35407977947449321</c:v>
                </c:pt>
                <c:pt idx="343">
                  <c:v>0.3542645839945685</c:v>
                </c:pt>
                <c:pt idx="344">
                  <c:v>0.3514996621649813</c:v>
                </c:pt>
                <c:pt idx="345">
                  <c:v>0.35324290296717537</c:v>
                </c:pt>
                <c:pt idx="346">
                  <c:v>0.35788393602479351</c:v>
                </c:pt>
                <c:pt idx="347">
                  <c:v>0.35783503602461525</c:v>
                </c:pt>
                <c:pt idx="348">
                  <c:v>0.35469821268229573</c:v>
                </c:pt>
                <c:pt idx="349">
                  <c:v>0.35467746539564465</c:v>
                </c:pt>
                <c:pt idx="350">
                  <c:v>0.35358681133875924</c:v>
                </c:pt>
                <c:pt idx="351">
                  <c:v>0.36649731195004226</c:v>
                </c:pt>
                <c:pt idx="352">
                  <c:v>0.36468016629796707</c:v>
                </c:pt>
                <c:pt idx="353">
                  <c:v>0.37018077509808472</c:v>
                </c:pt>
                <c:pt idx="354">
                  <c:v>0.36877283912045461</c:v>
                </c:pt>
                <c:pt idx="355">
                  <c:v>0.3661720568770846</c:v>
                </c:pt>
                <c:pt idx="356">
                  <c:v>0.36542674415797793</c:v>
                </c:pt>
                <c:pt idx="357">
                  <c:v>0.36460020350861583</c:v>
                </c:pt>
                <c:pt idx="358">
                  <c:v>0.36198952253978889</c:v>
                </c:pt>
                <c:pt idx="359">
                  <c:v>0.35970467225781388</c:v>
                </c:pt>
                <c:pt idx="360">
                  <c:v>0.3606714659690326</c:v>
                </c:pt>
                <c:pt idx="361">
                  <c:v>0.36400363296803845</c:v>
                </c:pt>
                <c:pt idx="362">
                  <c:v>0.36339009642559666</c:v>
                </c:pt>
                <c:pt idx="363">
                  <c:v>0.36073959314429188</c:v>
                </c:pt>
                <c:pt idx="364">
                  <c:v>0.35696893089307768</c:v>
                </c:pt>
                <c:pt idx="365">
                  <c:v>0.36244836095085742</c:v>
                </c:pt>
                <c:pt idx="366">
                  <c:v>0.36357552943396304</c:v>
                </c:pt>
                <c:pt idx="367">
                  <c:v>0.36317727037199521</c:v>
                </c:pt>
                <c:pt idx="368">
                  <c:v>0.36447114735274017</c:v>
                </c:pt>
                <c:pt idx="369">
                  <c:v>0.36759059256226634</c:v>
                </c:pt>
                <c:pt idx="370">
                  <c:v>0.36734250406331548</c:v>
                </c:pt>
                <c:pt idx="371">
                  <c:v>0.36639329012722044</c:v>
                </c:pt>
                <c:pt idx="372">
                  <c:v>0.36666494732646848</c:v>
                </c:pt>
                <c:pt idx="373">
                  <c:v>0.3618272723524989</c:v>
                </c:pt>
                <c:pt idx="374">
                  <c:v>0.36024801647727134</c:v>
                </c:pt>
                <c:pt idx="375">
                  <c:v>0.36170481086568995</c:v>
                </c:pt>
                <c:pt idx="376">
                  <c:v>0.35969456573316849</c:v>
                </c:pt>
                <c:pt idx="377">
                  <c:v>0.35944860987757199</c:v>
                </c:pt>
                <c:pt idx="378">
                  <c:v>0.35350146491379891</c:v>
                </c:pt>
                <c:pt idx="379">
                  <c:v>0.35353040498745819</c:v>
                </c:pt>
                <c:pt idx="380">
                  <c:v>0.34519561240307328</c:v>
                </c:pt>
                <c:pt idx="381">
                  <c:v>0.34723931885448139</c:v>
                </c:pt>
                <c:pt idx="382">
                  <c:v>0.34553392419363999</c:v>
                </c:pt>
                <c:pt idx="383">
                  <c:v>0.34189241635223577</c:v>
                </c:pt>
                <c:pt idx="384">
                  <c:v>0.34209104375694244</c:v>
                </c:pt>
                <c:pt idx="385">
                  <c:v>0.34139316823981081</c:v>
                </c:pt>
                <c:pt idx="386">
                  <c:v>0.34072650327653836</c:v>
                </c:pt>
                <c:pt idx="387">
                  <c:v>0.34126870345556165</c:v>
                </c:pt>
                <c:pt idx="388">
                  <c:v>0.34101984055637835</c:v>
                </c:pt>
                <c:pt idx="389">
                  <c:v>0.34087690695192896</c:v>
                </c:pt>
                <c:pt idx="390">
                  <c:v>0.34128485572100525</c:v>
                </c:pt>
                <c:pt idx="391">
                  <c:v>0.34017748250766572</c:v>
                </c:pt>
                <c:pt idx="392">
                  <c:v>0.33742802094218027</c:v>
                </c:pt>
                <c:pt idx="393">
                  <c:v>0.33775334622662062</c:v>
                </c:pt>
                <c:pt idx="394">
                  <c:v>0.33673524420665774</c:v>
                </c:pt>
                <c:pt idx="395">
                  <c:v>0.3369973364354697</c:v>
                </c:pt>
                <c:pt idx="396">
                  <c:v>0.33663310700703503</c:v>
                </c:pt>
                <c:pt idx="397">
                  <c:v>0.3365943700086646</c:v>
                </c:pt>
                <c:pt idx="398">
                  <c:v>0.3362999374834465</c:v>
                </c:pt>
                <c:pt idx="399">
                  <c:v>0.33607393147673531</c:v>
                </c:pt>
                <c:pt idx="400">
                  <c:v>0.33518823688831584</c:v>
                </c:pt>
                <c:pt idx="401">
                  <c:v>0.33264619402699297</c:v>
                </c:pt>
                <c:pt idx="402">
                  <c:v>0.33149481333093078</c:v>
                </c:pt>
                <c:pt idx="403">
                  <c:v>0.33166011172730836</c:v>
                </c:pt>
                <c:pt idx="404">
                  <c:v>0.33181124914466203</c:v>
                </c:pt>
                <c:pt idx="405">
                  <c:v>0.32748302030797383</c:v>
                </c:pt>
                <c:pt idx="406">
                  <c:v>0.32755967703680838</c:v>
                </c:pt>
                <c:pt idx="407">
                  <c:v>0.32702444614943915</c:v>
                </c:pt>
                <c:pt idx="408">
                  <c:v>0.32391050215877398</c:v>
                </c:pt>
                <c:pt idx="409">
                  <c:v>0.32531542929239643</c:v>
                </c:pt>
                <c:pt idx="410">
                  <c:v>0.32351703246064967</c:v>
                </c:pt>
                <c:pt idx="411">
                  <c:v>0.32371702435292626</c:v>
                </c:pt>
                <c:pt idx="412">
                  <c:v>0.32891011846722412</c:v>
                </c:pt>
                <c:pt idx="413">
                  <c:v>0.32037136936453509</c:v>
                </c:pt>
                <c:pt idx="414">
                  <c:v>0.31553422604673143</c:v>
                </c:pt>
                <c:pt idx="415">
                  <c:v>0.30657666211370715</c:v>
                </c:pt>
                <c:pt idx="416">
                  <c:v>0.30548352972650561</c:v>
                </c:pt>
                <c:pt idx="417">
                  <c:v>0.30404378572953117</c:v>
                </c:pt>
                <c:pt idx="418">
                  <c:v>0.30181435234708254</c:v>
                </c:pt>
                <c:pt idx="419">
                  <c:v>0.2992128027395084</c:v>
                </c:pt>
                <c:pt idx="420">
                  <c:v>0.30229910978987967</c:v>
                </c:pt>
                <c:pt idx="421">
                  <c:v>0.30070932055378607</c:v>
                </c:pt>
                <c:pt idx="422">
                  <c:v>0.30099751663337226</c:v>
                </c:pt>
                <c:pt idx="423">
                  <c:v>0.30037266846001703</c:v>
                </c:pt>
                <c:pt idx="424">
                  <c:v>0.30207499674689825</c:v>
                </c:pt>
                <c:pt idx="425">
                  <c:v>0.30209089050310917</c:v>
                </c:pt>
                <c:pt idx="426">
                  <c:v>0.30208333895801459</c:v>
                </c:pt>
                <c:pt idx="427">
                  <c:v>0.30201951907416602</c:v>
                </c:pt>
                <c:pt idx="428">
                  <c:v>0.29960158000421178</c:v>
                </c:pt>
                <c:pt idx="429">
                  <c:v>0.29899209104524022</c:v>
                </c:pt>
                <c:pt idx="430">
                  <c:v>0.29980671595849778</c:v>
                </c:pt>
                <c:pt idx="431">
                  <c:v>0.30018454742477008</c:v>
                </c:pt>
                <c:pt idx="432">
                  <c:v>0.30219779916782513</c:v>
                </c:pt>
                <c:pt idx="433">
                  <c:v>0.3020491356297581</c:v>
                </c:pt>
                <c:pt idx="434">
                  <c:v>0.30301089594112868</c:v>
                </c:pt>
                <c:pt idx="435">
                  <c:v>0.30250609052364669</c:v>
                </c:pt>
                <c:pt idx="436">
                  <c:v>0.30110251399992954</c:v>
                </c:pt>
                <c:pt idx="437">
                  <c:v>0.29939298705136352</c:v>
                </c:pt>
                <c:pt idx="438">
                  <c:v>0.29936561719643645</c:v>
                </c:pt>
                <c:pt idx="439">
                  <c:v>0.29916745908879183</c:v>
                </c:pt>
                <c:pt idx="440">
                  <c:v>0.29925266804712347</c:v>
                </c:pt>
                <c:pt idx="441">
                  <c:v>0.29975393546915929</c:v>
                </c:pt>
                <c:pt idx="442">
                  <c:v>0.30076984638430238</c:v>
                </c:pt>
                <c:pt idx="443">
                  <c:v>0.29599460961399066</c:v>
                </c:pt>
                <c:pt idx="444">
                  <c:v>0.29536068440162178</c:v>
                </c:pt>
                <c:pt idx="445">
                  <c:v>0.29492353076586858</c:v>
                </c:pt>
                <c:pt idx="446">
                  <c:v>0.2947735173861315</c:v>
                </c:pt>
                <c:pt idx="447">
                  <c:v>0.28921674550531823</c:v>
                </c:pt>
                <c:pt idx="448">
                  <c:v>0.28883990162265677</c:v>
                </c:pt>
                <c:pt idx="449">
                  <c:v>0.28923148763269951</c:v>
                </c:pt>
                <c:pt idx="450">
                  <c:v>0.28860270367646929</c:v>
                </c:pt>
                <c:pt idx="451">
                  <c:v>0.28851273037188396</c:v>
                </c:pt>
                <c:pt idx="452">
                  <c:v>0.28936666151122048</c:v>
                </c:pt>
                <c:pt idx="453">
                  <c:v>0.28969426134361898</c:v>
                </c:pt>
                <c:pt idx="454">
                  <c:v>0.28719882398523616</c:v>
                </c:pt>
                <c:pt idx="455">
                  <c:v>0.28388655549362318</c:v>
                </c:pt>
                <c:pt idx="456">
                  <c:v>0.28152867928298281</c:v>
                </c:pt>
                <c:pt idx="457">
                  <c:v>0.28083223987638872</c:v>
                </c:pt>
                <c:pt idx="458">
                  <c:v>0.28086731565367001</c:v>
                </c:pt>
                <c:pt idx="459">
                  <c:v>0.28056914175238812</c:v>
                </c:pt>
                <c:pt idx="460">
                  <c:v>0.28004604910301079</c:v>
                </c:pt>
                <c:pt idx="461">
                  <c:v>0.27716142223906681</c:v>
                </c:pt>
                <c:pt idx="462">
                  <c:v>0.27749676231132908</c:v>
                </c:pt>
                <c:pt idx="463">
                  <c:v>0.27724974124173951</c:v>
                </c:pt>
                <c:pt idx="464">
                  <c:v>0.27792259471771363</c:v>
                </c:pt>
                <c:pt idx="465">
                  <c:v>0.27842091525561324</c:v>
                </c:pt>
                <c:pt idx="466">
                  <c:v>0.27845393953502046</c:v>
                </c:pt>
                <c:pt idx="467">
                  <c:v>0.27869094593240545</c:v>
                </c:pt>
                <c:pt idx="468">
                  <c:v>0.2781605457965125</c:v>
                </c:pt>
                <c:pt idx="469">
                  <c:v>0.2760623877935417</c:v>
                </c:pt>
                <c:pt idx="470">
                  <c:v>0.27621971674815815</c:v>
                </c:pt>
                <c:pt idx="471">
                  <c:v>0.27630527486227979</c:v>
                </c:pt>
                <c:pt idx="472">
                  <c:v>0.27594213540621237</c:v>
                </c:pt>
                <c:pt idx="473">
                  <c:v>0.27285820938830735</c:v>
                </c:pt>
                <c:pt idx="474">
                  <c:v>0.27165213941686928</c:v>
                </c:pt>
                <c:pt idx="475">
                  <c:v>0.26806564358737678</c:v>
                </c:pt>
                <c:pt idx="476">
                  <c:v>0.26744281069170317</c:v>
                </c:pt>
                <c:pt idx="477">
                  <c:v>0.26733496299134152</c:v>
                </c:pt>
                <c:pt idx="478">
                  <c:v>0.26709041011439044</c:v>
                </c:pt>
                <c:pt idx="479">
                  <c:v>0.26697713633518017</c:v>
                </c:pt>
                <c:pt idx="480">
                  <c:v>0.26027500306995471</c:v>
                </c:pt>
                <c:pt idx="481">
                  <c:v>0.25861741230878155</c:v>
                </c:pt>
                <c:pt idx="482">
                  <c:v>0.2544400561235915</c:v>
                </c:pt>
                <c:pt idx="483">
                  <c:v>0.25450758448666755</c:v>
                </c:pt>
                <c:pt idx="484">
                  <c:v>0.25266644189515092</c:v>
                </c:pt>
                <c:pt idx="485">
                  <c:v>0.25730481805128319</c:v>
                </c:pt>
                <c:pt idx="486">
                  <c:v>0.25904358886352885</c:v>
                </c:pt>
                <c:pt idx="487">
                  <c:v>0.26852142046432836</c:v>
                </c:pt>
                <c:pt idx="488">
                  <c:v>0.2673161820621594</c:v>
                </c:pt>
                <c:pt idx="489">
                  <c:v>0.26918341387470607</c:v>
                </c:pt>
                <c:pt idx="490">
                  <c:v>0.26904277902778867</c:v>
                </c:pt>
                <c:pt idx="491">
                  <c:v>0.27058874203305494</c:v>
                </c:pt>
                <c:pt idx="492">
                  <c:v>0.26994001542323753</c:v>
                </c:pt>
                <c:pt idx="493">
                  <c:v>0.27092070328703205</c:v>
                </c:pt>
                <c:pt idx="494">
                  <c:v>0.27051861485241413</c:v>
                </c:pt>
                <c:pt idx="495">
                  <c:v>0.26890684947689764</c:v>
                </c:pt>
                <c:pt idx="496">
                  <c:v>0.27003153286027221</c:v>
                </c:pt>
                <c:pt idx="497">
                  <c:v>0.27393690800335058</c:v>
                </c:pt>
                <c:pt idx="498">
                  <c:v>0.26866111997803976</c:v>
                </c:pt>
                <c:pt idx="499">
                  <c:v>0.26895888021940439</c:v>
                </c:pt>
                <c:pt idx="500">
                  <c:v>0.26828735190578917</c:v>
                </c:pt>
                <c:pt idx="501">
                  <c:v>0.26774455377665307</c:v>
                </c:pt>
                <c:pt idx="502">
                  <c:v>0.2692289845333205</c:v>
                </c:pt>
                <c:pt idx="503">
                  <c:v>0.26929361013267572</c:v>
                </c:pt>
                <c:pt idx="504">
                  <c:v>0.27135921790727785</c:v>
                </c:pt>
                <c:pt idx="505">
                  <c:v>0.27058710903774436</c:v>
                </c:pt>
                <c:pt idx="506">
                  <c:v>0.26934294091615202</c:v>
                </c:pt>
                <c:pt idx="507">
                  <c:v>0.27101407584892184</c:v>
                </c:pt>
                <c:pt idx="508">
                  <c:v>0.27153306306536851</c:v>
                </c:pt>
                <c:pt idx="509">
                  <c:v>0.27192944691247695</c:v>
                </c:pt>
                <c:pt idx="510">
                  <c:v>0.27155980141527464</c:v>
                </c:pt>
                <c:pt idx="511">
                  <c:v>0.27263681564746894</c:v>
                </c:pt>
                <c:pt idx="512">
                  <c:v>0.27215811109378552</c:v>
                </c:pt>
                <c:pt idx="513">
                  <c:v>0.27221207549577181</c:v>
                </c:pt>
                <c:pt idx="514">
                  <c:v>0.27280447330933894</c:v>
                </c:pt>
                <c:pt idx="515">
                  <c:v>0.27233842002721059</c:v>
                </c:pt>
                <c:pt idx="516">
                  <c:v>0.27257233958026933</c:v>
                </c:pt>
                <c:pt idx="517">
                  <c:v>0.2729956162669806</c:v>
                </c:pt>
                <c:pt idx="518">
                  <c:v>0.27364355063541773</c:v>
                </c:pt>
                <c:pt idx="519">
                  <c:v>0.27399949887551062</c:v>
                </c:pt>
                <c:pt idx="520">
                  <c:v>0.27389849929691634</c:v>
                </c:pt>
                <c:pt idx="521">
                  <c:v>0.2743910433232451</c:v>
                </c:pt>
                <c:pt idx="522">
                  <c:v>0.27435191577230117</c:v>
                </c:pt>
                <c:pt idx="523">
                  <c:v>0.2744901763167461</c:v>
                </c:pt>
                <c:pt idx="524">
                  <c:v>0.27709800805350238</c:v>
                </c:pt>
                <c:pt idx="525">
                  <c:v>0.27717622825631216</c:v>
                </c:pt>
                <c:pt idx="526">
                  <c:v>0.27645039508526548</c:v>
                </c:pt>
                <c:pt idx="527">
                  <c:v>0.27430164270628754</c:v>
                </c:pt>
                <c:pt idx="528">
                  <c:v>0.27487332640195405</c:v>
                </c:pt>
                <c:pt idx="529">
                  <c:v>0.27613332688296843</c:v>
                </c:pt>
                <c:pt idx="530">
                  <c:v>0.27618336243930752</c:v>
                </c:pt>
                <c:pt idx="531">
                  <c:v>0.27687277049186876</c:v>
                </c:pt>
                <c:pt idx="532">
                  <c:v>0.27721112887710397</c:v>
                </c:pt>
                <c:pt idx="533">
                  <c:v>0.27736220015963087</c:v>
                </c:pt>
                <c:pt idx="534">
                  <c:v>0.27749998744267035</c:v>
                </c:pt>
                <c:pt idx="535">
                  <c:v>0.27825868964489087</c:v>
                </c:pt>
                <c:pt idx="536">
                  <c:v>0.27906179883115895</c:v>
                </c:pt>
                <c:pt idx="537">
                  <c:v>0.27956212980207107</c:v>
                </c:pt>
                <c:pt idx="538">
                  <c:v>0.28023234433138228</c:v>
                </c:pt>
                <c:pt idx="539">
                  <c:v>0.27951763912927763</c:v>
                </c:pt>
                <c:pt idx="540">
                  <c:v>0.28025294547096397</c:v>
                </c:pt>
                <c:pt idx="541">
                  <c:v>0.28019197821699277</c:v>
                </c:pt>
                <c:pt idx="542">
                  <c:v>0.28067786611866374</c:v>
                </c:pt>
                <c:pt idx="543">
                  <c:v>0.28057252439554237</c:v>
                </c:pt>
                <c:pt idx="544">
                  <c:v>0.27970700120088493</c:v>
                </c:pt>
                <c:pt idx="545">
                  <c:v>0.27958516164297054</c:v>
                </c:pt>
                <c:pt idx="546">
                  <c:v>0.27945376230574653</c:v>
                </c:pt>
                <c:pt idx="547">
                  <c:v>0.28072075248488659</c:v>
                </c:pt>
                <c:pt idx="548">
                  <c:v>0.28070642527628126</c:v>
                </c:pt>
                <c:pt idx="549">
                  <c:v>0.28071833485529285</c:v>
                </c:pt>
                <c:pt idx="550">
                  <c:v>0.28067250895949253</c:v>
                </c:pt>
                <c:pt idx="551">
                  <c:v>0.28051742041655198</c:v>
                </c:pt>
                <c:pt idx="552">
                  <c:v>0.28005713222834905</c:v>
                </c:pt>
                <c:pt idx="553">
                  <c:v>0.28012341229728088</c:v>
                </c:pt>
                <c:pt idx="554">
                  <c:v>0.28158929442156361</c:v>
                </c:pt>
                <c:pt idx="555">
                  <c:v>0.28170548370312598</c:v>
                </c:pt>
                <c:pt idx="556">
                  <c:v>0.28201110116616362</c:v>
                </c:pt>
                <c:pt idx="557">
                  <c:v>0.28206355271466405</c:v>
                </c:pt>
                <c:pt idx="558">
                  <c:v>0.27979063387740633</c:v>
                </c:pt>
                <c:pt idx="559">
                  <c:v>0.28023008541307304</c:v>
                </c:pt>
                <c:pt idx="560">
                  <c:v>0.2806128681725355</c:v>
                </c:pt>
                <c:pt idx="561">
                  <c:v>0.2803870099715623</c:v>
                </c:pt>
                <c:pt idx="562">
                  <c:v>0.28036032686333751</c:v>
                </c:pt>
                <c:pt idx="563">
                  <c:v>0.28068092344135742</c:v>
                </c:pt>
                <c:pt idx="564">
                  <c:v>0.28096878885297966</c:v>
                </c:pt>
                <c:pt idx="565">
                  <c:v>0.28107012656228331</c:v>
                </c:pt>
                <c:pt idx="566">
                  <c:v>0.28215261092100713</c:v>
                </c:pt>
                <c:pt idx="567">
                  <c:v>0.28192756148226589</c:v>
                </c:pt>
                <c:pt idx="568">
                  <c:v>0.28191261601047429</c:v>
                </c:pt>
                <c:pt idx="569">
                  <c:v>0.28299935827569128</c:v>
                </c:pt>
                <c:pt idx="570">
                  <c:v>0.28340260700270825</c:v>
                </c:pt>
                <c:pt idx="571">
                  <c:v>0.28305195222254997</c:v>
                </c:pt>
                <c:pt idx="572">
                  <c:v>0.28214034961763435</c:v>
                </c:pt>
                <c:pt idx="573">
                  <c:v>0.28256824957732468</c:v>
                </c:pt>
                <c:pt idx="574">
                  <c:v>0.28259993779958636</c:v>
                </c:pt>
                <c:pt idx="575">
                  <c:v>0.28210455007411389</c:v>
                </c:pt>
                <c:pt idx="576">
                  <c:v>0.28239982103689254</c:v>
                </c:pt>
                <c:pt idx="577">
                  <c:v>0.28240561774198836</c:v>
                </c:pt>
                <c:pt idx="578">
                  <c:v>0.28230639964045862</c:v>
                </c:pt>
                <c:pt idx="579">
                  <c:v>0.28233286545490005</c:v>
                </c:pt>
                <c:pt idx="580">
                  <c:v>0.28239506984982921</c:v>
                </c:pt>
                <c:pt idx="581">
                  <c:v>0.28233268347449775</c:v>
                </c:pt>
                <c:pt idx="582">
                  <c:v>0.2820301087299224</c:v>
                </c:pt>
                <c:pt idx="583">
                  <c:v>0.28218503836805914</c:v>
                </c:pt>
                <c:pt idx="584">
                  <c:v>0.2824229260960579</c:v>
                </c:pt>
                <c:pt idx="585">
                  <c:v>0.28273205760074144</c:v>
                </c:pt>
                <c:pt idx="586">
                  <c:v>0.28254003892452212</c:v>
                </c:pt>
                <c:pt idx="587">
                  <c:v>0.2823197467626205</c:v>
                </c:pt>
                <c:pt idx="588">
                  <c:v>0.28246836740293985</c:v>
                </c:pt>
                <c:pt idx="589">
                  <c:v>0.28263270777291855</c:v>
                </c:pt>
                <c:pt idx="590">
                  <c:v>0.28251624985141083</c:v>
                </c:pt>
                <c:pt idx="591">
                  <c:v>0.28255200795010776</c:v>
                </c:pt>
                <c:pt idx="592">
                  <c:v>0.28286438393382141</c:v>
                </c:pt>
                <c:pt idx="593">
                  <c:v>0.2825959676825639</c:v>
                </c:pt>
                <c:pt idx="594">
                  <c:v>0.28283458904192699</c:v>
                </c:pt>
                <c:pt idx="595">
                  <c:v>0.28322115522015312</c:v>
                </c:pt>
                <c:pt idx="596">
                  <c:v>0.28288852046619595</c:v>
                </c:pt>
                <c:pt idx="597">
                  <c:v>0.28285624805791204</c:v>
                </c:pt>
                <c:pt idx="598">
                  <c:v>0.2826896032516597</c:v>
                </c:pt>
                <c:pt idx="599">
                  <c:v>0.28292513850463114</c:v>
                </c:pt>
                <c:pt idx="600">
                  <c:v>0.28266019078747395</c:v>
                </c:pt>
                <c:pt idx="601">
                  <c:v>0.282757217844541</c:v>
                </c:pt>
                <c:pt idx="602">
                  <c:v>0.28250586128791716</c:v>
                </c:pt>
                <c:pt idx="603">
                  <c:v>0.28321306489326009</c:v>
                </c:pt>
                <c:pt idx="604">
                  <c:v>0.28414835221753321</c:v>
                </c:pt>
                <c:pt idx="605">
                  <c:v>0.28481280097923212</c:v>
                </c:pt>
                <c:pt idx="606">
                  <c:v>0.28433157066856501</c:v>
                </c:pt>
                <c:pt idx="607">
                  <c:v>0.28457964959148291</c:v>
                </c:pt>
                <c:pt idx="608">
                  <c:v>0.28475192243058156</c:v>
                </c:pt>
                <c:pt idx="609">
                  <c:v>0.28438788368925116</c:v>
                </c:pt>
                <c:pt idx="610">
                  <c:v>0.28415588618102294</c:v>
                </c:pt>
                <c:pt idx="611">
                  <c:v>0.28591345282907638</c:v>
                </c:pt>
                <c:pt idx="612">
                  <c:v>0.28636341380822683</c:v>
                </c:pt>
                <c:pt idx="613">
                  <c:v>0.28754158416136172</c:v>
                </c:pt>
                <c:pt idx="614">
                  <c:v>0.28910482254087827</c:v>
                </c:pt>
                <c:pt idx="615">
                  <c:v>0.28978659386117461</c:v>
                </c:pt>
                <c:pt idx="616">
                  <c:v>0.28956905198694072</c:v>
                </c:pt>
                <c:pt idx="617">
                  <c:v>0.28888313913412467</c:v>
                </c:pt>
                <c:pt idx="618">
                  <c:v>0.28890555204183654</c:v>
                </c:pt>
                <c:pt idx="619">
                  <c:v>0.28891692168073058</c:v>
                </c:pt>
                <c:pt idx="620">
                  <c:v>0.28869002686701384</c:v>
                </c:pt>
                <c:pt idx="621">
                  <c:v>0.28888870587402932</c:v>
                </c:pt>
                <c:pt idx="622">
                  <c:v>0.28852611421594776</c:v>
                </c:pt>
                <c:pt idx="623">
                  <c:v>0.28878872427495683</c:v>
                </c:pt>
                <c:pt idx="624">
                  <c:v>0.28755260882168021</c:v>
                </c:pt>
                <c:pt idx="625">
                  <c:v>0.28733479888161578</c:v>
                </c:pt>
                <c:pt idx="626">
                  <c:v>0.28694117169533978</c:v>
                </c:pt>
                <c:pt idx="627">
                  <c:v>0.2867043622628731</c:v>
                </c:pt>
                <c:pt idx="628">
                  <c:v>0.28704561301886117</c:v>
                </c:pt>
                <c:pt idx="629">
                  <c:v>0.28706321294633874</c:v>
                </c:pt>
                <c:pt idx="630">
                  <c:v>0.28800339559059551</c:v>
                </c:pt>
                <c:pt idx="631">
                  <c:v>0.28877815898801085</c:v>
                </c:pt>
                <c:pt idx="632">
                  <c:v>0.28970051822451337</c:v>
                </c:pt>
                <c:pt idx="633">
                  <c:v>0.29236206207013266</c:v>
                </c:pt>
                <c:pt idx="634">
                  <c:v>0.29341723835592742</c:v>
                </c:pt>
                <c:pt idx="635">
                  <c:v>0.29412473355492064</c:v>
                </c:pt>
                <c:pt idx="636">
                  <c:v>0.29447529833149377</c:v>
                </c:pt>
                <c:pt idx="637">
                  <c:v>0.29473695428387309</c:v>
                </c:pt>
                <c:pt idx="638">
                  <c:v>0.29542158226905563</c:v>
                </c:pt>
                <c:pt idx="639">
                  <c:v>0.29501484886731222</c:v>
                </c:pt>
                <c:pt idx="640">
                  <c:v>0.29510809602302368</c:v>
                </c:pt>
                <c:pt idx="641">
                  <c:v>0.29523797314286493</c:v>
                </c:pt>
                <c:pt idx="642">
                  <c:v>0.29553947274542441</c:v>
                </c:pt>
                <c:pt idx="643">
                  <c:v>0.29550294704316726</c:v>
                </c:pt>
                <c:pt idx="644">
                  <c:v>0.29562697564059681</c:v>
                </c:pt>
                <c:pt idx="645">
                  <c:v>0.2953779638692195</c:v>
                </c:pt>
                <c:pt idx="646">
                  <c:v>0.29485254522647752</c:v>
                </c:pt>
                <c:pt idx="647">
                  <c:v>0.29358504253249684</c:v>
                </c:pt>
                <c:pt idx="648">
                  <c:v>0.29342920907148878</c:v>
                </c:pt>
                <c:pt idx="649">
                  <c:v>0.29363142038915752</c:v>
                </c:pt>
                <c:pt idx="650">
                  <c:v>0.29374770599013333</c:v>
                </c:pt>
                <c:pt idx="651">
                  <c:v>0.29372701254626105</c:v>
                </c:pt>
                <c:pt idx="652">
                  <c:v>0.29377062787427261</c:v>
                </c:pt>
                <c:pt idx="653">
                  <c:v>0.29413485848219173</c:v>
                </c:pt>
                <c:pt idx="654">
                  <c:v>0.29391352373545693</c:v>
                </c:pt>
                <c:pt idx="655">
                  <c:v>0.29381571283758562</c:v>
                </c:pt>
                <c:pt idx="656">
                  <c:v>0.29384159486176042</c:v>
                </c:pt>
                <c:pt idx="657">
                  <c:v>0.29367798290888492</c:v>
                </c:pt>
                <c:pt idx="658">
                  <c:v>0.29347942673719785</c:v>
                </c:pt>
                <c:pt idx="659">
                  <c:v>0.29345988772906367</c:v>
                </c:pt>
                <c:pt idx="660">
                  <c:v>0.29339507406815274</c:v>
                </c:pt>
                <c:pt idx="661">
                  <c:v>0.29393532866973465</c:v>
                </c:pt>
                <c:pt idx="662">
                  <c:v>0.29378202345795207</c:v>
                </c:pt>
                <c:pt idx="663">
                  <c:v>0.29406569023569368</c:v>
                </c:pt>
                <c:pt idx="664">
                  <c:v>0.2933422815090882</c:v>
                </c:pt>
                <c:pt idx="665">
                  <c:v>0.29436936859170881</c:v>
                </c:pt>
                <c:pt idx="666">
                  <c:v>0.29538216477836521</c:v>
                </c:pt>
                <c:pt idx="667">
                  <c:v>0.29966662191287369</c:v>
                </c:pt>
                <c:pt idx="668">
                  <c:v>0.30032278929930389</c:v>
                </c:pt>
                <c:pt idx="669">
                  <c:v>0.30106739010328021</c:v>
                </c:pt>
                <c:pt idx="670">
                  <c:v>0.30165595018574265</c:v>
                </c:pt>
                <c:pt idx="671">
                  <c:v>0.30177579202082905</c:v>
                </c:pt>
                <c:pt idx="672">
                  <c:v>0.299344673058411</c:v>
                </c:pt>
                <c:pt idx="673">
                  <c:v>0.29976605713520099</c:v>
                </c:pt>
                <c:pt idx="674">
                  <c:v>0.30035742606284532</c:v>
                </c:pt>
                <c:pt idx="675">
                  <c:v>0.30027506661211661</c:v>
                </c:pt>
                <c:pt idx="676">
                  <c:v>0.2990526875118894</c:v>
                </c:pt>
                <c:pt idx="677">
                  <c:v>0.29917230830627295</c:v>
                </c:pt>
                <c:pt idx="678">
                  <c:v>0.29862384906159528</c:v>
                </c:pt>
                <c:pt idx="679">
                  <c:v>0.29864419926660452</c:v>
                </c:pt>
                <c:pt idx="680">
                  <c:v>0.29875684249401102</c:v>
                </c:pt>
                <c:pt idx="681">
                  <c:v>0.2989997849501288</c:v>
                </c:pt>
                <c:pt idx="682">
                  <c:v>0.29994738702784729</c:v>
                </c:pt>
                <c:pt idx="683">
                  <c:v>0.29944993753693161</c:v>
                </c:pt>
                <c:pt idx="684">
                  <c:v>0.29944339050162616</c:v>
                </c:pt>
                <c:pt idx="685">
                  <c:v>0.29972140969977079</c:v>
                </c:pt>
                <c:pt idx="686">
                  <c:v>0.29947668446187414</c:v>
                </c:pt>
                <c:pt idx="687">
                  <c:v>0.2993105188560195</c:v>
                </c:pt>
                <c:pt idx="688">
                  <c:v>0.29937103453456154</c:v>
                </c:pt>
                <c:pt idx="689">
                  <c:v>0.30036725830960542</c:v>
                </c:pt>
                <c:pt idx="690">
                  <c:v>0.30016257388597584</c:v>
                </c:pt>
                <c:pt idx="691">
                  <c:v>0.30098867158652526</c:v>
                </c:pt>
                <c:pt idx="692">
                  <c:v>0.30139018039656457</c:v>
                </c:pt>
                <c:pt idx="693">
                  <c:v>0.3022532410981299</c:v>
                </c:pt>
                <c:pt idx="694">
                  <c:v>0.30220363885521984</c:v>
                </c:pt>
                <c:pt idx="695">
                  <c:v>0.3022101499113759</c:v>
                </c:pt>
                <c:pt idx="696">
                  <c:v>0.30218379314665583</c:v>
                </c:pt>
                <c:pt idx="697">
                  <c:v>0.30247342985138226</c:v>
                </c:pt>
                <c:pt idx="698">
                  <c:v>0.30230985812104189</c:v>
                </c:pt>
                <c:pt idx="699">
                  <c:v>0.30241236514191011</c:v>
                </c:pt>
                <c:pt idx="700">
                  <c:v>0.30323328939843536</c:v>
                </c:pt>
                <c:pt idx="701">
                  <c:v>0.3028929120733509</c:v>
                </c:pt>
                <c:pt idx="702">
                  <c:v>0.30280030242675865</c:v>
                </c:pt>
                <c:pt idx="703">
                  <c:v>0.30112462214888486</c:v>
                </c:pt>
                <c:pt idx="704">
                  <c:v>0.29944228484464902</c:v>
                </c:pt>
                <c:pt idx="705">
                  <c:v>0.29862976754257353</c:v>
                </c:pt>
                <c:pt idx="706">
                  <c:v>0.29877871837778908</c:v>
                </c:pt>
                <c:pt idx="707">
                  <c:v>0.29837107369806021</c:v>
                </c:pt>
                <c:pt idx="708">
                  <c:v>0.29828304566285613</c:v>
                </c:pt>
                <c:pt idx="709">
                  <c:v>0.29876729613841702</c:v>
                </c:pt>
                <c:pt idx="710">
                  <c:v>0.29873534566854948</c:v>
                </c:pt>
                <c:pt idx="711">
                  <c:v>0.2988034019353768</c:v>
                </c:pt>
                <c:pt idx="712">
                  <c:v>0.29822045639285588</c:v>
                </c:pt>
                <c:pt idx="713">
                  <c:v>0.29816094044180053</c:v>
                </c:pt>
                <c:pt idx="714">
                  <c:v>0.29831111517555503</c:v>
                </c:pt>
                <c:pt idx="715">
                  <c:v>0.29834284963731861</c:v>
                </c:pt>
                <c:pt idx="716">
                  <c:v>0.29795040403522605</c:v>
                </c:pt>
                <c:pt idx="717">
                  <c:v>0.29781295806372937</c:v>
                </c:pt>
                <c:pt idx="718">
                  <c:v>0.29771470286812335</c:v>
                </c:pt>
                <c:pt idx="719">
                  <c:v>0.29757677554879686</c:v>
                </c:pt>
                <c:pt idx="720">
                  <c:v>0.29771442288861644</c:v>
                </c:pt>
                <c:pt idx="721">
                  <c:v>0.29814087916448212</c:v>
                </c:pt>
                <c:pt idx="722">
                  <c:v>0.29726538135523023</c:v>
                </c:pt>
                <c:pt idx="723">
                  <c:v>0.29722475424919692</c:v>
                </c:pt>
                <c:pt idx="724">
                  <c:v>0.29732613083345666</c:v>
                </c:pt>
                <c:pt idx="725">
                  <c:v>0.29869410105488753</c:v>
                </c:pt>
                <c:pt idx="726">
                  <c:v>0.29872919349922217</c:v>
                </c:pt>
                <c:pt idx="727">
                  <c:v>0.29850159793608455</c:v>
                </c:pt>
                <c:pt idx="728">
                  <c:v>0.29858189934405566</c:v>
                </c:pt>
                <c:pt idx="729">
                  <c:v>0.29855721575923544</c:v>
                </c:pt>
                <c:pt idx="730">
                  <c:v>0.2985278250995011</c:v>
                </c:pt>
                <c:pt idx="731">
                  <c:v>0.29681650677780674</c:v>
                </c:pt>
                <c:pt idx="732">
                  <c:v>0.30174322233487061</c:v>
                </c:pt>
                <c:pt idx="733">
                  <c:v>0.30294617266529822</c:v>
                </c:pt>
                <c:pt idx="734">
                  <c:v>0.30518055019801343</c:v>
                </c:pt>
                <c:pt idx="735">
                  <c:v>0.30617066675918458</c:v>
                </c:pt>
                <c:pt idx="736">
                  <c:v>0.30762915423483117</c:v>
                </c:pt>
                <c:pt idx="737">
                  <c:v>0.30552182546862566</c:v>
                </c:pt>
                <c:pt idx="738">
                  <c:v>0.30494525106967035</c:v>
                </c:pt>
                <c:pt idx="739">
                  <c:v>0.29945671273556923</c:v>
                </c:pt>
                <c:pt idx="740">
                  <c:v>0.30142040188006708</c:v>
                </c:pt>
                <c:pt idx="741">
                  <c:v>0.30259346585327684</c:v>
                </c:pt>
                <c:pt idx="742">
                  <c:v>0.30273757512680427</c:v>
                </c:pt>
                <c:pt idx="743">
                  <c:v>0.30204714180742864</c:v>
                </c:pt>
                <c:pt idx="744">
                  <c:v>0.30152224796990656</c:v>
                </c:pt>
                <c:pt idx="745">
                  <c:v>0.29934088742383164</c:v>
                </c:pt>
                <c:pt idx="746">
                  <c:v>0.29920332051764326</c:v>
                </c:pt>
                <c:pt idx="747">
                  <c:v>0.29682148676841191</c:v>
                </c:pt>
                <c:pt idx="748">
                  <c:v>0.29535986118323954</c:v>
                </c:pt>
                <c:pt idx="749">
                  <c:v>0.29131864867558049</c:v>
                </c:pt>
                <c:pt idx="750">
                  <c:v>0.2961512835858825</c:v>
                </c:pt>
                <c:pt idx="751">
                  <c:v>0.29617057841643885</c:v>
                </c:pt>
                <c:pt idx="752">
                  <c:v>0.29646514936277119</c:v>
                </c:pt>
                <c:pt idx="753">
                  <c:v>0.29649204819043268</c:v>
                </c:pt>
                <c:pt idx="754">
                  <c:v>0.29584757740231299</c:v>
                </c:pt>
                <c:pt idx="755">
                  <c:v>0.29706395554067605</c:v>
                </c:pt>
                <c:pt idx="756">
                  <c:v>0.29611963907588251</c:v>
                </c:pt>
                <c:pt idx="757">
                  <c:v>0.2969111687611849</c:v>
                </c:pt>
                <c:pt idx="758">
                  <c:v>0.29693454519847345</c:v>
                </c:pt>
                <c:pt idx="759">
                  <c:v>0.2951923655817863</c:v>
                </c:pt>
                <c:pt idx="760">
                  <c:v>0.2945555516456837</c:v>
                </c:pt>
                <c:pt idx="761">
                  <c:v>0.29447429265809189</c:v>
                </c:pt>
                <c:pt idx="762">
                  <c:v>0.29446404622948669</c:v>
                </c:pt>
                <c:pt idx="763">
                  <c:v>0.29382309985827321</c:v>
                </c:pt>
                <c:pt idx="764">
                  <c:v>0.29511308885017867</c:v>
                </c:pt>
                <c:pt idx="765">
                  <c:v>0.29469467303497293</c:v>
                </c:pt>
                <c:pt idx="766">
                  <c:v>0.2948239893464692</c:v>
                </c:pt>
                <c:pt idx="767">
                  <c:v>0.29696283587239086</c:v>
                </c:pt>
                <c:pt idx="768">
                  <c:v>0.2992878986271989</c:v>
                </c:pt>
                <c:pt idx="769">
                  <c:v>0.29907103240224814</c:v>
                </c:pt>
                <c:pt idx="770">
                  <c:v>0.2990762649827064</c:v>
                </c:pt>
                <c:pt idx="771">
                  <c:v>0.29827331002411633</c:v>
                </c:pt>
                <c:pt idx="772">
                  <c:v>0.29791750250377952</c:v>
                </c:pt>
                <c:pt idx="773">
                  <c:v>0.29621768228422068</c:v>
                </c:pt>
                <c:pt idx="774">
                  <c:v>0.29696946708715627</c:v>
                </c:pt>
                <c:pt idx="775">
                  <c:v>0.29683942149704479</c:v>
                </c:pt>
                <c:pt idx="776">
                  <c:v>0.29272805976875071</c:v>
                </c:pt>
                <c:pt idx="777">
                  <c:v>0.29189254610666149</c:v>
                </c:pt>
                <c:pt idx="778">
                  <c:v>0.29390407513366135</c:v>
                </c:pt>
                <c:pt idx="779">
                  <c:v>0.29675598624133603</c:v>
                </c:pt>
                <c:pt idx="780">
                  <c:v>0.29656619751620217</c:v>
                </c:pt>
                <c:pt idx="781">
                  <c:v>0.29462874888804425</c:v>
                </c:pt>
                <c:pt idx="782">
                  <c:v>0.29506319157579836</c:v>
                </c:pt>
                <c:pt idx="783">
                  <c:v>0.29488348875936748</c:v>
                </c:pt>
                <c:pt idx="784">
                  <c:v>0.29610772346291486</c:v>
                </c:pt>
                <c:pt idx="785">
                  <c:v>0.29672135602266025</c:v>
                </c:pt>
                <c:pt idx="786">
                  <c:v>0.29643383192421557</c:v>
                </c:pt>
                <c:pt idx="787">
                  <c:v>0.29682240338606947</c:v>
                </c:pt>
                <c:pt idx="788">
                  <c:v>0.29493422378458933</c:v>
                </c:pt>
                <c:pt idx="789">
                  <c:v>0.29527514758636331</c:v>
                </c:pt>
                <c:pt idx="790">
                  <c:v>0.29539587920531662</c:v>
                </c:pt>
                <c:pt idx="791">
                  <c:v>0.29636244456872751</c:v>
                </c:pt>
                <c:pt idx="792">
                  <c:v>0.29529132231759075</c:v>
                </c:pt>
                <c:pt idx="793">
                  <c:v>0.2955198552787443</c:v>
                </c:pt>
                <c:pt idx="794">
                  <c:v>0.29451221757188834</c:v>
                </c:pt>
                <c:pt idx="795">
                  <c:v>0.29497174186761016</c:v>
                </c:pt>
                <c:pt idx="796">
                  <c:v>0.29549527672186565</c:v>
                </c:pt>
                <c:pt idx="797">
                  <c:v>0.29530471267533082</c:v>
                </c:pt>
                <c:pt idx="798">
                  <c:v>0.29262151916225099</c:v>
                </c:pt>
                <c:pt idx="799">
                  <c:v>0.29147240363071564</c:v>
                </c:pt>
                <c:pt idx="800">
                  <c:v>0.29290707438887081</c:v>
                </c:pt>
                <c:pt idx="801">
                  <c:v>0.29239980089868561</c:v>
                </c:pt>
                <c:pt idx="802">
                  <c:v>0.30500027816330183</c:v>
                </c:pt>
                <c:pt idx="803">
                  <c:v>0.30540912464497116</c:v>
                </c:pt>
                <c:pt idx="804">
                  <c:v>0.30594164038699045</c:v>
                </c:pt>
                <c:pt idx="805">
                  <c:v>0.31570938761590628</c:v>
                </c:pt>
                <c:pt idx="806">
                  <c:v>0.32196053699815552</c:v>
                </c:pt>
                <c:pt idx="807">
                  <c:v>0.32253030099801994</c:v>
                </c:pt>
                <c:pt idx="808">
                  <c:v>0.32135473977746304</c:v>
                </c:pt>
                <c:pt idx="809">
                  <c:v>0.32051105774759614</c:v>
                </c:pt>
                <c:pt idx="810">
                  <c:v>0.32110383545447635</c:v>
                </c:pt>
                <c:pt idx="811">
                  <c:v>0.32019548272300846</c:v>
                </c:pt>
                <c:pt idx="812">
                  <c:v>0.32450197622677562</c:v>
                </c:pt>
                <c:pt idx="813">
                  <c:v>0.3251103468023428</c:v>
                </c:pt>
                <c:pt idx="814">
                  <c:v>0.32480074200762243</c:v>
                </c:pt>
                <c:pt idx="815">
                  <c:v>0.32023001036885135</c:v>
                </c:pt>
                <c:pt idx="816">
                  <c:v>0.32004782140118032</c:v>
                </c:pt>
                <c:pt idx="817">
                  <c:v>0.31822180716070952</c:v>
                </c:pt>
                <c:pt idx="818">
                  <c:v>0.31620506130815951</c:v>
                </c:pt>
                <c:pt idx="819">
                  <c:v>0.31634145146643516</c:v>
                </c:pt>
                <c:pt idx="820">
                  <c:v>0.31699110468109876</c:v>
                </c:pt>
                <c:pt idx="821">
                  <c:v>0.31626129723013185</c:v>
                </c:pt>
                <c:pt idx="822">
                  <c:v>0.31605797904913724</c:v>
                </c:pt>
                <c:pt idx="823">
                  <c:v>0.31611765182101759</c:v>
                </c:pt>
                <c:pt idx="824">
                  <c:v>0.31699340935559484</c:v>
                </c:pt>
                <c:pt idx="825">
                  <c:v>0.31669797489213075</c:v>
                </c:pt>
                <c:pt idx="826">
                  <c:v>0.31682987217078318</c:v>
                </c:pt>
                <c:pt idx="827">
                  <c:v>0.31902444294617249</c:v>
                </c:pt>
                <c:pt idx="828">
                  <c:v>0.31877895093589054</c:v>
                </c:pt>
                <c:pt idx="829">
                  <c:v>0.31816611834289915</c:v>
                </c:pt>
                <c:pt idx="830">
                  <c:v>0.31812909161522784</c:v>
                </c:pt>
                <c:pt idx="831">
                  <c:v>0.31859385986038102</c:v>
                </c:pt>
                <c:pt idx="832">
                  <c:v>0.31843287563784411</c:v>
                </c:pt>
                <c:pt idx="833">
                  <c:v>0.31868013459139166</c:v>
                </c:pt>
                <c:pt idx="834">
                  <c:v>0.31893299142708559</c:v>
                </c:pt>
                <c:pt idx="835">
                  <c:v>0.31930080274480732</c:v>
                </c:pt>
                <c:pt idx="836">
                  <c:v>0.32037844726019576</c:v>
                </c:pt>
                <c:pt idx="837">
                  <c:v>0.32030408772388341</c:v>
                </c:pt>
                <c:pt idx="838">
                  <c:v>0.32088893281168229</c:v>
                </c:pt>
                <c:pt idx="839">
                  <c:v>0.32084735434257627</c:v>
                </c:pt>
                <c:pt idx="840">
                  <c:v>0.32182628182389256</c:v>
                </c:pt>
                <c:pt idx="841">
                  <c:v>0.32152773614191582</c:v>
                </c:pt>
                <c:pt idx="842">
                  <c:v>0.32333963020107437</c:v>
                </c:pt>
                <c:pt idx="843">
                  <c:v>0.3245938017714618</c:v>
                </c:pt>
                <c:pt idx="844">
                  <c:v>0.32475626911469402</c:v>
                </c:pt>
                <c:pt idx="845">
                  <c:v>0.32505081214315207</c:v>
                </c:pt>
                <c:pt idx="846">
                  <c:v>0.32491992413681059</c:v>
                </c:pt>
                <c:pt idx="847">
                  <c:v>0.3245204406960393</c:v>
                </c:pt>
                <c:pt idx="848">
                  <c:v>0.32653229467775574</c:v>
                </c:pt>
                <c:pt idx="849">
                  <c:v>0.32646178498837719</c:v>
                </c:pt>
                <c:pt idx="850">
                  <c:v>0.32756884467399267</c:v>
                </c:pt>
                <c:pt idx="851">
                  <c:v>0.32739636102017655</c:v>
                </c:pt>
                <c:pt idx="852">
                  <c:v>0.32810731195012188</c:v>
                </c:pt>
                <c:pt idx="853">
                  <c:v>0.3287125759647424</c:v>
                </c:pt>
                <c:pt idx="854">
                  <c:v>0.3295200907234434</c:v>
                </c:pt>
                <c:pt idx="855">
                  <c:v>0.32998583498744055</c:v>
                </c:pt>
                <c:pt idx="856">
                  <c:v>0.32989341616023898</c:v>
                </c:pt>
                <c:pt idx="857">
                  <c:v>0.33010870675286175</c:v>
                </c:pt>
                <c:pt idx="858">
                  <c:v>0.33144524716057683</c:v>
                </c:pt>
                <c:pt idx="859">
                  <c:v>0.33180318513636731</c:v>
                </c:pt>
                <c:pt idx="860">
                  <c:v>0.33207603402550329</c:v>
                </c:pt>
                <c:pt idx="861">
                  <c:v>0.33656280216896212</c:v>
                </c:pt>
                <c:pt idx="862">
                  <c:v>0.33641737829626656</c:v>
                </c:pt>
                <c:pt idx="863">
                  <c:v>0.33878634896928039</c:v>
                </c:pt>
                <c:pt idx="864">
                  <c:v>0.34106481502340924</c:v>
                </c:pt>
                <c:pt idx="865">
                  <c:v>0.34071521543635086</c:v>
                </c:pt>
                <c:pt idx="866">
                  <c:v>0.33970573952650218</c:v>
                </c:pt>
                <c:pt idx="867">
                  <c:v>0.33955529603779999</c:v>
                </c:pt>
                <c:pt idx="868">
                  <c:v>0.33952432602748978</c:v>
                </c:pt>
                <c:pt idx="869">
                  <c:v>0.33975210818187757</c:v>
                </c:pt>
                <c:pt idx="870">
                  <c:v>0.34650313596714066</c:v>
                </c:pt>
                <c:pt idx="871">
                  <c:v>0.34694496656163709</c:v>
                </c:pt>
                <c:pt idx="872">
                  <c:v>0.34658535478972718</c:v>
                </c:pt>
                <c:pt idx="873">
                  <c:v>0.34653418605096231</c:v>
                </c:pt>
                <c:pt idx="874">
                  <c:v>0.34723132311787946</c:v>
                </c:pt>
                <c:pt idx="875">
                  <c:v>0.3476015368551843</c:v>
                </c:pt>
                <c:pt idx="876">
                  <c:v>0.34978278113236194</c:v>
                </c:pt>
                <c:pt idx="877">
                  <c:v>0.34943426499728591</c:v>
                </c:pt>
                <c:pt idx="878">
                  <c:v>0.34978556398021804</c:v>
                </c:pt>
                <c:pt idx="879">
                  <c:v>0.35034065844721202</c:v>
                </c:pt>
                <c:pt idx="880">
                  <c:v>0.3506661803439845</c:v>
                </c:pt>
                <c:pt idx="881">
                  <c:v>0.35140406111091893</c:v>
                </c:pt>
                <c:pt idx="882">
                  <c:v>0.35281427784341912</c:v>
                </c:pt>
                <c:pt idx="883">
                  <c:v>0.35233137860863434</c:v>
                </c:pt>
                <c:pt idx="884">
                  <c:v>0.35384505694027629</c:v>
                </c:pt>
                <c:pt idx="885">
                  <c:v>0.35253321987732589</c:v>
                </c:pt>
                <c:pt idx="886">
                  <c:v>0.35244094522725716</c:v>
                </c:pt>
                <c:pt idx="887">
                  <c:v>0.35234418457713484</c:v>
                </c:pt>
                <c:pt idx="888">
                  <c:v>0.35233580041245482</c:v>
                </c:pt>
                <c:pt idx="889">
                  <c:v>0.35219935985152034</c:v>
                </c:pt>
                <c:pt idx="890">
                  <c:v>0.35240754311233985</c:v>
                </c:pt>
                <c:pt idx="891">
                  <c:v>0.35236973742288341</c:v>
                </c:pt>
                <c:pt idx="892">
                  <c:v>0.35193162658767374</c:v>
                </c:pt>
                <c:pt idx="893">
                  <c:v>0.35190548921624998</c:v>
                </c:pt>
                <c:pt idx="894">
                  <c:v>0.35189596343986257</c:v>
                </c:pt>
                <c:pt idx="895">
                  <c:v>0.35225005500662915</c:v>
                </c:pt>
                <c:pt idx="896">
                  <c:v>0.35327015217789376</c:v>
                </c:pt>
                <c:pt idx="897">
                  <c:v>0.35319760630411617</c:v>
                </c:pt>
                <c:pt idx="898">
                  <c:v>0.35414195684168126</c:v>
                </c:pt>
                <c:pt idx="899">
                  <c:v>0.35637461682224153</c:v>
                </c:pt>
                <c:pt idx="900">
                  <c:v>0.3566211185764695</c:v>
                </c:pt>
                <c:pt idx="901">
                  <c:v>0.35645851595106842</c:v>
                </c:pt>
                <c:pt idx="902">
                  <c:v>0.35561149803279857</c:v>
                </c:pt>
                <c:pt idx="903">
                  <c:v>0.35551323137504925</c:v>
                </c:pt>
                <c:pt idx="904">
                  <c:v>0.35556368018384937</c:v>
                </c:pt>
                <c:pt idx="905">
                  <c:v>0.35569891122429459</c:v>
                </c:pt>
                <c:pt idx="906">
                  <c:v>0.35596124698533205</c:v>
                </c:pt>
                <c:pt idx="907">
                  <c:v>0.35603936846481743</c:v>
                </c:pt>
                <c:pt idx="908">
                  <c:v>0.35590964681827764</c:v>
                </c:pt>
                <c:pt idx="909">
                  <c:v>0.35608156180309514</c:v>
                </c:pt>
                <c:pt idx="910">
                  <c:v>0.35600773016036058</c:v>
                </c:pt>
                <c:pt idx="911">
                  <c:v>0.35618237312803402</c:v>
                </c:pt>
                <c:pt idx="912">
                  <c:v>0.35616406227885516</c:v>
                </c:pt>
                <c:pt idx="913">
                  <c:v>0.35569331738910465</c:v>
                </c:pt>
                <c:pt idx="914">
                  <c:v>0.35581162672681743</c:v>
                </c:pt>
                <c:pt idx="915">
                  <c:v>0.35497452731238394</c:v>
                </c:pt>
                <c:pt idx="916">
                  <c:v>0.35534887124779135</c:v>
                </c:pt>
                <c:pt idx="917">
                  <c:v>0.35524680164171701</c:v>
                </c:pt>
                <c:pt idx="918">
                  <c:v>0.35513881912278777</c:v>
                </c:pt>
                <c:pt idx="919">
                  <c:v>0.35490446908419787</c:v>
                </c:pt>
                <c:pt idx="920">
                  <c:v>0.35483279879354901</c:v>
                </c:pt>
                <c:pt idx="921">
                  <c:v>0.35497230662692031</c:v>
                </c:pt>
                <c:pt idx="922">
                  <c:v>0.35472751539344549</c:v>
                </c:pt>
                <c:pt idx="923">
                  <c:v>0.35469539735713418</c:v>
                </c:pt>
                <c:pt idx="924">
                  <c:v>0.35792684229271321</c:v>
                </c:pt>
                <c:pt idx="925">
                  <c:v>0.35790402284799416</c:v>
                </c:pt>
                <c:pt idx="926">
                  <c:v>0.35765632857754343</c:v>
                </c:pt>
                <c:pt idx="927">
                  <c:v>0.35796976138050823</c:v>
                </c:pt>
                <c:pt idx="928">
                  <c:v>0.35844764738422374</c:v>
                </c:pt>
                <c:pt idx="929">
                  <c:v>0.35773987497536786</c:v>
                </c:pt>
                <c:pt idx="930">
                  <c:v>0.35812456832683098</c:v>
                </c:pt>
                <c:pt idx="931">
                  <c:v>0.35822709751935933</c:v>
                </c:pt>
                <c:pt idx="932">
                  <c:v>0.35865164577074515</c:v>
                </c:pt>
                <c:pt idx="933">
                  <c:v>0.35800046532459057</c:v>
                </c:pt>
                <c:pt idx="934">
                  <c:v>0.35735622148804674</c:v>
                </c:pt>
                <c:pt idx="935">
                  <c:v>0.35758675456432437</c:v>
                </c:pt>
                <c:pt idx="936">
                  <c:v>0.35845655755392702</c:v>
                </c:pt>
                <c:pt idx="937">
                  <c:v>0.35788546574371188</c:v>
                </c:pt>
                <c:pt idx="938">
                  <c:v>0.35654309990724475</c:v>
                </c:pt>
                <c:pt idx="939">
                  <c:v>0.35676753698630609</c:v>
                </c:pt>
                <c:pt idx="940">
                  <c:v>0.35879092211370539</c:v>
                </c:pt>
                <c:pt idx="941">
                  <c:v>0.3585346439301938</c:v>
                </c:pt>
                <c:pt idx="942">
                  <c:v>0.35926487229594284</c:v>
                </c:pt>
                <c:pt idx="943">
                  <c:v>0.35889760473745197</c:v>
                </c:pt>
                <c:pt idx="944">
                  <c:v>0.35869270294336286</c:v>
                </c:pt>
                <c:pt idx="945">
                  <c:v>0.35850765734634676</c:v>
                </c:pt>
                <c:pt idx="946">
                  <c:v>0.35851805773833517</c:v>
                </c:pt>
                <c:pt idx="947">
                  <c:v>0.35882883299007734</c:v>
                </c:pt>
                <c:pt idx="948">
                  <c:v>0.35838507399755115</c:v>
                </c:pt>
                <c:pt idx="949">
                  <c:v>0.35757247376385615</c:v>
                </c:pt>
                <c:pt idx="950">
                  <c:v>0.35804097236655602</c:v>
                </c:pt>
                <c:pt idx="951">
                  <c:v>0.35805284517393798</c:v>
                </c:pt>
                <c:pt idx="952">
                  <c:v>0.35789612120155412</c:v>
                </c:pt>
                <c:pt idx="953">
                  <c:v>0.35809224127064726</c:v>
                </c:pt>
                <c:pt idx="954">
                  <c:v>0.35869839109740675</c:v>
                </c:pt>
                <c:pt idx="955">
                  <c:v>0.36133122444148541</c:v>
                </c:pt>
                <c:pt idx="956">
                  <c:v>0.36435993152411722</c:v>
                </c:pt>
                <c:pt idx="957">
                  <c:v>0.36466187614341677</c:v>
                </c:pt>
                <c:pt idx="958">
                  <c:v>0.36342302291326406</c:v>
                </c:pt>
                <c:pt idx="959">
                  <c:v>0.36417684426896285</c:v>
                </c:pt>
                <c:pt idx="960">
                  <c:v>0.36467060710513627</c:v>
                </c:pt>
                <c:pt idx="961">
                  <c:v>0.36484526478305462</c:v>
                </c:pt>
                <c:pt idx="962">
                  <c:v>0.3656844983036559</c:v>
                </c:pt>
                <c:pt idx="963">
                  <c:v>0.36729064045313958</c:v>
                </c:pt>
                <c:pt idx="964">
                  <c:v>0.3683357666805388</c:v>
                </c:pt>
                <c:pt idx="965">
                  <c:v>0.36854065721390378</c:v>
                </c:pt>
                <c:pt idx="966">
                  <c:v>0.36847705209199583</c:v>
                </c:pt>
                <c:pt idx="967">
                  <c:v>0.36843777443595044</c:v>
                </c:pt>
                <c:pt idx="968">
                  <c:v>0.36846415859958292</c:v>
                </c:pt>
                <c:pt idx="969">
                  <c:v>0.36852874431644184</c:v>
                </c:pt>
                <c:pt idx="970">
                  <c:v>0.36854814986168333</c:v>
                </c:pt>
                <c:pt idx="971">
                  <c:v>0.36879514967038635</c:v>
                </c:pt>
                <c:pt idx="972">
                  <c:v>0.36874413541236739</c:v>
                </c:pt>
                <c:pt idx="973">
                  <c:v>0.36992873129987702</c:v>
                </c:pt>
                <c:pt idx="974">
                  <c:v>0.37111842525484889</c:v>
                </c:pt>
                <c:pt idx="975">
                  <c:v>0.37302388096198696</c:v>
                </c:pt>
                <c:pt idx="976">
                  <c:v>0.37326778384088216</c:v>
                </c:pt>
                <c:pt idx="977">
                  <c:v>0.3735961295858044</c:v>
                </c:pt>
                <c:pt idx="978">
                  <c:v>0.37462259034810219</c:v>
                </c:pt>
                <c:pt idx="979">
                  <c:v>0.37590556778062728</c:v>
                </c:pt>
                <c:pt idx="980">
                  <c:v>0.37588832386482313</c:v>
                </c:pt>
                <c:pt idx="981">
                  <c:v>0.37595470043277307</c:v>
                </c:pt>
                <c:pt idx="982">
                  <c:v>0.37574091300440088</c:v>
                </c:pt>
                <c:pt idx="983">
                  <c:v>0.37776661159090513</c:v>
                </c:pt>
                <c:pt idx="984">
                  <c:v>0.37858765819750934</c:v>
                </c:pt>
                <c:pt idx="985">
                  <c:v>0.37854237677429975</c:v>
                </c:pt>
                <c:pt idx="986">
                  <c:v>0.37856202694470847</c:v>
                </c:pt>
                <c:pt idx="987">
                  <c:v>0.37844341639568013</c:v>
                </c:pt>
                <c:pt idx="988">
                  <c:v>0.37864092332890281</c:v>
                </c:pt>
                <c:pt idx="989">
                  <c:v>0.37838619821466396</c:v>
                </c:pt>
                <c:pt idx="990">
                  <c:v>0.37846234665142869</c:v>
                </c:pt>
                <c:pt idx="991">
                  <c:v>0.37904532413488656</c:v>
                </c:pt>
                <c:pt idx="992">
                  <c:v>0.37922366715125821</c:v>
                </c:pt>
                <c:pt idx="993">
                  <c:v>0.37947989643194185</c:v>
                </c:pt>
                <c:pt idx="994">
                  <c:v>0.37994255149152467</c:v>
                </c:pt>
                <c:pt idx="995">
                  <c:v>0.38028558733442253</c:v>
                </c:pt>
                <c:pt idx="996">
                  <c:v>0.38075007010440542</c:v>
                </c:pt>
                <c:pt idx="997">
                  <c:v>0.38175760476644777</c:v>
                </c:pt>
                <c:pt idx="998">
                  <c:v>0.38234144961391758</c:v>
                </c:pt>
                <c:pt idx="999">
                  <c:v>0.38251321179392755</c:v>
                </c:pt>
                <c:pt idx="1000">
                  <c:v>0.38352169720735813</c:v>
                </c:pt>
                <c:pt idx="1001">
                  <c:v>0.38447650025794833</c:v>
                </c:pt>
                <c:pt idx="1002">
                  <c:v>0.38726619677125323</c:v>
                </c:pt>
                <c:pt idx="1003">
                  <c:v>0.38766739617092916</c:v>
                </c:pt>
                <c:pt idx="1004">
                  <c:v>0.3877740942329625</c:v>
                </c:pt>
                <c:pt idx="1005">
                  <c:v>0.38795255312377436</c:v>
                </c:pt>
                <c:pt idx="1006">
                  <c:v>0.3878138001644939</c:v>
                </c:pt>
                <c:pt idx="1007">
                  <c:v>0.38824333059225441</c:v>
                </c:pt>
                <c:pt idx="1008">
                  <c:v>0.38846823794729124</c:v>
                </c:pt>
                <c:pt idx="1009">
                  <c:v>0.39109960493219043</c:v>
                </c:pt>
                <c:pt idx="1010">
                  <c:v>0.39225012418631727</c:v>
                </c:pt>
                <c:pt idx="1011">
                  <c:v>0.39232622148296259</c:v>
                </c:pt>
                <c:pt idx="1012">
                  <c:v>0.39262198121455327</c:v>
                </c:pt>
                <c:pt idx="1013">
                  <c:v>0.39325045078195742</c:v>
                </c:pt>
                <c:pt idx="1014">
                  <c:v>0.39339342795837323</c:v>
                </c:pt>
                <c:pt idx="1015">
                  <c:v>0.39379233426383137</c:v>
                </c:pt>
                <c:pt idx="1016">
                  <c:v>0.39643163594729985</c:v>
                </c:pt>
                <c:pt idx="1017">
                  <c:v>0.39650417502053953</c:v>
                </c:pt>
                <c:pt idx="1018">
                  <c:v>0.3965922443805891</c:v>
                </c:pt>
                <c:pt idx="1019">
                  <c:v>0.39762258801334843</c:v>
                </c:pt>
                <c:pt idx="1020">
                  <c:v>0.39740893765190527</c:v>
                </c:pt>
                <c:pt idx="1021">
                  <c:v>0.39590494411450367</c:v>
                </c:pt>
                <c:pt idx="1022">
                  <c:v>0.39628246916311133</c:v>
                </c:pt>
                <c:pt idx="1023">
                  <c:v>0.39720814331261839</c:v>
                </c:pt>
                <c:pt idx="1024">
                  <c:v>0.39815055828043472</c:v>
                </c:pt>
                <c:pt idx="1025">
                  <c:v>0.39738686545350077</c:v>
                </c:pt>
                <c:pt idx="1026">
                  <c:v>0.39511507755447867</c:v>
                </c:pt>
                <c:pt idx="1027">
                  <c:v>0.39509779671700573</c:v>
                </c:pt>
                <c:pt idx="1028">
                  <c:v>0.39523122073846589</c:v>
                </c:pt>
                <c:pt idx="1029">
                  <c:v>0.39598973611026483</c:v>
                </c:pt>
                <c:pt idx="1030">
                  <c:v>0.39450675382171818</c:v>
                </c:pt>
                <c:pt idx="1031">
                  <c:v>0.39427488999654609</c:v>
                </c:pt>
                <c:pt idx="1032">
                  <c:v>0.39438680755625372</c:v>
                </c:pt>
                <c:pt idx="1033">
                  <c:v>0.39476756824454207</c:v>
                </c:pt>
                <c:pt idx="1034">
                  <c:v>0.39458489817405368</c:v>
                </c:pt>
                <c:pt idx="1035">
                  <c:v>0.39388244837055486</c:v>
                </c:pt>
                <c:pt idx="1036">
                  <c:v>0.3947984223288219</c:v>
                </c:pt>
                <c:pt idx="1037">
                  <c:v>0.39505005770679041</c:v>
                </c:pt>
                <c:pt idx="1038">
                  <c:v>0.39506050105401525</c:v>
                </c:pt>
                <c:pt idx="1039">
                  <c:v>0.39472853467307617</c:v>
                </c:pt>
                <c:pt idx="1040">
                  <c:v>0.39499534471559739</c:v>
                </c:pt>
                <c:pt idx="1041">
                  <c:v>0.39550100479015332</c:v>
                </c:pt>
                <c:pt idx="1042">
                  <c:v>0.39528503966649708</c:v>
                </c:pt>
                <c:pt idx="1043">
                  <c:v>0.39514191202781174</c:v>
                </c:pt>
                <c:pt idx="1044">
                  <c:v>0.39592344673951735</c:v>
                </c:pt>
                <c:pt idx="1045">
                  <c:v>0.39598802276115697</c:v>
                </c:pt>
                <c:pt idx="1046">
                  <c:v>0.39634999929420289</c:v>
                </c:pt>
                <c:pt idx="1047">
                  <c:v>0.39642291817089814</c:v>
                </c:pt>
                <c:pt idx="1048">
                  <c:v>0.39877174470378451</c:v>
                </c:pt>
                <c:pt idx="1049">
                  <c:v>0.39864821202901823</c:v>
                </c:pt>
                <c:pt idx="1050">
                  <c:v>0.40020078488732702</c:v>
                </c:pt>
                <c:pt idx="1051">
                  <c:v>0.39982876259773797</c:v>
                </c:pt>
                <c:pt idx="1052">
                  <c:v>0.39908807573181548</c:v>
                </c:pt>
                <c:pt idx="1053">
                  <c:v>0.39899856621596008</c:v>
                </c:pt>
                <c:pt idx="1054">
                  <c:v>0.39762065634298471</c:v>
                </c:pt>
                <c:pt idx="1055">
                  <c:v>0.39706140513195021</c:v>
                </c:pt>
                <c:pt idx="1056">
                  <c:v>0.40825720600402154</c:v>
                </c:pt>
                <c:pt idx="1057">
                  <c:v>0.40611523611932504</c:v>
                </c:pt>
                <c:pt idx="1058">
                  <c:v>0.40122607651411329</c:v>
                </c:pt>
                <c:pt idx="1059">
                  <c:v>0.40075768437232645</c:v>
                </c:pt>
                <c:pt idx="1060">
                  <c:v>0.40076241455331163</c:v>
                </c:pt>
                <c:pt idx="1061">
                  <c:v>0.40215560245908405</c:v>
                </c:pt>
                <c:pt idx="1062">
                  <c:v>0.40214731521692759</c:v>
                </c:pt>
                <c:pt idx="1063">
                  <c:v>0.40305253253257589</c:v>
                </c:pt>
                <c:pt idx="1064">
                  <c:v>0.40368495746737609</c:v>
                </c:pt>
                <c:pt idx="1065">
                  <c:v>0.40308522141066538</c:v>
                </c:pt>
                <c:pt idx="1066">
                  <c:v>0.40275666763715634</c:v>
                </c:pt>
                <c:pt idx="1067">
                  <c:v>0.40972068371707759</c:v>
                </c:pt>
                <c:pt idx="1068">
                  <c:v>0.40955506456171098</c:v>
                </c:pt>
                <c:pt idx="1069">
                  <c:v>0.41245321252581602</c:v>
                </c:pt>
                <c:pt idx="1070">
                  <c:v>0.41300064357341354</c:v>
                </c:pt>
                <c:pt idx="1071">
                  <c:v>0.41401798941549373</c:v>
                </c:pt>
                <c:pt idx="1072">
                  <c:v>0.41345339931867525</c:v>
                </c:pt>
                <c:pt idx="1073">
                  <c:v>0.41342172093156204</c:v>
                </c:pt>
                <c:pt idx="1074">
                  <c:v>0.4136809586608573</c:v>
                </c:pt>
                <c:pt idx="1075">
                  <c:v>0.41293729711348665</c:v>
                </c:pt>
                <c:pt idx="1076">
                  <c:v>0.41399476118903633</c:v>
                </c:pt>
                <c:pt idx="1077">
                  <c:v>0.41705378440366309</c:v>
                </c:pt>
                <c:pt idx="1078">
                  <c:v>0.41755031899789696</c:v>
                </c:pt>
                <c:pt idx="1079">
                  <c:v>0.41427322087453033</c:v>
                </c:pt>
                <c:pt idx="1080">
                  <c:v>0.41397236317588981</c:v>
                </c:pt>
                <c:pt idx="1081">
                  <c:v>0.41554385675525746</c:v>
                </c:pt>
                <c:pt idx="1082">
                  <c:v>0.4175117835573377</c:v>
                </c:pt>
                <c:pt idx="1083">
                  <c:v>0.41758581216022828</c:v>
                </c:pt>
                <c:pt idx="1084">
                  <c:v>0.41772749900697548</c:v>
                </c:pt>
                <c:pt idx="1085">
                  <c:v>0.41738514692114498</c:v>
                </c:pt>
                <c:pt idx="1086">
                  <c:v>0.41728608600861605</c:v>
                </c:pt>
                <c:pt idx="1087">
                  <c:v>0.41823696429914631</c:v>
                </c:pt>
                <c:pt idx="1088">
                  <c:v>0.41736511904316193</c:v>
                </c:pt>
                <c:pt idx="1089">
                  <c:v>0.41711833083381111</c:v>
                </c:pt>
                <c:pt idx="1090">
                  <c:v>0.41638662488684164</c:v>
                </c:pt>
                <c:pt idx="1091">
                  <c:v>0.41570406816299438</c:v>
                </c:pt>
                <c:pt idx="1092">
                  <c:v>0.41438652659515773</c:v>
                </c:pt>
                <c:pt idx="1093">
                  <c:v>0.41434146783080339</c:v>
                </c:pt>
                <c:pt idx="1094">
                  <c:v>0.41242246511723818</c:v>
                </c:pt>
                <c:pt idx="1095">
                  <c:v>0.41039773641137806</c:v>
                </c:pt>
                <c:pt idx="1096">
                  <c:v>0.41088720870163659</c:v>
                </c:pt>
                <c:pt idx="1097">
                  <c:v>0.41078247491236414</c:v>
                </c:pt>
                <c:pt idx="1098">
                  <c:v>0.41110426821730056</c:v>
                </c:pt>
                <c:pt idx="1099">
                  <c:v>0.41039757815816591</c:v>
                </c:pt>
                <c:pt idx="1100">
                  <c:v>0.40874311922500528</c:v>
                </c:pt>
                <c:pt idx="1101">
                  <c:v>0.40871435447526661</c:v>
                </c:pt>
                <c:pt idx="1102">
                  <c:v>0.40787079274720967</c:v>
                </c:pt>
                <c:pt idx="1103">
                  <c:v>0.40767982372650058</c:v>
                </c:pt>
                <c:pt idx="1104">
                  <c:v>0.40727608543568222</c:v>
                </c:pt>
                <c:pt idx="1105">
                  <c:v>0.40829444288259009</c:v>
                </c:pt>
                <c:pt idx="1106">
                  <c:v>0.40802884039170839</c:v>
                </c:pt>
                <c:pt idx="1107">
                  <c:v>0.40708489538813974</c:v>
                </c:pt>
                <c:pt idx="1108">
                  <c:v>0.40613230208584367</c:v>
                </c:pt>
                <c:pt idx="1109">
                  <c:v>0.40642581120672222</c:v>
                </c:pt>
                <c:pt idx="1110">
                  <c:v>0.4066192574537662</c:v>
                </c:pt>
                <c:pt idx="1111">
                  <c:v>0.40649394088448754</c:v>
                </c:pt>
                <c:pt idx="1112">
                  <c:v>0.40661246545215418</c:v>
                </c:pt>
                <c:pt idx="1113">
                  <c:v>0.4014640557578244</c:v>
                </c:pt>
                <c:pt idx="1114">
                  <c:v>0.40231096496679519</c:v>
                </c:pt>
                <c:pt idx="1115">
                  <c:v>0.40349590338048796</c:v>
                </c:pt>
                <c:pt idx="1116">
                  <c:v>0.40187973278026085</c:v>
                </c:pt>
                <c:pt idx="1117">
                  <c:v>0.40219808866101003</c:v>
                </c:pt>
                <c:pt idx="1118">
                  <c:v>0.40310271075196324</c:v>
                </c:pt>
                <c:pt idx="1119">
                  <c:v>0.40540061334583893</c:v>
                </c:pt>
                <c:pt idx="1120">
                  <c:v>0.40499329307345233</c:v>
                </c:pt>
                <c:pt idx="1121">
                  <c:v>0.40556436573293803</c:v>
                </c:pt>
                <c:pt idx="1122">
                  <c:v>0.39702588580998482</c:v>
                </c:pt>
                <c:pt idx="1123">
                  <c:v>0.39685894422618506</c:v>
                </c:pt>
                <c:pt idx="1124">
                  <c:v>0.39835690049675465</c:v>
                </c:pt>
                <c:pt idx="1125">
                  <c:v>0.39840274367668982</c:v>
                </c:pt>
                <c:pt idx="1126">
                  <c:v>0.3975236491793665</c:v>
                </c:pt>
                <c:pt idx="1127">
                  <c:v>0.39833414734470218</c:v>
                </c:pt>
                <c:pt idx="1128">
                  <c:v>0.39769311677808006</c:v>
                </c:pt>
                <c:pt idx="1129">
                  <c:v>0.3993147908622568</c:v>
                </c:pt>
                <c:pt idx="1130">
                  <c:v>0.39912277584050793</c:v>
                </c:pt>
                <c:pt idx="1131">
                  <c:v>0.3984139700468905</c:v>
                </c:pt>
                <c:pt idx="1132">
                  <c:v>0.39789665385447026</c:v>
                </c:pt>
                <c:pt idx="1133">
                  <c:v>0.39786409640303033</c:v>
                </c:pt>
                <c:pt idx="1134">
                  <c:v>0.3964154318778888</c:v>
                </c:pt>
                <c:pt idx="1135">
                  <c:v>0.3965176886248914</c:v>
                </c:pt>
                <c:pt idx="1136">
                  <c:v>0.39586095400857013</c:v>
                </c:pt>
                <c:pt idx="1137">
                  <c:v>0.39558970716585568</c:v>
                </c:pt>
                <c:pt idx="1138">
                  <c:v>0.39616114880325942</c:v>
                </c:pt>
                <c:pt idx="1139">
                  <c:v>0.39647363871293145</c:v>
                </c:pt>
                <c:pt idx="1140">
                  <c:v>0.39615378296072451</c:v>
                </c:pt>
                <c:pt idx="1141">
                  <c:v>0.39579132500630521</c:v>
                </c:pt>
                <c:pt idx="1142">
                  <c:v>0.39498160089840018</c:v>
                </c:pt>
                <c:pt idx="1143">
                  <c:v>0.39784407068685951</c:v>
                </c:pt>
                <c:pt idx="1144">
                  <c:v>0.39901966474418155</c:v>
                </c:pt>
                <c:pt idx="1145">
                  <c:v>0.39902638389271256</c:v>
                </c:pt>
                <c:pt idx="1146">
                  <c:v>0.39962690745011104</c:v>
                </c:pt>
                <c:pt idx="1147">
                  <c:v>0.39926679935164594</c:v>
                </c:pt>
                <c:pt idx="1148">
                  <c:v>0.39874017182827998</c:v>
                </c:pt>
                <c:pt idx="1149">
                  <c:v>0.39951104098108903</c:v>
                </c:pt>
                <c:pt idx="1150">
                  <c:v>0.39853775098799732</c:v>
                </c:pt>
                <c:pt idx="1151">
                  <c:v>0.39640549188590113</c:v>
                </c:pt>
                <c:pt idx="1152">
                  <c:v>0.39713633709828056</c:v>
                </c:pt>
                <c:pt idx="1153">
                  <c:v>0.39761654135081193</c:v>
                </c:pt>
                <c:pt idx="1154">
                  <c:v>0.40489667374801852</c:v>
                </c:pt>
                <c:pt idx="1155">
                  <c:v>0.40965607566051693</c:v>
                </c:pt>
                <c:pt idx="1156">
                  <c:v>0.4081586466095441</c:v>
                </c:pt>
                <c:pt idx="1157">
                  <c:v>0.40793908543309232</c:v>
                </c:pt>
                <c:pt idx="1158">
                  <c:v>0.40659814372971959</c:v>
                </c:pt>
                <c:pt idx="1159">
                  <c:v>0.40658985467617192</c:v>
                </c:pt>
                <c:pt idx="1160">
                  <c:v>0.40664703275269048</c:v>
                </c:pt>
                <c:pt idx="1161">
                  <c:v>0.40673398210342032</c:v>
                </c:pt>
                <c:pt idx="1162">
                  <c:v>0.40696514886208524</c:v>
                </c:pt>
                <c:pt idx="1163">
                  <c:v>0.40690711884730485</c:v>
                </c:pt>
                <c:pt idx="1164">
                  <c:v>0.40661516215709165</c:v>
                </c:pt>
                <c:pt idx="1165">
                  <c:v>0.40684263132565013</c:v>
                </c:pt>
                <c:pt idx="1166">
                  <c:v>0.40664788440227206</c:v>
                </c:pt>
                <c:pt idx="1167">
                  <c:v>0.40769027012143028</c:v>
                </c:pt>
                <c:pt idx="1168">
                  <c:v>0.40803574357453953</c:v>
                </c:pt>
                <c:pt idx="1169">
                  <c:v>0.40855745245837222</c:v>
                </c:pt>
                <c:pt idx="1170">
                  <c:v>0.41001163935187307</c:v>
                </c:pt>
                <c:pt idx="1171">
                  <c:v>0.41034194089664033</c:v>
                </c:pt>
                <c:pt idx="1172">
                  <c:v>0.41038000116490286</c:v>
                </c:pt>
                <c:pt idx="1173">
                  <c:v>0.40997237094987038</c:v>
                </c:pt>
                <c:pt idx="1174">
                  <c:v>0.4100441367083521</c:v>
                </c:pt>
                <c:pt idx="1175">
                  <c:v>0.41080817902148925</c:v>
                </c:pt>
                <c:pt idx="1176">
                  <c:v>0.41103285852428806</c:v>
                </c:pt>
                <c:pt idx="1177">
                  <c:v>0.40857913154597209</c:v>
                </c:pt>
                <c:pt idx="1178">
                  <c:v>0.40541401189248266</c:v>
                </c:pt>
                <c:pt idx="1179">
                  <c:v>0.40371874147669484</c:v>
                </c:pt>
                <c:pt idx="1180">
                  <c:v>0.403401687528887</c:v>
                </c:pt>
                <c:pt idx="1181">
                  <c:v>0.40443503805597963</c:v>
                </c:pt>
                <c:pt idx="1182">
                  <c:v>0.40444123128788523</c:v>
                </c:pt>
                <c:pt idx="1183">
                  <c:v>0.40418639342027152</c:v>
                </c:pt>
                <c:pt idx="1184">
                  <c:v>0.40316398881663695</c:v>
                </c:pt>
                <c:pt idx="1185">
                  <c:v>0.40454807437067747</c:v>
                </c:pt>
                <c:pt idx="1186">
                  <c:v>0.40619223259386511</c:v>
                </c:pt>
                <c:pt idx="1187">
                  <c:v>0.40578986232455622</c:v>
                </c:pt>
                <c:pt idx="1188">
                  <c:v>0.40462313409535539</c:v>
                </c:pt>
                <c:pt idx="1189">
                  <c:v>0.40300636730734662</c:v>
                </c:pt>
                <c:pt idx="1190">
                  <c:v>0.40606760887181825</c:v>
                </c:pt>
                <c:pt idx="1191">
                  <c:v>0.40474512373579069</c:v>
                </c:pt>
                <c:pt idx="1192">
                  <c:v>0.39128282321781355</c:v>
                </c:pt>
                <c:pt idx="1193">
                  <c:v>0.38563505887499783</c:v>
                </c:pt>
                <c:pt idx="1194">
                  <c:v>0.38397025868230256</c:v>
                </c:pt>
                <c:pt idx="1195">
                  <c:v>0.38404552167444123</c:v>
                </c:pt>
                <c:pt idx="1196">
                  <c:v>0.38374715129189085</c:v>
                </c:pt>
                <c:pt idx="1197">
                  <c:v>0.38470525632673452</c:v>
                </c:pt>
                <c:pt idx="1198">
                  <c:v>0.38479148465059776</c:v>
                </c:pt>
                <c:pt idx="1199">
                  <c:v>0.38475029250309301</c:v>
                </c:pt>
                <c:pt idx="1200">
                  <c:v>0.38504459047876266</c:v>
                </c:pt>
                <c:pt idx="1201">
                  <c:v>0.38618264486817527</c:v>
                </c:pt>
                <c:pt idx="1202">
                  <c:v>0.38581757889281132</c:v>
                </c:pt>
                <c:pt idx="1203">
                  <c:v>0.3857957716670844</c:v>
                </c:pt>
                <c:pt idx="1204">
                  <c:v>0.38538085901028646</c:v>
                </c:pt>
                <c:pt idx="1205">
                  <c:v>0.38569769830504197</c:v>
                </c:pt>
                <c:pt idx="1206">
                  <c:v>0.38535769216777666</c:v>
                </c:pt>
                <c:pt idx="1207">
                  <c:v>0.37807787712608276</c:v>
                </c:pt>
                <c:pt idx="1208">
                  <c:v>0.37668533598598897</c:v>
                </c:pt>
                <c:pt idx="1209">
                  <c:v>0.37386602464935387</c:v>
                </c:pt>
                <c:pt idx="1210">
                  <c:v>0.37348313880931311</c:v>
                </c:pt>
                <c:pt idx="1211">
                  <c:v>0.37392854155129457</c:v>
                </c:pt>
                <c:pt idx="1212">
                  <c:v>0.37332780504797991</c:v>
                </c:pt>
                <c:pt idx="1213">
                  <c:v>0.37162809681460568</c:v>
                </c:pt>
                <c:pt idx="1214">
                  <c:v>0.37074076435555792</c:v>
                </c:pt>
                <c:pt idx="1215">
                  <c:v>0.36820798132609078</c:v>
                </c:pt>
                <c:pt idx="1216">
                  <c:v>0.36680776724764336</c:v>
                </c:pt>
                <c:pt idx="1217">
                  <c:v>0.36663507956907782</c:v>
                </c:pt>
                <c:pt idx="1218">
                  <c:v>0.36418055505118968</c:v>
                </c:pt>
                <c:pt idx="1219">
                  <c:v>0.36399837935468143</c:v>
                </c:pt>
                <c:pt idx="1220">
                  <c:v>0.36399805246926525</c:v>
                </c:pt>
                <c:pt idx="1221">
                  <c:v>0.36406009948141432</c:v>
                </c:pt>
                <c:pt idx="1222">
                  <c:v>0.36381870021854884</c:v>
                </c:pt>
                <c:pt idx="1223">
                  <c:v>0.36385062569688748</c:v>
                </c:pt>
                <c:pt idx="1224">
                  <c:v>0.36353891342854672</c:v>
                </c:pt>
                <c:pt idx="1225">
                  <c:v>0.3617741356248248</c:v>
                </c:pt>
                <c:pt idx="1226">
                  <c:v>0.35216493718275077</c:v>
                </c:pt>
                <c:pt idx="1227">
                  <c:v>0.34858589647241361</c:v>
                </c:pt>
                <c:pt idx="1228">
                  <c:v>0.34671542996624866</c:v>
                </c:pt>
                <c:pt idx="1229">
                  <c:v>0.34790988673229889</c:v>
                </c:pt>
                <c:pt idx="1230">
                  <c:v>0.34266983752325708</c:v>
                </c:pt>
                <c:pt idx="1231">
                  <c:v>0.34305653534840908</c:v>
                </c:pt>
                <c:pt idx="1232">
                  <c:v>0.34353873189464013</c:v>
                </c:pt>
                <c:pt idx="1233">
                  <c:v>0.34354133055188651</c:v>
                </c:pt>
                <c:pt idx="1234">
                  <c:v>0.34355007876666627</c:v>
                </c:pt>
                <c:pt idx="1235">
                  <c:v>0.34349877092077447</c:v>
                </c:pt>
                <c:pt idx="1236">
                  <c:v>0.34238477174839682</c:v>
                </c:pt>
                <c:pt idx="1237">
                  <c:v>0.34226198988207779</c:v>
                </c:pt>
                <c:pt idx="1238">
                  <c:v>0.34266970216403614</c:v>
                </c:pt>
                <c:pt idx="1239">
                  <c:v>0.3424154136421102</c:v>
                </c:pt>
                <c:pt idx="1240">
                  <c:v>0.34206277048332057</c:v>
                </c:pt>
                <c:pt idx="1241">
                  <c:v>0.34223702014425761</c:v>
                </c:pt>
                <c:pt idx="1242">
                  <c:v>0.34190321179691674</c:v>
                </c:pt>
                <c:pt idx="1243">
                  <c:v>0.34142406708613499</c:v>
                </c:pt>
                <c:pt idx="1244">
                  <c:v>0.34161476960195536</c:v>
                </c:pt>
                <c:pt idx="1245">
                  <c:v>0.34111417299184005</c:v>
                </c:pt>
                <c:pt idx="1246">
                  <c:v>0.34045151031330134</c:v>
                </c:pt>
                <c:pt idx="1247">
                  <c:v>0.33994712934185889</c:v>
                </c:pt>
                <c:pt idx="1248">
                  <c:v>0.33973616311516525</c:v>
                </c:pt>
                <c:pt idx="1249">
                  <c:v>0.33856435245970107</c:v>
                </c:pt>
                <c:pt idx="1250">
                  <c:v>0.33802355959255442</c:v>
                </c:pt>
                <c:pt idx="1251">
                  <c:v>0.33765178289078657</c:v>
                </c:pt>
                <c:pt idx="1252">
                  <c:v>0.33712224196335039</c:v>
                </c:pt>
                <c:pt idx="1253">
                  <c:v>0.3360694574655505</c:v>
                </c:pt>
                <c:pt idx="1254">
                  <c:v>0.33430357492933949</c:v>
                </c:pt>
                <c:pt idx="1255">
                  <c:v>0.33400764598005678</c:v>
                </c:pt>
                <c:pt idx="1256">
                  <c:v>0.33361103523098135</c:v>
                </c:pt>
                <c:pt idx="1257">
                  <c:v>0.33353406659418988</c:v>
                </c:pt>
                <c:pt idx="1258">
                  <c:v>0.33329130124194678</c:v>
                </c:pt>
                <c:pt idx="1259">
                  <c:v>0.33243509287104794</c:v>
                </c:pt>
                <c:pt idx="1260">
                  <c:v>0.33062540830322501</c:v>
                </c:pt>
                <c:pt idx="1261">
                  <c:v>0.33065718844684727</c:v>
                </c:pt>
                <c:pt idx="1262">
                  <c:v>0.32861919219166891</c:v>
                </c:pt>
                <c:pt idx="1263">
                  <c:v>0.32836089735036633</c:v>
                </c:pt>
                <c:pt idx="1264">
                  <c:v>0.32675250302675185</c:v>
                </c:pt>
                <c:pt idx="1265">
                  <c:v>0.32530689835932214</c:v>
                </c:pt>
                <c:pt idx="1266">
                  <c:v>0.32590898923132822</c:v>
                </c:pt>
                <c:pt idx="1267">
                  <c:v>0.32598847838994882</c:v>
                </c:pt>
                <c:pt idx="1268">
                  <c:v>0.31929605325919425</c:v>
                </c:pt>
                <c:pt idx="1269">
                  <c:v>0.32002544096954505</c:v>
                </c:pt>
                <c:pt idx="1270">
                  <c:v>0.31894673233669552</c:v>
                </c:pt>
                <c:pt idx="1271">
                  <c:v>0.31786714782001613</c:v>
                </c:pt>
                <c:pt idx="1272">
                  <c:v>0.31702930822082692</c:v>
                </c:pt>
                <c:pt idx="1273">
                  <c:v>0.31644616588501451</c:v>
                </c:pt>
                <c:pt idx="1274">
                  <c:v>0.31510079208639763</c:v>
                </c:pt>
                <c:pt idx="1275">
                  <c:v>0.31570956228735564</c:v>
                </c:pt>
                <c:pt idx="1276">
                  <c:v>0.3119722831056172</c:v>
                </c:pt>
                <c:pt idx="1277">
                  <c:v>0.31211974340994142</c:v>
                </c:pt>
                <c:pt idx="1278">
                  <c:v>0.31482694474662798</c:v>
                </c:pt>
                <c:pt idx="1279">
                  <c:v>0.31466675159932278</c:v>
                </c:pt>
                <c:pt idx="1280">
                  <c:v>0.31494693220722281</c:v>
                </c:pt>
                <c:pt idx="1281">
                  <c:v>0.31514391452614732</c:v>
                </c:pt>
                <c:pt idx="1282">
                  <c:v>0.31545796784340335</c:v>
                </c:pt>
                <c:pt idx="1283">
                  <c:v>0.31510196778856908</c:v>
                </c:pt>
                <c:pt idx="1284">
                  <c:v>0.3151965878918373</c:v>
                </c:pt>
                <c:pt idx="1285">
                  <c:v>0.31428027338468867</c:v>
                </c:pt>
                <c:pt idx="1286">
                  <c:v>0.31424545730149495</c:v>
                </c:pt>
                <c:pt idx="1287">
                  <c:v>0.31503537689541922</c:v>
                </c:pt>
                <c:pt idx="1288">
                  <c:v>0.31447484441684942</c:v>
                </c:pt>
                <c:pt idx="1289">
                  <c:v>0.31437382306483103</c:v>
                </c:pt>
                <c:pt idx="1290">
                  <c:v>0.31510259734043072</c:v>
                </c:pt>
                <c:pt idx="1291">
                  <c:v>0.31541550268429341</c:v>
                </c:pt>
                <c:pt idx="1292">
                  <c:v>0.31548830283407275</c:v>
                </c:pt>
                <c:pt idx="1293">
                  <c:v>0.31390019107810274</c:v>
                </c:pt>
                <c:pt idx="1294">
                  <c:v>0.31421775619692777</c:v>
                </c:pt>
                <c:pt idx="1295">
                  <c:v>0.31404084296899465</c:v>
                </c:pt>
                <c:pt idx="1296">
                  <c:v>0.31303871353517371</c:v>
                </c:pt>
                <c:pt idx="1297">
                  <c:v>0.31150916230638326</c:v>
                </c:pt>
                <c:pt idx="1298">
                  <c:v>0.31153905058926701</c:v>
                </c:pt>
                <c:pt idx="1299">
                  <c:v>0.31088968605020423</c:v>
                </c:pt>
                <c:pt idx="1300">
                  <c:v>0.30890242851068356</c:v>
                </c:pt>
                <c:pt idx="1301">
                  <c:v>0.30927511826900722</c:v>
                </c:pt>
                <c:pt idx="1302">
                  <c:v>0.30941736983361912</c:v>
                </c:pt>
                <c:pt idx="1303">
                  <c:v>0.30902519279422436</c:v>
                </c:pt>
                <c:pt idx="1304">
                  <c:v>0.30910583830380078</c:v>
                </c:pt>
                <c:pt idx="1305">
                  <c:v>0.31009420991276204</c:v>
                </c:pt>
                <c:pt idx="1306">
                  <c:v>0.30894172566420863</c:v>
                </c:pt>
                <c:pt idx="1307">
                  <c:v>0.30932347918548703</c:v>
                </c:pt>
                <c:pt idx="1308">
                  <c:v>0.30923789555865105</c:v>
                </c:pt>
                <c:pt idx="1309">
                  <c:v>0.30801106038751763</c:v>
                </c:pt>
                <c:pt idx="1310">
                  <c:v>0.30729754973272266</c:v>
                </c:pt>
                <c:pt idx="1311">
                  <c:v>0.3073822681638248</c:v>
                </c:pt>
                <c:pt idx="1312">
                  <c:v>0.30791148552345848</c:v>
                </c:pt>
                <c:pt idx="1313">
                  <c:v>0.30752445973856918</c:v>
                </c:pt>
                <c:pt idx="1314">
                  <c:v>0.30777040579734838</c:v>
                </c:pt>
                <c:pt idx="1315">
                  <c:v>0.30781581174947364</c:v>
                </c:pt>
                <c:pt idx="1316">
                  <c:v>0.30790817966265815</c:v>
                </c:pt>
                <c:pt idx="1317">
                  <c:v>0.30834251712785804</c:v>
                </c:pt>
                <c:pt idx="1318">
                  <c:v>0.30770756229487811</c:v>
                </c:pt>
                <c:pt idx="1319">
                  <c:v>0.30778437648728602</c:v>
                </c:pt>
                <c:pt idx="1320">
                  <c:v>0.31043583340421882</c:v>
                </c:pt>
                <c:pt idx="1321">
                  <c:v>0.31064628607005623</c:v>
                </c:pt>
                <c:pt idx="1322">
                  <c:v>0.31201350382346166</c:v>
                </c:pt>
                <c:pt idx="1323">
                  <c:v>0.31204889366635058</c:v>
                </c:pt>
                <c:pt idx="1324">
                  <c:v>0.31235580751166275</c:v>
                </c:pt>
                <c:pt idx="1325">
                  <c:v>0.3118437576126955</c:v>
                </c:pt>
                <c:pt idx="1326">
                  <c:v>0.31149866870791859</c:v>
                </c:pt>
                <c:pt idx="1327">
                  <c:v>0.31202673868610503</c:v>
                </c:pt>
                <c:pt idx="1328">
                  <c:v>0.31223795445344971</c:v>
                </c:pt>
                <c:pt idx="1329">
                  <c:v>0.30888177363485825</c:v>
                </c:pt>
                <c:pt idx="1330">
                  <c:v>0.30808216828674628</c:v>
                </c:pt>
                <c:pt idx="1331">
                  <c:v>0.30792103253709463</c:v>
                </c:pt>
                <c:pt idx="1332">
                  <c:v>0.3080620905271268</c:v>
                </c:pt>
                <c:pt idx="1333">
                  <c:v>0.3070195533249791</c:v>
                </c:pt>
                <c:pt idx="1334">
                  <c:v>0.30430497270979123</c:v>
                </c:pt>
                <c:pt idx="1335">
                  <c:v>0.30435713565337208</c:v>
                </c:pt>
                <c:pt idx="1336">
                  <c:v>0.30381573132974465</c:v>
                </c:pt>
                <c:pt idx="1337">
                  <c:v>0.30391583667065381</c:v>
                </c:pt>
                <c:pt idx="1338">
                  <c:v>0.303344890960138</c:v>
                </c:pt>
                <c:pt idx="1339">
                  <c:v>0.30330333088964812</c:v>
                </c:pt>
                <c:pt idx="1340">
                  <c:v>0.30332509418538406</c:v>
                </c:pt>
                <c:pt idx="1341">
                  <c:v>0.30342220938518449</c:v>
                </c:pt>
                <c:pt idx="1342">
                  <c:v>0.30282026075166868</c:v>
                </c:pt>
                <c:pt idx="1343">
                  <c:v>0.30330919830136804</c:v>
                </c:pt>
                <c:pt idx="1344">
                  <c:v>0.30232080948723933</c:v>
                </c:pt>
                <c:pt idx="1345">
                  <c:v>0.30259620248125574</c:v>
                </c:pt>
                <c:pt idx="1346">
                  <c:v>0.30352563956673584</c:v>
                </c:pt>
                <c:pt idx="1347">
                  <c:v>0.30382879459956375</c:v>
                </c:pt>
                <c:pt idx="1348">
                  <c:v>0.3051346672859106</c:v>
                </c:pt>
                <c:pt idx="1349">
                  <c:v>0.30596411020307629</c:v>
                </c:pt>
                <c:pt idx="1350">
                  <c:v>0.30567512522905649</c:v>
                </c:pt>
                <c:pt idx="1351">
                  <c:v>0.30921111953652919</c:v>
                </c:pt>
                <c:pt idx="1352">
                  <c:v>0.30970047603519946</c:v>
                </c:pt>
                <c:pt idx="1353">
                  <c:v>0.3098940396436119</c:v>
                </c:pt>
                <c:pt idx="1354">
                  <c:v>0.30684402005598255</c:v>
                </c:pt>
                <c:pt idx="1355">
                  <c:v>0.30174518565782515</c:v>
                </c:pt>
                <c:pt idx="1356">
                  <c:v>0.30203444389696937</c:v>
                </c:pt>
                <c:pt idx="1357">
                  <c:v>0.30220590072881048</c:v>
                </c:pt>
                <c:pt idx="1358">
                  <c:v>0.30220971155255028</c:v>
                </c:pt>
                <c:pt idx="1359">
                  <c:v>0.30227780344496685</c:v>
                </c:pt>
                <c:pt idx="1360">
                  <c:v>0.30183151563742472</c:v>
                </c:pt>
                <c:pt idx="1361">
                  <c:v>0.30165192070865998</c:v>
                </c:pt>
                <c:pt idx="1362">
                  <c:v>0.30014304298675953</c:v>
                </c:pt>
                <c:pt idx="1363">
                  <c:v>0.30010737970444706</c:v>
                </c:pt>
                <c:pt idx="1364">
                  <c:v>0.30007273502946935</c:v>
                </c:pt>
                <c:pt idx="1365">
                  <c:v>0.30016670182816646</c:v>
                </c:pt>
                <c:pt idx="1366">
                  <c:v>0.29965550966299881</c:v>
                </c:pt>
                <c:pt idx="1367">
                  <c:v>0.29592064596062051</c:v>
                </c:pt>
                <c:pt idx="1368">
                  <c:v>0.29501576948464348</c:v>
                </c:pt>
                <c:pt idx="1369">
                  <c:v>0.29498823269111951</c:v>
                </c:pt>
                <c:pt idx="1370">
                  <c:v>0.29395616062749053</c:v>
                </c:pt>
                <c:pt idx="1371">
                  <c:v>0.29140716807118627</c:v>
                </c:pt>
                <c:pt idx="1372">
                  <c:v>0.29167800060647181</c:v>
                </c:pt>
                <c:pt idx="1373">
                  <c:v>0.29118908925250814</c:v>
                </c:pt>
                <c:pt idx="1374">
                  <c:v>0.29024283511122279</c:v>
                </c:pt>
                <c:pt idx="1375">
                  <c:v>0.29007262014064261</c:v>
                </c:pt>
                <c:pt idx="1376">
                  <c:v>0.28939438428308534</c:v>
                </c:pt>
                <c:pt idx="1377">
                  <c:v>0.28935819986370553</c:v>
                </c:pt>
                <c:pt idx="1378">
                  <c:v>0.2879367160916575</c:v>
                </c:pt>
                <c:pt idx="1379">
                  <c:v>0.28631231171963778</c:v>
                </c:pt>
                <c:pt idx="1380">
                  <c:v>0.28614332100826673</c:v>
                </c:pt>
                <c:pt idx="1381">
                  <c:v>0.28640353076429576</c:v>
                </c:pt>
                <c:pt idx="1382">
                  <c:v>0.2864308991939552</c:v>
                </c:pt>
                <c:pt idx="1383">
                  <c:v>0.28626944544866123</c:v>
                </c:pt>
                <c:pt idx="1384">
                  <c:v>0.28609394482135148</c:v>
                </c:pt>
                <c:pt idx="1385">
                  <c:v>0.28578348318174152</c:v>
                </c:pt>
                <c:pt idx="1386">
                  <c:v>0.28520337278874802</c:v>
                </c:pt>
                <c:pt idx="1387">
                  <c:v>0.28503133431390121</c:v>
                </c:pt>
                <c:pt idx="1388">
                  <c:v>0.28467323449596627</c:v>
                </c:pt>
                <c:pt idx="1389">
                  <c:v>0.28465159534015394</c:v>
                </c:pt>
                <c:pt idx="1390">
                  <c:v>0.28395262624898565</c:v>
                </c:pt>
                <c:pt idx="1391">
                  <c:v>0.28365512755916766</c:v>
                </c:pt>
                <c:pt idx="1392">
                  <c:v>0.28380161765852085</c:v>
                </c:pt>
                <c:pt idx="1393">
                  <c:v>0.28389328572311018</c:v>
                </c:pt>
                <c:pt idx="1394">
                  <c:v>0.28388291781358826</c:v>
                </c:pt>
                <c:pt idx="1395">
                  <c:v>0.28349835124083617</c:v>
                </c:pt>
                <c:pt idx="1396">
                  <c:v>0.28329757751445839</c:v>
                </c:pt>
                <c:pt idx="1397">
                  <c:v>0.28334156082577056</c:v>
                </c:pt>
                <c:pt idx="1398">
                  <c:v>0.28245051915398989</c:v>
                </c:pt>
                <c:pt idx="1399">
                  <c:v>0.28137583037336955</c:v>
                </c:pt>
                <c:pt idx="1400">
                  <c:v>0.28109904173706374</c:v>
                </c:pt>
                <c:pt idx="1401">
                  <c:v>0.28089388571955809</c:v>
                </c:pt>
                <c:pt idx="1402">
                  <c:v>0.28099055522068023</c:v>
                </c:pt>
                <c:pt idx="1403">
                  <c:v>0.28109741187676074</c:v>
                </c:pt>
                <c:pt idx="1404">
                  <c:v>0.28054097819282064</c:v>
                </c:pt>
                <c:pt idx="1405">
                  <c:v>0.28060222648429578</c:v>
                </c:pt>
                <c:pt idx="1406">
                  <c:v>0.27346777185215038</c:v>
                </c:pt>
                <c:pt idx="1407">
                  <c:v>0.26362158057572754</c:v>
                </c:pt>
                <c:pt idx="1408">
                  <c:v>0.25985962875137936</c:v>
                </c:pt>
                <c:pt idx="1409">
                  <c:v>0.25976787872619289</c:v>
                </c:pt>
                <c:pt idx="1410">
                  <c:v>0.26036338087455568</c:v>
                </c:pt>
                <c:pt idx="1411">
                  <c:v>0.26041075935649299</c:v>
                </c:pt>
                <c:pt idx="1412">
                  <c:v>0.26044191821418017</c:v>
                </c:pt>
                <c:pt idx="1413">
                  <c:v>0.26043422723288884</c:v>
                </c:pt>
                <c:pt idx="1414">
                  <c:v>0.25994660074657516</c:v>
                </c:pt>
                <c:pt idx="1415">
                  <c:v>0.25935683460051101</c:v>
                </c:pt>
                <c:pt idx="1416">
                  <c:v>0.25901286114764027</c:v>
                </c:pt>
                <c:pt idx="1417">
                  <c:v>0.25901563850858755</c:v>
                </c:pt>
                <c:pt idx="1418">
                  <c:v>0.25897520526352069</c:v>
                </c:pt>
                <c:pt idx="1419">
                  <c:v>0.25894461321901857</c:v>
                </c:pt>
                <c:pt idx="1420">
                  <c:v>0.25763648800558031</c:v>
                </c:pt>
                <c:pt idx="1421">
                  <c:v>0.25759280137447721</c:v>
                </c:pt>
                <c:pt idx="1422">
                  <c:v>0.25705424996491993</c:v>
                </c:pt>
                <c:pt idx="1423">
                  <c:v>0.25702891884303525</c:v>
                </c:pt>
                <c:pt idx="1424">
                  <c:v>0.25685949552313542</c:v>
                </c:pt>
                <c:pt idx="1425">
                  <c:v>0.25730670100672104</c:v>
                </c:pt>
                <c:pt idx="1426">
                  <c:v>0.25866262305923654</c:v>
                </c:pt>
                <c:pt idx="1427">
                  <c:v>0.25746195516133069</c:v>
                </c:pt>
                <c:pt idx="1428">
                  <c:v>0.25824290165483998</c:v>
                </c:pt>
                <c:pt idx="1429">
                  <c:v>0.26140155336906318</c:v>
                </c:pt>
                <c:pt idx="1430">
                  <c:v>0.25916804189734982</c:v>
                </c:pt>
                <c:pt idx="1431">
                  <c:v>0.26013816011651714</c:v>
                </c:pt>
                <c:pt idx="1432">
                  <c:v>0.26510057167151069</c:v>
                </c:pt>
                <c:pt idx="1433">
                  <c:v>0.26666874922862438</c:v>
                </c:pt>
                <c:pt idx="1434">
                  <c:v>0.26649651708973177</c:v>
                </c:pt>
                <c:pt idx="1435">
                  <c:v>0.26706050270601234</c:v>
                </c:pt>
                <c:pt idx="1436">
                  <c:v>0.26723779565431871</c:v>
                </c:pt>
                <c:pt idx="1437">
                  <c:v>0.26722508703355324</c:v>
                </c:pt>
                <c:pt idx="1438">
                  <c:v>0.26715217528864355</c:v>
                </c:pt>
                <c:pt idx="1439">
                  <c:v>0.26682248507195316</c:v>
                </c:pt>
                <c:pt idx="1440">
                  <c:v>0.26703642983353848</c:v>
                </c:pt>
                <c:pt idx="1441">
                  <c:v>0.26676036387682034</c:v>
                </c:pt>
                <c:pt idx="1442">
                  <c:v>0.26658794527995494</c:v>
                </c:pt>
                <c:pt idx="1443">
                  <c:v>0.26658493767260211</c:v>
                </c:pt>
                <c:pt idx="1444">
                  <c:v>0.26915452031515968</c:v>
                </c:pt>
                <c:pt idx="1445">
                  <c:v>0.27331582506410074</c:v>
                </c:pt>
                <c:pt idx="1446">
                  <c:v>0.27201271325585874</c:v>
                </c:pt>
                <c:pt idx="1447">
                  <c:v>0.27172236048316695</c:v>
                </c:pt>
                <c:pt idx="1448">
                  <c:v>0.27210965162988571</c:v>
                </c:pt>
                <c:pt idx="1449">
                  <c:v>0.27079988837637514</c:v>
                </c:pt>
                <c:pt idx="1450">
                  <c:v>0.27073313396047055</c:v>
                </c:pt>
                <c:pt idx="1451">
                  <c:v>0.27053292738690288</c:v>
                </c:pt>
                <c:pt idx="1452">
                  <c:v>0.27031714413920938</c:v>
                </c:pt>
                <c:pt idx="1453">
                  <c:v>0.27059974935874787</c:v>
                </c:pt>
                <c:pt idx="1454">
                  <c:v>0.27032662292385962</c:v>
                </c:pt>
                <c:pt idx="1455">
                  <c:v>0.27018926348967293</c:v>
                </c:pt>
                <c:pt idx="1456">
                  <c:v>0.26984457486395469</c:v>
                </c:pt>
                <c:pt idx="1457">
                  <c:v>0.26902102808831041</c:v>
                </c:pt>
                <c:pt idx="1458">
                  <c:v>0.26905270064213654</c:v>
                </c:pt>
                <c:pt idx="1459">
                  <c:v>0.27194537175324257</c:v>
                </c:pt>
                <c:pt idx="1460">
                  <c:v>0.27290410861690062</c:v>
                </c:pt>
                <c:pt idx="1461">
                  <c:v>0.27539908484043335</c:v>
                </c:pt>
                <c:pt idx="1462">
                  <c:v>0.27677083450390105</c:v>
                </c:pt>
                <c:pt idx="1463">
                  <c:v>0.276976307872149</c:v>
                </c:pt>
                <c:pt idx="1464">
                  <c:v>0.27606042756692645</c:v>
                </c:pt>
                <c:pt idx="1465">
                  <c:v>0.27702822239841868</c:v>
                </c:pt>
                <c:pt idx="1466">
                  <c:v>0.27710314642520184</c:v>
                </c:pt>
                <c:pt idx="1467">
                  <c:v>0.27740722626160796</c:v>
                </c:pt>
                <c:pt idx="1468">
                  <c:v>0.27840305232171164</c:v>
                </c:pt>
                <c:pt idx="1469">
                  <c:v>0.27845807437736403</c:v>
                </c:pt>
                <c:pt idx="1470">
                  <c:v>0.2801751562080983</c:v>
                </c:pt>
                <c:pt idx="1471">
                  <c:v>0.28009205102001494</c:v>
                </c:pt>
                <c:pt idx="1472">
                  <c:v>0.2803031754127181</c:v>
                </c:pt>
                <c:pt idx="1473">
                  <c:v>0.27810871333558773</c:v>
                </c:pt>
                <c:pt idx="1474">
                  <c:v>0.27797834865240229</c:v>
                </c:pt>
                <c:pt idx="1475">
                  <c:v>0.27707476057347918</c:v>
                </c:pt>
                <c:pt idx="1476">
                  <c:v>0.27635778817970491</c:v>
                </c:pt>
                <c:pt idx="1477">
                  <c:v>0.27587030262427514</c:v>
                </c:pt>
                <c:pt idx="1478">
                  <c:v>0.27638813234159032</c:v>
                </c:pt>
                <c:pt idx="1479">
                  <c:v>0.27408038449212069</c:v>
                </c:pt>
                <c:pt idx="1480">
                  <c:v>0.27273189924372188</c:v>
                </c:pt>
                <c:pt idx="1481">
                  <c:v>0.27024055662748325</c:v>
                </c:pt>
                <c:pt idx="1482">
                  <c:v>0.27442280797666074</c:v>
                </c:pt>
                <c:pt idx="1483">
                  <c:v>0.27354865701164416</c:v>
                </c:pt>
                <c:pt idx="1484">
                  <c:v>0.27262542536293832</c:v>
                </c:pt>
                <c:pt idx="1485">
                  <c:v>0.27275437360147164</c:v>
                </c:pt>
                <c:pt idx="1486">
                  <c:v>0.27236003009513143</c:v>
                </c:pt>
                <c:pt idx="1487">
                  <c:v>0.27244599171153178</c:v>
                </c:pt>
                <c:pt idx="1488">
                  <c:v>0.27259635952321931</c:v>
                </c:pt>
                <c:pt idx="1489">
                  <c:v>0.27238009246568362</c:v>
                </c:pt>
                <c:pt idx="1490">
                  <c:v>0.27159923198521996</c:v>
                </c:pt>
                <c:pt idx="1491">
                  <c:v>0.27126878059167281</c:v>
                </c:pt>
                <c:pt idx="1492">
                  <c:v>0.27099161851159081</c:v>
                </c:pt>
                <c:pt idx="1493">
                  <c:v>0.270948302601691</c:v>
                </c:pt>
                <c:pt idx="1494">
                  <c:v>0.27133239245908641</c:v>
                </c:pt>
                <c:pt idx="1495">
                  <c:v>0.27154929877127953</c:v>
                </c:pt>
                <c:pt idx="1496">
                  <c:v>0.27127239422925881</c:v>
                </c:pt>
                <c:pt idx="1497">
                  <c:v>0.27186278202843522</c:v>
                </c:pt>
                <c:pt idx="1498">
                  <c:v>0.27180822421883699</c:v>
                </c:pt>
                <c:pt idx="1499">
                  <c:v>0.27196516533617543</c:v>
                </c:pt>
                <c:pt idx="1500">
                  <c:v>0.27085664907574752</c:v>
                </c:pt>
                <c:pt idx="1501">
                  <c:v>0.27031076662710524</c:v>
                </c:pt>
                <c:pt idx="1502">
                  <c:v>0.27065434075607819</c:v>
                </c:pt>
                <c:pt idx="1503">
                  <c:v>0.2705693338790589</c:v>
                </c:pt>
                <c:pt idx="1504">
                  <c:v>0.26930440439103698</c:v>
                </c:pt>
                <c:pt idx="1505">
                  <c:v>0.26957088853262445</c:v>
                </c:pt>
                <c:pt idx="1506">
                  <c:v>0.26807172687316411</c:v>
                </c:pt>
                <c:pt idx="1507">
                  <c:v>0.26770122088432474</c:v>
                </c:pt>
                <c:pt idx="1508">
                  <c:v>0.26824843077948479</c:v>
                </c:pt>
                <c:pt idx="1509">
                  <c:v>0.26839485001151442</c:v>
                </c:pt>
                <c:pt idx="1510">
                  <c:v>0.26848580841299097</c:v>
                </c:pt>
                <c:pt idx="1511">
                  <c:v>0.2681329252919058</c:v>
                </c:pt>
                <c:pt idx="1512">
                  <c:v>0.26783156424841853</c:v>
                </c:pt>
                <c:pt idx="1513">
                  <c:v>0.2675212919902033</c:v>
                </c:pt>
                <c:pt idx="1514">
                  <c:v>0.26743766702956667</c:v>
                </c:pt>
                <c:pt idx="1515">
                  <c:v>0.26926648521571817</c:v>
                </c:pt>
                <c:pt idx="1516">
                  <c:v>0.27043461516370826</c:v>
                </c:pt>
                <c:pt idx="1517">
                  <c:v>0.2708105024437486</c:v>
                </c:pt>
                <c:pt idx="1518">
                  <c:v>0.26943485723721988</c:v>
                </c:pt>
                <c:pt idx="1519">
                  <c:v>0.26938846995390375</c:v>
                </c:pt>
                <c:pt idx="1520">
                  <c:v>0.27176741457560843</c:v>
                </c:pt>
                <c:pt idx="1521">
                  <c:v>0.27033530507275816</c:v>
                </c:pt>
                <c:pt idx="1522">
                  <c:v>0.27005692250076307</c:v>
                </c:pt>
                <c:pt idx="1523">
                  <c:v>0.26910358067458251</c:v>
                </c:pt>
                <c:pt idx="1524">
                  <c:v>0.26909230657809596</c:v>
                </c:pt>
                <c:pt idx="1525">
                  <c:v>0.26963895597160353</c:v>
                </c:pt>
                <c:pt idx="1526">
                  <c:v>0.27090149114335421</c:v>
                </c:pt>
                <c:pt idx="1527">
                  <c:v>0.26735355351073042</c:v>
                </c:pt>
                <c:pt idx="1528">
                  <c:v>0.26883037674552274</c:v>
                </c:pt>
                <c:pt idx="1529">
                  <c:v>0.26998128321789783</c:v>
                </c:pt>
                <c:pt idx="1530">
                  <c:v>0.2693464390857257</c:v>
                </c:pt>
                <c:pt idx="1531">
                  <c:v>0.26874904831927388</c:v>
                </c:pt>
                <c:pt idx="1532">
                  <c:v>0.26856359397752405</c:v>
                </c:pt>
                <c:pt idx="1533">
                  <c:v>0.26851207938556254</c:v>
                </c:pt>
                <c:pt idx="1534">
                  <c:v>0.26807137193629932</c:v>
                </c:pt>
                <c:pt idx="1535">
                  <c:v>0.2667012932910317</c:v>
                </c:pt>
                <c:pt idx="1536">
                  <c:v>0.26586475602234272</c:v>
                </c:pt>
                <c:pt idx="1537">
                  <c:v>0.26626525548828134</c:v>
                </c:pt>
                <c:pt idx="1538">
                  <c:v>0.26675759171888136</c:v>
                </c:pt>
                <c:pt idx="1539">
                  <c:v>0.26632314530864187</c:v>
                </c:pt>
                <c:pt idx="1540">
                  <c:v>0.26695690756872287</c:v>
                </c:pt>
                <c:pt idx="1541">
                  <c:v>0.26700415727437132</c:v>
                </c:pt>
                <c:pt idx="1542">
                  <c:v>0.26318761512122635</c:v>
                </c:pt>
                <c:pt idx="1543">
                  <c:v>0.25029531920317072</c:v>
                </c:pt>
                <c:pt idx="1544">
                  <c:v>0.24621713669469614</c:v>
                </c:pt>
                <c:pt idx="1545">
                  <c:v>0.24672874759701816</c:v>
                </c:pt>
                <c:pt idx="1546">
                  <c:v>0.2464348319577806</c:v>
                </c:pt>
                <c:pt idx="1547">
                  <c:v>0.2450733075853142</c:v>
                </c:pt>
                <c:pt idx="1548">
                  <c:v>0.24541674536731753</c:v>
                </c:pt>
                <c:pt idx="1549">
                  <c:v>0.24518537988014488</c:v>
                </c:pt>
                <c:pt idx="1550">
                  <c:v>0.24528537223645056</c:v>
                </c:pt>
                <c:pt idx="1551">
                  <c:v>0.24499729512645274</c:v>
                </c:pt>
                <c:pt idx="1552">
                  <c:v>0.24502871305935123</c:v>
                </c:pt>
                <c:pt idx="1553">
                  <c:v>0.24639600960125063</c:v>
                </c:pt>
                <c:pt idx="1554">
                  <c:v>0.24626246305185284</c:v>
                </c:pt>
                <c:pt idx="1555">
                  <c:v>0.24675115906673159</c:v>
                </c:pt>
                <c:pt idx="1556">
                  <c:v>0.24878336579294183</c:v>
                </c:pt>
                <c:pt idx="1557">
                  <c:v>0.24770221195799283</c:v>
                </c:pt>
                <c:pt idx="1558">
                  <c:v>0.24791614241395904</c:v>
                </c:pt>
                <c:pt idx="1559">
                  <c:v>0.24859574315886895</c:v>
                </c:pt>
                <c:pt idx="1560">
                  <c:v>0.24969794955639366</c:v>
                </c:pt>
                <c:pt idx="1561">
                  <c:v>0.25015434449268159</c:v>
                </c:pt>
                <c:pt idx="1562">
                  <c:v>0.25224132782183484</c:v>
                </c:pt>
                <c:pt idx="1563">
                  <c:v>0.25286200183200191</c:v>
                </c:pt>
                <c:pt idx="1564">
                  <c:v>0.25186213386226308</c:v>
                </c:pt>
                <c:pt idx="1565">
                  <c:v>0.25232121126149981</c:v>
                </c:pt>
                <c:pt idx="1566">
                  <c:v>0.25213961766532306</c:v>
                </c:pt>
                <c:pt idx="1567">
                  <c:v>0.25146350275205509</c:v>
                </c:pt>
                <c:pt idx="1568">
                  <c:v>0.25164531174315352</c:v>
                </c:pt>
                <c:pt idx="1569">
                  <c:v>0.25048501789911581</c:v>
                </c:pt>
                <c:pt idx="1570">
                  <c:v>0.25086834274538955</c:v>
                </c:pt>
                <c:pt idx="1571">
                  <c:v>0.25045324320485801</c:v>
                </c:pt>
                <c:pt idx="1572">
                  <c:v>0.2467058892735853</c:v>
                </c:pt>
                <c:pt idx="1573">
                  <c:v>0.2468079951368719</c:v>
                </c:pt>
                <c:pt idx="1574">
                  <c:v>0.24675413026582721</c:v>
                </c:pt>
                <c:pt idx="1575">
                  <c:v>0.24670510953940111</c:v>
                </c:pt>
                <c:pt idx="1576">
                  <c:v>0.24627423647096286</c:v>
                </c:pt>
                <c:pt idx="1577">
                  <c:v>0.2464679751447777</c:v>
                </c:pt>
                <c:pt idx="1578">
                  <c:v>0.24645379347786223</c:v>
                </c:pt>
                <c:pt idx="1579">
                  <c:v>0.24599775702038029</c:v>
                </c:pt>
                <c:pt idx="1580">
                  <c:v>0.24542802047328185</c:v>
                </c:pt>
                <c:pt idx="1581">
                  <c:v>0.24478322706689029</c:v>
                </c:pt>
                <c:pt idx="1582">
                  <c:v>0.24418923977851278</c:v>
                </c:pt>
                <c:pt idx="1583">
                  <c:v>0.24458351551824004</c:v>
                </c:pt>
                <c:pt idx="1584">
                  <c:v>0.2451532464988396</c:v>
                </c:pt>
                <c:pt idx="1585">
                  <c:v>0.24605173718250312</c:v>
                </c:pt>
                <c:pt idx="1586">
                  <c:v>0.246094066607594</c:v>
                </c:pt>
                <c:pt idx="1587">
                  <c:v>0.24538922522340231</c:v>
                </c:pt>
                <c:pt idx="1588">
                  <c:v>0.24600052130811961</c:v>
                </c:pt>
                <c:pt idx="1589">
                  <c:v>0.24544223181681993</c:v>
                </c:pt>
                <c:pt idx="1590">
                  <c:v>0.2465045213887179</c:v>
                </c:pt>
                <c:pt idx="1591">
                  <c:v>0.24575276422796904</c:v>
                </c:pt>
                <c:pt idx="1592">
                  <c:v>0.24520057116249863</c:v>
                </c:pt>
                <c:pt idx="1593">
                  <c:v>0.24512770848006582</c:v>
                </c:pt>
                <c:pt idx="1594">
                  <c:v>0.24647647422983834</c:v>
                </c:pt>
                <c:pt idx="1595">
                  <c:v>0.24579347589823022</c:v>
                </c:pt>
                <c:pt idx="1596">
                  <c:v>0.24574647567693919</c:v>
                </c:pt>
                <c:pt idx="1597">
                  <c:v>0.24533016389126494</c:v>
                </c:pt>
                <c:pt idx="1598">
                  <c:v>0.24691218431723488</c:v>
                </c:pt>
                <c:pt idx="1599">
                  <c:v>0.24703635793785747</c:v>
                </c:pt>
                <c:pt idx="1600">
                  <c:v>0.24702128159303793</c:v>
                </c:pt>
                <c:pt idx="1601">
                  <c:v>0.2508983811251192</c:v>
                </c:pt>
                <c:pt idx="1602">
                  <c:v>0.25320546582606152</c:v>
                </c:pt>
                <c:pt idx="1603">
                  <c:v>0.2535401124981318</c:v>
                </c:pt>
                <c:pt idx="1604">
                  <c:v>0.25855494259849959</c:v>
                </c:pt>
                <c:pt idx="1605">
                  <c:v>0.25985648220747815</c:v>
                </c:pt>
                <c:pt idx="1606">
                  <c:v>0.26875179633224844</c:v>
                </c:pt>
                <c:pt idx="1607">
                  <c:v>0.27375443677283134</c:v>
                </c:pt>
                <c:pt idx="1608">
                  <c:v>0.27341555068573931</c:v>
                </c:pt>
                <c:pt idx="1609">
                  <c:v>0.27108331919007816</c:v>
                </c:pt>
                <c:pt idx="1610">
                  <c:v>0.27172706767908417</c:v>
                </c:pt>
                <c:pt idx="1611">
                  <c:v>0.27268186292410995</c:v>
                </c:pt>
                <c:pt idx="1612">
                  <c:v>0.27347033343654387</c:v>
                </c:pt>
                <c:pt idx="1613">
                  <c:v>0.27348435407349136</c:v>
                </c:pt>
                <c:pt idx="1614">
                  <c:v>0.27360860566608325</c:v>
                </c:pt>
                <c:pt idx="1615">
                  <c:v>0.27522307608742591</c:v>
                </c:pt>
                <c:pt idx="1616">
                  <c:v>0.27558356713504312</c:v>
                </c:pt>
                <c:pt idx="1617">
                  <c:v>0.27510596536207571</c:v>
                </c:pt>
                <c:pt idx="1618">
                  <c:v>0.27513727019049405</c:v>
                </c:pt>
                <c:pt idx="1619">
                  <c:v>0.27556494499825224</c:v>
                </c:pt>
                <c:pt idx="1620">
                  <c:v>0.27525574468180425</c:v>
                </c:pt>
                <c:pt idx="1621">
                  <c:v>0.2753290034146415</c:v>
                </c:pt>
                <c:pt idx="1622">
                  <c:v>0.2757897633167512</c:v>
                </c:pt>
                <c:pt idx="1623">
                  <c:v>0.27544742156228069</c:v>
                </c:pt>
                <c:pt idx="1624">
                  <c:v>0.27600109184177907</c:v>
                </c:pt>
                <c:pt idx="1625">
                  <c:v>0.27618179352754185</c:v>
                </c:pt>
                <c:pt idx="1626">
                  <c:v>0.27636039809841895</c:v>
                </c:pt>
                <c:pt idx="1627">
                  <c:v>0.27675278428188854</c:v>
                </c:pt>
                <c:pt idx="1628">
                  <c:v>0.27688379172536409</c:v>
                </c:pt>
                <c:pt idx="1629">
                  <c:v>0.27641475104650776</c:v>
                </c:pt>
                <c:pt idx="1630">
                  <c:v>0.2775743139568192</c:v>
                </c:pt>
                <c:pt idx="1631">
                  <c:v>0.27756275637638844</c:v>
                </c:pt>
                <c:pt idx="1632">
                  <c:v>0.27755890539809663</c:v>
                </c:pt>
                <c:pt idx="1633">
                  <c:v>0.27633171874324031</c:v>
                </c:pt>
                <c:pt idx="1634">
                  <c:v>0.27618009539256422</c:v>
                </c:pt>
                <c:pt idx="1635">
                  <c:v>0.27660654581749927</c:v>
                </c:pt>
                <c:pt idx="1636">
                  <c:v>0.27664446252461983</c:v>
                </c:pt>
                <c:pt idx="1637">
                  <c:v>0.27554632076214036</c:v>
                </c:pt>
                <c:pt idx="1638">
                  <c:v>0.2769928148586685</c:v>
                </c:pt>
                <c:pt idx="1639">
                  <c:v>0.27927188426145411</c:v>
                </c:pt>
                <c:pt idx="1640">
                  <c:v>0.27882161662653371</c:v>
                </c:pt>
                <c:pt idx="1641">
                  <c:v>0.27888898501254272</c:v>
                </c:pt>
                <c:pt idx="1642">
                  <c:v>0.27858825668983234</c:v>
                </c:pt>
                <c:pt idx="1643">
                  <c:v>0.27673376873557226</c:v>
                </c:pt>
                <c:pt idx="1644">
                  <c:v>0.27606768836336154</c:v>
                </c:pt>
                <c:pt idx="1645">
                  <c:v>0.27820217253234453</c:v>
                </c:pt>
                <c:pt idx="1646">
                  <c:v>0.28037545999902957</c:v>
                </c:pt>
                <c:pt idx="1647">
                  <c:v>0.28029637911280048</c:v>
                </c:pt>
                <c:pt idx="1648">
                  <c:v>0.28032641851669077</c:v>
                </c:pt>
                <c:pt idx="1649">
                  <c:v>0.28023018388625515</c:v>
                </c:pt>
                <c:pt idx="1650">
                  <c:v>0.28542222992070748</c:v>
                </c:pt>
                <c:pt idx="1651">
                  <c:v>0.28443919542423668</c:v>
                </c:pt>
                <c:pt idx="1652">
                  <c:v>0.28448024779037745</c:v>
                </c:pt>
                <c:pt idx="1653">
                  <c:v>0.28368489329470054</c:v>
                </c:pt>
                <c:pt idx="1654">
                  <c:v>0.28328512502147007</c:v>
                </c:pt>
                <c:pt idx="1655">
                  <c:v>0.28277647797255423</c:v>
                </c:pt>
                <c:pt idx="1656">
                  <c:v>0.28263853636799119</c:v>
                </c:pt>
                <c:pt idx="1657">
                  <c:v>0.28247121907815709</c:v>
                </c:pt>
                <c:pt idx="1658">
                  <c:v>0.28327625722826155</c:v>
                </c:pt>
                <c:pt idx="1659">
                  <c:v>0.283960269817981</c:v>
                </c:pt>
                <c:pt idx="1660">
                  <c:v>0.28214017520380541</c:v>
                </c:pt>
                <c:pt idx="1661">
                  <c:v>0.28338400012761106</c:v>
                </c:pt>
                <c:pt idx="1662">
                  <c:v>0.28326182492479446</c:v>
                </c:pt>
                <c:pt idx="1663">
                  <c:v>0.28417326537560728</c:v>
                </c:pt>
                <c:pt idx="1664">
                  <c:v>0.28496175199697132</c:v>
                </c:pt>
                <c:pt idx="1665">
                  <c:v>0.28565375663107084</c:v>
                </c:pt>
                <c:pt idx="1666">
                  <c:v>0.28591022686472228</c:v>
                </c:pt>
                <c:pt idx="1667">
                  <c:v>0.28678116532075948</c:v>
                </c:pt>
                <c:pt idx="1668">
                  <c:v>0.28685789168110409</c:v>
                </c:pt>
                <c:pt idx="1669">
                  <c:v>0.28758929095478608</c:v>
                </c:pt>
                <c:pt idx="1670">
                  <c:v>0.28746732851556211</c:v>
                </c:pt>
                <c:pt idx="1671">
                  <c:v>0.28683732422364205</c:v>
                </c:pt>
                <c:pt idx="1672">
                  <c:v>0.2880895338654817</c:v>
                </c:pt>
                <c:pt idx="1673">
                  <c:v>0.28787889944524003</c:v>
                </c:pt>
                <c:pt idx="1674">
                  <c:v>0.28860731531183431</c:v>
                </c:pt>
                <c:pt idx="1675">
                  <c:v>0.29155788308678676</c:v>
                </c:pt>
                <c:pt idx="1676">
                  <c:v>0.29098980698385141</c:v>
                </c:pt>
                <c:pt idx="1677">
                  <c:v>0.2956625160765794</c:v>
                </c:pt>
                <c:pt idx="1678">
                  <c:v>0.29642309157584945</c:v>
                </c:pt>
                <c:pt idx="1679">
                  <c:v>0.29837799051510472</c:v>
                </c:pt>
                <c:pt idx="1680">
                  <c:v>0.29801494311431104</c:v>
                </c:pt>
                <c:pt idx="1681">
                  <c:v>0.29532041879092241</c:v>
                </c:pt>
                <c:pt idx="1682">
                  <c:v>0.29885531761950718</c:v>
                </c:pt>
                <c:pt idx="1683">
                  <c:v>0.29880419501923089</c:v>
                </c:pt>
                <c:pt idx="1684">
                  <c:v>0.29505327837412004</c:v>
                </c:pt>
                <c:pt idx="1685">
                  <c:v>0.29378307445442453</c:v>
                </c:pt>
                <c:pt idx="1686">
                  <c:v>0.29425475476975566</c:v>
                </c:pt>
                <c:pt idx="1687">
                  <c:v>0.29368024475813148</c:v>
                </c:pt>
                <c:pt idx="1688">
                  <c:v>0.29424341975627227</c:v>
                </c:pt>
                <c:pt idx="1689">
                  <c:v>0.2941374508689853</c:v>
                </c:pt>
                <c:pt idx="1690">
                  <c:v>0.29373109398673142</c:v>
                </c:pt>
                <c:pt idx="1691">
                  <c:v>0.29406455401108966</c:v>
                </c:pt>
                <c:pt idx="1692">
                  <c:v>0.29388792106411393</c:v>
                </c:pt>
                <c:pt idx="1693">
                  <c:v>0.29385374649287249</c:v>
                </c:pt>
                <c:pt idx="1694">
                  <c:v>0.29389730278296256</c:v>
                </c:pt>
                <c:pt idx="1695">
                  <c:v>0.2947863514335769</c:v>
                </c:pt>
                <c:pt idx="1696">
                  <c:v>0.29506151880652004</c:v>
                </c:pt>
                <c:pt idx="1697">
                  <c:v>0.29473121933634916</c:v>
                </c:pt>
                <c:pt idx="1698">
                  <c:v>0.29456935096475662</c:v>
                </c:pt>
                <c:pt idx="1699">
                  <c:v>0.29483154445270943</c:v>
                </c:pt>
                <c:pt idx="1700">
                  <c:v>0.29507047406604403</c:v>
                </c:pt>
                <c:pt idx="1701">
                  <c:v>0.2948244680550533</c:v>
                </c:pt>
                <c:pt idx="1702">
                  <c:v>0.29494732691134384</c:v>
                </c:pt>
                <c:pt idx="1703">
                  <c:v>0.29563867997094895</c:v>
                </c:pt>
                <c:pt idx="1704">
                  <c:v>0.29575218629818273</c:v>
                </c:pt>
                <c:pt idx="1705">
                  <c:v>0.29632794711360766</c:v>
                </c:pt>
                <c:pt idx="1706">
                  <c:v>0.29628662537426409</c:v>
                </c:pt>
                <c:pt idx="1707">
                  <c:v>0.29752314672666186</c:v>
                </c:pt>
                <c:pt idx="1708">
                  <c:v>0.29882337905242429</c:v>
                </c:pt>
                <c:pt idx="1709">
                  <c:v>0.30019438629452994</c:v>
                </c:pt>
                <c:pt idx="1710">
                  <c:v>0.3004472154458922</c:v>
                </c:pt>
                <c:pt idx="1711">
                  <c:v>0.30020987805291421</c:v>
                </c:pt>
                <c:pt idx="1712">
                  <c:v>0.30034787138516011</c:v>
                </c:pt>
                <c:pt idx="1713">
                  <c:v>0.29892734843687307</c:v>
                </c:pt>
                <c:pt idx="1714">
                  <c:v>0.29860780074279636</c:v>
                </c:pt>
                <c:pt idx="1715">
                  <c:v>0.2985681574525485</c:v>
                </c:pt>
                <c:pt idx="1716">
                  <c:v>0.29839719503676526</c:v>
                </c:pt>
                <c:pt idx="1717">
                  <c:v>0.29812344789919626</c:v>
                </c:pt>
                <c:pt idx="1718">
                  <c:v>0.29772133489165681</c:v>
                </c:pt>
                <c:pt idx="1719">
                  <c:v>0.2977266280324658</c:v>
                </c:pt>
                <c:pt idx="1720">
                  <c:v>0.29768146990001748</c:v>
                </c:pt>
                <c:pt idx="1721">
                  <c:v>0.29752032781121046</c:v>
                </c:pt>
                <c:pt idx="1722">
                  <c:v>0.29749482202003502</c:v>
                </c:pt>
                <c:pt idx="1723">
                  <c:v>0.29766239270322897</c:v>
                </c:pt>
                <c:pt idx="1724">
                  <c:v>0.29754488900680165</c:v>
                </c:pt>
                <c:pt idx="1725">
                  <c:v>0.29908716550295539</c:v>
                </c:pt>
                <c:pt idx="1726">
                  <c:v>0.29950793150172694</c:v>
                </c:pt>
                <c:pt idx="1727">
                  <c:v>0.30067812619671747</c:v>
                </c:pt>
                <c:pt idx="1728">
                  <c:v>0.30121126137211202</c:v>
                </c:pt>
                <c:pt idx="1729">
                  <c:v>0.30161896530111054</c:v>
                </c:pt>
                <c:pt idx="1730">
                  <c:v>0.30193994833529597</c:v>
                </c:pt>
                <c:pt idx="1731">
                  <c:v>0.3019577357564065</c:v>
                </c:pt>
                <c:pt idx="1732">
                  <c:v>0.30181322892434165</c:v>
                </c:pt>
                <c:pt idx="1733">
                  <c:v>0.30239543679016267</c:v>
                </c:pt>
                <c:pt idx="1734">
                  <c:v>0.30240107717324055</c:v>
                </c:pt>
                <c:pt idx="1735">
                  <c:v>0.30222491157736603</c:v>
                </c:pt>
                <c:pt idx="1736">
                  <c:v>0.30227111113633554</c:v>
                </c:pt>
                <c:pt idx="1737">
                  <c:v>0.30218903133125252</c:v>
                </c:pt>
                <c:pt idx="1738">
                  <c:v>0.30222117835672357</c:v>
                </c:pt>
                <c:pt idx="1739">
                  <c:v>0.30239590547093742</c:v>
                </c:pt>
                <c:pt idx="1740">
                  <c:v>0.30257059594324209</c:v>
                </c:pt>
                <c:pt idx="1741">
                  <c:v>0.30163619951382808</c:v>
                </c:pt>
                <c:pt idx="1742">
                  <c:v>0.30066948297395202</c:v>
                </c:pt>
                <c:pt idx="1743">
                  <c:v>0.30090671956145737</c:v>
                </c:pt>
                <c:pt idx="1744">
                  <c:v>0.30095300220608417</c:v>
                </c:pt>
                <c:pt idx="1745">
                  <c:v>0.30047946491741323</c:v>
                </c:pt>
                <c:pt idx="1746">
                  <c:v>0.30030896076033714</c:v>
                </c:pt>
                <c:pt idx="1747">
                  <c:v>0.29695424257174824</c:v>
                </c:pt>
                <c:pt idx="1748">
                  <c:v>0.29685130605618848</c:v>
                </c:pt>
                <c:pt idx="1749">
                  <c:v>0.29677684079197819</c:v>
                </c:pt>
                <c:pt idx="1750">
                  <c:v>0.29686512080160354</c:v>
                </c:pt>
                <c:pt idx="1751">
                  <c:v>0.29622237212577962</c:v>
                </c:pt>
                <c:pt idx="1752">
                  <c:v>0.29709553363709384</c:v>
                </c:pt>
                <c:pt idx="1753">
                  <c:v>0.29683511421176018</c:v>
                </c:pt>
                <c:pt idx="1754">
                  <c:v>0.29674831880920122</c:v>
                </c:pt>
                <c:pt idx="1755">
                  <c:v>0.29691091723825686</c:v>
                </c:pt>
                <c:pt idx="1756">
                  <c:v>0.29787056552207708</c:v>
                </c:pt>
                <c:pt idx="1757">
                  <c:v>0.29787556548031824</c:v>
                </c:pt>
                <c:pt idx="1758">
                  <c:v>0.29528954966517917</c:v>
                </c:pt>
                <c:pt idx="1759">
                  <c:v>0.29525339297710979</c:v>
                </c:pt>
                <c:pt idx="1760">
                  <c:v>0.2952207252403537</c:v>
                </c:pt>
                <c:pt idx="1761">
                  <c:v>0.2951380217850077</c:v>
                </c:pt>
                <c:pt idx="1762">
                  <c:v>0.29524226941730736</c:v>
                </c:pt>
                <c:pt idx="1763">
                  <c:v>0.2954143175586863</c:v>
                </c:pt>
                <c:pt idx="1764">
                  <c:v>0.29575913148113753</c:v>
                </c:pt>
                <c:pt idx="1765">
                  <c:v>0.29606012421670552</c:v>
                </c:pt>
                <c:pt idx="1766">
                  <c:v>0.29552474601573803</c:v>
                </c:pt>
                <c:pt idx="1767">
                  <c:v>0.29414169606158397</c:v>
                </c:pt>
                <c:pt idx="1768">
                  <c:v>0.29392871899427747</c:v>
                </c:pt>
                <c:pt idx="1769">
                  <c:v>0.2940541551754387</c:v>
                </c:pt>
                <c:pt idx="1770">
                  <c:v>0.29434036563033639</c:v>
                </c:pt>
                <c:pt idx="1771">
                  <c:v>0.29320995785061438</c:v>
                </c:pt>
                <c:pt idx="1772">
                  <c:v>0.29257203924576913</c:v>
                </c:pt>
                <c:pt idx="1773">
                  <c:v>0.29305571739827196</c:v>
                </c:pt>
                <c:pt idx="1774">
                  <c:v>0.29296842277101209</c:v>
                </c:pt>
                <c:pt idx="1775">
                  <c:v>0.2933952392108094</c:v>
                </c:pt>
                <c:pt idx="1776">
                  <c:v>0.29348219753736987</c:v>
                </c:pt>
                <c:pt idx="1777">
                  <c:v>0.294027876223866</c:v>
                </c:pt>
                <c:pt idx="1778">
                  <c:v>0.29413585889374583</c:v>
                </c:pt>
                <c:pt idx="1779">
                  <c:v>0.29468863416920865</c:v>
                </c:pt>
                <c:pt idx="1780">
                  <c:v>0.29370678439423775</c:v>
                </c:pt>
                <c:pt idx="1781">
                  <c:v>0.29370699466688494</c:v>
                </c:pt>
                <c:pt idx="1782">
                  <c:v>0.29438733799174321</c:v>
                </c:pt>
                <c:pt idx="1783">
                  <c:v>0.29454686585971007</c:v>
                </c:pt>
                <c:pt idx="1784">
                  <c:v>0.29631683205532738</c:v>
                </c:pt>
                <c:pt idx="1785">
                  <c:v>0.29711243446519514</c:v>
                </c:pt>
                <c:pt idx="1786">
                  <c:v>0.29748415538409073</c:v>
                </c:pt>
                <c:pt idx="1787">
                  <c:v>0.29884804612369698</c:v>
                </c:pt>
                <c:pt idx="1788">
                  <c:v>0.30019695705969457</c:v>
                </c:pt>
                <c:pt idx="1789">
                  <c:v>0.30016758375339564</c:v>
                </c:pt>
                <c:pt idx="1790">
                  <c:v>0.30068354262868824</c:v>
                </c:pt>
                <c:pt idx="1791">
                  <c:v>0.30336425687839796</c:v>
                </c:pt>
                <c:pt idx="1792">
                  <c:v>0.30271800241884644</c:v>
                </c:pt>
                <c:pt idx="1793">
                  <c:v>0.30274594453546916</c:v>
                </c:pt>
                <c:pt idx="1794">
                  <c:v>0.30498655799486046</c:v>
                </c:pt>
                <c:pt idx="1795">
                  <c:v>0.31502848623057889</c:v>
                </c:pt>
                <c:pt idx="1796">
                  <c:v>0.31864011561851857</c:v>
                </c:pt>
                <c:pt idx="1797">
                  <c:v>0.31908378492093531</c:v>
                </c:pt>
                <c:pt idx="1798">
                  <c:v>0.31917759851998939</c:v>
                </c:pt>
                <c:pt idx="1799">
                  <c:v>0.32021554145984804</c:v>
                </c:pt>
                <c:pt idx="1800">
                  <c:v>0.31977363551309174</c:v>
                </c:pt>
                <c:pt idx="1801">
                  <c:v>0.31835592231267407</c:v>
                </c:pt>
                <c:pt idx="1802">
                  <c:v>0.31719874324100372</c:v>
                </c:pt>
                <c:pt idx="1803">
                  <c:v>0.31681604304191757</c:v>
                </c:pt>
                <c:pt idx="1804">
                  <c:v>0.31672239603341196</c:v>
                </c:pt>
                <c:pt idx="1805">
                  <c:v>0.31880569076768306</c:v>
                </c:pt>
                <c:pt idx="1806">
                  <c:v>0.31812520645610237</c:v>
                </c:pt>
                <c:pt idx="1807">
                  <c:v>0.31837949060220955</c:v>
                </c:pt>
                <c:pt idx="1808">
                  <c:v>0.31718512300217905</c:v>
                </c:pt>
                <c:pt idx="1809">
                  <c:v>0.31621954879640307</c:v>
                </c:pt>
                <c:pt idx="1810">
                  <c:v>0.31597074149480525</c:v>
                </c:pt>
                <c:pt idx="1811">
                  <c:v>0.31463911068264139</c:v>
                </c:pt>
                <c:pt idx="1812">
                  <c:v>0.31355699359131717</c:v>
                </c:pt>
                <c:pt idx="1813">
                  <c:v>0.31355653332209138</c:v>
                </c:pt>
                <c:pt idx="1814">
                  <c:v>0.31282451752636359</c:v>
                </c:pt>
                <c:pt idx="1815">
                  <c:v>0.31193018744167456</c:v>
                </c:pt>
                <c:pt idx="1816">
                  <c:v>0.31260041921105863</c:v>
                </c:pt>
                <c:pt idx="1817">
                  <c:v>0.31229849519565084</c:v>
                </c:pt>
                <c:pt idx="1818">
                  <c:v>0.31125747427445216</c:v>
                </c:pt>
                <c:pt idx="1819">
                  <c:v>0.30797704720214009</c:v>
                </c:pt>
                <c:pt idx="1820">
                  <c:v>0.2927128278460816</c:v>
                </c:pt>
                <c:pt idx="1821">
                  <c:v>0.30068071124614187</c:v>
                </c:pt>
                <c:pt idx="1822">
                  <c:v>0.29739226535634461</c:v>
                </c:pt>
                <c:pt idx="1823">
                  <c:v>0.29579233703510488</c:v>
                </c:pt>
                <c:pt idx="1824">
                  <c:v>0.29204749145971121</c:v>
                </c:pt>
                <c:pt idx="1825">
                  <c:v>0.29199204878336898</c:v>
                </c:pt>
                <c:pt idx="1826">
                  <c:v>0.29348469512227943</c:v>
                </c:pt>
                <c:pt idx="1827">
                  <c:v>0.29631012752992203</c:v>
                </c:pt>
                <c:pt idx="1828">
                  <c:v>0.29685329932988741</c:v>
                </c:pt>
                <c:pt idx="1829">
                  <c:v>0.29681506080974013</c:v>
                </c:pt>
                <c:pt idx="1830">
                  <c:v>0.2982237080547584</c:v>
                </c:pt>
                <c:pt idx="1831">
                  <c:v>0.30038309475336367</c:v>
                </c:pt>
                <c:pt idx="1832">
                  <c:v>0.30070713596936061</c:v>
                </c:pt>
                <c:pt idx="1833">
                  <c:v>0.3011138210031446</c:v>
                </c:pt>
                <c:pt idx="1834">
                  <c:v>0.30108706371409905</c:v>
                </c:pt>
                <c:pt idx="1835">
                  <c:v>0.3008087855775452</c:v>
                </c:pt>
                <c:pt idx="1836">
                  <c:v>0.30290626158533002</c:v>
                </c:pt>
                <c:pt idx="1837">
                  <c:v>0.30418180081620794</c:v>
                </c:pt>
                <c:pt idx="1838">
                  <c:v>0.30395531223078559</c:v>
                </c:pt>
                <c:pt idx="1839">
                  <c:v>0.304840970564345</c:v>
                </c:pt>
                <c:pt idx="1840">
                  <c:v>0.30556304184251315</c:v>
                </c:pt>
                <c:pt idx="1841">
                  <c:v>0.3073290893384007</c:v>
                </c:pt>
                <c:pt idx="1842">
                  <c:v>0.30733681422723053</c:v>
                </c:pt>
                <c:pt idx="1843">
                  <c:v>0.30821116524941211</c:v>
                </c:pt>
                <c:pt idx="1844">
                  <c:v>0.30957642244172379</c:v>
                </c:pt>
                <c:pt idx="1845">
                  <c:v>0.30889279912390588</c:v>
                </c:pt>
                <c:pt idx="1846">
                  <c:v>0.30817986634853611</c:v>
                </c:pt>
                <c:pt idx="1847">
                  <c:v>0.30782689895817772</c:v>
                </c:pt>
                <c:pt idx="1848">
                  <c:v>0.30756449357927113</c:v>
                </c:pt>
                <c:pt idx="1849">
                  <c:v>0.30817263923195931</c:v>
                </c:pt>
                <c:pt idx="1850">
                  <c:v>0.30789634672754068</c:v>
                </c:pt>
                <c:pt idx="1851">
                  <c:v>0.30769832595352214</c:v>
                </c:pt>
                <c:pt idx="1852">
                  <c:v>0.30723661464777585</c:v>
                </c:pt>
                <c:pt idx="1853">
                  <c:v>0.30491048898390799</c:v>
                </c:pt>
                <c:pt idx="1854">
                  <c:v>0.30510296184599661</c:v>
                </c:pt>
                <c:pt idx="1855">
                  <c:v>0.30368702132247216</c:v>
                </c:pt>
                <c:pt idx="1856">
                  <c:v>0.30280285433218723</c:v>
                </c:pt>
                <c:pt idx="1857">
                  <c:v>0.30207851154396881</c:v>
                </c:pt>
                <c:pt idx="1858">
                  <c:v>0.30057638672062437</c:v>
                </c:pt>
                <c:pt idx="1859">
                  <c:v>0.29921269086805363</c:v>
                </c:pt>
                <c:pt idx="1860">
                  <c:v>0.29938223715808071</c:v>
                </c:pt>
                <c:pt idx="1861">
                  <c:v>0.30178811516542298</c:v>
                </c:pt>
                <c:pt idx="1862">
                  <c:v>0.30247717931768603</c:v>
                </c:pt>
                <c:pt idx="1863">
                  <c:v>0.305058578817124</c:v>
                </c:pt>
                <c:pt idx="1864">
                  <c:v>0.30461365092766229</c:v>
                </c:pt>
                <c:pt idx="1865">
                  <c:v>0.30459612642641692</c:v>
                </c:pt>
                <c:pt idx="1866">
                  <c:v>0.30446755659214769</c:v>
                </c:pt>
                <c:pt idx="1867">
                  <c:v>0.30318525981008948</c:v>
                </c:pt>
                <c:pt idx="1868">
                  <c:v>0.30301674085629549</c:v>
                </c:pt>
                <c:pt idx="1869">
                  <c:v>0.30353370116276746</c:v>
                </c:pt>
                <c:pt idx="1870">
                  <c:v>0.30409725027169748</c:v>
                </c:pt>
                <c:pt idx="1871">
                  <c:v>0.30425481303104263</c:v>
                </c:pt>
                <c:pt idx="1872">
                  <c:v>0.30437976788569199</c:v>
                </c:pt>
                <c:pt idx="1873">
                  <c:v>0.30463228392292879</c:v>
                </c:pt>
                <c:pt idx="1874">
                  <c:v>0.30438003255938828</c:v>
                </c:pt>
                <c:pt idx="1875">
                  <c:v>0.30443293114845987</c:v>
                </c:pt>
                <c:pt idx="1876">
                  <c:v>0.30389859272085717</c:v>
                </c:pt>
                <c:pt idx="1877">
                  <c:v>0.30412252197726081</c:v>
                </c:pt>
                <c:pt idx="1878">
                  <c:v>0.30566392281063581</c:v>
                </c:pt>
                <c:pt idx="1879">
                  <c:v>0.30677128450493896</c:v>
                </c:pt>
                <c:pt idx="1880">
                  <c:v>0.30915139537784886</c:v>
                </c:pt>
                <c:pt idx="1881">
                  <c:v>0.30963263161018895</c:v>
                </c:pt>
                <c:pt idx="1882">
                  <c:v>0.30880530842883164</c:v>
                </c:pt>
                <c:pt idx="1883">
                  <c:v>0.30886772143585062</c:v>
                </c:pt>
                <c:pt idx="1884">
                  <c:v>0.30843361031430866</c:v>
                </c:pt>
                <c:pt idx="1885">
                  <c:v>0.30886609666548104</c:v>
                </c:pt>
                <c:pt idx="1886">
                  <c:v>0.30907643558448339</c:v>
                </c:pt>
                <c:pt idx="1887">
                  <c:v>0.30939026180147899</c:v>
                </c:pt>
                <c:pt idx="1888">
                  <c:v>0.30933023950531524</c:v>
                </c:pt>
                <c:pt idx="1889">
                  <c:v>0.30924808482106686</c:v>
                </c:pt>
                <c:pt idx="1890">
                  <c:v>0.30884664277540497</c:v>
                </c:pt>
                <c:pt idx="1891">
                  <c:v>0.30753066678854729</c:v>
                </c:pt>
                <c:pt idx="1892">
                  <c:v>0.3080268325680347</c:v>
                </c:pt>
                <c:pt idx="1893">
                  <c:v>0.30706561901973567</c:v>
                </c:pt>
                <c:pt idx="1894">
                  <c:v>0.30687556895561452</c:v>
                </c:pt>
                <c:pt idx="1895">
                  <c:v>0.30895159953102208</c:v>
                </c:pt>
                <c:pt idx="1896">
                  <c:v>0.30899761756391986</c:v>
                </c:pt>
                <c:pt idx="1897">
                  <c:v>0.30831207966286095</c:v>
                </c:pt>
                <c:pt idx="1898">
                  <c:v>0.31057648041024777</c:v>
                </c:pt>
                <c:pt idx="1899">
                  <c:v>0.31159900898909432</c:v>
                </c:pt>
                <c:pt idx="1900">
                  <c:v>0.31268731286769619</c:v>
                </c:pt>
                <c:pt idx="1901">
                  <c:v>0.31085795869604071</c:v>
                </c:pt>
                <c:pt idx="1902">
                  <c:v>0.30850227335411468</c:v>
                </c:pt>
                <c:pt idx="1903">
                  <c:v>0.31061309446333724</c:v>
                </c:pt>
                <c:pt idx="1904">
                  <c:v>0.31162120858149722</c:v>
                </c:pt>
                <c:pt idx="1905">
                  <c:v>0.31215920304674555</c:v>
                </c:pt>
                <c:pt idx="1906">
                  <c:v>0.31143630277363354</c:v>
                </c:pt>
                <c:pt idx="1907">
                  <c:v>0.3117262152269879</c:v>
                </c:pt>
                <c:pt idx="1908">
                  <c:v>0.31002337620142095</c:v>
                </c:pt>
                <c:pt idx="1909">
                  <c:v>0.31007351560098728</c:v>
                </c:pt>
                <c:pt idx="1910">
                  <c:v>0.31052729351490888</c:v>
                </c:pt>
                <c:pt idx="1911">
                  <c:v>0.31039126940457051</c:v>
                </c:pt>
                <c:pt idx="1912">
                  <c:v>0.31073045740092869</c:v>
                </c:pt>
                <c:pt idx="1913">
                  <c:v>0.30983887087562623</c:v>
                </c:pt>
                <c:pt idx="1914">
                  <c:v>0.3100502408640034</c:v>
                </c:pt>
                <c:pt idx="1915">
                  <c:v>0.31089420436201387</c:v>
                </c:pt>
                <c:pt idx="1916">
                  <c:v>0.31158806498433844</c:v>
                </c:pt>
                <c:pt idx="1917">
                  <c:v>0.31098894728783327</c:v>
                </c:pt>
                <c:pt idx="1918">
                  <c:v>0.31177142512386219</c:v>
                </c:pt>
                <c:pt idx="1919">
                  <c:v>0.3144142203361488</c:v>
                </c:pt>
                <c:pt idx="1920">
                  <c:v>0.31504351935512637</c:v>
                </c:pt>
                <c:pt idx="1921">
                  <c:v>0.3170448611653009</c:v>
                </c:pt>
                <c:pt idx="1922">
                  <c:v>0.31714937735887477</c:v>
                </c:pt>
                <c:pt idx="1923">
                  <c:v>0.31774260176492514</c:v>
                </c:pt>
                <c:pt idx="1924">
                  <c:v>0.31681263275404525</c:v>
                </c:pt>
                <c:pt idx="1925">
                  <c:v>0.31838796196933211</c:v>
                </c:pt>
                <c:pt idx="1926">
                  <c:v>0.31879636848755044</c:v>
                </c:pt>
                <c:pt idx="1927">
                  <c:v>0.3186717681073058</c:v>
                </c:pt>
                <c:pt idx="1928">
                  <c:v>0.31960519274156302</c:v>
                </c:pt>
                <c:pt idx="1929">
                  <c:v>0.3164549796914829</c:v>
                </c:pt>
                <c:pt idx="1930">
                  <c:v>0.31566682745707819</c:v>
                </c:pt>
                <c:pt idx="1931">
                  <c:v>0.31436689765067144</c:v>
                </c:pt>
                <c:pt idx="1932">
                  <c:v>0.31514510485904118</c:v>
                </c:pt>
                <c:pt idx="1933">
                  <c:v>0.3161509760323114</c:v>
                </c:pt>
                <c:pt idx="1934">
                  <c:v>0.31572925499228022</c:v>
                </c:pt>
                <c:pt idx="1935">
                  <c:v>0.31555824042871289</c:v>
                </c:pt>
                <c:pt idx="1936">
                  <c:v>0.31526595748953595</c:v>
                </c:pt>
                <c:pt idx="1937">
                  <c:v>0.31547515786404656</c:v>
                </c:pt>
                <c:pt idx="1938">
                  <c:v>0.31511113190950746</c:v>
                </c:pt>
                <c:pt idx="1939">
                  <c:v>0.3159988768989952</c:v>
                </c:pt>
                <c:pt idx="1940">
                  <c:v>0.31462406889171385</c:v>
                </c:pt>
                <c:pt idx="1941">
                  <c:v>0.31517198727539908</c:v>
                </c:pt>
                <c:pt idx="1942">
                  <c:v>0.3157374446971879</c:v>
                </c:pt>
                <c:pt idx="1943">
                  <c:v>0.3154864240554075</c:v>
                </c:pt>
                <c:pt idx="1944">
                  <c:v>0.31550170638753267</c:v>
                </c:pt>
                <c:pt idx="1945">
                  <c:v>0.31602226914109416</c:v>
                </c:pt>
                <c:pt idx="1946">
                  <c:v>0.31639581592502231</c:v>
                </c:pt>
                <c:pt idx="1947">
                  <c:v>0.31595290001416154</c:v>
                </c:pt>
                <c:pt idx="1948">
                  <c:v>0.31585122512297131</c:v>
                </c:pt>
                <c:pt idx="1949">
                  <c:v>0.31594720231289086</c:v>
                </c:pt>
                <c:pt idx="1950">
                  <c:v>0.31617627886192318</c:v>
                </c:pt>
                <c:pt idx="1951">
                  <c:v>0.31787808461537603</c:v>
                </c:pt>
                <c:pt idx="1952">
                  <c:v>0.31780618173040365</c:v>
                </c:pt>
                <c:pt idx="1953">
                  <c:v>0.31824719124569456</c:v>
                </c:pt>
                <c:pt idx="1954">
                  <c:v>0.31828903062368935</c:v>
                </c:pt>
                <c:pt idx="1955">
                  <c:v>0.3177633713298188</c:v>
                </c:pt>
                <c:pt idx="1956">
                  <c:v>0.31815687476477744</c:v>
                </c:pt>
                <c:pt idx="1957">
                  <c:v>0.31803336781535807</c:v>
                </c:pt>
                <c:pt idx="1958">
                  <c:v>0.31800782032817121</c:v>
                </c:pt>
                <c:pt idx="1959">
                  <c:v>0.31740761178006766</c:v>
                </c:pt>
                <c:pt idx="1960">
                  <c:v>0.31695867466349753</c:v>
                </c:pt>
                <c:pt idx="1961">
                  <c:v>0.31683967725761525</c:v>
                </c:pt>
                <c:pt idx="1962">
                  <c:v>0.31608223515857392</c:v>
                </c:pt>
                <c:pt idx="1963">
                  <c:v>0.31683525577198296</c:v>
                </c:pt>
                <c:pt idx="1964">
                  <c:v>0.31659639075105472</c:v>
                </c:pt>
                <c:pt idx="1965">
                  <c:v>0.31775406110526827</c:v>
                </c:pt>
                <c:pt idx="1966">
                  <c:v>0.31777514843262383</c:v>
                </c:pt>
                <c:pt idx="1967">
                  <c:v>0.31835375391022774</c:v>
                </c:pt>
                <c:pt idx="1968">
                  <c:v>0.31930988310117686</c:v>
                </c:pt>
                <c:pt idx="1969">
                  <c:v>0.31912313276134929</c:v>
                </c:pt>
                <c:pt idx="1970">
                  <c:v>0.32002236928892613</c:v>
                </c:pt>
                <c:pt idx="1971">
                  <c:v>0.32012101597868298</c:v>
                </c:pt>
                <c:pt idx="1972">
                  <c:v>0.3198679082965924</c:v>
                </c:pt>
                <c:pt idx="1973">
                  <c:v>0.3199140353912166</c:v>
                </c:pt>
                <c:pt idx="1974">
                  <c:v>0.31989490479521043</c:v>
                </c:pt>
                <c:pt idx="1975">
                  <c:v>0.32039203185066656</c:v>
                </c:pt>
                <c:pt idx="1976">
                  <c:v>0.32101335422379057</c:v>
                </c:pt>
                <c:pt idx="1977">
                  <c:v>0.3228262519384264</c:v>
                </c:pt>
                <c:pt idx="1978">
                  <c:v>0.32257591920456302</c:v>
                </c:pt>
                <c:pt idx="1979">
                  <c:v>0.32219655638723671</c:v>
                </c:pt>
                <c:pt idx="1980">
                  <c:v>0.32263057156662761</c:v>
                </c:pt>
                <c:pt idx="1981">
                  <c:v>0.32295150844074721</c:v>
                </c:pt>
                <c:pt idx="1982">
                  <c:v>0.32335492608468108</c:v>
                </c:pt>
                <c:pt idx="1983">
                  <c:v>0.32342011050827618</c:v>
                </c:pt>
                <c:pt idx="1984">
                  <c:v>0.32453989670780892</c:v>
                </c:pt>
                <c:pt idx="1985">
                  <c:v>0.32450150356842622</c:v>
                </c:pt>
                <c:pt idx="1986">
                  <c:v>0.32451996386036708</c:v>
                </c:pt>
                <c:pt idx="1987">
                  <c:v>0.32501326343876402</c:v>
                </c:pt>
                <c:pt idx="1988">
                  <c:v>0.32503479938549107</c:v>
                </c:pt>
                <c:pt idx="1989">
                  <c:v>0.32468979998816638</c:v>
                </c:pt>
                <c:pt idx="1990">
                  <c:v>0.32501205332398619</c:v>
                </c:pt>
                <c:pt idx="1991">
                  <c:v>0.32497127876078036</c:v>
                </c:pt>
                <c:pt idx="1992">
                  <c:v>0.32527166994223572</c:v>
                </c:pt>
                <c:pt idx="1993">
                  <c:v>0.32633677968221281</c:v>
                </c:pt>
                <c:pt idx="1994">
                  <c:v>0.3275454196416559</c:v>
                </c:pt>
                <c:pt idx="1995">
                  <c:v>0.32802128944775305</c:v>
                </c:pt>
                <c:pt idx="1996">
                  <c:v>0.3284724200900222</c:v>
                </c:pt>
                <c:pt idx="1997">
                  <c:v>0.32883093021438653</c:v>
                </c:pt>
                <c:pt idx="1998">
                  <c:v>0.32879885212226706</c:v>
                </c:pt>
                <c:pt idx="1999">
                  <c:v>0.33171922352169708</c:v>
                </c:pt>
                <c:pt idx="2000">
                  <c:v>0.33255731762776386</c:v>
                </c:pt>
                <c:pt idx="2001">
                  <c:v>0.33307042311817808</c:v>
                </c:pt>
                <c:pt idx="2002">
                  <c:v>0.33318150936658092</c:v>
                </c:pt>
                <c:pt idx="2003">
                  <c:v>0.3339921063856407</c:v>
                </c:pt>
                <c:pt idx="2004">
                  <c:v>0.33425254314349923</c:v>
                </c:pt>
                <c:pt idx="2005">
                  <c:v>0.33512418780280873</c:v>
                </c:pt>
                <c:pt idx="2006">
                  <c:v>0.33514537995286159</c:v>
                </c:pt>
                <c:pt idx="2007">
                  <c:v>0.3350219040497685</c:v>
                </c:pt>
              </c:numCache>
            </c:numRef>
          </c:val>
          <c:smooth val="0"/>
          <c:extLst xmlns:c16r2="http://schemas.microsoft.com/office/drawing/2015/06/chart">
            <c:ext xmlns:c16="http://schemas.microsoft.com/office/drawing/2014/chart" uri="{C3380CC4-5D6E-409C-BE32-E72D297353CC}">
              <c16:uniqueId val="{00000002-2ABA-46E5-85D6-2306B79F7B0A}"/>
            </c:ext>
          </c:extLst>
        </c:ser>
        <c:ser>
          <c:idx val="3"/>
          <c:order val="3"/>
          <c:tx>
            <c:strRef>
              <c:f>beta!$AL$256</c:f>
              <c:strCache>
                <c:ptCount val="1"/>
                <c:pt idx="0">
                  <c:v>4th Nearby VIX future</c:v>
                </c:pt>
              </c:strCache>
            </c:strRef>
          </c:tx>
          <c:marker>
            <c:symbol val="none"/>
          </c:marker>
          <c:cat>
            <c:numRef>
              <c:f>beta!$AH$257:$AH$2264</c:f>
              <c:numCache>
                <c:formatCode>m/d/yyyy</c:formatCode>
                <c:ptCount val="2008"/>
                <c:pt idx="0">
                  <c:v>39598</c:v>
                </c:pt>
                <c:pt idx="1">
                  <c:v>39601</c:v>
                </c:pt>
                <c:pt idx="2">
                  <c:v>39602</c:v>
                </c:pt>
                <c:pt idx="3">
                  <c:v>39603</c:v>
                </c:pt>
                <c:pt idx="4">
                  <c:v>39604</c:v>
                </c:pt>
                <c:pt idx="5">
                  <c:v>39605</c:v>
                </c:pt>
                <c:pt idx="6">
                  <c:v>39608</c:v>
                </c:pt>
                <c:pt idx="7">
                  <c:v>39609</c:v>
                </c:pt>
                <c:pt idx="8">
                  <c:v>39610</c:v>
                </c:pt>
                <c:pt idx="9">
                  <c:v>39611</c:v>
                </c:pt>
                <c:pt idx="10">
                  <c:v>39612</c:v>
                </c:pt>
                <c:pt idx="11">
                  <c:v>39615</c:v>
                </c:pt>
                <c:pt idx="12">
                  <c:v>39616</c:v>
                </c:pt>
                <c:pt idx="13">
                  <c:v>39617</c:v>
                </c:pt>
                <c:pt idx="14">
                  <c:v>39618</c:v>
                </c:pt>
                <c:pt idx="15">
                  <c:v>39619</c:v>
                </c:pt>
                <c:pt idx="16">
                  <c:v>39622</c:v>
                </c:pt>
                <c:pt idx="17">
                  <c:v>39623</c:v>
                </c:pt>
                <c:pt idx="18">
                  <c:v>39624</c:v>
                </c:pt>
                <c:pt idx="19">
                  <c:v>39625</c:v>
                </c:pt>
                <c:pt idx="20">
                  <c:v>39626</c:v>
                </c:pt>
                <c:pt idx="21">
                  <c:v>39629</c:v>
                </c:pt>
                <c:pt idx="22">
                  <c:v>39630</c:v>
                </c:pt>
                <c:pt idx="23">
                  <c:v>39631</c:v>
                </c:pt>
                <c:pt idx="24">
                  <c:v>39632</c:v>
                </c:pt>
                <c:pt idx="25">
                  <c:v>39636</c:v>
                </c:pt>
                <c:pt idx="26">
                  <c:v>39637</c:v>
                </c:pt>
                <c:pt idx="27">
                  <c:v>39638</c:v>
                </c:pt>
                <c:pt idx="28">
                  <c:v>39639</c:v>
                </c:pt>
                <c:pt idx="29">
                  <c:v>39640</c:v>
                </c:pt>
                <c:pt idx="30">
                  <c:v>39643</c:v>
                </c:pt>
                <c:pt idx="31">
                  <c:v>39644</c:v>
                </c:pt>
                <c:pt idx="32">
                  <c:v>39645</c:v>
                </c:pt>
                <c:pt idx="33">
                  <c:v>39646</c:v>
                </c:pt>
                <c:pt idx="34">
                  <c:v>39647</c:v>
                </c:pt>
                <c:pt idx="35">
                  <c:v>39650</c:v>
                </c:pt>
                <c:pt idx="36">
                  <c:v>39651</c:v>
                </c:pt>
                <c:pt idx="37">
                  <c:v>39652</c:v>
                </c:pt>
                <c:pt idx="38">
                  <c:v>39653</c:v>
                </c:pt>
                <c:pt idx="39">
                  <c:v>39654</c:v>
                </c:pt>
                <c:pt idx="40">
                  <c:v>39657</c:v>
                </c:pt>
                <c:pt idx="41">
                  <c:v>39658</c:v>
                </c:pt>
                <c:pt idx="42">
                  <c:v>39659</c:v>
                </c:pt>
                <c:pt idx="43">
                  <c:v>39660</c:v>
                </c:pt>
                <c:pt idx="44">
                  <c:v>39661</c:v>
                </c:pt>
                <c:pt idx="45">
                  <c:v>39664</c:v>
                </c:pt>
                <c:pt idx="46">
                  <c:v>39665</c:v>
                </c:pt>
                <c:pt idx="47">
                  <c:v>39666</c:v>
                </c:pt>
                <c:pt idx="48">
                  <c:v>39667</c:v>
                </c:pt>
                <c:pt idx="49">
                  <c:v>39668</c:v>
                </c:pt>
                <c:pt idx="50">
                  <c:v>39671</c:v>
                </c:pt>
                <c:pt idx="51">
                  <c:v>39672</c:v>
                </c:pt>
                <c:pt idx="52">
                  <c:v>39673</c:v>
                </c:pt>
                <c:pt idx="53">
                  <c:v>39674</c:v>
                </c:pt>
                <c:pt idx="54">
                  <c:v>39675</c:v>
                </c:pt>
                <c:pt idx="55">
                  <c:v>39678</c:v>
                </c:pt>
                <c:pt idx="56">
                  <c:v>39679</c:v>
                </c:pt>
                <c:pt idx="57">
                  <c:v>39680</c:v>
                </c:pt>
                <c:pt idx="58">
                  <c:v>39681</c:v>
                </c:pt>
                <c:pt idx="59">
                  <c:v>39682</c:v>
                </c:pt>
                <c:pt idx="60">
                  <c:v>39685</c:v>
                </c:pt>
                <c:pt idx="61">
                  <c:v>39686</c:v>
                </c:pt>
                <c:pt idx="62">
                  <c:v>39687</c:v>
                </c:pt>
                <c:pt idx="63">
                  <c:v>39688</c:v>
                </c:pt>
                <c:pt idx="64">
                  <c:v>39689</c:v>
                </c:pt>
                <c:pt idx="65">
                  <c:v>39693</c:v>
                </c:pt>
                <c:pt idx="66">
                  <c:v>39694</c:v>
                </c:pt>
                <c:pt idx="67">
                  <c:v>39695</c:v>
                </c:pt>
                <c:pt idx="68">
                  <c:v>39696</c:v>
                </c:pt>
                <c:pt idx="69">
                  <c:v>39699</c:v>
                </c:pt>
                <c:pt idx="70">
                  <c:v>39700</c:v>
                </c:pt>
                <c:pt idx="71">
                  <c:v>39701</c:v>
                </c:pt>
                <c:pt idx="72">
                  <c:v>39702</c:v>
                </c:pt>
                <c:pt idx="73">
                  <c:v>39703</c:v>
                </c:pt>
                <c:pt idx="74">
                  <c:v>39706</c:v>
                </c:pt>
                <c:pt idx="75">
                  <c:v>39707</c:v>
                </c:pt>
                <c:pt idx="76">
                  <c:v>39708</c:v>
                </c:pt>
                <c:pt idx="77">
                  <c:v>39709</c:v>
                </c:pt>
                <c:pt idx="78">
                  <c:v>39710</c:v>
                </c:pt>
                <c:pt idx="79">
                  <c:v>39713</c:v>
                </c:pt>
                <c:pt idx="80">
                  <c:v>39714</c:v>
                </c:pt>
                <c:pt idx="81">
                  <c:v>39715</c:v>
                </c:pt>
                <c:pt idx="82">
                  <c:v>39716</c:v>
                </c:pt>
                <c:pt idx="83">
                  <c:v>39717</c:v>
                </c:pt>
                <c:pt idx="84">
                  <c:v>39720</c:v>
                </c:pt>
                <c:pt idx="85">
                  <c:v>39721</c:v>
                </c:pt>
                <c:pt idx="86">
                  <c:v>39722</c:v>
                </c:pt>
                <c:pt idx="87">
                  <c:v>39723</c:v>
                </c:pt>
                <c:pt idx="88">
                  <c:v>39724</c:v>
                </c:pt>
                <c:pt idx="89">
                  <c:v>39727</c:v>
                </c:pt>
                <c:pt idx="90">
                  <c:v>39728</c:v>
                </c:pt>
                <c:pt idx="91">
                  <c:v>39729</c:v>
                </c:pt>
                <c:pt idx="92">
                  <c:v>39730</c:v>
                </c:pt>
                <c:pt idx="93">
                  <c:v>39731</c:v>
                </c:pt>
                <c:pt idx="94">
                  <c:v>39734</c:v>
                </c:pt>
                <c:pt idx="95">
                  <c:v>39735</c:v>
                </c:pt>
                <c:pt idx="96">
                  <c:v>39736</c:v>
                </c:pt>
                <c:pt idx="97">
                  <c:v>39737</c:v>
                </c:pt>
                <c:pt idx="98">
                  <c:v>39738</c:v>
                </c:pt>
                <c:pt idx="99">
                  <c:v>39741</c:v>
                </c:pt>
                <c:pt idx="100">
                  <c:v>39742</c:v>
                </c:pt>
                <c:pt idx="101">
                  <c:v>39743</c:v>
                </c:pt>
                <c:pt idx="102">
                  <c:v>39744</c:v>
                </c:pt>
                <c:pt idx="103">
                  <c:v>39745</c:v>
                </c:pt>
                <c:pt idx="104">
                  <c:v>39748</c:v>
                </c:pt>
                <c:pt idx="105">
                  <c:v>39749</c:v>
                </c:pt>
                <c:pt idx="106">
                  <c:v>39750</c:v>
                </c:pt>
                <c:pt idx="107">
                  <c:v>39751</c:v>
                </c:pt>
                <c:pt idx="108">
                  <c:v>39752</c:v>
                </c:pt>
                <c:pt idx="109">
                  <c:v>39755</c:v>
                </c:pt>
                <c:pt idx="110">
                  <c:v>39756</c:v>
                </c:pt>
                <c:pt idx="111">
                  <c:v>39757</c:v>
                </c:pt>
                <c:pt idx="112">
                  <c:v>39758</c:v>
                </c:pt>
                <c:pt idx="113">
                  <c:v>39759</c:v>
                </c:pt>
                <c:pt idx="114">
                  <c:v>39762</c:v>
                </c:pt>
                <c:pt idx="115">
                  <c:v>39763</c:v>
                </c:pt>
                <c:pt idx="116">
                  <c:v>39764</c:v>
                </c:pt>
                <c:pt idx="117">
                  <c:v>39765</c:v>
                </c:pt>
                <c:pt idx="118">
                  <c:v>39766</c:v>
                </c:pt>
                <c:pt idx="119">
                  <c:v>39769</c:v>
                </c:pt>
                <c:pt idx="120">
                  <c:v>39770</c:v>
                </c:pt>
                <c:pt idx="121">
                  <c:v>39771</c:v>
                </c:pt>
                <c:pt idx="122">
                  <c:v>39772</c:v>
                </c:pt>
                <c:pt idx="123">
                  <c:v>39773</c:v>
                </c:pt>
                <c:pt idx="124">
                  <c:v>39776</c:v>
                </c:pt>
                <c:pt idx="125">
                  <c:v>39777</c:v>
                </c:pt>
                <c:pt idx="126">
                  <c:v>39778</c:v>
                </c:pt>
                <c:pt idx="127">
                  <c:v>39780</c:v>
                </c:pt>
                <c:pt idx="128">
                  <c:v>39783</c:v>
                </c:pt>
                <c:pt idx="129">
                  <c:v>39784</c:v>
                </c:pt>
                <c:pt idx="130">
                  <c:v>39785</c:v>
                </c:pt>
                <c:pt idx="131">
                  <c:v>39786</c:v>
                </c:pt>
                <c:pt idx="132">
                  <c:v>39787</c:v>
                </c:pt>
                <c:pt idx="133">
                  <c:v>39790</c:v>
                </c:pt>
                <c:pt idx="134">
                  <c:v>39791</c:v>
                </c:pt>
                <c:pt idx="135">
                  <c:v>39792</c:v>
                </c:pt>
                <c:pt idx="136">
                  <c:v>39793</c:v>
                </c:pt>
                <c:pt idx="137">
                  <c:v>39794</c:v>
                </c:pt>
                <c:pt idx="138">
                  <c:v>39797</c:v>
                </c:pt>
                <c:pt idx="139">
                  <c:v>39798</c:v>
                </c:pt>
                <c:pt idx="140">
                  <c:v>39799</c:v>
                </c:pt>
                <c:pt idx="141">
                  <c:v>39800</c:v>
                </c:pt>
                <c:pt idx="142">
                  <c:v>39801</c:v>
                </c:pt>
                <c:pt idx="143">
                  <c:v>39804</c:v>
                </c:pt>
                <c:pt idx="144">
                  <c:v>39805</c:v>
                </c:pt>
                <c:pt idx="145">
                  <c:v>39806</c:v>
                </c:pt>
                <c:pt idx="146">
                  <c:v>39808</c:v>
                </c:pt>
                <c:pt idx="147">
                  <c:v>39811</c:v>
                </c:pt>
                <c:pt idx="148">
                  <c:v>39812</c:v>
                </c:pt>
                <c:pt idx="149">
                  <c:v>39813</c:v>
                </c:pt>
                <c:pt idx="150">
                  <c:v>39815</c:v>
                </c:pt>
                <c:pt idx="151">
                  <c:v>39818</c:v>
                </c:pt>
                <c:pt idx="152">
                  <c:v>39819</c:v>
                </c:pt>
                <c:pt idx="153">
                  <c:v>39820</c:v>
                </c:pt>
                <c:pt idx="154">
                  <c:v>39821</c:v>
                </c:pt>
                <c:pt idx="155">
                  <c:v>39822</c:v>
                </c:pt>
                <c:pt idx="156">
                  <c:v>39825</c:v>
                </c:pt>
                <c:pt idx="157">
                  <c:v>39826</c:v>
                </c:pt>
                <c:pt idx="158">
                  <c:v>39827</c:v>
                </c:pt>
                <c:pt idx="159">
                  <c:v>39828</c:v>
                </c:pt>
                <c:pt idx="160">
                  <c:v>39829</c:v>
                </c:pt>
                <c:pt idx="161">
                  <c:v>39833</c:v>
                </c:pt>
                <c:pt idx="162">
                  <c:v>39834</c:v>
                </c:pt>
                <c:pt idx="163">
                  <c:v>39835</c:v>
                </c:pt>
                <c:pt idx="164">
                  <c:v>39836</c:v>
                </c:pt>
                <c:pt idx="165">
                  <c:v>39839</c:v>
                </c:pt>
                <c:pt idx="166">
                  <c:v>39840</c:v>
                </c:pt>
                <c:pt idx="167">
                  <c:v>39841</c:v>
                </c:pt>
                <c:pt idx="168">
                  <c:v>39842</c:v>
                </c:pt>
                <c:pt idx="169">
                  <c:v>39843</c:v>
                </c:pt>
                <c:pt idx="170">
                  <c:v>39846</c:v>
                </c:pt>
                <c:pt idx="171">
                  <c:v>39847</c:v>
                </c:pt>
                <c:pt idx="172">
                  <c:v>39848</c:v>
                </c:pt>
                <c:pt idx="173">
                  <c:v>39849</c:v>
                </c:pt>
                <c:pt idx="174">
                  <c:v>39850</c:v>
                </c:pt>
                <c:pt idx="175">
                  <c:v>39853</c:v>
                </c:pt>
                <c:pt idx="176">
                  <c:v>39854</c:v>
                </c:pt>
                <c:pt idx="177">
                  <c:v>39855</c:v>
                </c:pt>
                <c:pt idx="178">
                  <c:v>39856</c:v>
                </c:pt>
                <c:pt idx="179">
                  <c:v>39857</c:v>
                </c:pt>
                <c:pt idx="180">
                  <c:v>39861</c:v>
                </c:pt>
                <c:pt idx="181">
                  <c:v>39862</c:v>
                </c:pt>
                <c:pt idx="182">
                  <c:v>39863</c:v>
                </c:pt>
                <c:pt idx="183">
                  <c:v>39864</c:v>
                </c:pt>
                <c:pt idx="184">
                  <c:v>39867</c:v>
                </c:pt>
                <c:pt idx="185">
                  <c:v>39868</c:v>
                </c:pt>
                <c:pt idx="186">
                  <c:v>39869</c:v>
                </c:pt>
                <c:pt idx="187">
                  <c:v>39870</c:v>
                </c:pt>
                <c:pt idx="188">
                  <c:v>39871</c:v>
                </c:pt>
                <c:pt idx="189">
                  <c:v>39874</c:v>
                </c:pt>
                <c:pt idx="190">
                  <c:v>39875</c:v>
                </c:pt>
                <c:pt idx="191">
                  <c:v>39876</c:v>
                </c:pt>
                <c:pt idx="192">
                  <c:v>39877</c:v>
                </c:pt>
                <c:pt idx="193">
                  <c:v>39878</c:v>
                </c:pt>
                <c:pt idx="194">
                  <c:v>39881</c:v>
                </c:pt>
                <c:pt idx="195">
                  <c:v>39882</c:v>
                </c:pt>
                <c:pt idx="196">
                  <c:v>39883</c:v>
                </c:pt>
                <c:pt idx="197">
                  <c:v>39884</c:v>
                </c:pt>
                <c:pt idx="198">
                  <c:v>39885</c:v>
                </c:pt>
                <c:pt idx="199">
                  <c:v>39888</c:v>
                </c:pt>
                <c:pt idx="200">
                  <c:v>39889</c:v>
                </c:pt>
                <c:pt idx="201">
                  <c:v>39890</c:v>
                </c:pt>
                <c:pt idx="202">
                  <c:v>39891</c:v>
                </c:pt>
                <c:pt idx="203">
                  <c:v>39892</c:v>
                </c:pt>
                <c:pt idx="204">
                  <c:v>39895</c:v>
                </c:pt>
                <c:pt idx="205">
                  <c:v>39896</c:v>
                </c:pt>
                <c:pt idx="206">
                  <c:v>39897</c:v>
                </c:pt>
                <c:pt idx="207">
                  <c:v>39898</c:v>
                </c:pt>
                <c:pt idx="208">
                  <c:v>39899</c:v>
                </c:pt>
                <c:pt idx="209">
                  <c:v>39902</c:v>
                </c:pt>
                <c:pt idx="210">
                  <c:v>39903</c:v>
                </c:pt>
                <c:pt idx="211">
                  <c:v>39904</c:v>
                </c:pt>
                <c:pt idx="212">
                  <c:v>39905</c:v>
                </c:pt>
                <c:pt idx="213">
                  <c:v>39906</c:v>
                </c:pt>
                <c:pt idx="214">
                  <c:v>39909</c:v>
                </c:pt>
                <c:pt idx="215">
                  <c:v>39910</c:v>
                </c:pt>
                <c:pt idx="216">
                  <c:v>39911</c:v>
                </c:pt>
                <c:pt idx="217">
                  <c:v>39912</c:v>
                </c:pt>
                <c:pt idx="218">
                  <c:v>39916</c:v>
                </c:pt>
                <c:pt idx="219">
                  <c:v>39917</c:v>
                </c:pt>
                <c:pt idx="220">
                  <c:v>39918</c:v>
                </c:pt>
                <c:pt idx="221">
                  <c:v>39919</c:v>
                </c:pt>
                <c:pt idx="222">
                  <c:v>39920</c:v>
                </c:pt>
                <c:pt idx="223">
                  <c:v>39923</c:v>
                </c:pt>
                <c:pt idx="224">
                  <c:v>39924</c:v>
                </c:pt>
                <c:pt idx="225">
                  <c:v>39925</c:v>
                </c:pt>
                <c:pt idx="226">
                  <c:v>39926</c:v>
                </c:pt>
                <c:pt idx="227">
                  <c:v>39927</c:v>
                </c:pt>
                <c:pt idx="228">
                  <c:v>39930</c:v>
                </c:pt>
                <c:pt idx="229">
                  <c:v>39931</c:v>
                </c:pt>
                <c:pt idx="230">
                  <c:v>39932</c:v>
                </c:pt>
                <c:pt idx="231">
                  <c:v>39933</c:v>
                </c:pt>
                <c:pt idx="232">
                  <c:v>39934</c:v>
                </c:pt>
                <c:pt idx="233">
                  <c:v>39937</c:v>
                </c:pt>
                <c:pt idx="234">
                  <c:v>39938</c:v>
                </c:pt>
                <c:pt idx="235">
                  <c:v>39939</c:v>
                </c:pt>
                <c:pt idx="236">
                  <c:v>39940</c:v>
                </c:pt>
                <c:pt idx="237">
                  <c:v>39941</c:v>
                </c:pt>
                <c:pt idx="238">
                  <c:v>39944</c:v>
                </c:pt>
                <c:pt idx="239">
                  <c:v>39945</c:v>
                </c:pt>
                <c:pt idx="240">
                  <c:v>39946</c:v>
                </c:pt>
                <c:pt idx="241">
                  <c:v>39947</c:v>
                </c:pt>
                <c:pt idx="242">
                  <c:v>39948</c:v>
                </c:pt>
                <c:pt idx="243">
                  <c:v>39951</c:v>
                </c:pt>
                <c:pt idx="244">
                  <c:v>39952</c:v>
                </c:pt>
                <c:pt idx="245">
                  <c:v>39953</c:v>
                </c:pt>
                <c:pt idx="246">
                  <c:v>39954</c:v>
                </c:pt>
                <c:pt idx="247">
                  <c:v>39955</c:v>
                </c:pt>
                <c:pt idx="248">
                  <c:v>39959</c:v>
                </c:pt>
                <c:pt idx="249">
                  <c:v>39960</c:v>
                </c:pt>
                <c:pt idx="250">
                  <c:v>39961</c:v>
                </c:pt>
                <c:pt idx="251">
                  <c:v>39962</c:v>
                </c:pt>
                <c:pt idx="252">
                  <c:v>39965</c:v>
                </c:pt>
                <c:pt idx="253">
                  <c:v>39966</c:v>
                </c:pt>
                <c:pt idx="254">
                  <c:v>39967</c:v>
                </c:pt>
                <c:pt idx="255">
                  <c:v>39968</c:v>
                </c:pt>
                <c:pt idx="256">
                  <c:v>39969</c:v>
                </c:pt>
                <c:pt idx="257">
                  <c:v>39972</c:v>
                </c:pt>
                <c:pt idx="258">
                  <c:v>39973</c:v>
                </c:pt>
                <c:pt idx="259">
                  <c:v>39974</c:v>
                </c:pt>
                <c:pt idx="260">
                  <c:v>39975</c:v>
                </c:pt>
                <c:pt idx="261">
                  <c:v>39976</c:v>
                </c:pt>
                <c:pt idx="262">
                  <c:v>39979</c:v>
                </c:pt>
                <c:pt idx="263">
                  <c:v>39980</c:v>
                </c:pt>
                <c:pt idx="264">
                  <c:v>39981</c:v>
                </c:pt>
                <c:pt idx="265">
                  <c:v>39982</c:v>
                </c:pt>
                <c:pt idx="266">
                  <c:v>39983</c:v>
                </c:pt>
                <c:pt idx="267">
                  <c:v>39986</c:v>
                </c:pt>
                <c:pt idx="268">
                  <c:v>39987</c:v>
                </c:pt>
                <c:pt idx="269">
                  <c:v>39988</c:v>
                </c:pt>
                <c:pt idx="270">
                  <c:v>39989</c:v>
                </c:pt>
                <c:pt idx="271">
                  <c:v>39990</c:v>
                </c:pt>
                <c:pt idx="272">
                  <c:v>39993</c:v>
                </c:pt>
                <c:pt idx="273">
                  <c:v>39994</c:v>
                </c:pt>
                <c:pt idx="274">
                  <c:v>39995</c:v>
                </c:pt>
                <c:pt idx="275">
                  <c:v>39996</c:v>
                </c:pt>
                <c:pt idx="276">
                  <c:v>40000</c:v>
                </c:pt>
                <c:pt idx="277">
                  <c:v>40001</c:v>
                </c:pt>
                <c:pt idx="278">
                  <c:v>40002</c:v>
                </c:pt>
                <c:pt idx="279">
                  <c:v>40003</c:v>
                </c:pt>
                <c:pt idx="280">
                  <c:v>40004</c:v>
                </c:pt>
                <c:pt idx="281">
                  <c:v>40007</c:v>
                </c:pt>
                <c:pt idx="282">
                  <c:v>40008</c:v>
                </c:pt>
                <c:pt idx="283">
                  <c:v>40009</c:v>
                </c:pt>
                <c:pt idx="284">
                  <c:v>40010</c:v>
                </c:pt>
                <c:pt idx="285">
                  <c:v>40011</c:v>
                </c:pt>
                <c:pt idx="286">
                  <c:v>40014</c:v>
                </c:pt>
                <c:pt idx="287">
                  <c:v>40015</c:v>
                </c:pt>
                <c:pt idx="288">
                  <c:v>40016</c:v>
                </c:pt>
                <c:pt idx="289">
                  <c:v>40017</c:v>
                </c:pt>
                <c:pt idx="290">
                  <c:v>40018</c:v>
                </c:pt>
                <c:pt idx="291">
                  <c:v>40021</c:v>
                </c:pt>
                <c:pt idx="292">
                  <c:v>40022</c:v>
                </c:pt>
                <c:pt idx="293">
                  <c:v>40023</c:v>
                </c:pt>
                <c:pt idx="294">
                  <c:v>40024</c:v>
                </c:pt>
                <c:pt idx="295">
                  <c:v>40025</c:v>
                </c:pt>
                <c:pt idx="296">
                  <c:v>40028</c:v>
                </c:pt>
                <c:pt idx="297">
                  <c:v>40029</c:v>
                </c:pt>
                <c:pt idx="298">
                  <c:v>40030</c:v>
                </c:pt>
                <c:pt idx="299">
                  <c:v>40031</c:v>
                </c:pt>
                <c:pt idx="300">
                  <c:v>40032</c:v>
                </c:pt>
                <c:pt idx="301">
                  <c:v>40035</c:v>
                </c:pt>
                <c:pt idx="302">
                  <c:v>40036</c:v>
                </c:pt>
                <c:pt idx="303">
                  <c:v>40037</c:v>
                </c:pt>
                <c:pt idx="304">
                  <c:v>40038</c:v>
                </c:pt>
                <c:pt idx="305">
                  <c:v>40039</c:v>
                </c:pt>
                <c:pt idx="306">
                  <c:v>40042</c:v>
                </c:pt>
                <c:pt idx="307">
                  <c:v>40043</c:v>
                </c:pt>
                <c:pt idx="308">
                  <c:v>40044</c:v>
                </c:pt>
                <c:pt idx="309">
                  <c:v>40045</c:v>
                </c:pt>
                <c:pt idx="310">
                  <c:v>40046</c:v>
                </c:pt>
                <c:pt idx="311">
                  <c:v>40049</c:v>
                </c:pt>
                <c:pt idx="312">
                  <c:v>40050</c:v>
                </c:pt>
                <c:pt idx="313">
                  <c:v>40051</c:v>
                </c:pt>
                <c:pt idx="314">
                  <c:v>40052</c:v>
                </c:pt>
                <c:pt idx="315">
                  <c:v>40053</c:v>
                </c:pt>
                <c:pt idx="316">
                  <c:v>40056</c:v>
                </c:pt>
                <c:pt idx="317">
                  <c:v>40057</c:v>
                </c:pt>
                <c:pt idx="318">
                  <c:v>40058</c:v>
                </c:pt>
                <c:pt idx="319">
                  <c:v>40059</c:v>
                </c:pt>
                <c:pt idx="320">
                  <c:v>40060</c:v>
                </c:pt>
                <c:pt idx="321">
                  <c:v>40064</c:v>
                </c:pt>
                <c:pt idx="322">
                  <c:v>40065</c:v>
                </c:pt>
                <c:pt idx="323">
                  <c:v>40066</c:v>
                </c:pt>
                <c:pt idx="324">
                  <c:v>40067</c:v>
                </c:pt>
                <c:pt idx="325">
                  <c:v>40070</c:v>
                </c:pt>
                <c:pt idx="326">
                  <c:v>40071</c:v>
                </c:pt>
                <c:pt idx="327">
                  <c:v>40072</c:v>
                </c:pt>
                <c:pt idx="328">
                  <c:v>40073</c:v>
                </c:pt>
                <c:pt idx="329">
                  <c:v>40074</c:v>
                </c:pt>
                <c:pt idx="330">
                  <c:v>40077</c:v>
                </c:pt>
                <c:pt idx="331">
                  <c:v>40078</c:v>
                </c:pt>
                <c:pt idx="332">
                  <c:v>40079</c:v>
                </c:pt>
                <c:pt idx="333">
                  <c:v>40080</c:v>
                </c:pt>
                <c:pt idx="334">
                  <c:v>40081</c:v>
                </c:pt>
                <c:pt idx="335">
                  <c:v>40084</c:v>
                </c:pt>
                <c:pt idx="336">
                  <c:v>40085</c:v>
                </c:pt>
                <c:pt idx="337">
                  <c:v>40086</c:v>
                </c:pt>
                <c:pt idx="338">
                  <c:v>40087</c:v>
                </c:pt>
                <c:pt idx="339">
                  <c:v>40088</c:v>
                </c:pt>
                <c:pt idx="340">
                  <c:v>40091</c:v>
                </c:pt>
                <c:pt idx="341">
                  <c:v>40092</c:v>
                </c:pt>
                <c:pt idx="342">
                  <c:v>40093</c:v>
                </c:pt>
                <c:pt idx="343">
                  <c:v>40094</c:v>
                </c:pt>
                <c:pt idx="344">
                  <c:v>40095</c:v>
                </c:pt>
                <c:pt idx="345">
                  <c:v>40098</c:v>
                </c:pt>
                <c:pt idx="346">
                  <c:v>40099</c:v>
                </c:pt>
                <c:pt idx="347">
                  <c:v>40100</c:v>
                </c:pt>
                <c:pt idx="348">
                  <c:v>40101</c:v>
                </c:pt>
                <c:pt idx="349">
                  <c:v>40102</c:v>
                </c:pt>
                <c:pt idx="350">
                  <c:v>40105</c:v>
                </c:pt>
                <c:pt idx="351">
                  <c:v>40106</c:v>
                </c:pt>
                <c:pt idx="352">
                  <c:v>40107</c:v>
                </c:pt>
                <c:pt idx="353">
                  <c:v>40108</c:v>
                </c:pt>
                <c:pt idx="354">
                  <c:v>40109</c:v>
                </c:pt>
                <c:pt idx="355">
                  <c:v>40112</c:v>
                </c:pt>
                <c:pt idx="356">
                  <c:v>40113</c:v>
                </c:pt>
                <c:pt idx="357">
                  <c:v>40114</c:v>
                </c:pt>
                <c:pt idx="358">
                  <c:v>40115</c:v>
                </c:pt>
                <c:pt idx="359">
                  <c:v>40116</c:v>
                </c:pt>
                <c:pt idx="360">
                  <c:v>40119</c:v>
                </c:pt>
                <c:pt idx="361">
                  <c:v>40120</c:v>
                </c:pt>
                <c:pt idx="362">
                  <c:v>40121</c:v>
                </c:pt>
                <c:pt idx="363">
                  <c:v>40122</c:v>
                </c:pt>
                <c:pt idx="364">
                  <c:v>40123</c:v>
                </c:pt>
                <c:pt idx="365">
                  <c:v>40126</c:v>
                </c:pt>
                <c:pt idx="366">
                  <c:v>40127</c:v>
                </c:pt>
                <c:pt idx="367">
                  <c:v>40128</c:v>
                </c:pt>
                <c:pt idx="368">
                  <c:v>40129</c:v>
                </c:pt>
                <c:pt idx="369">
                  <c:v>40130</c:v>
                </c:pt>
                <c:pt idx="370">
                  <c:v>40133</c:v>
                </c:pt>
                <c:pt idx="371">
                  <c:v>40134</c:v>
                </c:pt>
                <c:pt idx="372">
                  <c:v>40135</c:v>
                </c:pt>
                <c:pt idx="373">
                  <c:v>40136</c:v>
                </c:pt>
                <c:pt idx="374">
                  <c:v>40137</c:v>
                </c:pt>
                <c:pt idx="375">
                  <c:v>40140</c:v>
                </c:pt>
                <c:pt idx="376">
                  <c:v>40141</c:v>
                </c:pt>
                <c:pt idx="377">
                  <c:v>40142</c:v>
                </c:pt>
                <c:pt idx="378">
                  <c:v>40144</c:v>
                </c:pt>
                <c:pt idx="379">
                  <c:v>40147</c:v>
                </c:pt>
                <c:pt idx="380">
                  <c:v>40148</c:v>
                </c:pt>
                <c:pt idx="381">
                  <c:v>40149</c:v>
                </c:pt>
                <c:pt idx="382">
                  <c:v>40150</c:v>
                </c:pt>
                <c:pt idx="383">
                  <c:v>40151</c:v>
                </c:pt>
                <c:pt idx="384">
                  <c:v>40154</c:v>
                </c:pt>
                <c:pt idx="385">
                  <c:v>40155</c:v>
                </c:pt>
                <c:pt idx="386">
                  <c:v>40156</c:v>
                </c:pt>
                <c:pt idx="387">
                  <c:v>40157</c:v>
                </c:pt>
                <c:pt idx="388">
                  <c:v>40158</c:v>
                </c:pt>
                <c:pt idx="389">
                  <c:v>40161</c:v>
                </c:pt>
                <c:pt idx="390">
                  <c:v>40162</c:v>
                </c:pt>
                <c:pt idx="391">
                  <c:v>40163</c:v>
                </c:pt>
                <c:pt idx="392">
                  <c:v>40164</c:v>
                </c:pt>
                <c:pt idx="393">
                  <c:v>40165</c:v>
                </c:pt>
                <c:pt idx="394">
                  <c:v>40168</c:v>
                </c:pt>
                <c:pt idx="395">
                  <c:v>40169</c:v>
                </c:pt>
                <c:pt idx="396">
                  <c:v>40170</c:v>
                </c:pt>
                <c:pt idx="397">
                  <c:v>40171</c:v>
                </c:pt>
                <c:pt idx="398">
                  <c:v>40175</c:v>
                </c:pt>
                <c:pt idx="399">
                  <c:v>40176</c:v>
                </c:pt>
                <c:pt idx="400">
                  <c:v>40177</c:v>
                </c:pt>
                <c:pt idx="401">
                  <c:v>40178</c:v>
                </c:pt>
                <c:pt idx="402">
                  <c:v>40182</c:v>
                </c:pt>
                <c:pt idx="403">
                  <c:v>40183</c:v>
                </c:pt>
                <c:pt idx="404">
                  <c:v>40184</c:v>
                </c:pt>
                <c:pt idx="405">
                  <c:v>40185</c:v>
                </c:pt>
                <c:pt idx="406">
                  <c:v>40186</c:v>
                </c:pt>
                <c:pt idx="407">
                  <c:v>40189</c:v>
                </c:pt>
                <c:pt idx="408">
                  <c:v>40190</c:v>
                </c:pt>
                <c:pt idx="409">
                  <c:v>40191</c:v>
                </c:pt>
                <c:pt idx="410">
                  <c:v>40192</c:v>
                </c:pt>
                <c:pt idx="411">
                  <c:v>40193</c:v>
                </c:pt>
                <c:pt idx="412">
                  <c:v>40197</c:v>
                </c:pt>
                <c:pt idx="413">
                  <c:v>40198</c:v>
                </c:pt>
                <c:pt idx="414">
                  <c:v>40199</c:v>
                </c:pt>
                <c:pt idx="415">
                  <c:v>40200</c:v>
                </c:pt>
                <c:pt idx="416">
                  <c:v>40203</c:v>
                </c:pt>
                <c:pt idx="417">
                  <c:v>40204</c:v>
                </c:pt>
                <c:pt idx="418">
                  <c:v>40205</c:v>
                </c:pt>
                <c:pt idx="419">
                  <c:v>40206</c:v>
                </c:pt>
                <c:pt idx="420">
                  <c:v>40207</c:v>
                </c:pt>
                <c:pt idx="421">
                  <c:v>40210</c:v>
                </c:pt>
                <c:pt idx="422">
                  <c:v>40211</c:v>
                </c:pt>
                <c:pt idx="423">
                  <c:v>40212</c:v>
                </c:pt>
                <c:pt idx="424">
                  <c:v>40213</c:v>
                </c:pt>
                <c:pt idx="425">
                  <c:v>40214</c:v>
                </c:pt>
                <c:pt idx="426">
                  <c:v>40217</c:v>
                </c:pt>
                <c:pt idx="427">
                  <c:v>40218</c:v>
                </c:pt>
                <c:pt idx="428">
                  <c:v>40219</c:v>
                </c:pt>
                <c:pt idx="429">
                  <c:v>40220</c:v>
                </c:pt>
                <c:pt idx="430">
                  <c:v>40221</c:v>
                </c:pt>
                <c:pt idx="431">
                  <c:v>40225</c:v>
                </c:pt>
                <c:pt idx="432">
                  <c:v>40226</c:v>
                </c:pt>
                <c:pt idx="433">
                  <c:v>40227</c:v>
                </c:pt>
                <c:pt idx="434">
                  <c:v>40228</c:v>
                </c:pt>
                <c:pt idx="435">
                  <c:v>40231</c:v>
                </c:pt>
                <c:pt idx="436">
                  <c:v>40232</c:v>
                </c:pt>
                <c:pt idx="437">
                  <c:v>40233</c:v>
                </c:pt>
                <c:pt idx="438">
                  <c:v>40234</c:v>
                </c:pt>
                <c:pt idx="439">
                  <c:v>40235</c:v>
                </c:pt>
                <c:pt idx="440">
                  <c:v>40238</c:v>
                </c:pt>
                <c:pt idx="441">
                  <c:v>40239</c:v>
                </c:pt>
                <c:pt idx="442">
                  <c:v>40240</c:v>
                </c:pt>
                <c:pt idx="443">
                  <c:v>40241</c:v>
                </c:pt>
                <c:pt idx="444">
                  <c:v>40242</c:v>
                </c:pt>
                <c:pt idx="445">
                  <c:v>40245</c:v>
                </c:pt>
                <c:pt idx="446">
                  <c:v>40246</c:v>
                </c:pt>
                <c:pt idx="447">
                  <c:v>40247</c:v>
                </c:pt>
                <c:pt idx="448">
                  <c:v>40248</c:v>
                </c:pt>
                <c:pt idx="449">
                  <c:v>40249</c:v>
                </c:pt>
                <c:pt idx="450">
                  <c:v>40252</c:v>
                </c:pt>
                <c:pt idx="451">
                  <c:v>40253</c:v>
                </c:pt>
                <c:pt idx="452">
                  <c:v>40254</c:v>
                </c:pt>
                <c:pt idx="453">
                  <c:v>40255</c:v>
                </c:pt>
                <c:pt idx="454">
                  <c:v>40256</c:v>
                </c:pt>
                <c:pt idx="455">
                  <c:v>40259</c:v>
                </c:pt>
                <c:pt idx="456">
                  <c:v>40260</c:v>
                </c:pt>
                <c:pt idx="457">
                  <c:v>40261</c:v>
                </c:pt>
                <c:pt idx="458">
                  <c:v>40262</c:v>
                </c:pt>
                <c:pt idx="459">
                  <c:v>40263</c:v>
                </c:pt>
                <c:pt idx="460">
                  <c:v>40266</c:v>
                </c:pt>
                <c:pt idx="461">
                  <c:v>40267</c:v>
                </c:pt>
                <c:pt idx="462">
                  <c:v>40268</c:v>
                </c:pt>
                <c:pt idx="463">
                  <c:v>40269</c:v>
                </c:pt>
                <c:pt idx="464">
                  <c:v>40273</c:v>
                </c:pt>
                <c:pt idx="465">
                  <c:v>40274</c:v>
                </c:pt>
                <c:pt idx="466">
                  <c:v>40275</c:v>
                </c:pt>
                <c:pt idx="467">
                  <c:v>40276</c:v>
                </c:pt>
                <c:pt idx="468">
                  <c:v>40277</c:v>
                </c:pt>
                <c:pt idx="469">
                  <c:v>40280</c:v>
                </c:pt>
                <c:pt idx="470">
                  <c:v>40281</c:v>
                </c:pt>
                <c:pt idx="471">
                  <c:v>40282</c:v>
                </c:pt>
                <c:pt idx="472">
                  <c:v>40283</c:v>
                </c:pt>
                <c:pt idx="473">
                  <c:v>40284</c:v>
                </c:pt>
                <c:pt idx="474">
                  <c:v>40287</c:v>
                </c:pt>
                <c:pt idx="475">
                  <c:v>40288</c:v>
                </c:pt>
                <c:pt idx="476">
                  <c:v>40289</c:v>
                </c:pt>
                <c:pt idx="477">
                  <c:v>40290</c:v>
                </c:pt>
                <c:pt idx="478">
                  <c:v>40291</c:v>
                </c:pt>
                <c:pt idx="479">
                  <c:v>40294</c:v>
                </c:pt>
                <c:pt idx="480">
                  <c:v>40295</c:v>
                </c:pt>
                <c:pt idx="481">
                  <c:v>40296</c:v>
                </c:pt>
                <c:pt idx="482">
                  <c:v>40297</c:v>
                </c:pt>
                <c:pt idx="483">
                  <c:v>40298</c:v>
                </c:pt>
                <c:pt idx="484">
                  <c:v>40301</c:v>
                </c:pt>
                <c:pt idx="485">
                  <c:v>40302</c:v>
                </c:pt>
                <c:pt idx="486">
                  <c:v>40303</c:v>
                </c:pt>
                <c:pt idx="487">
                  <c:v>40304</c:v>
                </c:pt>
                <c:pt idx="488">
                  <c:v>40305</c:v>
                </c:pt>
                <c:pt idx="489">
                  <c:v>40308</c:v>
                </c:pt>
                <c:pt idx="490">
                  <c:v>40309</c:v>
                </c:pt>
                <c:pt idx="491">
                  <c:v>40310</c:v>
                </c:pt>
                <c:pt idx="492">
                  <c:v>40311</c:v>
                </c:pt>
                <c:pt idx="493">
                  <c:v>40312</c:v>
                </c:pt>
                <c:pt idx="494">
                  <c:v>40315</c:v>
                </c:pt>
                <c:pt idx="495">
                  <c:v>40316</c:v>
                </c:pt>
                <c:pt idx="496">
                  <c:v>40317</c:v>
                </c:pt>
                <c:pt idx="497">
                  <c:v>40318</c:v>
                </c:pt>
                <c:pt idx="498">
                  <c:v>40319</c:v>
                </c:pt>
                <c:pt idx="499">
                  <c:v>40322</c:v>
                </c:pt>
                <c:pt idx="500">
                  <c:v>40323</c:v>
                </c:pt>
                <c:pt idx="501">
                  <c:v>40324</c:v>
                </c:pt>
                <c:pt idx="502">
                  <c:v>40325</c:v>
                </c:pt>
                <c:pt idx="503">
                  <c:v>40326</c:v>
                </c:pt>
                <c:pt idx="504">
                  <c:v>40330</c:v>
                </c:pt>
                <c:pt idx="505">
                  <c:v>40331</c:v>
                </c:pt>
                <c:pt idx="506">
                  <c:v>40332</c:v>
                </c:pt>
                <c:pt idx="507">
                  <c:v>40333</c:v>
                </c:pt>
                <c:pt idx="508">
                  <c:v>40336</c:v>
                </c:pt>
                <c:pt idx="509">
                  <c:v>40337</c:v>
                </c:pt>
                <c:pt idx="510">
                  <c:v>40338</c:v>
                </c:pt>
                <c:pt idx="511">
                  <c:v>40339</c:v>
                </c:pt>
                <c:pt idx="512">
                  <c:v>40340</c:v>
                </c:pt>
                <c:pt idx="513">
                  <c:v>40343</c:v>
                </c:pt>
                <c:pt idx="514">
                  <c:v>40344</c:v>
                </c:pt>
                <c:pt idx="515">
                  <c:v>40345</c:v>
                </c:pt>
                <c:pt idx="516">
                  <c:v>40346</c:v>
                </c:pt>
                <c:pt idx="517">
                  <c:v>40347</c:v>
                </c:pt>
                <c:pt idx="518">
                  <c:v>40350</c:v>
                </c:pt>
                <c:pt idx="519">
                  <c:v>40351</c:v>
                </c:pt>
                <c:pt idx="520">
                  <c:v>40352</c:v>
                </c:pt>
                <c:pt idx="521">
                  <c:v>40353</c:v>
                </c:pt>
                <c:pt idx="522">
                  <c:v>40354</c:v>
                </c:pt>
                <c:pt idx="523">
                  <c:v>40357</c:v>
                </c:pt>
                <c:pt idx="524">
                  <c:v>40358</c:v>
                </c:pt>
                <c:pt idx="525">
                  <c:v>40359</c:v>
                </c:pt>
                <c:pt idx="526">
                  <c:v>40360</c:v>
                </c:pt>
                <c:pt idx="527">
                  <c:v>40361</c:v>
                </c:pt>
                <c:pt idx="528">
                  <c:v>40365</c:v>
                </c:pt>
                <c:pt idx="529">
                  <c:v>40366</c:v>
                </c:pt>
                <c:pt idx="530">
                  <c:v>40367</c:v>
                </c:pt>
                <c:pt idx="531">
                  <c:v>40368</c:v>
                </c:pt>
                <c:pt idx="532">
                  <c:v>40371</c:v>
                </c:pt>
                <c:pt idx="533">
                  <c:v>40372</c:v>
                </c:pt>
                <c:pt idx="534">
                  <c:v>40373</c:v>
                </c:pt>
                <c:pt idx="535">
                  <c:v>40374</c:v>
                </c:pt>
                <c:pt idx="536">
                  <c:v>40375</c:v>
                </c:pt>
                <c:pt idx="537">
                  <c:v>40378</c:v>
                </c:pt>
                <c:pt idx="538">
                  <c:v>40379</c:v>
                </c:pt>
                <c:pt idx="539">
                  <c:v>40380</c:v>
                </c:pt>
                <c:pt idx="540">
                  <c:v>40381</c:v>
                </c:pt>
                <c:pt idx="541">
                  <c:v>40382</c:v>
                </c:pt>
                <c:pt idx="542">
                  <c:v>40385</c:v>
                </c:pt>
                <c:pt idx="543">
                  <c:v>40386</c:v>
                </c:pt>
                <c:pt idx="544">
                  <c:v>40387</c:v>
                </c:pt>
                <c:pt idx="545">
                  <c:v>40388</c:v>
                </c:pt>
                <c:pt idx="546">
                  <c:v>40389</c:v>
                </c:pt>
                <c:pt idx="547">
                  <c:v>40392</c:v>
                </c:pt>
                <c:pt idx="548">
                  <c:v>40393</c:v>
                </c:pt>
                <c:pt idx="549">
                  <c:v>40394</c:v>
                </c:pt>
                <c:pt idx="550">
                  <c:v>40395</c:v>
                </c:pt>
                <c:pt idx="551">
                  <c:v>40396</c:v>
                </c:pt>
                <c:pt idx="552">
                  <c:v>40399</c:v>
                </c:pt>
                <c:pt idx="553">
                  <c:v>40400</c:v>
                </c:pt>
                <c:pt idx="554">
                  <c:v>40401</c:v>
                </c:pt>
                <c:pt idx="555">
                  <c:v>40402</c:v>
                </c:pt>
                <c:pt idx="556">
                  <c:v>40403</c:v>
                </c:pt>
                <c:pt idx="557">
                  <c:v>40406</c:v>
                </c:pt>
                <c:pt idx="558">
                  <c:v>40407</c:v>
                </c:pt>
                <c:pt idx="559">
                  <c:v>40408</c:v>
                </c:pt>
                <c:pt idx="560">
                  <c:v>40409</c:v>
                </c:pt>
                <c:pt idx="561">
                  <c:v>40410</c:v>
                </c:pt>
                <c:pt idx="562">
                  <c:v>40413</c:v>
                </c:pt>
                <c:pt idx="563">
                  <c:v>40414</c:v>
                </c:pt>
                <c:pt idx="564">
                  <c:v>40415</c:v>
                </c:pt>
                <c:pt idx="565">
                  <c:v>40416</c:v>
                </c:pt>
                <c:pt idx="566">
                  <c:v>40417</c:v>
                </c:pt>
                <c:pt idx="567">
                  <c:v>40420</c:v>
                </c:pt>
                <c:pt idx="568">
                  <c:v>40421</c:v>
                </c:pt>
                <c:pt idx="569">
                  <c:v>40422</c:v>
                </c:pt>
                <c:pt idx="570">
                  <c:v>40423</c:v>
                </c:pt>
                <c:pt idx="571">
                  <c:v>40424</c:v>
                </c:pt>
                <c:pt idx="572">
                  <c:v>40428</c:v>
                </c:pt>
                <c:pt idx="573">
                  <c:v>40429</c:v>
                </c:pt>
                <c:pt idx="574">
                  <c:v>40430</c:v>
                </c:pt>
                <c:pt idx="575">
                  <c:v>40431</c:v>
                </c:pt>
                <c:pt idx="576">
                  <c:v>40434</c:v>
                </c:pt>
                <c:pt idx="577">
                  <c:v>40435</c:v>
                </c:pt>
                <c:pt idx="578">
                  <c:v>40436</c:v>
                </c:pt>
                <c:pt idx="579">
                  <c:v>40437</c:v>
                </c:pt>
                <c:pt idx="580">
                  <c:v>40438</c:v>
                </c:pt>
                <c:pt idx="581">
                  <c:v>40441</c:v>
                </c:pt>
                <c:pt idx="582">
                  <c:v>40442</c:v>
                </c:pt>
                <c:pt idx="583">
                  <c:v>40443</c:v>
                </c:pt>
                <c:pt idx="584">
                  <c:v>40444</c:v>
                </c:pt>
                <c:pt idx="585">
                  <c:v>40445</c:v>
                </c:pt>
                <c:pt idx="586">
                  <c:v>40448</c:v>
                </c:pt>
                <c:pt idx="587">
                  <c:v>40449</c:v>
                </c:pt>
                <c:pt idx="588">
                  <c:v>40450</c:v>
                </c:pt>
                <c:pt idx="589">
                  <c:v>40451</c:v>
                </c:pt>
                <c:pt idx="590">
                  <c:v>40452</c:v>
                </c:pt>
                <c:pt idx="591">
                  <c:v>40455</c:v>
                </c:pt>
                <c:pt idx="592">
                  <c:v>40456</c:v>
                </c:pt>
                <c:pt idx="593">
                  <c:v>40457</c:v>
                </c:pt>
                <c:pt idx="594">
                  <c:v>40458</c:v>
                </c:pt>
                <c:pt idx="595">
                  <c:v>40459</c:v>
                </c:pt>
                <c:pt idx="596">
                  <c:v>40462</c:v>
                </c:pt>
                <c:pt idx="597">
                  <c:v>40463</c:v>
                </c:pt>
                <c:pt idx="598">
                  <c:v>40464</c:v>
                </c:pt>
                <c:pt idx="599">
                  <c:v>40465</c:v>
                </c:pt>
                <c:pt idx="600">
                  <c:v>40466</c:v>
                </c:pt>
                <c:pt idx="601">
                  <c:v>40469</c:v>
                </c:pt>
                <c:pt idx="602">
                  <c:v>40470</c:v>
                </c:pt>
                <c:pt idx="603">
                  <c:v>40471</c:v>
                </c:pt>
                <c:pt idx="604">
                  <c:v>40472</c:v>
                </c:pt>
                <c:pt idx="605">
                  <c:v>40473</c:v>
                </c:pt>
                <c:pt idx="606">
                  <c:v>40476</c:v>
                </c:pt>
                <c:pt idx="607">
                  <c:v>40477</c:v>
                </c:pt>
                <c:pt idx="608">
                  <c:v>40478</c:v>
                </c:pt>
                <c:pt idx="609">
                  <c:v>40479</c:v>
                </c:pt>
                <c:pt idx="610">
                  <c:v>40480</c:v>
                </c:pt>
                <c:pt idx="611">
                  <c:v>40483</c:v>
                </c:pt>
                <c:pt idx="612">
                  <c:v>40484</c:v>
                </c:pt>
                <c:pt idx="613">
                  <c:v>40485</c:v>
                </c:pt>
                <c:pt idx="614">
                  <c:v>40486</c:v>
                </c:pt>
                <c:pt idx="615">
                  <c:v>40487</c:v>
                </c:pt>
                <c:pt idx="616">
                  <c:v>40490</c:v>
                </c:pt>
                <c:pt idx="617">
                  <c:v>40491</c:v>
                </c:pt>
                <c:pt idx="618">
                  <c:v>40492</c:v>
                </c:pt>
                <c:pt idx="619">
                  <c:v>40493</c:v>
                </c:pt>
                <c:pt idx="620">
                  <c:v>40494</c:v>
                </c:pt>
                <c:pt idx="621">
                  <c:v>40497</c:v>
                </c:pt>
                <c:pt idx="622">
                  <c:v>40498</c:v>
                </c:pt>
                <c:pt idx="623">
                  <c:v>40499</c:v>
                </c:pt>
                <c:pt idx="624">
                  <c:v>40500</c:v>
                </c:pt>
                <c:pt idx="625">
                  <c:v>40501</c:v>
                </c:pt>
                <c:pt idx="626">
                  <c:v>40504</c:v>
                </c:pt>
                <c:pt idx="627">
                  <c:v>40505</c:v>
                </c:pt>
                <c:pt idx="628">
                  <c:v>40506</c:v>
                </c:pt>
                <c:pt idx="629">
                  <c:v>40508</c:v>
                </c:pt>
                <c:pt idx="630">
                  <c:v>40511</c:v>
                </c:pt>
                <c:pt idx="631">
                  <c:v>40512</c:v>
                </c:pt>
                <c:pt idx="632">
                  <c:v>40513</c:v>
                </c:pt>
                <c:pt idx="633">
                  <c:v>40514</c:v>
                </c:pt>
                <c:pt idx="634">
                  <c:v>40515</c:v>
                </c:pt>
                <c:pt idx="635">
                  <c:v>40518</c:v>
                </c:pt>
                <c:pt idx="636">
                  <c:v>40519</c:v>
                </c:pt>
                <c:pt idx="637">
                  <c:v>40520</c:v>
                </c:pt>
                <c:pt idx="638">
                  <c:v>40521</c:v>
                </c:pt>
                <c:pt idx="639">
                  <c:v>40522</c:v>
                </c:pt>
                <c:pt idx="640">
                  <c:v>40525</c:v>
                </c:pt>
                <c:pt idx="641">
                  <c:v>40526</c:v>
                </c:pt>
                <c:pt idx="642">
                  <c:v>40527</c:v>
                </c:pt>
                <c:pt idx="643">
                  <c:v>40528</c:v>
                </c:pt>
                <c:pt idx="644">
                  <c:v>40529</c:v>
                </c:pt>
                <c:pt idx="645">
                  <c:v>40532</c:v>
                </c:pt>
                <c:pt idx="646">
                  <c:v>40533</c:v>
                </c:pt>
                <c:pt idx="647">
                  <c:v>40534</c:v>
                </c:pt>
                <c:pt idx="648">
                  <c:v>40535</c:v>
                </c:pt>
                <c:pt idx="649">
                  <c:v>40539</c:v>
                </c:pt>
                <c:pt idx="650">
                  <c:v>40540</c:v>
                </c:pt>
                <c:pt idx="651">
                  <c:v>40541</c:v>
                </c:pt>
                <c:pt idx="652">
                  <c:v>40542</c:v>
                </c:pt>
                <c:pt idx="653">
                  <c:v>40543</c:v>
                </c:pt>
                <c:pt idx="654">
                  <c:v>40546</c:v>
                </c:pt>
                <c:pt idx="655">
                  <c:v>40547</c:v>
                </c:pt>
                <c:pt idx="656">
                  <c:v>40548</c:v>
                </c:pt>
                <c:pt idx="657">
                  <c:v>40549</c:v>
                </c:pt>
                <c:pt idx="658">
                  <c:v>40550</c:v>
                </c:pt>
                <c:pt idx="659">
                  <c:v>40553</c:v>
                </c:pt>
                <c:pt idx="660">
                  <c:v>40554</c:v>
                </c:pt>
                <c:pt idx="661">
                  <c:v>40555</c:v>
                </c:pt>
                <c:pt idx="662">
                  <c:v>40556</c:v>
                </c:pt>
                <c:pt idx="663">
                  <c:v>40557</c:v>
                </c:pt>
                <c:pt idx="664">
                  <c:v>40561</c:v>
                </c:pt>
                <c:pt idx="665">
                  <c:v>40562</c:v>
                </c:pt>
                <c:pt idx="666">
                  <c:v>40563</c:v>
                </c:pt>
                <c:pt idx="667">
                  <c:v>40564</c:v>
                </c:pt>
                <c:pt idx="668">
                  <c:v>40567</c:v>
                </c:pt>
                <c:pt idx="669">
                  <c:v>40568</c:v>
                </c:pt>
                <c:pt idx="670">
                  <c:v>40569</c:v>
                </c:pt>
                <c:pt idx="671">
                  <c:v>40570</c:v>
                </c:pt>
                <c:pt idx="672">
                  <c:v>40571</c:v>
                </c:pt>
                <c:pt idx="673">
                  <c:v>40574</c:v>
                </c:pt>
                <c:pt idx="674">
                  <c:v>40575</c:v>
                </c:pt>
                <c:pt idx="675">
                  <c:v>40576</c:v>
                </c:pt>
                <c:pt idx="676">
                  <c:v>40577</c:v>
                </c:pt>
                <c:pt idx="677">
                  <c:v>40578</c:v>
                </c:pt>
                <c:pt idx="678">
                  <c:v>40581</c:v>
                </c:pt>
                <c:pt idx="679">
                  <c:v>40582</c:v>
                </c:pt>
                <c:pt idx="680">
                  <c:v>40583</c:v>
                </c:pt>
                <c:pt idx="681">
                  <c:v>40584</c:v>
                </c:pt>
                <c:pt idx="682">
                  <c:v>40585</c:v>
                </c:pt>
                <c:pt idx="683">
                  <c:v>40588</c:v>
                </c:pt>
                <c:pt idx="684">
                  <c:v>40589</c:v>
                </c:pt>
                <c:pt idx="685">
                  <c:v>40590</c:v>
                </c:pt>
                <c:pt idx="686">
                  <c:v>40591</c:v>
                </c:pt>
                <c:pt idx="687">
                  <c:v>40592</c:v>
                </c:pt>
                <c:pt idx="688">
                  <c:v>40596</c:v>
                </c:pt>
                <c:pt idx="689">
                  <c:v>40597</c:v>
                </c:pt>
                <c:pt idx="690">
                  <c:v>40598</c:v>
                </c:pt>
                <c:pt idx="691">
                  <c:v>40599</c:v>
                </c:pt>
                <c:pt idx="692">
                  <c:v>40602</c:v>
                </c:pt>
                <c:pt idx="693">
                  <c:v>40603</c:v>
                </c:pt>
                <c:pt idx="694">
                  <c:v>40604</c:v>
                </c:pt>
                <c:pt idx="695">
                  <c:v>40605</c:v>
                </c:pt>
                <c:pt idx="696">
                  <c:v>40606</c:v>
                </c:pt>
                <c:pt idx="697">
                  <c:v>40609</c:v>
                </c:pt>
                <c:pt idx="698">
                  <c:v>40610</c:v>
                </c:pt>
                <c:pt idx="699">
                  <c:v>40611</c:v>
                </c:pt>
                <c:pt idx="700">
                  <c:v>40612</c:v>
                </c:pt>
                <c:pt idx="701">
                  <c:v>40613</c:v>
                </c:pt>
                <c:pt idx="702">
                  <c:v>40616</c:v>
                </c:pt>
                <c:pt idx="703">
                  <c:v>40617</c:v>
                </c:pt>
                <c:pt idx="704">
                  <c:v>40618</c:v>
                </c:pt>
                <c:pt idx="705">
                  <c:v>40619</c:v>
                </c:pt>
                <c:pt idx="706">
                  <c:v>40620</c:v>
                </c:pt>
                <c:pt idx="707">
                  <c:v>40623</c:v>
                </c:pt>
                <c:pt idx="708">
                  <c:v>40624</c:v>
                </c:pt>
                <c:pt idx="709">
                  <c:v>40625</c:v>
                </c:pt>
                <c:pt idx="710">
                  <c:v>40626</c:v>
                </c:pt>
                <c:pt idx="711">
                  <c:v>40627</c:v>
                </c:pt>
                <c:pt idx="712">
                  <c:v>40630</c:v>
                </c:pt>
                <c:pt idx="713">
                  <c:v>40631</c:v>
                </c:pt>
                <c:pt idx="714">
                  <c:v>40632</c:v>
                </c:pt>
                <c:pt idx="715">
                  <c:v>40633</c:v>
                </c:pt>
                <c:pt idx="716">
                  <c:v>40634</c:v>
                </c:pt>
                <c:pt idx="717">
                  <c:v>40637</c:v>
                </c:pt>
                <c:pt idx="718">
                  <c:v>40638</c:v>
                </c:pt>
                <c:pt idx="719">
                  <c:v>40639</c:v>
                </c:pt>
                <c:pt idx="720">
                  <c:v>40640</c:v>
                </c:pt>
                <c:pt idx="721">
                  <c:v>40641</c:v>
                </c:pt>
                <c:pt idx="722">
                  <c:v>40644</c:v>
                </c:pt>
                <c:pt idx="723">
                  <c:v>40645</c:v>
                </c:pt>
                <c:pt idx="724">
                  <c:v>40646</c:v>
                </c:pt>
                <c:pt idx="725">
                  <c:v>40647</c:v>
                </c:pt>
                <c:pt idx="726">
                  <c:v>40648</c:v>
                </c:pt>
                <c:pt idx="727">
                  <c:v>40651</c:v>
                </c:pt>
                <c:pt idx="728">
                  <c:v>40652</c:v>
                </c:pt>
                <c:pt idx="729">
                  <c:v>40653</c:v>
                </c:pt>
                <c:pt idx="730">
                  <c:v>40654</c:v>
                </c:pt>
                <c:pt idx="731">
                  <c:v>40658</c:v>
                </c:pt>
                <c:pt idx="732">
                  <c:v>40659</c:v>
                </c:pt>
                <c:pt idx="733">
                  <c:v>40660</c:v>
                </c:pt>
                <c:pt idx="734">
                  <c:v>40661</c:v>
                </c:pt>
                <c:pt idx="735">
                  <c:v>40662</c:v>
                </c:pt>
                <c:pt idx="736">
                  <c:v>40665</c:v>
                </c:pt>
                <c:pt idx="737">
                  <c:v>40666</c:v>
                </c:pt>
                <c:pt idx="738">
                  <c:v>40667</c:v>
                </c:pt>
                <c:pt idx="739">
                  <c:v>40668</c:v>
                </c:pt>
                <c:pt idx="740">
                  <c:v>40669</c:v>
                </c:pt>
                <c:pt idx="741">
                  <c:v>40672</c:v>
                </c:pt>
                <c:pt idx="742">
                  <c:v>40673</c:v>
                </c:pt>
                <c:pt idx="743">
                  <c:v>40674</c:v>
                </c:pt>
                <c:pt idx="744">
                  <c:v>40675</c:v>
                </c:pt>
                <c:pt idx="745">
                  <c:v>40676</c:v>
                </c:pt>
                <c:pt idx="746">
                  <c:v>40679</c:v>
                </c:pt>
                <c:pt idx="747">
                  <c:v>40680</c:v>
                </c:pt>
                <c:pt idx="748">
                  <c:v>40681</c:v>
                </c:pt>
                <c:pt idx="749">
                  <c:v>40682</c:v>
                </c:pt>
                <c:pt idx="750">
                  <c:v>40683</c:v>
                </c:pt>
                <c:pt idx="751">
                  <c:v>40686</c:v>
                </c:pt>
                <c:pt idx="752">
                  <c:v>40687</c:v>
                </c:pt>
                <c:pt idx="753">
                  <c:v>40688</c:v>
                </c:pt>
                <c:pt idx="754">
                  <c:v>40689</c:v>
                </c:pt>
                <c:pt idx="755">
                  <c:v>40690</c:v>
                </c:pt>
                <c:pt idx="756">
                  <c:v>40694</c:v>
                </c:pt>
                <c:pt idx="757">
                  <c:v>40695</c:v>
                </c:pt>
                <c:pt idx="758">
                  <c:v>40696</c:v>
                </c:pt>
                <c:pt idx="759">
                  <c:v>40697</c:v>
                </c:pt>
                <c:pt idx="760">
                  <c:v>40700</c:v>
                </c:pt>
                <c:pt idx="761">
                  <c:v>40701</c:v>
                </c:pt>
                <c:pt idx="762">
                  <c:v>40702</c:v>
                </c:pt>
                <c:pt idx="763">
                  <c:v>40703</c:v>
                </c:pt>
                <c:pt idx="764">
                  <c:v>40704</c:v>
                </c:pt>
                <c:pt idx="765">
                  <c:v>40707</c:v>
                </c:pt>
                <c:pt idx="766">
                  <c:v>40708</c:v>
                </c:pt>
                <c:pt idx="767">
                  <c:v>40709</c:v>
                </c:pt>
                <c:pt idx="768">
                  <c:v>40710</c:v>
                </c:pt>
                <c:pt idx="769">
                  <c:v>40711</c:v>
                </c:pt>
                <c:pt idx="770">
                  <c:v>40714</c:v>
                </c:pt>
                <c:pt idx="771">
                  <c:v>40715</c:v>
                </c:pt>
                <c:pt idx="772">
                  <c:v>40716</c:v>
                </c:pt>
                <c:pt idx="773">
                  <c:v>40717</c:v>
                </c:pt>
                <c:pt idx="774">
                  <c:v>40718</c:v>
                </c:pt>
                <c:pt idx="775">
                  <c:v>40721</c:v>
                </c:pt>
                <c:pt idx="776">
                  <c:v>40722</c:v>
                </c:pt>
                <c:pt idx="777">
                  <c:v>40723</c:v>
                </c:pt>
                <c:pt idx="778">
                  <c:v>40724</c:v>
                </c:pt>
                <c:pt idx="779">
                  <c:v>40725</c:v>
                </c:pt>
                <c:pt idx="780">
                  <c:v>40729</c:v>
                </c:pt>
                <c:pt idx="781">
                  <c:v>40730</c:v>
                </c:pt>
                <c:pt idx="782">
                  <c:v>40731</c:v>
                </c:pt>
                <c:pt idx="783">
                  <c:v>40732</c:v>
                </c:pt>
                <c:pt idx="784">
                  <c:v>40735</c:v>
                </c:pt>
                <c:pt idx="785">
                  <c:v>40736</c:v>
                </c:pt>
                <c:pt idx="786">
                  <c:v>40737</c:v>
                </c:pt>
                <c:pt idx="787">
                  <c:v>40738</c:v>
                </c:pt>
                <c:pt idx="788">
                  <c:v>40739</c:v>
                </c:pt>
                <c:pt idx="789">
                  <c:v>40742</c:v>
                </c:pt>
                <c:pt idx="790">
                  <c:v>40743</c:v>
                </c:pt>
                <c:pt idx="791">
                  <c:v>40744</c:v>
                </c:pt>
                <c:pt idx="792">
                  <c:v>40745</c:v>
                </c:pt>
                <c:pt idx="793">
                  <c:v>40746</c:v>
                </c:pt>
                <c:pt idx="794">
                  <c:v>40749</c:v>
                </c:pt>
                <c:pt idx="795">
                  <c:v>40750</c:v>
                </c:pt>
                <c:pt idx="796">
                  <c:v>40751</c:v>
                </c:pt>
                <c:pt idx="797">
                  <c:v>40752</c:v>
                </c:pt>
                <c:pt idx="798">
                  <c:v>40753</c:v>
                </c:pt>
                <c:pt idx="799">
                  <c:v>40756</c:v>
                </c:pt>
                <c:pt idx="800">
                  <c:v>40757</c:v>
                </c:pt>
                <c:pt idx="801">
                  <c:v>40758</c:v>
                </c:pt>
                <c:pt idx="802">
                  <c:v>40759</c:v>
                </c:pt>
                <c:pt idx="803">
                  <c:v>40760</c:v>
                </c:pt>
                <c:pt idx="804">
                  <c:v>40763</c:v>
                </c:pt>
                <c:pt idx="805">
                  <c:v>40764</c:v>
                </c:pt>
                <c:pt idx="806">
                  <c:v>40765</c:v>
                </c:pt>
                <c:pt idx="807">
                  <c:v>40766</c:v>
                </c:pt>
                <c:pt idx="808">
                  <c:v>40767</c:v>
                </c:pt>
                <c:pt idx="809">
                  <c:v>40770</c:v>
                </c:pt>
                <c:pt idx="810">
                  <c:v>40771</c:v>
                </c:pt>
                <c:pt idx="811">
                  <c:v>40772</c:v>
                </c:pt>
                <c:pt idx="812">
                  <c:v>40773</c:v>
                </c:pt>
                <c:pt idx="813">
                  <c:v>40774</c:v>
                </c:pt>
                <c:pt idx="814">
                  <c:v>40777</c:v>
                </c:pt>
                <c:pt idx="815">
                  <c:v>40778</c:v>
                </c:pt>
                <c:pt idx="816">
                  <c:v>40779</c:v>
                </c:pt>
                <c:pt idx="817">
                  <c:v>40780</c:v>
                </c:pt>
                <c:pt idx="818">
                  <c:v>40781</c:v>
                </c:pt>
                <c:pt idx="819">
                  <c:v>40784</c:v>
                </c:pt>
                <c:pt idx="820">
                  <c:v>40785</c:v>
                </c:pt>
                <c:pt idx="821">
                  <c:v>40786</c:v>
                </c:pt>
                <c:pt idx="822">
                  <c:v>40787</c:v>
                </c:pt>
                <c:pt idx="823">
                  <c:v>40788</c:v>
                </c:pt>
                <c:pt idx="824">
                  <c:v>40792</c:v>
                </c:pt>
                <c:pt idx="825">
                  <c:v>40793</c:v>
                </c:pt>
                <c:pt idx="826">
                  <c:v>40794</c:v>
                </c:pt>
                <c:pt idx="827">
                  <c:v>40795</c:v>
                </c:pt>
                <c:pt idx="828">
                  <c:v>40798</c:v>
                </c:pt>
                <c:pt idx="829">
                  <c:v>40799</c:v>
                </c:pt>
                <c:pt idx="830">
                  <c:v>40800</c:v>
                </c:pt>
                <c:pt idx="831">
                  <c:v>40801</c:v>
                </c:pt>
                <c:pt idx="832">
                  <c:v>40802</c:v>
                </c:pt>
                <c:pt idx="833">
                  <c:v>40805</c:v>
                </c:pt>
                <c:pt idx="834">
                  <c:v>40806</c:v>
                </c:pt>
                <c:pt idx="835">
                  <c:v>40807</c:v>
                </c:pt>
                <c:pt idx="836">
                  <c:v>40808</c:v>
                </c:pt>
                <c:pt idx="837">
                  <c:v>40809</c:v>
                </c:pt>
                <c:pt idx="838">
                  <c:v>40812</c:v>
                </c:pt>
                <c:pt idx="839">
                  <c:v>40813</c:v>
                </c:pt>
                <c:pt idx="840">
                  <c:v>40814</c:v>
                </c:pt>
                <c:pt idx="841">
                  <c:v>40815</c:v>
                </c:pt>
                <c:pt idx="842">
                  <c:v>40816</c:v>
                </c:pt>
                <c:pt idx="843">
                  <c:v>40819</c:v>
                </c:pt>
                <c:pt idx="844">
                  <c:v>40820</c:v>
                </c:pt>
                <c:pt idx="845">
                  <c:v>40821</c:v>
                </c:pt>
                <c:pt idx="846">
                  <c:v>40822</c:v>
                </c:pt>
                <c:pt idx="847">
                  <c:v>40823</c:v>
                </c:pt>
                <c:pt idx="848">
                  <c:v>40826</c:v>
                </c:pt>
                <c:pt idx="849">
                  <c:v>40827</c:v>
                </c:pt>
                <c:pt idx="850">
                  <c:v>40828</c:v>
                </c:pt>
                <c:pt idx="851">
                  <c:v>40829</c:v>
                </c:pt>
                <c:pt idx="852">
                  <c:v>40830</c:v>
                </c:pt>
                <c:pt idx="853">
                  <c:v>40833</c:v>
                </c:pt>
                <c:pt idx="854">
                  <c:v>40834</c:v>
                </c:pt>
                <c:pt idx="855">
                  <c:v>40835</c:v>
                </c:pt>
                <c:pt idx="856">
                  <c:v>40836</c:v>
                </c:pt>
                <c:pt idx="857">
                  <c:v>40837</c:v>
                </c:pt>
                <c:pt idx="858">
                  <c:v>40840</c:v>
                </c:pt>
                <c:pt idx="859">
                  <c:v>40841</c:v>
                </c:pt>
                <c:pt idx="860">
                  <c:v>40842</c:v>
                </c:pt>
                <c:pt idx="861">
                  <c:v>40843</c:v>
                </c:pt>
                <c:pt idx="862">
                  <c:v>40844</c:v>
                </c:pt>
                <c:pt idx="863">
                  <c:v>40847</c:v>
                </c:pt>
                <c:pt idx="864">
                  <c:v>40848</c:v>
                </c:pt>
                <c:pt idx="865">
                  <c:v>40849</c:v>
                </c:pt>
                <c:pt idx="866">
                  <c:v>40850</c:v>
                </c:pt>
                <c:pt idx="867">
                  <c:v>40851</c:v>
                </c:pt>
                <c:pt idx="868">
                  <c:v>40854</c:v>
                </c:pt>
                <c:pt idx="869">
                  <c:v>40855</c:v>
                </c:pt>
                <c:pt idx="870">
                  <c:v>40856</c:v>
                </c:pt>
                <c:pt idx="871">
                  <c:v>40857</c:v>
                </c:pt>
                <c:pt idx="872">
                  <c:v>40858</c:v>
                </c:pt>
                <c:pt idx="873">
                  <c:v>40861</c:v>
                </c:pt>
                <c:pt idx="874">
                  <c:v>40862</c:v>
                </c:pt>
                <c:pt idx="875">
                  <c:v>40863</c:v>
                </c:pt>
                <c:pt idx="876">
                  <c:v>40864</c:v>
                </c:pt>
                <c:pt idx="877">
                  <c:v>40865</c:v>
                </c:pt>
                <c:pt idx="878">
                  <c:v>40868</c:v>
                </c:pt>
                <c:pt idx="879">
                  <c:v>40869</c:v>
                </c:pt>
                <c:pt idx="880">
                  <c:v>40870</c:v>
                </c:pt>
                <c:pt idx="881">
                  <c:v>40872</c:v>
                </c:pt>
                <c:pt idx="882">
                  <c:v>40875</c:v>
                </c:pt>
                <c:pt idx="883">
                  <c:v>40876</c:v>
                </c:pt>
                <c:pt idx="884">
                  <c:v>40877</c:v>
                </c:pt>
                <c:pt idx="885">
                  <c:v>40878</c:v>
                </c:pt>
                <c:pt idx="886">
                  <c:v>40879</c:v>
                </c:pt>
                <c:pt idx="887">
                  <c:v>40882</c:v>
                </c:pt>
                <c:pt idx="888">
                  <c:v>40883</c:v>
                </c:pt>
                <c:pt idx="889">
                  <c:v>40884</c:v>
                </c:pt>
                <c:pt idx="890">
                  <c:v>40885</c:v>
                </c:pt>
                <c:pt idx="891">
                  <c:v>40886</c:v>
                </c:pt>
                <c:pt idx="892">
                  <c:v>40889</c:v>
                </c:pt>
                <c:pt idx="893">
                  <c:v>40890</c:v>
                </c:pt>
                <c:pt idx="894">
                  <c:v>40891</c:v>
                </c:pt>
                <c:pt idx="895">
                  <c:v>40892</c:v>
                </c:pt>
                <c:pt idx="896">
                  <c:v>40893</c:v>
                </c:pt>
                <c:pt idx="897">
                  <c:v>40896</c:v>
                </c:pt>
                <c:pt idx="898">
                  <c:v>40897</c:v>
                </c:pt>
                <c:pt idx="899">
                  <c:v>40898</c:v>
                </c:pt>
                <c:pt idx="900">
                  <c:v>40899</c:v>
                </c:pt>
                <c:pt idx="901">
                  <c:v>40900</c:v>
                </c:pt>
                <c:pt idx="902">
                  <c:v>40904</c:v>
                </c:pt>
                <c:pt idx="903">
                  <c:v>40905</c:v>
                </c:pt>
                <c:pt idx="904">
                  <c:v>40906</c:v>
                </c:pt>
                <c:pt idx="905">
                  <c:v>40907</c:v>
                </c:pt>
                <c:pt idx="906">
                  <c:v>40911</c:v>
                </c:pt>
                <c:pt idx="907">
                  <c:v>40912</c:v>
                </c:pt>
                <c:pt idx="908">
                  <c:v>40913</c:v>
                </c:pt>
                <c:pt idx="909">
                  <c:v>40914</c:v>
                </c:pt>
                <c:pt idx="910">
                  <c:v>40917</c:v>
                </c:pt>
                <c:pt idx="911">
                  <c:v>40918</c:v>
                </c:pt>
                <c:pt idx="912">
                  <c:v>40919</c:v>
                </c:pt>
                <c:pt idx="913">
                  <c:v>40920</c:v>
                </c:pt>
                <c:pt idx="914">
                  <c:v>40921</c:v>
                </c:pt>
                <c:pt idx="915">
                  <c:v>40925</c:v>
                </c:pt>
                <c:pt idx="916">
                  <c:v>40926</c:v>
                </c:pt>
                <c:pt idx="917">
                  <c:v>40927</c:v>
                </c:pt>
                <c:pt idx="918">
                  <c:v>40928</c:v>
                </c:pt>
                <c:pt idx="919">
                  <c:v>40931</c:v>
                </c:pt>
                <c:pt idx="920">
                  <c:v>40932</c:v>
                </c:pt>
                <c:pt idx="921">
                  <c:v>40933</c:v>
                </c:pt>
                <c:pt idx="922">
                  <c:v>40934</c:v>
                </c:pt>
                <c:pt idx="923">
                  <c:v>40935</c:v>
                </c:pt>
                <c:pt idx="924">
                  <c:v>40938</c:v>
                </c:pt>
                <c:pt idx="925">
                  <c:v>40939</c:v>
                </c:pt>
                <c:pt idx="926">
                  <c:v>40940</c:v>
                </c:pt>
                <c:pt idx="927">
                  <c:v>40941</c:v>
                </c:pt>
                <c:pt idx="928">
                  <c:v>40942</c:v>
                </c:pt>
                <c:pt idx="929">
                  <c:v>40945</c:v>
                </c:pt>
                <c:pt idx="930">
                  <c:v>40946</c:v>
                </c:pt>
                <c:pt idx="931">
                  <c:v>40947</c:v>
                </c:pt>
                <c:pt idx="932">
                  <c:v>40948</c:v>
                </c:pt>
                <c:pt idx="933">
                  <c:v>40949</c:v>
                </c:pt>
                <c:pt idx="934">
                  <c:v>40952</c:v>
                </c:pt>
                <c:pt idx="935">
                  <c:v>40953</c:v>
                </c:pt>
                <c:pt idx="936">
                  <c:v>40954</c:v>
                </c:pt>
                <c:pt idx="937">
                  <c:v>40955</c:v>
                </c:pt>
                <c:pt idx="938">
                  <c:v>40956</c:v>
                </c:pt>
                <c:pt idx="939">
                  <c:v>40960</c:v>
                </c:pt>
                <c:pt idx="940">
                  <c:v>40961</c:v>
                </c:pt>
                <c:pt idx="941">
                  <c:v>40962</c:v>
                </c:pt>
                <c:pt idx="942">
                  <c:v>40963</c:v>
                </c:pt>
                <c:pt idx="943">
                  <c:v>40966</c:v>
                </c:pt>
                <c:pt idx="944">
                  <c:v>40967</c:v>
                </c:pt>
                <c:pt idx="945">
                  <c:v>40968</c:v>
                </c:pt>
                <c:pt idx="946">
                  <c:v>40969</c:v>
                </c:pt>
                <c:pt idx="947">
                  <c:v>40970</c:v>
                </c:pt>
                <c:pt idx="948">
                  <c:v>40973</c:v>
                </c:pt>
                <c:pt idx="949">
                  <c:v>40974</c:v>
                </c:pt>
                <c:pt idx="950">
                  <c:v>40975</c:v>
                </c:pt>
                <c:pt idx="951">
                  <c:v>40976</c:v>
                </c:pt>
                <c:pt idx="952">
                  <c:v>40977</c:v>
                </c:pt>
                <c:pt idx="953">
                  <c:v>40980</c:v>
                </c:pt>
                <c:pt idx="954">
                  <c:v>40981</c:v>
                </c:pt>
                <c:pt idx="955">
                  <c:v>40982</c:v>
                </c:pt>
                <c:pt idx="956">
                  <c:v>40983</c:v>
                </c:pt>
                <c:pt idx="957">
                  <c:v>40984</c:v>
                </c:pt>
                <c:pt idx="958">
                  <c:v>40987</c:v>
                </c:pt>
                <c:pt idx="959">
                  <c:v>40988</c:v>
                </c:pt>
                <c:pt idx="960">
                  <c:v>40989</c:v>
                </c:pt>
                <c:pt idx="961">
                  <c:v>40990</c:v>
                </c:pt>
                <c:pt idx="962">
                  <c:v>40991</c:v>
                </c:pt>
                <c:pt idx="963">
                  <c:v>40994</c:v>
                </c:pt>
                <c:pt idx="964">
                  <c:v>40995</c:v>
                </c:pt>
                <c:pt idx="965">
                  <c:v>40996</c:v>
                </c:pt>
                <c:pt idx="966">
                  <c:v>40997</c:v>
                </c:pt>
                <c:pt idx="967">
                  <c:v>40998</c:v>
                </c:pt>
                <c:pt idx="968">
                  <c:v>41001</c:v>
                </c:pt>
                <c:pt idx="969">
                  <c:v>41002</c:v>
                </c:pt>
                <c:pt idx="970">
                  <c:v>41003</c:v>
                </c:pt>
                <c:pt idx="971">
                  <c:v>41004</c:v>
                </c:pt>
                <c:pt idx="972">
                  <c:v>41008</c:v>
                </c:pt>
                <c:pt idx="973">
                  <c:v>41009</c:v>
                </c:pt>
                <c:pt idx="974">
                  <c:v>41010</c:v>
                </c:pt>
                <c:pt idx="975">
                  <c:v>41011</c:v>
                </c:pt>
                <c:pt idx="976">
                  <c:v>41012</c:v>
                </c:pt>
                <c:pt idx="977">
                  <c:v>41015</c:v>
                </c:pt>
                <c:pt idx="978">
                  <c:v>41016</c:v>
                </c:pt>
                <c:pt idx="979">
                  <c:v>41017</c:v>
                </c:pt>
                <c:pt idx="980">
                  <c:v>41018</c:v>
                </c:pt>
                <c:pt idx="981">
                  <c:v>41019</c:v>
                </c:pt>
                <c:pt idx="982">
                  <c:v>41022</c:v>
                </c:pt>
                <c:pt idx="983">
                  <c:v>41023</c:v>
                </c:pt>
                <c:pt idx="984">
                  <c:v>41024</c:v>
                </c:pt>
                <c:pt idx="985">
                  <c:v>41025</c:v>
                </c:pt>
                <c:pt idx="986">
                  <c:v>41026</c:v>
                </c:pt>
                <c:pt idx="987">
                  <c:v>41029</c:v>
                </c:pt>
                <c:pt idx="988">
                  <c:v>41030</c:v>
                </c:pt>
                <c:pt idx="989">
                  <c:v>41031</c:v>
                </c:pt>
                <c:pt idx="990">
                  <c:v>41032</c:v>
                </c:pt>
                <c:pt idx="991">
                  <c:v>41033</c:v>
                </c:pt>
                <c:pt idx="992">
                  <c:v>41036</c:v>
                </c:pt>
                <c:pt idx="993">
                  <c:v>41037</c:v>
                </c:pt>
                <c:pt idx="994">
                  <c:v>41038</c:v>
                </c:pt>
                <c:pt idx="995">
                  <c:v>41039</c:v>
                </c:pt>
                <c:pt idx="996">
                  <c:v>41040</c:v>
                </c:pt>
                <c:pt idx="997">
                  <c:v>41043</c:v>
                </c:pt>
                <c:pt idx="998">
                  <c:v>41044</c:v>
                </c:pt>
                <c:pt idx="999">
                  <c:v>41045</c:v>
                </c:pt>
                <c:pt idx="1000">
                  <c:v>41046</c:v>
                </c:pt>
                <c:pt idx="1001">
                  <c:v>41047</c:v>
                </c:pt>
                <c:pt idx="1002">
                  <c:v>41050</c:v>
                </c:pt>
                <c:pt idx="1003">
                  <c:v>41051</c:v>
                </c:pt>
                <c:pt idx="1004">
                  <c:v>41052</c:v>
                </c:pt>
                <c:pt idx="1005">
                  <c:v>41053</c:v>
                </c:pt>
                <c:pt idx="1006">
                  <c:v>41054</c:v>
                </c:pt>
                <c:pt idx="1007">
                  <c:v>41058</c:v>
                </c:pt>
                <c:pt idx="1008">
                  <c:v>41059</c:v>
                </c:pt>
                <c:pt idx="1009">
                  <c:v>41060</c:v>
                </c:pt>
                <c:pt idx="1010">
                  <c:v>41061</c:v>
                </c:pt>
                <c:pt idx="1011">
                  <c:v>41064</c:v>
                </c:pt>
                <c:pt idx="1012">
                  <c:v>41065</c:v>
                </c:pt>
                <c:pt idx="1013">
                  <c:v>41066</c:v>
                </c:pt>
                <c:pt idx="1014">
                  <c:v>41067</c:v>
                </c:pt>
                <c:pt idx="1015">
                  <c:v>41068</c:v>
                </c:pt>
                <c:pt idx="1016">
                  <c:v>41071</c:v>
                </c:pt>
                <c:pt idx="1017">
                  <c:v>41072</c:v>
                </c:pt>
                <c:pt idx="1018">
                  <c:v>41073</c:v>
                </c:pt>
                <c:pt idx="1019">
                  <c:v>41074</c:v>
                </c:pt>
                <c:pt idx="1020">
                  <c:v>41075</c:v>
                </c:pt>
                <c:pt idx="1021">
                  <c:v>41078</c:v>
                </c:pt>
                <c:pt idx="1022">
                  <c:v>41079</c:v>
                </c:pt>
                <c:pt idx="1023">
                  <c:v>41080</c:v>
                </c:pt>
                <c:pt idx="1024">
                  <c:v>41081</c:v>
                </c:pt>
                <c:pt idx="1025">
                  <c:v>41082</c:v>
                </c:pt>
                <c:pt idx="1026">
                  <c:v>41085</c:v>
                </c:pt>
                <c:pt idx="1027">
                  <c:v>41086</c:v>
                </c:pt>
                <c:pt idx="1028">
                  <c:v>41087</c:v>
                </c:pt>
                <c:pt idx="1029">
                  <c:v>41088</c:v>
                </c:pt>
                <c:pt idx="1030">
                  <c:v>41089</c:v>
                </c:pt>
                <c:pt idx="1031">
                  <c:v>41092</c:v>
                </c:pt>
                <c:pt idx="1032">
                  <c:v>41093</c:v>
                </c:pt>
                <c:pt idx="1033">
                  <c:v>41095</c:v>
                </c:pt>
                <c:pt idx="1034">
                  <c:v>41096</c:v>
                </c:pt>
                <c:pt idx="1035">
                  <c:v>41099</c:v>
                </c:pt>
                <c:pt idx="1036">
                  <c:v>41100</c:v>
                </c:pt>
                <c:pt idx="1037">
                  <c:v>41101</c:v>
                </c:pt>
                <c:pt idx="1038">
                  <c:v>41102</c:v>
                </c:pt>
                <c:pt idx="1039">
                  <c:v>41103</c:v>
                </c:pt>
                <c:pt idx="1040">
                  <c:v>41106</c:v>
                </c:pt>
                <c:pt idx="1041">
                  <c:v>41107</c:v>
                </c:pt>
                <c:pt idx="1042">
                  <c:v>41108</c:v>
                </c:pt>
                <c:pt idx="1043">
                  <c:v>41109</c:v>
                </c:pt>
                <c:pt idx="1044">
                  <c:v>41110</c:v>
                </c:pt>
                <c:pt idx="1045">
                  <c:v>41113</c:v>
                </c:pt>
                <c:pt idx="1046">
                  <c:v>41114</c:v>
                </c:pt>
                <c:pt idx="1047">
                  <c:v>41115</c:v>
                </c:pt>
                <c:pt idx="1048">
                  <c:v>41116</c:v>
                </c:pt>
                <c:pt idx="1049">
                  <c:v>41117</c:v>
                </c:pt>
                <c:pt idx="1050">
                  <c:v>41120</c:v>
                </c:pt>
                <c:pt idx="1051">
                  <c:v>41121</c:v>
                </c:pt>
                <c:pt idx="1052">
                  <c:v>41122</c:v>
                </c:pt>
                <c:pt idx="1053">
                  <c:v>41123</c:v>
                </c:pt>
                <c:pt idx="1054">
                  <c:v>41124</c:v>
                </c:pt>
                <c:pt idx="1055">
                  <c:v>41127</c:v>
                </c:pt>
                <c:pt idx="1056">
                  <c:v>41128</c:v>
                </c:pt>
                <c:pt idx="1057">
                  <c:v>41129</c:v>
                </c:pt>
                <c:pt idx="1058">
                  <c:v>41130</c:v>
                </c:pt>
                <c:pt idx="1059">
                  <c:v>41131</c:v>
                </c:pt>
                <c:pt idx="1060">
                  <c:v>41134</c:v>
                </c:pt>
                <c:pt idx="1061">
                  <c:v>41135</c:v>
                </c:pt>
                <c:pt idx="1062">
                  <c:v>41136</c:v>
                </c:pt>
                <c:pt idx="1063">
                  <c:v>41137</c:v>
                </c:pt>
                <c:pt idx="1064">
                  <c:v>41138</c:v>
                </c:pt>
                <c:pt idx="1065">
                  <c:v>41141</c:v>
                </c:pt>
                <c:pt idx="1066">
                  <c:v>41142</c:v>
                </c:pt>
                <c:pt idx="1067">
                  <c:v>41143</c:v>
                </c:pt>
                <c:pt idx="1068">
                  <c:v>41144</c:v>
                </c:pt>
                <c:pt idx="1069">
                  <c:v>41145</c:v>
                </c:pt>
                <c:pt idx="1070">
                  <c:v>41148</c:v>
                </c:pt>
                <c:pt idx="1071">
                  <c:v>41149</c:v>
                </c:pt>
                <c:pt idx="1072">
                  <c:v>41150</c:v>
                </c:pt>
                <c:pt idx="1073">
                  <c:v>41151</c:v>
                </c:pt>
                <c:pt idx="1074">
                  <c:v>41152</c:v>
                </c:pt>
                <c:pt idx="1075">
                  <c:v>41156</c:v>
                </c:pt>
                <c:pt idx="1076">
                  <c:v>41157</c:v>
                </c:pt>
                <c:pt idx="1077">
                  <c:v>41158</c:v>
                </c:pt>
                <c:pt idx="1078">
                  <c:v>41159</c:v>
                </c:pt>
                <c:pt idx="1079">
                  <c:v>41162</c:v>
                </c:pt>
                <c:pt idx="1080">
                  <c:v>41163</c:v>
                </c:pt>
                <c:pt idx="1081">
                  <c:v>41164</c:v>
                </c:pt>
                <c:pt idx="1082">
                  <c:v>41165</c:v>
                </c:pt>
                <c:pt idx="1083">
                  <c:v>41166</c:v>
                </c:pt>
                <c:pt idx="1084">
                  <c:v>41169</c:v>
                </c:pt>
                <c:pt idx="1085">
                  <c:v>41170</c:v>
                </c:pt>
                <c:pt idx="1086">
                  <c:v>41171</c:v>
                </c:pt>
                <c:pt idx="1087">
                  <c:v>41172</c:v>
                </c:pt>
                <c:pt idx="1088">
                  <c:v>41173</c:v>
                </c:pt>
                <c:pt idx="1089">
                  <c:v>41176</c:v>
                </c:pt>
                <c:pt idx="1090">
                  <c:v>41177</c:v>
                </c:pt>
                <c:pt idx="1091">
                  <c:v>41178</c:v>
                </c:pt>
                <c:pt idx="1092">
                  <c:v>41179</c:v>
                </c:pt>
                <c:pt idx="1093">
                  <c:v>41180</c:v>
                </c:pt>
                <c:pt idx="1094">
                  <c:v>41183</c:v>
                </c:pt>
                <c:pt idx="1095">
                  <c:v>41184</c:v>
                </c:pt>
                <c:pt idx="1096">
                  <c:v>41185</c:v>
                </c:pt>
                <c:pt idx="1097">
                  <c:v>41186</c:v>
                </c:pt>
                <c:pt idx="1098">
                  <c:v>41187</c:v>
                </c:pt>
                <c:pt idx="1099">
                  <c:v>41190</c:v>
                </c:pt>
                <c:pt idx="1100">
                  <c:v>41191</c:v>
                </c:pt>
                <c:pt idx="1101">
                  <c:v>41192</c:v>
                </c:pt>
                <c:pt idx="1102">
                  <c:v>41193</c:v>
                </c:pt>
                <c:pt idx="1103">
                  <c:v>41194</c:v>
                </c:pt>
                <c:pt idx="1104">
                  <c:v>41197</c:v>
                </c:pt>
                <c:pt idx="1105">
                  <c:v>41198</c:v>
                </c:pt>
                <c:pt idx="1106">
                  <c:v>41199</c:v>
                </c:pt>
                <c:pt idx="1107">
                  <c:v>41200</c:v>
                </c:pt>
                <c:pt idx="1108">
                  <c:v>41201</c:v>
                </c:pt>
                <c:pt idx="1109">
                  <c:v>41204</c:v>
                </c:pt>
                <c:pt idx="1110">
                  <c:v>41205</c:v>
                </c:pt>
                <c:pt idx="1111">
                  <c:v>41206</c:v>
                </c:pt>
                <c:pt idx="1112">
                  <c:v>41207</c:v>
                </c:pt>
                <c:pt idx="1113">
                  <c:v>41208</c:v>
                </c:pt>
                <c:pt idx="1114">
                  <c:v>41213</c:v>
                </c:pt>
                <c:pt idx="1115">
                  <c:v>41214</c:v>
                </c:pt>
                <c:pt idx="1116">
                  <c:v>41215</c:v>
                </c:pt>
                <c:pt idx="1117">
                  <c:v>41218</c:v>
                </c:pt>
                <c:pt idx="1118">
                  <c:v>41219</c:v>
                </c:pt>
                <c:pt idx="1119">
                  <c:v>41220</c:v>
                </c:pt>
                <c:pt idx="1120">
                  <c:v>41221</c:v>
                </c:pt>
                <c:pt idx="1121">
                  <c:v>41222</c:v>
                </c:pt>
                <c:pt idx="1122">
                  <c:v>41225</c:v>
                </c:pt>
                <c:pt idx="1123">
                  <c:v>41226</c:v>
                </c:pt>
                <c:pt idx="1124">
                  <c:v>41227</c:v>
                </c:pt>
                <c:pt idx="1125">
                  <c:v>41228</c:v>
                </c:pt>
                <c:pt idx="1126">
                  <c:v>41229</c:v>
                </c:pt>
                <c:pt idx="1127">
                  <c:v>41232</c:v>
                </c:pt>
                <c:pt idx="1128">
                  <c:v>41233</c:v>
                </c:pt>
                <c:pt idx="1129">
                  <c:v>41234</c:v>
                </c:pt>
                <c:pt idx="1130">
                  <c:v>41236</c:v>
                </c:pt>
                <c:pt idx="1131">
                  <c:v>41239</c:v>
                </c:pt>
                <c:pt idx="1132">
                  <c:v>41240</c:v>
                </c:pt>
                <c:pt idx="1133">
                  <c:v>41241</c:v>
                </c:pt>
                <c:pt idx="1134">
                  <c:v>41242</c:v>
                </c:pt>
                <c:pt idx="1135">
                  <c:v>41243</c:v>
                </c:pt>
                <c:pt idx="1136">
                  <c:v>41246</c:v>
                </c:pt>
                <c:pt idx="1137">
                  <c:v>41247</c:v>
                </c:pt>
                <c:pt idx="1138">
                  <c:v>41248</c:v>
                </c:pt>
                <c:pt idx="1139">
                  <c:v>41249</c:v>
                </c:pt>
                <c:pt idx="1140">
                  <c:v>41250</c:v>
                </c:pt>
                <c:pt idx="1141">
                  <c:v>41253</c:v>
                </c:pt>
                <c:pt idx="1142">
                  <c:v>41254</c:v>
                </c:pt>
                <c:pt idx="1143">
                  <c:v>41255</c:v>
                </c:pt>
                <c:pt idx="1144">
                  <c:v>41256</c:v>
                </c:pt>
                <c:pt idx="1145">
                  <c:v>41257</c:v>
                </c:pt>
                <c:pt idx="1146">
                  <c:v>41260</c:v>
                </c:pt>
                <c:pt idx="1147">
                  <c:v>41261</c:v>
                </c:pt>
                <c:pt idx="1148">
                  <c:v>41262</c:v>
                </c:pt>
                <c:pt idx="1149">
                  <c:v>41263</c:v>
                </c:pt>
                <c:pt idx="1150">
                  <c:v>41264</c:v>
                </c:pt>
                <c:pt idx="1151">
                  <c:v>41267</c:v>
                </c:pt>
                <c:pt idx="1152">
                  <c:v>41269</c:v>
                </c:pt>
                <c:pt idx="1153">
                  <c:v>41270</c:v>
                </c:pt>
                <c:pt idx="1154">
                  <c:v>41271</c:v>
                </c:pt>
                <c:pt idx="1155">
                  <c:v>41274</c:v>
                </c:pt>
                <c:pt idx="1156">
                  <c:v>41276</c:v>
                </c:pt>
                <c:pt idx="1157">
                  <c:v>41277</c:v>
                </c:pt>
                <c:pt idx="1158">
                  <c:v>41278</c:v>
                </c:pt>
                <c:pt idx="1159">
                  <c:v>41281</c:v>
                </c:pt>
                <c:pt idx="1160">
                  <c:v>41282</c:v>
                </c:pt>
                <c:pt idx="1161">
                  <c:v>41283</c:v>
                </c:pt>
                <c:pt idx="1162">
                  <c:v>41284</c:v>
                </c:pt>
                <c:pt idx="1163">
                  <c:v>41285</c:v>
                </c:pt>
                <c:pt idx="1164">
                  <c:v>41288</c:v>
                </c:pt>
                <c:pt idx="1165">
                  <c:v>41289</c:v>
                </c:pt>
                <c:pt idx="1166">
                  <c:v>41290</c:v>
                </c:pt>
                <c:pt idx="1167">
                  <c:v>41291</c:v>
                </c:pt>
                <c:pt idx="1168">
                  <c:v>41292</c:v>
                </c:pt>
                <c:pt idx="1169">
                  <c:v>41296</c:v>
                </c:pt>
                <c:pt idx="1170">
                  <c:v>41297</c:v>
                </c:pt>
                <c:pt idx="1171">
                  <c:v>41298</c:v>
                </c:pt>
                <c:pt idx="1172">
                  <c:v>41299</c:v>
                </c:pt>
                <c:pt idx="1173">
                  <c:v>41302</c:v>
                </c:pt>
                <c:pt idx="1174">
                  <c:v>41303</c:v>
                </c:pt>
                <c:pt idx="1175">
                  <c:v>41304</c:v>
                </c:pt>
                <c:pt idx="1176">
                  <c:v>41305</c:v>
                </c:pt>
                <c:pt idx="1177">
                  <c:v>41306</c:v>
                </c:pt>
                <c:pt idx="1178">
                  <c:v>41309</c:v>
                </c:pt>
                <c:pt idx="1179">
                  <c:v>41310</c:v>
                </c:pt>
                <c:pt idx="1180">
                  <c:v>41311</c:v>
                </c:pt>
                <c:pt idx="1181">
                  <c:v>41312</c:v>
                </c:pt>
                <c:pt idx="1182">
                  <c:v>41313</c:v>
                </c:pt>
                <c:pt idx="1183">
                  <c:v>41316</c:v>
                </c:pt>
                <c:pt idx="1184">
                  <c:v>41317</c:v>
                </c:pt>
                <c:pt idx="1185">
                  <c:v>41318</c:v>
                </c:pt>
                <c:pt idx="1186">
                  <c:v>41319</c:v>
                </c:pt>
                <c:pt idx="1187">
                  <c:v>41320</c:v>
                </c:pt>
                <c:pt idx="1188">
                  <c:v>41324</c:v>
                </c:pt>
                <c:pt idx="1189">
                  <c:v>41325</c:v>
                </c:pt>
                <c:pt idx="1190">
                  <c:v>41326</c:v>
                </c:pt>
                <c:pt idx="1191">
                  <c:v>41327</c:v>
                </c:pt>
                <c:pt idx="1192">
                  <c:v>41330</c:v>
                </c:pt>
                <c:pt idx="1193">
                  <c:v>41331</c:v>
                </c:pt>
                <c:pt idx="1194">
                  <c:v>41332</c:v>
                </c:pt>
                <c:pt idx="1195">
                  <c:v>41333</c:v>
                </c:pt>
                <c:pt idx="1196">
                  <c:v>41334</c:v>
                </c:pt>
                <c:pt idx="1197">
                  <c:v>41337</c:v>
                </c:pt>
                <c:pt idx="1198">
                  <c:v>41338</c:v>
                </c:pt>
                <c:pt idx="1199">
                  <c:v>41339</c:v>
                </c:pt>
                <c:pt idx="1200">
                  <c:v>41340</c:v>
                </c:pt>
                <c:pt idx="1201">
                  <c:v>41341</c:v>
                </c:pt>
                <c:pt idx="1202">
                  <c:v>41344</c:v>
                </c:pt>
                <c:pt idx="1203">
                  <c:v>41345</c:v>
                </c:pt>
                <c:pt idx="1204">
                  <c:v>41346</c:v>
                </c:pt>
                <c:pt idx="1205">
                  <c:v>41347</c:v>
                </c:pt>
                <c:pt idx="1206">
                  <c:v>41348</c:v>
                </c:pt>
                <c:pt idx="1207">
                  <c:v>41351</c:v>
                </c:pt>
                <c:pt idx="1208">
                  <c:v>41352</c:v>
                </c:pt>
                <c:pt idx="1209">
                  <c:v>41353</c:v>
                </c:pt>
                <c:pt idx="1210">
                  <c:v>41354</c:v>
                </c:pt>
                <c:pt idx="1211">
                  <c:v>41355</c:v>
                </c:pt>
                <c:pt idx="1212">
                  <c:v>41358</c:v>
                </c:pt>
                <c:pt idx="1213">
                  <c:v>41359</c:v>
                </c:pt>
                <c:pt idx="1214">
                  <c:v>41360</c:v>
                </c:pt>
                <c:pt idx="1215">
                  <c:v>41361</c:v>
                </c:pt>
                <c:pt idx="1216">
                  <c:v>41365</c:v>
                </c:pt>
                <c:pt idx="1217">
                  <c:v>41366</c:v>
                </c:pt>
                <c:pt idx="1218">
                  <c:v>41367</c:v>
                </c:pt>
                <c:pt idx="1219">
                  <c:v>41368</c:v>
                </c:pt>
                <c:pt idx="1220">
                  <c:v>41369</c:v>
                </c:pt>
                <c:pt idx="1221">
                  <c:v>41372</c:v>
                </c:pt>
                <c:pt idx="1222">
                  <c:v>41373</c:v>
                </c:pt>
                <c:pt idx="1223">
                  <c:v>41374</c:v>
                </c:pt>
                <c:pt idx="1224">
                  <c:v>41375</c:v>
                </c:pt>
                <c:pt idx="1225">
                  <c:v>41376</c:v>
                </c:pt>
                <c:pt idx="1226">
                  <c:v>41379</c:v>
                </c:pt>
                <c:pt idx="1227">
                  <c:v>41380</c:v>
                </c:pt>
                <c:pt idx="1228">
                  <c:v>41381</c:v>
                </c:pt>
                <c:pt idx="1229">
                  <c:v>41382</c:v>
                </c:pt>
                <c:pt idx="1230">
                  <c:v>41383</c:v>
                </c:pt>
                <c:pt idx="1231">
                  <c:v>41386</c:v>
                </c:pt>
                <c:pt idx="1232">
                  <c:v>41387</c:v>
                </c:pt>
                <c:pt idx="1233">
                  <c:v>41388</c:v>
                </c:pt>
                <c:pt idx="1234">
                  <c:v>41389</c:v>
                </c:pt>
                <c:pt idx="1235">
                  <c:v>41390</c:v>
                </c:pt>
                <c:pt idx="1236">
                  <c:v>41393</c:v>
                </c:pt>
                <c:pt idx="1237">
                  <c:v>41394</c:v>
                </c:pt>
                <c:pt idx="1238">
                  <c:v>41395</c:v>
                </c:pt>
                <c:pt idx="1239">
                  <c:v>41396</c:v>
                </c:pt>
                <c:pt idx="1240">
                  <c:v>41397</c:v>
                </c:pt>
                <c:pt idx="1241">
                  <c:v>41400</c:v>
                </c:pt>
                <c:pt idx="1242">
                  <c:v>41401</c:v>
                </c:pt>
                <c:pt idx="1243">
                  <c:v>41402</c:v>
                </c:pt>
                <c:pt idx="1244">
                  <c:v>41403</c:v>
                </c:pt>
                <c:pt idx="1245">
                  <c:v>41404</c:v>
                </c:pt>
                <c:pt idx="1246">
                  <c:v>41407</c:v>
                </c:pt>
                <c:pt idx="1247">
                  <c:v>41408</c:v>
                </c:pt>
                <c:pt idx="1248">
                  <c:v>41409</c:v>
                </c:pt>
                <c:pt idx="1249">
                  <c:v>41410</c:v>
                </c:pt>
                <c:pt idx="1250">
                  <c:v>41411</c:v>
                </c:pt>
                <c:pt idx="1251">
                  <c:v>41414</c:v>
                </c:pt>
                <c:pt idx="1252">
                  <c:v>41415</c:v>
                </c:pt>
                <c:pt idx="1253">
                  <c:v>41416</c:v>
                </c:pt>
                <c:pt idx="1254">
                  <c:v>41417</c:v>
                </c:pt>
                <c:pt idx="1255">
                  <c:v>41418</c:v>
                </c:pt>
                <c:pt idx="1256">
                  <c:v>41422</c:v>
                </c:pt>
                <c:pt idx="1257">
                  <c:v>41423</c:v>
                </c:pt>
                <c:pt idx="1258">
                  <c:v>41424</c:v>
                </c:pt>
                <c:pt idx="1259">
                  <c:v>41425</c:v>
                </c:pt>
                <c:pt idx="1260">
                  <c:v>41428</c:v>
                </c:pt>
                <c:pt idx="1261">
                  <c:v>41429</c:v>
                </c:pt>
                <c:pt idx="1262">
                  <c:v>41430</c:v>
                </c:pt>
                <c:pt idx="1263">
                  <c:v>41431</c:v>
                </c:pt>
                <c:pt idx="1264">
                  <c:v>41432</c:v>
                </c:pt>
                <c:pt idx="1265">
                  <c:v>41435</c:v>
                </c:pt>
                <c:pt idx="1266">
                  <c:v>41436</c:v>
                </c:pt>
                <c:pt idx="1267">
                  <c:v>41437</c:v>
                </c:pt>
                <c:pt idx="1268">
                  <c:v>41438</c:v>
                </c:pt>
                <c:pt idx="1269">
                  <c:v>41439</c:v>
                </c:pt>
                <c:pt idx="1270">
                  <c:v>41442</c:v>
                </c:pt>
                <c:pt idx="1271">
                  <c:v>41443</c:v>
                </c:pt>
                <c:pt idx="1272">
                  <c:v>41444</c:v>
                </c:pt>
                <c:pt idx="1273">
                  <c:v>41445</c:v>
                </c:pt>
                <c:pt idx="1274">
                  <c:v>41446</c:v>
                </c:pt>
                <c:pt idx="1275">
                  <c:v>41449</c:v>
                </c:pt>
                <c:pt idx="1276">
                  <c:v>41450</c:v>
                </c:pt>
                <c:pt idx="1277">
                  <c:v>41451</c:v>
                </c:pt>
                <c:pt idx="1278">
                  <c:v>41452</c:v>
                </c:pt>
                <c:pt idx="1279">
                  <c:v>41453</c:v>
                </c:pt>
                <c:pt idx="1280">
                  <c:v>41456</c:v>
                </c:pt>
                <c:pt idx="1281">
                  <c:v>41457</c:v>
                </c:pt>
                <c:pt idx="1282">
                  <c:v>41458</c:v>
                </c:pt>
                <c:pt idx="1283">
                  <c:v>41460</c:v>
                </c:pt>
                <c:pt idx="1284">
                  <c:v>41463</c:v>
                </c:pt>
                <c:pt idx="1285">
                  <c:v>41464</c:v>
                </c:pt>
                <c:pt idx="1286">
                  <c:v>41465</c:v>
                </c:pt>
                <c:pt idx="1287">
                  <c:v>41466</c:v>
                </c:pt>
                <c:pt idx="1288">
                  <c:v>41467</c:v>
                </c:pt>
                <c:pt idx="1289">
                  <c:v>41470</c:v>
                </c:pt>
                <c:pt idx="1290">
                  <c:v>41471</c:v>
                </c:pt>
                <c:pt idx="1291">
                  <c:v>41472</c:v>
                </c:pt>
                <c:pt idx="1292">
                  <c:v>41473</c:v>
                </c:pt>
                <c:pt idx="1293">
                  <c:v>41474</c:v>
                </c:pt>
                <c:pt idx="1294">
                  <c:v>41477</c:v>
                </c:pt>
                <c:pt idx="1295">
                  <c:v>41478</c:v>
                </c:pt>
                <c:pt idx="1296">
                  <c:v>41479</c:v>
                </c:pt>
                <c:pt idx="1297">
                  <c:v>41480</c:v>
                </c:pt>
                <c:pt idx="1298">
                  <c:v>41481</c:v>
                </c:pt>
                <c:pt idx="1299">
                  <c:v>41484</c:v>
                </c:pt>
                <c:pt idx="1300">
                  <c:v>41485</c:v>
                </c:pt>
                <c:pt idx="1301">
                  <c:v>41486</c:v>
                </c:pt>
                <c:pt idx="1302">
                  <c:v>41487</c:v>
                </c:pt>
                <c:pt idx="1303">
                  <c:v>41488</c:v>
                </c:pt>
                <c:pt idx="1304">
                  <c:v>41491</c:v>
                </c:pt>
                <c:pt idx="1305">
                  <c:v>41492</c:v>
                </c:pt>
                <c:pt idx="1306">
                  <c:v>41493</c:v>
                </c:pt>
                <c:pt idx="1307">
                  <c:v>41494</c:v>
                </c:pt>
                <c:pt idx="1308">
                  <c:v>41495</c:v>
                </c:pt>
                <c:pt idx="1309">
                  <c:v>41498</c:v>
                </c:pt>
                <c:pt idx="1310">
                  <c:v>41499</c:v>
                </c:pt>
                <c:pt idx="1311">
                  <c:v>41500</c:v>
                </c:pt>
                <c:pt idx="1312">
                  <c:v>41501</c:v>
                </c:pt>
                <c:pt idx="1313">
                  <c:v>41502</c:v>
                </c:pt>
                <c:pt idx="1314">
                  <c:v>41505</c:v>
                </c:pt>
                <c:pt idx="1315">
                  <c:v>41506</c:v>
                </c:pt>
                <c:pt idx="1316">
                  <c:v>41507</c:v>
                </c:pt>
                <c:pt idx="1317">
                  <c:v>41508</c:v>
                </c:pt>
                <c:pt idx="1318">
                  <c:v>41509</c:v>
                </c:pt>
                <c:pt idx="1319">
                  <c:v>41512</c:v>
                </c:pt>
                <c:pt idx="1320">
                  <c:v>41513</c:v>
                </c:pt>
                <c:pt idx="1321">
                  <c:v>41514</c:v>
                </c:pt>
                <c:pt idx="1322">
                  <c:v>41515</c:v>
                </c:pt>
                <c:pt idx="1323">
                  <c:v>41516</c:v>
                </c:pt>
                <c:pt idx="1324">
                  <c:v>41520</c:v>
                </c:pt>
                <c:pt idx="1325">
                  <c:v>41521</c:v>
                </c:pt>
                <c:pt idx="1326">
                  <c:v>41522</c:v>
                </c:pt>
                <c:pt idx="1327">
                  <c:v>41523</c:v>
                </c:pt>
                <c:pt idx="1328">
                  <c:v>41526</c:v>
                </c:pt>
                <c:pt idx="1329">
                  <c:v>41527</c:v>
                </c:pt>
                <c:pt idx="1330">
                  <c:v>41528</c:v>
                </c:pt>
                <c:pt idx="1331">
                  <c:v>41529</c:v>
                </c:pt>
                <c:pt idx="1332">
                  <c:v>41530</c:v>
                </c:pt>
                <c:pt idx="1333">
                  <c:v>41533</c:v>
                </c:pt>
                <c:pt idx="1334">
                  <c:v>41534</c:v>
                </c:pt>
                <c:pt idx="1335">
                  <c:v>41535</c:v>
                </c:pt>
                <c:pt idx="1336">
                  <c:v>41536</c:v>
                </c:pt>
                <c:pt idx="1337">
                  <c:v>41537</c:v>
                </c:pt>
                <c:pt idx="1338">
                  <c:v>41540</c:v>
                </c:pt>
                <c:pt idx="1339">
                  <c:v>41541</c:v>
                </c:pt>
                <c:pt idx="1340">
                  <c:v>41542</c:v>
                </c:pt>
                <c:pt idx="1341">
                  <c:v>41543</c:v>
                </c:pt>
                <c:pt idx="1342">
                  <c:v>41544</c:v>
                </c:pt>
                <c:pt idx="1343">
                  <c:v>41547</c:v>
                </c:pt>
                <c:pt idx="1344">
                  <c:v>41548</c:v>
                </c:pt>
                <c:pt idx="1345">
                  <c:v>41549</c:v>
                </c:pt>
                <c:pt idx="1346">
                  <c:v>41550</c:v>
                </c:pt>
                <c:pt idx="1347">
                  <c:v>41551</c:v>
                </c:pt>
                <c:pt idx="1348">
                  <c:v>41554</c:v>
                </c:pt>
                <c:pt idx="1349">
                  <c:v>41555</c:v>
                </c:pt>
                <c:pt idx="1350">
                  <c:v>41556</c:v>
                </c:pt>
                <c:pt idx="1351">
                  <c:v>41557</c:v>
                </c:pt>
                <c:pt idx="1352">
                  <c:v>41558</c:v>
                </c:pt>
                <c:pt idx="1353">
                  <c:v>41561</c:v>
                </c:pt>
                <c:pt idx="1354">
                  <c:v>41562</c:v>
                </c:pt>
                <c:pt idx="1355">
                  <c:v>41563</c:v>
                </c:pt>
                <c:pt idx="1356">
                  <c:v>41564</c:v>
                </c:pt>
                <c:pt idx="1357">
                  <c:v>41565</c:v>
                </c:pt>
                <c:pt idx="1358">
                  <c:v>41568</c:v>
                </c:pt>
                <c:pt idx="1359">
                  <c:v>41569</c:v>
                </c:pt>
                <c:pt idx="1360">
                  <c:v>41570</c:v>
                </c:pt>
                <c:pt idx="1361">
                  <c:v>41571</c:v>
                </c:pt>
                <c:pt idx="1362">
                  <c:v>41572</c:v>
                </c:pt>
                <c:pt idx="1363">
                  <c:v>41575</c:v>
                </c:pt>
                <c:pt idx="1364">
                  <c:v>41576</c:v>
                </c:pt>
                <c:pt idx="1365">
                  <c:v>41577</c:v>
                </c:pt>
                <c:pt idx="1366">
                  <c:v>41578</c:v>
                </c:pt>
                <c:pt idx="1367">
                  <c:v>41579</c:v>
                </c:pt>
                <c:pt idx="1368">
                  <c:v>41582</c:v>
                </c:pt>
                <c:pt idx="1369">
                  <c:v>41583</c:v>
                </c:pt>
                <c:pt idx="1370">
                  <c:v>41584</c:v>
                </c:pt>
                <c:pt idx="1371">
                  <c:v>41585</c:v>
                </c:pt>
                <c:pt idx="1372">
                  <c:v>41586</c:v>
                </c:pt>
                <c:pt idx="1373">
                  <c:v>41589</c:v>
                </c:pt>
                <c:pt idx="1374">
                  <c:v>41590</c:v>
                </c:pt>
                <c:pt idx="1375">
                  <c:v>41591</c:v>
                </c:pt>
                <c:pt idx="1376">
                  <c:v>41592</c:v>
                </c:pt>
                <c:pt idx="1377">
                  <c:v>41593</c:v>
                </c:pt>
                <c:pt idx="1378">
                  <c:v>41596</c:v>
                </c:pt>
                <c:pt idx="1379">
                  <c:v>41597</c:v>
                </c:pt>
                <c:pt idx="1380">
                  <c:v>41598</c:v>
                </c:pt>
                <c:pt idx="1381">
                  <c:v>41599</c:v>
                </c:pt>
                <c:pt idx="1382">
                  <c:v>41600</c:v>
                </c:pt>
                <c:pt idx="1383">
                  <c:v>41603</c:v>
                </c:pt>
                <c:pt idx="1384">
                  <c:v>41604</c:v>
                </c:pt>
                <c:pt idx="1385">
                  <c:v>41605</c:v>
                </c:pt>
                <c:pt idx="1386">
                  <c:v>41607</c:v>
                </c:pt>
                <c:pt idx="1387">
                  <c:v>41610</c:v>
                </c:pt>
                <c:pt idx="1388">
                  <c:v>41611</c:v>
                </c:pt>
                <c:pt idx="1389">
                  <c:v>41612</c:v>
                </c:pt>
                <c:pt idx="1390">
                  <c:v>41613</c:v>
                </c:pt>
                <c:pt idx="1391">
                  <c:v>41614</c:v>
                </c:pt>
                <c:pt idx="1392">
                  <c:v>41617</c:v>
                </c:pt>
                <c:pt idx="1393">
                  <c:v>41618</c:v>
                </c:pt>
                <c:pt idx="1394">
                  <c:v>41619</c:v>
                </c:pt>
                <c:pt idx="1395">
                  <c:v>41620</c:v>
                </c:pt>
                <c:pt idx="1396">
                  <c:v>41621</c:v>
                </c:pt>
                <c:pt idx="1397">
                  <c:v>41624</c:v>
                </c:pt>
                <c:pt idx="1398">
                  <c:v>41625</c:v>
                </c:pt>
                <c:pt idx="1399">
                  <c:v>41626</c:v>
                </c:pt>
                <c:pt idx="1400">
                  <c:v>41627</c:v>
                </c:pt>
                <c:pt idx="1401">
                  <c:v>41628</c:v>
                </c:pt>
                <c:pt idx="1402">
                  <c:v>41631</c:v>
                </c:pt>
                <c:pt idx="1403">
                  <c:v>41632</c:v>
                </c:pt>
                <c:pt idx="1404">
                  <c:v>41634</c:v>
                </c:pt>
                <c:pt idx="1405">
                  <c:v>41635</c:v>
                </c:pt>
                <c:pt idx="1406">
                  <c:v>41638</c:v>
                </c:pt>
                <c:pt idx="1407">
                  <c:v>41639</c:v>
                </c:pt>
                <c:pt idx="1408">
                  <c:v>41641</c:v>
                </c:pt>
                <c:pt idx="1409">
                  <c:v>41642</c:v>
                </c:pt>
                <c:pt idx="1410">
                  <c:v>41645</c:v>
                </c:pt>
                <c:pt idx="1411">
                  <c:v>41646</c:v>
                </c:pt>
                <c:pt idx="1412">
                  <c:v>41647</c:v>
                </c:pt>
                <c:pt idx="1413">
                  <c:v>41648</c:v>
                </c:pt>
                <c:pt idx="1414">
                  <c:v>41649</c:v>
                </c:pt>
                <c:pt idx="1415">
                  <c:v>41652</c:v>
                </c:pt>
                <c:pt idx="1416">
                  <c:v>41653</c:v>
                </c:pt>
                <c:pt idx="1417">
                  <c:v>41654</c:v>
                </c:pt>
                <c:pt idx="1418">
                  <c:v>41655</c:v>
                </c:pt>
                <c:pt idx="1419">
                  <c:v>41656</c:v>
                </c:pt>
                <c:pt idx="1420">
                  <c:v>41660</c:v>
                </c:pt>
                <c:pt idx="1421">
                  <c:v>41661</c:v>
                </c:pt>
                <c:pt idx="1422">
                  <c:v>41662</c:v>
                </c:pt>
                <c:pt idx="1423">
                  <c:v>41663</c:v>
                </c:pt>
                <c:pt idx="1424">
                  <c:v>41666</c:v>
                </c:pt>
                <c:pt idx="1425">
                  <c:v>41667</c:v>
                </c:pt>
                <c:pt idx="1426">
                  <c:v>41668</c:v>
                </c:pt>
                <c:pt idx="1427">
                  <c:v>41669</c:v>
                </c:pt>
                <c:pt idx="1428">
                  <c:v>41670</c:v>
                </c:pt>
                <c:pt idx="1429">
                  <c:v>41673</c:v>
                </c:pt>
                <c:pt idx="1430">
                  <c:v>41674</c:v>
                </c:pt>
                <c:pt idx="1431">
                  <c:v>41675</c:v>
                </c:pt>
                <c:pt idx="1432">
                  <c:v>41676</c:v>
                </c:pt>
                <c:pt idx="1433">
                  <c:v>41677</c:v>
                </c:pt>
                <c:pt idx="1434">
                  <c:v>41680</c:v>
                </c:pt>
                <c:pt idx="1435">
                  <c:v>41681</c:v>
                </c:pt>
                <c:pt idx="1436">
                  <c:v>41682</c:v>
                </c:pt>
                <c:pt idx="1437">
                  <c:v>41683</c:v>
                </c:pt>
                <c:pt idx="1438">
                  <c:v>41684</c:v>
                </c:pt>
                <c:pt idx="1439">
                  <c:v>41688</c:v>
                </c:pt>
                <c:pt idx="1440">
                  <c:v>41689</c:v>
                </c:pt>
                <c:pt idx="1441">
                  <c:v>41690</c:v>
                </c:pt>
                <c:pt idx="1442">
                  <c:v>41691</c:v>
                </c:pt>
                <c:pt idx="1443">
                  <c:v>41694</c:v>
                </c:pt>
                <c:pt idx="1444">
                  <c:v>41695</c:v>
                </c:pt>
                <c:pt idx="1445">
                  <c:v>41696</c:v>
                </c:pt>
                <c:pt idx="1446">
                  <c:v>41697</c:v>
                </c:pt>
                <c:pt idx="1447">
                  <c:v>41698</c:v>
                </c:pt>
                <c:pt idx="1448">
                  <c:v>41701</c:v>
                </c:pt>
                <c:pt idx="1449">
                  <c:v>41702</c:v>
                </c:pt>
                <c:pt idx="1450">
                  <c:v>41703</c:v>
                </c:pt>
                <c:pt idx="1451">
                  <c:v>41704</c:v>
                </c:pt>
                <c:pt idx="1452">
                  <c:v>41705</c:v>
                </c:pt>
                <c:pt idx="1453">
                  <c:v>41708</c:v>
                </c:pt>
                <c:pt idx="1454">
                  <c:v>41709</c:v>
                </c:pt>
                <c:pt idx="1455">
                  <c:v>41710</c:v>
                </c:pt>
                <c:pt idx="1456">
                  <c:v>41711</c:v>
                </c:pt>
                <c:pt idx="1457">
                  <c:v>41712</c:v>
                </c:pt>
                <c:pt idx="1458">
                  <c:v>41715</c:v>
                </c:pt>
                <c:pt idx="1459">
                  <c:v>41716</c:v>
                </c:pt>
                <c:pt idx="1460">
                  <c:v>41717</c:v>
                </c:pt>
                <c:pt idx="1461">
                  <c:v>41718</c:v>
                </c:pt>
                <c:pt idx="1462">
                  <c:v>41719</c:v>
                </c:pt>
                <c:pt idx="1463">
                  <c:v>41722</c:v>
                </c:pt>
                <c:pt idx="1464">
                  <c:v>41723</c:v>
                </c:pt>
                <c:pt idx="1465">
                  <c:v>41724</c:v>
                </c:pt>
                <c:pt idx="1466">
                  <c:v>41725</c:v>
                </c:pt>
                <c:pt idx="1467">
                  <c:v>41726</c:v>
                </c:pt>
                <c:pt idx="1468">
                  <c:v>41729</c:v>
                </c:pt>
                <c:pt idx="1469">
                  <c:v>41730</c:v>
                </c:pt>
                <c:pt idx="1470">
                  <c:v>41731</c:v>
                </c:pt>
                <c:pt idx="1471">
                  <c:v>41732</c:v>
                </c:pt>
                <c:pt idx="1472">
                  <c:v>41733</c:v>
                </c:pt>
                <c:pt idx="1473">
                  <c:v>41736</c:v>
                </c:pt>
                <c:pt idx="1474">
                  <c:v>41737</c:v>
                </c:pt>
                <c:pt idx="1475">
                  <c:v>41738</c:v>
                </c:pt>
                <c:pt idx="1476">
                  <c:v>41739</c:v>
                </c:pt>
                <c:pt idx="1477">
                  <c:v>41740</c:v>
                </c:pt>
                <c:pt idx="1478">
                  <c:v>41743</c:v>
                </c:pt>
                <c:pt idx="1479">
                  <c:v>41744</c:v>
                </c:pt>
                <c:pt idx="1480">
                  <c:v>41745</c:v>
                </c:pt>
                <c:pt idx="1481">
                  <c:v>41746</c:v>
                </c:pt>
                <c:pt idx="1482">
                  <c:v>41750</c:v>
                </c:pt>
                <c:pt idx="1483">
                  <c:v>41751</c:v>
                </c:pt>
                <c:pt idx="1484">
                  <c:v>41752</c:v>
                </c:pt>
                <c:pt idx="1485">
                  <c:v>41753</c:v>
                </c:pt>
                <c:pt idx="1486">
                  <c:v>41754</c:v>
                </c:pt>
                <c:pt idx="1487">
                  <c:v>41757</c:v>
                </c:pt>
                <c:pt idx="1488">
                  <c:v>41758</c:v>
                </c:pt>
                <c:pt idx="1489">
                  <c:v>41759</c:v>
                </c:pt>
                <c:pt idx="1490">
                  <c:v>41760</c:v>
                </c:pt>
                <c:pt idx="1491">
                  <c:v>41761</c:v>
                </c:pt>
                <c:pt idx="1492">
                  <c:v>41764</c:v>
                </c:pt>
                <c:pt idx="1493">
                  <c:v>41765</c:v>
                </c:pt>
                <c:pt idx="1494">
                  <c:v>41766</c:v>
                </c:pt>
                <c:pt idx="1495">
                  <c:v>41767</c:v>
                </c:pt>
                <c:pt idx="1496">
                  <c:v>41768</c:v>
                </c:pt>
                <c:pt idx="1497">
                  <c:v>41771</c:v>
                </c:pt>
                <c:pt idx="1498">
                  <c:v>41772</c:v>
                </c:pt>
                <c:pt idx="1499">
                  <c:v>41773</c:v>
                </c:pt>
                <c:pt idx="1500">
                  <c:v>41774</c:v>
                </c:pt>
                <c:pt idx="1501">
                  <c:v>41775</c:v>
                </c:pt>
                <c:pt idx="1502">
                  <c:v>41778</c:v>
                </c:pt>
                <c:pt idx="1503">
                  <c:v>41779</c:v>
                </c:pt>
                <c:pt idx="1504">
                  <c:v>41780</c:v>
                </c:pt>
                <c:pt idx="1505">
                  <c:v>41781</c:v>
                </c:pt>
                <c:pt idx="1506">
                  <c:v>41782</c:v>
                </c:pt>
                <c:pt idx="1507">
                  <c:v>41786</c:v>
                </c:pt>
                <c:pt idx="1508">
                  <c:v>41787</c:v>
                </c:pt>
                <c:pt idx="1509">
                  <c:v>41788</c:v>
                </c:pt>
                <c:pt idx="1510">
                  <c:v>41789</c:v>
                </c:pt>
                <c:pt idx="1511">
                  <c:v>41792</c:v>
                </c:pt>
                <c:pt idx="1512">
                  <c:v>41793</c:v>
                </c:pt>
                <c:pt idx="1513">
                  <c:v>41794</c:v>
                </c:pt>
                <c:pt idx="1514">
                  <c:v>41795</c:v>
                </c:pt>
                <c:pt idx="1515">
                  <c:v>41796</c:v>
                </c:pt>
                <c:pt idx="1516">
                  <c:v>41799</c:v>
                </c:pt>
                <c:pt idx="1517">
                  <c:v>41800</c:v>
                </c:pt>
                <c:pt idx="1518">
                  <c:v>41801</c:v>
                </c:pt>
                <c:pt idx="1519">
                  <c:v>41802</c:v>
                </c:pt>
                <c:pt idx="1520">
                  <c:v>41803</c:v>
                </c:pt>
                <c:pt idx="1521">
                  <c:v>41806</c:v>
                </c:pt>
                <c:pt idx="1522">
                  <c:v>41807</c:v>
                </c:pt>
                <c:pt idx="1523">
                  <c:v>41808</c:v>
                </c:pt>
                <c:pt idx="1524">
                  <c:v>41809</c:v>
                </c:pt>
                <c:pt idx="1525">
                  <c:v>41810</c:v>
                </c:pt>
                <c:pt idx="1526">
                  <c:v>41813</c:v>
                </c:pt>
                <c:pt idx="1527">
                  <c:v>41814</c:v>
                </c:pt>
                <c:pt idx="1528">
                  <c:v>41815</c:v>
                </c:pt>
                <c:pt idx="1529">
                  <c:v>41816</c:v>
                </c:pt>
                <c:pt idx="1530">
                  <c:v>41817</c:v>
                </c:pt>
                <c:pt idx="1531">
                  <c:v>41820</c:v>
                </c:pt>
                <c:pt idx="1532">
                  <c:v>41821</c:v>
                </c:pt>
                <c:pt idx="1533">
                  <c:v>41822</c:v>
                </c:pt>
                <c:pt idx="1534">
                  <c:v>41823</c:v>
                </c:pt>
                <c:pt idx="1535">
                  <c:v>41827</c:v>
                </c:pt>
                <c:pt idx="1536">
                  <c:v>41828</c:v>
                </c:pt>
                <c:pt idx="1537">
                  <c:v>41829</c:v>
                </c:pt>
                <c:pt idx="1538">
                  <c:v>41830</c:v>
                </c:pt>
                <c:pt idx="1539">
                  <c:v>41831</c:v>
                </c:pt>
                <c:pt idx="1540">
                  <c:v>41834</c:v>
                </c:pt>
                <c:pt idx="1541">
                  <c:v>41835</c:v>
                </c:pt>
                <c:pt idx="1542">
                  <c:v>41836</c:v>
                </c:pt>
                <c:pt idx="1543">
                  <c:v>41837</c:v>
                </c:pt>
                <c:pt idx="1544">
                  <c:v>41838</c:v>
                </c:pt>
                <c:pt idx="1545">
                  <c:v>41841</c:v>
                </c:pt>
                <c:pt idx="1546">
                  <c:v>41842</c:v>
                </c:pt>
                <c:pt idx="1547">
                  <c:v>41843</c:v>
                </c:pt>
                <c:pt idx="1548">
                  <c:v>41844</c:v>
                </c:pt>
                <c:pt idx="1549">
                  <c:v>41845</c:v>
                </c:pt>
                <c:pt idx="1550">
                  <c:v>41848</c:v>
                </c:pt>
                <c:pt idx="1551">
                  <c:v>41849</c:v>
                </c:pt>
                <c:pt idx="1552">
                  <c:v>41850</c:v>
                </c:pt>
                <c:pt idx="1553">
                  <c:v>41851</c:v>
                </c:pt>
                <c:pt idx="1554">
                  <c:v>41852</c:v>
                </c:pt>
                <c:pt idx="1555">
                  <c:v>41855</c:v>
                </c:pt>
                <c:pt idx="1556">
                  <c:v>41856</c:v>
                </c:pt>
                <c:pt idx="1557">
                  <c:v>41857</c:v>
                </c:pt>
                <c:pt idx="1558">
                  <c:v>41858</c:v>
                </c:pt>
                <c:pt idx="1559">
                  <c:v>41859</c:v>
                </c:pt>
                <c:pt idx="1560">
                  <c:v>41862</c:v>
                </c:pt>
                <c:pt idx="1561">
                  <c:v>41863</c:v>
                </c:pt>
                <c:pt idx="1562">
                  <c:v>41864</c:v>
                </c:pt>
                <c:pt idx="1563">
                  <c:v>41865</c:v>
                </c:pt>
                <c:pt idx="1564">
                  <c:v>41866</c:v>
                </c:pt>
                <c:pt idx="1565">
                  <c:v>41869</c:v>
                </c:pt>
                <c:pt idx="1566">
                  <c:v>41870</c:v>
                </c:pt>
                <c:pt idx="1567">
                  <c:v>41871</c:v>
                </c:pt>
                <c:pt idx="1568">
                  <c:v>41872</c:v>
                </c:pt>
                <c:pt idx="1569">
                  <c:v>41873</c:v>
                </c:pt>
                <c:pt idx="1570">
                  <c:v>41876</c:v>
                </c:pt>
                <c:pt idx="1571">
                  <c:v>41877</c:v>
                </c:pt>
                <c:pt idx="1572">
                  <c:v>41878</c:v>
                </c:pt>
                <c:pt idx="1573">
                  <c:v>41879</c:v>
                </c:pt>
                <c:pt idx="1574">
                  <c:v>41880</c:v>
                </c:pt>
                <c:pt idx="1575">
                  <c:v>41884</c:v>
                </c:pt>
                <c:pt idx="1576">
                  <c:v>41885</c:v>
                </c:pt>
                <c:pt idx="1577">
                  <c:v>41886</c:v>
                </c:pt>
                <c:pt idx="1578">
                  <c:v>41887</c:v>
                </c:pt>
                <c:pt idx="1579">
                  <c:v>41890</c:v>
                </c:pt>
                <c:pt idx="1580">
                  <c:v>41891</c:v>
                </c:pt>
                <c:pt idx="1581">
                  <c:v>41892</c:v>
                </c:pt>
                <c:pt idx="1582">
                  <c:v>41893</c:v>
                </c:pt>
                <c:pt idx="1583">
                  <c:v>41894</c:v>
                </c:pt>
                <c:pt idx="1584">
                  <c:v>41897</c:v>
                </c:pt>
                <c:pt idx="1585">
                  <c:v>41898</c:v>
                </c:pt>
                <c:pt idx="1586">
                  <c:v>41899</c:v>
                </c:pt>
                <c:pt idx="1587">
                  <c:v>41900</c:v>
                </c:pt>
                <c:pt idx="1588">
                  <c:v>41901</c:v>
                </c:pt>
                <c:pt idx="1589">
                  <c:v>41904</c:v>
                </c:pt>
                <c:pt idx="1590">
                  <c:v>41905</c:v>
                </c:pt>
                <c:pt idx="1591">
                  <c:v>41906</c:v>
                </c:pt>
                <c:pt idx="1592">
                  <c:v>41907</c:v>
                </c:pt>
                <c:pt idx="1593">
                  <c:v>41908</c:v>
                </c:pt>
                <c:pt idx="1594">
                  <c:v>41911</c:v>
                </c:pt>
                <c:pt idx="1595">
                  <c:v>41912</c:v>
                </c:pt>
                <c:pt idx="1596">
                  <c:v>41913</c:v>
                </c:pt>
                <c:pt idx="1597">
                  <c:v>41914</c:v>
                </c:pt>
                <c:pt idx="1598">
                  <c:v>41915</c:v>
                </c:pt>
                <c:pt idx="1599">
                  <c:v>41918</c:v>
                </c:pt>
                <c:pt idx="1600">
                  <c:v>41919</c:v>
                </c:pt>
                <c:pt idx="1601">
                  <c:v>41920</c:v>
                </c:pt>
                <c:pt idx="1602">
                  <c:v>41921</c:v>
                </c:pt>
                <c:pt idx="1603">
                  <c:v>41922</c:v>
                </c:pt>
                <c:pt idx="1604">
                  <c:v>41925</c:v>
                </c:pt>
                <c:pt idx="1605">
                  <c:v>41926</c:v>
                </c:pt>
                <c:pt idx="1606">
                  <c:v>41927</c:v>
                </c:pt>
                <c:pt idx="1607">
                  <c:v>41928</c:v>
                </c:pt>
                <c:pt idx="1608">
                  <c:v>41929</c:v>
                </c:pt>
                <c:pt idx="1609">
                  <c:v>41932</c:v>
                </c:pt>
                <c:pt idx="1610">
                  <c:v>41933</c:v>
                </c:pt>
                <c:pt idx="1611">
                  <c:v>41934</c:v>
                </c:pt>
                <c:pt idx="1612">
                  <c:v>41935</c:v>
                </c:pt>
                <c:pt idx="1613">
                  <c:v>41936</c:v>
                </c:pt>
                <c:pt idx="1614">
                  <c:v>41939</c:v>
                </c:pt>
                <c:pt idx="1615">
                  <c:v>41940</c:v>
                </c:pt>
                <c:pt idx="1616">
                  <c:v>41941</c:v>
                </c:pt>
                <c:pt idx="1617">
                  <c:v>41942</c:v>
                </c:pt>
                <c:pt idx="1618">
                  <c:v>41943</c:v>
                </c:pt>
                <c:pt idx="1619">
                  <c:v>41946</c:v>
                </c:pt>
                <c:pt idx="1620">
                  <c:v>41947</c:v>
                </c:pt>
                <c:pt idx="1621">
                  <c:v>41948</c:v>
                </c:pt>
                <c:pt idx="1622">
                  <c:v>41949</c:v>
                </c:pt>
                <c:pt idx="1623">
                  <c:v>41950</c:v>
                </c:pt>
                <c:pt idx="1624">
                  <c:v>41953</c:v>
                </c:pt>
                <c:pt idx="1625">
                  <c:v>41954</c:v>
                </c:pt>
                <c:pt idx="1626">
                  <c:v>41955</c:v>
                </c:pt>
                <c:pt idx="1627">
                  <c:v>41956</c:v>
                </c:pt>
                <c:pt idx="1628">
                  <c:v>41957</c:v>
                </c:pt>
                <c:pt idx="1629">
                  <c:v>41960</c:v>
                </c:pt>
                <c:pt idx="1630">
                  <c:v>41961</c:v>
                </c:pt>
                <c:pt idx="1631">
                  <c:v>41962</c:v>
                </c:pt>
                <c:pt idx="1632">
                  <c:v>41963</c:v>
                </c:pt>
                <c:pt idx="1633">
                  <c:v>41964</c:v>
                </c:pt>
                <c:pt idx="1634">
                  <c:v>41967</c:v>
                </c:pt>
                <c:pt idx="1635">
                  <c:v>41968</c:v>
                </c:pt>
                <c:pt idx="1636">
                  <c:v>41969</c:v>
                </c:pt>
                <c:pt idx="1637">
                  <c:v>41971</c:v>
                </c:pt>
                <c:pt idx="1638">
                  <c:v>41974</c:v>
                </c:pt>
                <c:pt idx="1639">
                  <c:v>41975</c:v>
                </c:pt>
                <c:pt idx="1640">
                  <c:v>41976</c:v>
                </c:pt>
                <c:pt idx="1641">
                  <c:v>41977</c:v>
                </c:pt>
                <c:pt idx="1642">
                  <c:v>41978</c:v>
                </c:pt>
                <c:pt idx="1643">
                  <c:v>41981</c:v>
                </c:pt>
                <c:pt idx="1644">
                  <c:v>41982</c:v>
                </c:pt>
                <c:pt idx="1645">
                  <c:v>41983</c:v>
                </c:pt>
                <c:pt idx="1646">
                  <c:v>41984</c:v>
                </c:pt>
                <c:pt idx="1647">
                  <c:v>41985</c:v>
                </c:pt>
                <c:pt idx="1648">
                  <c:v>41988</c:v>
                </c:pt>
                <c:pt idx="1649">
                  <c:v>41989</c:v>
                </c:pt>
                <c:pt idx="1650">
                  <c:v>41990</c:v>
                </c:pt>
                <c:pt idx="1651">
                  <c:v>41991</c:v>
                </c:pt>
                <c:pt idx="1652">
                  <c:v>41992</c:v>
                </c:pt>
                <c:pt idx="1653">
                  <c:v>41995</c:v>
                </c:pt>
                <c:pt idx="1654">
                  <c:v>41996</c:v>
                </c:pt>
                <c:pt idx="1655">
                  <c:v>41997</c:v>
                </c:pt>
                <c:pt idx="1656">
                  <c:v>41999</c:v>
                </c:pt>
                <c:pt idx="1657">
                  <c:v>42002</c:v>
                </c:pt>
                <c:pt idx="1658">
                  <c:v>42003</c:v>
                </c:pt>
                <c:pt idx="1659">
                  <c:v>42004</c:v>
                </c:pt>
                <c:pt idx="1660">
                  <c:v>42006</c:v>
                </c:pt>
                <c:pt idx="1661">
                  <c:v>42009</c:v>
                </c:pt>
                <c:pt idx="1662">
                  <c:v>42010</c:v>
                </c:pt>
                <c:pt idx="1663">
                  <c:v>42011</c:v>
                </c:pt>
                <c:pt idx="1664">
                  <c:v>42012</c:v>
                </c:pt>
                <c:pt idx="1665">
                  <c:v>42013</c:v>
                </c:pt>
                <c:pt idx="1666">
                  <c:v>42016</c:v>
                </c:pt>
                <c:pt idx="1667">
                  <c:v>42017</c:v>
                </c:pt>
                <c:pt idx="1668">
                  <c:v>42018</c:v>
                </c:pt>
                <c:pt idx="1669">
                  <c:v>42019</c:v>
                </c:pt>
                <c:pt idx="1670">
                  <c:v>42020</c:v>
                </c:pt>
                <c:pt idx="1671">
                  <c:v>42024</c:v>
                </c:pt>
                <c:pt idx="1672">
                  <c:v>42025</c:v>
                </c:pt>
                <c:pt idx="1673">
                  <c:v>42026</c:v>
                </c:pt>
                <c:pt idx="1674">
                  <c:v>42027</c:v>
                </c:pt>
                <c:pt idx="1675">
                  <c:v>42030</c:v>
                </c:pt>
                <c:pt idx="1676">
                  <c:v>42031</c:v>
                </c:pt>
                <c:pt idx="1677">
                  <c:v>42032</c:v>
                </c:pt>
                <c:pt idx="1678">
                  <c:v>42033</c:v>
                </c:pt>
                <c:pt idx="1679">
                  <c:v>42034</c:v>
                </c:pt>
                <c:pt idx="1680">
                  <c:v>42037</c:v>
                </c:pt>
                <c:pt idx="1681">
                  <c:v>42038</c:v>
                </c:pt>
                <c:pt idx="1682">
                  <c:v>42039</c:v>
                </c:pt>
                <c:pt idx="1683">
                  <c:v>42040</c:v>
                </c:pt>
                <c:pt idx="1684">
                  <c:v>42041</c:v>
                </c:pt>
                <c:pt idx="1685">
                  <c:v>42044</c:v>
                </c:pt>
                <c:pt idx="1686">
                  <c:v>42045</c:v>
                </c:pt>
                <c:pt idx="1687">
                  <c:v>42046</c:v>
                </c:pt>
                <c:pt idx="1688">
                  <c:v>42047</c:v>
                </c:pt>
                <c:pt idx="1689">
                  <c:v>42048</c:v>
                </c:pt>
                <c:pt idx="1690">
                  <c:v>42052</c:v>
                </c:pt>
                <c:pt idx="1691">
                  <c:v>42053</c:v>
                </c:pt>
                <c:pt idx="1692">
                  <c:v>42054</c:v>
                </c:pt>
                <c:pt idx="1693">
                  <c:v>42055</c:v>
                </c:pt>
                <c:pt idx="1694">
                  <c:v>42058</c:v>
                </c:pt>
                <c:pt idx="1695">
                  <c:v>42059</c:v>
                </c:pt>
                <c:pt idx="1696">
                  <c:v>42060</c:v>
                </c:pt>
                <c:pt idx="1697">
                  <c:v>42061</c:v>
                </c:pt>
                <c:pt idx="1698">
                  <c:v>42062</c:v>
                </c:pt>
                <c:pt idx="1699">
                  <c:v>42065</c:v>
                </c:pt>
                <c:pt idx="1700">
                  <c:v>42066</c:v>
                </c:pt>
                <c:pt idx="1701">
                  <c:v>42067</c:v>
                </c:pt>
                <c:pt idx="1702">
                  <c:v>42068</c:v>
                </c:pt>
                <c:pt idx="1703">
                  <c:v>42069</c:v>
                </c:pt>
                <c:pt idx="1704">
                  <c:v>42072</c:v>
                </c:pt>
                <c:pt idx="1705">
                  <c:v>42073</c:v>
                </c:pt>
                <c:pt idx="1706">
                  <c:v>42074</c:v>
                </c:pt>
                <c:pt idx="1707">
                  <c:v>42075</c:v>
                </c:pt>
                <c:pt idx="1708">
                  <c:v>42076</c:v>
                </c:pt>
                <c:pt idx="1709">
                  <c:v>42079</c:v>
                </c:pt>
                <c:pt idx="1710">
                  <c:v>42080</c:v>
                </c:pt>
                <c:pt idx="1711">
                  <c:v>42081</c:v>
                </c:pt>
                <c:pt idx="1712">
                  <c:v>42082</c:v>
                </c:pt>
                <c:pt idx="1713">
                  <c:v>42083</c:v>
                </c:pt>
                <c:pt idx="1714">
                  <c:v>42086</c:v>
                </c:pt>
                <c:pt idx="1715">
                  <c:v>42087</c:v>
                </c:pt>
                <c:pt idx="1716">
                  <c:v>42088</c:v>
                </c:pt>
                <c:pt idx="1717">
                  <c:v>42089</c:v>
                </c:pt>
                <c:pt idx="1718">
                  <c:v>42090</c:v>
                </c:pt>
                <c:pt idx="1719">
                  <c:v>42093</c:v>
                </c:pt>
                <c:pt idx="1720">
                  <c:v>42094</c:v>
                </c:pt>
                <c:pt idx="1721">
                  <c:v>42095</c:v>
                </c:pt>
                <c:pt idx="1722">
                  <c:v>42096</c:v>
                </c:pt>
                <c:pt idx="1723">
                  <c:v>42100</c:v>
                </c:pt>
                <c:pt idx="1724">
                  <c:v>42101</c:v>
                </c:pt>
                <c:pt idx="1725">
                  <c:v>42102</c:v>
                </c:pt>
                <c:pt idx="1726">
                  <c:v>42103</c:v>
                </c:pt>
                <c:pt idx="1727">
                  <c:v>42104</c:v>
                </c:pt>
                <c:pt idx="1728">
                  <c:v>42107</c:v>
                </c:pt>
                <c:pt idx="1729">
                  <c:v>42108</c:v>
                </c:pt>
                <c:pt idx="1730">
                  <c:v>42109</c:v>
                </c:pt>
                <c:pt idx="1731">
                  <c:v>42110</c:v>
                </c:pt>
                <c:pt idx="1732">
                  <c:v>42111</c:v>
                </c:pt>
                <c:pt idx="1733">
                  <c:v>42114</c:v>
                </c:pt>
                <c:pt idx="1734">
                  <c:v>42115</c:v>
                </c:pt>
                <c:pt idx="1735">
                  <c:v>42116</c:v>
                </c:pt>
                <c:pt idx="1736">
                  <c:v>42117</c:v>
                </c:pt>
                <c:pt idx="1737">
                  <c:v>42118</c:v>
                </c:pt>
                <c:pt idx="1738">
                  <c:v>42121</c:v>
                </c:pt>
                <c:pt idx="1739">
                  <c:v>42122</c:v>
                </c:pt>
                <c:pt idx="1740">
                  <c:v>42123</c:v>
                </c:pt>
                <c:pt idx="1741">
                  <c:v>42124</c:v>
                </c:pt>
                <c:pt idx="1742">
                  <c:v>42125</c:v>
                </c:pt>
                <c:pt idx="1743">
                  <c:v>42128</c:v>
                </c:pt>
                <c:pt idx="1744">
                  <c:v>42129</c:v>
                </c:pt>
                <c:pt idx="1745">
                  <c:v>42130</c:v>
                </c:pt>
                <c:pt idx="1746">
                  <c:v>42131</c:v>
                </c:pt>
                <c:pt idx="1747">
                  <c:v>42132</c:v>
                </c:pt>
                <c:pt idx="1748">
                  <c:v>42135</c:v>
                </c:pt>
                <c:pt idx="1749">
                  <c:v>42136</c:v>
                </c:pt>
                <c:pt idx="1750">
                  <c:v>42137</c:v>
                </c:pt>
                <c:pt idx="1751">
                  <c:v>42138</c:v>
                </c:pt>
                <c:pt idx="1752">
                  <c:v>42139</c:v>
                </c:pt>
                <c:pt idx="1753">
                  <c:v>42142</c:v>
                </c:pt>
                <c:pt idx="1754">
                  <c:v>42143</c:v>
                </c:pt>
                <c:pt idx="1755">
                  <c:v>42144</c:v>
                </c:pt>
                <c:pt idx="1756">
                  <c:v>42145</c:v>
                </c:pt>
                <c:pt idx="1757">
                  <c:v>42146</c:v>
                </c:pt>
                <c:pt idx="1758">
                  <c:v>42150</c:v>
                </c:pt>
                <c:pt idx="1759">
                  <c:v>42151</c:v>
                </c:pt>
                <c:pt idx="1760">
                  <c:v>42152</c:v>
                </c:pt>
                <c:pt idx="1761">
                  <c:v>42153</c:v>
                </c:pt>
                <c:pt idx="1762">
                  <c:v>42156</c:v>
                </c:pt>
                <c:pt idx="1763">
                  <c:v>42157</c:v>
                </c:pt>
                <c:pt idx="1764">
                  <c:v>42158</c:v>
                </c:pt>
                <c:pt idx="1765">
                  <c:v>42159</c:v>
                </c:pt>
                <c:pt idx="1766">
                  <c:v>42160</c:v>
                </c:pt>
                <c:pt idx="1767">
                  <c:v>42163</c:v>
                </c:pt>
                <c:pt idx="1768">
                  <c:v>42164</c:v>
                </c:pt>
                <c:pt idx="1769">
                  <c:v>42165</c:v>
                </c:pt>
                <c:pt idx="1770">
                  <c:v>42166</c:v>
                </c:pt>
                <c:pt idx="1771">
                  <c:v>42167</c:v>
                </c:pt>
                <c:pt idx="1772">
                  <c:v>42170</c:v>
                </c:pt>
                <c:pt idx="1773">
                  <c:v>42171</c:v>
                </c:pt>
                <c:pt idx="1774">
                  <c:v>42172</c:v>
                </c:pt>
                <c:pt idx="1775">
                  <c:v>42173</c:v>
                </c:pt>
                <c:pt idx="1776">
                  <c:v>42174</c:v>
                </c:pt>
                <c:pt idx="1777">
                  <c:v>42177</c:v>
                </c:pt>
                <c:pt idx="1778">
                  <c:v>42178</c:v>
                </c:pt>
                <c:pt idx="1779">
                  <c:v>42179</c:v>
                </c:pt>
                <c:pt idx="1780">
                  <c:v>42180</c:v>
                </c:pt>
                <c:pt idx="1781">
                  <c:v>42181</c:v>
                </c:pt>
                <c:pt idx="1782">
                  <c:v>42184</c:v>
                </c:pt>
                <c:pt idx="1783">
                  <c:v>42185</c:v>
                </c:pt>
                <c:pt idx="1784">
                  <c:v>42186</c:v>
                </c:pt>
                <c:pt idx="1785">
                  <c:v>42187</c:v>
                </c:pt>
                <c:pt idx="1786">
                  <c:v>42191</c:v>
                </c:pt>
                <c:pt idx="1787">
                  <c:v>42192</c:v>
                </c:pt>
                <c:pt idx="1788">
                  <c:v>42193</c:v>
                </c:pt>
                <c:pt idx="1789">
                  <c:v>42194</c:v>
                </c:pt>
                <c:pt idx="1790">
                  <c:v>42195</c:v>
                </c:pt>
                <c:pt idx="1791">
                  <c:v>42198</c:v>
                </c:pt>
                <c:pt idx="1792">
                  <c:v>42199</c:v>
                </c:pt>
                <c:pt idx="1793">
                  <c:v>42200</c:v>
                </c:pt>
                <c:pt idx="1794">
                  <c:v>42201</c:v>
                </c:pt>
                <c:pt idx="1795">
                  <c:v>42202</c:v>
                </c:pt>
                <c:pt idx="1796">
                  <c:v>42205</c:v>
                </c:pt>
                <c:pt idx="1797">
                  <c:v>42206</c:v>
                </c:pt>
                <c:pt idx="1798">
                  <c:v>42207</c:v>
                </c:pt>
                <c:pt idx="1799">
                  <c:v>42208</c:v>
                </c:pt>
                <c:pt idx="1800">
                  <c:v>42209</c:v>
                </c:pt>
                <c:pt idx="1801">
                  <c:v>42212</c:v>
                </c:pt>
                <c:pt idx="1802">
                  <c:v>42213</c:v>
                </c:pt>
                <c:pt idx="1803">
                  <c:v>42214</c:v>
                </c:pt>
                <c:pt idx="1804">
                  <c:v>42215</c:v>
                </c:pt>
                <c:pt idx="1805">
                  <c:v>42216</c:v>
                </c:pt>
                <c:pt idx="1806">
                  <c:v>42219</c:v>
                </c:pt>
                <c:pt idx="1807">
                  <c:v>42220</c:v>
                </c:pt>
                <c:pt idx="1808">
                  <c:v>42221</c:v>
                </c:pt>
                <c:pt idx="1809">
                  <c:v>42222</c:v>
                </c:pt>
                <c:pt idx="1810">
                  <c:v>42223</c:v>
                </c:pt>
                <c:pt idx="1811">
                  <c:v>42226</c:v>
                </c:pt>
                <c:pt idx="1812">
                  <c:v>42227</c:v>
                </c:pt>
                <c:pt idx="1813">
                  <c:v>42228</c:v>
                </c:pt>
                <c:pt idx="1814">
                  <c:v>42229</c:v>
                </c:pt>
                <c:pt idx="1815">
                  <c:v>42230</c:v>
                </c:pt>
                <c:pt idx="1816">
                  <c:v>42233</c:v>
                </c:pt>
                <c:pt idx="1817">
                  <c:v>42234</c:v>
                </c:pt>
                <c:pt idx="1818">
                  <c:v>42235</c:v>
                </c:pt>
                <c:pt idx="1819">
                  <c:v>42236</c:v>
                </c:pt>
                <c:pt idx="1820">
                  <c:v>42237</c:v>
                </c:pt>
                <c:pt idx="1821">
                  <c:v>42240</c:v>
                </c:pt>
                <c:pt idx="1822">
                  <c:v>42241</c:v>
                </c:pt>
                <c:pt idx="1823">
                  <c:v>42242</c:v>
                </c:pt>
                <c:pt idx="1824">
                  <c:v>42243</c:v>
                </c:pt>
                <c:pt idx="1825">
                  <c:v>42244</c:v>
                </c:pt>
                <c:pt idx="1826">
                  <c:v>42247</c:v>
                </c:pt>
                <c:pt idx="1827">
                  <c:v>42248</c:v>
                </c:pt>
                <c:pt idx="1828">
                  <c:v>42249</c:v>
                </c:pt>
                <c:pt idx="1829">
                  <c:v>42250</c:v>
                </c:pt>
                <c:pt idx="1830">
                  <c:v>42251</c:v>
                </c:pt>
                <c:pt idx="1831">
                  <c:v>42255</c:v>
                </c:pt>
                <c:pt idx="1832">
                  <c:v>42256</c:v>
                </c:pt>
                <c:pt idx="1833">
                  <c:v>42257</c:v>
                </c:pt>
                <c:pt idx="1834">
                  <c:v>42258</c:v>
                </c:pt>
                <c:pt idx="1835">
                  <c:v>42261</c:v>
                </c:pt>
                <c:pt idx="1836">
                  <c:v>42262</c:v>
                </c:pt>
                <c:pt idx="1837">
                  <c:v>42263</c:v>
                </c:pt>
                <c:pt idx="1838">
                  <c:v>42264</c:v>
                </c:pt>
                <c:pt idx="1839">
                  <c:v>42265</c:v>
                </c:pt>
                <c:pt idx="1840">
                  <c:v>42268</c:v>
                </c:pt>
                <c:pt idx="1841">
                  <c:v>42269</c:v>
                </c:pt>
                <c:pt idx="1842">
                  <c:v>42270</c:v>
                </c:pt>
                <c:pt idx="1843">
                  <c:v>42271</c:v>
                </c:pt>
                <c:pt idx="1844">
                  <c:v>42272</c:v>
                </c:pt>
                <c:pt idx="1845">
                  <c:v>42275</c:v>
                </c:pt>
                <c:pt idx="1846">
                  <c:v>42276</c:v>
                </c:pt>
                <c:pt idx="1847">
                  <c:v>42277</c:v>
                </c:pt>
                <c:pt idx="1848">
                  <c:v>42278</c:v>
                </c:pt>
                <c:pt idx="1849">
                  <c:v>42279</c:v>
                </c:pt>
                <c:pt idx="1850">
                  <c:v>42282</c:v>
                </c:pt>
                <c:pt idx="1851">
                  <c:v>42283</c:v>
                </c:pt>
                <c:pt idx="1852">
                  <c:v>42284</c:v>
                </c:pt>
                <c:pt idx="1853">
                  <c:v>42285</c:v>
                </c:pt>
                <c:pt idx="1854">
                  <c:v>42286</c:v>
                </c:pt>
                <c:pt idx="1855">
                  <c:v>42289</c:v>
                </c:pt>
                <c:pt idx="1856">
                  <c:v>42290</c:v>
                </c:pt>
                <c:pt idx="1857">
                  <c:v>42291</c:v>
                </c:pt>
                <c:pt idx="1858">
                  <c:v>42292</c:v>
                </c:pt>
                <c:pt idx="1859">
                  <c:v>42293</c:v>
                </c:pt>
                <c:pt idx="1860">
                  <c:v>42296</c:v>
                </c:pt>
                <c:pt idx="1861">
                  <c:v>42297</c:v>
                </c:pt>
                <c:pt idx="1862">
                  <c:v>42298</c:v>
                </c:pt>
                <c:pt idx="1863">
                  <c:v>42299</c:v>
                </c:pt>
                <c:pt idx="1864">
                  <c:v>42300</c:v>
                </c:pt>
                <c:pt idx="1865">
                  <c:v>42303</c:v>
                </c:pt>
                <c:pt idx="1866">
                  <c:v>42304</c:v>
                </c:pt>
                <c:pt idx="1867">
                  <c:v>42305</c:v>
                </c:pt>
                <c:pt idx="1868">
                  <c:v>42306</c:v>
                </c:pt>
                <c:pt idx="1869">
                  <c:v>42307</c:v>
                </c:pt>
                <c:pt idx="1870">
                  <c:v>42310</c:v>
                </c:pt>
                <c:pt idx="1871">
                  <c:v>42311</c:v>
                </c:pt>
                <c:pt idx="1872">
                  <c:v>42312</c:v>
                </c:pt>
                <c:pt idx="1873">
                  <c:v>42313</c:v>
                </c:pt>
                <c:pt idx="1874">
                  <c:v>42314</c:v>
                </c:pt>
                <c:pt idx="1875">
                  <c:v>42317</c:v>
                </c:pt>
                <c:pt idx="1876">
                  <c:v>42318</c:v>
                </c:pt>
                <c:pt idx="1877">
                  <c:v>42319</c:v>
                </c:pt>
                <c:pt idx="1878">
                  <c:v>42320</c:v>
                </c:pt>
                <c:pt idx="1879">
                  <c:v>42321</c:v>
                </c:pt>
                <c:pt idx="1880">
                  <c:v>42324</c:v>
                </c:pt>
                <c:pt idx="1881">
                  <c:v>42325</c:v>
                </c:pt>
                <c:pt idx="1882">
                  <c:v>42326</c:v>
                </c:pt>
                <c:pt idx="1883">
                  <c:v>42327</c:v>
                </c:pt>
                <c:pt idx="1884">
                  <c:v>42328</c:v>
                </c:pt>
                <c:pt idx="1885">
                  <c:v>42331</c:v>
                </c:pt>
                <c:pt idx="1886">
                  <c:v>42332</c:v>
                </c:pt>
                <c:pt idx="1887">
                  <c:v>42333</c:v>
                </c:pt>
                <c:pt idx="1888">
                  <c:v>42335</c:v>
                </c:pt>
                <c:pt idx="1889">
                  <c:v>42338</c:v>
                </c:pt>
                <c:pt idx="1890">
                  <c:v>42339</c:v>
                </c:pt>
                <c:pt idx="1891">
                  <c:v>42340</c:v>
                </c:pt>
                <c:pt idx="1892">
                  <c:v>42341</c:v>
                </c:pt>
                <c:pt idx="1893">
                  <c:v>42342</c:v>
                </c:pt>
                <c:pt idx="1894">
                  <c:v>42345</c:v>
                </c:pt>
                <c:pt idx="1895">
                  <c:v>42346</c:v>
                </c:pt>
                <c:pt idx="1896">
                  <c:v>42347</c:v>
                </c:pt>
                <c:pt idx="1897">
                  <c:v>42348</c:v>
                </c:pt>
                <c:pt idx="1898">
                  <c:v>42349</c:v>
                </c:pt>
                <c:pt idx="1899">
                  <c:v>42352</c:v>
                </c:pt>
                <c:pt idx="1900">
                  <c:v>42353</c:v>
                </c:pt>
                <c:pt idx="1901">
                  <c:v>42354</c:v>
                </c:pt>
                <c:pt idx="1902">
                  <c:v>42355</c:v>
                </c:pt>
                <c:pt idx="1903">
                  <c:v>42356</c:v>
                </c:pt>
                <c:pt idx="1904">
                  <c:v>42359</c:v>
                </c:pt>
                <c:pt idx="1905">
                  <c:v>42360</c:v>
                </c:pt>
                <c:pt idx="1906">
                  <c:v>42361</c:v>
                </c:pt>
                <c:pt idx="1907">
                  <c:v>42362</c:v>
                </c:pt>
                <c:pt idx="1908">
                  <c:v>42366</c:v>
                </c:pt>
                <c:pt idx="1909">
                  <c:v>42367</c:v>
                </c:pt>
                <c:pt idx="1910">
                  <c:v>42368</c:v>
                </c:pt>
                <c:pt idx="1911">
                  <c:v>42369</c:v>
                </c:pt>
                <c:pt idx="1912">
                  <c:v>42373</c:v>
                </c:pt>
                <c:pt idx="1913">
                  <c:v>42374</c:v>
                </c:pt>
                <c:pt idx="1914">
                  <c:v>42375</c:v>
                </c:pt>
                <c:pt idx="1915">
                  <c:v>42376</c:v>
                </c:pt>
                <c:pt idx="1916">
                  <c:v>42377</c:v>
                </c:pt>
                <c:pt idx="1917">
                  <c:v>42380</c:v>
                </c:pt>
                <c:pt idx="1918">
                  <c:v>42381</c:v>
                </c:pt>
                <c:pt idx="1919">
                  <c:v>42382</c:v>
                </c:pt>
                <c:pt idx="1920">
                  <c:v>42383</c:v>
                </c:pt>
                <c:pt idx="1921">
                  <c:v>42384</c:v>
                </c:pt>
                <c:pt idx="1922">
                  <c:v>42388</c:v>
                </c:pt>
                <c:pt idx="1923">
                  <c:v>42389</c:v>
                </c:pt>
                <c:pt idx="1924">
                  <c:v>42390</c:v>
                </c:pt>
                <c:pt idx="1925">
                  <c:v>42391</c:v>
                </c:pt>
                <c:pt idx="1926">
                  <c:v>42394</c:v>
                </c:pt>
                <c:pt idx="1927">
                  <c:v>42395</c:v>
                </c:pt>
                <c:pt idx="1928">
                  <c:v>42396</c:v>
                </c:pt>
                <c:pt idx="1929">
                  <c:v>42397</c:v>
                </c:pt>
                <c:pt idx="1930">
                  <c:v>42398</c:v>
                </c:pt>
                <c:pt idx="1931">
                  <c:v>42401</c:v>
                </c:pt>
                <c:pt idx="1932">
                  <c:v>42402</c:v>
                </c:pt>
                <c:pt idx="1933">
                  <c:v>42403</c:v>
                </c:pt>
                <c:pt idx="1934">
                  <c:v>42404</c:v>
                </c:pt>
                <c:pt idx="1935">
                  <c:v>42405</c:v>
                </c:pt>
                <c:pt idx="1936">
                  <c:v>42408</c:v>
                </c:pt>
                <c:pt idx="1937">
                  <c:v>42409</c:v>
                </c:pt>
                <c:pt idx="1938">
                  <c:v>42410</c:v>
                </c:pt>
                <c:pt idx="1939">
                  <c:v>42411</c:v>
                </c:pt>
                <c:pt idx="1940">
                  <c:v>42412</c:v>
                </c:pt>
                <c:pt idx="1941">
                  <c:v>42416</c:v>
                </c:pt>
                <c:pt idx="1942">
                  <c:v>42417</c:v>
                </c:pt>
                <c:pt idx="1943">
                  <c:v>42418</c:v>
                </c:pt>
                <c:pt idx="1944">
                  <c:v>42419</c:v>
                </c:pt>
                <c:pt idx="1945">
                  <c:v>42422</c:v>
                </c:pt>
                <c:pt idx="1946">
                  <c:v>42423</c:v>
                </c:pt>
                <c:pt idx="1947">
                  <c:v>42424</c:v>
                </c:pt>
                <c:pt idx="1948">
                  <c:v>42425</c:v>
                </c:pt>
                <c:pt idx="1949">
                  <c:v>42426</c:v>
                </c:pt>
                <c:pt idx="1950">
                  <c:v>42429</c:v>
                </c:pt>
                <c:pt idx="1951">
                  <c:v>42430</c:v>
                </c:pt>
                <c:pt idx="1952">
                  <c:v>42431</c:v>
                </c:pt>
                <c:pt idx="1953">
                  <c:v>42432</c:v>
                </c:pt>
                <c:pt idx="1954">
                  <c:v>42433</c:v>
                </c:pt>
                <c:pt idx="1955">
                  <c:v>42436</c:v>
                </c:pt>
                <c:pt idx="1956">
                  <c:v>42437</c:v>
                </c:pt>
                <c:pt idx="1957">
                  <c:v>42438</c:v>
                </c:pt>
                <c:pt idx="1958">
                  <c:v>42439</c:v>
                </c:pt>
                <c:pt idx="1959">
                  <c:v>42440</c:v>
                </c:pt>
                <c:pt idx="1960">
                  <c:v>42443</c:v>
                </c:pt>
                <c:pt idx="1961">
                  <c:v>42444</c:v>
                </c:pt>
                <c:pt idx="1962">
                  <c:v>42445</c:v>
                </c:pt>
                <c:pt idx="1963">
                  <c:v>42446</c:v>
                </c:pt>
                <c:pt idx="1964">
                  <c:v>42447</c:v>
                </c:pt>
                <c:pt idx="1965">
                  <c:v>42450</c:v>
                </c:pt>
                <c:pt idx="1966">
                  <c:v>42451</c:v>
                </c:pt>
                <c:pt idx="1967">
                  <c:v>42452</c:v>
                </c:pt>
                <c:pt idx="1968">
                  <c:v>42453</c:v>
                </c:pt>
                <c:pt idx="1969">
                  <c:v>42457</c:v>
                </c:pt>
                <c:pt idx="1970">
                  <c:v>42458</c:v>
                </c:pt>
                <c:pt idx="1971">
                  <c:v>42459</c:v>
                </c:pt>
                <c:pt idx="1972">
                  <c:v>42460</c:v>
                </c:pt>
                <c:pt idx="1973">
                  <c:v>42461</c:v>
                </c:pt>
                <c:pt idx="1974">
                  <c:v>42464</c:v>
                </c:pt>
                <c:pt idx="1975">
                  <c:v>42465</c:v>
                </c:pt>
                <c:pt idx="1976">
                  <c:v>42466</c:v>
                </c:pt>
                <c:pt idx="1977">
                  <c:v>42467</c:v>
                </c:pt>
                <c:pt idx="1978">
                  <c:v>42468</c:v>
                </c:pt>
                <c:pt idx="1979">
                  <c:v>42471</c:v>
                </c:pt>
                <c:pt idx="1980">
                  <c:v>42472</c:v>
                </c:pt>
                <c:pt idx="1981">
                  <c:v>42473</c:v>
                </c:pt>
                <c:pt idx="1982">
                  <c:v>42474</c:v>
                </c:pt>
                <c:pt idx="1983">
                  <c:v>42475</c:v>
                </c:pt>
                <c:pt idx="1984">
                  <c:v>42478</c:v>
                </c:pt>
                <c:pt idx="1985">
                  <c:v>42479</c:v>
                </c:pt>
                <c:pt idx="1986">
                  <c:v>42480</c:v>
                </c:pt>
                <c:pt idx="1987">
                  <c:v>42481</c:v>
                </c:pt>
                <c:pt idx="1988">
                  <c:v>42482</c:v>
                </c:pt>
                <c:pt idx="1989">
                  <c:v>42485</c:v>
                </c:pt>
                <c:pt idx="1990">
                  <c:v>42486</c:v>
                </c:pt>
                <c:pt idx="1991">
                  <c:v>42487</c:v>
                </c:pt>
                <c:pt idx="1992">
                  <c:v>42488</c:v>
                </c:pt>
                <c:pt idx="1993">
                  <c:v>42489</c:v>
                </c:pt>
                <c:pt idx="1994">
                  <c:v>42492</c:v>
                </c:pt>
                <c:pt idx="1995">
                  <c:v>42493</c:v>
                </c:pt>
                <c:pt idx="1996">
                  <c:v>42494</c:v>
                </c:pt>
                <c:pt idx="1997">
                  <c:v>42495</c:v>
                </c:pt>
                <c:pt idx="1998">
                  <c:v>42496</c:v>
                </c:pt>
                <c:pt idx="1999">
                  <c:v>42499</c:v>
                </c:pt>
                <c:pt idx="2000">
                  <c:v>42500</c:v>
                </c:pt>
                <c:pt idx="2001">
                  <c:v>42501</c:v>
                </c:pt>
                <c:pt idx="2002">
                  <c:v>42502</c:v>
                </c:pt>
                <c:pt idx="2003">
                  <c:v>42503</c:v>
                </c:pt>
                <c:pt idx="2004">
                  <c:v>42506</c:v>
                </c:pt>
                <c:pt idx="2005">
                  <c:v>42507</c:v>
                </c:pt>
                <c:pt idx="2006">
                  <c:v>42508</c:v>
                </c:pt>
                <c:pt idx="2007">
                  <c:v>42509</c:v>
                </c:pt>
              </c:numCache>
            </c:numRef>
          </c:cat>
          <c:val>
            <c:numRef>
              <c:f>beta!$AL$257:$AL$2264</c:f>
              <c:numCache>
                <c:formatCode>0.00%</c:formatCode>
                <c:ptCount val="2008"/>
                <c:pt idx="0">
                  <c:v>0.26772291774373164</c:v>
                </c:pt>
                <c:pt idx="1">
                  <c:v>0.26721818841016165</c:v>
                </c:pt>
                <c:pt idx="2">
                  <c:v>0.2674758946210084</c:v>
                </c:pt>
                <c:pt idx="3">
                  <c:v>0.26754342556669208</c:v>
                </c:pt>
                <c:pt idx="4">
                  <c:v>0.26848336593504485</c:v>
                </c:pt>
                <c:pt idx="5">
                  <c:v>0.26677473392766599</c:v>
                </c:pt>
                <c:pt idx="6">
                  <c:v>0.26995874059038372</c:v>
                </c:pt>
                <c:pt idx="7">
                  <c:v>0.26984276102432592</c:v>
                </c:pt>
                <c:pt idx="8">
                  <c:v>0.27185152636511972</c:v>
                </c:pt>
                <c:pt idx="9">
                  <c:v>0.27321142561528061</c:v>
                </c:pt>
                <c:pt idx="10">
                  <c:v>0.274071883756351</c:v>
                </c:pt>
                <c:pt idx="11">
                  <c:v>0.2744066668049851</c:v>
                </c:pt>
                <c:pt idx="12">
                  <c:v>0.27468136261680093</c:v>
                </c:pt>
                <c:pt idx="13">
                  <c:v>0.27479402294344685</c:v>
                </c:pt>
                <c:pt idx="14">
                  <c:v>0.27581473001402607</c:v>
                </c:pt>
                <c:pt idx="15">
                  <c:v>0.27608248592529572</c:v>
                </c:pt>
                <c:pt idx="16">
                  <c:v>0.27699815342342032</c:v>
                </c:pt>
                <c:pt idx="17">
                  <c:v>0.27710149231329428</c:v>
                </c:pt>
                <c:pt idx="18">
                  <c:v>0.27863710765529276</c:v>
                </c:pt>
                <c:pt idx="19">
                  <c:v>0.28219586272423541</c:v>
                </c:pt>
                <c:pt idx="20">
                  <c:v>0.28214221003505013</c:v>
                </c:pt>
                <c:pt idx="21">
                  <c:v>0.28121393110794635</c:v>
                </c:pt>
                <c:pt idx="22">
                  <c:v>0.28097303175148453</c:v>
                </c:pt>
                <c:pt idx="23">
                  <c:v>0.28120022361287228</c:v>
                </c:pt>
                <c:pt idx="24">
                  <c:v>0.28130412757528506</c:v>
                </c:pt>
                <c:pt idx="25">
                  <c:v>0.28142238685252075</c:v>
                </c:pt>
                <c:pt idx="26">
                  <c:v>0.28324644735610816</c:v>
                </c:pt>
                <c:pt idx="27">
                  <c:v>0.28474267028662059</c:v>
                </c:pt>
                <c:pt idx="28">
                  <c:v>0.28538790952123488</c:v>
                </c:pt>
                <c:pt idx="29">
                  <c:v>0.28547494818102598</c:v>
                </c:pt>
                <c:pt idx="30">
                  <c:v>0.28553927577569321</c:v>
                </c:pt>
                <c:pt idx="31">
                  <c:v>0.28546544273908941</c:v>
                </c:pt>
                <c:pt idx="32">
                  <c:v>0.28702585088881155</c:v>
                </c:pt>
                <c:pt idx="33">
                  <c:v>0.28691402191487886</c:v>
                </c:pt>
                <c:pt idx="34">
                  <c:v>0.28719176312551864</c:v>
                </c:pt>
                <c:pt idx="35">
                  <c:v>0.28800016509625836</c:v>
                </c:pt>
                <c:pt idx="36">
                  <c:v>0.2876259392830921</c:v>
                </c:pt>
                <c:pt idx="37">
                  <c:v>0.28705123151154804</c:v>
                </c:pt>
                <c:pt idx="38">
                  <c:v>0.28801997654105588</c:v>
                </c:pt>
                <c:pt idx="39">
                  <c:v>0.28713287573502</c:v>
                </c:pt>
                <c:pt idx="40">
                  <c:v>0.28987445915059201</c:v>
                </c:pt>
                <c:pt idx="41">
                  <c:v>0.29280722015028854</c:v>
                </c:pt>
                <c:pt idx="42">
                  <c:v>0.2897621454555171</c:v>
                </c:pt>
                <c:pt idx="43">
                  <c:v>0.28962790741452926</c:v>
                </c:pt>
                <c:pt idx="44">
                  <c:v>0.29065237473296607</c:v>
                </c:pt>
                <c:pt idx="45">
                  <c:v>0.2886886510909128</c:v>
                </c:pt>
                <c:pt idx="46">
                  <c:v>0.28814047218143723</c:v>
                </c:pt>
                <c:pt idx="47">
                  <c:v>0.28640801529761378</c:v>
                </c:pt>
                <c:pt idx="48">
                  <c:v>0.28667562558257753</c:v>
                </c:pt>
                <c:pt idx="49">
                  <c:v>0.27955807657078946</c:v>
                </c:pt>
                <c:pt idx="50">
                  <c:v>0.27869564586765866</c:v>
                </c:pt>
                <c:pt idx="51">
                  <c:v>0.27617225212949981</c:v>
                </c:pt>
                <c:pt idx="52">
                  <c:v>0.27543538207141582</c:v>
                </c:pt>
                <c:pt idx="53">
                  <c:v>0.27714801014778589</c:v>
                </c:pt>
                <c:pt idx="54">
                  <c:v>0.27691835524581815</c:v>
                </c:pt>
                <c:pt idx="55">
                  <c:v>0.27656346030543505</c:v>
                </c:pt>
                <c:pt idx="56">
                  <c:v>0.27651643937310083</c:v>
                </c:pt>
                <c:pt idx="57">
                  <c:v>0.27623617150277363</c:v>
                </c:pt>
                <c:pt idx="58">
                  <c:v>0.27638977264522946</c:v>
                </c:pt>
                <c:pt idx="59">
                  <c:v>0.2758252407263867</c:v>
                </c:pt>
                <c:pt idx="60">
                  <c:v>0.27526942818885436</c:v>
                </c:pt>
                <c:pt idx="61">
                  <c:v>0.27634508189563861</c:v>
                </c:pt>
                <c:pt idx="62">
                  <c:v>0.27573122744256895</c:v>
                </c:pt>
                <c:pt idx="63">
                  <c:v>0.27668848390678885</c:v>
                </c:pt>
                <c:pt idx="64">
                  <c:v>0.27655494007684234</c:v>
                </c:pt>
                <c:pt idx="65">
                  <c:v>0.276446730688369</c:v>
                </c:pt>
                <c:pt idx="66">
                  <c:v>0.27594943528956062</c:v>
                </c:pt>
                <c:pt idx="67">
                  <c:v>0.27662967188392584</c:v>
                </c:pt>
                <c:pt idx="68">
                  <c:v>0.27696474249171654</c:v>
                </c:pt>
                <c:pt idx="69">
                  <c:v>0.27686684742590417</c:v>
                </c:pt>
                <c:pt idx="70">
                  <c:v>0.27745983738856222</c:v>
                </c:pt>
                <c:pt idx="71">
                  <c:v>0.27754474271516821</c:v>
                </c:pt>
                <c:pt idx="72">
                  <c:v>0.27765381744755474</c:v>
                </c:pt>
                <c:pt idx="73">
                  <c:v>0.27722777280363653</c:v>
                </c:pt>
                <c:pt idx="74">
                  <c:v>0.272986403687761</c:v>
                </c:pt>
                <c:pt idx="75">
                  <c:v>0.27348350622693063</c:v>
                </c:pt>
                <c:pt idx="76">
                  <c:v>0.27616350342211993</c:v>
                </c:pt>
                <c:pt idx="77">
                  <c:v>0.27642337916908888</c:v>
                </c:pt>
                <c:pt idx="78">
                  <c:v>0.27670464336043327</c:v>
                </c:pt>
                <c:pt idx="79">
                  <c:v>0.27736329792240355</c:v>
                </c:pt>
                <c:pt idx="80">
                  <c:v>0.27800537548320559</c:v>
                </c:pt>
                <c:pt idx="81">
                  <c:v>0.27845115464748549</c:v>
                </c:pt>
                <c:pt idx="82">
                  <c:v>0.27823939616674509</c:v>
                </c:pt>
                <c:pt idx="83">
                  <c:v>0.27787535447695316</c:v>
                </c:pt>
                <c:pt idx="84">
                  <c:v>0.27981409758663689</c:v>
                </c:pt>
                <c:pt idx="85">
                  <c:v>0.27883811708874978</c:v>
                </c:pt>
                <c:pt idx="86">
                  <c:v>0.27867379714093304</c:v>
                </c:pt>
                <c:pt idx="87">
                  <c:v>0.27797680093047877</c:v>
                </c:pt>
                <c:pt idx="88">
                  <c:v>0.2780750787638202</c:v>
                </c:pt>
                <c:pt idx="89">
                  <c:v>0.27511258370576558</c:v>
                </c:pt>
                <c:pt idx="90">
                  <c:v>0.27563483434576319</c:v>
                </c:pt>
                <c:pt idx="91">
                  <c:v>0.27506185312814962</c:v>
                </c:pt>
                <c:pt idx="92">
                  <c:v>0.27622852170992934</c:v>
                </c:pt>
                <c:pt idx="93">
                  <c:v>0.27621295973782561</c:v>
                </c:pt>
                <c:pt idx="94">
                  <c:v>0.27606523420992851</c:v>
                </c:pt>
                <c:pt idx="95">
                  <c:v>0.27530154757271091</c:v>
                </c:pt>
                <c:pt idx="96">
                  <c:v>0.2796961660853402</c:v>
                </c:pt>
                <c:pt idx="97">
                  <c:v>0.28087780164436288</c:v>
                </c:pt>
                <c:pt idx="98">
                  <c:v>0.28086324848857341</c:v>
                </c:pt>
                <c:pt idx="99">
                  <c:v>0.27430516503624958</c:v>
                </c:pt>
                <c:pt idx="100">
                  <c:v>0.27490183259036316</c:v>
                </c:pt>
                <c:pt idx="101">
                  <c:v>0.27260240728628299</c:v>
                </c:pt>
                <c:pt idx="102">
                  <c:v>0.27218339670964797</c:v>
                </c:pt>
                <c:pt idx="103">
                  <c:v>0.27501387747049455</c:v>
                </c:pt>
                <c:pt idx="104">
                  <c:v>0.27524387394885785</c:v>
                </c:pt>
                <c:pt idx="105">
                  <c:v>0.27817002507923938</c:v>
                </c:pt>
                <c:pt idx="106">
                  <c:v>0.27841569017538725</c:v>
                </c:pt>
                <c:pt idx="107">
                  <c:v>0.27522296646959532</c:v>
                </c:pt>
                <c:pt idx="108">
                  <c:v>0.27366723405109933</c:v>
                </c:pt>
                <c:pt idx="109">
                  <c:v>0.27253047563281751</c:v>
                </c:pt>
                <c:pt idx="110">
                  <c:v>0.27218943872461571</c:v>
                </c:pt>
                <c:pt idx="111">
                  <c:v>0.27445056239788002</c:v>
                </c:pt>
                <c:pt idx="112">
                  <c:v>0.2729418933849187</c:v>
                </c:pt>
                <c:pt idx="113">
                  <c:v>0.27111809702879536</c:v>
                </c:pt>
                <c:pt idx="114">
                  <c:v>0.27009680125497693</c:v>
                </c:pt>
                <c:pt idx="115">
                  <c:v>0.27123717186305907</c:v>
                </c:pt>
                <c:pt idx="116">
                  <c:v>0.27257792035735617</c:v>
                </c:pt>
                <c:pt idx="117">
                  <c:v>0.27261747957739985</c:v>
                </c:pt>
                <c:pt idx="118">
                  <c:v>0.27218172382676026</c:v>
                </c:pt>
                <c:pt idx="119">
                  <c:v>0.27508081605741724</c:v>
                </c:pt>
                <c:pt idx="120">
                  <c:v>0.2745107202494822</c:v>
                </c:pt>
                <c:pt idx="121">
                  <c:v>0.27678607245087228</c:v>
                </c:pt>
                <c:pt idx="122">
                  <c:v>0.27958334757920356</c:v>
                </c:pt>
                <c:pt idx="123">
                  <c:v>0.2813960911699363</c:v>
                </c:pt>
                <c:pt idx="124">
                  <c:v>0.28797322469585412</c:v>
                </c:pt>
                <c:pt idx="125">
                  <c:v>0.28944183837052306</c:v>
                </c:pt>
                <c:pt idx="126">
                  <c:v>0.28812080969958259</c:v>
                </c:pt>
                <c:pt idx="127">
                  <c:v>0.28812658243935707</c:v>
                </c:pt>
                <c:pt idx="128">
                  <c:v>0.29313739767771713</c:v>
                </c:pt>
                <c:pt idx="129">
                  <c:v>0.2927755827221718</c:v>
                </c:pt>
                <c:pt idx="130">
                  <c:v>0.29277100957104074</c:v>
                </c:pt>
                <c:pt idx="131">
                  <c:v>0.29310772973475185</c:v>
                </c:pt>
                <c:pt idx="132">
                  <c:v>0.29197984333906385</c:v>
                </c:pt>
                <c:pt idx="133">
                  <c:v>0.29210253074860304</c:v>
                </c:pt>
                <c:pt idx="134">
                  <c:v>0.29206639486680036</c:v>
                </c:pt>
                <c:pt idx="135">
                  <c:v>0.2924072331261639</c:v>
                </c:pt>
                <c:pt idx="136">
                  <c:v>0.29233262320765646</c:v>
                </c:pt>
                <c:pt idx="137">
                  <c:v>0.29240389145589751</c:v>
                </c:pt>
                <c:pt idx="138">
                  <c:v>0.29163131908149859</c:v>
                </c:pt>
                <c:pt idx="139">
                  <c:v>0.29225468889026807</c:v>
                </c:pt>
                <c:pt idx="140">
                  <c:v>0.29237299366637853</c:v>
                </c:pt>
                <c:pt idx="141">
                  <c:v>0.29251963196768321</c:v>
                </c:pt>
                <c:pt idx="142">
                  <c:v>0.29329419462331863</c:v>
                </c:pt>
                <c:pt idx="143">
                  <c:v>0.29344457638259003</c:v>
                </c:pt>
                <c:pt idx="144">
                  <c:v>0.29354537179979456</c:v>
                </c:pt>
                <c:pt idx="145">
                  <c:v>0.29363018802167823</c:v>
                </c:pt>
                <c:pt idx="146">
                  <c:v>0.29380278219539829</c:v>
                </c:pt>
                <c:pt idx="147">
                  <c:v>0.29400767450462734</c:v>
                </c:pt>
                <c:pt idx="148">
                  <c:v>0.29513614842516972</c:v>
                </c:pt>
                <c:pt idx="149">
                  <c:v>0.29645578686325447</c:v>
                </c:pt>
                <c:pt idx="150">
                  <c:v>0.29740414706433621</c:v>
                </c:pt>
                <c:pt idx="151">
                  <c:v>0.29726782845453675</c:v>
                </c:pt>
                <c:pt idx="152">
                  <c:v>0.29709009546315918</c:v>
                </c:pt>
                <c:pt idx="153">
                  <c:v>0.29748106275310027</c:v>
                </c:pt>
                <c:pt idx="154">
                  <c:v>0.29716672469340261</c:v>
                </c:pt>
                <c:pt idx="155">
                  <c:v>0.29698195703306568</c:v>
                </c:pt>
                <c:pt idx="156">
                  <c:v>0.29816373316348982</c:v>
                </c:pt>
                <c:pt idx="157">
                  <c:v>0.29710693565114704</c:v>
                </c:pt>
                <c:pt idx="158">
                  <c:v>0.29771779819699118</c:v>
                </c:pt>
                <c:pt idx="159">
                  <c:v>0.29797807296085066</c:v>
                </c:pt>
                <c:pt idx="160">
                  <c:v>0.29487761164572951</c:v>
                </c:pt>
                <c:pt idx="161">
                  <c:v>0.29661314126221289</c:v>
                </c:pt>
                <c:pt idx="162">
                  <c:v>0.30226496308917816</c:v>
                </c:pt>
                <c:pt idx="163">
                  <c:v>0.30176820921215075</c:v>
                </c:pt>
                <c:pt idx="164">
                  <c:v>0.30232509140324887</c:v>
                </c:pt>
                <c:pt idx="165">
                  <c:v>0.30251043012037937</c:v>
                </c:pt>
                <c:pt idx="166">
                  <c:v>0.30301967084012504</c:v>
                </c:pt>
                <c:pt idx="167">
                  <c:v>0.30414293320138575</c:v>
                </c:pt>
                <c:pt idx="168">
                  <c:v>0.30255212435322842</c:v>
                </c:pt>
                <c:pt idx="169">
                  <c:v>0.30269921640047293</c:v>
                </c:pt>
                <c:pt idx="170">
                  <c:v>0.30287917069208709</c:v>
                </c:pt>
                <c:pt idx="171">
                  <c:v>0.30388727122284215</c:v>
                </c:pt>
                <c:pt idx="172">
                  <c:v>0.30226694384871861</c:v>
                </c:pt>
                <c:pt idx="173">
                  <c:v>0.30208527139236235</c:v>
                </c:pt>
                <c:pt idx="174">
                  <c:v>0.3018753434142728</c:v>
                </c:pt>
                <c:pt idx="175">
                  <c:v>0.3016919326544954</c:v>
                </c:pt>
                <c:pt idx="176">
                  <c:v>0.30190995643122071</c:v>
                </c:pt>
                <c:pt idx="177">
                  <c:v>0.30155213080109033</c:v>
                </c:pt>
                <c:pt idx="178">
                  <c:v>0.30071656767438665</c:v>
                </c:pt>
                <c:pt idx="179">
                  <c:v>0.30062891024027427</c:v>
                </c:pt>
                <c:pt idx="180">
                  <c:v>0.29960344337212486</c:v>
                </c:pt>
                <c:pt idx="181">
                  <c:v>0.2998820815720295</c:v>
                </c:pt>
                <c:pt idx="182">
                  <c:v>0.29981367671724107</c:v>
                </c:pt>
                <c:pt idx="183">
                  <c:v>0.3002264295043614</c:v>
                </c:pt>
                <c:pt idx="184">
                  <c:v>0.30028488924773772</c:v>
                </c:pt>
                <c:pt idx="185">
                  <c:v>0.3001458805947822</c:v>
                </c:pt>
                <c:pt idx="186">
                  <c:v>0.30043181602504287</c:v>
                </c:pt>
                <c:pt idx="187">
                  <c:v>0.3005994543683852</c:v>
                </c:pt>
                <c:pt idx="188">
                  <c:v>0.30023889223200589</c:v>
                </c:pt>
                <c:pt idx="189">
                  <c:v>0.29899083137938914</c:v>
                </c:pt>
                <c:pt idx="190">
                  <c:v>0.29883035383081286</c:v>
                </c:pt>
                <c:pt idx="191">
                  <c:v>0.30039342627564974</c:v>
                </c:pt>
                <c:pt idx="192">
                  <c:v>0.29974636153895162</c:v>
                </c:pt>
                <c:pt idx="193">
                  <c:v>0.29851098264389048</c:v>
                </c:pt>
                <c:pt idx="194">
                  <c:v>0.29848302943054006</c:v>
                </c:pt>
                <c:pt idx="195">
                  <c:v>0.30056411848784137</c:v>
                </c:pt>
                <c:pt idx="196">
                  <c:v>0.29928001831121043</c:v>
                </c:pt>
                <c:pt idx="197">
                  <c:v>0.29879848157595962</c:v>
                </c:pt>
                <c:pt idx="198">
                  <c:v>0.29873853077911366</c:v>
                </c:pt>
                <c:pt idx="199">
                  <c:v>0.29960034098431598</c:v>
                </c:pt>
                <c:pt idx="200">
                  <c:v>0.29930766176077628</c:v>
                </c:pt>
                <c:pt idx="201">
                  <c:v>0.2986206777038467</c:v>
                </c:pt>
                <c:pt idx="202">
                  <c:v>0.30044840472163203</c:v>
                </c:pt>
                <c:pt idx="203">
                  <c:v>0.30273373975386941</c:v>
                </c:pt>
                <c:pt idx="204">
                  <c:v>0.30407249784741858</c:v>
                </c:pt>
                <c:pt idx="205">
                  <c:v>0.30399385863033307</c:v>
                </c:pt>
                <c:pt idx="206">
                  <c:v>0.30388136064729399</c:v>
                </c:pt>
                <c:pt idx="207">
                  <c:v>0.30400189137740385</c:v>
                </c:pt>
                <c:pt idx="208">
                  <c:v>0.30420153210415052</c:v>
                </c:pt>
                <c:pt idx="209">
                  <c:v>0.30447233686906555</c:v>
                </c:pt>
                <c:pt idx="210">
                  <c:v>0.30330953036101782</c:v>
                </c:pt>
                <c:pt idx="211">
                  <c:v>0.30349121037359328</c:v>
                </c:pt>
                <c:pt idx="212">
                  <c:v>0.30343055999257251</c:v>
                </c:pt>
                <c:pt idx="213">
                  <c:v>0.30353496364696947</c:v>
                </c:pt>
                <c:pt idx="214">
                  <c:v>0.30347301019801942</c:v>
                </c:pt>
                <c:pt idx="215">
                  <c:v>0.30336505325894358</c:v>
                </c:pt>
                <c:pt idx="216">
                  <c:v>0.30332504742475341</c:v>
                </c:pt>
                <c:pt idx="217">
                  <c:v>0.30364240262765585</c:v>
                </c:pt>
                <c:pt idx="218">
                  <c:v>0.30315678654127853</c:v>
                </c:pt>
                <c:pt idx="219">
                  <c:v>0.30319668287921009</c:v>
                </c:pt>
                <c:pt idx="220">
                  <c:v>0.30333079409053965</c:v>
                </c:pt>
                <c:pt idx="221">
                  <c:v>0.3024714840082981</c:v>
                </c:pt>
                <c:pt idx="222">
                  <c:v>0.3027415598852794</c:v>
                </c:pt>
                <c:pt idx="223">
                  <c:v>0.30203251982713542</c:v>
                </c:pt>
                <c:pt idx="224">
                  <c:v>0.30252849166773721</c:v>
                </c:pt>
                <c:pt idx="225">
                  <c:v>0.30252943159587842</c:v>
                </c:pt>
                <c:pt idx="226">
                  <c:v>0.30278930401228654</c:v>
                </c:pt>
                <c:pt idx="227">
                  <c:v>0.30266162256743584</c:v>
                </c:pt>
                <c:pt idx="228">
                  <c:v>0.30249660858758959</c:v>
                </c:pt>
                <c:pt idx="229">
                  <c:v>0.30258403700307557</c:v>
                </c:pt>
                <c:pt idx="230">
                  <c:v>0.30308435390820598</c:v>
                </c:pt>
                <c:pt idx="231">
                  <c:v>0.30317977635931898</c:v>
                </c:pt>
                <c:pt idx="232">
                  <c:v>0.30231432479411197</c:v>
                </c:pt>
                <c:pt idx="233">
                  <c:v>0.30312259256926932</c:v>
                </c:pt>
                <c:pt idx="234">
                  <c:v>0.30300927944869821</c:v>
                </c:pt>
                <c:pt idx="235">
                  <c:v>0.30337368156197519</c:v>
                </c:pt>
                <c:pt idx="236">
                  <c:v>0.30292108690969505</c:v>
                </c:pt>
                <c:pt idx="237">
                  <c:v>0.30359411073159254</c:v>
                </c:pt>
                <c:pt idx="238">
                  <c:v>0.3035440956334024</c:v>
                </c:pt>
                <c:pt idx="239">
                  <c:v>0.30374458072318938</c:v>
                </c:pt>
                <c:pt idx="240">
                  <c:v>0.30398743404393813</c:v>
                </c:pt>
                <c:pt idx="241">
                  <c:v>0.30475963664068395</c:v>
                </c:pt>
                <c:pt idx="242">
                  <c:v>0.30512900240821678</c:v>
                </c:pt>
                <c:pt idx="243">
                  <c:v>0.30768205476589916</c:v>
                </c:pt>
                <c:pt idx="244">
                  <c:v>0.30737557492060641</c:v>
                </c:pt>
                <c:pt idx="245">
                  <c:v>0.30713118578719778</c:v>
                </c:pt>
                <c:pt idx="246">
                  <c:v>0.30592832707850254</c:v>
                </c:pt>
                <c:pt idx="247">
                  <c:v>0.30576952812467967</c:v>
                </c:pt>
                <c:pt idx="248">
                  <c:v>0.30634279822300259</c:v>
                </c:pt>
                <c:pt idx="249">
                  <c:v>0.30628569988006282</c:v>
                </c:pt>
                <c:pt idx="250">
                  <c:v>0.30626902627475805</c:v>
                </c:pt>
                <c:pt idx="251">
                  <c:v>0.30514981411672981</c:v>
                </c:pt>
                <c:pt idx="252">
                  <c:v>0.30424174139222382</c:v>
                </c:pt>
                <c:pt idx="253">
                  <c:v>0.3050080381281704</c:v>
                </c:pt>
                <c:pt idx="254">
                  <c:v>0.30550821906993886</c:v>
                </c:pt>
                <c:pt idx="255">
                  <c:v>0.30556967644803051</c:v>
                </c:pt>
                <c:pt idx="256">
                  <c:v>0.30612108561181461</c:v>
                </c:pt>
                <c:pt idx="257">
                  <c:v>0.30978864626569985</c:v>
                </c:pt>
                <c:pt idx="258">
                  <c:v>0.30997254667467528</c:v>
                </c:pt>
                <c:pt idx="259">
                  <c:v>0.31000935020427584</c:v>
                </c:pt>
                <c:pt idx="260">
                  <c:v>0.31010801104225422</c:v>
                </c:pt>
                <c:pt idx="261">
                  <c:v>0.31033197041179189</c:v>
                </c:pt>
                <c:pt idx="262">
                  <c:v>0.30993057621117676</c:v>
                </c:pt>
                <c:pt idx="263">
                  <c:v>0.30982416471346014</c:v>
                </c:pt>
                <c:pt idx="264">
                  <c:v>0.30959946174784875</c:v>
                </c:pt>
                <c:pt idx="265">
                  <c:v>0.30930230518092661</c:v>
                </c:pt>
                <c:pt idx="266">
                  <c:v>0.30831046823970554</c:v>
                </c:pt>
                <c:pt idx="267">
                  <c:v>0.3079102393977039</c:v>
                </c:pt>
                <c:pt idx="268">
                  <c:v>0.30793413433290323</c:v>
                </c:pt>
                <c:pt idx="269">
                  <c:v>0.30830425200951322</c:v>
                </c:pt>
                <c:pt idx="270">
                  <c:v>0.30768635215972212</c:v>
                </c:pt>
                <c:pt idx="271">
                  <c:v>0.30685274760938464</c:v>
                </c:pt>
                <c:pt idx="272">
                  <c:v>0.30712187715823314</c:v>
                </c:pt>
                <c:pt idx="273">
                  <c:v>0.3070711119394961</c:v>
                </c:pt>
                <c:pt idx="274">
                  <c:v>0.30704685930327336</c:v>
                </c:pt>
                <c:pt idx="275">
                  <c:v>0.30772790995472327</c:v>
                </c:pt>
                <c:pt idx="276">
                  <c:v>0.30746502591523101</c:v>
                </c:pt>
                <c:pt idx="277">
                  <c:v>0.30770204606359869</c:v>
                </c:pt>
                <c:pt idx="278">
                  <c:v>0.30620604466849166</c:v>
                </c:pt>
                <c:pt idx="279">
                  <c:v>0.30481013075680291</c:v>
                </c:pt>
                <c:pt idx="280">
                  <c:v>0.30456341701560335</c:v>
                </c:pt>
                <c:pt idx="281">
                  <c:v>0.30442551743215207</c:v>
                </c:pt>
                <c:pt idx="282">
                  <c:v>0.3046801741392694</c:v>
                </c:pt>
                <c:pt idx="283">
                  <c:v>0.30385217313378576</c:v>
                </c:pt>
                <c:pt idx="284">
                  <c:v>0.30260290113073945</c:v>
                </c:pt>
                <c:pt idx="285">
                  <c:v>0.30198666051514017</c:v>
                </c:pt>
                <c:pt idx="286">
                  <c:v>0.30207133062255004</c:v>
                </c:pt>
                <c:pt idx="287">
                  <c:v>0.3020905668534466</c:v>
                </c:pt>
                <c:pt idx="288">
                  <c:v>0.3024709282824628</c:v>
                </c:pt>
                <c:pt idx="289">
                  <c:v>0.30243406622952157</c:v>
                </c:pt>
                <c:pt idx="290">
                  <c:v>0.30176639635000829</c:v>
                </c:pt>
                <c:pt idx="291">
                  <c:v>0.3016461440318719</c:v>
                </c:pt>
                <c:pt idx="292">
                  <c:v>0.3018058747002777</c:v>
                </c:pt>
                <c:pt idx="293">
                  <c:v>0.30087849531343702</c:v>
                </c:pt>
                <c:pt idx="294">
                  <c:v>0.30045801157760066</c:v>
                </c:pt>
                <c:pt idx="295">
                  <c:v>0.30069447992943171</c:v>
                </c:pt>
                <c:pt idx="296">
                  <c:v>0.30088158002654247</c:v>
                </c:pt>
                <c:pt idx="297">
                  <c:v>0.30127382009164849</c:v>
                </c:pt>
                <c:pt idx="298">
                  <c:v>0.30140760802343713</c:v>
                </c:pt>
                <c:pt idx="299">
                  <c:v>0.30169670610727251</c:v>
                </c:pt>
                <c:pt idx="300">
                  <c:v>0.30177894110125147</c:v>
                </c:pt>
                <c:pt idx="301">
                  <c:v>0.30171350378556333</c:v>
                </c:pt>
                <c:pt idx="302">
                  <c:v>0.30180844780974136</c:v>
                </c:pt>
                <c:pt idx="303">
                  <c:v>0.30184338825965124</c:v>
                </c:pt>
                <c:pt idx="304">
                  <c:v>0.30184250095234305</c:v>
                </c:pt>
                <c:pt idx="305">
                  <c:v>0.30144264218464828</c:v>
                </c:pt>
                <c:pt idx="306">
                  <c:v>0.30234672456175082</c:v>
                </c:pt>
                <c:pt idx="307">
                  <c:v>0.30270842367231438</c:v>
                </c:pt>
                <c:pt idx="308">
                  <c:v>0.30265631035172574</c:v>
                </c:pt>
                <c:pt idx="309">
                  <c:v>0.30253006061520304</c:v>
                </c:pt>
                <c:pt idx="310">
                  <c:v>0.30270160206243746</c:v>
                </c:pt>
                <c:pt idx="311">
                  <c:v>0.30321757139040434</c:v>
                </c:pt>
                <c:pt idx="312">
                  <c:v>0.30393447351293051</c:v>
                </c:pt>
                <c:pt idx="313">
                  <c:v>0.30391789258544993</c:v>
                </c:pt>
                <c:pt idx="314">
                  <c:v>0.30387068388462746</c:v>
                </c:pt>
                <c:pt idx="315">
                  <c:v>0.30376700718434974</c:v>
                </c:pt>
                <c:pt idx="316">
                  <c:v>0.30371240952803796</c:v>
                </c:pt>
                <c:pt idx="317">
                  <c:v>0.3033314887703874</c:v>
                </c:pt>
                <c:pt idx="318">
                  <c:v>0.30338300524570189</c:v>
                </c:pt>
                <c:pt idx="319">
                  <c:v>0.30410715578814496</c:v>
                </c:pt>
                <c:pt idx="320">
                  <c:v>0.30388235514049289</c:v>
                </c:pt>
                <c:pt idx="321">
                  <c:v>0.30353024356543101</c:v>
                </c:pt>
                <c:pt idx="322">
                  <c:v>0.3034379735154662</c:v>
                </c:pt>
                <c:pt idx="323">
                  <c:v>0.30366624672597936</c:v>
                </c:pt>
                <c:pt idx="324">
                  <c:v>0.30367063218142737</c:v>
                </c:pt>
                <c:pt idx="325">
                  <c:v>0.30411839816909392</c:v>
                </c:pt>
                <c:pt idx="326">
                  <c:v>0.30902377398337361</c:v>
                </c:pt>
                <c:pt idx="327">
                  <c:v>0.30867390399949857</c:v>
                </c:pt>
                <c:pt idx="328">
                  <c:v>0.31193447050829776</c:v>
                </c:pt>
                <c:pt idx="329">
                  <c:v>0.31159448102061954</c:v>
                </c:pt>
                <c:pt idx="330">
                  <c:v>0.31139245989617609</c:v>
                </c:pt>
                <c:pt idx="331">
                  <c:v>0.31024152192618693</c:v>
                </c:pt>
                <c:pt idx="332">
                  <c:v>0.30963237932239657</c:v>
                </c:pt>
                <c:pt idx="333">
                  <c:v>0.30935810626812255</c:v>
                </c:pt>
                <c:pt idx="334">
                  <c:v>0.30948033507704459</c:v>
                </c:pt>
                <c:pt idx="335">
                  <c:v>0.31028298458608566</c:v>
                </c:pt>
                <c:pt idx="336">
                  <c:v>0.31075411886213056</c:v>
                </c:pt>
                <c:pt idx="337">
                  <c:v>0.31225572832799525</c:v>
                </c:pt>
                <c:pt idx="338">
                  <c:v>0.31152332127950594</c:v>
                </c:pt>
                <c:pt idx="339">
                  <c:v>0.31279255226391811</c:v>
                </c:pt>
                <c:pt idx="340">
                  <c:v>0.3127932070876378</c:v>
                </c:pt>
                <c:pt idx="341">
                  <c:v>0.31607703182118541</c:v>
                </c:pt>
                <c:pt idx="342">
                  <c:v>0.31523776636261436</c:v>
                </c:pt>
                <c:pt idx="343">
                  <c:v>0.31578241473181384</c:v>
                </c:pt>
                <c:pt idx="344">
                  <c:v>0.31470237813710916</c:v>
                </c:pt>
                <c:pt idx="345">
                  <c:v>0.31506916021018966</c:v>
                </c:pt>
                <c:pt idx="346">
                  <c:v>0.31800697810790379</c:v>
                </c:pt>
                <c:pt idx="347">
                  <c:v>0.31786833665311121</c:v>
                </c:pt>
                <c:pt idx="348">
                  <c:v>0.31360418840511656</c:v>
                </c:pt>
                <c:pt idx="349">
                  <c:v>0.31373271925585983</c:v>
                </c:pt>
                <c:pt idx="350">
                  <c:v>0.31369285927119184</c:v>
                </c:pt>
                <c:pt idx="351">
                  <c:v>0.33062714958795553</c:v>
                </c:pt>
                <c:pt idx="352">
                  <c:v>0.32934220955429472</c:v>
                </c:pt>
                <c:pt idx="353">
                  <c:v>0.33715484273034069</c:v>
                </c:pt>
                <c:pt idx="354">
                  <c:v>0.33638418212125576</c:v>
                </c:pt>
                <c:pt idx="355">
                  <c:v>0.33128568575446576</c:v>
                </c:pt>
                <c:pt idx="356">
                  <c:v>0.33069479361052506</c:v>
                </c:pt>
                <c:pt idx="357">
                  <c:v>0.32605097784577297</c:v>
                </c:pt>
                <c:pt idx="358">
                  <c:v>0.32382104349557972</c:v>
                </c:pt>
                <c:pt idx="359">
                  <c:v>0.32147163541114265</c:v>
                </c:pt>
                <c:pt idx="360">
                  <c:v>0.32244252982997079</c:v>
                </c:pt>
                <c:pt idx="361">
                  <c:v>0.32485564950969842</c:v>
                </c:pt>
                <c:pt idx="362">
                  <c:v>0.32589278808488703</c:v>
                </c:pt>
                <c:pt idx="363">
                  <c:v>0.3221298994182939</c:v>
                </c:pt>
                <c:pt idx="364">
                  <c:v>0.3204311161592881</c:v>
                </c:pt>
                <c:pt idx="365">
                  <c:v>0.32510081606199714</c:v>
                </c:pt>
                <c:pt idx="366">
                  <c:v>0.32538162689202976</c:v>
                </c:pt>
                <c:pt idx="367">
                  <c:v>0.3251487370244297</c:v>
                </c:pt>
                <c:pt idx="368">
                  <c:v>0.32425230955796913</c:v>
                </c:pt>
                <c:pt idx="369">
                  <c:v>0.32585746986560354</c:v>
                </c:pt>
                <c:pt idx="370">
                  <c:v>0.32455794182458214</c:v>
                </c:pt>
                <c:pt idx="371">
                  <c:v>0.32369947616997435</c:v>
                </c:pt>
                <c:pt idx="372">
                  <c:v>0.3238416946084639</c:v>
                </c:pt>
                <c:pt idx="373">
                  <c:v>0.31932484139582379</c:v>
                </c:pt>
                <c:pt idx="374">
                  <c:v>0.31493816703915872</c:v>
                </c:pt>
                <c:pt idx="375">
                  <c:v>0.31541693876010218</c:v>
                </c:pt>
                <c:pt idx="376">
                  <c:v>0.31359058038951781</c:v>
                </c:pt>
                <c:pt idx="377">
                  <c:v>0.3128478347922648</c:v>
                </c:pt>
                <c:pt idx="378">
                  <c:v>0.30639628509074485</c:v>
                </c:pt>
                <c:pt idx="379">
                  <c:v>0.30641901118844728</c:v>
                </c:pt>
                <c:pt idx="380">
                  <c:v>0.2947737619591892</c:v>
                </c:pt>
                <c:pt idx="381">
                  <c:v>0.29552681577788653</c:v>
                </c:pt>
                <c:pt idx="382">
                  <c:v>0.29409525413811533</c:v>
                </c:pt>
                <c:pt idx="383">
                  <c:v>0.29095514546870471</c:v>
                </c:pt>
                <c:pt idx="384">
                  <c:v>0.2906898127026914</c:v>
                </c:pt>
                <c:pt idx="385">
                  <c:v>0.29063132121602597</c:v>
                </c:pt>
                <c:pt idx="386">
                  <c:v>0.28987574443990111</c:v>
                </c:pt>
                <c:pt idx="387">
                  <c:v>0.29046952176200774</c:v>
                </c:pt>
                <c:pt idx="388">
                  <c:v>0.29013980471921047</c:v>
                </c:pt>
                <c:pt idx="389">
                  <c:v>0.29008576807413483</c:v>
                </c:pt>
                <c:pt idx="390">
                  <c:v>0.29069002930594212</c:v>
                </c:pt>
                <c:pt idx="391">
                  <c:v>0.28954453927648011</c:v>
                </c:pt>
                <c:pt idx="392">
                  <c:v>0.28740935211312613</c:v>
                </c:pt>
                <c:pt idx="393">
                  <c:v>0.28751807514094962</c:v>
                </c:pt>
                <c:pt idx="394">
                  <c:v>0.28721367738617354</c:v>
                </c:pt>
                <c:pt idx="395">
                  <c:v>0.28744994144794117</c:v>
                </c:pt>
                <c:pt idx="396">
                  <c:v>0.28710984036371573</c:v>
                </c:pt>
                <c:pt idx="397">
                  <c:v>0.28708546834049609</c:v>
                </c:pt>
                <c:pt idx="398">
                  <c:v>0.28674118572820451</c:v>
                </c:pt>
                <c:pt idx="399">
                  <c:v>0.2863610513424269</c:v>
                </c:pt>
                <c:pt idx="400">
                  <c:v>0.2850278121684468</c:v>
                </c:pt>
                <c:pt idx="401">
                  <c:v>0.28188715548006266</c:v>
                </c:pt>
                <c:pt idx="402">
                  <c:v>0.28047980772884129</c:v>
                </c:pt>
                <c:pt idx="403">
                  <c:v>0.28054466624100299</c:v>
                </c:pt>
                <c:pt idx="404">
                  <c:v>0.28084750714666057</c:v>
                </c:pt>
                <c:pt idx="405">
                  <c:v>0.27814556320931538</c:v>
                </c:pt>
                <c:pt idx="406">
                  <c:v>0.27813132844139593</c:v>
                </c:pt>
                <c:pt idx="407">
                  <c:v>0.27808849935784957</c:v>
                </c:pt>
                <c:pt idx="408">
                  <c:v>0.27438689318814508</c:v>
                </c:pt>
                <c:pt idx="409">
                  <c:v>0.27563334386797006</c:v>
                </c:pt>
                <c:pt idx="410">
                  <c:v>0.27369065479148147</c:v>
                </c:pt>
                <c:pt idx="411">
                  <c:v>0.27401784424422798</c:v>
                </c:pt>
                <c:pt idx="412">
                  <c:v>0.27904359879302537</c:v>
                </c:pt>
                <c:pt idx="413">
                  <c:v>0.27198633663446392</c:v>
                </c:pt>
                <c:pt idx="414">
                  <c:v>0.26481032589038206</c:v>
                </c:pt>
                <c:pt idx="415">
                  <c:v>0.25988491363794958</c:v>
                </c:pt>
                <c:pt idx="416">
                  <c:v>0.25929330699091779</c:v>
                </c:pt>
                <c:pt idx="417">
                  <c:v>0.25796955488398643</c:v>
                </c:pt>
                <c:pt idx="418">
                  <c:v>0.2560920820011704</c:v>
                </c:pt>
                <c:pt idx="419">
                  <c:v>0.25375752307213284</c:v>
                </c:pt>
                <c:pt idx="420">
                  <c:v>0.25701923900088403</c:v>
                </c:pt>
                <c:pt idx="421">
                  <c:v>0.25523949105891258</c:v>
                </c:pt>
                <c:pt idx="422">
                  <c:v>0.25510327001571881</c:v>
                </c:pt>
                <c:pt idx="423">
                  <c:v>0.25461596993761965</c:v>
                </c:pt>
                <c:pt idx="424">
                  <c:v>0.25548672655437998</c:v>
                </c:pt>
                <c:pt idx="425">
                  <c:v>0.25550868358697243</c:v>
                </c:pt>
                <c:pt idx="426">
                  <c:v>0.25543618649470173</c:v>
                </c:pt>
                <c:pt idx="427">
                  <c:v>0.25539788215574832</c:v>
                </c:pt>
                <c:pt idx="428">
                  <c:v>0.25400592776250513</c:v>
                </c:pt>
                <c:pt idx="429">
                  <c:v>0.25391552292114589</c:v>
                </c:pt>
                <c:pt idx="430">
                  <c:v>0.25456053489645919</c:v>
                </c:pt>
                <c:pt idx="431">
                  <c:v>0.25504499874453274</c:v>
                </c:pt>
                <c:pt idx="432">
                  <c:v>0.25598714457421773</c:v>
                </c:pt>
                <c:pt idx="433">
                  <c:v>0.25573263494175841</c:v>
                </c:pt>
                <c:pt idx="434">
                  <c:v>0.25659095823656858</c:v>
                </c:pt>
                <c:pt idx="435">
                  <c:v>0.25567536163987903</c:v>
                </c:pt>
                <c:pt idx="436">
                  <c:v>0.25460448626820642</c:v>
                </c:pt>
                <c:pt idx="437">
                  <c:v>0.25348287473824171</c:v>
                </c:pt>
                <c:pt idx="438">
                  <c:v>0.25353819412765199</c:v>
                </c:pt>
                <c:pt idx="439">
                  <c:v>0.25337719054555979</c:v>
                </c:pt>
                <c:pt idx="440">
                  <c:v>0.25341428376242575</c:v>
                </c:pt>
                <c:pt idx="441">
                  <c:v>0.2537981802928409</c:v>
                </c:pt>
                <c:pt idx="442">
                  <c:v>0.25419191386602785</c:v>
                </c:pt>
                <c:pt idx="443">
                  <c:v>0.25088971463410242</c:v>
                </c:pt>
                <c:pt idx="444">
                  <c:v>0.25147449190551702</c:v>
                </c:pt>
                <c:pt idx="445">
                  <c:v>0.25123343818326677</c:v>
                </c:pt>
                <c:pt idx="446">
                  <c:v>0.25117057301666557</c:v>
                </c:pt>
                <c:pt idx="447">
                  <c:v>0.24635641502455011</c:v>
                </c:pt>
                <c:pt idx="448">
                  <c:v>0.24601344047115234</c:v>
                </c:pt>
                <c:pt idx="449">
                  <c:v>0.24624731092178428</c:v>
                </c:pt>
                <c:pt idx="450">
                  <c:v>0.24619006670240218</c:v>
                </c:pt>
                <c:pt idx="451">
                  <c:v>0.24604542421866518</c:v>
                </c:pt>
                <c:pt idx="452">
                  <c:v>0.24680440012722474</c:v>
                </c:pt>
                <c:pt idx="453">
                  <c:v>0.24711230781950991</c:v>
                </c:pt>
                <c:pt idx="454">
                  <c:v>0.24459704985601069</c:v>
                </c:pt>
                <c:pt idx="455">
                  <c:v>0.2415278231382032</c:v>
                </c:pt>
                <c:pt idx="456">
                  <c:v>0.23871791818809709</c:v>
                </c:pt>
                <c:pt idx="457">
                  <c:v>0.23828870771219773</c:v>
                </c:pt>
                <c:pt idx="458">
                  <c:v>0.23807035034780635</c:v>
                </c:pt>
                <c:pt idx="459">
                  <c:v>0.23747665818261782</c:v>
                </c:pt>
                <c:pt idx="460">
                  <c:v>0.23692789207303047</c:v>
                </c:pt>
                <c:pt idx="461">
                  <c:v>0.23423180317564413</c:v>
                </c:pt>
                <c:pt idx="462">
                  <c:v>0.23424366648854186</c:v>
                </c:pt>
                <c:pt idx="463">
                  <c:v>0.23412898590660181</c:v>
                </c:pt>
                <c:pt idx="464">
                  <c:v>0.23468203522519798</c:v>
                </c:pt>
                <c:pt idx="465">
                  <c:v>0.23514318597000763</c:v>
                </c:pt>
                <c:pt idx="466">
                  <c:v>0.23507273116663477</c:v>
                </c:pt>
                <c:pt idx="467">
                  <c:v>0.23523325981983514</c:v>
                </c:pt>
                <c:pt idx="468">
                  <c:v>0.23498931846706028</c:v>
                </c:pt>
                <c:pt idx="469">
                  <c:v>0.23335839574593131</c:v>
                </c:pt>
                <c:pt idx="470">
                  <c:v>0.23338903258703869</c:v>
                </c:pt>
                <c:pt idx="471">
                  <c:v>0.23330804581103676</c:v>
                </c:pt>
                <c:pt idx="472">
                  <c:v>0.23297554440304755</c:v>
                </c:pt>
                <c:pt idx="473">
                  <c:v>0.23061030530673629</c:v>
                </c:pt>
                <c:pt idx="474">
                  <c:v>0.22924629113898778</c:v>
                </c:pt>
                <c:pt idx="475">
                  <c:v>0.22591121035661199</c:v>
                </c:pt>
                <c:pt idx="476">
                  <c:v>0.22563297529761847</c:v>
                </c:pt>
                <c:pt idx="477">
                  <c:v>0.22536144533162011</c:v>
                </c:pt>
                <c:pt idx="478">
                  <c:v>0.22498707404547943</c:v>
                </c:pt>
                <c:pt idx="479">
                  <c:v>0.22498967722889393</c:v>
                </c:pt>
                <c:pt idx="480">
                  <c:v>0.22004504746036124</c:v>
                </c:pt>
                <c:pt idx="481">
                  <c:v>0.21868998356646507</c:v>
                </c:pt>
                <c:pt idx="482">
                  <c:v>0.21492240673701052</c:v>
                </c:pt>
                <c:pt idx="483">
                  <c:v>0.21534904063548904</c:v>
                </c:pt>
                <c:pt idx="484">
                  <c:v>0.21386750047139977</c:v>
                </c:pt>
                <c:pt idx="485">
                  <c:v>0.21788948974036776</c:v>
                </c:pt>
                <c:pt idx="486">
                  <c:v>0.21944961875506103</c:v>
                </c:pt>
                <c:pt idx="487">
                  <c:v>0.22711811949712191</c:v>
                </c:pt>
                <c:pt idx="488">
                  <c:v>0.22679413609797539</c:v>
                </c:pt>
                <c:pt idx="489">
                  <c:v>0.23139435480708689</c:v>
                </c:pt>
                <c:pt idx="490">
                  <c:v>0.23134557097965708</c:v>
                </c:pt>
                <c:pt idx="491">
                  <c:v>0.23294984200523522</c:v>
                </c:pt>
                <c:pt idx="492">
                  <c:v>0.23203006003554721</c:v>
                </c:pt>
                <c:pt idx="493">
                  <c:v>0.23343932132680781</c:v>
                </c:pt>
                <c:pt idx="494">
                  <c:v>0.23299012162399754</c:v>
                </c:pt>
                <c:pt idx="495">
                  <c:v>0.23089880448853159</c:v>
                </c:pt>
                <c:pt idx="496">
                  <c:v>0.23220585368429025</c:v>
                </c:pt>
                <c:pt idx="497">
                  <c:v>0.23595521171653608</c:v>
                </c:pt>
                <c:pt idx="498">
                  <c:v>0.23187485003860864</c:v>
                </c:pt>
                <c:pt idx="499">
                  <c:v>0.23198463364447716</c:v>
                </c:pt>
                <c:pt idx="500">
                  <c:v>0.2311023399571307</c:v>
                </c:pt>
                <c:pt idx="501">
                  <c:v>0.23084521746795539</c:v>
                </c:pt>
                <c:pt idx="502">
                  <c:v>0.23277614785546233</c:v>
                </c:pt>
                <c:pt idx="503">
                  <c:v>0.23294895647619537</c:v>
                </c:pt>
                <c:pt idx="504">
                  <c:v>0.23436033999395556</c:v>
                </c:pt>
                <c:pt idx="505">
                  <c:v>0.23350150585865284</c:v>
                </c:pt>
                <c:pt idx="506">
                  <c:v>0.23255660798137492</c:v>
                </c:pt>
                <c:pt idx="507">
                  <c:v>0.23332660705525529</c:v>
                </c:pt>
                <c:pt idx="508">
                  <c:v>0.2336590872141632</c:v>
                </c:pt>
                <c:pt idx="509">
                  <c:v>0.23368183220732305</c:v>
                </c:pt>
                <c:pt idx="510">
                  <c:v>0.23341535484817749</c:v>
                </c:pt>
                <c:pt idx="511">
                  <c:v>0.23393937162356027</c:v>
                </c:pt>
                <c:pt idx="512">
                  <c:v>0.23357262761773698</c:v>
                </c:pt>
                <c:pt idx="513">
                  <c:v>0.23361369646150668</c:v>
                </c:pt>
                <c:pt idx="514">
                  <c:v>0.23428333242204374</c:v>
                </c:pt>
                <c:pt idx="515">
                  <c:v>0.2339417343884494</c:v>
                </c:pt>
                <c:pt idx="516">
                  <c:v>0.23416975245887905</c:v>
                </c:pt>
                <c:pt idx="517">
                  <c:v>0.23457675992999077</c:v>
                </c:pt>
                <c:pt idx="518">
                  <c:v>0.23516634713577436</c:v>
                </c:pt>
                <c:pt idx="519">
                  <c:v>0.2355350927386366</c:v>
                </c:pt>
                <c:pt idx="520">
                  <c:v>0.23543754462112107</c:v>
                </c:pt>
                <c:pt idx="521">
                  <c:v>0.23573632485043386</c:v>
                </c:pt>
                <c:pt idx="522">
                  <c:v>0.23541867152310891</c:v>
                </c:pt>
                <c:pt idx="523">
                  <c:v>0.23553252901907254</c:v>
                </c:pt>
                <c:pt idx="524">
                  <c:v>0.23878905060293493</c:v>
                </c:pt>
                <c:pt idx="525">
                  <c:v>0.23906049435598808</c:v>
                </c:pt>
                <c:pt idx="526">
                  <c:v>0.2385339232916768</c:v>
                </c:pt>
                <c:pt idx="527">
                  <c:v>0.236553670149342</c:v>
                </c:pt>
                <c:pt idx="528">
                  <c:v>0.23700172365458644</c:v>
                </c:pt>
                <c:pt idx="529">
                  <c:v>0.2378531044895443</c:v>
                </c:pt>
                <c:pt idx="530">
                  <c:v>0.23797438785538452</c:v>
                </c:pt>
                <c:pt idx="531">
                  <c:v>0.23855956460613612</c:v>
                </c:pt>
                <c:pt idx="532">
                  <c:v>0.23889613669651261</c:v>
                </c:pt>
                <c:pt idx="533">
                  <c:v>0.23919170997061157</c:v>
                </c:pt>
                <c:pt idx="534">
                  <c:v>0.23935825327029059</c:v>
                </c:pt>
                <c:pt idx="535">
                  <c:v>0.24020309451001823</c:v>
                </c:pt>
                <c:pt idx="536">
                  <c:v>0.24102514669668565</c:v>
                </c:pt>
                <c:pt idx="537">
                  <c:v>0.24168580828375821</c:v>
                </c:pt>
                <c:pt idx="538">
                  <c:v>0.24238218268606365</c:v>
                </c:pt>
                <c:pt idx="539">
                  <c:v>0.24165569793143005</c:v>
                </c:pt>
                <c:pt idx="540">
                  <c:v>0.24234215981723689</c:v>
                </c:pt>
                <c:pt idx="541">
                  <c:v>0.24219666340741861</c:v>
                </c:pt>
                <c:pt idx="542">
                  <c:v>0.24270944143689901</c:v>
                </c:pt>
                <c:pt idx="543">
                  <c:v>0.24258313825555272</c:v>
                </c:pt>
                <c:pt idx="544">
                  <c:v>0.24151752503055537</c:v>
                </c:pt>
                <c:pt idx="545">
                  <c:v>0.2415295296943944</c:v>
                </c:pt>
                <c:pt idx="546">
                  <c:v>0.24149476487304272</c:v>
                </c:pt>
                <c:pt idx="547">
                  <c:v>0.24227768360554447</c:v>
                </c:pt>
                <c:pt idx="548">
                  <c:v>0.24219223400596512</c:v>
                </c:pt>
                <c:pt idx="549">
                  <c:v>0.24218141150198072</c:v>
                </c:pt>
                <c:pt idx="550">
                  <c:v>0.24214944076695535</c:v>
                </c:pt>
                <c:pt idx="551">
                  <c:v>0.24196423247309945</c:v>
                </c:pt>
                <c:pt idx="552">
                  <c:v>0.24147816915519654</c:v>
                </c:pt>
                <c:pt idx="553">
                  <c:v>0.24155804192512728</c:v>
                </c:pt>
                <c:pt idx="554">
                  <c:v>0.24293211537758361</c:v>
                </c:pt>
                <c:pt idx="555">
                  <c:v>0.24299971701717404</c:v>
                </c:pt>
                <c:pt idx="556">
                  <c:v>0.24315996129038941</c:v>
                </c:pt>
                <c:pt idx="557">
                  <c:v>0.2432413684525962</c:v>
                </c:pt>
                <c:pt idx="558">
                  <c:v>0.24105569832097318</c:v>
                </c:pt>
                <c:pt idx="559">
                  <c:v>0.2413651256396544</c:v>
                </c:pt>
                <c:pt idx="560">
                  <c:v>0.24146676302773876</c:v>
                </c:pt>
                <c:pt idx="561">
                  <c:v>0.24138340554652843</c:v>
                </c:pt>
                <c:pt idx="562">
                  <c:v>0.24139657630016573</c:v>
                </c:pt>
                <c:pt idx="563">
                  <c:v>0.24161435756248659</c:v>
                </c:pt>
                <c:pt idx="564">
                  <c:v>0.24188967193439037</c:v>
                </c:pt>
                <c:pt idx="565">
                  <c:v>0.24197653055551455</c:v>
                </c:pt>
                <c:pt idx="566">
                  <c:v>0.24322538296697202</c:v>
                </c:pt>
                <c:pt idx="567">
                  <c:v>0.24294672773693501</c:v>
                </c:pt>
                <c:pt idx="568">
                  <c:v>0.24276859151507296</c:v>
                </c:pt>
                <c:pt idx="569">
                  <c:v>0.24375671640566957</c:v>
                </c:pt>
                <c:pt idx="570">
                  <c:v>0.24396400939484256</c:v>
                </c:pt>
                <c:pt idx="571">
                  <c:v>0.24371135236399852</c:v>
                </c:pt>
                <c:pt idx="572">
                  <c:v>0.2427724520361198</c:v>
                </c:pt>
                <c:pt idx="573">
                  <c:v>0.24310501626584458</c:v>
                </c:pt>
                <c:pt idx="574">
                  <c:v>0.24316108780015042</c:v>
                </c:pt>
                <c:pt idx="575">
                  <c:v>0.24277844227369369</c:v>
                </c:pt>
                <c:pt idx="576">
                  <c:v>0.24291923756238559</c:v>
                </c:pt>
                <c:pt idx="577">
                  <c:v>0.24273248395737523</c:v>
                </c:pt>
                <c:pt idx="578">
                  <c:v>0.24254361461043633</c:v>
                </c:pt>
                <c:pt idx="579">
                  <c:v>0.24257318151044205</c:v>
                </c:pt>
                <c:pt idx="580">
                  <c:v>0.24260276011491475</c:v>
                </c:pt>
                <c:pt idx="581">
                  <c:v>0.24264131708330677</c:v>
                </c:pt>
                <c:pt idx="582">
                  <c:v>0.24232661224080759</c:v>
                </c:pt>
                <c:pt idx="583">
                  <c:v>0.24258312396657419</c:v>
                </c:pt>
                <c:pt idx="584">
                  <c:v>0.24305769189317278</c:v>
                </c:pt>
                <c:pt idx="585">
                  <c:v>0.24299275378117485</c:v>
                </c:pt>
                <c:pt idx="586">
                  <c:v>0.24274281379484805</c:v>
                </c:pt>
                <c:pt idx="587">
                  <c:v>0.24260319494945662</c:v>
                </c:pt>
                <c:pt idx="588">
                  <c:v>0.24268178092947401</c:v>
                </c:pt>
                <c:pt idx="589">
                  <c:v>0.24280871039443433</c:v>
                </c:pt>
                <c:pt idx="590">
                  <c:v>0.24271959652589228</c:v>
                </c:pt>
                <c:pt idx="591">
                  <c:v>0.24272924824103098</c:v>
                </c:pt>
                <c:pt idx="592">
                  <c:v>0.24291065273334889</c:v>
                </c:pt>
                <c:pt idx="593">
                  <c:v>0.24260679329075116</c:v>
                </c:pt>
                <c:pt idx="594">
                  <c:v>0.24268704770995758</c:v>
                </c:pt>
                <c:pt idx="595">
                  <c:v>0.24282737160197529</c:v>
                </c:pt>
                <c:pt idx="596">
                  <c:v>0.24249212898160727</c:v>
                </c:pt>
                <c:pt idx="597">
                  <c:v>0.24246275770153819</c:v>
                </c:pt>
                <c:pt idx="598">
                  <c:v>0.24229833273903204</c:v>
                </c:pt>
                <c:pt idx="599">
                  <c:v>0.24249657513865255</c:v>
                </c:pt>
                <c:pt idx="600">
                  <c:v>0.24214019738007397</c:v>
                </c:pt>
                <c:pt idx="601">
                  <c:v>0.24223156863125761</c:v>
                </c:pt>
                <c:pt idx="602">
                  <c:v>0.24200351989286656</c:v>
                </c:pt>
                <c:pt idx="603">
                  <c:v>0.24247005987883039</c:v>
                </c:pt>
                <c:pt idx="604">
                  <c:v>0.24319804906397571</c:v>
                </c:pt>
                <c:pt idx="605">
                  <c:v>0.24352508551690602</c:v>
                </c:pt>
                <c:pt idx="606">
                  <c:v>0.24281150861600526</c:v>
                </c:pt>
                <c:pt idx="607">
                  <c:v>0.24316441950289697</c:v>
                </c:pt>
                <c:pt idx="608">
                  <c:v>0.2432676705378099</c:v>
                </c:pt>
                <c:pt idx="609">
                  <c:v>0.24330589372060846</c:v>
                </c:pt>
                <c:pt idx="610">
                  <c:v>0.24323967880616693</c:v>
                </c:pt>
                <c:pt idx="611">
                  <c:v>0.24506311889361518</c:v>
                </c:pt>
                <c:pt idx="612">
                  <c:v>0.24540458068671514</c:v>
                </c:pt>
                <c:pt idx="613">
                  <c:v>0.24654103488876625</c:v>
                </c:pt>
                <c:pt idx="614">
                  <c:v>0.24778956102548605</c:v>
                </c:pt>
                <c:pt idx="615">
                  <c:v>0.2484597645367066</c:v>
                </c:pt>
                <c:pt idx="616">
                  <c:v>0.24856807483051122</c:v>
                </c:pt>
                <c:pt idx="617">
                  <c:v>0.2480552152937556</c:v>
                </c:pt>
                <c:pt idx="618">
                  <c:v>0.24801805403621816</c:v>
                </c:pt>
                <c:pt idx="619">
                  <c:v>0.24807355875260836</c:v>
                </c:pt>
                <c:pt idx="620">
                  <c:v>0.24842794042626154</c:v>
                </c:pt>
                <c:pt idx="621">
                  <c:v>0.24861364274538006</c:v>
                </c:pt>
                <c:pt idx="622">
                  <c:v>0.24850840537950858</c:v>
                </c:pt>
                <c:pt idx="623">
                  <c:v>0.24877036484726378</c:v>
                </c:pt>
                <c:pt idx="624">
                  <c:v>0.24793122216445754</c:v>
                </c:pt>
                <c:pt idx="625">
                  <c:v>0.24771952616351395</c:v>
                </c:pt>
                <c:pt idx="626">
                  <c:v>0.24753781664823471</c:v>
                </c:pt>
                <c:pt idx="627">
                  <c:v>0.24699883991181762</c:v>
                </c:pt>
                <c:pt idx="628">
                  <c:v>0.24729498186470056</c:v>
                </c:pt>
                <c:pt idx="629">
                  <c:v>0.24727033595215708</c:v>
                </c:pt>
                <c:pt idx="630">
                  <c:v>0.2483715728484156</c:v>
                </c:pt>
                <c:pt idx="631">
                  <c:v>0.24904550259596434</c:v>
                </c:pt>
                <c:pt idx="632">
                  <c:v>0.24941693831788653</c:v>
                </c:pt>
                <c:pt idx="633">
                  <c:v>0.25136577914784614</c:v>
                </c:pt>
                <c:pt idx="634">
                  <c:v>0.25244981117219828</c:v>
                </c:pt>
                <c:pt idx="635">
                  <c:v>0.25297776418580475</c:v>
                </c:pt>
                <c:pt idx="636">
                  <c:v>0.25324151248695265</c:v>
                </c:pt>
                <c:pt idx="637">
                  <c:v>0.25326874157156942</c:v>
                </c:pt>
                <c:pt idx="638">
                  <c:v>0.25378127895498132</c:v>
                </c:pt>
                <c:pt idx="639">
                  <c:v>0.25341136414966681</c:v>
                </c:pt>
                <c:pt idx="640">
                  <c:v>0.25355067938488618</c:v>
                </c:pt>
                <c:pt idx="641">
                  <c:v>0.25357782758131853</c:v>
                </c:pt>
                <c:pt idx="642">
                  <c:v>0.25383991546245327</c:v>
                </c:pt>
                <c:pt idx="643">
                  <c:v>0.25381562144737257</c:v>
                </c:pt>
                <c:pt idx="644">
                  <c:v>0.25354235734338776</c:v>
                </c:pt>
                <c:pt idx="645">
                  <c:v>0.25329538889433861</c:v>
                </c:pt>
                <c:pt idx="646">
                  <c:v>0.25267716516950206</c:v>
                </c:pt>
                <c:pt idx="647">
                  <c:v>0.25182737586575532</c:v>
                </c:pt>
                <c:pt idx="648">
                  <c:v>0.25174118555837172</c:v>
                </c:pt>
                <c:pt idx="649">
                  <c:v>0.25180744404831906</c:v>
                </c:pt>
                <c:pt idx="650">
                  <c:v>0.25192970851462065</c:v>
                </c:pt>
                <c:pt idx="651">
                  <c:v>0.2519528197330197</c:v>
                </c:pt>
                <c:pt idx="652">
                  <c:v>0.25198874817384437</c:v>
                </c:pt>
                <c:pt idx="653">
                  <c:v>0.25228846442438502</c:v>
                </c:pt>
                <c:pt idx="654">
                  <c:v>0.25236683574716462</c:v>
                </c:pt>
                <c:pt idx="655">
                  <c:v>0.25233657157037215</c:v>
                </c:pt>
                <c:pt idx="656">
                  <c:v>0.25238104465831135</c:v>
                </c:pt>
                <c:pt idx="657">
                  <c:v>0.25228319701655899</c:v>
                </c:pt>
                <c:pt idx="658">
                  <c:v>0.2521830340613771</c:v>
                </c:pt>
                <c:pt idx="659">
                  <c:v>0.25199834872673893</c:v>
                </c:pt>
                <c:pt idx="660">
                  <c:v>0.25220066997767482</c:v>
                </c:pt>
                <c:pt idx="661">
                  <c:v>0.25281128246791063</c:v>
                </c:pt>
                <c:pt idx="662">
                  <c:v>0.25263435333719908</c:v>
                </c:pt>
                <c:pt idx="663">
                  <c:v>0.25292752178284367</c:v>
                </c:pt>
                <c:pt idx="664">
                  <c:v>0.25221759374735819</c:v>
                </c:pt>
                <c:pt idx="665">
                  <c:v>0.25308666266072172</c:v>
                </c:pt>
                <c:pt idx="666">
                  <c:v>0.25464422915893109</c:v>
                </c:pt>
                <c:pt idx="667">
                  <c:v>0.25697376915935488</c:v>
                </c:pt>
                <c:pt idx="668">
                  <c:v>0.25738459410731096</c:v>
                </c:pt>
                <c:pt idx="669">
                  <c:v>0.25802200135617276</c:v>
                </c:pt>
                <c:pt idx="670">
                  <c:v>0.25873036290761364</c:v>
                </c:pt>
                <c:pt idx="671">
                  <c:v>0.25890856753729463</c:v>
                </c:pt>
                <c:pt idx="672">
                  <c:v>0.25758002540783603</c:v>
                </c:pt>
                <c:pt idx="673">
                  <c:v>0.25814596022506181</c:v>
                </c:pt>
                <c:pt idx="674">
                  <c:v>0.25895531546491957</c:v>
                </c:pt>
                <c:pt idx="675">
                  <c:v>0.25887085975233542</c:v>
                </c:pt>
                <c:pt idx="676">
                  <c:v>0.25843957328807055</c:v>
                </c:pt>
                <c:pt idx="677">
                  <c:v>0.25861913687245963</c:v>
                </c:pt>
                <c:pt idx="678">
                  <c:v>0.25821420834644343</c:v>
                </c:pt>
                <c:pt idx="679">
                  <c:v>0.25840122498133933</c:v>
                </c:pt>
                <c:pt idx="680">
                  <c:v>0.25859679667557861</c:v>
                </c:pt>
                <c:pt idx="681">
                  <c:v>0.25865747347888923</c:v>
                </c:pt>
                <c:pt idx="682">
                  <c:v>0.25941470031507058</c:v>
                </c:pt>
                <c:pt idx="683">
                  <c:v>0.25899672566984666</c:v>
                </c:pt>
                <c:pt idx="684">
                  <c:v>0.25900754045904634</c:v>
                </c:pt>
                <c:pt idx="685">
                  <c:v>0.25926351505236339</c:v>
                </c:pt>
                <c:pt idx="686">
                  <c:v>0.25902438844003517</c:v>
                </c:pt>
                <c:pt idx="687">
                  <c:v>0.25884947015358073</c:v>
                </c:pt>
                <c:pt idx="688">
                  <c:v>0.2589225616415553</c:v>
                </c:pt>
                <c:pt idx="689">
                  <c:v>0.25974620541878635</c:v>
                </c:pt>
                <c:pt idx="690">
                  <c:v>0.25959065631534323</c:v>
                </c:pt>
                <c:pt idx="691">
                  <c:v>0.26000478106399116</c:v>
                </c:pt>
                <c:pt idx="692">
                  <c:v>0.26039887462831218</c:v>
                </c:pt>
                <c:pt idx="693">
                  <c:v>0.26102669498969694</c:v>
                </c:pt>
                <c:pt idx="694">
                  <c:v>0.26091618879891798</c:v>
                </c:pt>
                <c:pt idx="695">
                  <c:v>0.26127789214878416</c:v>
                </c:pt>
                <c:pt idx="696">
                  <c:v>0.26132913403890362</c:v>
                </c:pt>
                <c:pt idx="697">
                  <c:v>0.26158958866877441</c:v>
                </c:pt>
                <c:pt idx="698">
                  <c:v>0.26140870855021103</c:v>
                </c:pt>
                <c:pt idx="699">
                  <c:v>0.26138100066098441</c:v>
                </c:pt>
                <c:pt idx="700">
                  <c:v>0.26225019864249355</c:v>
                </c:pt>
                <c:pt idx="701">
                  <c:v>0.26174446982565469</c:v>
                </c:pt>
                <c:pt idx="702">
                  <c:v>0.26161731673605743</c:v>
                </c:pt>
                <c:pt idx="703">
                  <c:v>0.25999058431057087</c:v>
                </c:pt>
                <c:pt idx="704">
                  <c:v>0.25921763716197666</c:v>
                </c:pt>
                <c:pt idx="705">
                  <c:v>0.25941662946935246</c:v>
                </c:pt>
                <c:pt idx="706">
                  <c:v>0.25993820616643537</c:v>
                </c:pt>
                <c:pt idx="707">
                  <c:v>0.26027350859443826</c:v>
                </c:pt>
                <c:pt idx="708">
                  <c:v>0.26022022885493501</c:v>
                </c:pt>
                <c:pt idx="709">
                  <c:v>0.2604408023311805</c:v>
                </c:pt>
                <c:pt idx="710">
                  <c:v>0.26048623672857574</c:v>
                </c:pt>
                <c:pt idx="711">
                  <c:v>0.26065820347264873</c:v>
                </c:pt>
                <c:pt idx="712">
                  <c:v>0.25999476101473573</c:v>
                </c:pt>
                <c:pt idx="713">
                  <c:v>0.26024876313702033</c:v>
                </c:pt>
                <c:pt idx="714">
                  <c:v>0.26048019768632896</c:v>
                </c:pt>
                <c:pt idx="715">
                  <c:v>0.26050874231879556</c:v>
                </c:pt>
                <c:pt idx="716">
                  <c:v>0.2601729008501974</c:v>
                </c:pt>
                <c:pt idx="717">
                  <c:v>0.26013957369244811</c:v>
                </c:pt>
                <c:pt idx="718">
                  <c:v>0.26000005335942517</c:v>
                </c:pt>
                <c:pt idx="719">
                  <c:v>0.25990166506780832</c:v>
                </c:pt>
                <c:pt idx="720">
                  <c:v>0.25999357417963398</c:v>
                </c:pt>
                <c:pt idx="721">
                  <c:v>0.2604169901297862</c:v>
                </c:pt>
                <c:pt idx="722">
                  <c:v>0.25955265528153887</c:v>
                </c:pt>
                <c:pt idx="723">
                  <c:v>0.25965777228773546</c:v>
                </c:pt>
                <c:pt idx="724">
                  <c:v>0.25976868095174538</c:v>
                </c:pt>
                <c:pt idx="725">
                  <c:v>0.2609427287615288</c:v>
                </c:pt>
                <c:pt idx="726">
                  <c:v>0.26097754114395905</c:v>
                </c:pt>
                <c:pt idx="727">
                  <c:v>0.26146868433115428</c:v>
                </c:pt>
                <c:pt idx="728">
                  <c:v>0.26116178027254944</c:v>
                </c:pt>
                <c:pt idx="729">
                  <c:v>0.26139683037566919</c:v>
                </c:pt>
                <c:pt idx="730">
                  <c:v>0.26147442206262594</c:v>
                </c:pt>
                <c:pt idx="731">
                  <c:v>0.25997131136010837</c:v>
                </c:pt>
                <c:pt idx="732">
                  <c:v>0.26417146079341214</c:v>
                </c:pt>
                <c:pt idx="733">
                  <c:v>0.26520990578571729</c:v>
                </c:pt>
                <c:pt idx="734">
                  <c:v>0.26736140671451464</c:v>
                </c:pt>
                <c:pt idx="735">
                  <c:v>0.2682193125602812</c:v>
                </c:pt>
                <c:pt idx="736">
                  <c:v>0.26943102683185188</c:v>
                </c:pt>
                <c:pt idx="737">
                  <c:v>0.26770176378239086</c:v>
                </c:pt>
                <c:pt idx="738">
                  <c:v>0.26708168685647848</c:v>
                </c:pt>
                <c:pt idx="739">
                  <c:v>0.26319201082980515</c:v>
                </c:pt>
                <c:pt idx="740">
                  <c:v>0.26464581268597115</c:v>
                </c:pt>
                <c:pt idx="741">
                  <c:v>0.26371078318204572</c:v>
                </c:pt>
                <c:pt idx="742">
                  <c:v>0.26358688446569573</c:v>
                </c:pt>
                <c:pt idx="743">
                  <c:v>0.26265830232719384</c:v>
                </c:pt>
                <c:pt idx="744">
                  <c:v>0.26258339908409756</c:v>
                </c:pt>
                <c:pt idx="745">
                  <c:v>0.26011979456743389</c:v>
                </c:pt>
                <c:pt idx="746">
                  <c:v>0.25977051801661266</c:v>
                </c:pt>
                <c:pt idx="747">
                  <c:v>0.25778590940446011</c:v>
                </c:pt>
                <c:pt idx="748">
                  <c:v>0.25620869760029252</c:v>
                </c:pt>
                <c:pt idx="749">
                  <c:v>0.25227411616625367</c:v>
                </c:pt>
                <c:pt idx="750">
                  <c:v>0.25707454983013878</c:v>
                </c:pt>
                <c:pt idx="751">
                  <c:v>0.25712778781147788</c:v>
                </c:pt>
                <c:pt idx="752">
                  <c:v>0.25790196780702024</c:v>
                </c:pt>
                <c:pt idx="753">
                  <c:v>0.25796181302188442</c:v>
                </c:pt>
                <c:pt idx="754">
                  <c:v>0.25693588546689505</c:v>
                </c:pt>
                <c:pt idx="755">
                  <c:v>0.25782798584504996</c:v>
                </c:pt>
                <c:pt idx="756">
                  <c:v>0.25773986066412641</c:v>
                </c:pt>
                <c:pt idx="757">
                  <c:v>0.25809972277611903</c:v>
                </c:pt>
                <c:pt idx="758">
                  <c:v>0.25814243645756407</c:v>
                </c:pt>
                <c:pt idx="759">
                  <c:v>0.25752023293896603</c:v>
                </c:pt>
                <c:pt idx="760">
                  <c:v>0.25720517003604698</c:v>
                </c:pt>
                <c:pt idx="761">
                  <c:v>0.25755699068660892</c:v>
                </c:pt>
                <c:pt idx="762">
                  <c:v>0.25760118687852096</c:v>
                </c:pt>
                <c:pt idx="763">
                  <c:v>0.25739033043560816</c:v>
                </c:pt>
                <c:pt idx="764">
                  <c:v>0.25857085538018931</c:v>
                </c:pt>
                <c:pt idx="765">
                  <c:v>0.25831317252093744</c:v>
                </c:pt>
                <c:pt idx="766">
                  <c:v>0.25814895086706224</c:v>
                </c:pt>
                <c:pt idx="767">
                  <c:v>0.25930999083747552</c:v>
                </c:pt>
                <c:pt idx="768">
                  <c:v>0.26123209265611402</c:v>
                </c:pt>
                <c:pt idx="769">
                  <c:v>0.26116971496262814</c:v>
                </c:pt>
                <c:pt idx="770">
                  <c:v>0.26115222792364107</c:v>
                </c:pt>
                <c:pt idx="771">
                  <c:v>0.26012229002354897</c:v>
                </c:pt>
                <c:pt idx="772">
                  <c:v>0.25979861396999726</c:v>
                </c:pt>
                <c:pt idx="773">
                  <c:v>0.25814373181614675</c:v>
                </c:pt>
                <c:pt idx="774">
                  <c:v>0.25882176827899966</c:v>
                </c:pt>
                <c:pt idx="775">
                  <c:v>0.25868419004268894</c:v>
                </c:pt>
                <c:pt idx="776">
                  <c:v>0.25314303275817651</c:v>
                </c:pt>
                <c:pt idx="777">
                  <c:v>0.25211304068241674</c:v>
                </c:pt>
                <c:pt idx="778">
                  <c:v>0.2535630838584958</c:v>
                </c:pt>
                <c:pt idx="779">
                  <c:v>0.25672656577883091</c:v>
                </c:pt>
                <c:pt idx="780">
                  <c:v>0.25657390653027312</c:v>
                </c:pt>
                <c:pt idx="781">
                  <c:v>0.25492206301420423</c:v>
                </c:pt>
                <c:pt idx="782">
                  <c:v>0.25529246909426306</c:v>
                </c:pt>
                <c:pt idx="783">
                  <c:v>0.2552121936435427</c:v>
                </c:pt>
                <c:pt idx="784">
                  <c:v>0.25632779963237862</c:v>
                </c:pt>
                <c:pt idx="785">
                  <c:v>0.25730843229881822</c:v>
                </c:pt>
                <c:pt idx="786">
                  <c:v>0.25701203473773832</c:v>
                </c:pt>
                <c:pt idx="787">
                  <c:v>0.25756849745032062</c:v>
                </c:pt>
                <c:pt idx="788">
                  <c:v>0.25592631264735061</c:v>
                </c:pt>
                <c:pt idx="789">
                  <c:v>0.25625979989730241</c:v>
                </c:pt>
                <c:pt idx="790">
                  <c:v>0.25623005324845916</c:v>
                </c:pt>
                <c:pt idx="791">
                  <c:v>0.25715746360838598</c:v>
                </c:pt>
                <c:pt idx="792">
                  <c:v>0.25636114527084136</c:v>
                </c:pt>
                <c:pt idx="793">
                  <c:v>0.25672123366987759</c:v>
                </c:pt>
                <c:pt idx="794">
                  <c:v>0.25566203769349544</c:v>
                </c:pt>
                <c:pt idx="795">
                  <c:v>0.25580885782249069</c:v>
                </c:pt>
                <c:pt idx="796">
                  <c:v>0.256284339696701</c:v>
                </c:pt>
                <c:pt idx="797">
                  <c:v>0.25605961947410921</c:v>
                </c:pt>
                <c:pt idx="798">
                  <c:v>0.25353313377813141</c:v>
                </c:pt>
                <c:pt idx="799">
                  <c:v>0.25262292930037206</c:v>
                </c:pt>
                <c:pt idx="800">
                  <c:v>0.25397687294218024</c:v>
                </c:pt>
                <c:pt idx="801">
                  <c:v>0.25356831306078109</c:v>
                </c:pt>
                <c:pt idx="802">
                  <c:v>0.26181951526040359</c:v>
                </c:pt>
                <c:pt idx="803">
                  <c:v>0.26223111120857978</c:v>
                </c:pt>
                <c:pt idx="804">
                  <c:v>0.25939988480048271</c:v>
                </c:pt>
                <c:pt idx="805">
                  <c:v>0.26524391449809676</c:v>
                </c:pt>
                <c:pt idx="806">
                  <c:v>0.2710515425234078</c:v>
                </c:pt>
                <c:pt idx="807">
                  <c:v>0.27102385590641964</c:v>
                </c:pt>
                <c:pt idx="808">
                  <c:v>0.26999487676953493</c:v>
                </c:pt>
                <c:pt idx="809">
                  <c:v>0.26977907187206207</c:v>
                </c:pt>
                <c:pt idx="810">
                  <c:v>0.27057642777179963</c:v>
                </c:pt>
                <c:pt idx="811">
                  <c:v>0.26994124949389114</c:v>
                </c:pt>
                <c:pt idx="812">
                  <c:v>0.2762974837401822</c:v>
                </c:pt>
                <c:pt idx="813">
                  <c:v>0.2768221124999859</c:v>
                </c:pt>
                <c:pt idx="814">
                  <c:v>0.27657469458998907</c:v>
                </c:pt>
                <c:pt idx="815">
                  <c:v>0.27224168333279292</c:v>
                </c:pt>
                <c:pt idx="816">
                  <c:v>0.27196849382879651</c:v>
                </c:pt>
                <c:pt idx="817">
                  <c:v>0.2713962622430599</c:v>
                </c:pt>
                <c:pt idx="818">
                  <c:v>0.26923197199396021</c:v>
                </c:pt>
                <c:pt idx="819">
                  <c:v>0.26996277466832236</c:v>
                </c:pt>
                <c:pt idx="820">
                  <c:v>0.27060702183276331</c:v>
                </c:pt>
                <c:pt idx="821">
                  <c:v>0.27048549147588657</c:v>
                </c:pt>
                <c:pt idx="822">
                  <c:v>0.27045289054393085</c:v>
                </c:pt>
                <c:pt idx="823">
                  <c:v>0.27046945812247525</c:v>
                </c:pt>
                <c:pt idx="824">
                  <c:v>0.27121630923146756</c:v>
                </c:pt>
                <c:pt idx="825">
                  <c:v>0.27078962993800049</c:v>
                </c:pt>
                <c:pt idx="826">
                  <c:v>0.27080275363308526</c:v>
                </c:pt>
                <c:pt idx="827">
                  <c:v>0.27224121636975585</c:v>
                </c:pt>
                <c:pt idx="828">
                  <c:v>0.27207765832669156</c:v>
                </c:pt>
                <c:pt idx="829">
                  <c:v>0.27163316658830344</c:v>
                </c:pt>
                <c:pt idx="830">
                  <c:v>0.27177470432381212</c:v>
                </c:pt>
                <c:pt idx="831">
                  <c:v>0.27207505524431369</c:v>
                </c:pt>
                <c:pt idx="832">
                  <c:v>0.27197082214056068</c:v>
                </c:pt>
                <c:pt idx="833">
                  <c:v>0.27217870630838154</c:v>
                </c:pt>
                <c:pt idx="834">
                  <c:v>0.27243538614746188</c:v>
                </c:pt>
                <c:pt idx="835">
                  <c:v>0.27226484896269321</c:v>
                </c:pt>
                <c:pt idx="836">
                  <c:v>0.27326645857362147</c:v>
                </c:pt>
                <c:pt idx="837">
                  <c:v>0.27343560689972535</c:v>
                </c:pt>
                <c:pt idx="838">
                  <c:v>0.27381473024860603</c:v>
                </c:pt>
                <c:pt idx="839">
                  <c:v>0.27373636595261153</c:v>
                </c:pt>
                <c:pt idx="840">
                  <c:v>0.27450235539335138</c:v>
                </c:pt>
                <c:pt idx="841">
                  <c:v>0.27429896934524889</c:v>
                </c:pt>
                <c:pt idx="842">
                  <c:v>0.27591525319823745</c:v>
                </c:pt>
                <c:pt idx="843">
                  <c:v>0.27694610466006053</c:v>
                </c:pt>
                <c:pt idx="844">
                  <c:v>0.27699104019418058</c:v>
                </c:pt>
                <c:pt idx="845">
                  <c:v>0.27698281200532782</c:v>
                </c:pt>
                <c:pt idx="846">
                  <c:v>0.27690502100182418</c:v>
                </c:pt>
                <c:pt idx="847">
                  <c:v>0.27676935253805884</c:v>
                </c:pt>
                <c:pt idx="848">
                  <c:v>0.2790594722745926</c:v>
                </c:pt>
                <c:pt idx="849">
                  <c:v>0.27902038338308616</c:v>
                </c:pt>
                <c:pt idx="850">
                  <c:v>0.28000062323688274</c:v>
                </c:pt>
                <c:pt idx="851">
                  <c:v>0.27983322229927965</c:v>
                </c:pt>
                <c:pt idx="852">
                  <c:v>0.28067256159470982</c:v>
                </c:pt>
                <c:pt idx="853">
                  <c:v>0.28115227053682013</c:v>
                </c:pt>
                <c:pt idx="854">
                  <c:v>0.28189282008368843</c:v>
                </c:pt>
                <c:pt idx="855">
                  <c:v>0.28226679197709614</c:v>
                </c:pt>
                <c:pt idx="856">
                  <c:v>0.282129378454476</c:v>
                </c:pt>
                <c:pt idx="857">
                  <c:v>0.28251081701263608</c:v>
                </c:pt>
                <c:pt idx="858">
                  <c:v>0.28368840809892931</c:v>
                </c:pt>
                <c:pt idx="859">
                  <c:v>0.28411101440440956</c:v>
                </c:pt>
                <c:pt idx="860">
                  <c:v>0.2845473752664861</c:v>
                </c:pt>
                <c:pt idx="861">
                  <c:v>0.28962202209223636</c:v>
                </c:pt>
                <c:pt idx="862">
                  <c:v>0.28956294164420537</c:v>
                </c:pt>
                <c:pt idx="863">
                  <c:v>0.29166115169191553</c:v>
                </c:pt>
                <c:pt idx="864">
                  <c:v>0.29457200402679584</c:v>
                </c:pt>
                <c:pt idx="865">
                  <c:v>0.29426957142681859</c:v>
                </c:pt>
                <c:pt idx="866">
                  <c:v>0.29344000453865932</c:v>
                </c:pt>
                <c:pt idx="867">
                  <c:v>0.29341656413880635</c:v>
                </c:pt>
                <c:pt idx="868">
                  <c:v>0.29340109717676371</c:v>
                </c:pt>
                <c:pt idx="869">
                  <c:v>0.29339658366403693</c:v>
                </c:pt>
                <c:pt idx="870">
                  <c:v>0.29830793723376042</c:v>
                </c:pt>
                <c:pt idx="871">
                  <c:v>0.29812629031804738</c:v>
                </c:pt>
                <c:pt idx="872">
                  <c:v>0.29780123133307623</c:v>
                </c:pt>
                <c:pt idx="873">
                  <c:v>0.29772408228247599</c:v>
                </c:pt>
                <c:pt idx="874">
                  <c:v>0.29812689132989045</c:v>
                </c:pt>
                <c:pt idx="875">
                  <c:v>0.29829459807063835</c:v>
                </c:pt>
                <c:pt idx="876">
                  <c:v>0.30014582967081499</c:v>
                </c:pt>
                <c:pt idx="877">
                  <c:v>0.29952947948308706</c:v>
                </c:pt>
                <c:pt idx="878">
                  <c:v>0.29973897973491087</c:v>
                </c:pt>
                <c:pt idx="879">
                  <c:v>0.30049289544064767</c:v>
                </c:pt>
                <c:pt idx="880">
                  <c:v>0.3007337401708044</c:v>
                </c:pt>
                <c:pt idx="881">
                  <c:v>0.30136835254952438</c:v>
                </c:pt>
                <c:pt idx="882">
                  <c:v>0.30269604849343562</c:v>
                </c:pt>
                <c:pt idx="883">
                  <c:v>0.30224714480452203</c:v>
                </c:pt>
                <c:pt idx="884">
                  <c:v>0.30367395713966938</c:v>
                </c:pt>
                <c:pt idx="885">
                  <c:v>0.30281029579578883</c:v>
                </c:pt>
                <c:pt idx="886">
                  <c:v>0.30261824869901804</c:v>
                </c:pt>
                <c:pt idx="887">
                  <c:v>0.30251106204090178</c:v>
                </c:pt>
                <c:pt idx="888">
                  <c:v>0.30250205064170899</c:v>
                </c:pt>
                <c:pt idx="889">
                  <c:v>0.30238746114780513</c:v>
                </c:pt>
                <c:pt idx="890">
                  <c:v>0.30268121748982707</c:v>
                </c:pt>
                <c:pt idx="891">
                  <c:v>0.30212677154423068</c:v>
                </c:pt>
                <c:pt idx="892">
                  <c:v>0.30172958415569617</c:v>
                </c:pt>
                <c:pt idx="893">
                  <c:v>0.30166187838672476</c:v>
                </c:pt>
                <c:pt idx="894">
                  <c:v>0.30160092332394228</c:v>
                </c:pt>
                <c:pt idx="895">
                  <c:v>0.3018313823528434</c:v>
                </c:pt>
                <c:pt idx="896">
                  <c:v>0.30264956831599787</c:v>
                </c:pt>
                <c:pt idx="897">
                  <c:v>0.30254685979426671</c:v>
                </c:pt>
                <c:pt idx="898">
                  <c:v>0.3033767788447041</c:v>
                </c:pt>
                <c:pt idx="899">
                  <c:v>0.3053546296812063</c:v>
                </c:pt>
                <c:pt idx="900">
                  <c:v>0.30549023162791505</c:v>
                </c:pt>
                <c:pt idx="901">
                  <c:v>0.30547906924507678</c:v>
                </c:pt>
                <c:pt idx="902">
                  <c:v>0.30474945960673033</c:v>
                </c:pt>
                <c:pt idx="903">
                  <c:v>0.30461500742667086</c:v>
                </c:pt>
                <c:pt idx="904">
                  <c:v>0.30461473470704947</c:v>
                </c:pt>
                <c:pt idx="905">
                  <c:v>0.30466720894935972</c:v>
                </c:pt>
                <c:pt idx="906">
                  <c:v>0.30486853948960679</c:v>
                </c:pt>
                <c:pt idx="907">
                  <c:v>0.30496685284119113</c:v>
                </c:pt>
                <c:pt idx="908">
                  <c:v>0.30481129127261308</c:v>
                </c:pt>
                <c:pt idx="909">
                  <c:v>0.30488706252420633</c:v>
                </c:pt>
                <c:pt idx="910">
                  <c:v>0.30482197717732518</c:v>
                </c:pt>
                <c:pt idx="911">
                  <c:v>0.30499060000081618</c:v>
                </c:pt>
                <c:pt idx="912">
                  <c:v>0.30502764927899284</c:v>
                </c:pt>
                <c:pt idx="913">
                  <c:v>0.30453164959874068</c:v>
                </c:pt>
                <c:pt idx="914">
                  <c:v>0.30465682740389527</c:v>
                </c:pt>
                <c:pt idx="915">
                  <c:v>0.3039969235180946</c:v>
                </c:pt>
                <c:pt idx="916">
                  <c:v>0.304298262514829</c:v>
                </c:pt>
                <c:pt idx="917">
                  <c:v>0.30425652309375106</c:v>
                </c:pt>
                <c:pt idx="918">
                  <c:v>0.30409114535484894</c:v>
                </c:pt>
                <c:pt idx="919">
                  <c:v>0.30386813476488395</c:v>
                </c:pt>
                <c:pt idx="920">
                  <c:v>0.30374502047786084</c:v>
                </c:pt>
                <c:pt idx="921">
                  <c:v>0.30387059099703356</c:v>
                </c:pt>
                <c:pt idx="922">
                  <c:v>0.3036383881333406</c:v>
                </c:pt>
                <c:pt idx="923">
                  <c:v>0.30358890606066535</c:v>
                </c:pt>
                <c:pt idx="924">
                  <c:v>0.30576682360111845</c:v>
                </c:pt>
                <c:pt idx="925">
                  <c:v>0.30563121073252242</c:v>
                </c:pt>
                <c:pt idx="926">
                  <c:v>0.30538366169244607</c:v>
                </c:pt>
                <c:pt idx="927">
                  <c:v>0.30546867042681092</c:v>
                </c:pt>
                <c:pt idx="928">
                  <c:v>0.30594145991949762</c:v>
                </c:pt>
                <c:pt idx="929">
                  <c:v>0.30519986030953755</c:v>
                </c:pt>
                <c:pt idx="930">
                  <c:v>0.30553806136513073</c:v>
                </c:pt>
                <c:pt idx="931">
                  <c:v>0.30550794541511167</c:v>
                </c:pt>
                <c:pt idx="932">
                  <c:v>0.30585917617264607</c:v>
                </c:pt>
                <c:pt idx="933">
                  <c:v>0.30503844751088721</c:v>
                </c:pt>
                <c:pt idx="934">
                  <c:v>0.3043436079147786</c:v>
                </c:pt>
                <c:pt idx="935">
                  <c:v>0.30455119908764838</c:v>
                </c:pt>
                <c:pt idx="936">
                  <c:v>0.305257695779521</c:v>
                </c:pt>
                <c:pt idx="937">
                  <c:v>0.30486332999138654</c:v>
                </c:pt>
                <c:pt idx="938">
                  <c:v>0.30355293777209097</c:v>
                </c:pt>
                <c:pt idx="939">
                  <c:v>0.30372088946791859</c:v>
                </c:pt>
                <c:pt idx="940">
                  <c:v>0.30549950270374721</c:v>
                </c:pt>
                <c:pt idx="941">
                  <c:v>0.30489345100973242</c:v>
                </c:pt>
                <c:pt idx="942">
                  <c:v>0.30533659805352914</c:v>
                </c:pt>
                <c:pt idx="943">
                  <c:v>0.30527374680629377</c:v>
                </c:pt>
                <c:pt idx="944">
                  <c:v>0.30508120348062712</c:v>
                </c:pt>
                <c:pt idx="945">
                  <c:v>0.30492604713107513</c:v>
                </c:pt>
                <c:pt idx="946">
                  <c:v>0.30505401667968879</c:v>
                </c:pt>
                <c:pt idx="947">
                  <c:v>0.30504954462170547</c:v>
                </c:pt>
                <c:pt idx="948">
                  <c:v>0.30464805232122333</c:v>
                </c:pt>
                <c:pt idx="949">
                  <c:v>0.30334153477466297</c:v>
                </c:pt>
                <c:pt idx="950">
                  <c:v>0.30370866908789429</c:v>
                </c:pt>
                <c:pt idx="951">
                  <c:v>0.30372779498593006</c:v>
                </c:pt>
                <c:pt idx="952">
                  <c:v>0.30350364345220165</c:v>
                </c:pt>
                <c:pt idx="953">
                  <c:v>0.30380031801095059</c:v>
                </c:pt>
                <c:pt idx="954">
                  <c:v>0.30431170134664642</c:v>
                </c:pt>
                <c:pt idx="955">
                  <c:v>0.30661106852211073</c:v>
                </c:pt>
                <c:pt idx="956">
                  <c:v>0.30850649691893578</c:v>
                </c:pt>
                <c:pt idx="957">
                  <c:v>0.30797331150730478</c:v>
                </c:pt>
                <c:pt idx="958">
                  <c:v>0.30656455893889795</c:v>
                </c:pt>
                <c:pt idx="959">
                  <c:v>0.30659232461793451</c:v>
                </c:pt>
                <c:pt idx="960">
                  <c:v>0.30717998974359773</c:v>
                </c:pt>
                <c:pt idx="961">
                  <c:v>0.30752791057662815</c:v>
                </c:pt>
                <c:pt idx="962">
                  <c:v>0.30836706901130245</c:v>
                </c:pt>
                <c:pt idx="963">
                  <c:v>0.30970190854370588</c:v>
                </c:pt>
                <c:pt idx="964">
                  <c:v>0.31064847403207008</c:v>
                </c:pt>
                <c:pt idx="965">
                  <c:v>0.31064887455034979</c:v>
                </c:pt>
                <c:pt idx="966">
                  <c:v>0.31056672500081217</c:v>
                </c:pt>
                <c:pt idx="967">
                  <c:v>0.31053488903286669</c:v>
                </c:pt>
                <c:pt idx="968">
                  <c:v>0.31057806617907835</c:v>
                </c:pt>
                <c:pt idx="969">
                  <c:v>0.31063474684099629</c:v>
                </c:pt>
                <c:pt idx="970">
                  <c:v>0.31060565036541032</c:v>
                </c:pt>
                <c:pt idx="971">
                  <c:v>0.3108574226859756</c:v>
                </c:pt>
                <c:pt idx="972">
                  <c:v>0.31051327267789647</c:v>
                </c:pt>
                <c:pt idx="973">
                  <c:v>0.31160139010538829</c:v>
                </c:pt>
                <c:pt idx="974">
                  <c:v>0.31270556819739337</c:v>
                </c:pt>
                <c:pt idx="975">
                  <c:v>0.31425811357149286</c:v>
                </c:pt>
                <c:pt idx="976">
                  <c:v>0.31476024963836108</c:v>
                </c:pt>
                <c:pt idx="977">
                  <c:v>0.31503442778925422</c:v>
                </c:pt>
                <c:pt idx="978">
                  <c:v>0.3155716132646772</c:v>
                </c:pt>
                <c:pt idx="979">
                  <c:v>0.31644124132241735</c:v>
                </c:pt>
                <c:pt idx="980">
                  <c:v>0.31672909380350889</c:v>
                </c:pt>
                <c:pt idx="981">
                  <c:v>0.31665551767608791</c:v>
                </c:pt>
                <c:pt idx="982">
                  <c:v>0.31655342353998456</c:v>
                </c:pt>
                <c:pt idx="983">
                  <c:v>0.31814948810219829</c:v>
                </c:pt>
                <c:pt idx="984">
                  <c:v>0.31898589323071064</c:v>
                </c:pt>
                <c:pt idx="985">
                  <c:v>0.31891506724595453</c:v>
                </c:pt>
                <c:pt idx="986">
                  <c:v>0.31894639406809633</c:v>
                </c:pt>
                <c:pt idx="987">
                  <c:v>0.31869596993244853</c:v>
                </c:pt>
                <c:pt idx="988">
                  <c:v>0.31880100879768919</c:v>
                </c:pt>
                <c:pt idx="989">
                  <c:v>0.31850218183931073</c:v>
                </c:pt>
                <c:pt idx="990">
                  <c:v>0.31856053861616684</c:v>
                </c:pt>
                <c:pt idx="991">
                  <c:v>0.31898914233493852</c:v>
                </c:pt>
                <c:pt idx="992">
                  <c:v>0.31914575094784747</c:v>
                </c:pt>
                <c:pt idx="993">
                  <c:v>0.31936031929456987</c:v>
                </c:pt>
                <c:pt idx="994">
                  <c:v>0.31986483032890145</c:v>
                </c:pt>
                <c:pt idx="995">
                  <c:v>0.32021667915376639</c:v>
                </c:pt>
                <c:pt idx="996">
                  <c:v>0.32065299008981452</c:v>
                </c:pt>
                <c:pt idx="997">
                  <c:v>0.32140844201735075</c:v>
                </c:pt>
                <c:pt idx="998">
                  <c:v>0.32203779827070939</c:v>
                </c:pt>
                <c:pt idx="999">
                  <c:v>0.32225284153362149</c:v>
                </c:pt>
                <c:pt idx="1000">
                  <c:v>0.32238333334682451</c:v>
                </c:pt>
                <c:pt idx="1001">
                  <c:v>0.32326816611445458</c:v>
                </c:pt>
                <c:pt idx="1002">
                  <c:v>0.32437187026248504</c:v>
                </c:pt>
                <c:pt idx="1003">
                  <c:v>0.32470606277346098</c:v>
                </c:pt>
                <c:pt idx="1004">
                  <c:v>0.32474846839754262</c:v>
                </c:pt>
                <c:pt idx="1005">
                  <c:v>0.32468232990640278</c:v>
                </c:pt>
                <c:pt idx="1006">
                  <c:v>0.32448856393270842</c:v>
                </c:pt>
                <c:pt idx="1007">
                  <c:v>0.32471711310504026</c:v>
                </c:pt>
                <c:pt idx="1008">
                  <c:v>0.32467052199808771</c:v>
                </c:pt>
                <c:pt idx="1009">
                  <c:v>0.32711826127358817</c:v>
                </c:pt>
                <c:pt idx="1010">
                  <c:v>0.32819745492472679</c:v>
                </c:pt>
                <c:pt idx="1011">
                  <c:v>0.32811215711350461</c:v>
                </c:pt>
                <c:pt idx="1012">
                  <c:v>0.32835875377762125</c:v>
                </c:pt>
                <c:pt idx="1013">
                  <c:v>0.32879427161271663</c:v>
                </c:pt>
                <c:pt idx="1014">
                  <c:v>0.32882899726375792</c:v>
                </c:pt>
                <c:pt idx="1015">
                  <c:v>0.32944785361292572</c:v>
                </c:pt>
                <c:pt idx="1016">
                  <c:v>0.33231472109653437</c:v>
                </c:pt>
                <c:pt idx="1017">
                  <c:v>0.33233304191742258</c:v>
                </c:pt>
                <c:pt idx="1018">
                  <c:v>0.33234171959170838</c:v>
                </c:pt>
                <c:pt idx="1019">
                  <c:v>0.33320030639656273</c:v>
                </c:pt>
                <c:pt idx="1020">
                  <c:v>0.33309828556498511</c:v>
                </c:pt>
                <c:pt idx="1021">
                  <c:v>0.33112603835514176</c:v>
                </c:pt>
                <c:pt idx="1022">
                  <c:v>0.33145917555855148</c:v>
                </c:pt>
                <c:pt idx="1023">
                  <c:v>0.33257976082768026</c:v>
                </c:pt>
                <c:pt idx="1024">
                  <c:v>0.33276004669984272</c:v>
                </c:pt>
                <c:pt idx="1025">
                  <c:v>0.3325347686950022</c:v>
                </c:pt>
                <c:pt idx="1026">
                  <c:v>0.33102022240587597</c:v>
                </c:pt>
                <c:pt idx="1027">
                  <c:v>0.33108067819850157</c:v>
                </c:pt>
                <c:pt idx="1028">
                  <c:v>0.33154388330609608</c:v>
                </c:pt>
                <c:pt idx="1029">
                  <c:v>0.332258016919799</c:v>
                </c:pt>
                <c:pt idx="1030">
                  <c:v>0.33105555961224892</c:v>
                </c:pt>
                <c:pt idx="1031">
                  <c:v>0.33051543025810481</c:v>
                </c:pt>
                <c:pt idx="1032">
                  <c:v>0.33066292125039715</c:v>
                </c:pt>
                <c:pt idx="1033">
                  <c:v>0.33090732957756452</c:v>
                </c:pt>
                <c:pt idx="1034">
                  <c:v>0.3307063182845581</c:v>
                </c:pt>
                <c:pt idx="1035">
                  <c:v>0.33004182639582236</c:v>
                </c:pt>
                <c:pt idx="1036">
                  <c:v>0.33066071756619819</c:v>
                </c:pt>
                <c:pt idx="1037">
                  <c:v>0.33059966355949127</c:v>
                </c:pt>
                <c:pt idx="1038">
                  <c:v>0.33065746719089639</c:v>
                </c:pt>
                <c:pt idx="1039">
                  <c:v>0.33000382521805749</c:v>
                </c:pt>
                <c:pt idx="1040">
                  <c:v>0.33017439393573683</c:v>
                </c:pt>
                <c:pt idx="1041">
                  <c:v>0.33056704520614888</c:v>
                </c:pt>
                <c:pt idx="1042">
                  <c:v>0.33035633870343506</c:v>
                </c:pt>
                <c:pt idx="1043">
                  <c:v>0.33020051384671795</c:v>
                </c:pt>
                <c:pt idx="1044">
                  <c:v>0.33058261180088772</c:v>
                </c:pt>
                <c:pt idx="1045">
                  <c:v>0.33055122187448899</c:v>
                </c:pt>
                <c:pt idx="1046">
                  <c:v>0.33088206507201035</c:v>
                </c:pt>
                <c:pt idx="1047">
                  <c:v>0.33096949143844917</c:v>
                </c:pt>
                <c:pt idx="1048">
                  <c:v>0.33297257970492911</c:v>
                </c:pt>
                <c:pt idx="1049">
                  <c:v>0.3328112422041013</c:v>
                </c:pt>
                <c:pt idx="1050">
                  <c:v>0.33402229945354894</c:v>
                </c:pt>
                <c:pt idx="1051">
                  <c:v>0.33384803459987661</c:v>
                </c:pt>
                <c:pt idx="1052">
                  <c:v>0.33316815701459718</c:v>
                </c:pt>
                <c:pt idx="1053">
                  <c:v>0.33285114848104197</c:v>
                </c:pt>
                <c:pt idx="1054">
                  <c:v>0.33249235514051306</c:v>
                </c:pt>
                <c:pt idx="1055">
                  <c:v>0.33213173816450731</c:v>
                </c:pt>
                <c:pt idx="1056">
                  <c:v>0.34367344217247064</c:v>
                </c:pt>
                <c:pt idx="1057">
                  <c:v>0.34377013599058676</c:v>
                </c:pt>
                <c:pt idx="1058">
                  <c:v>0.33883528831202614</c:v>
                </c:pt>
                <c:pt idx="1059">
                  <c:v>0.33903045219038869</c:v>
                </c:pt>
                <c:pt idx="1060">
                  <c:v>0.33897790553227253</c:v>
                </c:pt>
                <c:pt idx="1061">
                  <c:v>0.33963095859174702</c:v>
                </c:pt>
                <c:pt idx="1062">
                  <c:v>0.33956577490161238</c:v>
                </c:pt>
                <c:pt idx="1063">
                  <c:v>0.34019060733376177</c:v>
                </c:pt>
                <c:pt idx="1064">
                  <c:v>0.33756035711458249</c:v>
                </c:pt>
                <c:pt idx="1065">
                  <c:v>0.33728929240665945</c:v>
                </c:pt>
                <c:pt idx="1066">
                  <c:v>0.33711283101254619</c:v>
                </c:pt>
                <c:pt idx="1067">
                  <c:v>0.34342547763928338</c:v>
                </c:pt>
                <c:pt idx="1068">
                  <c:v>0.34368160988617785</c:v>
                </c:pt>
                <c:pt idx="1069">
                  <c:v>0.34487612564500081</c:v>
                </c:pt>
                <c:pt idx="1070">
                  <c:v>0.34521396473640509</c:v>
                </c:pt>
                <c:pt idx="1071">
                  <c:v>0.3453077823025994</c:v>
                </c:pt>
                <c:pt idx="1072">
                  <c:v>0.34470401131415573</c:v>
                </c:pt>
                <c:pt idx="1073">
                  <c:v>0.34410067775794734</c:v>
                </c:pt>
                <c:pt idx="1074">
                  <c:v>0.34427289750829926</c:v>
                </c:pt>
                <c:pt idx="1075">
                  <c:v>0.34385142428346954</c:v>
                </c:pt>
                <c:pt idx="1076">
                  <c:v>0.34465400677590996</c:v>
                </c:pt>
                <c:pt idx="1077">
                  <c:v>0.34652115825369356</c:v>
                </c:pt>
                <c:pt idx="1078">
                  <c:v>0.34730215402133569</c:v>
                </c:pt>
                <c:pt idx="1079">
                  <c:v>0.34440926609647798</c:v>
                </c:pt>
                <c:pt idx="1080">
                  <c:v>0.34420001586596732</c:v>
                </c:pt>
                <c:pt idx="1081">
                  <c:v>0.3457421215343166</c:v>
                </c:pt>
                <c:pt idx="1082">
                  <c:v>0.34790918151018424</c:v>
                </c:pt>
                <c:pt idx="1083">
                  <c:v>0.34798306018518532</c:v>
                </c:pt>
                <c:pt idx="1084">
                  <c:v>0.34808089243473522</c:v>
                </c:pt>
                <c:pt idx="1085">
                  <c:v>0.34808198552536729</c:v>
                </c:pt>
                <c:pt idx="1086">
                  <c:v>0.3480680988878741</c:v>
                </c:pt>
                <c:pt idx="1087">
                  <c:v>0.34936334958474602</c:v>
                </c:pt>
                <c:pt idx="1088">
                  <c:v>0.34820937421190051</c:v>
                </c:pt>
                <c:pt idx="1089">
                  <c:v>0.34798804132312033</c:v>
                </c:pt>
                <c:pt idx="1090">
                  <c:v>0.34737952391307586</c:v>
                </c:pt>
                <c:pt idx="1091">
                  <c:v>0.34668371464057368</c:v>
                </c:pt>
                <c:pt idx="1092">
                  <c:v>0.34455464489840348</c:v>
                </c:pt>
                <c:pt idx="1093">
                  <c:v>0.34430348935195859</c:v>
                </c:pt>
                <c:pt idx="1094">
                  <c:v>0.34225372140936688</c:v>
                </c:pt>
                <c:pt idx="1095">
                  <c:v>0.34057210203467098</c:v>
                </c:pt>
                <c:pt idx="1096">
                  <c:v>0.34118106975121781</c:v>
                </c:pt>
                <c:pt idx="1097">
                  <c:v>0.34179123002150263</c:v>
                </c:pt>
                <c:pt idx="1098">
                  <c:v>0.34202658655334345</c:v>
                </c:pt>
                <c:pt idx="1099">
                  <c:v>0.3412220941486952</c:v>
                </c:pt>
                <c:pt idx="1100">
                  <c:v>0.33885139814267345</c:v>
                </c:pt>
                <c:pt idx="1101">
                  <c:v>0.3388245075215327</c:v>
                </c:pt>
                <c:pt idx="1102">
                  <c:v>0.33804715516701572</c:v>
                </c:pt>
                <c:pt idx="1103">
                  <c:v>0.33755467459467947</c:v>
                </c:pt>
                <c:pt idx="1104">
                  <c:v>0.33661239865664594</c:v>
                </c:pt>
                <c:pt idx="1105">
                  <c:v>0.33718762701756105</c:v>
                </c:pt>
                <c:pt idx="1106">
                  <c:v>0.33688932064871879</c:v>
                </c:pt>
                <c:pt idx="1107">
                  <c:v>0.33617043907953698</c:v>
                </c:pt>
                <c:pt idx="1108">
                  <c:v>0.33518501049236482</c:v>
                </c:pt>
                <c:pt idx="1109">
                  <c:v>0.33505007047998947</c:v>
                </c:pt>
                <c:pt idx="1110">
                  <c:v>0.33489319508695442</c:v>
                </c:pt>
                <c:pt idx="1111">
                  <c:v>0.33462714544387373</c:v>
                </c:pt>
                <c:pt idx="1112">
                  <c:v>0.33441919084676547</c:v>
                </c:pt>
                <c:pt idx="1113">
                  <c:v>0.32785115818581839</c:v>
                </c:pt>
                <c:pt idx="1114">
                  <c:v>0.32839193781608106</c:v>
                </c:pt>
                <c:pt idx="1115">
                  <c:v>0.32844255537071643</c:v>
                </c:pt>
                <c:pt idx="1116">
                  <c:v>0.32490559079653525</c:v>
                </c:pt>
                <c:pt idx="1117">
                  <c:v>0.32516838887747818</c:v>
                </c:pt>
                <c:pt idx="1118">
                  <c:v>0.32608534756624685</c:v>
                </c:pt>
                <c:pt idx="1119">
                  <c:v>0.32833441474990882</c:v>
                </c:pt>
                <c:pt idx="1120">
                  <c:v>0.32797967968923458</c:v>
                </c:pt>
                <c:pt idx="1121">
                  <c:v>0.3286773778532554</c:v>
                </c:pt>
                <c:pt idx="1122">
                  <c:v>0.32182520344416049</c:v>
                </c:pt>
                <c:pt idx="1123">
                  <c:v>0.32250497523554883</c:v>
                </c:pt>
                <c:pt idx="1124">
                  <c:v>0.32367331010040429</c:v>
                </c:pt>
                <c:pt idx="1125">
                  <c:v>0.32367547763184717</c:v>
                </c:pt>
                <c:pt idx="1126">
                  <c:v>0.32316531196055837</c:v>
                </c:pt>
                <c:pt idx="1127">
                  <c:v>0.32419917538410659</c:v>
                </c:pt>
                <c:pt idx="1128">
                  <c:v>0.32339018345752202</c:v>
                </c:pt>
                <c:pt idx="1129">
                  <c:v>0.32518149816959502</c:v>
                </c:pt>
                <c:pt idx="1130">
                  <c:v>0.32500007346735932</c:v>
                </c:pt>
                <c:pt idx="1131">
                  <c:v>0.32441670058280958</c:v>
                </c:pt>
                <c:pt idx="1132">
                  <c:v>0.3240288912081381</c:v>
                </c:pt>
                <c:pt idx="1133">
                  <c:v>0.32383018494603039</c:v>
                </c:pt>
                <c:pt idx="1134">
                  <c:v>0.32238700258612879</c:v>
                </c:pt>
                <c:pt idx="1135">
                  <c:v>0.32242739939676379</c:v>
                </c:pt>
                <c:pt idx="1136">
                  <c:v>0.32160710958522631</c:v>
                </c:pt>
                <c:pt idx="1137">
                  <c:v>0.32155403958449202</c:v>
                </c:pt>
                <c:pt idx="1138">
                  <c:v>0.32217785588399783</c:v>
                </c:pt>
                <c:pt idx="1139">
                  <c:v>0.32247399198204652</c:v>
                </c:pt>
                <c:pt idx="1140">
                  <c:v>0.32228459602390436</c:v>
                </c:pt>
                <c:pt idx="1141">
                  <c:v>0.32194371085178008</c:v>
                </c:pt>
                <c:pt idx="1142">
                  <c:v>0.32112484991777768</c:v>
                </c:pt>
                <c:pt idx="1143">
                  <c:v>0.32414424171113682</c:v>
                </c:pt>
                <c:pt idx="1144">
                  <c:v>0.32529759985721429</c:v>
                </c:pt>
                <c:pt idx="1145">
                  <c:v>0.32526752434310152</c:v>
                </c:pt>
                <c:pt idx="1146">
                  <c:v>0.32617219691999072</c:v>
                </c:pt>
                <c:pt idx="1147">
                  <c:v>0.32609693760854108</c:v>
                </c:pt>
                <c:pt idx="1148">
                  <c:v>0.32575397292561104</c:v>
                </c:pt>
                <c:pt idx="1149">
                  <c:v>0.32631718710098628</c:v>
                </c:pt>
                <c:pt idx="1150">
                  <c:v>0.32550549946678808</c:v>
                </c:pt>
                <c:pt idx="1151">
                  <c:v>0.3227991289628413</c:v>
                </c:pt>
                <c:pt idx="1152">
                  <c:v>0.32341929216624898</c:v>
                </c:pt>
                <c:pt idx="1153">
                  <c:v>0.3236964226231846</c:v>
                </c:pt>
                <c:pt idx="1154">
                  <c:v>0.32928357136674041</c:v>
                </c:pt>
                <c:pt idx="1155">
                  <c:v>0.32844899101305497</c:v>
                </c:pt>
                <c:pt idx="1156">
                  <c:v>0.33029920624968262</c:v>
                </c:pt>
                <c:pt idx="1157">
                  <c:v>0.33005211936499745</c:v>
                </c:pt>
                <c:pt idx="1158">
                  <c:v>0.32918598068892568</c:v>
                </c:pt>
                <c:pt idx="1159">
                  <c:v>0.32910337513956922</c:v>
                </c:pt>
                <c:pt idx="1160">
                  <c:v>0.32924609006289235</c:v>
                </c:pt>
                <c:pt idx="1161">
                  <c:v>0.32927046178176722</c:v>
                </c:pt>
                <c:pt idx="1162">
                  <c:v>0.32948730353424921</c:v>
                </c:pt>
                <c:pt idx="1163">
                  <c:v>0.32940823208871306</c:v>
                </c:pt>
                <c:pt idx="1164">
                  <c:v>0.32904202167996099</c:v>
                </c:pt>
                <c:pt idx="1165">
                  <c:v>0.32930294327139209</c:v>
                </c:pt>
                <c:pt idx="1166">
                  <c:v>0.32909906321468141</c:v>
                </c:pt>
                <c:pt idx="1167">
                  <c:v>0.32971064397007271</c:v>
                </c:pt>
                <c:pt idx="1168">
                  <c:v>0.3307101580197449</c:v>
                </c:pt>
                <c:pt idx="1169">
                  <c:v>0.33115724118492768</c:v>
                </c:pt>
                <c:pt idx="1170">
                  <c:v>0.33247501122060724</c:v>
                </c:pt>
                <c:pt idx="1171">
                  <c:v>0.33289304839141681</c:v>
                </c:pt>
                <c:pt idx="1172">
                  <c:v>0.33291334202506911</c:v>
                </c:pt>
                <c:pt idx="1173">
                  <c:v>0.33238468514703401</c:v>
                </c:pt>
                <c:pt idx="1174">
                  <c:v>0.3322183659081912</c:v>
                </c:pt>
                <c:pt idx="1175">
                  <c:v>0.33264774107333933</c:v>
                </c:pt>
                <c:pt idx="1176">
                  <c:v>0.3326142253378081</c:v>
                </c:pt>
                <c:pt idx="1177">
                  <c:v>0.33027614473471056</c:v>
                </c:pt>
                <c:pt idx="1178">
                  <c:v>0.32697586382852944</c:v>
                </c:pt>
                <c:pt idx="1179">
                  <c:v>0.32573911028695379</c:v>
                </c:pt>
                <c:pt idx="1180">
                  <c:v>0.32534488078564983</c:v>
                </c:pt>
                <c:pt idx="1181">
                  <c:v>0.32633474806667978</c:v>
                </c:pt>
                <c:pt idx="1182">
                  <c:v>0.32620179249497105</c:v>
                </c:pt>
                <c:pt idx="1183">
                  <c:v>0.32598132892656884</c:v>
                </c:pt>
                <c:pt idx="1184">
                  <c:v>0.32516022234030534</c:v>
                </c:pt>
                <c:pt idx="1185">
                  <c:v>0.32654502730603496</c:v>
                </c:pt>
                <c:pt idx="1186">
                  <c:v>0.3279024809998568</c:v>
                </c:pt>
                <c:pt idx="1187">
                  <c:v>0.32739129638781755</c:v>
                </c:pt>
                <c:pt idx="1188">
                  <c:v>0.32624709594479617</c:v>
                </c:pt>
                <c:pt idx="1189">
                  <c:v>0.32418624201623047</c:v>
                </c:pt>
                <c:pt idx="1190">
                  <c:v>0.32703981261875015</c:v>
                </c:pt>
                <c:pt idx="1191">
                  <c:v>0.32617419201832887</c:v>
                </c:pt>
                <c:pt idx="1192">
                  <c:v>0.31613540965222064</c:v>
                </c:pt>
                <c:pt idx="1193">
                  <c:v>0.31269559207275882</c:v>
                </c:pt>
                <c:pt idx="1194">
                  <c:v>0.31210842050523974</c:v>
                </c:pt>
                <c:pt idx="1195">
                  <c:v>0.31247376230285817</c:v>
                </c:pt>
                <c:pt idx="1196">
                  <c:v>0.31227406589457812</c:v>
                </c:pt>
                <c:pt idx="1197">
                  <c:v>0.31225827485784868</c:v>
                </c:pt>
                <c:pt idx="1198">
                  <c:v>0.31219886222020299</c:v>
                </c:pt>
                <c:pt idx="1199">
                  <c:v>0.3121293106646561</c:v>
                </c:pt>
                <c:pt idx="1200">
                  <c:v>0.31218072385225243</c:v>
                </c:pt>
                <c:pt idx="1201">
                  <c:v>0.31364693020774864</c:v>
                </c:pt>
                <c:pt idx="1202">
                  <c:v>0.31251682995725211</c:v>
                </c:pt>
                <c:pt idx="1203">
                  <c:v>0.31227293682172763</c:v>
                </c:pt>
                <c:pt idx="1204">
                  <c:v>0.31174301659012993</c:v>
                </c:pt>
                <c:pt idx="1205">
                  <c:v>0.31193405547962072</c:v>
                </c:pt>
                <c:pt idx="1206">
                  <c:v>0.31166553024127042</c:v>
                </c:pt>
                <c:pt idx="1207">
                  <c:v>0.3062417224672187</c:v>
                </c:pt>
                <c:pt idx="1208">
                  <c:v>0.30501569214222607</c:v>
                </c:pt>
                <c:pt idx="1209">
                  <c:v>0.30238009197562665</c:v>
                </c:pt>
                <c:pt idx="1210">
                  <c:v>0.30204212663593571</c:v>
                </c:pt>
                <c:pt idx="1211">
                  <c:v>0.30211294263923272</c:v>
                </c:pt>
                <c:pt idx="1212">
                  <c:v>0.30130158983228161</c:v>
                </c:pt>
                <c:pt idx="1213">
                  <c:v>0.29964987948262578</c:v>
                </c:pt>
                <c:pt idx="1214">
                  <c:v>0.29877653927545511</c:v>
                </c:pt>
                <c:pt idx="1215">
                  <c:v>0.29651818534484709</c:v>
                </c:pt>
                <c:pt idx="1216">
                  <c:v>0.2955967276166872</c:v>
                </c:pt>
                <c:pt idx="1217">
                  <c:v>0.29553980835638177</c:v>
                </c:pt>
                <c:pt idx="1218">
                  <c:v>0.29374500022397526</c:v>
                </c:pt>
                <c:pt idx="1219">
                  <c:v>0.2936404494460248</c:v>
                </c:pt>
                <c:pt idx="1220">
                  <c:v>0.29364192886016954</c:v>
                </c:pt>
                <c:pt idx="1221">
                  <c:v>0.29396947130239104</c:v>
                </c:pt>
                <c:pt idx="1222">
                  <c:v>0.29384806387622658</c:v>
                </c:pt>
                <c:pt idx="1223">
                  <c:v>0.29379532094428906</c:v>
                </c:pt>
                <c:pt idx="1224">
                  <c:v>0.29371298961229636</c:v>
                </c:pt>
                <c:pt idx="1225">
                  <c:v>0.29181636807800171</c:v>
                </c:pt>
                <c:pt idx="1226">
                  <c:v>0.28436496131076883</c:v>
                </c:pt>
                <c:pt idx="1227">
                  <c:v>0.28110106157645343</c:v>
                </c:pt>
                <c:pt idx="1228">
                  <c:v>0.27783854389042595</c:v>
                </c:pt>
                <c:pt idx="1229">
                  <c:v>0.27919760419198197</c:v>
                </c:pt>
                <c:pt idx="1230">
                  <c:v>0.27440319011892161</c:v>
                </c:pt>
                <c:pt idx="1231">
                  <c:v>0.27493512471485354</c:v>
                </c:pt>
                <c:pt idx="1232">
                  <c:v>0.27593389753787317</c:v>
                </c:pt>
                <c:pt idx="1233">
                  <c:v>0.27581178443553839</c:v>
                </c:pt>
                <c:pt idx="1234">
                  <c:v>0.27551611723335878</c:v>
                </c:pt>
                <c:pt idx="1235">
                  <c:v>0.27559683863908563</c:v>
                </c:pt>
                <c:pt idx="1236">
                  <c:v>0.27441576130397982</c:v>
                </c:pt>
                <c:pt idx="1237">
                  <c:v>0.27428975426961655</c:v>
                </c:pt>
                <c:pt idx="1238">
                  <c:v>0.27489295978820794</c:v>
                </c:pt>
                <c:pt idx="1239">
                  <c:v>0.27496472209374384</c:v>
                </c:pt>
                <c:pt idx="1240">
                  <c:v>0.27476713040548889</c:v>
                </c:pt>
                <c:pt idx="1241">
                  <c:v>0.2749545261768811</c:v>
                </c:pt>
                <c:pt idx="1242">
                  <c:v>0.27464315252884114</c:v>
                </c:pt>
                <c:pt idx="1243">
                  <c:v>0.27414697767529611</c:v>
                </c:pt>
                <c:pt idx="1244">
                  <c:v>0.27439131359105734</c:v>
                </c:pt>
                <c:pt idx="1245">
                  <c:v>0.27377854371803789</c:v>
                </c:pt>
                <c:pt idx="1246">
                  <c:v>0.27327207071426324</c:v>
                </c:pt>
                <c:pt idx="1247">
                  <c:v>0.27287593986659425</c:v>
                </c:pt>
                <c:pt idx="1248">
                  <c:v>0.27253126245610054</c:v>
                </c:pt>
                <c:pt idx="1249">
                  <c:v>0.27149956948445092</c:v>
                </c:pt>
                <c:pt idx="1250">
                  <c:v>0.27116185104321811</c:v>
                </c:pt>
                <c:pt idx="1251">
                  <c:v>0.27103559736358473</c:v>
                </c:pt>
                <c:pt idx="1252">
                  <c:v>0.2713829119245294</c:v>
                </c:pt>
                <c:pt idx="1253">
                  <c:v>0.27040658032840292</c:v>
                </c:pt>
                <c:pt idx="1254">
                  <c:v>0.26969572793940144</c:v>
                </c:pt>
                <c:pt idx="1255">
                  <c:v>0.26946938794886044</c:v>
                </c:pt>
                <c:pt idx="1256">
                  <c:v>0.26911681731354165</c:v>
                </c:pt>
                <c:pt idx="1257">
                  <c:v>0.26921100285144872</c:v>
                </c:pt>
                <c:pt idx="1258">
                  <c:v>0.26913047698733983</c:v>
                </c:pt>
                <c:pt idx="1259">
                  <c:v>0.26879268648752902</c:v>
                </c:pt>
                <c:pt idx="1260">
                  <c:v>0.26740899010699609</c:v>
                </c:pt>
                <c:pt idx="1261">
                  <c:v>0.26743970903811654</c:v>
                </c:pt>
                <c:pt idx="1262">
                  <c:v>0.26542108985613361</c:v>
                </c:pt>
                <c:pt idx="1263">
                  <c:v>0.26535570876825748</c:v>
                </c:pt>
                <c:pt idx="1264">
                  <c:v>0.26377285913410048</c:v>
                </c:pt>
                <c:pt idx="1265">
                  <c:v>0.2626211304990716</c:v>
                </c:pt>
                <c:pt idx="1266">
                  <c:v>0.26369298415638598</c:v>
                </c:pt>
                <c:pt idx="1267">
                  <c:v>0.26382154690015264</c:v>
                </c:pt>
                <c:pt idx="1268">
                  <c:v>0.25768927231905092</c:v>
                </c:pt>
                <c:pt idx="1269">
                  <c:v>0.25842190535836052</c:v>
                </c:pt>
                <c:pt idx="1270">
                  <c:v>0.25727891299160699</c:v>
                </c:pt>
                <c:pt idx="1271">
                  <c:v>0.25653992633948058</c:v>
                </c:pt>
                <c:pt idx="1272">
                  <c:v>0.25573834191606115</c:v>
                </c:pt>
                <c:pt idx="1273">
                  <c:v>0.25626642018310508</c:v>
                </c:pt>
                <c:pt idx="1274">
                  <c:v>0.25522426068324344</c:v>
                </c:pt>
                <c:pt idx="1275">
                  <c:v>0.25532787378851229</c:v>
                </c:pt>
                <c:pt idx="1276">
                  <c:v>0.25249856800383058</c:v>
                </c:pt>
                <c:pt idx="1277">
                  <c:v>0.25184884339617675</c:v>
                </c:pt>
                <c:pt idx="1278">
                  <c:v>0.25348531784509037</c:v>
                </c:pt>
                <c:pt idx="1279">
                  <c:v>0.25328772747962891</c:v>
                </c:pt>
                <c:pt idx="1280">
                  <c:v>0.25345404526294879</c:v>
                </c:pt>
                <c:pt idx="1281">
                  <c:v>0.25363808317492037</c:v>
                </c:pt>
                <c:pt idx="1282">
                  <c:v>0.25380703368818114</c:v>
                </c:pt>
                <c:pt idx="1283">
                  <c:v>0.25356816405472515</c:v>
                </c:pt>
                <c:pt idx="1284">
                  <c:v>0.25361770204383099</c:v>
                </c:pt>
                <c:pt idx="1285">
                  <c:v>0.25308770992065505</c:v>
                </c:pt>
                <c:pt idx="1286">
                  <c:v>0.2531162203166954</c:v>
                </c:pt>
                <c:pt idx="1287">
                  <c:v>0.25389548895585395</c:v>
                </c:pt>
                <c:pt idx="1288">
                  <c:v>0.25343914441627952</c:v>
                </c:pt>
                <c:pt idx="1289">
                  <c:v>0.25335469063009114</c:v>
                </c:pt>
                <c:pt idx="1290">
                  <c:v>0.2540932788573611</c:v>
                </c:pt>
                <c:pt idx="1291">
                  <c:v>0.25466799211704971</c:v>
                </c:pt>
                <c:pt idx="1292">
                  <c:v>0.25467720819271522</c:v>
                </c:pt>
                <c:pt idx="1293">
                  <c:v>0.25289134652648693</c:v>
                </c:pt>
                <c:pt idx="1294">
                  <c:v>0.25316440009365443</c:v>
                </c:pt>
                <c:pt idx="1295">
                  <c:v>0.25303713189271748</c:v>
                </c:pt>
                <c:pt idx="1296">
                  <c:v>0.25231083234084889</c:v>
                </c:pt>
                <c:pt idx="1297">
                  <c:v>0.25100702644567147</c:v>
                </c:pt>
                <c:pt idx="1298">
                  <c:v>0.25081374005816204</c:v>
                </c:pt>
                <c:pt idx="1299">
                  <c:v>0.25035224913287923</c:v>
                </c:pt>
                <c:pt idx="1300">
                  <c:v>0.24872146698951042</c:v>
                </c:pt>
                <c:pt idx="1301">
                  <c:v>0.24914859493015956</c:v>
                </c:pt>
                <c:pt idx="1302">
                  <c:v>0.24941801134632816</c:v>
                </c:pt>
                <c:pt idx="1303">
                  <c:v>0.24916084367864</c:v>
                </c:pt>
                <c:pt idx="1304">
                  <c:v>0.24919709363183185</c:v>
                </c:pt>
                <c:pt idx="1305">
                  <c:v>0.25034644108609799</c:v>
                </c:pt>
                <c:pt idx="1306">
                  <c:v>0.24960041586936191</c:v>
                </c:pt>
                <c:pt idx="1307">
                  <c:v>0.24975948446351678</c:v>
                </c:pt>
                <c:pt idx="1308">
                  <c:v>0.2499470462299305</c:v>
                </c:pt>
                <c:pt idx="1309">
                  <c:v>0.24909783786793335</c:v>
                </c:pt>
                <c:pt idx="1310">
                  <c:v>0.24836928056181506</c:v>
                </c:pt>
                <c:pt idx="1311">
                  <c:v>0.24848025495953852</c:v>
                </c:pt>
                <c:pt idx="1312">
                  <c:v>0.24893804977990694</c:v>
                </c:pt>
                <c:pt idx="1313">
                  <c:v>0.24854058530146786</c:v>
                </c:pt>
                <c:pt idx="1314">
                  <c:v>0.2487057312316768</c:v>
                </c:pt>
                <c:pt idx="1315">
                  <c:v>0.24874391323016887</c:v>
                </c:pt>
                <c:pt idx="1316">
                  <c:v>0.2484255296419271</c:v>
                </c:pt>
                <c:pt idx="1317">
                  <c:v>0.2487094290447765</c:v>
                </c:pt>
                <c:pt idx="1318">
                  <c:v>0.24802505518487361</c:v>
                </c:pt>
                <c:pt idx="1319">
                  <c:v>0.24836373153520497</c:v>
                </c:pt>
                <c:pt idx="1320">
                  <c:v>0.25071335714685639</c:v>
                </c:pt>
                <c:pt idx="1321">
                  <c:v>0.25074719345829205</c:v>
                </c:pt>
                <c:pt idx="1322">
                  <c:v>0.25215097684024357</c:v>
                </c:pt>
                <c:pt idx="1323">
                  <c:v>0.25216447287656779</c:v>
                </c:pt>
                <c:pt idx="1324">
                  <c:v>0.25249890430258304</c:v>
                </c:pt>
                <c:pt idx="1325">
                  <c:v>0.25225464072969395</c:v>
                </c:pt>
                <c:pt idx="1326">
                  <c:v>0.25198413010833626</c:v>
                </c:pt>
                <c:pt idx="1327">
                  <c:v>0.25227579401056888</c:v>
                </c:pt>
                <c:pt idx="1328">
                  <c:v>0.25238130072412507</c:v>
                </c:pt>
                <c:pt idx="1329">
                  <c:v>0.25087909575854689</c:v>
                </c:pt>
                <c:pt idx="1330">
                  <c:v>0.24980911785476292</c:v>
                </c:pt>
                <c:pt idx="1331">
                  <c:v>0.2503154137242215</c:v>
                </c:pt>
                <c:pt idx="1332">
                  <c:v>0.25037371810534609</c:v>
                </c:pt>
                <c:pt idx="1333">
                  <c:v>0.24928810357505743</c:v>
                </c:pt>
                <c:pt idx="1334">
                  <c:v>0.2462912326257852</c:v>
                </c:pt>
                <c:pt idx="1335">
                  <c:v>0.24653560100622327</c:v>
                </c:pt>
                <c:pt idx="1336">
                  <c:v>0.24612553228840789</c:v>
                </c:pt>
                <c:pt idx="1337">
                  <c:v>0.2457785773470437</c:v>
                </c:pt>
                <c:pt idx="1338">
                  <c:v>0.24500780068646988</c:v>
                </c:pt>
                <c:pt idx="1339">
                  <c:v>0.24499002186473318</c:v>
                </c:pt>
                <c:pt idx="1340">
                  <c:v>0.24499761169469103</c:v>
                </c:pt>
                <c:pt idx="1341">
                  <c:v>0.24508874900853747</c:v>
                </c:pt>
                <c:pt idx="1342">
                  <c:v>0.24452416612253966</c:v>
                </c:pt>
                <c:pt idx="1343">
                  <c:v>0.24495850939685801</c:v>
                </c:pt>
                <c:pt idx="1344">
                  <c:v>0.24515803972396991</c:v>
                </c:pt>
                <c:pt idx="1345">
                  <c:v>0.24572960430241034</c:v>
                </c:pt>
                <c:pt idx="1346">
                  <c:v>0.24635726264528615</c:v>
                </c:pt>
                <c:pt idx="1347">
                  <c:v>0.24641458006748693</c:v>
                </c:pt>
                <c:pt idx="1348">
                  <c:v>0.24718769035130653</c:v>
                </c:pt>
                <c:pt idx="1349">
                  <c:v>0.24784493855068004</c:v>
                </c:pt>
                <c:pt idx="1350">
                  <c:v>0.24770247880639157</c:v>
                </c:pt>
                <c:pt idx="1351">
                  <c:v>0.25087729331118719</c:v>
                </c:pt>
                <c:pt idx="1352">
                  <c:v>0.25167951390257948</c:v>
                </c:pt>
                <c:pt idx="1353">
                  <c:v>0.25178451506835114</c:v>
                </c:pt>
                <c:pt idx="1354">
                  <c:v>0.24913690222100329</c:v>
                </c:pt>
                <c:pt idx="1355">
                  <c:v>0.24411254410739594</c:v>
                </c:pt>
                <c:pt idx="1356">
                  <c:v>0.24477672573266851</c:v>
                </c:pt>
                <c:pt idx="1357">
                  <c:v>0.24477051924770341</c:v>
                </c:pt>
                <c:pt idx="1358">
                  <c:v>0.24469558933597282</c:v>
                </c:pt>
                <c:pt idx="1359">
                  <c:v>0.24479269513631471</c:v>
                </c:pt>
                <c:pt idx="1360">
                  <c:v>0.24456114857224182</c:v>
                </c:pt>
                <c:pt idx="1361">
                  <c:v>0.24447173338092512</c:v>
                </c:pt>
                <c:pt idx="1362">
                  <c:v>0.24342440955554387</c:v>
                </c:pt>
                <c:pt idx="1363">
                  <c:v>0.24336648361637711</c:v>
                </c:pt>
                <c:pt idx="1364">
                  <c:v>0.24336960047991926</c:v>
                </c:pt>
                <c:pt idx="1365">
                  <c:v>0.24338652380678408</c:v>
                </c:pt>
                <c:pt idx="1366">
                  <c:v>0.24309562959416126</c:v>
                </c:pt>
                <c:pt idx="1367">
                  <c:v>0.24006186456106576</c:v>
                </c:pt>
                <c:pt idx="1368">
                  <c:v>0.23926450030409924</c:v>
                </c:pt>
                <c:pt idx="1369">
                  <c:v>0.23918176594379953</c:v>
                </c:pt>
                <c:pt idx="1370">
                  <c:v>0.23817447834224445</c:v>
                </c:pt>
                <c:pt idx="1371">
                  <c:v>0.23585407521997792</c:v>
                </c:pt>
                <c:pt idx="1372">
                  <c:v>0.23609168671959377</c:v>
                </c:pt>
                <c:pt idx="1373">
                  <c:v>0.23563704905162822</c:v>
                </c:pt>
                <c:pt idx="1374">
                  <c:v>0.23454977256208995</c:v>
                </c:pt>
                <c:pt idx="1375">
                  <c:v>0.23435732885925556</c:v>
                </c:pt>
                <c:pt idx="1376">
                  <c:v>0.23360881312108583</c:v>
                </c:pt>
                <c:pt idx="1377">
                  <c:v>0.2335523523711554</c:v>
                </c:pt>
                <c:pt idx="1378">
                  <c:v>0.23204671146520844</c:v>
                </c:pt>
                <c:pt idx="1379">
                  <c:v>0.23052293646561237</c:v>
                </c:pt>
                <c:pt idx="1380">
                  <c:v>0.23038198272671129</c:v>
                </c:pt>
                <c:pt idx="1381">
                  <c:v>0.23080793342124284</c:v>
                </c:pt>
                <c:pt idx="1382">
                  <c:v>0.23081387278877244</c:v>
                </c:pt>
                <c:pt idx="1383">
                  <c:v>0.23065344428178089</c:v>
                </c:pt>
                <c:pt idx="1384">
                  <c:v>0.23046181302299756</c:v>
                </c:pt>
                <c:pt idx="1385">
                  <c:v>0.23030457370706722</c:v>
                </c:pt>
                <c:pt idx="1386">
                  <c:v>0.22975774290440559</c:v>
                </c:pt>
                <c:pt idx="1387">
                  <c:v>0.2296627705971763</c:v>
                </c:pt>
                <c:pt idx="1388">
                  <c:v>0.2292536421253546</c:v>
                </c:pt>
                <c:pt idx="1389">
                  <c:v>0.2291488915412013</c:v>
                </c:pt>
                <c:pt idx="1390">
                  <c:v>0.22844741065458449</c:v>
                </c:pt>
                <c:pt idx="1391">
                  <c:v>0.228485620154004</c:v>
                </c:pt>
                <c:pt idx="1392">
                  <c:v>0.22857961267254981</c:v>
                </c:pt>
                <c:pt idx="1393">
                  <c:v>0.22869596022955502</c:v>
                </c:pt>
                <c:pt idx="1394">
                  <c:v>0.2291486744902175</c:v>
                </c:pt>
                <c:pt idx="1395">
                  <c:v>0.2288515693377777</c:v>
                </c:pt>
                <c:pt idx="1396">
                  <c:v>0.22858751696249752</c:v>
                </c:pt>
                <c:pt idx="1397">
                  <c:v>0.22872474711956914</c:v>
                </c:pt>
                <c:pt idx="1398">
                  <c:v>0.2277672370072242</c:v>
                </c:pt>
                <c:pt idx="1399">
                  <c:v>0.22725123008110998</c:v>
                </c:pt>
                <c:pt idx="1400">
                  <c:v>0.22714325677131172</c:v>
                </c:pt>
                <c:pt idx="1401">
                  <c:v>0.22704001263505222</c:v>
                </c:pt>
                <c:pt idx="1402">
                  <c:v>0.22691898904394961</c:v>
                </c:pt>
                <c:pt idx="1403">
                  <c:v>0.22747449437955072</c:v>
                </c:pt>
                <c:pt idx="1404">
                  <c:v>0.22705669489922314</c:v>
                </c:pt>
                <c:pt idx="1405">
                  <c:v>0.22712811600869171</c:v>
                </c:pt>
                <c:pt idx="1406">
                  <c:v>0.22176428506019</c:v>
                </c:pt>
                <c:pt idx="1407">
                  <c:v>0.21735328118163463</c:v>
                </c:pt>
                <c:pt idx="1408">
                  <c:v>0.21185698797681607</c:v>
                </c:pt>
                <c:pt idx="1409">
                  <c:v>0.21182789669445878</c:v>
                </c:pt>
                <c:pt idx="1410">
                  <c:v>0.21203167205652665</c:v>
                </c:pt>
                <c:pt idx="1411">
                  <c:v>0.21231095008718706</c:v>
                </c:pt>
                <c:pt idx="1412">
                  <c:v>0.21230640923931957</c:v>
                </c:pt>
                <c:pt idx="1413">
                  <c:v>0.21239493475014809</c:v>
                </c:pt>
                <c:pt idx="1414">
                  <c:v>0.2120346034492368</c:v>
                </c:pt>
                <c:pt idx="1415">
                  <c:v>0.21175605385084051</c:v>
                </c:pt>
                <c:pt idx="1416">
                  <c:v>0.21129455896135482</c:v>
                </c:pt>
                <c:pt idx="1417">
                  <c:v>0.21128062413665993</c:v>
                </c:pt>
                <c:pt idx="1418">
                  <c:v>0.21122375108288693</c:v>
                </c:pt>
                <c:pt idx="1419">
                  <c:v>0.21122278457957952</c:v>
                </c:pt>
                <c:pt idx="1420">
                  <c:v>0.20951813137102238</c:v>
                </c:pt>
                <c:pt idx="1421">
                  <c:v>0.20946899517299825</c:v>
                </c:pt>
                <c:pt idx="1422">
                  <c:v>0.20908226609196132</c:v>
                </c:pt>
                <c:pt idx="1423">
                  <c:v>0.20866823650272109</c:v>
                </c:pt>
                <c:pt idx="1424">
                  <c:v>0.20869993743045664</c:v>
                </c:pt>
                <c:pt idx="1425">
                  <c:v>0.20941454543742843</c:v>
                </c:pt>
                <c:pt idx="1426">
                  <c:v>0.21042288530468151</c:v>
                </c:pt>
                <c:pt idx="1427">
                  <c:v>0.20961537416364173</c:v>
                </c:pt>
                <c:pt idx="1428">
                  <c:v>0.20993609388830808</c:v>
                </c:pt>
                <c:pt idx="1429">
                  <c:v>0.21299019260764732</c:v>
                </c:pt>
                <c:pt idx="1430">
                  <c:v>0.21143055670103561</c:v>
                </c:pt>
                <c:pt idx="1431">
                  <c:v>0.21243549981945989</c:v>
                </c:pt>
                <c:pt idx="1432">
                  <c:v>0.21617242978285139</c:v>
                </c:pt>
                <c:pt idx="1433">
                  <c:v>0.21818436930848453</c:v>
                </c:pt>
                <c:pt idx="1434">
                  <c:v>0.21812894099295532</c:v>
                </c:pt>
                <c:pt idx="1435">
                  <c:v>0.21863002314394606</c:v>
                </c:pt>
                <c:pt idx="1436">
                  <c:v>0.21866251247733323</c:v>
                </c:pt>
                <c:pt idx="1437">
                  <c:v>0.21867360242715961</c:v>
                </c:pt>
                <c:pt idx="1438">
                  <c:v>0.21866075276025135</c:v>
                </c:pt>
                <c:pt idx="1439">
                  <c:v>0.21841277476006507</c:v>
                </c:pt>
                <c:pt idx="1440">
                  <c:v>0.21878192534255367</c:v>
                </c:pt>
                <c:pt idx="1441">
                  <c:v>0.21904703949704266</c:v>
                </c:pt>
                <c:pt idx="1442">
                  <c:v>0.21897125973410614</c:v>
                </c:pt>
                <c:pt idx="1443">
                  <c:v>0.21875590477914786</c:v>
                </c:pt>
                <c:pt idx="1444">
                  <c:v>0.2205845848888652</c:v>
                </c:pt>
                <c:pt idx="1445">
                  <c:v>0.2236121359902831</c:v>
                </c:pt>
                <c:pt idx="1446">
                  <c:v>0.2218797946054599</c:v>
                </c:pt>
                <c:pt idx="1447">
                  <c:v>0.22125115764970588</c:v>
                </c:pt>
                <c:pt idx="1448">
                  <c:v>0.22145993908926262</c:v>
                </c:pt>
                <c:pt idx="1449">
                  <c:v>0.22117124767628338</c:v>
                </c:pt>
                <c:pt idx="1450">
                  <c:v>0.2210936408887855</c:v>
                </c:pt>
                <c:pt idx="1451">
                  <c:v>0.22097802515375417</c:v>
                </c:pt>
                <c:pt idx="1452">
                  <c:v>0.22091892387839915</c:v>
                </c:pt>
                <c:pt idx="1453">
                  <c:v>0.2211491127231163</c:v>
                </c:pt>
                <c:pt idx="1454">
                  <c:v>0.22159450099214789</c:v>
                </c:pt>
                <c:pt idx="1455">
                  <c:v>0.22164247612795987</c:v>
                </c:pt>
                <c:pt idx="1456">
                  <c:v>0.22112635107419898</c:v>
                </c:pt>
                <c:pt idx="1457">
                  <c:v>0.22042668071625568</c:v>
                </c:pt>
                <c:pt idx="1458">
                  <c:v>0.22078923731448191</c:v>
                </c:pt>
                <c:pt idx="1459">
                  <c:v>0.2227338807828867</c:v>
                </c:pt>
                <c:pt idx="1460">
                  <c:v>0.22361866590860421</c:v>
                </c:pt>
                <c:pt idx="1461">
                  <c:v>0.22604278437574923</c:v>
                </c:pt>
                <c:pt idx="1462">
                  <c:v>0.22725242534562354</c:v>
                </c:pt>
                <c:pt idx="1463">
                  <c:v>0.22748783305466264</c:v>
                </c:pt>
                <c:pt idx="1464">
                  <c:v>0.22650005509380228</c:v>
                </c:pt>
                <c:pt idx="1465">
                  <c:v>0.22738681354498788</c:v>
                </c:pt>
                <c:pt idx="1466">
                  <c:v>0.22747917204591142</c:v>
                </c:pt>
                <c:pt idx="1467">
                  <c:v>0.22791060066220944</c:v>
                </c:pt>
                <c:pt idx="1468">
                  <c:v>0.2286277759251828</c:v>
                </c:pt>
                <c:pt idx="1469">
                  <c:v>0.22868313558680978</c:v>
                </c:pt>
                <c:pt idx="1470">
                  <c:v>0.22997344350242296</c:v>
                </c:pt>
                <c:pt idx="1471">
                  <c:v>0.22976716126153088</c:v>
                </c:pt>
                <c:pt idx="1472">
                  <c:v>0.23002396645362899</c:v>
                </c:pt>
                <c:pt idx="1473">
                  <c:v>0.2280606546036042</c:v>
                </c:pt>
                <c:pt idx="1474">
                  <c:v>0.22810441208221913</c:v>
                </c:pt>
                <c:pt idx="1475">
                  <c:v>0.22710716208128098</c:v>
                </c:pt>
                <c:pt idx="1476">
                  <c:v>0.22637500239819036</c:v>
                </c:pt>
                <c:pt idx="1477">
                  <c:v>0.2260936601266241</c:v>
                </c:pt>
                <c:pt idx="1478">
                  <c:v>0.22691327858257895</c:v>
                </c:pt>
                <c:pt idx="1479">
                  <c:v>0.22526493943208889</c:v>
                </c:pt>
                <c:pt idx="1480">
                  <c:v>0.2259482313657549</c:v>
                </c:pt>
                <c:pt idx="1481">
                  <c:v>0.22335116252653595</c:v>
                </c:pt>
                <c:pt idx="1482">
                  <c:v>0.22812773422947327</c:v>
                </c:pt>
                <c:pt idx="1483">
                  <c:v>0.22718547086850549</c:v>
                </c:pt>
                <c:pt idx="1484">
                  <c:v>0.22551366666910883</c:v>
                </c:pt>
                <c:pt idx="1485">
                  <c:v>0.2255535827705854</c:v>
                </c:pt>
                <c:pt idx="1486">
                  <c:v>0.2252752779339243</c:v>
                </c:pt>
                <c:pt idx="1487">
                  <c:v>0.225385407957953</c:v>
                </c:pt>
                <c:pt idx="1488">
                  <c:v>0.22547980304270801</c:v>
                </c:pt>
                <c:pt idx="1489">
                  <c:v>0.22539722448497748</c:v>
                </c:pt>
                <c:pt idx="1490">
                  <c:v>0.22443605042856668</c:v>
                </c:pt>
                <c:pt idx="1491">
                  <c:v>0.22396167817658572</c:v>
                </c:pt>
                <c:pt idx="1492">
                  <c:v>0.22357044352864228</c:v>
                </c:pt>
                <c:pt idx="1493">
                  <c:v>0.22354037144291686</c:v>
                </c:pt>
                <c:pt idx="1494">
                  <c:v>0.22394593216486869</c:v>
                </c:pt>
                <c:pt idx="1495">
                  <c:v>0.22414379592768124</c:v>
                </c:pt>
                <c:pt idx="1496">
                  <c:v>0.22378154222025023</c:v>
                </c:pt>
                <c:pt idx="1497">
                  <c:v>0.22448919909948073</c:v>
                </c:pt>
                <c:pt idx="1498">
                  <c:v>0.22447644330082334</c:v>
                </c:pt>
                <c:pt idx="1499">
                  <c:v>0.22458736397089069</c:v>
                </c:pt>
                <c:pt idx="1500">
                  <c:v>0.22350258422431027</c:v>
                </c:pt>
                <c:pt idx="1501">
                  <c:v>0.22293521865540628</c:v>
                </c:pt>
                <c:pt idx="1502">
                  <c:v>0.22301327890529193</c:v>
                </c:pt>
                <c:pt idx="1503">
                  <c:v>0.22265492492220651</c:v>
                </c:pt>
                <c:pt idx="1504">
                  <c:v>0.2214590915422924</c:v>
                </c:pt>
                <c:pt idx="1505">
                  <c:v>0.22184916664565726</c:v>
                </c:pt>
                <c:pt idx="1506">
                  <c:v>0.22077624866099557</c:v>
                </c:pt>
                <c:pt idx="1507">
                  <c:v>0.22053752334357393</c:v>
                </c:pt>
                <c:pt idx="1508">
                  <c:v>0.22108184902545747</c:v>
                </c:pt>
                <c:pt idx="1509">
                  <c:v>0.22124135600478309</c:v>
                </c:pt>
                <c:pt idx="1510">
                  <c:v>0.22126369703502613</c:v>
                </c:pt>
                <c:pt idx="1511">
                  <c:v>0.22076086691937455</c:v>
                </c:pt>
                <c:pt idx="1512">
                  <c:v>0.22065695003350683</c:v>
                </c:pt>
                <c:pt idx="1513">
                  <c:v>0.22030662214108829</c:v>
                </c:pt>
                <c:pt idx="1514">
                  <c:v>0.22027501615239892</c:v>
                </c:pt>
                <c:pt idx="1515">
                  <c:v>0.22199959186415044</c:v>
                </c:pt>
                <c:pt idx="1516">
                  <c:v>0.2233064729557577</c:v>
                </c:pt>
                <c:pt idx="1517">
                  <c:v>0.22368515620573512</c:v>
                </c:pt>
                <c:pt idx="1518">
                  <c:v>0.22186506167117373</c:v>
                </c:pt>
                <c:pt idx="1519">
                  <c:v>0.22166868467421813</c:v>
                </c:pt>
                <c:pt idx="1520">
                  <c:v>0.22295336229073417</c:v>
                </c:pt>
                <c:pt idx="1521">
                  <c:v>0.22167209736695656</c:v>
                </c:pt>
                <c:pt idx="1522">
                  <c:v>0.22137782117544635</c:v>
                </c:pt>
                <c:pt idx="1523">
                  <c:v>0.2211519280232396</c:v>
                </c:pt>
                <c:pt idx="1524">
                  <c:v>0.22115092489061694</c:v>
                </c:pt>
                <c:pt idx="1525">
                  <c:v>0.22157737076020542</c:v>
                </c:pt>
                <c:pt idx="1526">
                  <c:v>0.22253050764310617</c:v>
                </c:pt>
                <c:pt idx="1527">
                  <c:v>0.21958189031406383</c:v>
                </c:pt>
                <c:pt idx="1528">
                  <c:v>0.22122540741255758</c:v>
                </c:pt>
                <c:pt idx="1529">
                  <c:v>0.22241818632626462</c:v>
                </c:pt>
                <c:pt idx="1530">
                  <c:v>0.22170349800395545</c:v>
                </c:pt>
                <c:pt idx="1531">
                  <c:v>0.22105026059491201</c:v>
                </c:pt>
                <c:pt idx="1532">
                  <c:v>0.22089770531732181</c:v>
                </c:pt>
                <c:pt idx="1533">
                  <c:v>0.22100001732965735</c:v>
                </c:pt>
                <c:pt idx="1534">
                  <c:v>0.22066435966073378</c:v>
                </c:pt>
                <c:pt idx="1535">
                  <c:v>0.22014449831965527</c:v>
                </c:pt>
                <c:pt idx="1536">
                  <c:v>0.21926023210333531</c:v>
                </c:pt>
                <c:pt idx="1537">
                  <c:v>0.21944194005532516</c:v>
                </c:pt>
                <c:pt idx="1538">
                  <c:v>0.21920159500954708</c:v>
                </c:pt>
                <c:pt idx="1539">
                  <c:v>0.21896438951084826</c:v>
                </c:pt>
                <c:pt idx="1540">
                  <c:v>0.21943582755789051</c:v>
                </c:pt>
                <c:pt idx="1541">
                  <c:v>0.2194250043249496</c:v>
                </c:pt>
                <c:pt idx="1542">
                  <c:v>0.21568767866097177</c:v>
                </c:pt>
                <c:pt idx="1543">
                  <c:v>0.20431349216296218</c:v>
                </c:pt>
                <c:pt idx="1544">
                  <c:v>0.20111832085915382</c:v>
                </c:pt>
                <c:pt idx="1545">
                  <c:v>0.20212577191929926</c:v>
                </c:pt>
                <c:pt idx="1546">
                  <c:v>0.20176018274852153</c:v>
                </c:pt>
                <c:pt idx="1547">
                  <c:v>0.20057986568234926</c:v>
                </c:pt>
                <c:pt idx="1548">
                  <c:v>0.20079404440443646</c:v>
                </c:pt>
                <c:pt idx="1549">
                  <c:v>0.20048184920630746</c:v>
                </c:pt>
                <c:pt idx="1550">
                  <c:v>0.20056602039523719</c:v>
                </c:pt>
                <c:pt idx="1551">
                  <c:v>0.20030280812380841</c:v>
                </c:pt>
                <c:pt idx="1552">
                  <c:v>0.20032026135300401</c:v>
                </c:pt>
                <c:pt idx="1553">
                  <c:v>0.20221709467904883</c:v>
                </c:pt>
                <c:pt idx="1554">
                  <c:v>0.20212995023913649</c:v>
                </c:pt>
                <c:pt idx="1555">
                  <c:v>0.20261608475673634</c:v>
                </c:pt>
                <c:pt idx="1556">
                  <c:v>0.2050207562551209</c:v>
                </c:pt>
                <c:pt idx="1557">
                  <c:v>0.20408998701102152</c:v>
                </c:pt>
                <c:pt idx="1558">
                  <c:v>0.20435351546004549</c:v>
                </c:pt>
                <c:pt idx="1559">
                  <c:v>0.20482666535943195</c:v>
                </c:pt>
                <c:pt idx="1560">
                  <c:v>0.20579909536541896</c:v>
                </c:pt>
                <c:pt idx="1561">
                  <c:v>0.20628769520609938</c:v>
                </c:pt>
                <c:pt idx="1562">
                  <c:v>0.20785539741713074</c:v>
                </c:pt>
                <c:pt idx="1563">
                  <c:v>0.20842617022497245</c:v>
                </c:pt>
                <c:pt idx="1564">
                  <c:v>0.20778169525432275</c:v>
                </c:pt>
                <c:pt idx="1565">
                  <c:v>0.20836731578651646</c:v>
                </c:pt>
                <c:pt idx="1566">
                  <c:v>0.20825670063513005</c:v>
                </c:pt>
                <c:pt idx="1567">
                  <c:v>0.20764418565876477</c:v>
                </c:pt>
                <c:pt idx="1568">
                  <c:v>0.20820768353148691</c:v>
                </c:pt>
                <c:pt idx="1569">
                  <c:v>0.20706599897624739</c:v>
                </c:pt>
                <c:pt idx="1570">
                  <c:v>0.20732625476322711</c:v>
                </c:pt>
                <c:pt idx="1571">
                  <c:v>0.20676287862011727</c:v>
                </c:pt>
                <c:pt idx="1572">
                  <c:v>0.20325378058125035</c:v>
                </c:pt>
                <c:pt idx="1573">
                  <c:v>0.20327531437156743</c:v>
                </c:pt>
                <c:pt idx="1574">
                  <c:v>0.2031811565263405</c:v>
                </c:pt>
                <c:pt idx="1575">
                  <c:v>0.20324502962290972</c:v>
                </c:pt>
                <c:pt idx="1576">
                  <c:v>0.20282260239194608</c:v>
                </c:pt>
                <c:pt idx="1577">
                  <c:v>0.2028195341228006</c:v>
                </c:pt>
                <c:pt idx="1578">
                  <c:v>0.20318148620630264</c:v>
                </c:pt>
                <c:pt idx="1579">
                  <c:v>0.20282556545310162</c:v>
                </c:pt>
                <c:pt idx="1580">
                  <c:v>0.20244286015847038</c:v>
                </c:pt>
                <c:pt idx="1581">
                  <c:v>0.20116007080491902</c:v>
                </c:pt>
                <c:pt idx="1582">
                  <c:v>0.20075538795767298</c:v>
                </c:pt>
                <c:pt idx="1583">
                  <c:v>0.20084439990373085</c:v>
                </c:pt>
                <c:pt idx="1584">
                  <c:v>0.20133174251214844</c:v>
                </c:pt>
                <c:pt idx="1585">
                  <c:v>0.20167233077105509</c:v>
                </c:pt>
                <c:pt idx="1586">
                  <c:v>0.20176084784233375</c:v>
                </c:pt>
                <c:pt idx="1587">
                  <c:v>0.20087628009612571</c:v>
                </c:pt>
                <c:pt idx="1588">
                  <c:v>0.20131179873028862</c:v>
                </c:pt>
                <c:pt idx="1589">
                  <c:v>0.20088103981338595</c:v>
                </c:pt>
                <c:pt idx="1590">
                  <c:v>0.20211467636775757</c:v>
                </c:pt>
                <c:pt idx="1591">
                  <c:v>0.20125010993786643</c:v>
                </c:pt>
                <c:pt idx="1592">
                  <c:v>0.20020793871190551</c:v>
                </c:pt>
                <c:pt idx="1593">
                  <c:v>0.19995835051642671</c:v>
                </c:pt>
                <c:pt idx="1594">
                  <c:v>0.20126369279754092</c:v>
                </c:pt>
                <c:pt idx="1595">
                  <c:v>0.20088582400614599</c:v>
                </c:pt>
                <c:pt idx="1596">
                  <c:v>0.20080164342459308</c:v>
                </c:pt>
                <c:pt idx="1597">
                  <c:v>0.20033517111955634</c:v>
                </c:pt>
                <c:pt idx="1598">
                  <c:v>0.20205531908698116</c:v>
                </c:pt>
                <c:pt idx="1599">
                  <c:v>0.20239192966275177</c:v>
                </c:pt>
                <c:pt idx="1600">
                  <c:v>0.2029464268612543</c:v>
                </c:pt>
                <c:pt idx="1601">
                  <c:v>0.20574720088539411</c:v>
                </c:pt>
                <c:pt idx="1602">
                  <c:v>0.20652856685301102</c:v>
                </c:pt>
                <c:pt idx="1603">
                  <c:v>0.20736608809495757</c:v>
                </c:pt>
                <c:pt idx="1604">
                  <c:v>0.21095547552374133</c:v>
                </c:pt>
                <c:pt idx="1605">
                  <c:v>0.21225967790755643</c:v>
                </c:pt>
                <c:pt idx="1606">
                  <c:v>0.21972967407405414</c:v>
                </c:pt>
                <c:pt idx="1607">
                  <c:v>0.22505578858702777</c:v>
                </c:pt>
                <c:pt idx="1608">
                  <c:v>0.22525180000983483</c:v>
                </c:pt>
                <c:pt idx="1609">
                  <c:v>0.22280910581157545</c:v>
                </c:pt>
                <c:pt idx="1610">
                  <c:v>0.22361319344353447</c:v>
                </c:pt>
                <c:pt idx="1611">
                  <c:v>0.22418181528846978</c:v>
                </c:pt>
                <c:pt idx="1612">
                  <c:v>0.22465630379944621</c:v>
                </c:pt>
                <c:pt idx="1613">
                  <c:v>0.22474879524766558</c:v>
                </c:pt>
                <c:pt idx="1614">
                  <c:v>0.22485452397961131</c:v>
                </c:pt>
                <c:pt idx="1615">
                  <c:v>0.22629689188419161</c:v>
                </c:pt>
                <c:pt idx="1616">
                  <c:v>0.22646567962573136</c:v>
                </c:pt>
                <c:pt idx="1617">
                  <c:v>0.22590747305436346</c:v>
                </c:pt>
                <c:pt idx="1618">
                  <c:v>0.22588727216114318</c:v>
                </c:pt>
                <c:pt idx="1619">
                  <c:v>0.22639740711345696</c:v>
                </c:pt>
                <c:pt idx="1620">
                  <c:v>0.22614298446917988</c:v>
                </c:pt>
                <c:pt idx="1621">
                  <c:v>0.22617426060158105</c:v>
                </c:pt>
                <c:pt idx="1622">
                  <c:v>0.22659616940169788</c:v>
                </c:pt>
                <c:pt idx="1623">
                  <c:v>0.2264133852661453</c:v>
                </c:pt>
                <c:pt idx="1624">
                  <c:v>0.22682444866020507</c:v>
                </c:pt>
                <c:pt idx="1625">
                  <c:v>0.226971018010383</c:v>
                </c:pt>
                <c:pt idx="1626">
                  <c:v>0.22705822772821529</c:v>
                </c:pt>
                <c:pt idx="1627">
                  <c:v>0.22770002768606892</c:v>
                </c:pt>
                <c:pt idx="1628">
                  <c:v>0.22801113361153313</c:v>
                </c:pt>
                <c:pt idx="1629">
                  <c:v>0.22765268795572899</c:v>
                </c:pt>
                <c:pt idx="1630">
                  <c:v>0.22878498439636236</c:v>
                </c:pt>
                <c:pt idx="1631">
                  <c:v>0.22881305740521324</c:v>
                </c:pt>
                <c:pt idx="1632">
                  <c:v>0.22883789421044751</c:v>
                </c:pt>
                <c:pt idx="1633">
                  <c:v>0.22776469444675584</c:v>
                </c:pt>
                <c:pt idx="1634">
                  <c:v>0.22762769121744633</c:v>
                </c:pt>
                <c:pt idx="1635">
                  <c:v>0.22794669599786346</c:v>
                </c:pt>
                <c:pt idx="1636">
                  <c:v>0.22795828133105858</c:v>
                </c:pt>
                <c:pt idx="1637">
                  <c:v>0.22672582049499235</c:v>
                </c:pt>
                <c:pt idx="1638">
                  <c:v>0.22804175745912089</c:v>
                </c:pt>
                <c:pt idx="1639">
                  <c:v>0.23012016780049863</c:v>
                </c:pt>
                <c:pt idx="1640">
                  <c:v>0.22988479618649937</c:v>
                </c:pt>
                <c:pt idx="1641">
                  <c:v>0.22993493844748808</c:v>
                </c:pt>
                <c:pt idx="1642">
                  <c:v>0.22959293414769039</c:v>
                </c:pt>
                <c:pt idx="1643">
                  <c:v>0.22775396378426951</c:v>
                </c:pt>
                <c:pt idx="1644">
                  <c:v>0.22704641390305094</c:v>
                </c:pt>
                <c:pt idx="1645">
                  <c:v>0.22927564682432222</c:v>
                </c:pt>
                <c:pt idx="1646">
                  <c:v>0.23088127587802976</c:v>
                </c:pt>
                <c:pt idx="1647">
                  <c:v>0.23089311829785716</c:v>
                </c:pt>
                <c:pt idx="1648">
                  <c:v>0.23086209787918419</c:v>
                </c:pt>
                <c:pt idx="1649">
                  <c:v>0.23035853681724527</c:v>
                </c:pt>
                <c:pt idx="1650">
                  <c:v>0.23526602099615399</c:v>
                </c:pt>
                <c:pt idx="1651">
                  <c:v>0.23483044762957189</c:v>
                </c:pt>
                <c:pt idx="1652">
                  <c:v>0.23481958826961843</c:v>
                </c:pt>
                <c:pt idx="1653">
                  <c:v>0.23406442945102438</c:v>
                </c:pt>
                <c:pt idx="1654">
                  <c:v>0.23379842426667924</c:v>
                </c:pt>
                <c:pt idx="1655">
                  <c:v>0.23317868391584726</c:v>
                </c:pt>
                <c:pt idx="1656">
                  <c:v>0.23306600381741593</c:v>
                </c:pt>
                <c:pt idx="1657">
                  <c:v>0.23290091397891016</c:v>
                </c:pt>
                <c:pt idx="1658">
                  <c:v>0.23345756403107573</c:v>
                </c:pt>
                <c:pt idx="1659">
                  <c:v>0.23374262012377844</c:v>
                </c:pt>
                <c:pt idx="1660">
                  <c:v>0.2320570045937306</c:v>
                </c:pt>
                <c:pt idx="1661">
                  <c:v>0.23343293613602334</c:v>
                </c:pt>
                <c:pt idx="1662">
                  <c:v>0.23334217108609429</c:v>
                </c:pt>
                <c:pt idx="1663">
                  <c:v>0.23409878090300237</c:v>
                </c:pt>
                <c:pt idx="1664">
                  <c:v>0.23528991802790311</c:v>
                </c:pt>
                <c:pt idx="1665">
                  <c:v>0.23607816485370506</c:v>
                </c:pt>
                <c:pt idx="1666">
                  <c:v>0.23589289319151555</c:v>
                </c:pt>
                <c:pt idx="1667">
                  <c:v>0.23643564777912313</c:v>
                </c:pt>
                <c:pt idx="1668">
                  <c:v>0.23672674656494469</c:v>
                </c:pt>
                <c:pt idx="1669">
                  <c:v>0.2373091632861917</c:v>
                </c:pt>
                <c:pt idx="1670">
                  <c:v>0.23711037347897837</c:v>
                </c:pt>
                <c:pt idx="1671">
                  <c:v>0.236579745705778</c:v>
                </c:pt>
                <c:pt idx="1672">
                  <c:v>0.23779535042919026</c:v>
                </c:pt>
                <c:pt idx="1673">
                  <c:v>0.23773908189874793</c:v>
                </c:pt>
                <c:pt idx="1674">
                  <c:v>0.23832564059130321</c:v>
                </c:pt>
                <c:pt idx="1675">
                  <c:v>0.24128548570868094</c:v>
                </c:pt>
                <c:pt idx="1676">
                  <c:v>0.24072957504095296</c:v>
                </c:pt>
                <c:pt idx="1677">
                  <c:v>0.24529277679897418</c:v>
                </c:pt>
                <c:pt idx="1678">
                  <c:v>0.24649958681040227</c:v>
                </c:pt>
                <c:pt idx="1679">
                  <c:v>0.24817924760217142</c:v>
                </c:pt>
                <c:pt idx="1680">
                  <c:v>0.24821815412779608</c:v>
                </c:pt>
                <c:pt idx="1681">
                  <c:v>0.24573263012243185</c:v>
                </c:pt>
                <c:pt idx="1682">
                  <c:v>0.24890031506177074</c:v>
                </c:pt>
                <c:pt idx="1683">
                  <c:v>0.24866837565337457</c:v>
                </c:pt>
                <c:pt idx="1684">
                  <c:v>0.24588095572279264</c:v>
                </c:pt>
                <c:pt idx="1685">
                  <c:v>0.24436628601481508</c:v>
                </c:pt>
                <c:pt idx="1686">
                  <c:v>0.24469976363655524</c:v>
                </c:pt>
                <c:pt idx="1687">
                  <c:v>0.24419835424298894</c:v>
                </c:pt>
                <c:pt idx="1688">
                  <c:v>0.24449868488147844</c:v>
                </c:pt>
                <c:pt idx="1689">
                  <c:v>0.24451940544889197</c:v>
                </c:pt>
                <c:pt idx="1690">
                  <c:v>0.24445018001786936</c:v>
                </c:pt>
                <c:pt idx="1691">
                  <c:v>0.24482171075117681</c:v>
                </c:pt>
                <c:pt idx="1692">
                  <c:v>0.24450115046534776</c:v>
                </c:pt>
                <c:pt idx="1693">
                  <c:v>0.2447236085901662</c:v>
                </c:pt>
                <c:pt idx="1694">
                  <c:v>0.24470667184719372</c:v>
                </c:pt>
                <c:pt idx="1695">
                  <c:v>0.24561653193753774</c:v>
                </c:pt>
                <c:pt idx="1696">
                  <c:v>0.2458176510677251</c:v>
                </c:pt>
                <c:pt idx="1697">
                  <c:v>0.24543416373852561</c:v>
                </c:pt>
                <c:pt idx="1698">
                  <c:v>0.24536282816676588</c:v>
                </c:pt>
                <c:pt idx="1699">
                  <c:v>0.24563632800622603</c:v>
                </c:pt>
                <c:pt idx="1700">
                  <c:v>0.24578817472455894</c:v>
                </c:pt>
                <c:pt idx="1701">
                  <c:v>0.24563500852921327</c:v>
                </c:pt>
                <c:pt idx="1702">
                  <c:v>0.24572208385698516</c:v>
                </c:pt>
                <c:pt idx="1703">
                  <c:v>0.2462234892142123</c:v>
                </c:pt>
                <c:pt idx="1704">
                  <c:v>0.24630081109840254</c:v>
                </c:pt>
                <c:pt idx="1705">
                  <c:v>0.24690613687166849</c:v>
                </c:pt>
                <c:pt idx="1706">
                  <c:v>0.24700606130496364</c:v>
                </c:pt>
                <c:pt idx="1707">
                  <c:v>0.24800774152493174</c:v>
                </c:pt>
                <c:pt idx="1708">
                  <c:v>0.24925388993100261</c:v>
                </c:pt>
                <c:pt idx="1709">
                  <c:v>0.25053536000965271</c:v>
                </c:pt>
                <c:pt idx="1710">
                  <c:v>0.25051341987511794</c:v>
                </c:pt>
                <c:pt idx="1711">
                  <c:v>0.25023308345574569</c:v>
                </c:pt>
                <c:pt idx="1712">
                  <c:v>0.25040700435288477</c:v>
                </c:pt>
                <c:pt idx="1713">
                  <c:v>0.24924577372893633</c:v>
                </c:pt>
                <c:pt idx="1714">
                  <c:v>0.248999242961773</c:v>
                </c:pt>
                <c:pt idx="1715">
                  <c:v>0.2489347446366228</c:v>
                </c:pt>
                <c:pt idx="1716">
                  <c:v>0.24915413739113054</c:v>
                </c:pt>
                <c:pt idx="1717">
                  <c:v>0.24896284742924088</c:v>
                </c:pt>
                <c:pt idx="1718">
                  <c:v>0.24867277716588382</c:v>
                </c:pt>
                <c:pt idx="1719">
                  <c:v>0.24849394442490216</c:v>
                </c:pt>
                <c:pt idx="1720">
                  <c:v>0.24818396864351591</c:v>
                </c:pt>
                <c:pt idx="1721">
                  <c:v>0.24790830641185618</c:v>
                </c:pt>
                <c:pt idx="1722">
                  <c:v>0.24779841304731615</c:v>
                </c:pt>
                <c:pt idx="1723">
                  <c:v>0.24798561575872063</c:v>
                </c:pt>
                <c:pt idx="1724">
                  <c:v>0.24782101506660276</c:v>
                </c:pt>
                <c:pt idx="1725">
                  <c:v>0.24884215718410499</c:v>
                </c:pt>
                <c:pt idx="1726">
                  <c:v>0.2490904267632075</c:v>
                </c:pt>
                <c:pt idx="1727">
                  <c:v>0.2502575743011024</c:v>
                </c:pt>
                <c:pt idx="1728">
                  <c:v>0.25103366805016802</c:v>
                </c:pt>
                <c:pt idx="1729">
                  <c:v>0.25125447439796356</c:v>
                </c:pt>
                <c:pt idx="1730">
                  <c:v>0.25147964170730547</c:v>
                </c:pt>
                <c:pt idx="1731">
                  <c:v>0.25147433625357496</c:v>
                </c:pt>
                <c:pt idx="1732">
                  <c:v>0.25131518406778058</c:v>
                </c:pt>
                <c:pt idx="1733">
                  <c:v>0.2519571654879677</c:v>
                </c:pt>
                <c:pt idx="1734">
                  <c:v>0.25197844723665597</c:v>
                </c:pt>
                <c:pt idx="1735">
                  <c:v>0.25184046919759956</c:v>
                </c:pt>
                <c:pt idx="1736">
                  <c:v>0.25186386094623403</c:v>
                </c:pt>
                <c:pt idx="1737">
                  <c:v>0.25180987655774251</c:v>
                </c:pt>
                <c:pt idx="1738">
                  <c:v>0.25188306356737927</c:v>
                </c:pt>
                <c:pt idx="1739">
                  <c:v>0.25202208695570516</c:v>
                </c:pt>
                <c:pt idx="1740">
                  <c:v>0.2521158495906759</c:v>
                </c:pt>
                <c:pt idx="1741">
                  <c:v>0.25134891552492561</c:v>
                </c:pt>
                <c:pt idx="1742">
                  <c:v>0.25073230266069285</c:v>
                </c:pt>
                <c:pt idx="1743">
                  <c:v>0.25096826727380744</c:v>
                </c:pt>
                <c:pt idx="1744">
                  <c:v>0.25088784553981891</c:v>
                </c:pt>
                <c:pt idx="1745">
                  <c:v>0.25056219078226072</c:v>
                </c:pt>
                <c:pt idx="1746">
                  <c:v>0.25042882832108665</c:v>
                </c:pt>
                <c:pt idx="1747">
                  <c:v>0.24762773558761147</c:v>
                </c:pt>
                <c:pt idx="1748">
                  <c:v>0.24756992485030516</c:v>
                </c:pt>
                <c:pt idx="1749">
                  <c:v>0.24753160211209466</c:v>
                </c:pt>
                <c:pt idx="1750">
                  <c:v>0.24758200375104694</c:v>
                </c:pt>
                <c:pt idx="1751">
                  <c:v>0.24696260282292204</c:v>
                </c:pt>
                <c:pt idx="1752">
                  <c:v>0.24777981805231322</c:v>
                </c:pt>
                <c:pt idx="1753">
                  <c:v>0.24762937119257825</c:v>
                </c:pt>
                <c:pt idx="1754">
                  <c:v>0.24754695179193051</c:v>
                </c:pt>
                <c:pt idx="1755">
                  <c:v>0.2477467524521029</c:v>
                </c:pt>
                <c:pt idx="1756">
                  <c:v>0.24863181561482664</c:v>
                </c:pt>
                <c:pt idx="1757">
                  <c:v>0.24858963554303007</c:v>
                </c:pt>
                <c:pt idx="1758">
                  <c:v>0.24615407706720799</c:v>
                </c:pt>
                <c:pt idx="1759">
                  <c:v>0.24603835514178454</c:v>
                </c:pt>
                <c:pt idx="1760">
                  <c:v>0.2459775199594145</c:v>
                </c:pt>
                <c:pt idx="1761">
                  <c:v>0.24583177582197652</c:v>
                </c:pt>
                <c:pt idx="1762">
                  <c:v>0.24590840219146509</c:v>
                </c:pt>
                <c:pt idx="1763">
                  <c:v>0.24611500438030476</c:v>
                </c:pt>
                <c:pt idx="1764">
                  <c:v>0.24637982839359965</c:v>
                </c:pt>
                <c:pt idx="1765">
                  <c:v>0.24676685568555504</c:v>
                </c:pt>
                <c:pt idx="1766">
                  <c:v>0.24630534592447567</c:v>
                </c:pt>
                <c:pt idx="1767">
                  <c:v>0.24487096094558161</c:v>
                </c:pt>
                <c:pt idx="1768">
                  <c:v>0.24449734533516543</c:v>
                </c:pt>
                <c:pt idx="1769">
                  <c:v>0.24486937660340277</c:v>
                </c:pt>
                <c:pt idx="1770">
                  <c:v>0.24516268462303537</c:v>
                </c:pt>
                <c:pt idx="1771">
                  <c:v>0.24424635919888898</c:v>
                </c:pt>
                <c:pt idx="1772">
                  <c:v>0.2434945601891492</c:v>
                </c:pt>
                <c:pt idx="1773">
                  <c:v>0.24388820147240675</c:v>
                </c:pt>
                <c:pt idx="1774">
                  <c:v>0.24390430110408218</c:v>
                </c:pt>
                <c:pt idx="1775">
                  <c:v>0.24377593935213435</c:v>
                </c:pt>
                <c:pt idx="1776">
                  <c:v>0.24383407044069447</c:v>
                </c:pt>
                <c:pt idx="1777">
                  <c:v>0.24435521386843995</c:v>
                </c:pt>
                <c:pt idx="1778">
                  <c:v>0.24439478866194145</c:v>
                </c:pt>
                <c:pt idx="1779">
                  <c:v>0.24475021990633852</c:v>
                </c:pt>
                <c:pt idx="1780">
                  <c:v>0.24405126172134628</c:v>
                </c:pt>
                <c:pt idx="1781">
                  <c:v>0.24406343155881274</c:v>
                </c:pt>
                <c:pt idx="1782">
                  <c:v>0.24395000725725877</c:v>
                </c:pt>
                <c:pt idx="1783">
                  <c:v>0.2441041906492718</c:v>
                </c:pt>
                <c:pt idx="1784">
                  <c:v>0.24612175262711758</c:v>
                </c:pt>
                <c:pt idx="1785">
                  <c:v>0.24671350801675046</c:v>
                </c:pt>
                <c:pt idx="1786">
                  <c:v>0.24701421284138719</c:v>
                </c:pt>
                <c:pt idx="1787">
                  <c:v>0.24777239565161063</c:v>
                </c:pt>
                <c:pt idx="1788">
                  <c:v>0.24840256720629625</c:v>
                </c:pt>
                <c:pt idx="1789">
                  <c:v>0.24842439953073439</c:v>
                </c:pt>
                <c:pt idx="1790">
                  <c:v>0.24872237040611073</c:v>
                </c:pt>
                <c:pt idx="1791">
                  <c:v>0.2508701042947083</c:v>
                </c:pt>
                <c:pt idx="1792">
                  <c:v>0.2502926133799358</c:v>
                </c:pt>
                <c:pt idx="1793">
                  <c:v>0.25034297387554921</c:v>
                </c:pt>
                <c:pt idx="1794">
                  <c:v>0.25202991144768505</c:v>
                </c:pt>
                <c:pt idx="1795">
                  <c:v>0.26085904296977036</c:v>
                </c:pt>
                <c:pt idx="1796">
                  <c:v>0.263776870688673</c:v>
                </c:pt>
                <c:pt idx="1797">
                  <c:v>0.26410182481922434</c:v>
                </c:pt>
                <c:pt idx="1798">
                  <c:v>0.26423358325500279</c:v>
                </c:pt>
                <c:pt idx="1799">
                  <c:v>0.26509389352062657</c:v>
                </c:pt>
                <c:pt idx="1800">
                  <c:v>0.2645892903486195</c:v>
                </c:pt>
                <c:pt idx="1801">
                  <c:v>0.26346623382271922</c:v>
                </c:pt>
                <c:pt idx="1802">
                  <c:v>0.2624555514463251</c:v>
                </c:pt>
                <c:pt idx="1803">
                  <c:v>0.26201215772480302</c:v>
                </c:pt>
                <c:pt idx="1804">
                  <c:v>0.26189975111603991</c:v>
                </c:pt>
                <c:pt idx="1805">
                  <c:v>0.26317202782600263</c:v>
                </c:pt>
                <c:pt idx="1806">
                  <c:v>0.26252327341298537</c:v>
                </c:pt>
                <c:pt idx="1807">
                  <c:v>0.26258480950675833</c:v>
                </c:pt>
                <c:pt idx="1808">
                  <c:v>0.2609978378856036</c:v>
                </c:pt>
                <c:pt idx="1809">
                  <c:v>0.2601234836568837</c:v>
                </c:pt>
                <c:pt idx="1810">
                  <c:v>0.2599503599856306</c:v>
                </c:pt>
                <c:pt idx="1811">
                  <c:v>0.25874923261002697</c:v>
                </c:pt>
                <c:pt idx="1812">
                  <c:v>0.25763241872074472</c:v>
                </c:pt>
                <c:pt idx="1813">
                  <c:v>0.25761785730233816</c:v>
                </c:pt>
                <c:pt idx="1814">
                  <c:v>0.25721750880095046</c:v>
                </c:pt>
                <c:pt idx="1815">
                  <c:v>0.25639285940756706</c:v>
                </c:pt>
                <c:pt idx="1816">
                  <c:v>0.25699480708945821</c:v>
                </c:pt>
                <c:pt idx="1817">
                  <c:v>0.25661153477926268</c:v>
                </c:pt>
                <c:pt idx="1818">
                  <c:v>0.25571931120568608</c:v>
                </c:pt>
                <c:pt idx="1819">
                  <c:v>0.25287130845666533</c:v>
                </c:pt>
                <c:pt idx="1820">
                  <c:v>0.24036688686258231</c:v>
                </c:pt>
                <c:pt idx="1821">
                  <c:v>0.24772690320805726</c:v>
                </c:pt>
                <c:pt idx="1822">
                  <c:v>0.24528351313850541</c:v>
                </c:pt>
                <c:pt idx="1823">
                  <c:v>0.24464624924762801</c:v>
                </c:pt>
                <c:pt idx="1824">
                  <c:v>0.24111728785566539</c:v>
                </c:pt>
                <c:pt idx="1825">
                  <c:v>0.24106096493659893</c:v>
                </c:pt>
                <c:pt idx="1826">
                  <c:v>0.24247459187403939</c:v>
                </c:pt>
                <c:pt idx="1827">
                  <c:v>0.24519159923501485</c:v>
                </c:pt>
                <c:pt idx="1828">
                  <c:v>0.24565543357440167</c:v>
                </c:pt>
                <c:pt idx="1829">
                  <c:v>0.24560320048106027</c:v>
                </c:pt>
                <c:pt idx="1830">
                  <c:v>0.24639331979240947</c:v>
                </c:pt>
                <c:pt idx="1831">
                  <c:v>0.24832716617188558</c:v>
                </c:pt>
                <c:pt idx="1832">
                  <c:v>0.2485782159802952</c:v>
                </c:pt>
                <c:pt idx="1833">
                  <c:v>0.24892477307794433</c:v>
                </c:pt>
                <c:pt idx="1834">
                  <c:v>0.24886957835311846</c:v>
                </c:pt>
                <c:pt idx="1835">
                  <c:v>0.24859924769309841</c:v>
                </c:pt>
                <c:pt idx="1836">
                  <c:v>0.25049399411213796</c:v>
                </c:pt>
                <c:pt idx="1837">
                  <c:v>0.25202843092628147</c:v>
                </c:pt>
                <c:pt idx="1838">
                  <c:v>0.25182429748214791</c:v>
                </c:pt>
                <c:pt idx="1839">
                  <c:v>0.2527541669181117</c:v>
                </c:pt>
                <c:pt idx="1840">
                  <c:v>0.25354123352305558</c:v>
                </c:pt>
                <c:pt idx="1841">
                  <c:v>0.25517713952815302</c:v>
                </c:pt>
                <c:pt idx="1842">
                  <c:v>0.2551766527896801</c:v>
                </c:pt>
                <c:pt idx="1843">
                  <c:v>0.25621450241442578</c:v>
                </c:pt>
                <c:pt idx="1844">
                  <c:v>0.25773707921188682</c:v>
                </c:pt>
                <c:pt idx="1845">
                  <c:v>0.25713837508540938</c:v>
                </c:pt>
                <c:pt idx="1846">
                  <c:v>0.25654326435564551</c:v>
                </c:pt>
                <c:pt idx="1847">
                  <c:v>0.25616049148584363</c:v>
                </c:pt>
                <c:pt idx="1848">
                  <c:v>0.25595503847410833</c:v>
                </c:pt>
                <c:pt idx="1849">
                  <c:v>0.25657459222908574</c:v>
                </c:pt>
                <c:pt idx="1850">
                  <c:v>0.25639408018171767</c:v>
                </c:pt>
                <c:pt idx="1851">
                  <c:v>0.2562222980042268</c:v>
                </c:pt>
                <c:pt idx="1852">
                  <c:v>0.25585781688284998</c:v>
                </c:pt>
                <c:pt idx="1853">
                  <c:v>0.25404113958272079</c:v>
                </c:pt>
                <c:pt idx="1854">
                  <c:v>0.25486479297856007</c:v>
                </c:pt>
                <c:pt idx="1855">
                  <c:v>0.25348196650300542</c:v>
                </c:pt>
                <c:pt idx="1856">
                  <c:v>0.25317757783582484</c:v>
                </c:pt>
                <c:pt idx="1857">
                  <c:v>0.25254599367644937</c:v>
                </c:pt>
                <c:pt idx="1858">
                  <c:v>0.25149460508562393</c:v>
                </c:pt>
                <c:pt idx="1859">
                  <c:v>0.25035505326335888</c:v>
                </c:pt>
                <c:pt idx="1860">
                  <c:v>0.25004127653804498</c:v>
                </c:pt>
                <c:pt idx="1861">
                  <c:v>0.25261288753255873</c:v>
                </c:pt>
                <c:pt idx="1862">
                  <c:v>0.25311592555811063</c:v>
                </c:pt>
                <c:pt idx="1863">
                  <c:v>0.2558329616862654</c:v>
                </c:pt>
                <c:pt idx="1864">
                  <c:v>0.25558899932956369</c:v>
                </c:pt>
                <c:pt idx="1865">
                  <c:v>0.255624362534634</c:v>
                </c:pt>
                <c:pt idx="1866">
                  <c:v>0.25550559433300485</c:v>
                </c:pt>
                <c:pt idx="1867">
                  <c:v>0.25451653368835286</c:v>
                </c:pt>
                <c:pt idx="1868">
                  <c:v>0.25453016188441963</c:v>
                </c:pt>
                <c:pt idx="1869">
                  <c:v>0.25509487181246365</c:v>
                </c:pt>
                <c:pt idx="1870">
                  <c:v>0.2557638894074814</c:v>
                </c:pt>
                <c:pt idx="1871">
                  <c:v>0.2558849514412867</c:v>
                </c:pt>
                <c:pt idx="1872">
                  <c:v>0.25599620430777553</c:v>
                </c:pt>
                <c:pt idx="1873">
                  <c:v>0.25619731679574526</c:v>
                </c:pt>
                <c:pt idx="1874">
                  <c:v>0.25594352415761779</c:v>
                </c:pt>
                <c:pt idx="1875">
                  <c:v>0.25578089028957646</c:v>
                </c:pt>
                <c:pt idx="1876">
                  <c:v>0.25526270418299207</c:v>
                </c:pt>
                <c:pt idx="1877">
                  <c:v>0.25544815684776673</c:v>
                </c:pt>
                <c:pt idx="1878">
                  <c:v>0.25697387217666978</c:v>
                </c:pt>
                <c:pt idx="1879">
                  <c:v>0.25773541663210064</c:v>
                </c:pt>
                <c:pt idx="1880">
                  <c:v>0.26013467338776913</c:v>
                </c:pt>
                <c:pt idx="1881">
                  <c:v>0.26060923758330984</c:v>
                </c:pt>
                <c:pt idx="1882">
                  <c:v>0.26018211119961621</c:v>
                </c:pt>
                <c:pt idx="1883">
                  <c:v>0.26024481527402454</c:v>
                </c:pt>
                <c:pt idx="1884">
                  <c:v>0.25975449500748538</c:v>
                </c:pt>
                <c:pt idx="1885">
                  <c:v>0.26003334161479724</c:v>
                </c:pt>
                <c:pt idx="1886">
                  <c:v>0.26026964911319511</c:v>
                </c:pt>
                <c:pt idx="1887">
                  <c:v>0.26059163562084808</c:v>
                </c:pt>
                <c:pt idx="1888">
                  <c:v>0.26056014967638436</c:v>
                </c:pt>
                <c:pt idx="1889">
                  <c:v>0.26066490309261386</c:v>
                </c:pt>
                <c:pt idx="1890">
                  <c:v>0.26035791307086881</c:v>
                </c:pt>
                <c:pt idx="1891">
                  <c:v>0.2591769564474008</c:v>
                </c:pt>
                <c:pt idx="1892">
                  <c:v>0.2596111021974094</c:v>
                </c:pt>
                <c:pt idx="1893">
                  <c:v>0.25892399310046338</c:v>
                </c:pt>
                <c:pt idx="1894">
                  <c:v>0.2588062190586089</c:v>
                </c:pt>
                <c:pt idx="1895">
                  <c:v>0.26066020004660273</c:v>
                </c:pt>
                <c:pt idx="1896">
                  <c:v>0.26084752733096417</c:v>
                </c:pt>
                <c:pt idx="1897">
                  <c:v>0.2600963412952183</c:v>
                </c:pt>
                <c:pt idx="1898">
                  <c:v>0.26212386535023235</c:v>
                </c:pt>
                <c:pt idx="1899">
                  <c:v>0.26303500365990085</c:v>
                </c:pt>
                <c:pt idx="1900">
                  <c:v>0.26417034115505289</c:v>
                </c:pt>
                <c:pt idx="1901">
                  <c:v>0.26281672489102831</c:v>
                </c:pt>
                <c:pt idx="1902">
                  <c:v>0.26067321479154287</c:v>
                </c:pt>
                <c:pt idx="1903">
                  <c:v>0.26199969390506173</c:v>
                </c:pt>
                <c:pt idx="1904">
                  <c:v>0.26296791499858241</c:v>
                </c:pt>
                <c:pt idx="1905">
                  <c:v>0.2634734369858806</c:v>
                </c:pt>
                <c:pt idx="1906">
                  <c:v>0.26288497549965378</c:v>
                </c:pt>
                <c:pt idx="1907">
                  <c:v>0.26313404183745392</c:v>
                </c:pt>
                <c:pt idx="1908">
                  <c:v>0.26155337394757039</c:v>
                </c:pt>
                <c:pt idx="1909">
                  <c:v>0.26166208872539282</c:v>
                </c:pt>
                <c:pt idx="1910">
                  <c:v>0.26213879090178782</c:v>
                </c:pt>
                <c:pt idx="1911">
                  <c:v>0.26234352062035227</c:v>
                </c:pt>
                <c:pt idx="1912">
                  <c:v>0.26275243094570949</c:v>
                </c:pt>
                <c:pt idx="1913">
                  <c:v>0.26185788608926497</c:v>
                </c:pt>
                <c:pt idx="1914">
                  <c:v>0.26207285863296836</c:v>
                </c:pt>
                <c:pt idx="1915">
                  <c:v>0.26257447111783949</c:v>
                </c:pt>
                <c:pt idx="1916">
                  <c:v>0.26290578015507865</c:v>
                </c:pt>
                <c:pt idx="1917">
                  <c:v>0.26195946251637819</c:v>
                </c:pt>
                <c:pt idx="1918">
                  <c:v>0.26314899670365588</c:v>
                </c:pt>
                <c:pt idx="1919">
                  <c:v>0.26564979014264356</c:v>
                </c:pt>
                <c:pt idx="1920">
                  <c:v>0.26621868514865671</c:v>
                </c:pt>
                <c:pt idx="1921">
                  <c:v>0.2681162948473309</c:v>
                </c:pt>
                <c:pt idx="1922">
                  <c:v>0.2682299146895919</c:v>
                </c:pt>
                <c:pt idx="1923">
                  <c:v>0.26861062423967808</c:v>
                </c:pt>
                <c:pt idx="1924">
                  <c:v>0.26771108134290844</c:v>
                </c:pt>
                <c:pt idx="1925">
                  <c:v>0.26947482840595927</c:v>
                </c:pt>
                <c:pt idx="1926">
                  <c:v>0.26990737129504488</c:v>
                </c:pt>
                <c:pt idx="1927">
                  <c:v>0.26989109473422795</c:v>
                </c:pt>
                <c:pt idx="1928">
                  <c:v>0.27074022804760839</c:v>
                </c:pt>
                <c:pt idx="1929">
                  <c:v>0.26765824682847228</c:v>
                </c:pt>
                <c:pt idx="1930">
                  <c:v>0.26679596266091271</c:v>
                </c:pt>
                <c:pt idx="1931">
                  <c:v>0.26573204072974521</c:v>
                </c:pt>
                <c:pt idx="1932">
                  <c:v>0.26646153854934385</c:v>
                </c:pt>
                <c:pt idx="1933">
                  <c:v>0.26742698040687735</c:v>
                </c:pt>
                <c:pt idx="1934">
                  <c:v>0.26708153230046228</c:v>
                </c:pt>
                <c:pt idx="1935">
                  <c:v>0.26713359035194117</c:v>
                </c:pt>
                <c:pt idx="1936">
                  <c:v>0.26684403415934366</c:v>
                </c:pt>
                <c:pt idx="1937">
                  <c:v>0.2669492203492605</c:v>
                </c:pt>
                <c:pt idx="1938">
                  <c:v>0.26671749930676281</c:v>
                </c:pt>
                <c:pt idx="1939">
                  <c:v>0.26761766159988976</c:v>
                </c:pt>
                <c:pt idx="1940">
                  <c:v>0.26639632800940222</c:v>
                </c:pt>
                <c:pt idx="1941">
                  <c:v>0.26682470687054366</c:v>
                </c:pt>
                <c:pt idx="1942">
                  <c:v>0.26724505530874965</c:v>
                </c:pt>
                <c:pt idx="1943">
                  <c:v>0.26701051689216015</c:v>
                </c:pt>
                <c:pt idx="1944">
                  <c:v>0.2670066017599807</c:v>
                </c:pt>
                <c:pt idx="1945">
                  <c:v>0.2675011441584968</c:v>
                </c:pt>
                <c:pt idx="1946">
                  <c:v>0.26785689667163626</c:v>
                </c:pt>
                <c:pt idx="1947">
                  <c:v>0.26739594191108368</c:v>
                </c:pt>
                <c:pt idx="1948">
                  <c:v>0.26727996826493344</c:v>
                </c:pt>
                <c:pt idx="1949">
                  <c:v>0.26738135266071245</c:v>
                </c:pt>
                <c:pt idx="1950">
                  <c:v>0.26759082924964567</c:v>
                </c:pt>
                <c:pt idx="1951">
                  <c:v>0.26925488446167745</c:v>
                </c:pt>
                <c:pt idx="1952">
                  <c:v>0.26931310039188994</c:v>
                </c:pt>
                <c:pt idx="1953">
                  <c:v>0.26971788120807094</c:v>
                </c:pt>
                <c:pt idx="1954">
                  <c:v>0.26974321083554009</c:v>
                </c:pt>
                <c:pt idx="1955">
                  <c:v>0.26933009514158057</c:v>
                </c:pt>
                <c:pt idx="1956">
                  <c:v>0.26975289894794757</c:v>
                </c:pt>
                <c:pt idx="1957">
                  <c:v>0.26958139844895834</c:v>
                </c:pt>
                <c:pt idx="1958">
                  <c:v>0.26954376833305532</c:v>
                </c:pt>
                <c:pt idx="1959">
                  <c:v>0.26902864297700924</c:v>
                </c:pt>
                <c:pt idx="1960">
                  <c:v>0.26869216967042731</c:v>
                </c:pt>
                <c:pt idx="1961">
                  <c:v>0.26856635447658339</c:v>
                </c:pt>
                <c:pt idx="1962">
                  <c:v>0.26775775881775277</c:v>
                </c:pt>
                <c:pt idx="1963">
                  <c:v>0.26853039948837654</c:v>
                </c:pt>
                <c:pt idx="1964">
                  <c:v>0.26831820482887631</c:v>
                </c:pt>
                <c:pt idx="1965">
                  <c:v>0.26930776563918596</c:v>
                </c:pt>
                <c:pt idx="1966">
                  <c:v>0.26934372736222095</c:v>
                </c:pt>
                <c:pt idx="1967">
                  <c:v>0.26990759036782702</c:v>
                </c:pt>
                <c:pt idx="1968">
                  <c:v>0.27070436817411403</c:v>
                </c:pt>
                <c:pt idx="1969">
                  <c:v>0.27050207321996234</c:v>
                </c:pt>
                <c:pt idx="1970">
                  <c:v>0.27113878220063603</c:v>
                </c:pt>
                <c:pt idx="1971">
                  <c:v>0.27134285329842289</c:v>
                </c:pt>
                <c:pt idx="1972">
                  <c:v>0.27123991836088918</c:v>
                </c:pt>
                <c:pt idx="1973">
                  <c:v>0.27129225753982839</c:v>
                </c:pt>
                <c:pt idx="1974">
                  <c:v>0.27123070086106082</c:v>
                </c:pt>
                <c:pt idx="1975">
                  <c:v>0.27163538823878169</c:v>
                </c:pt>
                <c:pt idx="1976">
                  <c:v>0.27204660159774341</c:v>
                </c:pt>
                <c:pt idx="1977">
                  <c:v>0.27372392791259598</c:v>
                </c:pt>
                <c:pt idx="1978">
                  <c:v>0.27347633869302507</c:v>
                </c:pt>
                <c:pt idx="1979">
                  <c:v>0.27326107573292258</c:v>
                </c:pt>
                <c:pt idx="1980">
                  <c:v>0.27348231579380522</c:v>
                </c:pt>
                <c:pt idx="1981">
                  <c:v>0.27367933291234714</c:v>
                </c:pt>
                <c:pt idx="1982">
                  <c:v>0.27398010132284684</c:v>
                </c:pt>
                <c:pt idx="1983">
                  <c:v>0.27403597641695382</c:v>
                </c:pt>
                <c:pt idx="1984">
                  <c:v>0.2750332878318536</c:v>
                </c:pt>
                <c:pt idx="1985">
                  <c:v>0.27494121527423843</c:v>
                </c:pt>
                <c:pt idx="1986">
                  <c:v>0.2749544142286558</c:v>
                </c:pt>
                <c:pt idx="1987">
                  <c:v>0.2754448751919098</c:v>
                </c:pt>
                <c:pt idx="1988">
                  <c:v>0.27543395964542294</c:v>
                </c:pt>
                <c:pt idx="1989">
                  <c:v>0.27508735936525641</c:v>
                </c:pt>
                <c:pt idx="1990">
                  <c:v>0.27530740873177773</c:v>
                </c:pt>
                <c:pt idx="1991">
                  <c:v>0.27528554707402197</c:v>
                </c:pt>
                <c:pt idx="1992">
                  <c:v>0.27563899882245763</c:v>
                </c:pt>
                <c:pt idx="1993">
                  <c:v>0.27655720498694425</c:v>
                </c:pt>
                <c:pt idx="1994">
                  <c:v>0.27745425927419914</c:v>
                </c:pt>
                <c:pt idx="1995">
                  <c:v>0.27782298489280011</c:v>
                </c:pt>
                <c:pt idx="1996">
                  <c:v>0.27839504442913882</c:v>
                </c:pt>
                <c:pt idx="1997">
                  <c:v>0.27868123743217321</c:v>
                </c:pt>
                <c:pt idx="1998">
                  <c:v>0.27869739183798281</c:v>
                </c:pt>
                <c:pt idx="1999">
                  <c:v>0.28118022203227105</c:v>
                </c:pt>
                <c:pt idx="2000">
                  <c:v>0.28187218582284768</c:v>
                </c:pt>
                <c:pt idx="2001">
                  <c:v>0.2822309501281679</c:v>
                </c:pt>
                <c:pt idx="2002">
                  <c:v>0.28230610137055279</c:v>
                </c:pt>
                <c:pt idx="2003">
                  <c:v>0.28299615851234805</c:v>
                </c:pt>
                <c:pt idx="2004">
                  <c:v>0.28327102377018887</c:v>
                </c:pt>
                <c:pt idx="2005">
                  <c:v>0.28408547389655381</c:v>
                </c:pt>
                <c:pt idx="2006">
                  <c:v>0.28411470045742826</c:v>
                </c:pt>
                <c:pt idx="2007">
                  <c:v>0.28400569229074096</c:v>
                </c:pt>
              </c:numCache>
            </c:numRef>
          </c:val>
          <c:smooth val="0"/>
          <c:extLst xmlns:c16r2="http://schemas.microsoft.com/office/drawing/2015/06/chart">
            <c:ext xmlns:c16="http://schemas.microsoft.com/office/drawing/2014/chart" uri="{C3380CC4-5D6E-409C-BE32-E72D297353CC}">
              <c16:uniqueId val="{00000003-2ABA-46E5-85D6-2306B79F7B0A}"/>
            </c:ext>
          </c:extLst>
        </c:ser>
        <c:ser>
          <c:idx val="4"/>
          <c:order val="4"/>
          <c:tx>
            <c:strRef>
              <c:f>beta!$AM$256</c:f>
              <c:strCache>
                <c:ptCount val="1"/>
                <c:pt idx="0">
                  <c:v>5th Nearby VIX future</c:v>
                </c:pt>
              </c:strCache>
            </c:strRef>
          </c:tx>
          <c:marker>
            <c:symbol val="none"/>
          </c:marker>
          <c:cat>
            <c:numRef>
              <c:f>beta!$AH$257:$AH$2264</c:f>
              <c:numCache>
                <c:formatCode>m/d/yyyy</c:formatCode>
                <c:ptCount val="2008"/>
                <c:pt idx="0">
                  <c:v>39598</c:v>
                </c:pt>
                <c:pt idx="1">
                  <c:v>39601</c:v>
                </c:pt>
                <c:pt idx="2">
                  <c:v>39602</c:v>
                </c:pt>
                <c:pt idx="3">
                  <c:v>39603</c:v>
                </c:pt>
                <c:pt idx="4">
                  <c:v>39604</c:v>
                </c:pt>
                <c:pt idx="5">
                  <c:v>39605</c:v>
                </c:pt>
                <c:pt idx="6">
                  <c:v>39608</c:v>
                </c:pt>
                <c:pt idx="7">
                  <c:v>39609</c:v>
                </c:pt>
                <c:pt idx="8">
                  <c:v>39610</c:v>
                </c:pt>
                <c:pt idx="9">
                  <c:v>39611</c:v>
                </c:pt>
                <c:pt idx="10">
                  <c:v>39612</c:v>
                </c:pt>
                <c:pt idx="11">
                  <c:v>39615</c:v>
                </c:pt>
                <c:pt idx="12">
                  <c:v>39616</c:v>
                </c:pt>
                <c:pt idx="13">
                  <c:v>39617</c:v>
                </c:pt>
                <c:pt idx="14">
                  <c:v>39618</c:v>
                </c:pt>
                <c:pt idx="15">
                  <c:v>39619</c:v>
                </c:pt>
                <c:pt idx="16">
                  <c:v>39622</c:v>
                </c:pt>
                <c:pt idx="17">
                  <c:v>39623</c:v>
                </c:pt>
                <c:pt idx="18">
                  <c:v>39624</c:v>
                </c:pt>
                <c:pt idx="19">
                  <c:v>39625</c:v>
                </c:pt>
                <c:pt idx="20">
                  <c:v>39626</c:v>
                </c:pt>
                <c:pt idx="21">
                  <c:v>39629</c:v>
                </c:pt>
                <c:pt idx="22">
                  <c:v>39630</c:v>
                </c:pt>
                <c:pt idx="23">
                  <c:v>39631</c:v>
                </c:pt>
                <c:pt idx="24">
                  <c:v>39632</c:v>
                </c:pt>
                <c:pt idx="25">
                  <c:v>39636</c:v>
                </c:pt>
                <c:pt idx="26">
                  <c:v>39637</c:v>
                </c:pt>
                <c:pt idx="27">
                  <c:v>39638</c:v>
                </c:pt>
                <c:pt idx="28">
                  <c:v>39639</c:v>
                </c:pt>
                <c:pt idx="29">
                  <c:v>39640</c:v>
                </c:pt>
                <c:pt idx="30">
                  <c:v>39643</c:v>
                </c:pt>
                <c:pt idx="31">
                  <c:v>39644</c:v>
                </c:pt>
                <c:pt idx="32">
                  <c:v>39645</c:v>
                </c:pt>
                <c:pt idx="33">
                  <c:v>39646</c:v>
                </c:pt>
                <c:pt idx="34">
                  <c:v>39647</c:v>
                </c:pt>
                <c:pt idx="35">
                  <c:v>39650</c:v>
                </c:pt>
                <c:pt idx="36">
                  <c:v>39651</c:v>
                </c:pt>
                <c:pt idx="37">
                  <c:v>39652</c:v>
                </c:pt>
                <c:pt idx="38">
                  <c:v>39653</c:v>
                </c:pt>
                <c:pt idx="39">
                  <c:v>39654</c:v>
                </c:pt>
                <c:pt idx="40">
                  <c:v>39657</c:v>
                </c:pt>
                <c:pt idx="41">
                  <c:v>39658</c:v>
                </c:pt>
                <c:pt idx="42">
                  <c:v>39659</c:v>
                </c:pt>
                <c:pt idx="43">
                  <c:v>39660</c:v>
                </c:pt>
                <c:pt idx="44">
                  <c:v>39661</c:v>
                </c:pt>
                <c:pt idx="45">
                  <c:v>39664</c:v>
                </c:pt>
                <c:pt idx="46">
                  <c:v>39665</c:v>
                </c:pt>
                <c:pt idx="47">
                  <c:v>39666</c:v>
                </c:pt>
                <c:pt idx="48">
                  <c:v>39667</c:v>
                </c:pt>
                <c:pt idx="49">
                  <c:v>39668</c:v>
                </c:pt>
                <c:pt idx="50">
                  <c:v>39671</c:v>
                </c:pt>
                <c:pt idx="51">
                  <c:v>39672</c:v>
                </c:pt>
                <c:pt idx="52">
                  <c:v>39673</c:v>
                </c:pt>
                <c:pt idx="53">
                  <c:v>39674</c:v>
                </c:pt>
                <c:pt idx="54">
                  <c:v>39675</c:v>
                </c:pt>
                <c:pt idx="55">
                  <c:v>39678</c:v>
                </c:pt>
                <c:pt idx="56">
                  <c:v>39679</c:v>
                </c:pt>
                <c:pt idx="57">
                  <c:v>39680</c:v>
                </c:pt>
                <c:pt idx="58">
                  <c:v>39681</c:v>
                </c:pt>
                <c:pt idx="59">
                  <c:v>39682</c:v>
                </c:pt>
                <c:pt idx="60">
                  <c:v>39685</c:v>
                </c:pt>
                <c:pt idx="61">
                  <c:v>39686</c:v>
                </c:pt>
                <c:pt idx="62">
                  <c:v>39687</c:v>
                </c:pt>
                <c:pt idx="63">
                  <c:v>39688</c:v>
                </c:pt>
                <c:pt idx="64">
                  <c:v>39689</c:v>
                </c:pt>
                <c:pt idx="65">
                  <c:v>39693</c:v>
                </c:pt>
                <c:pt idx="66">
                  <c:v>39694</c:v>
                </c:pt>
                <c:pt idx="67">
                  <c:v>39695</c:v>
                </c:pt>
                <c:pt idx="68">
                  <c:v>39696</c:v>
                </c:pt>
                <c:pt idx="69">
                  <c:v>39699</c:v>
                </c:pt>
                <c:pt idx="70">
                  <c:v>39700</c:v>
                </c:pt>
                <c:pt idx="71">
                  <c:v>39701</c:v>
                </c:pt>
                <c:pt idx="72">
                  <c:v>39702</c:v>
                </c:pt>
                <c:pt idx="73">
                  <c:v>39703</c:v>
                </c:pt>
                <c:pt idx="74">
                  <c:v>39706</c:v>
                </c:pt>
                <c:pt idx="75">
                  <c:v>39707</c:v>
                </c:pt>
                <c:pt idx="76">
                  <c:v>39708</c:v>
                </c:pt>
                <c:pt idx="77">
                  <c:v>39709</c:v>
                </c:pt>
                <c:pt idx="78">
                  <c:v>39710</c:v>
                </c:pt>
                <c:pt idx="79">
                  <c:v>39713</c:v>
                </c:pt>
                <c:pt idx="80">
                  <c:v>39714</c:v>
                </c:pt>
                <c:pt idx="81">
                  <c:v>39715</c:v>
                </c:pt>
                <c:pt idx="82">
                  <c:v>39716</c:v>
                </c:pt>
                <c:pt idx="83">
                  <c:v>39717</c:v>
                </c:pt>
                <c:pt idx="84">
                  <c:v>39720</c:v>
                </c:pt>
                <c:pt idx="85">
                  <c:v>39721</c:v>
                </c:pt>
                <c:pt idx="86">
                  <c:v>39722</c:v>
                </c:pt>
                <c:pt idx="87">
                  <c:v>39723</c:v>
                </c:pt>
                <c:pt idx="88">
                  <c:v>39724</c:v>
                </c:pt>
                <c:pt idx="89">
                  <c:v>39727</c:v>
                </c:pt>
                <c:pt idx="90">
                  <c:v>39728</c:v>
                </c:pt>
                <c:pt idx="91">
                  <c:v>39729</c:v>
                </c:pt>
                <c:pt idx="92">
                  <c:v>39730</c:v>
                </c:pt>
                <c:pt idx="93">
                  <c:v>39731</c:v>
                </c:pt>
                <c:pt idx="94">
                  <c:v>39734</c:v>
                </c:pt>
                <c:pt idx="95">
                  <c:v>39735</c:v>
                </c:pt>
                <c:pt idx="96">
                  <c:v>39736</c:v>
                </c:pt>
                <c:pt idx="97">
                  <c:v>39737</c:v>
                </c:pt>
                <c:pt idx="98">
                  <c:v>39738</c:v>
                </c:pt>
                <c:pt idx="99">
                  <c:v>39741</c:v>
                </c:pt>
                <c:pt idx="100">
                  <c:v>39742</c:v>
                </c:pt>
                <c:pt idx="101">
                  <c:v>39743</c:v>
                </c:pt>
                <c:pt idx="102">
                  <c:v>39744</c:v>
                </c:pt>
                <c:pt idx="103">
                  <c:v>39745</c:v>
                </c:pt>
                <c:pt idx="104">
                  <c:v>39748</c:v>
                </c:pt>
                <c:pt idx="105">
                  <c:v>39749</c:v>
                </c:pt>
                <c:pt idx="106">
                  <c:v>39750</c:v>
                </c:pt>
                <c:pt idx="107">
                  <c:v>39751</c:v>
                </c:pt>
                <c:pt idx="108">
                  <c:v>39752</c:v>
                </c:pt>
                <c:pt idx="109">
                  <c:v>39755</c:v>
                </c:pt>
                <c:pt idx="110">
                  <c:v>39756</c:v>
                </c:pt>
                <c:pt idx="111">
                  <c:v>39757</c:v>
                </c:pt>
                <c:pt idx="112">
                  <c:v>39758</c:v>
                </c:pt>
                <c:pt idx="113">
                  <c:v>39759</c:v>
                </c:pt>
                <c:pt idx="114">
                  <c:v>39762</c:v>
                </c:pt>
                <c:pt idx="115">
                  <c:v>39763</c:v>
                </c:pt>
                <c:pt idx="116">
                  <c:v>39764</c:v>
                </c:pt>
                <c:pt idx="117">
                  <c:v>39765</c:v>
                </c:pt>
                <c:pt idx="118">
                  <c:v>39766</c:v>
                </c:pt>
                <c:pt idx="119">
                  <c:v>39769</c:v>
                </c:pt>
                <c:pt idx="120">
                  <c:v>39770</c:v>
                </c:pt>
                <c:pt idx="121">
                  <c:v>39771</c:v>
                </c:pt>
                <c:pt idx="122">
                  <c:v>39772</c:v>
                </c:pt>
                <c:pt idx="123">
                  <c:v>39773</c:v>
                </c:pt>
                <c:pt idx="124">
                  <c:v>39776</c:v>
                </c:pt>
                <c:pt idx="125">
                  <c:v>39777</c:v>
                </c:pt>
                <c:pt idx="126">
                  <c:v>39778</c:v>
                </c:pt>
                <c:pt idx="127">
                  <c:v>39780</c:v>
                </c:pt>
                <c:pt idx="128">
                  <c:v>39783</c:v>
                </c:pt>
                <c:pt idx="129">
                  <c:v>39784</c:v>
                </c:pt>
                <c:pt idx="130">
                  <c:v>39785</c:v>
                </c:pt>
                <c:pt idx="131">
                  <c:v>39786</c:v>
                </c:pt>
                <c:pt idx="132">
                  <c:v>39787</c:v>
                </c:pt>
                <c:pt idx="133">
                  <c:v>39790</c:v>
                </c:pt>
                <c:pt idx="134">
                  <c:v>39791</c:v>
                </c:pt>
                <c:pt idx="135">
                  <c:v>39792</c:v>
                </c:pt>
                <c:pt idx="136">
                  <c:v>39793</c:v>
                </c:pt>
                <c:pt idx="137">
                  <c:v>39794</c:v>
                </c:pt>
                <c:pt idx="138">
                  <c:v>39797</c:v>
                </c:pt>
                <c:pt idx="139">
                  <c:v>39798</c:v>
                </c:pt>
                <c:pt idx="140">
                  <c:v>39799</c:v>
                </c:pt>
                <c:pt idx="141">
                  <c:v>39800</c:v>
                </c:pt>
                <c:pt idx="142">
                  <c:v>39801</c:v>
                </c:pt>
                <c:pt idx="143">
                  <c:v>39804</c:v>
                </c:pt>
                <c:pt idx="144">
                  <c:v>39805</c:v>
                </c:pt>
                <c:pt idx="145">
                  <c:v>39806</c:v>
                </c:pt>
                <c:pt idx="146">
                  <c:v>39808</c:v>
                </c:pt>
                <c:pt idx="147">
                  <c:v>39811</c:v>
                </c:pt>
                <c:pt idx="148">
                  <c:v>39812</c:v>
                </c:pt>
                <c:pt idx="149">
                  <c:v>39813</c:v>
                </c:pt>
                <c:pt idx="150">
                  <c:v>39815</c:v>
                </c:pt>
                <c:pt idx="151">
                  <c:v>39818</c:v>
                </c:pt>
                <c:pt idx="152">
                  <c:v>39819</c:v>
                </c:pt>
                <c:pt idx="153">
                  <c:v>39820</c:v>
                </c:pt>
                <c:pt idx="154">
                  <c:v>39821</c:v>
                </c:pt>
                <c:pt idx="155">
                  <c:v>39822</c:v>
                </c:pt>
                <c:pt idx="156">
                  <c:v>39825</c:v>
                </c:pt>
                <c:pt idx="157">
                  <c:v>39826</c:v>
                </c:pt>
                <c:pt idx="158">
                  <c:v>39827</c:v>
                </c:pt>
                <c:pt idx="159">
                  <c:v>39828</c:v>
                </c:pt>
                <c:pt idx="160">
                  <c:v>39829</c:v>
                </c:pt>
                <c:pt idx="161">
                  <c:v>39833</c:v>
                </c:pt>
                <c:pt idx="162">
                  <c:v>39834</c:v>
                </c:pt>
                <c:pt idx="163">
                  <c:v>39835</c:v>
                </c:pt>
                <c:pt idx="164">
                  <c:v>39836</c:v>
                </c:pt>
                <c:pt idx="165">
                  <c:v>39839</c:v>
                </c:pt>
                <c:pt idx="166">
                  <c:v>39840</c:v>
                </c:pt>
                <c:pt idx="167">
                  <c:v>39841</c:v>
                </c:pt>
                <c:pt idx="168">
                  <c:v>39842</c:v>
                </c:pt>
                <c:pt idx="169">
                  <c:v>39843</c:v>
                </c:pt>
                <c:pt idx="170">
                  <c:v>39846</c:v>
                </c:pt>
                <c:pt idx="171">
                  <c:v>39847</c:v>
                </c:pt>
                <c:pt idx="172">
                  <c:v>39848</c:v>
                </c:pt>
                <c:pt idx="173">
                  <c:v>39849</c:v>
                </c:pt>
                <c:pt idx="174">
                  <c:v>39850</c:v>
                </c:pt>
                <c:pt idx="175">
                  <c:v>39853</c:v>
                </c:pt>
                <c:pt idx="176">
                  <c:v>39854</c:v>
                </c:pt>
                <c:pt idx="177">
                  <c:v>39855</c:v>
                </c:pt>
                <c:pt idx="178">
                  <c:v>39856</c:v>
                </c:pt>
                <c:pt idx="179">
                  <c:v>39857</c:v>
                </c:pt>
                <c:pt idx="180">
                  <c:v>39861</c:v>
                </c:pt>
                <c:pt idx="181">
                  <c:v>39862</c:v>
                </c:pt>
                <c:pt idx="182">
                  <c:v>39863</c:v>
                </c:pt>
                <c:pt idx="183">
                  <c:v>39864</c:v>
                </c:pt>
                <c:pt idx="184">
                  <c:v>39867</c:v>
                </c:pt>
                <c:pt idx="185">
                  <c:v>39868</c:v>
                </c:pt>
                <c:pt idx="186">
                  <c:v>39869</c:v>
                </c:pt>
                <c:pt idx="187">
                  <c:v>39870</c:v>
                </c:pt>
                <c:pt idx="188">
                  <c:v>39871</c:v>
                </c:pt>
                <c:pt idx="189">
                  <c:v>39874</c:v>
                </c:pt>
                <c:pt idx="190">
                  <c:v>39875</c:v>
                </c:pt>
                <c:pt idx="191">
                  <c:v>39876</c:v>
                </c:pt>
                <c:pt idx="192">
                  <c:v>39877</c:v>
                </c:pt>
                <c:pt idx="193">
                  <c:v>39878</c:v>
                </c:pt>
                <c:pt idx="194">
                  <c:v>39881</c:v>
                </c:pt>
                <c:pt idx="195">
                  <c:v>39882</c:v>
                </c:pt>
                <c:pt idx="196">
                  <c:v>39883</c:v>
                </c:pt>
                <c:pt idx="197">
                  <c:v>39884</c:v>
                </c:pt>
                <c:pt idx="198">
                  <c:v>39885</c:v>
                </c:pt>
                <c:pt idx="199">
                  <c:v>39888</c:v>
                </c:pt>
                <c:pt idx="200">
                  <c:v>39889</c:v>
                </c:pt>
                <c:pt idx="201">
                  <c:v>39890</c:v>
                </c:pt>
                <c:pt idx="202">
                  <c:v>39891</c:v>
                </c:pt>
                <c:pt idx="203">
                  <c:v>39892</c:v>
                </c:pt>
                <c:pt idx="204">
                  <c:v>39895</c:v>
                </c:pt>
                <c:pt idx="205">
                  <c:v>39896</c:v>
                </c:pt>
                <c:pt idx="206">
                  <c:v>39897</c:v>
                </c:pt>
                <c:pt idx="207">
                  <c:v>39898</c:v>
                </c:pt>
                <c:pt idx="208">
                  <c:v>39899</c:v>
                </c:pt>
                <c:pt idx="209">
                  <c:v>39902</c:v>
                </c:pt>
                <c:pt idx="210">
                  <c:v>39903</c:v>
                </c:pt>
                <c:pt idx="211">
                  <c:v>39904</c:v>
                </c:pt>
                <c:pt idx="212">
                  <c:v>39905</c:v>
                </c:pt>
                <c:pt idx="213">
                  <c:v>39906</c:v>
                </c:pt>
                <c:pt idx="214">
                  <c:v>39909</c:v>
                </c:pt>
                <c:pt idx="215">
                  <c:v>39910</c:v>
                </c:pt>
                <c:pt idx="216">
                  <c:v>39911</c:v>
                </c:pt>
                <c:pt idx="217">
                  <c:v>39912</c:v>
                </c:pt>
                <c:pt idx="218">
                  <c:v>39916</c:v>
                </c:pt>
                <c:pt idx="219">
                  <c:v>39917</c:v>
                </c:pt>
                <c:pt idx="220">
                  <c:v>39918</c:v>
                </c:pt>
                <c:pt idx="221">
                  <c:v>39919</c:v>
                </c:pt>
                <c:pt idx="222">
                  <c:v>39920</c:v>
                </c:pt>
                <c:pt idx="223">
                  <c:v>39923</c:v>
                </c:pt>
                <c:pt idx="224">
                  <c:v>39924</c:v>
                </c:pt>
                <c:pt idx="225">
                  <c:v>39925</c:v>
                </c:pt>
                <c:pt idx="226">
                  <c:v>39926</c:v>
                </c:pt>
                <c:pt idx="227">
                  <c:v>39927</c:v>
                </c:pt>
                <c:pt idx="228">
                  <c:v>39930</c:v>
                </c:pt>
                <c:pt idx="229">
                  <c:v>39931</c:v>
                </c:pt>
                <c:pt idx="230">
                  <c:v>39932</c:v>
                </c:pt>
                <c:pt idx="231">
                  <c:v>39933</c:v>
                </c:pt>
                <c:pt idx="232">
                  <c:v>39934</c:v>
                </c:pt>
                <c:pt idx="233">
                  <c:v>39937</c:v>
                </c:pt>
                <c:pt idx="234">
                  <c:v>39938</c:v>
                </c:pt>
                <c:pt idx="235">
                  <c:v>39939</c:v>
                </c:pt>
                <c:pt idx="236">
                  <c:v>39940</c:v>
                </c:pt>
                <c:pt idx="237">
                  <c:v>39941</c:v>
                </c:pt>
                <c:pt idx="238">
                  <c:v>39944</c:v>
                </c:pt>
                <c:pt idx="239">
                  <c:v>39945</c:v>
                </c:pt>
                <c:pt idx="240">
                  <c:v>39946</c:v>
                </c:pt>
                <c:pt idx="241">
                  <c:v>39947</c:v>
                </c:pt>
                <c:pt idx="242">
                  <c:v>39948</c:v>
                </c:pt>
                <c:pt idx="243">
                  <c:v>39951</c:v>
                </c:pt>
                <c:pt idx="244">
                  <c:v>39952</c:v>
                </c:pt>
                <c:pt idx="245">
                  <c:v>39953</c:v>
                </c:pt>
                <c:pt idx="246">
                  <c:v>39954</c:v>
                </c:pt>
                <c:pt idx="247">
                  <c:v>39955</c:v>
                </c:pt>
                <c:pt idx="248">
                  <c:v>39959</c:v>
                </c:pt>
                <c:pt idx="249">
                  <c:v>39960</c:v>
                </c:pt>
                <c:pt idx="250">
                  <c:v>39961</c:v>
                </c:pt>
                <c:pt idx="251">
                  <c:v>39962</c:v>
                </c:pt>
                <c:pt idx="252">
                  <c:v>39965</c:v>
                </c:pt>
                <c:pt idx="253">
                  <c:v>39966</c:v>
                </c:pt>
                <c:pt idx="254">
                  <c:v>39967</c:v>
                </c:pt>
                <c:pt idx="255">
                  <c:v>39968</c:v>
                </c:pt>
                <c:pt idx="256">
                  <c:v>39969</c:v>
                </c:pt>
                <c:pt idx="257">
                  <c:v>39972</c:v>
                </c:pt>
                <c:pt idx="258">
                  <c:v>39973</c:v>
                </c:pt>
                <c:pt idx="259">
                  <c:v>39974</c:v>
                </c:pt>
                <c:pt idx="260">
                  <c:v>39975</c:v>
                </c:pt>
                <c:pt idx="261">
                  <c:v>39976</c:v>
                </c:pt>
                <c:pt idx="262">
                  <c:v>39979</c:v>
                </c:pt>
                <c:pt idx="263">
                  <c:v>39980</c:v>
                </c:pt>
                <c:pt idx="264">
                  <c:v>39981</c:v>
                </c:pt>
                <c:pt idx="265">
                  <c:v>39982</c:v>
                </c:pt>
                <c:pt idx="266">
                  <c:v>39983</c:v>
                </c:pt>
                <c:pt idx="267">
                  <c:v>39986</c:v>
                </c:pt>
                <c:pt idx="268">
                  <c:v>39987</c:v>
                </c:pt>
                <c:pt idx="269">
                  <c:v>39988</c:v>
                </c:pt>
                <c:pt idx="270">
                  <c:v>39989</c:v>
                </c:pt>
                <c:pt idx="271">
                  <c:v>39990</c:v>
                </c:pt>
                <c:pt idx="272">
                  <c:v>39993</c:v>
                </c:pt>
                <c:pt idx="273">
                  <c:v>39994</c:v>
                </c:pt>
                <c:pt idx="274">
                  <c:v>39995</c:v>
                </c:pt>
                <c:pt idx="275">
                  <c:v>39996</c:v>
                </c:pt>
                <c:pt idx="276">
                  <c:v>40000</c:v>
                </c:pt>
                <c:pt idx="277">
                  <c:v>40001</c:v>
                </c:pt>
                <c:pt idx="278">
                  <c:v>40002</c:v>
                </c:pt>
                <c:pt idx="279">
                  <c:v>40003</c:v>
                </c:pt>
                <c:pt idx="280">
                  <c:v>40004</c:v>
                </c:pt>
                <c:pt idx="281">
                  <c:v>40007</c:v>
                </c:pt>
                <c:pt idx="282">
                  <c:v>40008</c:v>
                </c:pt>
                <c:pt idx="283">
                  <c:v>40009</c:v>
                </c:pt>
                <c:pt idx="284">
                  <c:v>40010</c:v>
                </c:pt>
                <c:pt idx="285">
                  <c:v>40011</c:v>
                </c:pt>
                <c:pt idx="286">
                  <c:v>40014</c:v>
                </c:pt>
                <c:pt idx="287">
                  <c:v>40015</c:v>
                </c:pt>
                <c:pt idx="288">
                  <c:v>40016</c:v>
                </c:pt>
                <c:pt idx="289">
                  <c:v>40017</c:v>
                </c:pt>
                <c:pt idx="290">
                  <c:v>40018</c:v>
                </c:pt>
                <c:pt idx="291">
                  <c:v>40021</c:v>
                </c:pt>
                <c:pt idx="292">
                  <c:v>40022</c:v>
                </c:pt>
                <c:pt idx="293">
                  <c:v>40023</c:v>
                </c:pt>
                <c:pt idx="294">
                  <c:v>40024</c:v>
                </c:pt>
                <c:pt idx="295">
                  <c:v>40025</c:v>
                </c:pt>
                <c:pt idx="296">
                  <c:v>40028</c:v>
                </c:pt>
                <c:pt idx="297">
                  <c:v>40029</c:v>
                </c:pt>
                <c:pt idx="298">
                  <c:v>40030</c:v>
                </c:pt>
                <c:pt idx="299">
                  <c:v>40031</c:v>
                </c:pt>
                <c:pt idx="300">
                  <c:v>40032</c:v>
                </c:pt>
                <c:pt idx="301">
                  <c:v>40035</c:v>
                </c:pt>
                <c:pt idx="302">
                  <c:v>40036</c:v>
                </c:pt>
                <c:pt idx="303">
                  <c:v>40037</c:v>
                </c:pt>
                <c:pt idx="304">
                  <c:v>40038</c:v>
                </c:pt>
                <c:pt idx="305">
                  <c:v>40039</c:v>
                </c:pt>
                <c:pt idx="306">
                  <c:v>40042</c:v>
                </c:pt>
                <c:pt idx="307">
                  <c:v>40043</c:v>
                </c:pt>
                <c:pt idx="308">
                  <c:v>40044</c:v>
                </c:pt>
                <c:pt idx="309">
                  <c:v>40045</c:v>
                </c:pt>
                <c:pt idx="310">
                  <c:v>40046</c:v>
                </c:pt>
                <c:pt idx="311">
                  <c:v>40049</c:v>
                </c:pt>
                <c:pt idx="312">
                  <c:v>40050</c:v>
                </c:pt>
                <c:pt idx="313">
                  <c:v>40051</c:v>
                </c:pt>
                <c:pt idx="314">
                  <c:v>40052</c:v>
                </c:pt>
                <c:pt idx="315">
                  <c:v>40053</c:v>
                </c:pt>
                <c:pt idx="316">
                  <c:v>40056</c:v>
                </c:pt>
                <c:pt idx="317">
                  <c:v>40057</c:v>
                </c:pt>
                <c:pt idx="318">
                  <c:v>40058</c:v>
                </c:pt>
                <c:pt idx="319">
                  <c:v>40059</c:v>
                </c:pt>
                <c:pt idx="320">
                  <c:v>40060</c:v>
                </c:pt>
                <c:pt idx="321">
                  <c:v>40064</c:v>
                </c:pt>
                <c:pt idx="322">
                  <c:v>40065</c:v>
                </c:pt>
                <c:pt idx="323">
                  <c:v>40066</c:v>
                </c:pt>
                <c:pt idx="324">
                  <c:v>40067</c:v>
                </c:pt>
                <c:pt idx="325">
                  <c:v>40070</c:v>
                </c:pt>
                <c:pt idx="326">
                  <c:v>40071</c:v>
                </c:pt>
                <c:pt idx="327">
                  <c:v>40072</c:v>
                </c:pt>
                <c:pt idx="328">
                  <c:v>40073</c:v>
                </c:pt>
                <c:pt idx="329">
                  <c:v>40074</c:v>
                </c:pt>
                <c:pt idx="330">
                  <c:v>40077</c:v>
                </c:pt>
                <c:pt idx="331">
                  <c:v>40078</c:v>
                </c:pt>
                <c:pt idx="332">
                  <c:v>40079</c:v>
                </c:pt>
                <c:pt idx="333">
                  <c:v>40080</c:v>
                </c:pt>
                <c:pt idx="334">
                  <c:v>40081</c:v>
                </c:pt>
                <c:pt idx="335">
                  <c:v>40084</c:v>
                </c:pt>
                <c:pt idx="336">
                  <c:v>40085</c:v>
                </c:pt>
                <c:pt idx="337">
                  <c:v>40086</c:v>
                </c:pt>
                <c:pt idx="338">
                  <c:v>40087</c:v>
                </c:pt>
                <c:pt idx="339">
                  <c:v>40088</c:v>
                </c:pt>
                <c:pt idx="340">
                  <c:v>40091</c:v>
                </c:pt>
                <c:pt idx="341">
                  <c:v>40092</c:v>
                </c:pt>
                <c:pt idx="342">
                  <c:v>40093</c:v>
                </c:pt>
                <c:pt idx="343">
                  <c:v>40094</c:v>
                </c:pt>
                <c:pt idx="344">
                  <c:v>40095</c:v>
                </c:pt>
                <c:pt idx="345">
                  <c:v>40098</c:v>
                </c:pt>
                <c:pt idx="346">
                  <c:v>40099</c:v>
                </c:pt>
                <c:pt idx="347">
                  <c:v>40100</c:v>
                </c:pt>
                <c:pt idx="348">
                  <c:v>40101</c:v>
                </c:pt>
                <c:pt idx="349">
                  <c:v>40102</c:v>
                </c:pt>
                <c:pt idx="350">
                  <c:v>40105</c:v>
                </c:pt>
                <c:pt idx="351">
                  <c:v>40106</c:v>
                </c:pt>
                <c:pt idx="352">
                  <c:v>40107</c:v>
                </c:pt>
                <c:pt idx="353">
                  <c:v>40108</c:v>
                </c:pt>
                <c:pt idx="354">
                  <c:v>40109</c:v>
                </c:pt>
                <c:pt idx="355">
                  <c:v>40112</c:v>
                </c:pt>
                <c:pt idx="356">
                  <c:v>40113</c:v>
                </c:pt>
                <c:pt idx="357">
                  <c:v>40114</c:v>
                </c:pt>
                <c:pt idx="358">
                  <c:v>40115</c:v>
                </c:pt>
                <c:pt idx="359">
                  <c:v>40116</c:v>
                </c:pt>
                <c:pt idx="360">
                  <c:v>40119</c:v>
                </c:pt>
                <c:pt idx="361">
                  <c:v>40120</c:v>
                </c:pt>
                <c:pt idx="362">
                  <c:v>40121</c:v>
                </c:pt>
                <c:pt idx="363">
                  <c:v>40122</c:v>
                </c:pt>
                <c:pt idx="364">
                  <c:v>40123</c:v>
                </c:pt>
                <c:pt idx="365">
                  <c:v>40126</c:v>
                </c:pt>
                <c:pt idx="366">
                  <c:v>40127</c:v>
                </c:pt>
                <c:pt idx="367">
                  <c:v>40128</c:v>
                </c:pt>
                <c:pt idx="368">
                  <c:v>40129</c:v>
                </c:pt>
                <c:pt idx="369">
                  <c:v>40130</c:v>
                </c:pt>
                <c:pt idx="370">
                  <c:v>40133</c:v>
                </c:pt>
                <c:pt idx="371">
                  <c:v>40134</c:v>
                </c:pt>
                <c:pt idx="372">
                  <c:v>40135</c:v>
                </c:pt>
                <c:pt idx="373">
                  <c:v>40136</c:v>
                </c:pt>
                <c:pt idx="374">
                  <c:v>40137</c:v>
                </c:pt>
                <c:pt idx="375">
                  <c:v>40140</c:v>
                </c:pt>
                <c:pt idx="376">
                  <c:v>40141</c:v>
                </c:pt>
                <c:pt idx="377">
                  <c:v>40142</c:v>
                </c:pt>
                <c:pt idx="378">
                  <c:v>40144</c:v>
                </c:pt>
                <c:pt idx="379">
                  <c:v>40147</c:v>
                </c:pt>
                <c:pt idx="380">
                  <c:v>40148</c:v>
                </c:pt>
                <c:pt idx="381">
                  <c:v>40149</c:v>
                </c:pt>
                <c:pt idx="382">
                  <c:v>40150</c:v>
                </c:pt>
                <c:pt idx="383">
                  <c:v>40151</c:v>
                </c:pt>
                <c:pt idx="384">
                  <c:v>40154</c:v>
                </c:pt>
                <c:pt idx="385">
                  <c:v>40155</c:v>
                </c:pt>
                <c:pt idx="386">
                  <c:v>40156</c:v>
                </c:pt>
                <c:pt idx="387">
                  <c:v>40157</c:v>
                </c:pt>
                <c:pt idx="388">
                  <c:v>40158</c:v>
                </c:pt>
                <c:pt idx="389">
                  <c:v>40161</c:v>
                </c:pt>
                <c:pt idx="390">
                  <c:v>40162</c:v>
                </c:pt>
                <c:pt idx="391">
                  <c:v>40163</c:v>
                </c:pt>
                <c:pt idx="392">
                  <c:v>40164</c:v>
                </c:pt>
                <c:pt idx="393">
                  <c:v>40165</c:v>
                </c:pt>
                <c:pt idx="394">
                  <c:v>40168</c:v>
                </c:pt>
                <c:pt idx="395">
                  <c:v>40169</c:v>
                </c:pt>
                <c:pt idx="396">
                  <c:v>40170</c:v>
                </c:pt>
                <c:pt idx="397">
                  <c:v>40171</c:v>
                </c:pt>
                <c:pt idx="398">
                  <c:v>40175</c:v>
                </c:pt>
                <c:pt idx="399">
                  <c:v>40176</c:v>
                </c:pt>
                <c:pt idx="400">
                  <c:v>40177</c:v>
                </c:pt>
                <c:pt idx="401">
                  <c:v>40178</c:v>
                </c:pt>
                <c:pt idx="402">
                  <c:v>40182</c:v>
                </c:pt>
                <c:pt idx="403">
                  <c:v>40183</c:v>
                </c:pt>
                <c:pt idx="404">
                  <c:v>40184</c:v>
                </c:pt>
                <c:pt idx="405">
                  <c:v>40185</c:v>
                </c:pt>
                <c:pt idx="406">
                  <c:v>40186</c:v>
                </c:pt>
                <c:pt idx="407">
                  <c:v>40189</c:v>
                </c:pt>
                <c:pt idx="408">
                  <c:v>40190</c:v>
                </c:pt>
                <c:pt idx="409">
                  <c:v>40191</c:v>
                </c:pt>
                <c:pt idx="410">
                  <c:v>40192</c:v>
                </c:pt>
                <c:pt idx="411">
                  <c:v>40193</c:v>
                </c:pt>
                <c:pt idx="412">
                  <c:v>40197</c:v>
                </c:pt>
                <c:pt idx="413">
                  <c:v>40198</c:v>
                </c:pt>
                <c:pt idx="414">
                  <c:v>40199</c:v>
                </c:pt>
                <c:pt idx="415">
                  <c:v>40200</c:v>
                </c:pt>
                <c:pt idx="416">
                  <c:v>40203</c:v>
                </c:pt>
                <c:pt idx="417">
                  <c:v>40204</c:v>
                </c:pt>
                <c:pt idx="418">
                  <c:v>40205</c:v>
                </c:pt>
                <c:pt idx="419">
                  <c:v>40206</c:v>
                </c:pt>
                <c:pt idx="420">
                  <c:v>40207</c:v>
                </c:pt>
                <c:pt idx="421">
                  <c:v>40210</c:v>
                </c:pt>
                <c:pt idx="422">
                  <c:v>40211</c:v>
                </c:pt>
                <c:pt idx="423">
                  <c:v>40212</c:v>
                </c:pt>
                <c:pt idx="424">
                  <c:v>40213</c:v>
                </c:pt>
                <c:pt idx="425">
                  <c:v>40214</c:v>
                </c:pt>
                <c:pt idx="426">
                  <c:v>40217</c:v>
                </c:pt>
                <c:pt idx="427">
                  <c:v>40218</c:v>
                </c:pt>
                <c:pt idx="428">
                  <c:v>40219</c:v>
                </c:pt>
                <c:pt idx="429">
                  <c:v>40220</c:v>
                </c:pt>
                <c:pt idx="430">
                  <c:v>40221</c:v>
                </c:pt>
                <c:pt idx="431">
                  <c:v>40225</c:v>
                </c:pt>
                <c:pt idx="432">
                  <c:v>40226</c:v>
                </c:pt>
                <c:pt idx="433">
                  <c:v>40227</c:v>
                </c:pt>
                <c:pt idx="434">
                  <c:v>40228</c:v>
                </c:pt>
                <c:pt idx="435">
                  <c:v>40231</c:v>
                </c:pt>
                <c:pt idx="436">
                  <c:v>40232</c:v>
                </c:pt>
                <c:pt idx="437">
                  <c:v>40233</c:v>
                </c:pt>
                <c:pt idx="438">
                  <c:v>40234</c:v>
                </c:pt>
                <c:pt idx="439">
                  <c:v>40235</c:v>
                </c:pt>
                <c:pt idx="440">
                  <c:v>40238</c:v>
                </c:pt>
                <c:pt idx="441">
                  <c:v>40239</c:v>
                </c:pt>
                <c:pt idx="442">
                  <c:v>40240</c:v>
                </c:pt>
                <c:pt idx="443">
                  <c:v>40241</c:v>
                </c:pt>
                <c:pt idx="444">
                  <c:v>40242</c:v>
                </c:pt>
                <c:pt idx="445">
                  <c:v>40245</c:v>
                </c:pt>
                <c:pt idx="446">
                  <c:v>40246</c:v>
                </c:pt>
                <c:pt idx="447">
                  <c:v>40247</c:v>
                </c:pt>
                <c:pt idx="448">
                  <c:v>40248</c:v>
                </c:pt>
                <c:pt idx="449">
                  <c:v>40249</c:v>
                </c:pt>
                <c:pt idx="450">
                  <c:v>40252</c:v>
                </c:pt>
                <c:pt idx="451">
                  <c:v>40253</c:v>
                </c:pt>
                <c:pt idx="452">
                  <c:v>40254</c:v>
                </c:pt>
                <c:pt idx="453">
                  <c:v>40255</c:v>
                </c:pt>
                <c:pt idx="454">
                  <c:v>40256</c:v>
                </c:pt>
                <c:pt idx="455">
                  <c:v>40259</c:v>
                </c:pt>
                <c:pt idx="456">
                  <c:v>40260</c:v>
                </c:pt>
                <c:pt idx="457">
                  <c:v>40261</c:v>
                </c:pt>
                <c:pt idx="458">
                  <c:v>40262</c:v>
                </c:pt>
                <c:pt idx="459">
                  <c:v>40263</c:v>
                </c:pt>
                <c:pt idx="460">
                  <c:v>40266</c:v>
                </c:pt>
                <c:pt idx="461">
                  <c:v>40267</c:v>
                </c:pt>
                <c:pt idx="462">
                  <c:v>40268</c:v>
                </c:pt>
                <c:pt idx="463">
                  <c:v>40269</c:v>
                </c:pt>
                <c:pt idx="464">
                  <c:v>40273</c:v>
                </c:pt>
                <c:pt idx="465">
                  <c:v>40274</c:v>
                </c:pt>
                <c:pt idx="466">
                  <c:v>40275</c:v>
                </c:pt>
                <c:pt idx="467">
                  <c:v>40276</c:v>
                </c:pt>
                <c:pt idx="468">
                  <c:v>40277</c:v>
                </c:pt>
                <c:pt idx="469">
                  <c:v>40280</c:v>
                </c:pt>
                <c:pt idx="470">
                  <c:v>40281</c:v>
                </c:pt>
                <c:pt idx="471">
                  <c:v>40282</c:v>
                </c:pt>
                <c:pt idx="472">
                  <c:v>40283</c:v>
                </c:pt>
                <c:pt idx="473">
                  <c:v>40284</c:v>
                </c:pt>
                <c:pt idx="474">
                  <c:v>40287</c:v>
                </c:pt>
                <c:pt idx="475">
                  <c:v>40288</c:v>
                </c:pt>
                <c:pt idx="476">
                  <c:v>40289</c:v>
                </c:pt>
                <c:pt idx="477">
                  <c:v>40290</c:v>
                </c:pt>
                <c:pt idx="478">
                  <c:v>40291</c:v>
                </c:pt>
                <c:pt idx="479">
                  <c:v>40294</c:v>
                </c:pt>
                <c:pt idx="480">
                  <c:v>40295</c:v>
                </c:pt>
                <c:pt idx="481">
                  <c:v>40296</c:v>
                </c:pt>
                <c:pt idx="482">
                  <c:v>40297</c:v>
                </c:pt>
                <c:pt idx="483">
                  <c:v>40298</c:v>
                </c:pt>
                <c:pt idx="484">
                  <c:v>40301</c:v>
                </c:pt>
                <c:pt idx="485">
                  <c:v>40302</c:v>
                </c:pt>
                <c:pt idx="486">
                  <c:v>40303</c:v>
                </c:pt>
                <c:pt idx="487">
                  <c:v>40304</c:v>
                </c:pt>
                <c:pt idx="488">
                  <c:v>40305</c:v>
                </c:pt>
                <c:pt idx="489">
                  <c:v>40308</c:v>
                </c:pt>
                <c:pt idx="490">
                  <c:v>40309</c:v>
                </c:pt>
                <c:pt idx="491">
                  <c:v>40310</c:v>
                </c:pt>
                <c:pt idx="492">
                  <c:v>40311</c:v>
                </c:pt>
                <c:pt idx="493">
                  <c:v>40312</c:v>
                </c:pt>
                <c:pt idx="494">
                  <c:v>40315</c:v>
                </c:pt>
                <c:pt idx="495">
                  <c:v>40316</c:v>
                </c:pt>
                <c:pt idx="496">
                  <c:v>40317</c:v>
                </c:pt>
                <c:pt idx="497">
                  <c:v>40318</c:v>
                </c:pt>
                <c:pt idx="498">
                  <c:v>40319</c:v>
                </c:pt>
                <c:pt idx="499">
                  <c:v>40322</c:v>
                </c:pt>
                <c:pt idx="500">
                  <c:v>40323</c:v>
                </c:pt>
                <c:pt idx="501">
                  <c:v>40324</c:v>
                </c:pt>
                <c:pt idx="502">
                  <c:v>40325</c:v>
                </c:pt>
                <c:pt idx="503">
                  <c:v>40326</c:v>
                </c:pt>
                <c:pt idx="504">
                  <c:v>40330</c:v>
                </c:pt>
                <c:pt idx="505">
                  <c:v>40331</c:v>
                </c:pt>
                <c:pt idx="506">
                  <c:v>40332</c:v>
                </c:pt>
                <c:pt idx="507">
                  <c:v>40333</c:v>
                </c:pt>
                <c:pt idx="508">
                  <c:v>40336</c:v>
                </c:pt>
                <c:pt idx="509">
                  <c:v>40337</c:v>
                </c:pt>
                <c:pt idx="510">
                  <c:v>40338</c:v>
                </c:pt>
                <c:pt idx="511">
                  <c:v>40339</c:v>
                </c:pt>
                <c:pt idx="512">
                  <c:v>40340</c:v>
                </c:pt>
                <c:pt idx="513">
                  <c:v>40343</c:v>
                </c:pt>
                <c:pt idx="514">
                  <c:v>40344</c:v>
                </c:pt>
                <c:pt idx="515">
                  <c:v>40345</c:v>
                </c:pt>
                <c:pt idx="516">
                  <c:v>40346</c:v>
                </c:pt>
                <c:pt idx="517">
                  <c:v>40347</c:v>
                </c:pt>
                <c:pt idx="518">
                  <c:v>40350</c:v>
                </c:pt>
                <c:pt idx="519">
                  <c:v>40351</c:v>
                </c:pt>
                <c:pt idx="520">
                  <c:v>40352</c:v>
                </c:pt>
                <c:pt idx="521">
                  <c:v>40353</c:v>
                </c:pt>
                <c:pt idx="522">
                  <c:v>40354</c:v>
                </c:pt>
                <c:pt idx="523">
                  <c:v>40357</c:v>
                </c:pt>
                <c:pt idx="524">
                  <c:v>40358</c:v>
                </c:pt>
                <c:pt idx="525">
                  <c:v>40359</c:v>
                </c:pt>
                <c:pt idx="526">
                  <c:v>40360</c:v>
                </c:pt>
                <c:pt idx="527">
                  <c:v>40361</c:v>
                </c:pt>
                <c:pt idx="528">
                  <c:v>40365</c:v>
                </c:pt>
                <c:pt idx="529">
                  <c:v>40366</c:v>
                </c:pt>
                <c:pt idx="530">
                  <c:v>40367</c:v>
                </c:pt>
                <c:pt idx="531">
                  <c:v>40368</c:v>
                </c:pt>
                <c:pt idx="532">
                  <c:v>40371</c:v>
                </c:pt>
                <c:pt idx="533">
                  <c:v>40372</c:v>
                </c:pt>
                <c:pt idx="534">
                  <c:v>40373</c:v>
                </c:pt>
                <c:pt idx="535">
                  <c:v>40374</c:v>
                </c:pt>
                <c:pt idx="536">
                  <c:v>40375</c:v>
                </c:pt>
                <c:pt idx="537">
                  <c:v>40378</c:v>
                </c:pt>
                <c:pt idx="538">
                  <c:v>40379</c:v>
                </c:pt>
                <c:pt idx="539">
                  <c:v>40380</c:v>
                </c:pt>
                <c:pt idx="540">
                  <c:v>40381</c:v>
                </c:pt>
                <c:pt idx="541">
                  <c:v>40382</c:v>
                </c:pt>
                <c:pt idx="542">
                  <c:v>40385</c:v>
                </c:pt>
                <c:pt idx="543">
                  <c:v>40386</c:v>
                </c:pt>
                <c:pt idx="544">
                  <c:v>40387</c:v>
                </c:pt>
                <c:pt idx="545">
                  <c:v>40388</c:v>
                </c:pt>
                <c:pt idx="546">
                  <c:v>40389</c:v>
                </c:pt>
                <c:pt idx="547">
                  <c:v>40392</c:v>
                </c:pt>
                <c:pt idx="548">
                  <c:v>40393</c:v>
                </c:pt>
                <c:pt idx="549">
                  <c:v>40394</c:v>
                </c:pt>
                <c:pt idx="550">
                  <c:v>40395</c:v>
                </c:pt>
                <c:pt idx="551">
                  <c:v>40396</c:v>
                </c:pt>
                <c:pt idx="552">
                  <c:v>40399</c:v>
                </c:pt>
                <c:pt idx="553">
                  <c:v>40400</c:v>
                </c:pt>
                <c:pt idx="554">
                  <c:v>40401</c:v>
                </c:pt>
                <c:pt idx="555">
                  <c:v>40402</c:v>
                </c:pt>
                <c:pt idx="556">
                  <c:v>40403</c:v>
                </c:pt>
                <c:pt idx="557">
                  <c:v>40406</c:v>
                </c:pt>
                <c:pt idx="558">
                  <c:v>40407</c:v>
                </c:pt>
                <c:pt idx="559">
                  <c:v>40408</c:v>
                </c:pt>
                <c:pt idx="560">
                  <c:v>40409</c:v>
                </c:pt>
                <c:pt idx="561">
                  <c:v>40410</c:v>
                </c:pt>
                <c:pt idx="562">
                  <c:v>40413</c:v>
                </c:pt>
                <c:pt idx="563">
                  <c:v>40414</c:v>
                </c:pt>
                <c:pt idx="564">
                  <c:v>40415</c:v>
                </c:pt>
                <c:pt idx="565">
                  <c:v>40416</c:v>
                </c:pt>
                <c:pt idx="566">
                  <c:v>40417</c:v>
                </c:pt>
                <c:pt idx="567">
                  <c:v>40420</c:v>
                </c:pt>
                <c:pt idx="568">
                  <c:v>40421</c:v>
                </c:pt>
                <c:pt idx="569">
                  <c:v>40422</c:v>
                </c:pt>
                <c:pt idx="570">
                  <c:v>40423</c:v>
                </c:pt>
                <c:pt idx="571">
                  <c:v>40424</c:v>
                </c:pt>
                <c:pt idx="572">
                  <c:v>40428</c:v>
                </c:pt>
                <c:pt idx="573">
                  <c:v>40429</c:v>
                </c:pt>
                <c:pt idx="574">
                  <c:v>40430</c:v>
                </c:pt>
                <c:pt idx="575">
                  <c:v>40431</c:v>
                </c:pt>
                <c:pt idx="576">
                  <c:v>40434</c:v>
                </c:pt>
                <c:pt idx="577">
                  <c:v>40435</c:v>
                </c:pt>
                <c:pt idx="578">
                  <c:v>40436</c:v>
                </c:pt>
                <c:pt idx="579">
                  <c:v>40437</c:v>
                </c:pt>
                <c:pt idx="580">
                  <c:v>40438</c:v>
                </c:pt>
                <c:pt idx="581">
                  <c:v>40441</c:v>
                </c:pt>
                <c:pt idx="582">
                  <c:v>40442</c:v>
                </c:pt>
                <c:pt idx="583">
                  <c:v>40443</c:v>
                </c:pt>
                <c:pt idx="584">
                  <c:v>40444</c:v>
                </c:pt>
                <c:pt idx="585">
                  <c:v>40445</c:v>
                </c:pt>
                <c:pt idx="586">
                  <c:v>40448</c:v>
                </c:pt>
                <c:pt idx="587">
                  <c:v>40449</c:v>
                </c:pt>
                <c:pt idx="588">
                  <c:v>40450</c:v>
                </c:pt>
                <c:pt idx="589">
                  <c:v>40451</c:v>
                </c:pt>
                <c:pt idx="590">
                  <c:v>40452</c:v>
                </c:pt>
                <c:pt idx="591">
                  <c:v>40455</c:v>
                </c:pt>
                <c:pt idx="592">
                  <c:v>40456</c:v>
                </c:pt>
                <c:pt idx="593">
                  <c:v>40457</c:v>
                </c:pt>
                <c:pt idx="594">
                  <c:v>40458</c:v>
                </c:pt>
                <c:pt idx="595">
                  <c:v>40459</c:v>
                </c:pt>
                <c:pt idx="596">
                  <c:v>40462</c:v>
                </c:pt>
                <c:pt idx="597">
                  <c:v>40463</c:v>
                </c:pt>
                <c:pt idx="598">
                  <c:v>40464</c:v>
                </c:pt>
                <c:pt idx="599">
                  <c:v>40465</c:v>
                </c:pt>
                <c:pt idx="600">
                  <c:v>40466</c:v>
                </c:pt>
                <c:pt idx="601">
                  <c:v>40469</c:v>
                </c:pt>
                <c:pt idx="602">
                  <c:v>40470</c:v>
                </c:pt>
                <c:pt idx="603">
                  <c:v>40471</c:v>
                </c:pt>
                <c:pt idx="604">
                  <c:v>40472</c:v>
                </c:pt>
                <c:pt idx="605">
                  <c:v>40473</c:v>
                </c:pt>
                <c:pt idx="606">
                  <c:v>40476</c:v>
                </c:pt>
                <c:pt idx="607">
                  <c:v>40477</c:v>
                </c:pt>
                <c:pt idx="608">
                  <c:v>40478</c:v>
                </c:pt>
                <c:pt idx="609">
                  <c:v>40479</c:v>
                </c:pt>
                <c:pt idx="610">
                  <c:v>40480</c:v>
                </c:pt>
                <c:pt idx="611">
                  <c:v>40483</c:v>
                </c:pt>
                <c:pt idx="612">
                  <c:v>40484</c:v>
                </c:pt>
                <c:pt idx="613">
                  <c:v>40485</c:v>
                </c:pt>
                <c:pt idx="614">
                  <c:v>40486</c:v>
                </c:pt>
                <c:pt idx="615">
                  <c:v>40487</c:v>
                </c:pt>
                <c:pt idx="616">
                  <c:v>40490</c:v>
                </c:pt>
                <c:pt idx="617">
                  <c:v>40491</c:v>
                </c:pt>
                <c:pt idx="618">
                  <c:v>40492</c:v>
                </c:pt>
                <c:pt idx="619">
                  <c:v>40493</c:v>
                </c:pt>
                <c:pt idx="620">
                  <c:v>40494</c:v>
                </c:pt>
                <c:pt idx="621">
                  <c:v>40497</c:v>
                </c:pt>
                <c:pt idx="622">
                  <c:v>40498</c:v>
                </c:pt>
                <c:pt idx="623">
                  <c:v>40499</c:v>
                </c:pt>
                <c:pt idx="624">
                  <c:v>40500</c:v>
                </c:pt>
                <c:pt idx="625">
                  <c:v>40501</c:v>
                </c:pt>
                <c:pt idx="626">
                  <c:v>40504</c:v>
                </c:pt>
                <c:pt idx="627">
                  <c:v>40505</c:v>
                </c:pt>
                <c:pt idx="628">
                  <c:v>40506</c:v>
                </c:pt>
                <c:pt idx="629">
                  <c:v>40508</c:v>
                </c:pt>
                <c:pt idx="630">
                  <c:v>40511</c:v>
                </c:pt>
                <c:pt idx="631">
                  <c:v>40512</c:v>
                </c:pt>
                <c:pt idx="632">
                  <c:v>40513</c:v>
                </c:pt>
                <c:pt idx="633">
                  <c:v>40514</c:v>
                </c:pt>
                <c:pt idx="634">
                  <c:v>40515</c:v>
                </c:pt>
                <c:pt idx="635">
                  <c:v>40518</c:v>
                </c:pt>
                <c:pt idx="636">
                  <c:v>40519</c:v>
                </c:pt>
                <c:pt idx="637">
                  <c:v>40520</c:v>
                </c:pt>
                <c:pt idx="638">
                  <c:v>40521</c:v>
                </c:pt>
                <c:pt idx="639">
                  <c:v>40522</c:v>
                </c:pt>
                <c:pt idx="640">
                  <c:v>40525</c:v>
                </c:pt>
                <c:pt idx="641">
                  <c:v>40526</c:v>
                </c:pt>
                <c:pt idx="642">
                  <c:v>40527</c:v>
                </c:pt>
                <c:pt idx="643">
                  <c:v>40528</c:v>
                </c:pt>
                <c:pt idx="644">
                  <c:v>40529</c:v>
                </c:pt>
                <c:pt idx="645">
                  <c:v>40532</c:v>
                </c:pt>
                <c:pt idx="646">
                  <c:v>40533</c:v>
                </c:pt>
                <c:pt idx="647">
                  <c:v>40534</c:v>
                </c:pt>
                <c:pt idx="648">
                  <c:v>40535</c:v>
                </c:pt>
                <c:pt idx="649">
                  <c:v>40539</c:v>
                </c:pt>
                <c:pt idx="650">
                  <c:v>40540</c:v>
                </c:pt>
                <c:pt idx="651">
                  <c:v>40541</c:v>
                </c:pt>
                <c:pt idx="652">
                  <c:v>40542</c:v>
                </c:pt>
                <c:pt idx="653">
                  <c:v>40543</c:v>
                </c:pt>
                <c:pt idx="654">
                  <c:v>40546</c:v>
                </c:pt>
                <c:pt idx="655">
                  <c:v>40547</c:v>
                </c:pt>
                <c:pt idx="656">
                  <c:v>40548</c:v>
                </c:pt>
                <c:pt idx="657">
                  <c:v>40549</c:v>
                </c:pt>
                <c:pt idx="658">
                  <c:v>40550</c:v>
                </c:pt>
                <c:pt idx="659">
                  <c:v>40553</c:v>
                </c:pt>
                <c:pt idx="660">
                  <c:v>40554</c:v>
                </c:pt>
                <c:pt idx="661">
                  <c:v>40555</c:v>
                </c:pt>
                <c:pt idx="662">
                  <c:v>40556</c:v>
                </c:pt>
                <c:pt idx="663">
                  <c:v>40557</c:v>
                </c:pt>
                <c:pt idx="664">
                  <c:v>40561</c:v>
                </c:pt>
                <c:pt idx="665">
                  <c:v>40562</c:v>
                </c:pt>
                <c:pt idx="666">
                  <c:v>40563</c:v>
                </c:pt>
                <c:pt idx="667">
                  <c:v>40564</c:v>
                </c:pt>
                <c:pt idx="668">
                  <c:v>40567</c:v>
                </c:pt>
                <c:pt idx="669">
                  <c:v>40568</c:v>
                </c:pt>
                <c:pt idx="670">
                  <c:v>40569</c:v>
                </c:pt>
                <c:pt idx="671">
                  <c:v>40570</c:v>
                </c:pt>
                <c:pt idx="672">
                  <c:v>40571</c:v>
                </c:pt>
                <c:pt idx="673">
                  <c:v>40574</c:v>
                </c:pt>
                <c:pt idx="674">
                  <c:v>40575</c:v>
                </c:pt>
                <c:pt idx="675">
                  <c:v>40576</c:v>
                </c:pt>
                <c:pt idx="676">
                  <c:v>40577</c:v>
                </c:pt>
                <c:pt idx="677">
                  <c:v>40578</c:v>
                </c:pt>
                <c:pt idx="678">
                  <c:v>40581</c:v>
                </c:pt>
                <c:pt idx="679">
                  <c:v>40582</c:v>
                </c:pt>
                <c:pt idx="680">
                  <c:v>40583</c:v>
                </c:pt>
                <c:pt idx="681">
                  <c:v>40584</c:v>
                </c:pt>
                <c:pt idx="682">
                  <c:v>40585</c:v>
                </c:pt>
                <c:pt idx="683">
                  <c:v>40588</c:v>
                </c:pt>
                <c:pt idx="684">
                  <c:v>40589</c:v>
                </c:pt>
                <c:pt idx="685">
                  <c:v>40590</c:v>
                </c:pt>
                <c:pt idx="686">
                  <c:v>40591</c:v>
                </c:pt>
                <c:pt idx="687">
                  <c:v>40592</c:v>
                </c:pt>
                <c:pt idx="688">
                  <c:v>40596</c:v>
                </c:pt>
                <c:pt idx="689">
                  <c:v>40597</c:v>
                </c:pt>
                <c:pt idx="690">
                  <c:v>40598</c:v>
                </c:pt>
                <c:pt idx="691">
                  <c:v>40599</c:v>
                </c:pt>
                <c:pt idx="692">
                  <c:v>40602</c:v>
                </c:pt>
                <c:pt idx="693">
                  <c:v>40603</c:v>
                </c:pt>
                <c:pt idx="694">
                  <c:v>40604</c:v>
                </c:pt>
                <c:pt idx="695">
                  <c:v>40605</c:v>
                </c:pt>
                <c:pt idx="696">
                  <c:v>40606</c:v>
                </c:pt>
                <c:pt idx="697">
                  <c:v>40609</c:v>
                </c:pt>
                <c:pt idx="698">
                  <c:v>40610</c:v>
                </c:pt>
                <c:pt idx="699">
                  <c:v>40611</c:v>
                </c:pt>
                <c:pt idx="700">
                  <c:v>40612</c:v>
                </c:pt>
                <c:pt idx="701">
                  <c:v>40613</c:v>
                </c:pt>
                <c:pt idx="702">
                  <c:v>40616</c:v>
                </c:pt>
                <c:pt idx="703">
                  <c:v>40617</c:v>
                </c:pt>
                <c:pt idx="704">
                  <c:v>40618</c:v>
                </c:pt>
                <c:pt idx="705">
                  <c:v>40619</c:v>
                </c:pt>
                <c:pt idx="706">
                  <c:v>40620</c:v>
                </c:pt>
                <c:pt idx="707">
                  <c:v>40623</c:v>
                </c:pt>
                <c:pt idx="708">
                  <c:v>40624</c:v>
                </c:pt>
                <c:pt idx="709">
                  <c:v>40625</c:v>
                </c:pt>
                <c:pt idx="710">
                  <c:v>40626</c:v>
                </c:pt>
                <c:pt idx="711">
                  <c:v>40627</c:v>
                </c:pt>
                <c:pt idx="712">
                  <c:v>40630</c:v>
                </c:pt>
                <c:pt idx="713">
                  <c:v>40631</c:v>
                </c:pt>
                <c:pt idx="714">
                  <c:v>40632</c:v>
                </c:pt>
                <c:pt idx="715">
                  <c:v>40633</c:v>
                </c:pt>
                <c:pt idx="716">
                  <c:v>40634</c:v>
                </c:pt>
                <c:pt idx="717">
                  <c:v>40637</c:v>
                </c:pt>
                <c:pt idx="718">
                  <c:v>40638</c:v>
                </c:pt>
                <c:pt idx="719">
                  <c:v>40639</c:v>
                </c:pt>
                <c:pt idx="720">
                  <c:v>40640</c:v>
                </c:pt>
                <c:pt idx="721">
                  <c:v>40641</c:v>
                </c:pt>
                <c:pt idx="722">
                  <c:v>40644</c:v>
                </c:pt>
                <c:pt idx="723">
                  <c:v>40645</c:v>
                </c:pt>
                <c:pt idx="724">
                  <c:v>40646</c:v>
                </c:pt>
                <c:pt idx="725">
                  <c:v>40647</c:v>
                </c:pt>
                <c:pt idx="726">
                  <c:v>40648</c:v>
                </c:pt>
                <c:pt idx="727">
                  <c:v>40651</c:v>
                </c:pt>
                <c:pt idx="728">
                  <c:v>40652</c:v>
                </c:pt>
                <c:pt idx="729">
                  <c:v>40653</c:v>
                </c:pt>
                <c:pt idx="730">
                  <c:v>40654</c:v>
                </c:pt>
                <c:pt idx="731">
                  <c:v>40658</c:v>
                </c:pt>
                <c:pt idx="732">
                  <c:v>40659</c:v>
                </c:pt>
                <c:pt idx="733">
                  <c:v>40660</c:v>
                </c:pt>
                <c:pt idx="734">
                  <c:v>40661</c:v>
                </c:pt>
                <c:pt idx="735">
                  <c:v>40662</c:v>
                </c:pt>
                <c:pt idx="736">
                  <c:v>40665</c:v>
                </c:pt>
                <c:pt idx="737">
                  <c:v>40666</c:v>
                </c:pt>
                <c:pt idx="738">
                  <c:v>40667</c:v>
                </c:pt>
                <c:pt idx="739">
                  <c:v>40668</c:v>
                </c:pt>
                <c:pt idx="740">
                  <c:v>40669</c:v>
                </c:pt>
                <c:pt idx="741">
                  <c:v>40672</c:v>
                </c:pt>
                <c:pt idx="742">
                  <c:v>40673</c:v>
                </c:pt>
                <c:pt idx="743">
                  <c:v>40674</c:v>
                </c:pt>
                <c:pt idx="744">
                  <c:v>40675</c:v>
                </c:pt>
                <c:pt idx="745">
                  <c:v>40676</c:v>
                </c:pt>
                <c:pt idx="746">
                  <c:v>40679</c:v>
                </c:pt>
                <c:pt idx="747">
                  <c:v>40680</c:v>
                </c:pt>
                <c:pt idx="748">
                  <c:v>40681</c:v>
                </c:pt>
                <c:pt idx="749">
                  <c:v>40682</c:v>
                </c:pt>
                <c:pt idx="750">
                  <c:v>40683</c:v>
                </c:pt>
                <c:pt idx="751">
                  <c:v>40686</c:v>
                </c:pt>
                <c:pt idx="752">
                  <c:v>40687</c:v>
                </c:pt>
                <c:pt idx="753">
                  <c:v>40688</c:v>
                </c:pt>
                <c:pt idx="754">
                  <c:v>40689</c:v>
                </c:pt>
                <c:pt idx="755">
                  <c:v>40690</c:v>
                </c:pt>
                <c:pt idx="756">
                  <c:v>40694</c:v>
                </c:pt>
                <c:pt idx="757">
                  <c:v>40695</c:v>
                </c:pt>
                <c:pt idx="758">
                  <c:v>40696</c:v>
                </c:pt>
                <c:pt idx="759">
                  <c:v>40697</c:v>
                </c:pt>
                <c:pt idx="760">
                  <c:v>40700</c:v>
                </c:pt>
                <c:pt idx="761">
                  <c:v>40701</c:v>
                </c:pt>
                <c:pt idx="762">
                  <c:v>40702</c:v>
                </c:pt>
                <c:pt idx="763">
                  <c:v>40703</c:v>
                </c:pt>
                <c:pt idx="764">
                  <c:v>40704</c:v>
                </c:pt>
                <c:pt idx="765">
                  <c:v>40707</c:v>
                </c:pt>
                <c:pt idx="766">
                  <c:v>40708</c:v>
                </c:pt>
                <c:pt idx="767">
                  <c:v>40709</c:v>
                </c:pt>
                <c:pt idx="768">
                  <c:v>40710</c:v>
                </c:pt>
                <c:pt idx="769">
                  <c:v>40711</c:v>
                </c:pt>
                <c:pt idx="770">
                  <c:v>40714</c:v>
                </c:pt>
                <c:pt idx="771">
                  <c:v>40715</c:v>
                </c:pt>
                <c:pt idx="772">
                  <c:v>40716</c:v>
                </c:pt>
                <c:pt idx="773">
                  <c:v>40717</c:v>
                </c:pt>
                <c:pt idx="774">
                  <c:v>40718</c:v>
                </c:pt>
                <c:pt idx="775">
                  <c:v>40721</c:v>
                </c:pt>
                <c:pt idx="776">
                  <c:v>40722</c:v>
                </c:pt>
                <c:pt idx="777">
                  <c:v>40723</c:v>
                </c:pt>
                <c:pt idx="778">
                  <c:v>40724</c:v>
                </c:pt>
                <c:pt idx="779">
                  <c:v>40725</c:v>
                </c:pt>
                <c:pt idx="780">
                  <c:v>40729</c:v>
                </c:pt>
                <c:pt idx="781">
                  <c:v>40730</c:v>
                </c:pt>
                <c:pt idx="782">
                  <c:v>40731</c:v>
                </c:pt>
                <c:pt idx="783">
                  <c:v>40732</c:v>
                </c:pt>
                <c:pt idx="784">
                  <c:v>40735</c:v>
                </c:pt>
                <c:pt idx="785">
                  <c:v>40736</c:v>
                </c:pt>
                <c:pt idx="786">
                  <c:v>40737</c:v>
                </c:pt>
                <c:pt idx="787">
                  <c:v>40738</c:v>
                </c:pt>
                <c:pt idx="788">
                  <c:v>40739</c:v>
                </c:pt>
                <c:pt idx="789">
                  <c:v>40742</c:v>
                </c:pt>
                <c:pt idx="790">
                  <c:v>40743</c:v>
                </c:pt>
                <c:pt idx="791">
                  <c:v>40744</c:v>
                </c:pt>
                <c:pt idx="792">
                  <c:v>40745</c:v>
                </c:pt>
                <c:pt idx="793">
                  <c:v>40746</c:v>
                </c:pt>
                <c:pt idx="794">
                  <c:v>40749</c:v>
                </c:pt>
                <c:pt idx="795">
                  <c:v>40750</c:v>
                </c:pt>
                <c:pt idx="796">
                  <c:v>40751</c:v>
                </c:pt>
                <c:pt idx="797">
                  <c:v>40752</c:v>
                </c:pt>
                <c:pt idx="798">
                  <c:v>40753</c:v>
                </c:pt>
                <c:pt idx="799">
                  <c:v>40756</c:v>
                </c:pt>
                <c:pt idx="800">
                  <c:v>40757</c:v>
                </c:pt>
                <c:pt idx="801">
                  <c:v>40758</c:v>
                </c:pt>
                <c:pt idx="802">
                  <c:v>40759</c:v>
                </c:pt>
                <c:pt idx="803">
                  <c:v>40760</c:v>
                </c:pt>
                <c:pt idx="804">
                  <c:v>40763</c:v>
                </c:pt>
                <c:pt idx="805">
                  <c:v>40764</c:v>
                </c:pt>
                <c:pt idx="806">
                  <c:v>40765</c:v>
                </c:pt>
                <c:pt idx="807">
                  <c:v>40766</c:v>
                </c:pt>
                <c:pt idx="808">
                  <c:v>40767</c:v>
                </c:pt>
                <c:pt idx="809">
                  <c:v>40770</c:v>
                </c:pt>
                <c:pt idx="810">
                  <c:v>40771</c:v>
                </c:pt>
                <c:pt idx="811">
                  <c:v>40772</c:v>
                </c:pt>
                <c:pt idx="812">
                  <c:v>40773</c:v>
                </c:pt>
                <c:pt idx="813">
                  <c:v>40774</c:v>
                </c:pt>
                <c:pt idx="814">
                  <c:v>40777</c:v>
                </c:pt>
                <c:pt idx="815">
                  <c:v>40778</c:v>
                </c:pt>
                <c:pt idx="816">
                  <c:v>40779</c:v>
                </c:pt>
                <c:pt idx="817">
                  <c:v>40780</c:v>
                </c:pt>
                <c:pt idx="818">
                  <c:v>40781</c:v>
                </c:pt>
                <c:pt idx="819">
                  <c:v>40784</c:v>
                </c:pt>
                <c:pt idx="820">
                  <c:v>40785</c:v>
                </c:pt>
                <c:pt idx="821">
                  <c:v>40786</c:v>
                </c:pt>
                <c:pt idx="822">
                  <c:v>40787</c:v>
                </c:pt>
                <c:pt idx="823">
                  <c:v>40788</c:v>
                </c:pt>
                <c:pt idx="824">
                  <c:v>40792</c:v>
                </c:pt>
                <c:pt idx="825">
                  <c:v>40793</c:v>
                </c:pt>
                <c:pt idx="826">
                  <c:v>40794</c:v>
                </c:pt>
                <c:pt idx="827">
                  <c:v>40795</c:v>
                </c:pt>
                <c:pt idx="828">
                  <c:v>40798</c:v>
                </c:pt>
                <c:pt idx="829">
                  <c:v>40799</c:v>
                </c:pt>
                <c:pt idx="830">
                  <c:v>40800</c:v>
                </c:pt>
                <c:pt idx="831">
                  <c:v>40801</c:v>
                </c:pt>
                <c:pt idx="832">
                  <c:v>40802</c:v>
                </c:pt>
                <c:pt idx="833">
                  <c:v>40805</c:v>
                </c:pt>
                <c:pt idx="834">
                  <c:v>40806</c:v>
                </c:pt>
                <c:pt idx="835">
                  <c:v>40807</c:v>
                </c:pt>
                <c:pt idx="836">
                  <c:v>40808</c:v>
                </c:pt>
                <c:pt idx="837">
                  <c:v>40809</c:v>
                </c:pt>
                <c:pt idx="838">
                  <c:v>40812</c:v>
                </c:pt>
                <c:pt idx="839">
                  <c:v>40813</c:v>
                </c:pt>
                <c:pt idx="840">
                  <c:v>40814</c:v>
                </c:pt>
                <c:pt idx="841">
                  <c:v>40815</c:v>
                </c:pt>
                <c:pt idx="842">
                  <c:v>40816</c:v>
                </c:pt>
                <c:pt idx="843">
                  <c:v>40819</c:v>
                </c:pt>
                <c:pt idx="844">
                  <c:v>40820</c:v>
                </c:pt>
                <c:pt idx="845">
                  <c:v>40821</c:v>
                </c:pt>
                <c:pt idx="846">
                  <c:v>40822</c:v>
                </c:pt>
                <c:pt idx="847">
                  <c:v>40823</c:v>
                </c:pt>
                <c:pt idx="848">
                  <c:v>40826</c:v>
                </c:pt>
                <c:pt idx="849">
                  <c:v>40827</c:v>
                </c:pt>
                <c:pt idx="850">
                  <c:v>40828</c:v>
                </c:pt>
                <c:pt idx="851">
                  <c:v>40829</c:v>
                </c:pt>
                <c:pt idx="852">
                  <c:v>40830</c:v>
                </c:pt>
                <c:pt idx="853">
                  <c:v>40833</c:v>
                </c:pt>
                <c:pt idx="854">
                  <c:v>40834</c:v>
                </c:pt>
                <c:pt idx="855">
                  <c:v>40835</c:v>
                </c:pt>
                <c:pt idx="856">
                  <c:v>40836</c:v>
                </c:pt>
                <c:pt idx="857">
                  <c:v>40837</c:v>
                </c:pt>
                <c:pt idx="858">
                  <c:v>40840</c:v>
                </c:pt>
                <c:pt idx="859">
                  <c:v>40841</c:v>
                </c:pt>
                <c:pt idx="860">
                  <c:v>40842</c:v>
                </c:pt>
                <c:pt idx="861">
                  <c:v>40843</c:v>
                </c:pt>
                <c:pt idx="862">
                  <c:v>40844</c:v>
                </c:pt>
                <c:pt idx="863">
                  <c:v>40847</c:v>
                </c:pt>
                <c:pt idx="864">
                  <c:v>40848</c:v>
                </c:pt>
                <c:pt idx="865">
                  <c:v>40849</c:v>
                </c:pt>
                <c:pt idx="866">
                  <c:v>40850</c:v>
                </c:pt>
                <c:pt idx="867">
                  <c:v>40851</c:v>
                </c:pt>
                <c:pt idx="868">
                  <c:v>40854</c:v>
                </c:pt>
                <c:pt idx="869">
                  <c:v>40855</c:v>
                </c:pt>
                <c:pt idx="870">
                  <c:v>40856</c:v>
                </c:pt>
                <c:pt idx="871">
                  <c:v>40857</c:v>
                </c:pt>
                <c:pt idx="872">
                  <c:v>40858</c:v>
                </c:pt>
                <c:pt idx="873">
                  <c:v>40861</c:v>
                </c:pt>
                <c:pt idx="874">
                  <c:v>40862</c:v>
                </c:pt>
                <c:pt idx="875">
                  <c:v>40863</c:v>
                </c:pt>
                <c:pt idx="876">
                  <c:v>40864</c:v>
                </c:pt>
                <c:pt idx="877">
                  <c:v>40865</c:v>
                </c:pt>
                <c:pt idx="878">
                  <c:v>40868</c:v>
                </c:pt>
                <c:pt idx="879">
                  <c:v>40869</c:v>
                </c:pt>
                <c:pt idx="880">
                  <c:v>40870</c:v>
                </c:pt>
                <c:pt idx="881">
                  <c:v>40872</c:v>
                </c:pt>
                <c:pt idx="882">
                  <c:v>40875</c:v>
                </c:pt>
                <c:pt idx="883">
                  <c:v>40876</c:v>
                </c:pt>
                <c:pt idx="884">
                  <c:v>40877</c:v>
                </c:pt>
                <c:pt idx="885">
                  <c:v>40878</c:v>
                </c:pt>
                <c:pt idx="886">
                  <c:v>40879</c:v>
                </c:pt>
                <c:pt idx="887">
                  <c:v>40882</c:v>
                </c:pt>
                <c:pt idx="888">
                  <c:v>40883</c:v>
                </c:pt>
                <c:pt idx="889">
                  <c:v>40884</c:v>
                </c:pt>
                <c:pt idx="890">
                  <c:v>40885</c:v>
                </c:pt>
                <c:pt idx="891">
                  <c:v>40886</c:v>
                </c:pt>
                <c:pt idx="892">
                  <c:v>40889</c:v>
                </c:pt>
                <c:pt idx="893">
                  <c:v>40890</c:v>
                </c:pt>
                <c:pt idx="894">
                  <c:v>40891</c:v>
                </c:pt>
                <c:pt idx="895">
                  <c:v>40892</c:v>
                </c:pt>
                <c:pt idx="896">
                  <c:v>40893</c:v>
                </c:pt>
                <c:pt idx="897">
                  <c:v>40896</c:v>
                </c:pt>
                <c:pt idx="898">
                  <c:v>40897</c:v>
                </c:pt>
                <c:pt idx="899">
                  <c:v>40898</c:v>
                </c:pt>
                <c:pt idx="900">
                  <c:v>40899</c:v>
                </c:pt>
                <c:pt idx="901">
                  <c:v>40900</c:v>
                </c:pt>
                <c:pt idx="902">
                  <c:v>40904</c:v>
                </c:pt>
                <c:pt idx="903">
                  <c:v>40905</c:v>
                </c:pt>
                <c:pt idx="904">
                  <c:v>40906</c:v>
                </c:pt>
                <c:pt idx="905">
                  <c:v>40907</c:v>
                </c:pt>
                <c:pt idx="906">
                  <c:v>40911</c:v>
                </c:pt>
                <c:pt idx="907">
                  <c:v>40912</c:v>
                </c:pt>
                <c:pt idx="908">
                  <c:v>40913</c:v>
                </c:pt>
                <c:pt idx="909">
                  <c:v>40914</c:v>
                </c:pt>
                <c:pt idx="910">
                  <c:v>40917</c:v>
                </c:pt>
                <c:pt idx="911">
                  <c:v>40918</c:v>
                </c:pt>
                <c:pt idx="912">
                  <c:v>40919</c:v>
                </c:pt>
                <c:pt idx="913">
                  <c:v>40920</c:v>
                </c:pt>
                <c:pt idx="914">
                  <c:v>40921</c:v>
                </c:pt>
                <c:pt idx="915">
                  <c:v>40925</c:v>
                </c:pt>
                <c:pt idx="916">
                  <c:v>40926</c:v>
                </c:pt>
                <c:pt idx="917">
                  <c:v>40927</c:v>
                </c:pt>
                <c:pt idx="918">
                  <c:v>40928</c:v>
                </c:pt>
                <c:pt idx="919">
                  <c:v>40931</c:v>
                </c:pt>
                <c:pt idx="920">
                  <c:v>40932</c:v>
                </c:pt>
                <c:pt idx="921">
                  <c:v>40933</c:v>
                </c:pt>
                <c:pt idx="922">
                  <c:v>40934</c:v>
                </c:pt>
                <c:pt idx="923">
                  <c:v>40935</c:v>
                </c:pt>
                <c:pt idx="924">
                  <c:v>40938</c:v>
                </c:pt>
                <c:pt idx="925">
                  <c:v>40939</c:v>
                </c:pt>
                <c:pt idx="926">
                  <c:v>40940</c:v>
                </c:pt>
                <c:pt idx="927">
                  <c:v>40941</c:v>
                </c:pt>
                <c:pt idx="928">
                  <c:v>40942</c:v>
                </c:pt>
                <c:pt idx="929">
                  <c:v>40945</c:v>
                </c:pt>
                <c:pt idx="930">
                  <c:v>40946</c:v>
                </c:pt>
                <c:pt idx="931">
                  <c:v>40947</c:v>
                </c:pt>
                <c:pt idx="932">
                  <c:v>40948</c:v>
                </c:pt>
                <c:pt idx="933">
                  <c:v>40949</c:v>
                </c:pt>
                <c:pt idx="934">
                  <c:v>40952</c:v>
                </c:pt>
                <c:pt idx="935">
                  <c:v>40953</c:v>
                </c:pt>
                <c:pt idx="936">
                  <c:v>40954</c:v>
                </c:pt>
                <c:pt idx="937">
                  <c:v>40955</c:v>
                </c:pt>
                <c:pt idx="938">
                  <c:v>40956</c:v>
                </c:pt>
                <c:pt idx="939">
                  <c:v>40960</c:v>
                </c:pt>
                <c:pt idx="940">
                  <c:v>40961</c:v>
                </c:pt>
                <c:pt idx="941">
                  <c:v>40962</c:v>
                </c:pt>
                <c:pt idx="942">
                  <c:v>40963</c:v>
                </c:pt>
                <c:pt idx="943">
                  <c:v>40966</c:v>
                </c:pt>
                <c:pt idx="944">
                  <c:v>40967</c:v>
                </c:pt>
                <c:pt idx="945">
                  <c:v>40968</c:v>
                </c:pt>
                <c:pt idx="946">
                  <c:v>40969</c:v>
                </c:pt>
                <c:pt idx="947">
                  <c:v>40970</c:v>
                </c:pt>
                <c:pt idx="948">
                  <c:v>40973</c:v>
                </c:pt>
                <c:pt idx="949">
                  <c:v>40974</c:v>
                </c:pt>
                <c:pt idx="950">
                  <c:v>40975</c:v>
                </c:pt>
                <c:pt idx="951">
                  <c:v>40976</c:v>
                </c:pt>
                <c:pt idx="952">
                  <c:v>40977</c:v>
                </c:pt>
                <c:pt idx="953">
                  <c:v>40980</c:v>
                </c:pt>
                <c:pt idx="954">
                  <c:v>40981</c:v>
                </c:pt>
                <c:pt idx="955">
                  <c:v>40982</c:v>
                </c:pt>
                <c:pt idx="956">
                  <c:v>40983</c:v>
                </c:pt>
                <c:pt idx="957">
                  <c:v>40984</c:v>
                </c:pt>
                <c:pt idx="958">
                  <c:v>40987</c:v>
                </c:pt>
                <c:pt idx="959">
                  <c:v>40988</c:v>
                </c:pt>
                <c:pt idx="960">
                  <c:v>40989</c:v>
                </c:pt>
                <c:pt idx="961">
                  <c:v>40990</c:v>
                </c:pt>
                <c:pt idx="962">
                  <c:v>40991</c:v>
                </c:pt>
                <c:pt idx="963">
                  <c:v>40994</c:v>
                </c:pt>
                <c:pt idx="964">
                  <c:v>40995</c:v>
                </c:pt>
                <c:pt idx="965">
                  <c:v>40996</c:v>
                </c:pt>
                <c:pt idx="966">
                  <c:v>40997</c:v>
                </c:pt>
                <c:pt idx="967">
                  <c:v>40998</c:v>
                </c:pt>
                <c:pt idx="968">
                  <c:v>41001</c:v>
                </c:pt>
                <c:pt idx="969">
                  <c:v>41002</c:v>
                </c:pt>
                <c:pt idx="970">
                  <c:v>41003</c:v>
                </c:pt>
                <c:pt idx="971">
                  <c:v>41004</c:v>
                </c:pt>
                <c:pt idx="972">
                  <c:v>41008</c:v>
                </c:pt>
                <c:pt idx="973">
                  <c:v>41009</c:v>
                </c:pt>
                <c:pt idx="974">
                  <c:v>41010</c:v>
                </c:pt>
                <c:pt idx="975">
                  <c:v>41011</c:v>
                </c:pt>
                <c:pt idx="976">
                  <c:v>41012</c:v>
                </c:pt>
                <c:pt idx="977">
                  <c:v>41015</c:v>
                </c:pt>
                <c:pt idx="978">
                  <c:v>41016</c:v>
                </c:pt>
                <c:pt idx="979">
                  <c:v>41017</c:v>
                </c:pt>
                <c:pt idx="980">
                  <c:v>41018</c:v>
                </c:pt>
                <c:pt idx="981">
                  <c:v>41019</c:v>
                </c:pt>
                <c:pt idx="982">
                  <c:v>41022</c:v>
                </c:pt>
                <c:pt idx="983">
                  <c:v>41023</c:v>
                </c:pt>
                <c:pt idx="984">
                  <c:v>41024</c:v>
                </c:pt>
                <c:pt idx="985">
                  <c:v>41025</c:v>
                </c:pt>
                <c:pt idx="986">
                  <c:v>41026</c:v>
                </c:pt>
                <c:pt idx="987">
                  <c:v>41029</c:v>
                </c:pt>
                <c:pt idx="988">
                  <c:v>41030</c:v>
                </c:pt>
                <c:pt idx="989">
                  <c:v>41031</c:v>
                </c:pt>
                <c:pt idx="990">
                  <c:v>41032</c:v>
                </c:pt>
                <c:pt idx="991">
                  <c:v>41033</c:v>
                </c:pt>
                <c:pt idx="992">
                  <c:v>41036</c:v>
                </c:pt>
                <c:pt idx="993">
                  <c:v>41037</c:v>
                </c:pt>
                <c:pt idx="994">
                  <c:v>41038</c:v>
                </c:pt>
                <c:pt idx="995">
                  <c:v>41039</c:v>
                </c:pt>
                <c:pt idx="996">
                  <c:v>41040</c:v>
                </c:pt>
                <c:pt idx="997">
                  <c:v>41043</c:v>
                </c:pt>
                <c:pt idx="998">
                  <c:v>41044</c:v>
                </c:pt>
                <c:pt idx="999">
                  <c:v>41045</c:v>
                </c:pt>
                <c:pt idx="1000">
                  <c:v>41046</c:v>
                </c:pt>
                <c:pt idx="1001">
                  <c:v>41047</c:v>
                </c:pt>
                <c:pt idx="1002">
                  <c:v>41050</c:v>
                </c:pt>
                <c:pt idx="1003">
                  <c:v>41051</c:v>
                </c:pt>
                <c:pt idx="1004">
                  <c:v>41052</c:v>
                </c:pt>
                <c:pt idx="1005">
                  <c:v>41053</c:v>
                </c:pt>
                <c:pt idx="1006">
                  <c:v>41054</c:v>
                </c:pt>
                <c:pt idx="1007">
                  <c:v>41058</c:v>
                </c:pt>
                <c:pt idx="1008">
                  <c:v>41059</c:v>
                </c:pt>
                <c:pt idx="1009">
                  <c:v>41060</c:v>
                </c:pt>
                <c:pt idx="1010">
                  <c:v>41061</c:v>
                </c:pt>
                <c:pt idx="1011">
                  <c:v>41064</c:v>
                </c:pt>
                <c:pt idx="1012">
                  <c:v>41065</c:v>
                </c:pt>
                <c:pt idx="1013">
                  <c:v>41066</c:v>
                </c:pt>
                <c:pt idx="1014">
                  <c:v>41067</c:v>
                </c:pt>
                <c:pt idx="1015">
                  <c:v>41068</c:v>
                </c:pt>
                <c:pt idx="1016">
                  <c:v>41071</c:v>
                </c:pt>
                <c:pt idx="1017">
                  <c:v>41072</c:v>
                </c:pt>
                <c:pt idx="1018">
                  <c:v>41073</c:v>
                </c:pt>
                <c:pt idx="1019">
                  <c:v>41074</c:v>
                </c:pt>
                <c:pt idx="1020">
                  <c:v>41075</c:v>
                </c:pt>
                <c:pt idx="1021">
                  <c:v>41078</c:v>
                </c:pt>
                <c:pt idx="1022">
                  <c:v>41079</c:v>
                </c:pt>
                <c:pt idx="1023">
                  <c:v>41080</c:v>
                </c:pt>
                <c:pt idx="1024">
                  <c:v>41081</c:v>
                </c:pt>
                <c:pt idx="1025">
                  <c:v>41082</c:v>
                </c:pt>
                <c:pt idx="1026">
                  <c:v>41085</c:v>
                </c:pt>
                <c:pt idx="1027">
                  <c:v>41086</c:v>
                </c:pt>
                <c:pt idx="1028">
                  <c:v>41087</c:v>
                </c:pt>
                <c:pt idx="1029">
                  <c:v>41088</c:v>
                </c:pt>
                <c:pt idx="1030">
                  <c:v>41089</c:v>
                </c:pt>
                <c:pt idx="1031">
                  <c:v>41092</c:v>
                </c:pt>
                <c:pt idx="1032">
                  <c:v>41093</c:v>
                </c:pt>
                <c:pt idx="1033">
                  <c:v>41095</c:v>
                </c:pt>
                <c:pt idx="1034">
                  <c:v>41096</c:v>
                </c:pt>
                <c:pt idx="1035">
                  <c:v>41099</c:v>
                </c:pt>
                <c:pt idx="1036">
                  <c:v>41100</c:v>
                </c:pt>
                <c:pt idx="1037">
                  <c:v>41101</c:v>
                </c:pt>
                <c:pt idx="1038">
                  <c:v>41102</c:v>
                </c:pt>
                <c:pt idx="1039">
                  <c:v>41103</c:v>
                </c:pt>
                <c:pt idx="1040">
                  <c:v>41106</c:v>
                </c:pt>
                <c:pt idx="1041">
                  <c:v>41107</c:v>
                </c:pt>
                <c:pt idx="1042">
                  <c:v>41108</c:v>
                </c:pt>
                <c:pt idx="1043">
                  <c:v>41109</c:v>
                </c:pt>
                <c:pt idx="1044">
                  <c:v>41110</c:v>
                </c:pt>
                <c:pt idx="1045">
                  <c:v>41113</c:v>
                </c:pt>
                <c:pt idx="1046">
                  <c:v>41114</c:v>
                </c:pt>
                <c:pt idx="1047">
                  <c:v>41115</c:v>
                </c:pt>
                <c:pt idx="1048">
                  <c:v>41116</c:v>
                </c:pt>
                <c:pt idx="1049">
                  <c:v>41117</c:v>
                </c:pt>
                <c:pt idx="1050">
                  <c:v>41120</c:v>
                </c:pt>
                <c:pt idx="1051">
                  <c:v>41121</c:v>
                </c:pt>
                <c:pt idx="1052">
                  <c:v>41122</c:v>
                </c:pt>
                <c:pt idx="1053">
                  <c:v>41123</c:v>
                </c:pt>
                <c:pt idx="1054">
                  <c:v>41124</c:v>
                </c:pt>
                <c:pt idx="1055">
                  <c:v>41127</c:v>
                </c:pt>
                <c:pt idx="1056">
                  <c:v>41128</c:v>
                </c:pt>
                <c:pt idx="1057">
                  <c:v>41129</c:v>
                </c:pt>
                <c:pt idx="1058">
                  <c:v>41130</c:v>
                </c:pt>
                <c:pt idx="1059">
                  <c:v>41131</c:v>
                </c:pt>
                <c:pt idx="1060">
                  <c:v>41134</c:v>
                </c:pt>
                <c:pt idx="1061">
                  <c:v>41135</c:v>
                </c:pt>
                <c:pt idx="1062">
                  <c:v>41136</c:v>
                </c:pt>
                <c:pt idx="1063">
                  <c:v>41137</c:v>
                </c:pt>
                <c:pt idx="1064">
                  <c:v>41138</c:v>
                </c:pt>
                <c:pt idx="1065">
                  <c:v>41141</c:v>
                </c:pt>
                <c:pt idx="1066">
                  <c:v>41142</c:v>
                </c:pt>
                <c:pt idx="1067">
                  <c:v>41143</c:v>
                </c:pt>
                <c:pt idx="1068">
                  <c:v>41144</c:v>
                </c:pt>
                <c:pt idx="1069">
                  <c:v>41145</c:v>
                </c:pt>
                <c:pt idx="1070">
                  <c:v>41148</c:v>
                </c:pt>
                <c:pt idx="1071">
                  <c:v>41149</c:v>
                </c:pt>
                <c:pt idx="1072">
                  <c:v>41150</c:v>
                </c:pt>
                <c:pt idx="1073">
                  <c:v>41151</c:v>
                </c:pt>
                <c:pt idx="1074">
                  <c:v>41152</c:v>
                </c:pt>
                <c:pt idx="1075">
                  <c:v>41156</c:v>
                </c:pt>
                <c:pt idx="1076">
                  <c:v>41157</c:v>
                </c:pt>
                <c:pt idx="1077">
                  <c:v>41158</c:v>
                </c:pt>
                <c:pt idx="1078">
                  <c:v>41159</c:v>
                </c:pt>
                <c:pt idx="1079">
                  <c:v>41162</c:v>
                </c:pt>
                <c:pt idx="1080">
                  <c:v>41163</c:v>
                </c:pt>
                <c:pt idx="1081">
                  <c:v>41164</c:v>
                </c:pt>
                <c:pt idx="1082">
                  <c:v>41165</c:v>
                </c:pt>
                <c:pt idx="1083">
                  <c:v>41166</c:v>
                </c:pt>
                <c:pt idx="1084">
                  <c:v>41169</c:v>
                </c:pt>
                <c:pt idx="1085">
                  <c:v>41170</c:v>
                </c:pt>
                <c:pt idx="1086">
                  <c:v>41171</c:v>
                </c:pt>
                <c:pt idx="1087">
                  <c:v>41172</c:v>
                </c:pt>
                <c:pt idx="1088">
                  <c:v>41173</c:v>
                </c:pt>
                <c:pt idx="1089">
                  <c:v>41176</c:v>
                </c:pt>
                <c:pt idx="1090">
                  <c:v>41177</c:v>
                </c:pt>
                <c:pt idx="1091">
                  <c:v>41178</c:v>
                </c:pt>
                <c:pt idx="1092">
                  <c:v>41179</c:v>
                </c:pt>
                <c:pt idx="1093">
                  <c:v>41180</c:v>
                </c:pt>
                <c:pt idx="1094">
                  <c:v>41183</c:v>
                </c:pt>
                <c:pt idx="1095">
                  <c:v>41184</c:v>
                </c:pt>
                <c:pt idx="1096">
                  <c:v>41185</c:v>
                </c:pt>
                <c:pt idx="1097">
                  <c:v>41186</c:v>
                </c:pt>
                <c:pt idx="1098">
                  <c:v>41187</c:v>
                </c:pt>
                <c:pt idx="1099">
                  <c:v>41190</c:v>
                </c:pt>
                <c:pt idx="1100">
                  <c:v>41191</c:v>
                </c:pt>
                <c:pt idx="1101">
                  <c:v>41192</c:v>
                </c:pt>
                <c:pt idx="1102">
                  <c:v>41193</c:v>
                </c:pt>
                <c:pt idx="1103">
                  <c:v>41194</c:v>
                </c:pt>
                <c:pt idx="1104">
                  <c:v>41197</c:v>
                </c:pt>
                <c:pt idx="1105">
                  <c:v>41198</c:v>
                </c:pt>
                <c:pt idx="1106">
                  <c:v>41199</c:v>
                </c:pt>
                <c:pt idx="1107">
                  <c:v>41200</c:v>
                </c:pt>
                <c:pt idx="1108">
                  <c:v>41201</c:v>
                </c:pt>
                <c:pt idx="1109">
                  <c:v>41204</c:v>
                </c:pt>
                <c:pt idx="1110">
                  <c:v>41205</c:v>
                </c:pt>
                <c:pt idx="1111">
                  <c:v>41206</c:v>
                </c:pt>
                <c:pt idx="1112">
                  <c:v>41207</c:v>
                </c:pt>
                <c:pt idx="1113">
                  <c:v>41208</c:v>
                </c:pt>
                <c:pt idx="1114">
                  <c:v>41213</c:v>
                </c:pt>
                <c:pt idx="1115">
                  <c:v>41214</c:v>
                </c:pt>
                <c:pt idx="1116">
                  <c:v>41215</c:v>
                </c:pt>
                <c:pt idx="1117">
                  <c:v>41218</c:v>
                </c:pt>
                <c:pt idx="1118">
                  <c:v>41219</c:v>
                </c:pt>
                <c:pt idx="1119">
                  <c:v>41220</c:v>
                </c:pt>
                <c:pt idx="1120">
                  <c:v>41221</c:v>
                </c:pt>
                <c:pt idx="1121">
                  <c:v>41222</c:v>
                </c:pt>
                <c:pt idx="1122">
                  <c:v>41225</c:v>
                </c:pt>
                <c:pt idx="1123">
                  <c:v>41226</c:v>
                </c:pt>
                <c:pt idx="1124">
                  <c:v>41227</c:v>
                </c:pt>
                <c:pt idx="1125">
                  <c:v>41228</c:v>
                </c:pt>
                <c:pt idx="1126">
                  <c:v>41229</c:v>
                </c:pt>
                <c:pt idx="1127">
                  <c:v>41232</c:v>
                </c:pt>
                <c:pt idx="1128">
                  <c:v>41233</c:v>
                </c:pt>
                <c:pt idx="1129">
                  <c:v>41234</c:v>
                </c:pt>
                <c:pt idx="1130">
                  <c:v>41236</c:v>
                </c:pt>
                <c:pt idx="1131">
                  <c:v>41239</c:v>
                </c:pt>
                <c:pt idx="1132">
                  <c:v>41240</c:v>
                </c:pt>
                <c:pt idx="1133">
                  <c:v>41241</c:v>
                </c:pt>
                <c:pt idx="1134">
                  <c:v>41242</c:v>
                </c:pt>
                <c:pt idx="1135">
                  <c:v>41243</c:v>
                </c:pt>
                <c:pt idx="1136">
                  <c:v>41246</c:v>
                </c:pt>
                <c:pt idx="1137">
                  <c:v>41247</c:v>
                </c:pt>
                <c:pt idx="1138">
                  <c:v>41248</c:v>
                </c:pt>
                <c:pt idx="1139">
                  <c:v>41249</c:v>
                </c:pt>
                <c:pt idx="1140">
                  <c:v>41250</c:v>
                </c:pt>
                <c:pt idx="1141">
                  <c:v>41253</c:v>
                </c:pt>
                <c:pt idx="1142">
                  <c:v>41254</c:v>
                </c:pt>
                <c:pt idx="1143">
                  <c:v>41255</c:v>
                </c:pt>
                <c:pt idx="1144">
                  <c:v>41256</c:v>
                </c:pt>
                <c:pt idx="1145">
                  <c:v>41257</c:v>
                </c:pt>
                <c:pt idx="1146">
                  <c:v>41260</c:v>
                </c:pt>
                <c:pt idx="1147">
                  <c:v>41261</c:v>
                </c:pt>
                <c:pt idx="1148">
                  <c:v>41262</c:v>
                </c:pt>
                <c:pt idx="1149">
                  <c:v>41263</c:v>
                </c:pt>
                <c:pt idx="1150">
                  <c:v>41264</c:v>
                </c:pt>
                <c:pt idx="1151">
                  <c:v>41267</c:v>
                </c:pt>
                <c:pt idx="1152">
                  <c:v>41269</c:v>
                </c:pt>
                <c:pt idx="1153">
                  <c:v>41270</c:v>
                </c:pt>
                <c:pt idx="1154">
                  <c:v>41271</c:v>
                </c:pt>
                <c:pt idx="1155">
                  <c:v>41274</c:v>
                </c:pt>
                <c:pt idx="1156">
                  <c:v>41276</c:v>
                </c:pt>
                <c:pt idx="1157">
                  <c:v>41277</c:v>
                </c:pt>
                <c:pt idx="1158">
                  <c:v>41278</c:v>
                </c:pt>
                <c:pt idx="1159">
                  <c:v>41281</c:v>
                </c:pt>
                <c:pt idx="1160">
                  <c:v>41282</c:v>
                </c:pt>
                <c:pt idx="1161">
                  <c:v>41283</c:v>
                </c:pt>
                <c:pt idx="1162">
                  <c:v>41284</c:v>
                </c:pt>
                <c:pt idx="1163">
                  <c:v>41285</c:v>
                </c:pt>
                <c:pt idx="1164">
                  <c:v>41288</c:v>
                </c:pt>
                <c:pt idx="1165">
                  <c:v>41289</c:v>
                </c:pt>
                <c:pt idx="1166">
                  <c:v>41290</c:v>
                </c:pt>
                <c:pt idx="1167">
                  <c:v>41291</c:v>
                </c:pt>
                <c:pt idx="1168">
                  <c:v>41292</c:v>
                </c:pt>
                <c:pt idx="1169">
                  <c:v>41296</c:v>
                </c:pt>
                <c:pt idx="1170">
                  <c:v>41297</c:v>
                </c:pt>
                <c:pt idx="1171">
                  <c:v>41298</c:v>
                </c:pt>
                <c:pt idx="1172">
                  <c:v>41299</c:v>
                </c:pt>
                <c:pt idx="1173">
                  <c:v>41302</c:v>
                </c:pt>
                <c:pt idx="1174">
                  <c:v>41303</c:v>
                </c:pt>
                <c:pt idx="1175">
                  <c:v>41304</c:v>
                </c:pt>
                <c:pt idx="1176">
                  <c:v>41305</c:v>
                </c:pt>
                <c:pt idx="1177">
                  <c:v>41306</c:v>
                </c:pt>
                <c:pt idx="1178">
                  <c:v>41309</c:v>
                </c:pt>
                <c:pt idx="1179">
                  <c:v>41310</c:v>
                </c:pt>
                <c:pt idx="1180">
                  <c:v>41311</c:v>
                </c:pt>
                <c:pt idx="1181">
                  <c:v>41312</c:v>
                </c:pt>
                <c:pt idx="1182">
                  <c:v>41313</c:v>
                </c:pt>
                <c:pt idx="1183">
                  <c:v>41316</c:v>
                </c:pt>
                <c:pt idx="1184">
                  <c:v>41317</c:v>
                </c:pt>
                <c:pt idx="1185">
                  <c:v>41318</c:v>
                </c:pt>
                <c:pt idx="1186">
                  <c:v>41319</c:v>
                </c:pt>
                <c:pt idx="1187">
                  <c:v>41320</c:v>
                </c:pt>
                <c:pt idx="1188">
                  <c:v>41324</c:v>
                </c:pt>
                <c:pt idx="1189">
                  <c:v>41325</c:v>
                </c:pt>
                <c:pt idx="1190">
                  <c:v>41326</c:v>
                </c:pt>
                <c:pt idx="1191">
                  <c:v>41327</c:v>
                </c:pt>
                <c:pt idx="1192">
                  <c:v>41330</c:v>
                </c:pt>
                <c:pt idx="1193">
                  <c:v>41331</c:v>
                </c:pt>
                <c:pt idx="1194">
                  <c:v>41332</c:v>
                </c:pt>
                <c:pt idx="1195">
                  <c:v>41333</c:v>
                </c:pt>
                <c:pt idx="1196">
                  <c:v>41334</c:v>
                </c:pt>
                <c:pt idx="1197">
                  <c:v>41337</c:v>
                </c:pt>
                <c:pt idx="1198">
                  <c:v>41338</c:v>
                </c:pt>
                <c:pt idx="1199">
                  <c:v>41339</c:v>
                </c:pt>
                <c:pt idx="1200">
                  <c:v>41340</c:v>
                </c:pt>
                <c:pt idx="1201">
                  <c:v>41341</c:v>
                </c:pt>
                <c:pt idx="1202">
                  <c:v>41344</c:v>
                </c:pt>
                <c:pt idx="1203">
                  <c:v>41345</c:v>
                </c:pt>
                <c:pt idx="1204">
                  <c:v>41346</c:v>
                </c:pt>
                <c:pt idx="1205">
                  <c:v>41347</c:v>
                </c:pt>
                <c:pt idx="1206">
                  <c:v>41348</c:v>
                </c:pt>
                <c:pt idx="1207">
                  <c:v>41351</c:v>
                </c:pt>
                <c:pt idx="1208">
                  <c:v>41352</c:v>
                </c:pt>
                <c:pt idx="1209">
                  <c:v>41353</c:v>
                </c:pt>
                <c:pt idx="1210">
                  <c:v>41354</c:v>
                </c:pt>
                <c:pt idx="1211">
                  <c:v>41355</c:v>
                </c:pt>
                <c:pt idx="1212">
                  <c:v>41358</c:v>
                </c:pt>
                <c:pt idx="1213">
                  <c:v>41359</c:v>
                </c:pt>
                <c:pt idx="1214">
                  <c:v>41360</c:v>
                </c:pt>
                <c:pt idx="1215">
                  <c:v>41361</c:v>
                </c:pt>
                <c:pt idx="1216">
                  <c:v>41365</c:v>
                </c:pt>
                <c:pt idx="1217">
                  <c:v>41366</c:v>
                </c:pt>
                <c:pt idx="1218">
                  <c:v>41367</c:v>
                </c:pt>
                <c:pt idx="1219">
                  <c:v>41368</c:v>
                </c:pt>
                <c:pt idx="1220">
                  <c:v>41369</c:v>
                </c:pt>
                <c:pt idx="1221">
                  <c:v>41372</c:v>
                </c:pt>
                <c:pt idx="1222">
                  <c:v>41373</c:v>
                </c:pt>
                <c:pt idx="1223">
                  <c:v>41374</c:v>
                </c:pt>
                <c:pt idx="1224">
                  <c:v>41375</c:v>
                </c:pt>
                <c:pt idx="1225">
                  <c:v>41376</c:v>
                </c:pt>
                <c:pt idx="1226">
                  <c:v>41379</c:v>
                </c:pt>
                <c:pt idx="1227">
                  <c:v>41380</c:v>
                </c:pt>
                <c:pt idx="1228">
                  <c:v>41381</c:v>
                </c:pt>
                <c:pt idx="1229">
                  <c:v>41382</c:v>
                </c:pt>
                <c:pt idx="1230">
                  <c:v>41383</c:v>
                </c:pt>
                <c:pt idx="1231">
                  <c:v>41386</c:v>
                </c:pt>
                <c:pt idx="1232">
                  <c:v>41387</c:v>
                </c:pt>
                <c:pt idx="1233">
                  <c:v>41388</c:v>
                </c:pt>
                <c:pt idx="1234">
                  <c:v>41389</c:v>
                </c:pt>
                <c:pt idx="1235">
                  <c:v>41390</c:v>
                </c:pt>
                <c:pt idx="1236">
                  <c:v>41393</c:v>
                </c:pt>
                <c:pt idx="1237">
                  <c:v>41394</c:v>
                </c:pt>
                <c:pt idx="1238">
                  <c:v>41395</c:v>
                </c:pt>
                <c:pt idx="1239">
                  <c:v>41396</c:v>
                </c:pt>
                <c:pt idx="1240">
                  <c:v>41397</c:v>
                </c:pt>
                <c:pt idx="1241">
                  <c:v>41400</c:v>
                </c:pt>
                <c:pt idx="1242">
                  <c:v>41401</c:v>
                </c:pt>
                <c:pt idx="1243">
                  <c:v>41402</c:v>
                </c:pt>
                <c:pt idx="1244">
                  <c:v>41403</c:v>
                </c:pt>
                <c:pt idx="1245">
                  <c:v>41404</c:v>
                </c:pt>
                <c:pt idx="1246">
                  <c:v>41407</c:v>
                </c:pt>
                <c:pt idx="1247">
                  <c:v>41408</c:v>
                </c:pt>
                <c:pt idx="1248">
                  <c:v>41409</c:v>
                </c:pt>
                <c:pt idx="1249">
                  <c:v>41410</c:v>
                </c:pt>
                <c:pt idx="1250">
                  <c:v>41411</c:v>
                </c:pt>
                <c:pt idx="1251">
                  <c:v>41414</c:v>
                </c:pt>
                <c:pt idx="1252">
                  <c:v>41415</c:v>
                </c:pt>
                <c:pt idx="1253">
                  <c:v>41416</c:v>
                </c:pt>
                <c:pt idx="1254">
                  <c:v>41417</c:v>
                </c:pt>
                <c:pt idx="1255">
                  <c:v>41418</c:v>
                </c:pt>
                <c:pt idx="1256">
                  <c:v>41422</c:v>
                </c:pt>
                <c:pt idx="1257">
                  <c:v>41423</c:v>
                </c:pt>
                <c:pt idx="1258">
                  <c:v>41424</c:v>
                </c:pt>
                <c:pt idx="1259">
                  <c:v>41425</c:v>
                </c:pt>
                <c:pt idx="1260">
                  <c:v>41428</c:v>
                </c:pt>
                <c:pt idx="1261">
                  <c:v>41429</c:v>
                </c:pt>
                <c:pt idx="1262">
                  <c:v>41430</c:v>
                </c:pt>
                <c:pt idx="1263">
                  <c:v>41431</c:v>
                </c:pt>
                <c:pt idx="1264">
                  <c:v>41432</c:v>
                </c:pt>
                <c:pt idx="1265">
                  <c:v>41435</c:v>
                </c:pt>
                <c:pt idx="1266">
                  <c:v>41436</c:v>
                </c:pt>
                <c:pt idx="1267">
                  <c:v>41437</c:v>
                </c:pt>
                <c:pt idx="1268">
                  <c:v>41438</c:v>
                </c:pt>
                <c:pt idx="1269">
                  <c:v>41439</c:v>
                </c:pt>
                <c:pt idx="1270">
                  <c:v>41442</c:v>
                </c:pt>
                <c:pt idx="1271">
                  <c:v>41443</c:v>
                </c:pt>
                <c:pt idx="1272">
                  <c:v>41444</c:v>
                </c:pt>
                <c:pt idx="1273">
                  <c:v>41445</c:v>
                </c:pt>
                <c:pt idx="1274">
                  <c:v>41446</c:v>
                </c:pt>
                <c:pt idx="1275">
                  <c:v>41449</c:v>
                </c:pt>
                <c:pt idx="1276">
                  <c:v>41450</c:v>
                </c:pt>
                <c:pt idx="1277">
                  <c:v>41451</c:v>
                </c:pt>
                <c:pt idx="1278">
                  <c:v>41452</c:v>
                </c:pt>
                <c:pt idx="1279">
                  <c:v>41453</c:v>
                </c:pt>
                <c:pt idx="1280">
                  <c:v>41456</c:v>
                </c:pt>
                <c:pt idx="1281">
                  <c:v>41457</c:v>
                </c:pt>
                <c:pt idx="1282">
                  <c:v>41458</c:v>
                </c:pt>
                <c:pt idx="1283">
                  <c:v>41460</c:v>
                </c:pt>
                <c:pt idx="1284">
                  <c:v>41463</c:v>
                </c:pt>
                <c:pt idx="1285">
                  <c:v>41464</c:v>
                </c:pt>
                <c:pt idx="1286">
                  <c:v>41465</c:v>
                </c:pt>
                <c:pt idx="1287">
                  <c:v>41466</c:v>
                </c:pt>
                <c:pt idx="1288">
                  <c:v>41467</c:v>
                </c:pt>
                <c:pt idx="1289">
                  <c:v>41470</c:v>
                </c:pt>
                <c:pt idx="1290">
                  <c:v>41471</c:v>
                </c:pt>
                <c:pt idx="1291">
                  <c:v>41472</c:v>
                </c:pt>
                <c:pt idx="1292">
                  <c:v>41473</c:v>
                </c:pt>
                <c:pt idx="1293">
                  <c:v>41474</c:v>
                </c:pt>
                <c:pt idx="1294">
                  <c:v>41477</c:v>
                </c:pt>
                <c:pt idx="1295">
                  <c:v>41478</c:v>
                </c:pt>
                <c:pt idx="1296">
                  <c:v>41479</c:v>
                </c:pt>
                <c:pt idx="1297">
                  <c:v>41480</c:v>
                </c:pt>
                <c:pt idx="1298">
                  <c:v>41481</c:v>
                </c:pt>
                <c:pt idx="1299">
                  <c:v>41484</c:v>
                </c:pt>
                <c:pt idx="1300">
                  <c:v>41485</c:v>
                </c:pt>
                <c:pt idx="1301">
                  <c:v>41486</c:v>
                </c:pt>
                <c:pt idx="1302">
                  <c:v>41487</c:v>
                </c:pt>
                <c:pt idx="1303">
                  <c:v>41488</c:v>
                </c:pt>
                <c:pt idx="1304">
                  <c:v>41491</c:v>
                </c:pt>
                <c:pt idx="1305">
                  <c:v>41492</c:v>
                </c:pt>
                <c:pt idx="1306">
                  <c:v>41493</c:v>
                </c:pt>
                <c:pt idx="1307">
                  <c:v>41494</c:v>
                </c:pt>
                <c:pt idx="1308">
                  <c:v>41495</c:v>
                </c:pt>
                <c:pt idx="1309">
                  <c:v>41498</c:v>
                </c:pt>
                <c:pt idx="1310">
                  <c:v>41499</c:v>
                </c:pt>
                <c:pt idx="1311">
                  <c:v>41500</c:v>
                </c:pt>
                <c:pt idx="1312">
                  <c:v>41501</c:v>
                </c:pt>
                <c:pt idx="1313">
                  <c:v>41502</c:v>
                </c:pt>
                <c:pt idx="1314">
                  <c:v>41505</c:v>
                </c:pt>
                <c:pt idx="1315">
                  <c:v>41506</c:v>
                </c:pt>
                <c:pt idx="1316">
                  <c:v>41507</c:v>
                </c:pt>
                <c:pt idx="1317">
                  <c:v>41508</c:v>
                </c:pt>
                <c:pt idx="1318">
                  <c:v>41509</c:v>
                </c:pt>
                <c:pt idx="1319">
                  <c:v>41512</c:v>
                </c:pt>
                <c:pt idx="1320">
                  <c:v>41513</c:v>
                </c:pt>
                <c:pt idx="1321">
                  <c:v>41514</c:v>
                </c:pt>
                <c:pt idx="1322">
                  <c:v>41515</c:v>
                </c:pt>
                <c:pt idx="1323">
                  <c:v>41516</c:v>
                </c:pt>
                <c:pt idx="1324">
                  <c:v>41520</c:v>
                </c:pt>
                <c:pt idx="1325">
                  <c:v>41521</c:v>
                </c:pt>
                <c:pt idx="1326">
                  <c:v>41522</c:v>
                </c:pt>
                <c:pt idx="1327">
                  <c:v>41523</c:v>
                </c:pt>
                <c:pt idx="1328">
                  <c:v>41526</c:v>
                </c:pt>
                <c:pt idx="1329">
                  <c:v>41527</c:v>
                </c:pt>
                <c:pt idx="1330">
                  <c:v>41528</c:v>
                </c:pt>
                <c:pt idx="1331">
                  <c:v>41529</c:v>
                </c:pt>
                <c:pt idx="1332">
                  <c:v>41530</c:v>
                </c:pt>
                <c:pt idx="1333">
                  <c:v>41533</c:v>
                </c:pt>
                <c:pt idx="1334">
                  <c:v>41534</c:v>
                </c:pt>
                <c:pt idx="1335">
                  <c:v>41535</c:v>
                </c:pt>
                <c:pt idx="1336">
                  <c:v>41536</c:v>
                </c:pt>
                <c:pt idx="1337">
                  <c:v>41537</c:v>
                </c:pt>
                <c:pt idx="1338">
                  <c:v>41540</c:v>
                </c:pt>
                <c:pt idx="1339">
                  <c:v>41541</c:v>
                </c:pt>
                <c:pt idx="1340">
                  <c:v>41542</c:v>
                </c:pt>
                <c:pt idx="1341">
                  <c:v>41543</c:v>
                </c:pt>
                <c:pt idx="1342">
                  <c:v>41544</c:v>
                </c:pt>
                <c:pt idx="1343">
                  <c:v>41547</c:v>
                </c:pt>
                <c:pt idx="1344">
                  <c:v>41548</c:v>
                </c:pt>
                <c:pt idx="1345">
                  <c:v>41549</c:v>
                </c:pt>
                <c:pt idx="1346">
                  <c:v>41550</c:v>
                </c:pt>
                <c:pt idx="1347">
                  <c:v>41551</c:v>
                </c:pt>
                <c:pt idx="1348">
                  <c:v>41554</c:v>
                </c:pt>
                <c:pt idx="1349">
                  <c:v>41555</c:v>
                </c:pt>
                <c:pt idx="1350">
                  <c:v>41556</c:v>
                </c:pt>
                <c:pt idx="1351">
                  <c:v>41557</c:v>
                </c:pt>
                <c:pt idx="1352">
                  <c:v>41558</c:v>
                </c:pt>
                <c:pt idx="1353">
                  <c:v>41561</c:v>
                </c:pt>
                <c:pt idx="1354">
                  <c:v>41562</c:v>
                </c:pt>
                <c:pt idx="1355">
                  <c:v>41563</c:v>
                </c:pt>
                <c:pt idx="1356">
                  <c:v>41564</c:v>
                </c:pt>
                <c:pt idx="1357">
                  <c:v>41565</c:v>
                </c:pt>
                <c:pt idx="1358">
                  <c:v>41568</c:v>
                </c:pt>
                <c:pt idx="1359">
                  <c:v>41569</c:v>
                </c:pt>
                <c:pt idx="1360">
                  <c:v>41570</c:v>
                </c:pt>
                <c:pt idx="1361">
                  <c:v>41571</c:v>
                </c:pt>
                <c:pt idx="1362">
                  <c:v>41572</c:v>
                </c:pt>
                <c:pt idx="1363">
                  <c:v>41575</c:v>
                </c:pt>
                <c:pt idx="1364">
                  <c:v>41576</c:v>
                </c:pt>
                <c:pt idx="1365">
                  <c:v>41577</c:v>
                </c:pt>
                <c:pt idx="1366">
                  <c:v>41578</c:v>
                </c:pt>
                <c:pt idx="1367">
                  <c:v>41579</c:v>
                </c:pt>
                <c:pt idx="1368">
                  <c:v>41582</c:v>
                </c:pt>
                <c:pt idx="1369">
                  <c:v>41583</c:v>
                </c:pt>
                <c:pt idx="1370">
                  <c:v>41584</c:v>
                </c:pt>
                <c:pt idx="1371">
                  <c:v>41585</c:v>
                </c:pt>
                <c:pt idx="1372">
                  <c:v>41586</c:v>
                </c:pt>
                <c:pt idx="1373">
                  <c:v>41589</c:v>
                </c:pt>
                <c:pt idx="1374">
                  <c:v>41590</c:v>
                </c:pt>
                <c:pt idx="1375">
                  <c:v>41591</c:v>
                </c:pt>
                <c:pt idx="1376">
                  <c:v>41592</c:v>
                </c:pt>
                <c:pt idx="1377">
                  <c:v>41593</c:v>
                </c:pt>
                <c:pt idx="1378">
                  <c:v>41596</c:v>
                </c:pt>
                <c:pt idx="1379">
                  <c:v>41597</c:v>
                </c:pt>
                <c:pt idx="1380">
                  <c:v>41598</c:v>
                </c:pt>
                <c:pt idx="1381">
                  <c:v>41599</c:v>
                </c:pt>
                <c:pt idx="1382">
                  <c:v>41600</c:v>
                </c:pt>
                <c:pt idx="1383">
                  <c:v>41603</c:v>
                </c:pt>
                <c:pt idx="1384">
                  <c:v>41604</c:v>
                </c:pt>
                <c:pt idx="1385">
                  <c:v>41605</c:v>
                </c:pt>
                <c:pt idx="1386">
                  <c:v>41607</c:v>
                </c:pt>
                <c:pt idx="1387">
                  <c:v>41610</c:v>
                </c:pt>
                <c:pt idx="1388">
                  <c:v>41611</c:v>
                </c:pt>
                <c:pt idx="1389">
                  <c:v>41612</c:v>
                </c:pt>
                <c:pt idx="1390">
                  <c:v>41613</c:v>
                </c:pt>
                <c:pt idx="1391">
                  <c:v>41614</c:v>
                </c:pt>
                <c:pt idx="1392">
                  <c:v>41617</c:v>
                </c:pt>
                <c:pt idx="1393">
                  <c:v>41618</c:v>
                </c:pt>
                <c:pt idx="1394">
                  <c:v>41619</c:v>
                </c:pt>
                <c:pt idx="1395">
                  <c:v>41620</c:v>
                </c:pt>
                <c:pt idx="1396">
                  <c:v>41621</c:v>
                </c:pt>
                <c:pt idx="1397">
                  <c:v>41624</c:v>
                </c:pt>
                <c:pt idx="1398">
                  <c:v>41625</c:v>
                </c:pt>
                <c:pt idx="1399">
                  <c:v>41626</c:v>
                </c:pt>
                <c:pt idx="1400">
                  <c:v>41627</c:v>
                </c:pt>
                <c:pt idx="1401">
                  <c:v>41628</c:v>
                </c:pt>
                <c:pt idx="1402">
                  <c:v>41631</c:v>
                </c:pt>
                <c:pt idx="1403">
                  <c:v>41632</c:v>
                </c:pt>
                <c:pt idx="1404">
                  <c:v>41634</c:v>
                </c:pt>
                <c:pt idx="1405">
                  <c:v>41635</c:v>
                </c:pt>
                <c:pt idx="1406">
                  <c:v>41638</c:v>
                </c:pt>
                <c:pt idx="1407">
                  <c:v>41639</c:v>
                </c:pt>
                <c:pt idx="1408">
                  <c:v>41641</c:v>
                </c:pt>
                <c:pt idx="1409">
                  <c:v>41642</c:v>
                </c:pt>
                <c:pt idx="1410">
                  <c:v>41645</c:v>
                </c:pt>
                <c:pt idx="1411">
                  <c:v>41646</c:v>
                </c:pt>
                <c:pt idx="1412">
                  <c:v>41647</c:v>
                </c:pt>
                <c:pt idx="1413">
                  <c:v>41648</c:v>
                </c:pt>
                <c:pt idx="1414">
                  <c:v>41649</c:v>
                </c:pt>
                <c:pt idx="1415">
                  <c:v>41652</c:v>
                </c:pt>
                <c:pt idx="1416">
                  <c:v>41653</c:v>
                </c:pt>
                <c:pt idx="1417">
                  <c:v>41654</c:v>
                </c:pt>
                <c:pt idx="1418">
                  <c:v>41655</c:v>
                </c:pt>
                <c:pt idx="1419">
                  <c:v>41656</c:v>
                </c:pt>
                <c:pt idx="1420">
                  <c:v>41660</c:v>
                </c:pt>
                <c:pt idx="1421">
                  <c:v>41661</c:v>
                </c:pt>
                <c:pt idx="1422">
                  <c:v>41662</c:v>
                </c:pt>
                <c:pt idx="1423">
                  <c:v>41663</c:v>
                </c:pt>
                <c:pt idx="1424">
                  <c:v>41666</c:v>
                </c:pt>
                <c:pt idx="1425">
                  <c:v>41667</c:v>
                </c:pt>
                <c:pt idx="1426">
                  <c:v>41668</c:v>
                </c:pt>
                <c:pt idx="1427">
                  <c:v>41669</c:v>
                </c:pt>
                <c:pt idx="1428">
                  <c:v>41670</c:v>
                </c:pt>
                <c:pt idx="1429">
                  <c:v>41673</c:v>
                </c:pt>
                <c:pt idx="1430">
                  <c:v>41674</c:v>
                </c:pt>
                <c:pt idx="1431">
                  <c:v>41675</c:v>
                </c:pt>
                <c:pt idx="1432">
                  <c:v>41676</c:v>
                </c:pt>
                <c:pt idx="1433">
                  <c:v>41677</c:v>
                </c:pt>
                <c:pt idx="1434">
                  <c:v>41680</c:v>
                </c:pt>
                <c:pt idx="1435">
                  <c:v>41681</c:v>
                </c:pt>
                <c:pt idx="1436">
                  <c:v>41682</c:v>
                </c:pt>
                <c:pt idx="1437">
                  <c:v>41683</c:v>
                </c:pt>
                <c:pt idx="1438">
                  <c:v>41684</c:v>
                </c:pt>
                <c:pt idx="1439">
                  <c:v>41688</c:v>
                </c:pt>
                <c:pt idx="1440">
                  <c:v>41689</c:v>
                </c:pt>
                <c:pt idx="1441">
                  <c:v>41690</c:v>
                </c:pt>
                <c:pt idx="1442">
                  <c:v>41691</c:v>
                </c:pt>
                <c:pt idx="1443">
                  <c:v>41694</c:v>
                </c:pt>
                <c:pt idx="1444">
                  <c:v>41695</c:v>
                </c:pt>
                <c:pt idx="1445">
                  <c:v>41696</c:v>
                </c:pt>
                <c:pt idx="1446">
                  <c:v>41697</c:v>
                </c:pt>
                <c:pt idx="1447">
                  <c:v>41698</c:v>
                </c:pt>
                <c:pt idx="1448">
                  <c:v>41701</c:v>
                </c:pt>
                <c:pt idx="1449">
                  <c:v>41702</c:v>
                </c:pt>
                <c:pt idx="1450">
                  <c:v>41703</c:v>
                </c:pt>
                <c:pt idx="1451">
                  <c:v>41704</c:v>
                </c:pt>
                <c:pt idx="1452">
                  <c:v>41705</c:v>
                </c:pt>
                <c:pt idx="1453">
                  <c:v>41708</c:v>
                </c:pt>
                <c:pt idx="1454">
                  <c:v>41709</c:v>
                </c:pt>
                <c:pt idx="1455">
                  <c:v>41710</c:v>
                </c:pt>
                <c:pt idx="1456">
                  <c:v>41711</c:v>
                </c:pt>
                <c:pt idx="1457">
                  <c:v>41712</c:v>
                </c:pt>
                <c:pt idx="1458">
                  <c:v>41715</c:v>
                </c:pt>
                <c:pt idx="1459">
                  <c:v>41716</c:v>
                </c:pt>
                <c:pt idx="1460">
                  <c:v>41717</c:v>
                </c:pt>
                <c:pt idx="1461">
                  <c:v>41718</c:v>
                </c:pt>
                <c:pt idx="1462">
                  <c:v>41719</c:v>
                </c:pt>
                <c:pt idx="1463">
                  <c:v>41722</c:v>
                </c:pt>
                <c:pt idx="1464">
                  <c:v>41723</c:v>
                </c:pt>
                <c:pt idx="1465">
                  <c:v>41724</c:v>
                </c:pt>
                <c:pt idx="1466">
                  <c:v>41725</c:v>
                </c:pt>
                <c:pt idx="1467">
                  <c:v>41726</c:v>
                </c:pt>
                <c:pt idx="1468">
                  <c:v>41729</c:v>
                </c:pt>
                <c:pt idx="1469">
                  <c:v>41730</c:v>
                </c:pt>
                <c:pt idx="1470">
                  <c:v>41731</c:v>
                </c:pt>
                <c:pt idx="1471">
                  <c:v>41732</c:v>
                </c:pt>
                <c:pt idx="1472">
                  <c:v>41733</c:v>
                </c:pt>
                <c:pt idx="1473">
                  <c:v>41736</c:v>
                </c:pt>
                <c:pt idx="1474">
                  <c:v>41737</c:v>
                </c:pt>
                <c:pt idx="1475">
                  <c:v>41738</c:v>
                </c:pt>
                <c:pt idx="1476">
                  <c:v>41739</c:v>
                </c:pt>
                <c:pt idx="1477">
                  <c:v>41740</c:v>
                </c:pt>
                <c:pt idx="1478">
                  <c:v>41743</c:v>
                </c:pt>
                <c:pt idx="1479">
                  <c:v>41744</c:v>
                </c:pt>
                <c:pt idx="1480">
                  <c:v>41745</c:v>
                </c:pt>
                <c:pt idx="1481">
                  <c:v>41746</c:v>
                </c:pt>
                <c:pt idx="1482">
                  <c:v>41750</c:v>
                </c:pt>
                <c:pt idx="1483">
                  <c:v>41751</c:v>
                </c:pt>
                <c:pt idx="1484">
                  <c:v>41752</c:v>
                </c:pt>
                <c:pt idx="1485">
                  <c:v>41753</c:v>
                </c:pt>
                <c:pt idx="1486">
                  <c:v>41754</c:v>
                </c:pt>
                <c:pt idx="1487">
                  <c:v>41757</c:v>
                </c:pt>
                <c:pt idx="1488">
                  <c:v>41758</c:v>
                </c:pt>
                <c:pt idx="1489">
                  <c:v>41759</c:v>
                </c:pt>
                <c:pt idx="1490">
                  <c:v>41760</c:v>
                </c:pt>
                <c:pt idx="1491">
                  <c:v>41761</c:v>
                </c:pt>
                <c:pt idx="1492">
                  <c:v>41764</c:v>
                </c:pt>
                <c:pt idx="1493">
                  <c:v>41765</c:v>
                </c:pt>
                <c:pt idx="1494">
                  <c:v>41766</c:v>
                </c:pt>
                <c:pt idx="1495">
                  <c:v>41767</c:v>
                </c:pt>
                <c:pt idx="1496">
                  <c:v>41768</c:v>
                </c:pt>
                <c:pt idx="1497">
                  <c:v>41771</c:v>
                </c:pt>
                <c:pt idx="1498">
                  <c:v>41772</c:v>
                </c:pt>
                <c:pt idx="1499">
                  <c:v>41773</c:v>
                </c:pt>
                <c:pt idx="1500">
                  <c:v>41774</c:v>
                </c:pt>
                <c:pt idx="1501">
                  <c:v>41775</c:v>
                </c:pt>
                <c:pt idx="1502">
                  <c:v>41778</c:v>
                </c:pt>
                <c:pt idx="1503">
                  <c:v>41779</c:v>
                </c:pt>
                <c:pt idx="1504">
                  <c:v>41780</c:v>
                </c:pt>
                <c:pt idx="1505">
                  <c:v>41781</c:v>
                </c:pt>
                <c:pt idx="1506">
                  <c:v>41782</c:v>
                </c:pt>
                <c:pt idx="1507">
                  <c:v>41786</c:v>
                </c:pt>
                <c:pt idx="1508">
                  <c:v>41787</c:v>
                </c:pt>
                <c:pt idx="1509">
                  <c:v>41788</c:v>
                </c:pt>
                <c:pt idx="1510">
                  <c:v>41789</c:v>
                </c:pt>
                <c:pt idx="1511">
                  <c:v>41792</c:v>
                </c:pt>
                <c:pt idx="1512">
                  <c:v>41793</c:v>
                </c:pt>
                <c:pt idx="1513">
                  <c:v>41794</c:v>
                </c:pt>
                <c:pt idx="1514">
                  <c:v>41795</c:v>
                </c:pt>
                <c:pt idx="1515">
                  <c:v>41796</c:v>
                </c:pt>
                <c:pt idx="1516">
                  <c:v>41799</c:v>
                </c:pt>
                <c:pt idx="1517">
                  <c:v>41800</c:v>
                </c:pt>
                <c:pt idx="1518">
                  <c:v>41801</c:v>
                </c:pt>
                <c:pt idx="1519">
                  <c:v>41802</c:v>
                </c:pt>
                <c:pt idx="1520">
                  <c:v>41803</c:v>
                </c:pt>
                <c:pt idx="1521">
                  <c:v>41806</c:v>
                </c:pt>
                <c:pt idx="1522">
                  <c:v>41807</c:v>
                </c:pt>
                <c:pt idx="1523">
                  <c:v>41808</c:v>
                </c:pt>
                <c:pt idx="1524">
                  <c:v>41809</c:v>
                </c:pt>
                <c:pt idx="1525">
                  <c:v>41810</c:v>
                </c:pt>
                <c:pt idx="1526">
                  <c:v>41813</c:v>
                </c:pt>
                <c:pt idx="1527">
                  <c:v>41814</c:v>
                </c:pt>
                <c:pt idx="1528">
                  <c:v>41815</c:v>
                </c:pt>
                <c:pt idx="1529">
                  <c:v>41816</c:v>
                </c:pt>
                <c:pt idx="1530">
                  <c:v>41817</c:v>
                </c:pt>
                <c:pt idx="1531">
                  <c:v>41820</c:v>
                </c:pt>
                <c:pt idx="1532">
                  <c:v>41821</c:v>
                </c:pt>
                <c:pt idx="1533">
                  <c:v>41822</c:v>
                </c:pt>
                <c:pt idx="1534">
                  <c:v>41823</c:v>
                </c:pt>
                <c:pt idx="1535">
                  <c:v>41827</c:v>
                </c:pt>
                <c:pt idx="1536">
                  <c:v>41828</c:v>
                </c:pt>
                <c:pt idx="1537">
                  <c:v>41829</c:v>
                </c:pt>
                <c:pt idx="1538">
                  <c:v>41830</c:v>
                </c:pt>
                <c:pt idx="1539">
                  <c:v>41831</c:v>
                </c:pt>
                <c:pt idx="1540">
                  <c:v>41834</c:v>
                </c:pt>
                <c:pt idx="1541">
                  <c:v>41835</c:v>
                </c:pt>
                <c:pt idx="1542">
                  <c:v>41836</c:v>
                </c:pt>
                <c:pt idx="1543">
                  <c:v>41837</c:v>
                </c:pt>
                <c:pt idx="1544">
                  <c:v>41838</c:v>
                </c:pt>
                <c:pt idx="1545">
                  <c:v>41841</c:v>
                </c:pt>
                <c:pt idx="1546">
                  <c:v>41842</c:v>
                </c:pt>
                <c:pt idx="1547">
                  <c:v>41843</c:v>
                </c:pt>
                <c:pt idx="1548">
                  <c:v>41844</c:v>
                </c:pt>
                <c:pt idx="1549">
                  <c:v>41845</c:v>
                </c:pt>
                <c:pt idx="1550">
                  <c:v>41848</c:v>
                </c:pt>
                <c:pt idx="1551">
                  <c:v>41849</c:v>
                </c:pt>
                <c:pt idx="1552">
                  <c:v>41850</c:v>
                </c:pt>
                <c:pt idx="1553">
                  <c:v>41851</c:v>
                </c:pt>
                <c:pt idx="1554">
                  <c:v>41852</c:v>
                </c:pt>
                <c:pt idx="1555">
                  <c:v>41855</c:v>
                </c:pt>
                <c:pt idx="1556">
                  <c:v>41856</c:v>
                </c:pt>
                <c:pt idx="1557">
                  <c:v>41857</c:v>
                </c:pt>
                <c:pt idx="1558">
                  <c:v>41858</c:v>
                </c:pt>
                <c:pt idx="1559">
                  <c:v>41859</c:v>
                </c:pt>
                <c:pt idx="1560">
                  <c:v>41862</c:v>
                </c:pt>
                <c:pt idx="1561">
                  <c:v>41863</c:v>
                </c:pt>
                <c:pt idx="1562">
                  <c:v>41864</c:v>
                </c:pt>
                <c:pt idx="1563">
                  <c:v>41865</c:v>
                </c:pt>
                <c:pt idx="1564">
                  <c:v>41866</c:v>
                </c:pt>
                <c:pt idx="1565">
                  <c:v>41869</c:v>
                </c:pt>
                <c:pt idx="1566">
                  <c:v>41870</c:v>
                </c:pt>
                <c:pt idx="1567">
                  <c:v>41871</c:v>
                </c:pt>
                <c:pt idx="1568">
                  <c:v>41872</c:v>
                </c:pt>
                <c:pt idx="1569">
                  <c:v>41873</c:v>
                </c:pt>
                <c:pt idx="1570">
                  <c:v>41876</c:v>
                </c:pt>
                <c:pt idx="1571">
                  <c:v>41877</c:v>
                </c:pt>
                <c:pt idx="1572">
                  <c:v>41878</c:v>
                </c:pt>
                <c:pt idx="1573">
                  <c:v>41879</c:v>
                </c:pt>
                <c:pt idx="1574">
                  <c:v>41880</c:v>
                </c:pt>
                <c:pt idx="1575">
                  <c:v>41884</c:v>
                </c:pt>
                <c:pt idx="1576">
                  <c:v>41885</c:v>
                </c:pt>
                <c:pt idx="1577">
                  <c:v>41886</c:v>
                </c:pt>
                <c:pt idx="1578">
                  <c:v>41887</c:v>
                </c:pt>
                <c:pt idx="1579">
                  <c:v>41890</c:v>
                </c:pt>
                <c:pt idx="1580">
                  <c:v>41891</c:v>
                </c:pt>
                <c:pt idx="1581">
                  <c:v>41892</c:v>
                </c:pt>
                <c:pt idx="1582">
                  <c:v>41893</c:v>
                </c:pt>
                <c:pt idx="1583">
                  <c:v>41894</c:v>
                </c:pt>
                <c:pt idx="1584">
                  <c:v>41897</c:v>
                </c:pt>
                <c:pt idx="1585">
                  <c:v>41898</c:v>
                </c:pt>
                <c:pt idx="1586">
                  <c:v>41899</c:v>
                </c:pt>
                <c:pt idx="1587">
                  <c:v>41900</c:v>
                </c:pt>
                <c:pt idx="1588">
                  <c:v>41901</c:v>
                </c:pt>
                <c:pt idx="1589">
                  <c:v>41904</c:v>
                </c:pt>
                <c:pt idx="1590">
                  <c:v>41905</c:v>
                </c:pt>
                <c:pt idx="1591">
                  <c:v>41906</c:v>
                </c:pt>
                <c:pt idx="1592">
                  <c:v>41907</c:v>
                </c:pt>
                <c:pt idx="1593">
                  <c:v>41908</c:v>
                </c:pt>
                <c:pt idx="1594">
                  <c:v>41911</c:v>
                </c:pt>
                <c:pt idx="1595">
                  <c:v>41912</c:v>
                </c:pt>
                <c:pt idx="1596">
                  <c:v>41913</c:v>
                </c:pt>
                <c:pt idx="1597">
                  <c:v>41914</c:v>
                </c:pt>
                <c:pt idx="1598">
                  <c:v>41915</c:v>
                </c:pt>
                <c:pt idx="1599">
                  <c:v>41918</c:v>
                </c:pt>
                <c:pt idx="1600">
                  <c:v>41919</c:v>
                </c:pt>
                <c:pt idx="1601">
                  <c:v>41920</c:v>
                </c:pt>
                <c:pt idx="1602">
                  <c:v>41921</c:v>
                </c:pt>
                <c:pt idx="1603">
                  <c:v>41922</c:v>
                </c:pt>
                <c:pt idx="1604">
                  <c:v>41925</c:v>
                </c:pt>
                <c:pt idx="1605">
                  <c:v>41926</c:v>
                </c:pt>
                <c:pt idx="1606">
                  <c:v>41927</c:v>
                </c:pt>
                <c:pt idx="1607">
                  <c:v>41928</c:v>
                </c:pt>
                <c:pt idx="1608">
                  <c:v>41929</c:v>
                </c:pt>
                <c:pt idx="1609">
                  <c:v>41932</c:v>
                </c:pt>
                <c:pt idx="1610">
                  <c:v>41933</c:v>
                </c:pt>
                <c:pt idx="1611">
                  <c:v>41934</c:v>
                </c:pt>
                <c:pt idx="1612">
                  <c:v>41935</c:v>
                </c:pt>
                <c:pt idx="1613">
                  <c:v>41936</c:v>
                </c:pt>
                <c:pt idx="1614">
                  <c:v>41939</c:v>
                </c:pt>
                <c:pt idx="1615">
                  <c:v>41940</c:v>
                </c:pt>
                <c:pt idx="1616">
                  <c:v>41941</c:v>
                </c:pt>
                <c:pt idx="1617">
                  <c:v>41942</c:v>
                </c:pt>
                <c:pt idx="1618">
                  <c:v>41943</c:v>
                </c:pt>
                <c:pt idx="1619">
                  <c:v>41946</c:v>
                </c:pt>
                <c:pt idx="1620">
                  <c:v>41947</c:v>
                </c:pt>
                <c:pt idx="1621">
                  <c:v>41948</c:v>
                </c:pt>
                <c:pt idx="1622">
                  <c:v>41949</c:v>
                </c:pt>
                <c:pt idx="1623">
                  <c:v>41950</c:v>
                </c:pt>
                <c:pt idx="1624">
                  <c:v>41953</c:v>
                </c:pt>
                <c:pt idx="1625">
                  <c:v>41954</c:v>
                </c:pt>
                <c:pt idx="1626">
                  <c:v>41955</c:v>
                </c:pt>
                <c:pt idx="1627">
                  <c:v>41956</c:v>
                </c:pt>
                <c:pt idx="1628">
                  <c:v>41957</c:v>
                </c:pt>
                <c:pt idx="1629">
                  <c:v>41960</c:v>
                </c:pt>
                <c:pt idx="1630">
                  <c:v>41961</c:v>
                </c:pt>
                <c:pt idx="1631">
                  <c:v>41962</c:v>
                </c:pt>
                <c:pt idx="1632">
                  <c:v>41963</c:v>
                </c:pt>
                <c:pt idx="1633">
                  <c:v>41964</c:v>
                </c:pt>
                <c:pt idx="1634">
                  <c:v>41967</c:v>
                </c:pt>
                <c:pt idx="1635">
                  <c:v>41968</c:v>
                </c:pt>
                <c:pt idx="1636">
                  <c:v>41969</c:v>
                </c:pt>
                <c:pt idx="1637">
                  <c:v>41971</c:v>
                </c:pt>
                <c:pt idx="1638">
                  <c:v>41974</c:v>
                </c:pt>
                <c:pt idx="1639">
                  <c:v>41975</c:v>
                </c:pt>
                <c:pt idx="1640">
                  <c:v>41976</c:v>
                </c:pt>
                <c:pt idx="1641">
                  <c:v>41977</c:v>
                </c:pt>
                <c:pt idx="1642">
                  <c:v>41978</c:v>
                </c:pt>
                <c:pt idx="1643">
                  <c:v>41981</c:v>
                </c:pt>
                <c:pt idx="1644">
                  <c:v>41982</c:v>
                </c:pt>
                <c:pt idx="1645">
                  <c:v>41983</c:v>
                </c:pt>
                <c:pt idx="1646">
                  <c:v>41984</c:v>
                </c:pt>
                <c:pt idx="1647">
                  <c:v>41985</c:v>
                </c:pt>
                <c:pt idx="1648">
                  <c:v>41988</c:v>
                </c:pt>
                <c:pt idx="1649">
                  <c:v>41989</c:v>
                </c:pt>
                <c:pt idx="1650">
                  <c:v>41990</c:v>
                </c:pt>
                <c:pt idx="1651">
                  <c:v>41991</c:v>
                </c:pt>
                <c:pt idx="1652">
                  <c:v>41992</c:v>
                </c:pt>
                <c:pt idx="1653">
                  <c:v>41995</c:v>
                </c:pt>
                <c:pt idx="1654">
                  <c:v>41996</c:v>
                </c:pt>
                <c:pt idx="1655">
                  <c:v>41997</c:v>
                </c:pt>
                <c:pt idx="1656">
                  <c:v>41999</c:v>
                </c:pt>
                <c:pt idx="1657">
                  <c:v>42002</c:v>
                </c:pt>
                <c:pt idx="1658">
                  <c:v>42003</c:v>
                </c:pt>
                <c:pt idx="1659">
                  <c:v>42004</c:v>
                </c:pt>
                <c:pt idx="1660">
                  <c:v>42006</c:v>
                </c:pt>
                <c:pt idx="1661">
                  <c:v>42009</c:v>
                </c:pt>
                <c:pt idx="1662">
                  <c:v>42010</c:v>
                </c:pt>
                <c:pt idx="1663">
                  <c:v>42011</c:v>
                </c:pt>
                <c:pt idx="1664">
                  <c:v>42012</c:v>
                </c:pt>
                <c:pt idx="1665">
                  <c:v>42013</c:v>
                </c:pt>
                <c:pt idx="1666">
                  <c:v>42016</c:v>
                </c:pt>
                <c:pt idx="1667">
                  <c:v>42017</c:v>
                </c:pt>
                <c:pt idx="1668">
                  <c:v>42018</c:v>
                </c:pt>
                <c:pt idx="1669">
                  <c:v>42019</c:v>
                </c:pt>
                <c:pt idx="1670">
                  <c:v>42020</c:v>
                </c:pt>
                <c:pt idx="1671">
                  <c:v>42024</c:v>
                </c:pt>
                <c:pt idx="1672">
                  <c:v>42025</c:v>
                </c:pt>
                <c:pt idx="1673">
                  <c:v>42026</c:v>
                </c:pt>
                <c:pt idx="1674">
                  <c:v>42027</c:v>
                </c:pt>
                <c:pt idx="1675">
                  <c:v>42030</c:v>
                </c:pt>
                <c:pt idx="1676">
                  <c:v>42031</c:v>
                </c:pt>
                <c:pt idx="1677">
                  <c:v>42032</c:v>
                </c:pt>
                <c:pt idx="1678">
                  <c:v>42033</c:v>
                </c:pt>
                <c:pt idx="1679">
                  <c:v>42034</c:v>
                </c:pt>
                <c:pt idx="1680">
                  <c:v>42037</c:v>
                </c:pt>
                <c:pt idx="1681">
                  <c:v>42038</c:v>
                </c:pt>
                <c:pt idx="1682">
                  <c:v>42039</c:v>
                </c:pt>
                <c:pt idx="1683">
                  <c:v>42040</c:v>
                </c:pt>
                <c:pt idx="1684">
                  <c:v>42041</c:v>
                </c:pt>
                <c:pt idx="1685">
                  <c:v>42044</c:v>
                </c:pt>
                <c:pt idx="1686">
                  <c:v>42045</c:v>
                </c:pt>
                <c:pt idx="1687">
                  <c:v>42046</c:v>
                </c:pt>
                <c:pt idx="1688">
                  <c:v>42047</c:v>
                </c:pt>
                <c:pt idx="1689">
                  <c:v>42048</c:v>
                </c:pt>
                <c:pt idx="1690">
                  <c:v>42052</c:v>
                </c:pt>
                <c:pt idx="1691">
                  <c:v>42053</c:v>
                </c:pt>
                <c:pt idx="1692">
                  <c:v>42054</c:v>
                </c:pt>
                <c:pt idx="1693">
                  <c:v>42055</c:v>
                </c:pt>
                <c:pt idx="1694">
                  <c:v>42058</c:v>
                </c:pt>
                <c:pt idx="1695">
                  <c:v>42059</c:v>
                </c:pt>
                <c:pt idx="1696">
                  <c:v>42060</c:v>
                </c:pt>
                <c:pt idx="1697">
                  <c:v>42061</c:v>
                </c:pt>
                <c:pt idx="1698">
                  <c:v>42062</c:v>
                </c:pt>
                <c:pt idx="1699">
                  <c:v>42065</c:v>
                </c:pt>
                <c:pt idx="1700">
                  <c:v>42066</c:v>
                </c:pt>
                <c:pt idx="1701">
                  <c:v>42067</c:v>
                </c:pt>
                <c:pt idx="1702">
                  <c:v>42068</c:v>
                </c:pt>
                <c:pt idx="1703">
                  <c:v>42069</c:v>
                </c:pt>
                <c:pt idx="1704">
                  <c:v>42072</c:v>
                </c:pt>
                <c:pt idx="1705">
                  <c:v>42073</c:v>
                </c:pt>
                <c:pt idx="1706">
                  <c:v>42074</c:v>
                </c:pt>
                <c:pt idx="1707">
                  <c:v>42075</c:v>
                </c:pt>
                <c:pt idx="1708">
                  <c:v>42076</c:v>
                </c:pt>
                <c:pt idx="1709">
                  <c:v>42079</c:v>
                </c:pt>
                <c:pt idx="1710">
                  <c:v>42080</c:v>
                </c:pt>
                <c:pt idx="1711">
                  <c:v>42081</c:v>
                </c:pt>
                <c:pt idx="1712">
                  <c:v>42082</c:v>
                </c:pt>
                <c:pt idx="1713">
                  <c:v>42083</c:v>
                </c:pt>
                <c:pt idx="1714">
                  <c:v>42086</c:v>
                </c:pt>
                <c:pt idx="1715">
                  <c:v>42087</c:v>
                </c:pt>
                <c:pt idx="1716">
                  <c:v>42088</c:v>
                </c:pt>
                <c:pt idx="1717">
                  <c:v>42089</c:v>
                </c:pt>
                <c:pt idx="1718">
                  <c:v>42090</c:v>
                </c:pt>
                <c:pt idx="1719">
                  <c:v>42093</c:v>
                </c:pt>
                <c:pt idx="1720">
                  <c:v>42094</c:v>
                </c:pt>
                <c:pt idx="1721">
                  <c:v>42095</c:v>
                </c:pt>
                <c:pt idx="1722">
                  <c:v>42096</c:v>
                </c:pt>
                <c:pt idx="1723">
                  <c:v>42100</c:v>
                </c:pt>
                <c:pt idx="1724">
                  <c:v>42101</c:v>
                </c:pt>
                <c:pt idx="1725">
                  <c:v>42102</c:v>
                </c:pt>
                <c:pt idx="1726">
                  <c:v>42103</c:v>
                </c:pt>
                <c:pt idx="1727">
                  <c:v>42104</c:v>
                </c:pt>
                <c:pt idx="1728">
                  <c:v>42107</c:v>
                </c:pt>
                <c:pt idx="1729">
                  <c:v>42108</c:v>
                </c:pt>
                <c:pt idx="1730">
                  <c:v>42109</c:v>
                </c:pt>
                <c:pt idx="1731">
                  <c:v>42110</c:v>
                </c:pt>
                <c:pt idx="1732">
                  <c:v>42111</c:v>
                </c:pt>
                <c:pt idx="1733">
                  <c:v>42114</c:v>
                </c:pt>
                <c:pt idx="1734">
                  <c:v>42115</c:v>
                </c:pt>
                <c:pt idx="1735">
                  <c:v>42116</c:v>
                </c:pt>
                <c:pt idx="1736">
                  <c:v>42117</c:v>
                </c:pt>
                <c:pt idx="1737">
                  <c:v>42118</c:v>
                </c:pt>
                <c:pt idx="1738">
                  <c:v>42121</c:v>
                </c:pt>
                <c:pt idx="1739">
                  <c:v>42122</c:v>
                </c:pt>
                <c:pt idx="1740">
                  <c:v>42123</c:v>
                </c:pt>
                <c:pt idx="1741">
                  <c:v>42124</c:v>
                </c:pt>
                <c:pt idx="1742">
                  <c:v>42125</c:v>
                </c:pt>
                <c:pt idx="1743">
                  <c:v>42128</c:v>
                </c:pt>
                <c:pt idx="1744">
                  <c:v>42129</c:v>
                </c:pt>
                <c:pt idx="1745">
                  <c:v>42130</c:v>
                </c:pt>
                <c:pt idx="1746">
                  <c:v>42131</c:v>
                </c:pt>
                <c:pt idx="1747">
                  <c:v>42132</c:v>
                </c:pt>
                <c:pt idx="1748">
                  <c:v>42135</c:v>
                </c:pt>
                <c:pt idx="1749">
                  <c:v>42136</c:v>
                </c:pt>
                <c:pt idx="1750">
                  <c:v>42137</c:v>
                </c:pt>
                <c:pt idx="1751">
                  <c:v>42138</c:v>
                </c:pt>
                <c:pt idx="1752">
                  <c:v>42139</c:v>
                </c:pt>
                <c:pt idx="1753">
                  <c:v>42142</c:v>
                </c:pt>
                <c:pt idx="1754">
                  <c:v>42143</c:v>
                </c:pt>
                <c:pt idx="1755">
                  <c:v>42144</c:v>
                </c:pt>
                <c:pt idx="1756">
                  <c:v>42145</c:v>
                </c:pt>
                <c:pt idx="1757">
                  <c:v>42146</c:v>
                </c:pt>
                <c:pt idx="1758">
                  <c:v>42150</c:v>
                </c:pt>
                <c:pt idx="1759">
                  <c:v>42151</c:v>
                </c:pt>
                <c:pt idx="1760">
                  <c:v>42152</c:v>
                </c:pt>
                <c:pt idx="1761">
                  <c:v>42153</c:v>
                </c:pt>
                <c:pt idx="1762">
                  <c:v>42156</c:v>
                </c:pt>
                <c:pt idx="1763">
                  <c:v>42157</c:v>
                </c:pt>
                <c:pt idx="1764">
                  <c:v>42158</c:v>
                </c:pt>
                <c:pt idx="1765">
                  <c:v>42159</c:v>
                </c:pt>
                <c:pt idx="1766">
                  <c:v>42160</c:v>
                </c:pt>
                <c:pt idx="1767">
                  <c:v>42163</c:v>
                </c:pt>
                <c:pt idx="1768">
                  <c:v>42164</c:v>
                </c:pt>
                <c:pt idx="1769">
                  <c:v>42165</c:v>
                </c:pt>
                <c:pt idx="1770">
                  <c:v>42166</c:v>
                </c:pt>
                <c:pt idx="1771">
                  <c:v>42167</c:v>
                </c:pt>
                <c:pt idx="1772">
                  <c:v>42170</c:v>
                </c:pt>
                <c:pt idx="1773">
                  <c:v>42171</c:v>
                </c:pt>
                <c:pt idx="1774">
                  <c:v>42172</c:v>
                </c:pt>
                <c:pt idx="1775">
                  <c:v>42173</c:v>
                </c:pt>
                <c:pt idx="1776">
                  <c:v>42174</c:v>
                </c:pt>
                <c:pt idx="1777">
                  <c:v>42177</c:v>
                </c:pt>
                <c:pt idx="1778">
                  <c:v>42178</c:v>
                </c:pt>
                <c:pt idx="1779">
                  <c:v>42179</c:v>
                </c:pt>
                <c:pt idx="1780">
                  <c:v>42180</c:v>
                </c:pt>
                <c:pt idx="1781">
                  <c:v>42181</c:v>
                </c:pt>
                <c:pt idx="1782">
                  <c:v>42184</c:v>
                </c:pt>
                <c:pt idx="1783">
                  <c:v>42185</c:v>
                </c:pt>
                <c:pt idx="1784">
                  <c:v>42186</c:v>
                </c:pt>
                <c:pt idx="1785">
                  <c:v>42187</c:v>
                </c:pt>
                <c:pt idx="1786">
                  <c:v>42191</c:v>
                </c:pt>
                <c:pt idx="1787">
                  <c:v>42192</c:v>
                </c:pt>
                <c:pt idx="1788">
                  <c:v>42193</c:v>
                </c:pt>
                <c:pt idx="1789">
                  <c:v>42194</c:v>
                </c:pt>
                <c:pt idx="1790">
                  <c:v>42195</c:v>
                </c:pt>
                <c:pt idx="1791">
                  <c:v>42198</c:v>
                </c:pt>
                <c:pt idx="1792">
                  <c:v>42199</c:v>
                </c:pt>
                <c:pt idx="1793">
                  <c:v>42200</c:v>
                </c:pt>
                <c:pt idx="1794">
                  <c:v>42201</c:v>
                </c:pt>
                <c:pt idx="1795">
                  <c:v>42202</c:v>
                </c:pt>
                <c:pt idx="1796">
                  <c:v>42205</c:v>
                </c:pt>
                <c:pt idx="1797">
                  <c:v>42206</c:v>
                </c:pt>
                <c:pt idx="1798">
                  <c:v>42207</c:v>
                </c:pt>
                <c:pt idx="1799">
                  <c:v>42208</c:v>
                </c:pt>
                <c:pt idx="1800">
                  <c:v>42209</c:v>
                </c:pt>
                <c:pt idx="1801">
                  <c:v>42212</c:v>
                </c:pt>
                <c:pt idx="1802">
                  <c:v>42213</c:v>
                </c:pt>
                <c:pt idx="1803">
                  <c:v>42214</c:v>
                </c:pt>
                <c:pt idx="1804">
                  <c:v>42215</c:v>
                </c:pt>
                <c:pt idx="1805">
                  <c:v>42216</c:v>
                </c:pt>
                <c:pt idx="1806">
                  <c:v>42219</c:v>
                </c:pt>
                <c:pt idx="1807">
                  <c:v>42220</c:v>
                </c:pt>
                <c:pt idx="1808">
                  <c:v>42221</c:v>
                </c:pt>
                <c:pt idx="1809">
                  <c:v>42222</c:v>
                </c:pt>
                <c:pt idx="1810">
                  <c:v>42223</c:v>
                </c:pt>
                <c:pt idx="1811">
                  <c:v>42226</c:v>
                </c:pt>
                <c:pt idx="1812">
                  <c:v>42227</c:v>
                </c:pt>
                <c:pt idx="1813">
                  <c:v>42228</c:v>
                </c:pt>
                <c:pt idx="1814">
                  <c:v>42229</c:v>
                </c:pt>
                <c:pt idx="1815">
                  <c:v>42230</c:v>
                </c:pt>
                <c:pt idx="1816">
                  <c:v>42233</c:v>
                </c:pt>
                <c:pt idx="1817">
                  <c:v>42234</c:v>
                </c:pt>
                <c:pt idx="1818">
                  <c:v>42235</c:v>
                </c:pt>
                <c:pt idx="1819">
                  <c:v>42236</c:v>
                </c:pt>
                <c:pt idx="1820">
                  <c:v>42237</c:v>
                </c:pt>
                <c:pt idx="1821">
                  <c:v>42240</c:v>
                </c:pt>
                <c:pt idx="1822">
                  <c:v>42241</c:v>
                </c:pt>
                <c:pt idx="1823">
                  <c:v>42242</c:v>
                </c:pt>
                <c:pt idx="1824">
                  <c:v>42243</c:v>
                </c:pt>
                <c:pt idx="1825">
                  <c:v>42244</c:v>
                </c:pt>
                <c:pt idx="1826">
                  <c:v>42247</c:v>
                </c:pt>
                <c:pt idx="1827">
                  <c:v>42248</c:v>
                </c:pt>
                <c:pt idx="1828">
                  <c:v>42249</c:v>
                </c:pt>
                <c:pt idx="1829">
                  <c:v>42250</c:v>
                </c:pt>
                <c:pt idx="1830">
                  <c:v>42251</c:v>
                </c:pt>
                <c:pt idx="1831">
                  <c:v>42255</c:v>
                </c:pt>
                <c:pt idx="1832">
                  <c:v>42256</c:v>
                </c:pt>
                <c:pt idx="1833">
                  <c:v>42257</c:v>
                </c:pt>
                <c:pt idx="1834">
                  <c:v>42258</c:v>
                </c:pt>
                <c:pt idx="1835">
                  <c:v>42261</c:v>
                </c:pt>
                <c:pt idx="1836">
                  <c:v>42262</c:v>
                </c:pt>
                <c:pt idx="1837">
                  <c:v>42263</c:v>
                </c:pt>
                <c:pt idx="1838">
                  <c:v>42264</c:v>
                </c:pt>
                <c:pt idx="1839">
                  <c:v>42265</c:v>
                </c:pt>
                <c:pt idx="1840">
                  <c:v>42268</c:v>
                </c:pt>
                <c:pt idx="1841">
                  <c:v>42269</c:v>
                </c:pt>
                <c:pt idx="1842">
                  <c:v>42270</c:v>
                </c:pt>
                <c:pt idx="1843">
                  <c:v>42271</c:v>
                </c:pt>
                <c:pt idx="1844">
                  <c:v>42272</c:v>
                </c:pt>
                <c:pt idx="1845">
                  <c:v>42275</c:v>
                </c:pt>
                <c:pt idx="1846">
                  <c:v>42276</c:v>
                </c:pt>
                <c:pt idx="1847">
                  <c:v>42277</c:v>
                </c:pt>
                <c:pt idx="1848">
                  <c:v>42278</c:v>
                </c:pt>
                <c:pt idx="1849">
                  <c:v>42279</c:v>
                </c:pt>
                <c:pt idx="1850">
                  <c:v>42282</c:v>
                </c:pt>
                <c:pt idx="1851">
                  <c:v>42283</c:v>
                </c:pt>
                <c:pt idx="1852">
                  <c:v>42284</c:v>
                </c:pt>
                <c:pt idx="1853">
                  <c:v>42285</c:v>
                </c:pt>
                <c:pt idx="1854">
                  <c:v>42286</c:v>
                </c:pt>
                <c:pt idx="1855">
                  <c:v>42289</c:v>
                </c:pt>
                <c:pt idx="1856">
                  <c:v>42290</c:v>
                </c:pt>
                <c:pt idx="1857">
                  <c:v>42291</c:v>
                </c:pt>
                <c:pt idx="1858">
                  <c:v>42292</c:v>
                </c:pt>
                <c:pt idx="1859">
                  <c:v>42293</c:v>
                </c:pt>
                <c:pt idx="1860">
                  <c:v>42296</c:v>
                </c:pt>
                <c:pt idx="1861">
                  <c:v>42297</c:v>
                </c:pt>
                <c:pt idx="1862">
                  <c:v>42298</c:v>
                </c:pt>
                <c:pt idx="1863">
                  <c:v>42299</c:v>
                </c:pt>
                <c:pt idx="1864">
                  <c:v>42300</c:v>
                </c:pt>
                <c:pt idx="1865">
                  <c:v>42303</c:v>
                </c:pt>
                <c:pt idx="1866">
                  <c:v>42304</c:v>
                </c:pt>
                <c:pt idx="1867">
                  <c:v>42305</c:v>
                </c:pt>
                <c:pt idx="1868">
                  <c:v>42306</c:v>
                </c:pt>
                <c:pt idx="1869">
                  <c:v>42307</c:v>
                </c:pt>
                <c:pt idx="1870">
                  <c:v>42310</c:v>
                </c:pt>
                <c:pt idx="1871">
                  <c:v>42311</c:v>
                </c:pt>
                <c:pt idx="1872">
                  <c:v>42312</c:v>
                </c:pt>
                <c:pt idx="1873">
                  <c:v>42313</c:v>
                </c:pt>
                <c:pt idx="1874">
                  <c:v>42314</c:v>
                </c:pt>
                <c:pt idx="1875">
                  <c:v>42317</c:v>
                </c:pt>
                <c:pt idx="1876">
                  <c:v>42318</c:v>
                </c:pt>
                <c:pt idx="1877">
                  <c:v>42319</c:v>
                </c:pt>
                <c:pt idx="1878">
                  <c:v>42320</c:v>
                </c:pt>
                <c:pt idx="1879">
                  <c:v>42321</c:v>
                </c:pt>
                <c:pt idx="1880">
                  <c:v>42324</c:v>
                </c:pt>
                <c:pt idx="1881">
                  <c:v>42325</c:v>
                </c:pt>
                <c:pt idx="1882">
                  <c:v>42326</c:v>
                </c:pt>
                <c:pt idx="1883">
                  <c:v>42327</c:v>
                </c:pt>
                <c:pt idx="1884">
                  <c:v>42328</c:v>
                </c:pt>
                <c:pt idx="1885">
                  <c:v>42331</c:v>
                </c:pt>
                <c:pt idx="1886">
                  <c:v>42332</c:v>
                </c:pt>
                <c:pt idx="1887">
                  <c:v>42333</c:v>
                </c:pt>
                <c:pt idx="1888">
                  <c:v>42335</c:v>
                </c:pt>
                <c:pt idx="1889">
                  <c:v>42338</c:v>
                </c:pt>
                <c:pt idx="1890">
                  <c:v>42339</c:v>
                </c:pt>
                <c:pt idx="1891">
                  <c:v>42340</c:v>
                </c:pt>
                <c:pt idx="1892">
                  <c:v>42341</c:v>
                </c:pt>
                <c:pt idx="1893">
                  <c:v>42342</c:v>
                </c:pt>
                <c:pt idx="1894">
                  <c:v>42345</c:v>
                </c:pt>
                <c:pt idx="1895">
                  <c:v>42346</c:v>
                </c:pt>
                <c:pt idx="1896">
                  <c:v>42347</c:v>
                </c:pt>
                <c:pt idx="1897">
                  <c:v>42348</c:v>
                </c:pt>
                <c:pt idx="1898">
                  <c:v>42349</c:v>
                </c:pt>
                <c:pt idx="1899">
                  <c:v>42352</c:v>
                </c:pt>
                <c:pt idx="1900">
                  <c:v>42353</c:v>
                </c:pt>
                <c:pt idx="1901">
                  <c:v>42354</c:v>
                </c:pt>
                <c:pt idx="1902">
                  <c:v>42355</c:v>
                </c:pt>
                <c:pt idx="1903">
                  <c:v>42356</c:v>
                </c:pt>
                <c:pt idx="1904">
                  <c:v>42359</c:v>
                </c:pt>
                <c:pt idx="1905">
                  <c:v>42360</c:v>
                </c:pt>
                <c:pt idx="1906">
                  <c:v>42361</c:v>
                </c:pt>
                <c:pt idx="1907">
                  <c:v>42362</c:v>
                </c:pt>
                <c:pt idx="1908">
                  <c:v>42366</c:v>
                </c:pt>
                <c:pt idx="1909">
                  <c:v>42367</c:v>
                </c:pt>
                <c:pt idx="1910">
                  <c:v>42368</c:v>
                </c:pt>
                <c:pt idx="1911">
                  <c:v>42369</c:v>
                </c:pt>
                <c:pt idx="1912">
                  <c:v>42373</c:v>
                </c:pt>
                <c:pt idx="1913">
                  <c:v>42374</c:v>
                </c:pt>
                <c:pt idx="1914">
                  <c:v>42375</c:v>
                </c:pt>
                <c:pt idx="1915">
                  <c:v>42376</c:v>
                </c:pt>
                <c:pt idx="1916">
                  <c:v>42377</c:v>
                </c:pt>
                <c:pt idx="1917">
                  <c:v>42380</c:v>
                </c:pt>
                <c:pt idx="1918">
                  <c:v>42381</c:v>
                </c:pt>
                <c:pt idx="1919">
                  <c:v>42382</c:v>
                </c:pt>
                <c:pt idx="1920">
                  <c:v>42383</c:v>
                </c:pt>
                <c:pt idx="1921">
                  <c:v>42384</c:v>
                </c:pt>
                <c:pt idx="1922">
                  <c:v>42388</c:v>
                </c:pt>
                <c:pt idx="1923">
                  <c:v>42389</c:v>
                </c:pt>
                <c:pt idx="1924">
                  <c:v>42390</c:v>
                </c:pt>
                <c:pt idx="1925">
                  <c:v>42391</c:v>
                </c:pt>
                <c:pt idx="1926">
                  <c:v>42394</c:v>
                </c:pt>
                <c:pt idx="1927">
                  <c:v>42395</c:v>
                </c:pt>
                <c:pt idx="1928">
                  <c:v>42396</c:v>
                </c:pt>
                <c:pt idx="1929">
                  <c:v>42397</c:v>
                </c:pt>
                <c:pt idx="1930">
                  <c:v>42398</c:v>
                </c:pt>
                <c:pt idx="1931">
                  <c:v>42401</c:v>
                </c:pt>
                <c:pt idx="1932">
                  <c:v>42402</c:v>
                </c:pt>
                <c:pt idx="1933">
                  <c:v>42403</c:v>
                </c:pt>
                <c:pt idx="1934">
                  <c:v>42404</c:v>
                </c:pt>
                <c:pt idx="1935">
                  <c:v>42405</c:v>
                </c:pt>
                <c:pt idx="1936">
                  <c:v>42408</c:v>
                </c:pt>
                <c:pt idx="1937">
                  <c:v>42409</c:v>
                </c:pt>
                <c:pt idx="1938">
                  <c:v>42410</c:v>
                </c:pt>
                <c:pt idx="1939">
                  <c:v>42411</c:v>
                </c:pt>
                <c:pt idx="1940">
                  <c:v>42412</c:v>
                </c:pt>
                <c:pt idx="1941">
                  <c:v>42416</c:v>
                </c:pt>
                <c:pt idx="1942">
                  <c:v>42417</c:v>
                </c:pt>
                <c:pt idx="1943">
                  <c:v>42418</c:v>
                </c:pt>
                <c:pt idx="1944">
                  <c:v>42419</c:v>
                </c:pt>
                <c:pt idx="1945">
                  <c:v>42422</c:v>
                </c:pt>
                <c:pt idx="1946">
                  <c:v>42423</c:v>
                </c:pt>
                <c:pt idx="1947">
                  <c:v>42424</c:v>
                </c:pt>
                <c:pt idx="1948">
                  <c:v>42425</c:v>
                </c:pt>
                <c:pt idx="1949">
                  <c:v>42426</c:v>
                </c:pt>
                <c:pt idx="1950">
                  <c:v>42429</c:v>
                </c:pt>
                <c:pt idx="1951">
                  <c:v>42430</c:v>
                </c:pt>
                <c:pt idx="1952">
                  <c:v>42431</c:v>
                </c:pt>
                <c:pt idx="1953">
                  <c:v>42432</c:v>
                </c:pt>
                <c:pt idx="1954">
                  <c:v>42433</c:v>
                </c:pt>
                <c:pt idx="1955">
                  <c:v>42436</c:v>
                </c:pt>
                <c:pt idx="1956">
                  <c:v>42437</c:v>
                </c:pt>
                <c:pt idx="1957">
                  <c:v>42438</c:v>
                </c:pt>
                <c:pt idx="1958">
                  <c:v>42439</c:v>
                </c:pt>
                <c:pt idx="1959">
                  <c:v>42440</c:v>
                </c:pt>
                <c:pt idx="1960">
                  <c:v>42443</c:v>
                </c:pt>
                <c:pt idx="1961">
                  <c:v>42444</c:v>
                </c:pt>
                <c:pt idx="1962">
                  <c:v>42445</c:v>
                </c:pt>
                <c:pt idx="1963">
                  <c:v>42446</c:v>
                </c:pt>
                <c:pt idx="1964">
                  <c:v>42447</c:v>
                </c:pt>
                <c:pt idx="1965">
                  <c:v>42450</c:v>
                </c:pt>
                <c:pt idx="1966">
                  <c:v>42451</c:v>
                </c:pt>
                <c:pt idx="1967">
                  <c:v>42452</c:v>
                </c:pt>
                <c:pt idx="1968">
                  <c:v>42453</c:v>
                </c:pt>
                <c:pt idx="1969">
                  <c:v>42457</c:v>
                </c:pt>
                <c:pt idx="1970">
                  <c:v>42458</c:v>
                </c:pt>
                <c:pt idx="1971">
                  <c:v>42459</c:v>
                </c:pt>
                <c:pt idx="1972">
                  <c:v>42460</c:v>
                </c:pt>
                <c:pt idx="1973">
                  <c:v>42461</c:v>
                </c:pt>
                <c:pt idx="1974">
                  <c:v>42464</c:v>
                </c:pt>
                <c:pt idx="1975">
                  <c:v>42465</c:v>
                </c:pt>
                <c:pt idx="1976">
                  <c:v>42466</c:v>
                </c:pt>
                <c:pt idx="1977">
                  <c:v>42467</c:v>
                </c:pt>
                <c:pt idx="1978">
                  <c:v>42468</c:v>
                </c:pt>
                <c:pt idx="1979">
                  <c:v>42471</c:v>
                </c:pt>
                <c:pt idx="1980">
                  <c:v>42472</c:v>
                </c:pt>
                <c:pt idx="1981">
                  <c:v>42473</c:v>
                </c:pt>
                <c:pt idx="1982">
                  <c:v>42474</c:v>
                </c:pt>
                <c:pt idx="1983">
                  <c:v>42475</c:v>
                </c:pt>
                <c:pt idx="1984">
                  <c:v>42478</c:v>
                </c:pt>
                <c:pt idx="1985">
                  <c:v>42479</c:v>
                </c:pt>
                <c:pt idx="1986">
                  <c:v>42480</c:v>
                </c:pt>
                <c:pt idx="1987">
                  <c:v>42481</c:v>
                </c:pt>
                <c:pt idx="1988">
                  <c:v>42482</c:v>
                </c:pt>
                <c:pt idx="1989">
                  <c:v>42485</c:v>
                </c:pt>
                <c:pt idx="1990">
                  <c:v>42486</c:v>
                </c:pt>
                <c:pt idx="1991">
                  <c:v>42487</c:v>
                </c:pt>
                <c:pt idx="1992">
                  <c:v>42488</c:v>
                </c:pt>
                <c:pt idx="1993">
                  <c:v>42489</c:v>
                </c:pt>
                <c:pt idx="1994">
                  <c:v>42492</c:v>
                </c:pt>
                <c:pt idx="1995">
                  <c:v>42493</c:v>
                </c:pt>
                <c:pt idx="1996">
                  <c:v>42494</c:v>
                </c:pt>
                <c:pt idx="1997">
                  <c:v>42495</c:v>
                </c:pt>
                <c:pt idx="1998">
                  <c:v>42496</c:v>
                </c:pt>
                <c:pt idx="1999">
                  <c:v>42499</c:v>
                </c:pt>
                <c:pt idx="2000">
                  <c:v>42500</c:v>
                </c:pt>
                <c:pt idx="2001">
                  <c:v>42501</c:v>
                </c:pt>
                <c:pt idx="2002">
                  <c:v>42502</c:v>
                </c:pt>
                <c:pt idx="2003">
                  <c:v>42503</c:v>
                </c:pt>
                <c:pt idx="2004">
                  <c:v>42506</c:v>
                </c:pt>
                <c:pt idx="2005">
                  <c:v>42507</c:v>
                </c:pt>
                <c:pt idx="2006">
                  <c:v>42508</c:v>
                </c:pt>
                <c:pt idx="2007">
                  <c:v>42509</c:v>
                </c:pt>
              </c:numCache>
            </c:numRef>
          </c:cat>
          <c:val>
            <c:numRef>
              <c:f>beta!$AM$257:$AM$2264</c:f>
              <c:numCache>
                <c:formatCode>0.00%</c:formatCode>
                <c:ptCount val="2008"/>
                <c:pt idx="0">
                  <c:v>0.24427049518629934</c:v>
                </c:pt>
                <c:pt idx="1">
                  <c:v>0.2445161089922572</c:v>
                </c:pt>
                <c:pt idx="2">
                  <c:v>0.24470950134404498</c:v>
                </c:pt>
                <c:pt idx="3">
                  <c:v>0.24472434731015405</c:v>
                </c:pt>
                <c:pt idx="4">
                  <c:v>0.24574558779661085</c:v>
                </c:pt>
                <c:pt idx="5">
                  <c:v>0.24458943151233917</c:v>
                </c:pt>
                <c:pt idx="6">
                  <c:v>0.247349032207138</c:v>
                </c:pt>
                <c:pt idx="7">
                  <c:v>0.24725730269804699</c:v>
                </c:pt>
                <c:pt idx="8">
                  <c:v>0.24894021697053181</c:v>
                </c:pt>
                <c:pt idx="9">
                  <c:v>0.25051119302858821</c:v>
                </c:pt>
                <c:pt idx="10">
                  <c:v>0.25067300246350011</c:v>
                </c:pt>
                <c:pt idx="11">
                  <c:v>0.25100634983177317</c:v>
                </c:pt>
                <c:pt idx="12">
                  <c:v>0.25128819821352932</c:v>
                </c:pt>
                <c:pt idx="13">
                  <c:v>0.25103486101869499</c:v>
                </c:pt>
                <c:pt idx="14">
                  <c:v>0.25100709226094375</c:v>
                </c:pt>
                <c:pt idx="15">
                  <c:v>0.25105647143812942</c:v>
                </c:pt>
                <c:pt idx="16">
                  <c:v>0.25214304011861921</c:v>
                </c:pt>
                <c:pt idx="17">
                  <c:v>0.25232382465875514</c:v>
                </c:pt>
                <c:pt idx="18">
                  <c:v>0.25352656364648524</c:v>
                </c:pt>
                <c:pt idx="19">
                  <c:v>0.25603061562287149</c:v>
                </c:pt>
                <c:pt idx="20">
                  <c:v>0.25618781698351489</c:v>
                </c:pt>
                <c:pt idx="21">
                  <c:v>0.25553912787895999</c:v>
                </c:pt>
                <c:pt idx="22">
                  <c:v>0.25548692114191107</c:v>
                </c:pt>
                <c:pt idx="23">
                  <c:v>0.25572458151859667</c:v>
                </c:pt>
                <c:pt idx="24">
                  <c:v>0.25588540214854727</c:v>
                </c:pt>
                <c:pt idx="25">
                  <c:v>0.2558625728053438</c:v>
                </c:pt>
                <c:pt idx="26">
                  <c:v>0.25714794464293578</c:v>
                </c:pt>
                <c:pt idx="27">
                  <c:v>0.25881153502442744</c:v>
                </c:pt>
                <c:pt idx="28">
                  <c:v>0.25932577176433635</c:v>
                </c:pt>
                <c:pt idx="29">
                  <c:v>0.25942443926382952</c:v>
                </c:pt>
                <c:pt idx="30">
                  <c:v>0.25972720315551873</c:v>
                </c:pt>
                <c:pt idx="31">
                  <c:v>0.25966366733273089</c:v>
                </c:pt>
                <c:pt idx="32">
                  <c:v>0.26221263490508862</c:v>
                </c:pt>
                <c:pt idx="33">
                  <c:v>0.26201674240473288</c:v>
                </c:pt>
                <c:pt idx="34">
                  <c:v>0.26230740708930339</c:v>
                </c:pt>
                <c:pt idx="35">
                  <c:v>0.2628833668454717</c:v>
                </c:pt>
                <c:pt idx="36">
                  <c:v>0.26284709376325016</c:v>
                </c:pt>
                <c:pt idx="37">
                  <c:v>0.26119813110705997</c:v>
                </c:pt>
                <c:pt idx="38">
                  <c:v>0.26261550464103489</c:v>
                </c:pt>
                <c:pt idx="39">
                  <c:v>0.2608667247527785</c:v>
                </c:pt>
                <c:pt idx="40">
                  <c:v>0.26474828799491507</c:v>
                </c:pt>
                <c:pt idx="41">
                  <c:v>0.26792876078840577</c:v>
                </c:pt>
                <c:pt idx="42">
                  <c:v>0.26507474771254769</c:v>
                </c:pt>
                <c:pt idx="43">
                  <c:v>0.26555273513474709</c:v>
                </c:pt>
                <c:pt idx="44">
                  <c:v>0.26660584917336988</c:v>
                </c:pt>
                <c:pt idx="45">
                  <c:v>0.26425314570196329</c:v>
                </c:pt>
                <c:pt idx="46">
                  <c:v>0.26468283594622888</c:v>
                </c:pt>
                <c:pt idx="47">
                  <c:v>0.2630132008609507</c:v>
                </c:pt>
                <c:pt idx="48">
                  <c:v>0.2633413551701756</c:v>
                </c:pt>
                <c:pt idx="49">
                  <c:v>0.25593830097490755</c:v>
                </c:pt>
                <c:pt idx="50">
                  <c:v>0.25525885988168029</c:v>
                </c:pt>
                <c:pt idx="51">
                  <c:v>0.25336799728386916</c:v>
                </c:pt>
                <c:pt idx="52">
                  <c:v>0.25303310860160183</c:v>
                </c:pt>
                <c:pt idx="53">
                  <c:v>0.25551991355708031</c:v>
                </c:pt>
                <c:pt idx="54">
                  <c:v>0.25534868022484564</c:v>
                </c:pt>
                <c:pt idx="55">
                  <c:v>0.25488727678569584</c:v>
                </c:pt>
                <c:pt idx="56">
                  <c:v>0.2553155166789674</c:v>
                </c:pt>
                <c:pt idx="57">
                  <c:v>0.25507360225697301</c:v>
                </c:pt>
                <c:pt idx="58">
                  <c:v>0.2542523494393143</c:v>
                </c:pt>
                <c:pt idx="59">
                  <c:v>0.25371528079270517</c:v>
                </c:pt>
                <c:pt idx="60">
                  <c:v>0.25274606496276375</c:v>
                </c:pt>
                <c:pt idx="61">
                  <c:v>0.25337069275677421</c:v>
                </c:pt>
                <c:pt idx="62">
                  <c:v>0.25361411095866043</c:v>
                </c:pt>
                <c:pt idx="63">
                  <c:v>0.25538226823439336</c:v>
                </c:pt>
                <c:pt idx="64">
                  <c:v>0.25589549243657195</c:v>
                </c:pt>
                <c:pt idx="65">
                  <c:v>0.25590429554860827</c:v>
                </c:pt>
                <c:pt idx="66">
                  <c:v>0.25534665098427889</c:v>
                </c:pt>
                <c:pt idx="67">
                  <c:v>0.25603778426311991</c:v>
                </c:pt>
                <c:pt idx="68">
                  <c:v>0.25618733551527795</c:v>
                </c:pt>
                <c:pt idx="69">
                  <c:v>0.25692294029880136</c:v>
                </c:pt>
                <c:pt idx="70">
                  <c:v>0.25769381466081037</c:v>
                </c:pt>
                <c:pt idx="71">
                  <c:v>0.25794548805778583</c:v>
                </c:pt>
                <c:pt idx="72">
                  <c:v>0.25800367162275323</c:v>
                </c:pt>
                <c:pt idx="73">
                  <c:v>0.25744626474385318</c:v>
                </c:pt>
                <c:pt idx="74">
                  <c:v>0.25300831914223954</c:v>
                </c:pt>
                <c:pt idx="75">
                  <c:v>0.25365239807906614</c:v>
                </c:pt>
                <c:pt idx="76">
                  <c:v>0.25755880787799607</c:v>
                </c:pt>
                <c:pt idx="77">
                  <c:v>0.25801875998404261</c:v>
                </c:pt>
                <c:pt idx="78">
                  <c:v>0.25815610378489628</c:v>
                </c:pt>
                <c:pt idx="79">
                  <c:v>0.25816440111660233</c:v>
                </c:pt>
                <c:pt idx="80">
                  <c:v>0.25886704142493361</c:v>
                </c:pt>
                <c:pt idx="81">
                  <c:v>0.25903690631083698</c:v>
                </c:pt>
                <c:pt idx="82">
                  <c:v>0.25865142226243837</c:v>
                </c:pt>
                <c:pt idx="83">
                  <c:v>0.25812349783079208</c:v>
                </c:pt>
                <c:pt idx="84">
                  <c:v>0.25710773311531732</c:v>
                </c:pt>
                <c:pt idx="85">
                  <c:v>0.25527303291454906</c:v>
                </c:pt>
                <c:pt idx="86">
                  <c:v>0.255239696267335</c:v>
                </c:pt>
                <c:pt idx="87">
                  <c:v>0.25424513145460376</c:v>
                </c:pt>
                <c:pt idx="88">
                  <c:v>0.25433341212975191</c:v>
                </c:pt>
                <c:pt idx="89">
                  <c:v>0.25123188537707358</c:v>
                </c:pt>
                <c:pt idx="90">
                  <c:v>0.25144931880267463</c:v>
                </c:pt>
                <c:pt idx="91">
                  <c:v>0.25071977029115972</c:v>
                </c:pt>
                <c:pt idx="92">
                  <c:v>0.25371400896201246</c:v>
                </c:pt>
                <c:pt idx="93">
                  <c:v>0.25288312118523709</c:v>
                </c:pt>
                <c:pt idx="94">
                  <c:v>0.25175945983041409</c:v>
                </c:pt>
                <c:pt idx="95">
                  <c:v>0.25089071423620174</c:v>
                </c:pt>
                <c:pt idx="96">
                  <c:v>0.2570870311401231</c:v>
                </c:pt>
                <c:pt idx="97">
                  <c:v>0.25776758758252954</c:v>
                </c:pt>
                <c:pt idx="98">
                  <c:v>0.25780691164527864</c:v>
                </c:pt>
                <c:pt idx="99">
                  <c:v>0.25331745401309341</c:v>
                </c:pt>
                <c:pt idx="100">
                  <c:v>0.2538542826510895</c:v>
                </c:pt>
                <c:pt idx="101">
                  <c:v>0.25392187171236646</c:v>
                </c:pt>
                <c:pt idx="102">
                  <c:v>0.25363993069644619</c:v>
                </c:pt>
                <c:pt idx="103">
                  <c:v>0.25667482422191401</c:v>
                </c:pt>
                <c:pt idx="104">
                  <c:v>0.25685347058045377</c:v>
                </c:pt>
                <c:pt idx="105">
                  <c:v>0.26090563289748947</c:v>
                </c:pt>
                <c:pt idx="106">
                  <c:v>0.2609142431695321</c:v>
                </c:pt>
                <c:pt idx="107">
                  <c:v>0.25742686278893634</c:v>
                </c:pt>
                <c:pt idx="108">
                  <c:v>0.25708666597220103</c:v>
                </c:pt>
                <c:pt idx="109">
                  <c:v>0.25658869182663807</c:v>
                </c:pt>
                <c:pt idx="110">
                  <c:v>0.25760058938487684</c:v>
                </c:pt>
                <c:pt idx="111">
                  <c:v>0.26080029104503799</c:v>
                </c:pt>
                <c:pt idx="112">
                  <c:v>0.25924520571315296</c:v>
                </c:pt>
                <c:pt idx="113">
                  <c:v>0.25742160991423529</c:v>
                </c:pt>
                <c:pt idx="114">
                  <c:v>0.25653902709509646</c:v>
                </c:pt>
                <c:pt idx="115">
                  <c:v>0.25779163039077169</c:v>
                </c:pt>
                <c:pt idx="116">
                  <c:v>0.26151087054790573</c:v>
                </c:pt>
                <c:pt idx="117">
                  <c:v>0.26304518794970139</c:v>
                </c:pt>
                <c:pt idx="118">
                  <c:v>0.2620432471769919</c:v>
                </c:pt>
                <c:pt idx="119">
                  <c:v>0.26575641980757003</c:v>
                </c:pt>
                <c:pt idx="120">
                  <c:v>0.26510423778006886</c:v>
                </c:pt>
                <c:pt idx="121">
                  <c:v>0.26706734771002955</c:v>
                </c:pt>
                <c:pt idx="122">
                  <c:v>0.26868900725417688</c:v>
                </c:pt>
                <c:pt idx="123">
                  <c:v>0.26979351954939107</c:v>
                </c:pt>
                <c:pt idx="124">
                  <c:v>0.2761708458373256</c:v>
                </c:pt>
                <c:pt idx="125">
                  <c:v>0.27726587189813845</c:v>
                </c:pt>
                <c:pt idx="126">
                  <c:v>0.27606151111459976</c:v>
                </c:pt>
                <c:pt idx="127">
                  <c:v>0.27606470471834738</c:v>
                </c:pt>
                <c:pt idx="128">
                  <c:v>0.28162936108116493</c:v>
                </c:pt>
                <c:pt idx="129">
                  <c:v>0.2809619671316177</c:v>
                </c:pt>
                <c:pt idx="130">
                  <c:v>0.28080925355987923</c:v>
                </c:pt>
                <c:pt idx="131">
                  <c:v>0.28073909774051536</c:v>
                </c:pt>
                <c:pt idx="132">
                  <c:v>0.27962794097709609</c:v>
                </c:pt>
                <c:pt idx="133">
                  <c:v>0.27984473950709066</c:v>
                </c:pt>
                <c:pt idx="134">
                  <c:v>0.2798354395666966</c:v>
                </c:pt>
                <c:pt idx="135">
                  <c:v>0.28041207598785861</c:v>
                </c:pt>
                <c:pt idx="136">
                  <c:v>0.28034553821088215</c:v>
                </c:pt>
                <c:pt idx="137">
                  <c:v>0.28037895735710727</c:v>
                </c:pt>
                <c:pt idx="138">
                  <c:v>0.27989711392417949</c:v>
                </c:pt>
                <c:pt idx="139">
                  <c:v>0.27943255339017087</c:v>
                </c:pt>
                <c:pt idx="140">
                  <c:v>0.2799828229682565</c:v>
                </c:pt>
                <c:pt idx="141">
                  <c:v>0.28033503478669847</c:v>
                </c:pt>
                <c:pt idx="142">
                  <c:v>0.28068105840734248</c:v>
                </c:pt>
                <c:pt idx="143">
                  <c:v>0.2806621845649282</c:v>
                </c:pt>
                <c:pt idx="144">
                  <c:v>0.2807409006579869</c:v>
                </c:pt>
                <c:pt idx="145">
                  <c:v>0.28061119489071434</c:v>
                </c:pt>
                <c:pt idx="146">
                  <c:v>0.28090738187071634</c:v>
                </c:pt>
                <c:pt idx="147">
                  <c:v>0.28104504901317207</c:v>
                </c:pt>
                <c:pt idx="148">
                  <c:v>0.281652205490247</c:v>
                </c:pt>
                <c:pt idx="149">
                  <c:v>0.28307534796159078</c:v>
                </c:pt>
                <c:pt idx="150">
                  <c:v>0.28379969006881506</c:v>
                </c:pt>
                <c:pt idx="151">
                  <c:v>0.28385174238955219</c:v>
                </c:pt>
                <c:pt idx="152">
                  <c:v>0.28376967334186931</c:v>
                </c:pt>
                <c:pt idx="153">
                  <c:v>0.28437721792397774</c:v>
                </c:pt>
                <c:pt idx="154">
                  <c:v>0.28436914412663733</c:v>
                </c:pt>
                <c:pt idx="155">
                  <c:v>0.28420666490542318</c:v>
                </c:pt>
                <c:pt idx="156">
                  <c:v>0.28463225490806715</c:v>
                </c:pt>
                <c:pt idx="157">
                  <c:v>0.28376580781566391</c:v>
                </c:pt>
                <c:pt idx="158">
                  <c:v>0.28504162035243935</c:v>
                </c:pt>
                <c:pt idx="159">
                  <c:v>0.28508152400283493</c:v>
                </c:pt>
                <c:pt idx="160">
                  <c:v>0.28014621283408381</c:v>
                </c:pt>
                <c:pt idx="161">
                  <c:v>0.27912316739322507</c:v>
                </c:pt>
                <c:pt idx="162">
                  <c:v>0.28376868319200982</c:v>
                </c:pt>
                <c:pt idx="163">
                  <c:v>0.28334908534789005</c:v>
                </c:pt>
                <c:pt idx="164">
                  <c:v>0.28362807418463237</c:v>
                </c:pt>
                <c:pt idx="165">
                  <c:v>0.28367175982716164</c:v>
                </c:pt>
                <c:pt idx="166">
                  <c:v>0.28434529418694238</c:v>
                </c:pt>
                <c:pt idx="167">
                  <c:v>0.28450398025741658</c:v>
                </c:pt>
                <c:pt idx="168">
                  <c:v>0.28275412318384241</c:v>
                </c:pt>
                <c:pt idx="169">
                  <c:v>0.28288578916638812</c:v>
                </c:pt>
                <c:pt idx="170">
                  <c:v>0.28279833325835402</c:v>
                </c:pt>
                <c:pt idx="171">
                  <c:v>0.28306820197867338</c:v>
                </c:pt>
                <c:pt idx="172">
                  <c:v>0.28183877544354596</c:v>
                </c:pt>
                <c:pt idx="173">
                  <c:v>0.28170186615489601</c:v>
                </c:pt>
                <c:pt idx="174">
                  <c:v>0.28192137839733733</c:v>
                </c:pt>
                <c:pt idx="175">
                  <c:v>0.28182464154909531</c:v>
                </c:pt>
                <c:pt idx="176">
                  <c:v>0.2818337828118393</c:v>
                </c:pt>
                <c:pt idx="177">
                  <c:v>0.28167410067209203</c:v>
                </c:pt>
                <c:pt idx="178">
                  <c:v>0.28095954395859707</c:v>
                </c:pt>
                <c:pt idx="179">
                  <c:v>0.28082692561916622</c:v>
                </c:pt>
                <c:pt idx="180">
                  <c:v>0.28005491717283876</c:v>
                </c:pt>
                <c:pt idx="181">
                  <c:v>0.2803476880580949</c:v>
                </c:pt>
                <c:pt idx="182">
                  <c:v>0.28040889896661747</c:v>
                </c:pt>
                <c:pt idx="183">
                  <c:v>0.28101750677778442</c:v>
                </c:pt>
                <c:pt idx="184">
                  <c:v>0.28124102684715302</c:v>
                </c:pt>
                <c:pt idx="185">
                  <c:v>0.2811087692007298</c:v>
                </c:pt>
                <c:pt idx="186">
                  <c:v>0.28117878171849159</c:v>
                </c:pt>
                <c:pt idx="187">
                  <c:v>0.28145232587666386</c:v>
                </c:pt>
                <c:pt idx="188">
                  <c:v>0.28095679708478871</c:v>
                </c:pt>
                <c:pt idx="189">
                  <c:v>0.28000222113520862</c:v>
                </c:pt>
                <c:pt idx="190">
                  <c:v>0.27976199200647772</c:v>
                </c:pt>
                <c:pt idx="191">
                  <c:v>0.28160051150655191</c:v>
                </c:pt>
                <c:pt idx="192">
                  <c:v>0.28077729120917871</c:v>
                </c:pt>
                <c:pt idx="193">
                  <c:v>0.28035405009715053</c:v>
                </c:pt>
                <c:pt idx="194">
                  <c:v>0.28035749525789611</c:v>
                </c:pt>
                <c:pt idx="195">
                  <c:v>0.282832542135462</c:v>
                </c:pt>
                <c:pt idx="196">
                  <c:v>0.28158978618764696</c:v>
                </c:pt>
                <c:pt idx="197">
                  <c:v>0.2810965980376417</c:v>
                </c:pt>
                <c:pt idx="198">
                  <c:v>0.28111343332204758</c:v>
                </c:pt>
                <c:pt idx="199">
                  <c:v>0.28183876746742365</c:v>
                </c:pt>
                <c:pt idx="200">
                  <c:v>0.28136801680715512</c:v>
                </c:pt>
                <c:pt idx="201">
                  <c:v>0.27878823330532404</c:v>
                </c:pt>
                <c:pt idx="202">
                  <c:v>0.28133745269024246</c:v>
                </c:pt>
                <c:pt idx="203">
                  <c:v>0.28398430863989826</c:v>
                </c:pt>
                <c:pt idx="204">
                  <c:v>0.28473604688944637</c:v>
                </c:pt>
                <c:pt idx="205">
                  <c:v>0.28465154339173637</c:v>
                </c:pt>
                <c:pt idx="206">
                  <c:v>0.28457976407042207</c:v>
                </c:pt>
                <c:pt idx="207">
                  <c:v>0.28471298689809399</c:v>
                </c:pt>
                <c:pt idx="208">
                  <c:v>0.2849490720595006</c:v>
                </c:pt>
                <c:pt idx="209">
                  <c:v>0.28482834579626187</c:v>
                </c:pt>
                <c:pt idx="210">
                  <c:v>0.28379493140221129</c:v>
                </c:pt>
                <c:pt idx="211">
                  <c:v>0.28402936356336</c:v>
                </c:pt>
                <c:pt idx="212">
                  <c:v>0.28406092439171726</c:v>
                </c:pt>
                <c:pt idx="213">
                  <c:v>0.28412418555327895</c:v>
                </c:pt>
                <c:pt idx="214">
                  <c:v>0.28403796505528256</c:v>
                </c:pt>
                <c:pt idx="215">
                  <c:v>0.28395237705683041</c:v>
                </c:pt>
                <c:pt idx="216">
                  <c:v>0.28387157065423857</c:v>
                </c:pt>
                <c:pt idx="217">
                  <c:v>0.28393840257831954</c:v>
                </c:pt>
                <c:pt idx="218">
                  <c:v>0.28315853784217837</c:v>
                </c:pt>
                <c:pt idx="219">
                  <c:v>0.28331821303576743</c:v>
                </c:pt>
                <c:pt idx="220">
                  <c:v>0.28341744943689978</c:v>
                </c:pt>
                <c:pt idx="221">
                  <c:v>0.28308938454166843</c:v>
                </c:pt>
                <c:pt idx="222">
                  <c:v>0.2833066697835504</c:v>
                </c:pt>
                <c:pt idx="223">
                  <c:v>0.28233285916146639</c:v>
                </c:pt>
                <c:pt idx="224">
                  <c:v>0.28267843037524543</c:v>
                </c:pt>
                <c:pt idx="225">
                  <c:v>0.28265554620523053</c:v>
                </c:pt>
                <c:pt idx="226">
                  <c:v>0.28301487887549931</c:v>
                </c:pt>
                <c:pt idx="227">
                  <c:v>0.28283545904329649</c:v>
                </c:pt>
                <c:pt idx="228">
                  <c:v>0.28257723513004279</c:v>
                </c:pt>
                <c:pt idx="229">
                  <c:v>0.28265512426596834</c:v>
                </c:pt>
                <c:pt idx="230">
                  <c:v>0.28323529448897267</c:v>
                </c:pt>
                <c:pt idx="231">
                  <c:v>0.28328047972839004</c:v>
                </c:pt>
                <c:pt idx="232">
                  <c:v>0.28291055176443092</c:v>
                </c:pt>
                <c:pt idx="233">
                  <c:v>0.28316717317275203</c:v>
                </c:pt>
                <c:pt idx="234">
                  <c:v>0.28284461225498281</c:v>
                </c:pt>
                <c:pt idx="235">
                  <c:v>0.28322448434647524</c:v>
                </c:pt>
                <c:pt idx="236">
                  <c:v>0.28301673741633515</c:v>
                </c:pt>
                <c:pt idx="237">
                  <c:v>0.28359086516166587</c:v>
                </c:pt>
                <c:pt idx="238">
                  <c:v>0.28346234734124381</c:v>
                </c:pt>
                <c:pt idx="239">
                  <c:v>0.28315750295040443</c:v>
                </c:pt>
                <c:pt idx="240">
                  <c:v>0.28315023368334941</c:v>
                </c:pt>
                <c:pt idx="241">
                  <c:v>0.28395886320550451</c:v>
                </c:pt>
                <c:pt idx="242">
                  <c:v>0.28341481958460923</c:v>
                </c:pt>
                <c:pt idx="243">
                  <c:v>0.2858718427677176</c:v>
                </c:pt>
                <c:pt idx="244">
                  <c:v>0.28555149173220368</c:v>
                </c:pt>
                <c:pt idx="245">
                  <c:v>0.28531184510916557</c:v>
                </c:pt>
                <c:pt idx="246">
                  <c:v>0.28380333449446166</c:v>
                </c:pt>
                <c:pt idx="247">
                  <c:v>0.28333178707748014</c:v>
                </c:pt>
                <c:pt idx="248">
                  <c:v>0.28374177689201008</c:v>
                </c:pt>
                <c:pt idx="249">
                  <c:v>0.28358282410604974</c:v>
                </c:pt>
                <c:pt idx="250">
                  <c:v>0.28344665434414518</c:v>
                </c:pt>
                <c:pt idx="251">
                  <c:v>0.28235604335021736</c:v>
                </c:pt>
                <c:pt idx="252">
                  <c:v>0.28146433513388736</c:v>
                </c:pt>
                <c:pt idx="253">
                  <c:v>0.28166705751426502</c:v>
                </c:pt>
                <c:pt idx="254">
                  <c:v>0.28217303804265509</c:v>
                </c:pt>
                <c:pt idx="255">
                  <c:v>0.28221251920629559</c:v>
                </c:pt>
                <c:pt idx="256">
                  <c:v>0.28243900569006913</c:v>
                </c:pt>
                <c:pt idx="257">
                  <c:v>0.28576031880355218</c:v>
                </c:pt>
                <c:pt idx="258">
                  <c:v>0.28599822314774481</c:v>
                </c:pt>
                <c:pt idx="259">
                  <c:v>0.28604379883987707</c:v>
                </c:pt>
                <c:pt idx="260">
                  <c:v>0.28621586779723684</c:v>
                </c:pt>
                <c:pt idx="261">
                  <c:v>0.28623542293945342</c:v>
                </c:pt>
                <c:pt idx="262">
                  <c:v>0.28627984060230488</c:v>
                </c:pt>
                <c:pt idx="263">
                  <c:v>0.28611045865968132</c:v>
                </c:pt>
                <c:pt idx="264">
                  <c:v>0.28590781200439142</c:v>
                </c:pt>
                <c:pt idx="265">
                  <c:v>0.28589634489663673</c:v>
                </c:pt>
                <c:pt idx="266">
                  <c:v>0.28516837990624644</c:v>
                </c:pt>
                <c:pt idx="267">
                  <c:v>0.28477830894840084</c:v>
                </c:pt>
                <c:pt idx="268">
                  <c:v>0.28475709173992858</c:v>
                </c:pt>
                <c:pt idx="269">
                  <c:v>0.28516287881829722</c:v>
                </c:pt>
                <c:pt idx="270">
                  <c:v>0.28394412507831557</c:v>
                </c:pt>
                <c:pt idx="271">
                  <c:v>0.28285573106974488</c:v>
                </c:pt>
                <c:pt idx="272">
                  <c:v>0.28297937217479513</c:v>
                </c:pt>
                <c:pt idx="273">
                  <c:v>0.28284036900304127</c:v>
                </c:pt>
                <c:pt idx="274">
                  <c:v>0.28284756188207244</c:v>
                </c:pt>
                <c:pt idx="275">
                  <c:v>0.28326325901250066</c:v>
                </c:pt>
                <c:pt idx="276">
                  <c:v>0.28300669853028732</c:v>
                </c:pt>
                <c:pt idx="277">
                  <c:v>0.28325020452316768</c:v>
                </c:pt>
                <c:pt idx="278">
                  <c:v>0.28224342427390753</c:v>
                </c:pt>
                <c:pt idx="279">
                  <c:v>0.28107401029180556</c:v>
                </c:pt>
                <c:pt idx="280">
                  <c:v>0.28094734401770804</c:v>
                </c:pt>
                <c:pt idx="281">
                  <c:v>0.28043947356178833</c:v>
                </c:pt>
                <c:pt idx="282">
                  <c:v>0.28028875791413371</c:v>
                </c:pt>
                <c:pt idx="283">
                  <c:v>0.27944898900108778</c:v>
                </c:pt>
                <c:pt idx="284">
                  <c:v>0.27729755406980849</c:v>
                </c:pt>
                <c:pt idx="285">
                  <c:v>0.27677044100704051</c:v>
                </c:pt>
                <c:pt idx="286">
                  <c:v>0.27680430222245894</c:v>
                </c:pt>
                <c:pt idx="287">
                  <c:v>0.27696487111148643</c:v>
                </c:pt>
                <c:pt idx="288">
                  <c:v>0.27699295704737226</c:v>
                </c:pt>
                <c:pt idx="289">
                  <c:v>0.27699967361983002</c:v>
                </c:pt>
                <c:pt idx="290">
                  <c:v>0.27566154473955939</c:v>
                </c:pt>
                <c:pt idx="291">
                  <c:v>0.27541824333556125</c:v>
                </c:pt>
                <c:pt idx="292">
                  <c:v>0.27536062261264094</c:v>
                </c:pt>
                <c:pt idx="293">
                  <c:v>0.27396229847796838</c:v>
                </c:pt>
                <c:pt idx="294">
                  <c:v>0.27358280486340325</c:v>
                </c:pt>
                <c:pt idx="295">
                  <c:v>0.27330453211909556</c:v>
                </c:pt>
                <c:pt idx="296">
                  <c:v>0.27346723401418771</c:v>
                </c:pt>
                <c:pt idx="297">
                  <c:v>0.27374963403363933</c:v>
                </c:pt>
                <c:pt idx="298">
                  <c:v>0.27344136428154764</c:v>
                </c:pt>
                <c:pt idx="299">
                  <c:v>0.27370902299531846</c:v>
                </c:pt>
                <c:pt idx="300">
                  <c:v>0.27376108528959925</c:v>
                </c:pt>
                <c:pt idx="301">
                  <c:v>0.27373000663059383</c:v>
                </c:pt>
                <c:pt idx="302">
                  <c:v>0.27381518649139008</c:v>
                </c:pt>
                <c:pt idx="303">
                  <c:v>0.27385168077208055</c:v>
                </c:pt>
                <c:pt idx="304">
                  <c:v>0.27373522543672435</c:v>
                </c:pt>
                <c:pt idx="305">
                  <c:v>0.2736203008390718</c:v>
                </c:pt>
                <c:pt idx="306">
                  <c:v>0.27482430153040949</c:v>
                </c:pt>
                <c:pt idx="307">
                  <c:v>0.27498446258784393</c:v>
                </c:pt>
                <c:pt idx="308">
                  <c:v>0.27485864287725936</c:v>
                </c:pt>
                <c:pt idx="309">
                  <c:v>0.27485564555480013</c:v>
                </c:pt>
                <c:pt idx="310">
                  <c:v>0.27496201651817925</c:v>
                </c:pt>
                <c:pt idx="311">
                  <c:v>0.27547541715693813</c:v>
                </c:pt>
                <c:pt idx="312">
                  <c:v>0.27637570267303685</c:v>
                </c:pt>
                <c:pt idx="313">
                  <c:v>0.27639444527110618</c:v>
                </c:pt>
                <c:pt idx="314">
                  <c:v>0.27633272728578534</c:v>
                </c:pt>
                <c:pt idx="315">
                  <c:v>0.27625669072186659</c:v>
                </c:pt>
                <c:pt idx="316">
                  <c:v>0.27614174229368998</c:v>
                </c:pt>
                <c:pt idx="317">
                  <c:v>0.27582982317290711</c:v>
                </c:pt>
                <c:pt idx="318">
                  <c:v>0.27588192382749405</c:v>
                </c:pt>
                <c:pt idx="319">
                  <c:v>0.27645632226871486</c:v>
                </c:pt>
                <c:pt idx="320">
                  <c:v>0.27627185049042519</c:v>
                </c:pt>
                <c:pt idx="321">
                  <c:v>0.27587598161745458</c:v>
                </c:pt>
                <c:pt idx="322">
                  <c:v>0.27544809108240709</c:v>
                </c:pt>
                <c:pt idx="323">
                  <c:v>0.27564204954520438</c:v>
                </c:pt>
                <c:pt idx="324">
                  <c:v>0.27567230426185574</c:v>
                </c:pt>
                <c:pt idx="325">
                  <c:v>0.27621643337875063</c:v>
                </c:pt>
                <c:pt idx="326">
                  <c:v>0.28103814524597309</c:v>
                </c:pt>
                <c:pt idx="327">
                  <c:v>0.2806321911419199</c:v>
                </c:pt>
                <c:pt idx="328">
                  <c:v>0.28393525767139716</c:v>
                </c:pt>
                <c:pt idx="329">
                  <c:v>0.28326091980946394</c:v>
                </c:pt>
                <c:pt idx="330">
                  <c:v>0.28314057225608191</c:v>
                </c:pt>
                <c:pt idx="331">
                  <c:v>0.2821006111991316</c:v>
                </c:pt>
                <c:pt idx="332">
                  <c:v>0.28143646258690347</c:v>
                </c:pt>
                <c:pt idx="333">
                  <c:v>0.28143920859178767</c:v>
                </c:pt>
                <c:pt idx="334">
                  <c:v>0.28173877740803072</c:v>
                </c:pt>
                <c:pt idx="335">
                  <c:v>0.28267555256818755</c:v>
                </c:pt>
                <c:pt idx="336">
                  <c:v>0.28558713125584018</c:v>
                </c:pt>
                <c:pt idx="337">
                  <c:v>0.28798487759403102</c:v>
                </c:pt>
                <c:pt idx="338">
                  <c:v>0.28738649743490252</c:v>
                </c:pt>
                <c:pt idx="339">
                  <c:v>0.28893846360215264</c:v>
                </c:pt>
                <c:pt idx="340">
                  <c:v>0.28900892465994654</c:v>
                </c:pt>
                <c:pt idx="341">
                  <c:v>0.29271342481503915</c:v>
                </c:pt>
                <c:pt idx="342">
                  <c:v>0.29223366890363489</c:v>
                </c:pt>
                <c:pt idx="343">
                  <c:v>0.29341710687754485</c:v>
                </c:pt>
                <c:pt idx="344">
                  <c:v>0.29021589209070364</c:v>
                </c:pt>
                <c:pt idx="345">
                  <c:v>0.29146189205441808</c:v>
                </c:pt>
                <c:pt idx="346">
                  <c:v>0.29546101250536333</c:v>
                </c:pt>
                <c:pt idx="347">
                  <c:v>0.2953418987417572</c:v>
                </c:pt>
                <c:pt idx="348">
                  <c:v>0.28809330037898401</c:v>
                </c:pt>
                <c:pt idx="349">
                  <c:v>0.28833502963867463</c:v>
                </c:pt>
                <c:pt idx="350">
                  <c:v>0.28819956569243455</c:v>
                </c:pt>
                <c:pt idx="351">
                  <c:v>0.30256176849707433</c:v>
                </c:pt>
                <c:pt idx="352">
                  <c:v>0.30120168304058387</c:v>
                </c:pt>
                <c:pt idx="353">
                  <c:v>0.30447799000091713</c:v>
                </c:pt>
                <c:pt idx="354">
                  <c:v>0.30378050675158863</c:v>
                </c:pt>
                <c:pt idx="355">
                  <c:v>0.29815398252192293</c:v>
                </c:pt>
                <c:pt idx="356">
                  <c:v>0.29749955775972331</c:v>
                </c:pt>
                <c:pt idx="357">
                  <c:v>0.29051673816487877</c:v>
                </c:pt>
                <c:pt idx="358">
                  <c:v>0.28895148535684889</c:v>
                </c:pt>
                <c:pt idx="359">
                  <c:v>0.28892295741193352</c:v>
                </c:pt>
                <c:pt idx="360">
                  <c:v>0.28981441630904542</c:v>
                </c:pt>
                <c:pt idx="361">
                  <c:v>0.291097571894747</c:v>
                </c:pt>
                <c:pt idx="362">
                  <c:v>0.29001049256115619</c:v>
                </c:pt>
                <c:pt idx="363">
                  <c:v>0.28544344330697902</c:v>
                </c:pt>
                <c:pt idx="364">
                  <c:v>0.2843730536398239</c:v>
                </c:pt>
                <c:pt idx="365">
                  <c:v>0.28837414119607174</c:v>
                </c:pt>
                <c:pt idx="366">
                  <c:v>0.28925673637729576</c:v>
                </c:pt>
                <c:pt idx="367">
                  <c:v>0.28897031529203382</c:v>
                </c:pt>
                <c:pt idx="368">
                  <c:v>0.28828738747463439</c:v>
                </c:pt>
                <c:pt idx="369">
                  <c:v>0.28783165683911671</c:v>
                </c:pt>
                <c:pt idx="370">
                  <c:v>0.28852903462327634</c:v>
                </c:pt>
                <c:pt idx="371">
                  <c:v>0.28747337191528066</c:v>
                </c:pt>
                <c:pt idx="372">
                  <c:v>0.28768425126664388</c:v>
                </c:pt>
                <c:pt idx="373">
                  <c:v>0.28372494210711224</c:v>
                </c:pt>
                <c:pt idx="374">
                  <c:v>0.28079547800969246</c:v>
                </c:pt>
                <c:pt idx="375">
                  <c:v>0.28149380904777044</c:v>
                </c:pt>
                <c:pt idx="376">
                  <c:v>0.27958556953115293</c:v>
                </c:pt>
                <c:pt idx="377">
                  <c:v>0.27933528538456959</c:v>
                </c:pt>
                <c:pt idx="378">
                  <c:v>0.274163581711029</c:v>
                </c:pt>
                <c:pt idx="379">
                  <c:v>0.27425618789401313</c:v>
                </c:pt>
                <c:pt idx="380">
                  <c:v>0.26054091697289117</c:v>
                </c:pt>
                <c:pt idx="381">
                  <c:v>0.26147003118152989</c:v>
                </c:pt>
                <c:pt idx="382">
                  <c:v>0.26019961831882271</c:v>
                </c:pt>
                <c:pt idx="383">
                  <c:v>0.2576502078715</c:v>
                </c:pt>
                <c:pt idx="384">
                  <c:v>0.25714116132456133</c:v>
                </c:pt>
                <c:pt idx="385">
                  <c:v>0.2569615303480916</c:v>
                </c:pt>
                <c:pt idx="386">
                  <c:v>0.25603344996346961</c:v>
                </c:pt>
                <c:pt idx="387">
                  <c:v>0.25631634475837439</c:v>
                </c:pt>
                <c:pt idx="388">
                  <c:v>0.25601745612649257</c:v>
                </c:pt>
                <c:pt idx="389">
                  <c:v>0.25597316080209875</c:v>
                </c:pt>
                <c:pt idx="390">
                  <c:v>0.25654160030190548</c:v>
                </c:pt>
                <c:pt idx="391">
                  <c:v>0.25595243900117615</c:v>
                </c:pt>
                <c:pt idx="392">
                  <c:v>0.25373966398836695</c:v>
                </c:pt>
                <c:pt idx="393">
                  <c:v>0.25346532489286766</c:v>
                </c:pt>
                <c:pt idx="394">
                  <c:v>0.25411022986581622</c:v>
                </c:pt>
                <c:pt idx="395">
                  <c:v>0.25434083930624951</c:v>
                </c:pt>
                <c:pt idx="396">
                  <c:v>0.25394973120209779</c:v>
                </c:pt>
                <c:pt idx="397">
                  <c:v>0.2541882067664103</c:v>
                </c:pt>
                <c:pt idx="398">
                  <c:v>0.25391123072333699</c:v>
                </c:pt>
                <c:pt idx="399">
                  <c:v>0.25379283045830331</c:v>
                </c:pt>
                <c:pt idx="400">
                  <c:v>0.25310524612113355</c:v>
                </c:pt>
                <c:pt idx="401">
                  <c:v>0.25018248583999125</c:v>
                </c:pt>
                <c:pt idx="402">
                  <c:v>0.24957645401291376</c:v>
                </c:pt>
                <c:pt idx="403">
                  <c:v>0.24960550928904934</c:v>
                </c:pt>
                <c:pt idx="404">
                  <c:v>0.24978856834337865</c:v>
                </c:pt>
                <c:pt idx="405">
                  <c:v>0.2465895084603883</c:v>
                </c:pt>
                <c:pt idx="406">
                  <c:v>0.24597840231335102</c:v>
                </c:pt>
                <c:pt idx="407">
                  <c:v>0.24603521037950332</c:v>
                </c:pt>
                <c:pt idx="408">
                  <c:v>0.24400472725672295</c:v>
                </c:pt>
                <c:pt idx="409">
                  <c:v>0.24479036575896909</c:v>
                </c:pt>
                <c:pt idx="410">
                  <c:v>0.24144688998670444</c:v>
                </c:pt>
                <c:pt idx="411">
                  <c:v>0.24234073440354204</c:v>
                </c:pt>
                <c:pt idx="412">
                  <c:v>0.24765650378003085</c:v>
                </c:pt>
                <c:pt idx="413">
                  <c:v>0.24645461897438906</c:v>
                </c:pt>
                <c:pt idx="414">
                  <c:v>0.23914977556109684</c:v>
                </c:pt>
                <c:pt idx="415">
                  <c:v>0.23571925445938061</c:v>
                </c:pt>
                <c:pt idx="416">
                  <c:v>0.23496610990733729</c:v>
                </c:pt>
                <c:pt idx="417">
                  <c:v>0.23416713478556017</c:v>
                </c:pt>
                <c:pt idx="418">
                  <c:v>0.2319737958186576</c:v>
                </c:pt>
                <c:pt idx="419">
                  <c:v>0.23135071822071079</c:v>
                </c:pt>
                <c:pt idx="420">
                  <c:v>0.23485969759444209</c:v>
                </c:pt>
                <c:pt idx="421">
                  <c:v>0.23308500098489243</c:v>
                </c:pt>
                <c:pt idx="422">
                  <c:v>0.23269111515133181</c:v>
                </c:pt>
                <c:pt idx="423">
                  <c:v>0.23333864426047754</c:v>
                </c:pt>
                <c:pt idx="424">
                  <c:v>0.23380918345492982</c:v>
                </c:pt>
                <c:pt idx="425">
                  <c:v>0.23383453527229908</c:v>
                </c:pt>
                <c:pt idx="426">
                  <c:v>0.23391890811958338</c:v>
                </c:pt>
                <c:pt idx="427">
                  <c:v>0.23390926108907095</c:v>
                </c:pt>
                <c:pt idx="428">
                  <c:v>0.23325363733872162</c:v>
                </c:pt>
                <c:pt idx="429">
                  <c:v>0.23328428872930698</c:v>
                </c:pt>
                <c:pt idx="430">
                  <c:v>0.232959867881534</c:v>
                </c:pt>
                <c:pt idx="431">
                  <c:v>0.23356808589735217</c:v>
                </c:pt>
                <c:pt idx="432">
                  <c:v>0.23405540626874155</c:v>
                </c:pt>
                <c:pt idx="433">
                  <c:v>0.23400478272520311</c:v>
                </c:pt>
                <c:pt idx="434">
                  <c:v>0.23498399701631273</c:v>
                </c:pt>
                <c:pt idx="435">
                  <c:v>0.23382369842861925</c:v>
                </c:pt>
                <c:pt idx="436">
                  <c:v>0.2329903416842978</c:v>
                </c:pt>
                <c:pt idx="437">
                  <c:v>0.23119970792192099</c:v>
                </c:pt>
                <c:pt idx="438">
                  <c:v>0.23142436090881835</c:v>
                </c:pt>
                <c:pt idx="439">
                  <c:v>0.23122086787894994</c:v>
                </c:pt>
                <c:pt idx="440">
                  <c:v>0.2312533802762009</c:v>
                </c:pt>
                <c:pt idx="441">
                  <c:v>0.23199648788805316</c:v>
                </c:pt>
                <c:pt idx="442">
                  <c:v>0.23259945657939077</c:v>
                </c:pt>
                <c:pt idx="443">
                  <c:v>0.22898397109293217</c:v>
                </c:pt>
                <c:pt idx="444">
                  <c:v>0.22944157492097145</c:v>
                </c:pt>
                <c:pt idx="445">
                  <c:v>0.22941511410708704</c:v>
                </c:pt>
                <c:pt idx="446">
                  <c:v>0.22932167667639872</c:v>
                </c:pt>
                <c:pt idx="447">
                  <c:v>0.22363090764151133</c:v>
                </c:pt>
                <c:pt idx="448">
                  <c:v>0.22318701305645386</c:v>
                </c:pt>
                <c:pt idx="449">
                  <c:v>0.22386956547723075</c:v>
                </c:pt>
                <c:pt idx="450">
                  <c:v>0.22368954340998021</c:v>
                </c:pt>
                <c:pt idx="451">
                  <c:v>0.22342825136041219</c:v>
                </c:pt>
                <c:pt idx="452">
                  <c:v>0.22341619240617341</c:v>
                </c:pt>
                <c:pt idx="453">
                  <c:v>0.2238434410979068</c:v>
                </c:pt>
                <c:pt idx="454">
                  <c:v>0.22154369653717373</c:v>
                </c:pt>
                <c:pt idx="455">
                  <c:v>0.21894773937082504</c:v>
                </c:pt>
                <c:pt idx="456">
                  <c:v>0.21724785606961339</c:v>
                </c:pt>
                <c:pt idx="457">
                  <c:v>0.2167178153071688</c:v>
                </c:pt>
                <c:pt idx="458">
                  <c:v>0.21660171003010428</c:v>
                </c:pt>
                <c:pt idx="459">
                  <c:v>0.21612097424602972</c:v>
                </c:pt>
                <c:pt idx="460">
                  <c:v>0.21528865250823173</c:v>
                </c:pt>
                <c:pt idx="461">
                  <c:v>0.21371153084701161</c:v>
                </c:pt>
                <c:pt idx="462">
                  <c:v>0.21369369262671661</c:v>
                </c:pt>
                <c:pt idx="463">
                  <c:v>0.21370427318470844</c:v>
                </c:pt>
                <c:pt idx="464">
                  <c:v>0.21434479424631228</c:v>
                </c:pt>
                <c:pt idx="465">
                  <c:v>0.21440955551138688</c:v>
                </c:pt>
                <c:pt idx="466">
                  <c:v>0.21436959565456393</c:v>
                </c:pt>
                <c:pt idx="467">
                  <c:v>0.21454700944652658</c:v>
                </c:pt>
                <c:pt idx="468">
                  <c:v>0.21456577363982682</c:v>
                </c:pt>
                <c:pt idx="469">
                  <c:v>0.21355530196660866</c:v>
                </c:pt>
                <c:pt idx="470">
                  <c:v>0.21359206482121204</c:v>
                </c:pt>
                <c:pt idx="471">
                  <c:v>0.21355516193727647</c:v>
                </c:pt>
                <c:pt idx="472">
                  <c:v>0.21360018623807758</c:v>
                </c:pt>
                <c:pt idx="473">
                  <c:v>0.21121256072075884</c:v>
                </c:pt>
                <c:pt idx="474">
                  <c:v>0.21004882098651545</c:v>
                </c:pt>
                <c:pt idx="475">
                  <c:v>0.20668174132337067</c:v>
                </c:pt>
                <c:pt idx="476">
                  <c:v>0.2065051424533568</c:v>
                </c:pt>
                <c:pt idx="477">
                  <c:v>0.20636731481714468</c:v>
                </c:pt>
                <c:pt idx="478">
                  <c:v>0.20605428632671471</c:v>
                </c:pt>
                <c:pt idx="479">
                  <c:v>0.20561723886039315</c:v>
                </c:pt>
                <c:pt idx="480">
                  <c:v>0.20259066815464905</c:v>
                </c:pt>
                <c:pt idx="481">
                  <c:v>0.20138850253223062</c:v>
                </c:pt>
                <c:pt idx="482">
                  <c:v>0.19748602114557798</c:v>
                </c:pt>
                <c:pt idx="483">
                  <c:v>0.19699777374519575</c:v>
                </c:pt>
                <c:pt idx="484">
                  <c:v>0.19550095470030637</c:v>
                </c:pt>
                <c:pt idx="485">
                  <c:v>0.19843381292218634</c:v>
                </c:pt>
                <c:pt idx="486">
                  <c:v>0.20016408243379794</c:v>
                </c:pt>
                <c:pt idx="487">
                  <c:v>0.20983421059067472</c:v>
                </c:pt>
                <c:pt idx="488">
                  <c:v>0.20786588318385268</c:v>
                </c:pt>
                <c:pt idx="489">
                  <c:v>0.21267768978293386</c:v>
                </c:pt>
                <c:pt idx="490">
                  <c:v>0.21268728916288762</c:v>
                </c:pt>
                <c:pt idx="491">
                  <c:v>0.21395801839004755</c:v>
                </c:pt>
                <c:pt idx="492">
                  <c:v>0.21341068216445633</c:v>
                </c:pt>
                <c:pt idx="493">
                  <c:v>0.21477531732985353</c:v>
                </c:pt>
                <c:pt idx="494">
                  <c:v>0.21479135268014868</c:v>
                </c:pt>
                <c:pt idx="495">
                  <c:v>0.21177242024048043</c:v>
                </c:pt>
                <c:pt idx="496">
                  <c:v>0.21321842895172483</c:v>
                </c:pt>
                <c:pt idx="497">
                  <c:v>0.21686671446431596</c:v>
                </c:pt>
                <c:pt idx="498">
                  <c:v>0.21328028410880032</c:v>
                </c:pt>
                <c:pt idx="499">
                  <c:v>0.21329301644935389</c:v>
                </c:pt>
                <c:pt idx="500">
                  <c:v>0.21167579804802042</c:v>
                </c:pt>
                <c:pt idx="501">
                  <c:v>0.21159387754142672</c:v>
                </c:pt>
                <c:pt idx="502">
                  <c:v>0.21375533975705069</c:v>
                </c:pt>
                <c:pt idx="503">
                  <c:v>0.21387228058415325</c:v>
                </c:pt>
                <c:pt idx="504">
                  <c:v>0.2145134389490487</c:v>
                </c:pt>
                <c:pt idx="505">
                  <c:v>0.21262486182764043</c:v>
                </c:pt>
                <c:pt idx="506">
                  <c:v>0.21183857426581434</c:v>
                </c:pt>
                <c:pt idx="507">
                  <c:v>0.21231243663557325</c:v>
                </c:pt>
                <c:pt idx="508">
                  <c:v>0.21257837920454076</c:v>
                </c:pt>
                <c:pt idx="509">
                  <c:v>0.21205785901613869</c:v>
                </c:pt>
                <c:pt idx="510">
                  <c:v>0.21179745422959662</c:v>
                </c:pt>
                <c:pt idx="511">
                  <c:v>0.21236841433185297</c:v>
                </c:pt>
                <c:pt idx="512">
                  <c:v>0.21208432472127081</c:v>
                </c:pt>
                <c:pt idx="513">
                  <c:v>0.21214832319900237</c:v>
                </c:pt>
                <c:pt idx="514">
                  <c:v>0.21273181745122899</c:v>
                </c:pt>
                <c:pt idx="515">
                  <c:v>0.21247668780893827</c:v>
                </c:pt>
                <c:pt idx="516">
                  <c:v>0.21274530412403397</c:v>
                </c:pt>
                <c:pt idx="517">
                  <c:v>0.21314346290813205</c:v>
                </c:pt>
                <c:pt idx="518">
                  <c:v>0.21365373154557682</c:v>
                </c:pt>
                <c:pt idx="519">
                  <c:v>0.21419320047804072</c:v>
                </c:pt>
                <c:pt idx="520">
                  <c:v>0.21415829515645557</c:v>
                </c:pt>
                <c:pt idx="521">
                  <c:v>0.21387978863975329</c:v>
                </c:pt>
                <c:pt idx="522">
                  <c:v>0.2140059340399037</c:v>
                </c:pt>
                <c:pt idx="523">
                  <c:v>0.2141621201990796</c:v>
                </c:pt>
                <c:pt idx="524">
                  <c:v>0.21790350157287375</c:v>
                </c:pt>
                <c:pt idx="525">
                  <c:v>0.21820625092661489</c:v>
                </c:pt>
                <c:pt idx="526">
                  <c:v>0.21759961850110923</c:v>
                </c:pt>
                <c:pt idx="527">
                  <c:v>0.21588021930465712</c:v>
                </c:pt>
                <c:pt idx="528">
                  <c:v>0.21617979268848456</c:v>
                </c:pt>
                <c:pt idx="529">
                  <c:v>0.21759211404313789</c:v>
                </c:pt>
                <c:pt idx="530">
                  <c:v>0.2177125815994454</c:v>
                </c:pt>
                <c:pt idx="531">
                  <c:v>0.21799056030647726</c:v>
                </c:pt>
                <c:pt idx="532">
                  <c:v>0.21823444622849536</c:v>
                </c:pt>
                <c:pt idx="533">
                  <c:v>0.21903915125263107</c:v>
                </c:pt>
                <c:pt idx="534">
                  <c:v>0.21942431787760697</c:v>
                </c:pt>
                <c:pt idx="535">
                  <c:v>0.2203429229091432</c:v>
                </c:pt>
                <c:pt idx="536">
                  <c:v>0.22130209028576941</c:v>
                </c:pt>
                <c:pt idx="537">
                  <c:v>0.22185531586735052</c:v>
                </c:pt>
                <c:pt idx="538">
                  <c:v>0.22250887802504271</c:v>
                </c:pt>
                <c:pt idx="539">
                  <c:v>0.22179745582328783</c:v>
                </c:pt>
                <c:pt idx="540">
                  <c:v>0.22227516926647614</c:v>
                </c:pt>
                <c:pt idx="541">
                  <c:v>0.22217216205852933</c:v>
                </c:pt>
                <c:pt idx="542">
                  <c:v>0.22288223315381106</c:v>
                </c:pt>
                <c:pt idx="543">
                  <c:v>0.22273629087303728</c:v>
                </c:pt>
                <c:pt idx="544">
                  <c:v>0.2217622205930396</c:v>
                </c:pt>
                <c:pt idx="545">
                  <c:v>0.22188120501068942</c:v>
                </c:pt>
                <c:pt idx="546">
                  <c:v>0.22179355890540742</c:v>
                </c:pt>
                <c:pt idx="547">
                  <c:v>0.2225608394824734</c:v>
                </c:pt>
                <c:pt idx="548">
                  <c:v>0.22252770503331604</c:v>
                </c:pt>
                <c:pt idx="549">
                  <c:v>0.22256572769975633</c:v>
                </c:pt>
                <c:pt idx="550">
                  <c:v>0.22253953914982891</c:v>
                </c:pt>
                <c:pt idx="551">
                  <c:v>0.22232734835205906</c:v>
                </c:pt>
                <c:pt idx="552">
                  <c:v>0.22182782912204482</c:v>
                </c:pt>
                <c:pt idx="553">
                  <c:v>0.22192287998289201</c:v>
                </c:pt>
                <c:pt idx="554">
                  <c:v>0.22353959507246896</c:v>
                </c:pt>
                <c:pt idx="555">
                  <c:v>0.22352520673122528</c:v>
                </c:pt>
                <c:pt idx="556">
                  <c:v>0.22374803568640614</c:v>
                </c:pt>
                <c:pt idx="557">
                  <c:v>0.2237638364551921</c:v>
                </c:pt>
                <c:pt idx="558">
                  <c:v>0.22102276118503403</c:v>
                </c:pt>
                <c:pt idx="559">
                  <c:v>0.22123535966638738</c:v>
                </c:pt>
                <c:pt idx="560">
                  <c:v>0.22152983278057389</c:v>
                </c:pt>
                <c:pt idx="561">
                  <c:v>0.22147141103304363</c:v>
                </c:pt>
                <c:pt idx="562">
                  <c:v>0.22149278868185904</c:v>
                </c:pt>
                <c:pt idx="563">
                  <c:v>0.2217867982852233</c:v>
                </c:pt>
                <c:pt idx="564">
                  <c:v>0.22215935129161321</c:v>
                </c:pt>
                <c:pt idx="565">
                  <c:v>0.22232481983102534</c:v>
                </c:pt>
                <c:pt idx="566">
                  <c:v>0.22299754400872979</c:v>
                </c:pt>
                <c:pt idx="567">
                  <c:v>0.22291047190178695</c:v>
                </c:pt>
                <c:pt idx="568">
                  <c:v>0.22251778617545651</c:v>
                </c:pt>
                <c:pt idx="569">
                  <c:v>0.22298801269418039</c:v>
                </c:pt>
                <c:pt idx="570">
                  <c:v>0.22305571872215685</c:v>
                </c:pt>
                <c:pt idx="571">
                  <c:v>0.22234533602563983</c:v>
                </c:pt>
                <c:pt idx="572">
                  <c:v>0.22138540124657621</c:v>
                </c:pt>
                <c:pt idx="573">
                  <c:v>0.22163367560760602</c:v>
                </c:pt>
                <c:pt idx="574">
                  <c:v>0.22175090211207965</c:v>
                </c:pt>
                <c:pt idx="575">
                  <c:v>0.22134246248794728</c:v>
                </c:pt>
                <c:pt idx="576">
                  <c:v>0.22150891768033468</c:v>
                </c:pt>
                <c:pt idx="577">
                  <c:v>0.22136728381905518</c:v>
                </c:pt>
                <c:pt idx="578">
                  <c:v>0.2212085502613203</c:v>
                </c:pt>
                <c:pt idx="579">
                  <c:v>0.22125836669801544</c:v>
                </c:pt>
                <c:pt idx="580">
                  <c:v>0.22127727678399614</c:v>
                </c:pt>
                <c:pt idx="581">
                  <c:v>0.22137359561022882</c:v>
                </c:pt>
                <c:pt idx="582">
                  <c:v>0.22112720268095523</c:v>
                </c:pt>
                <c:pt idx="583">
                  <c:v>0.22149220976014222</c:v>
                </c:pt>
                <c:pt idx="584">
                  <c:v>0.22188363581689766</c:v>
                </c:pt>
                <c:pt idx="585">
                  <c:v>0.22141866670163449</c:v>
                </c:pt>
                <c:pt idx="586">
                  <c:v>0.22128034771372274</c:v>
                </c:pt>
                <c:pt idx="587">
                  <c:v>0.22101912323754144</c:v>
                </c:pt>
                <c:pt idx="588">
                  <c:v>0.22106764305304019</c:v>
                </c:pt>
                <c:pt idx="589">
                  <c:v>0.22116997243212019</c:v>
                </c:pt>
                <c:pt idx="590">
                  <c:v>0.22096615959266208</c:v>
                </c:pt>
                <c:pt idx="591">
                  <c:v>0.221042720181062</c:v>
                </c:pt>
                <c:pt idx="592">
                  <c:v>0.22114707641277659</c:v>
                </c:pt>
                <c:pt idx="593">
                  <c:v>0.22076036807028501</c:v>
                </c:pt>
                <c:pt idx="594">
                  <c:v>0.22091067438101178</c:v>
                </c:pt>
                <c:pt idx="595">
                  <c:v>0.22082996687727333</c:v>
                </c:pt>
                <c:pt idx="596">
                  <c:v>0.22072767865852497</c:v>
                </c:pt>
                <c:pt idx="597">
                  <c:v>0.22071298562221606</c:v>
                </c:pt>
                <c:pt idx="598">
                  <c:v>0.22056137706497037</c:v>
                </c:pt>
                <c:pt idx="599">
                  <c:v>0.22069758758807367</c:v>
                </c:pt>
                <c:pt idx="600">
                  <c:v>0.22060053145650454</c:v>
                </c:pt>
                <c:pt idx="601">
                  <c:v>0.22070683131645055</c:v>
                </c:pt>
                <c:pt idx="602">
                  <c:v>0.22052587310908506</c:v>
                </c:pt>
                <c:pt idx="603">
                  <c:v>0.22090343935973369</c:v>
                </c:pt>
                <c:pt idx="604">
                  <c:v>0.22168399152274532</c:v>
                </c:pt>
                <c:pt idx="605">
                  <c:v>0.22207214619072288</c:v>
                </c:pt>
                <c:pt idx="606">
                  <c:v>0.22134634889567281</c:v>
                </c:pt>
                <c:pt idx="607">
                  <c:v>0.22163012084699182</c:v>
                </c:pt>
                <c:pt idx="608">
                  <c:v>0.22163901760793417</c:v>
                </c:pt>
                <c:pt idx="609">
                  <c:v>0.22179572621189639</c:v>
                </c:pt>
                <c:pt idx="610">
                  <c:v>0.22166666668410323</c:v>
                </c:pt>
                <c:pt idx="611">
                  <c:v>0.22275652520448766</c:v>
                </c:pt>
                <c:pt idx="612">
                  <c:v>0.22300437647374191</c:v>
                </c:pt>
                <c:pt idx="613">
                  <c:v>0.22455087380795771</c:v>
                </c:pt>
                <c:pt idx="614">
                  <c:v>0.22532635689591335</c:v>
                </c:pt>
                <c:pt idx="615">
                  <c:v>0.22553271184417906</c:v>
                </c:pt>
                <c:pt idx="616">
                  <c:v>0.22578467902072527</c:v>
                </c:pt>
                <c:pt idx="617">
                  <c:v>0.22553742261022638</c:v>
                </c:pt>
                <c:pt idx="618">
                  <c:v>0.22548379235241983</c:v>
                </c:pt>
                <c:pt idx="619">
                  <c:v>0.22550493286058002</c:v>
                </c:pt>
                <c:pt idx="620">
                  <c:v>0.225799271274888</c:v>
                </c:pt>
                <c:pt idx="621">
                  <c:v>0.22606182911674008</c:v>
                </c:pt>
                <c:pt idx="622">
                  <c:v>0.22609801529080115</c:v>
                </c:pt>
                <c:pt idx="623">
                  <c:v>0.22631861357302274</c:v>
                </c:pt>
                <c:pt idx="624">
                  <c:v>0.22583049088585735</c:v>
                </c:pt>
                <c:pt idx="625">
                  <c:v>0.22569785988915855</c:v>
                </c:pt>
                <c:pt idx="626">
                  <c:v>0.22558261000387572</c:v>
                </c:pt>
                <c:pt idx="627">
                  <c:v>0.22515461899915221</c:v>
                </c:pt>
                <c:pt idx="628">
                  <c:v>0.22543297727122974</c:v>
                </c:pt>
                <c:pt idx="629">
                  <c:v>0.22558900546218014</c:v>
                </c:pt>
                <c:pt idx="630">
                  <c:v>0.2263816401625591</c:v>
                </c:pt>
                <c:pt idx="631">
                  <c:v>0.22727062494949343</c:v>
                </c:pt>
                <c:pt idx="632">
                  <c:v>0.22718477350076538</c:v>
                </c:pt>
                <c:pt idx="633">
                  <c:v>0.22901652481280771</c:v>
                </c:pt>
                <c:pt idx="634">
                  <c:v>0.2299124548006338</c:v>
                </c:pt>
                <c:pt idx="635">
                  <c:v>0.23037159022060977</c:v>
                </c:pt>
                <c:pt idx="636">
                  <c:v>0.23067606478234393</c:v>
                </c:pt>
                <c:pt idx="637">
                  <c:v>0.2306911557429728</c:v>
                </c:pt>
                <c:pt idx="638">
                  <c:v>0.23112745082016481</c:v>
                </c:pt>
                <c:pt idx="639">
                  <c:v>0.2308109999157891</c:v>
                </c:pt>
                <c:pt idx="640">
                  <c:v>0.23092859298847054</c:v>
                </c:pt>
                <c:pt idx="641">
                  <c:v>0.23096584953246707</c:v>
                </c:pt>
                <c:pt idx="642">
                  <c:v>0.2311735633192446</c:v>
                </c:pt>
                <c:pt idx="643">
                  <c:v>0.23119243434499667</c:v>
                </c:pt>
                <c:pt idx="644">
                  <c:v>0.2310447309287369</c:v>
                </c:pt>
                <c:pt idx="645">
                  <c:v>0.23084380754171099</c:v>
                </c:pt>
                <c:pt idx="646">
                  <c:v>0.23007884348047819</c:v>
                </c:pt>
                <c:pt idx="647">
                  <c:v>0.22903637231926957</c:v>
                </c:pt>
                <c:pt idx="648">
                  <c:v>0.22891106882025994</c:v>
                </c:pt>
                <c:pt idx="649">
                  <c:v>0.22881105372562827</c:v>
                </c:pt>
                <c:pt idx="650">
                  <c:v>0.22893818040133168</c:v>
                </c:pt>
                <c:pt idx="651">
                  <c:v>0.22894306342187495</c:v>
                </c:pt>
                <c:pt idx="652">
                  <c:v>0.22897565423800542</c:v>
                </c:pt>
                <c:pt idx="653">
                  <c:v>0.22908537999833375</c:v>
                </c:pt>
                <c:pt idx="654">
                  <c:v>0.22889586962049036</c:v>
                </c:pt>
                <c:pt idx="655">
                  <c:v>0.22888845741996214</c:v>
                </c:pt>
                <c:pt idx="656">
                  <c:v>0.2288876034373083</c:v>
                </c:pt>
                <c:pt idx="657">
                  <c:v>0.22878778541459058</c:v>
                </c:pt>
                <c:pt idx="658">
                  <c:v>0.22884332118316608</c:v>
                </c:pt>
                <c:pt idx="659">
                  <c:v>0.22856839759554859</c:v>
                </c:pt>
                <c:pt idx="660">
                  <c:v>0.22866808135275787</c:v>
                </c:pt>
                <c:pt idx="661">
                  <c:v>0.22924269456852397</c:v>
                </c:pt>
                <c:pt idx="662">
                  <c:v>0.22906266280201351</c:v>
                </c:pt>
                <c:pt idx="663">
                  <c:v>0.22922540324174406</c:v>
                </c:pt>
                <c:pt idx="664">
                  <c:v>0.22844586963677355</c:v>
                </c:pt>
                <c:pt idx="665">
                  <c:v>0.2292722295799503</c:v>
                </c:pt>
                <c:pt idx="666">
                  <c:v>0.23125712155844197</c:v>
                </c:pt>
                <c:pt idx="667">
                  <c:v>0.23279339293820617</c:v>
                </c:pt>
                <c:pt idx="668">
                  <c:v>0.23326585548500631</c:v>
                </c:pt>
                <c:pt idx="669">
                  <c:v>0.23370906144410408</c:v>
                </c:pt>
                <c:pt idx="670">
                  <c:v>0.23464368008750791</c:v>
                </c:pt>
                <c:pt idx="671">
                  <c:v>0.23483743400560372</c:v>
                </c:pt>
                <c:pt idx="672">
                  <c:v>0.23300229161255556</c:v>
                </c:pt>
                <c:pt idx="673">
                  <c:v>0.23344903401693756</c:v>
                </c:pt>
                <c:pt idx="674">
                  <c:v>0.23440521245827789</c:v>
                </c:pt>
                <c:pt idx="675">
                  <c:v>0.23431335415813143</c:v>
                </c:pt>
                <c:pt idx="676">
                  <c:v>0.23423670624981688</c:v>
                </c:pt>
                <c:pt idx="677">
                  <c:v>0.23436930041600834</c:v>
                </c:pt>
                <c:pt idx="678">
                  <c:v>0.23398880913074574</c:v>
                </c:pt>
                <c:pt idx="679">
                  <c:v>0.23412400465937033</c:v>
                </c:pt>
                <c:pt idx="680">
                  <c:v>0.23419207098240144</c:v>
                </c:pt>
                <c:pt idx="681">
                  <c:v>0.23427928101476081</c:v>
                </c:pt>
                <c:pt idx="682">
                  <c:v>0.23498023589885403</c:v>
                </c:pt>
                <c:pt idx="683">
                  <c:v>0.23464101843596652</c:v>
                </c:pt>
                <c:pt idx="684">
                  <c:v>0.234632404353872</c:v>
                </c:pt>
                <c:pt idx="685">
                  <c:v>0.23473913437714203</c:v>
                </c:pt>
                <c:pt idx="686">
                  <c:v>0.23445999348067278</c:v>
                </c:pt>
                <c:pt idx="687">
                  <c:v>0.23433468926873591</c:v>
                </c:pt>
                <c:pt idx="688">
                  <c:v>0.23490030238584167</c:v>
                </c:pt>
                <c:pt idx="689">
                  <c:v>0.23566416656309447</c:v>
                </c:pt>
                <c:pt idx="690">
                  <c:v>0.23548077615971641</c:v>
                </c:pt>
                <c:pt idx="691">
                  <c:v>0.23575976587226102</c:v>
                </c:pt>
                <c:pt idx="692">
                  <c:v>0.23608600222835943</c:v>
                </c:pt>
                <c:pt idx="693">
                  <c:v>0.2366546084035446</c:v>
                </c:pt>
                <c:pt idx="694">
                  <c:v>0.23656173766935024</c:v>
                </c:pt>
                <c:pt idx="695">
                  <c:v>0.23655053932462622</c:v>
                </c:pt>
                <c:pt idx="696">
                  <c:v>0.23662818402393229</c:v>
                </c:pt>
                <c:pt idx="697">
                  <c:v>0.23687470775623451</c:v>
                </c:pt>
                <c:pt idx="698">
                  <c:v>0.2366929660613375</c:v>
                </c:pt>
                <c:pt idx="699">
                  <c:v>0.23667852740802653</c:v>
                </c:pt>
                <c:pt idx="700">
                  <c:v>0.23753004997621074</c:v>
                </c:pt>
                <c:pt idx="701">
                  <c:v>0.23720405649886092</c:v>
                </c:pt>
                <c:pt idx="702">
                  <c:v>0.23714130346821755</c:v>
                </c:pt>
                <c:pt idx="703">
                  <c:v>0.23563738448265142</c:v>
                </c:pt>
                <c:pt idx="704">
                  <c:v>0.23521448586448093</c:v>
                </c:pt>
                <c:pt idx="705">
                  <c:v>0.23572588821342447</c:v>
                </c:pt>
                <c:pt idx="706">
                  <c:v>0.23639611798951515</c:v>
                </c:pt>
                <c:pt idx="707">
                  <c:v>0.23673712888825013</c:v>
                </c:pt>
                <c:pt idx="708">
                  <c:v>0.23664199036282518</c:v>
                </c:pt>
                <c:pt idx="709">
                  <c:v>0.23689314881987206</c:v>
                </c:pt>
                <c:pt idx="710">
                  <c:v>0.23674208919964992</c:v>
                </c:pt>
                <c:pt idx="711">
                  <c:v>0.23683518202932402</c:v>
                </c:pt>
                <c:pt idx="712">
                  <c:v>0.23603057289104776</c:v>
                </c:pt>
                <c:pt idx="713">
                  <c:v>0.23604518587261297</c:v>
                </c:pt>
                <c:pt idx="714">
                  <c:v>0.23625029739961304</c:v>
                </c:pt>
                <c:pt idx="715">
                  <c:v>0.2362750944848761</c:v>
                </c:pt>
                <c:pt idx="716">
                  <c:v>0.23586900855455406</c:v>
                </c:pt>
                <c:pt idx="717">
                  <c:v>0.23600100798280835</c:v>
                </c:pt>
                <c:pt idx="718">
                  <c:v>0.23587140951578595</c:v>
                </c:pt>
                <c:pt idx="719">
                  <c:v>0.23576458156755695</c:v>
                </c:pt>
                <c:pt idx="720">
                  <c:v>0.23584043886797018</c:v>
                </c:pt>
                <c:pt idx="721">
                  <c:v>0.23618403063085078</c:v>
                </c:pt>
                <c:pt idx="722">
                  <c:v>0.2352055311639854</c:v>
                </c:pt>
                <c:pt idx="723">
                  <c:v>0.23523395337307404</c:v>
                </c:pt>
                <c:pt idx="724">
                  <c:v>0.23529218795595422</c:v>
                </c:pt>
                <c:pt idx="725">
                  <c:v>0.23641335286500728</c:v>
                </c:pt>
                <c:pt idx="726">
                  <c:v>0.23636412253188699</c:v>
                </c:pt>
                <c:pt idx="727">
                  <c:v>0.23691753875842497</c:v>
                </c:pt>
                <c:pt idx="728">
                  <c:v>0.23659081137797888</c:v>
                </c:pt>
                <c:pt idx="729">
                  <c:v>0.23677526412883979</c:v>
                </c:pt>
                <c:pt idx="730">
                  <c:v>0.23679163422842261</c:v>
                </c:pt>
                <c:pt idx="731">
                  <c:v>0.23579179882971985</c:v>
                </c:pt>
                <c:pt idx="732">
                  <c:v>0.2386785456045879</c:v>
                </c:pt>
                <c:pt idx="733">
                  <c:v>0.23948134355289141</c:v>
                </c:pt>
                <c:pt idx="734">
                  <c:v>0.24170962740444046</c:v>
                </c:pt>
                <c:pt idx="735">
                  <c:v>0.2429496389872087</c:v>
                </c:pt>
                <c:pt idx="736">
                  <c:v>0.24414447742909653</c:v>
                </c:pt>
                <c:pt idx="737">
                  <c:v>0.2429242425493662</c:v>
                </c:pt>
                <c:pt idx="738">
                  <c:v>0.24217275126398305</c:v>
                </c:pt>
                <c:pt idx="739">
                  <c:v>0.23655387272505005</c:v>
                </c:pt>
                <c:pt idx="740">
                  <c:v>0.23899444898186217</c:v>
                </c:pt>
                <c:pt idx="741">
                  <c:v>0.23714157506491426</c:v>
                </c:pt>
                <c:pt idx="742">
                  <c:v>0.23718322684540208</c:v>
                </c:pt>
                <c:pt idx="743">
                  <c:v>0.23642535789813843</c:v>
                </c:pt>
                <c:pt idx="744">
                  <c:v>0.23628817250585527</c:v>
                </c:pt>
                <c:pt idx="745">
                  <c:v>0.23388659657359331</c:v>
                </c:pt>
                <c:pt idx="746">
                  <c:v>0.23347051070988856</c:v>
                </c:pt>
                <c:pt idx="747">
                  <c:v>0.23245100148625769</c:v>
                </c:pt>
                <c:pt idx="748">
                  <c:v>0.23089699812849959</c:v>
                </c:pt>
                <c:pt idx="749">
                  <c:v>0.22663778118783401</c:v>
                </c:pt>
                <c:pt idx="750">
                  <c:v>0.23116265075399572</c:v>
                </c:pt>
                <c:pt idx="751">
                  <c:v>0.23161994191434163</c:v>
                </c:pt>
                <c:pt idx="752">
                  <c:v>0.23288341564486609</c:v>
                </c:pt>
                <c:pt idx="753">
                  <c:v>0.23299622885888649</c:v>
                </c:pt>
                <c:pt idx="754">
                  <c:v>0.2316260555713093</c:v>
                </c:pt>
                <c:pt idx="755">
                  <c:v>0.23253814030118036</c:v>
                </c:pt>
                <c:pt idx="756">
                  <c:v>0.23338114427743781</c:v>
                </c:pt>
                <c:pt idx="757">
                  <c:v>0.23472852150795998</c:v>
                </c:pt>
                <c:pt idx="758">
                  <c:v>0.23467680022055371</c:v>
                </c:pt>
                <c:pt idx="759">
                  <c:v>0.23452888777273906</c:v>
                </c:pt>
                <c:pt idx="760">
                  <c:v>0.23422247248618858</c:v>
                </c:pt>
                <c:pt idx="761">
                  <c:v>0.23528659911223235</c:v>
                </c:pt>
                <c:pt idx="762">
                  <c:v>0.23521329992761458</c:v>
                </c:pt>
                <c:pt idx="763">
                  <c:v>0.23506874976996581</c:v>
                </c:pt>
                <c:pt idx="764">
                  <c:v>0.2359944339250688</c:v>
                </c:pt>
                <c:pt idx="765">
                  <c:v>0.23580808174279308</c:v>
                </c:pt>
                <c:pt idx="766">
                  <c:v>0.2356112582921005</c:v>
                </c:pt>
                <c:pt idx="767">
                  <c:v>0.23636759243112831</c:v>
                </c:pt>
                <c:pt idx="768">
                  <c:v>0.23776281723518225</c:v>
                </c:pt>
                <c:pt idx="769">
                  <c:v>0.23759198712753316</c:v>
                </c:pt>
                <c:pt idx="770">
                  <c:v>0.23758910090656746</c:v>
                </c:pt>
                <c:pt idx="771">
                  <c:v>0.23682493238357369</c:v>
                </c:pt>
                <c:pt idx="772">
                  <c:v>0.23651382466343929</c:v>
                </c:pt>
                <c:pt idx="773">
                  <c:v>0.23571640271374414</c:v>
                </c:pt>
                <c:pt idx="774">
                  <c:v>0.23623290874783573</c:v>
                </c:pt>
                <c:pt idx="775">
                  <c:v>0.23604194458374936</c:v>
                </c:pt>
                <c:pt idx="776">
                  <c:v>0.23007503148705147</c:v>
                </c:pt>
                <c:pt idx="777">
                  <c:v>0.22862679189675994</c:v>
                </c:pt>
                <c:pt idx="778">
                  <c:v>0.22998231622489876</c:v>
                </c:pt>
                <c:pt idx="779">
                  <c:v>0.23317414612012294</c:v>
                </c:pt>
                <c:pt idx="780">
                  <c:v>0.2330992842562499</c:v>
                </c:pt>
                <c:pt idx="781">
                  <c:v>0.23067303958944846</c:v>
                </c:pt>
                <c:pt idx="782">
                  <c:v>0.23097605613703109</c:v>
                </c:pt>
                <c:pt idx="783">
                  <c:v>0.23108965631726761</c:v>
                </c:pt>
                <c:pt idx="784">
                  <c:v>0.2324210319211214</c:v>
                </c:pt>
                <c:pt idx="785">
                  <c:v>0.23306568551549561</c:v>
                </c:pt>
                <c:pt idx="786">
                  <c:v>0.2328200570169755</c:v>
                </c:pt>
                <c:pt idx="787">
                  <c:v>0.23301307063064589</c:v>
                </c:pt>
                <c:pt idx="788">
                  <c:v>0.23115451788883656</c:v>
                </c:pt>
                <c:pt idx="789">
                  <c:v>0.23142721130005572</c:v>
                </c:pt>
                <c:pt idx="790">
                  <c:v>0.23123237869348026</c:v>
                </c:pt>
                <c:pt idx="791">
                  <c:v>0.23206023958221267</c:v>
                </c:pt>
                <c:pt idx="792">
                  <c:v>0.23179190730376575</c:v>
                </c:pt>
                <c:pt idx="793">
                  <c:v>0.23206147402082997</c:v>
                </c:pt>
                <c:pt idx="794">
                  <c:v>0.23042895285412046</c:v>
                </c:pt>
                <c:pt idx="795">
                  <c:v>0.23056696330903792</c:v>
                </c:pt>
                <c:pt idx="796">
                  <c:v>0.23128056280332457</c:v>
                </c:pt>
                <c:pt idx="797">
                  <c:v>0.23096022177275147</c:v>
                </c:pt>
                <c:pt idx="798">
                  <c:v>0.22869956309149547</c:v>
                </c:pt>
                <c:pt idx="799">
                  <c:v>0.22818022953041631</c:v>
                </c:pt>
                <c:pt idx="800">
                  <c:v>0.22950603713545686</c:v>
                </c:pt>
                <c:pt idx="801">
                  <c:v>0.22916406841229622</c:v>
                </c:pt>
                <c:pt idx="802">
                  <c:v>0.23348163556048931</c:v>
                </c:pt>
                <c:pt idx="803">
                  <c:v>0.23370924619558689</c:v>
                </c:pt>
                <c:pt idx="804">
                  <c:v>0.22687536473410452</c:v>
                </c:pt>
                <c:pt idx="805">
                  <c:v>0.22834027290531031</c:v>
                </c:pt>
                <c:pt idx="806">
                  <c:v>0.23321749809982872</c:v>
                </c:pt>
                <c:pt idx="807">
                  <c:v>0.23345534594074338</c:v>
                </c:pt>
                <c:pt idx="808">
                  <c:v>0.23260087778946123</c:v>
                </c:pt>
                <c:pt idx="809">
                  <c:v>0.23290960073705599</c:v>
                </c:pt>
                <c:pt idx="810">
                  <c:v>0.23372942138530917</c:v>
                </c:pt>
                <c:pt idx="811">
                  <c:v>0.23306893065633166</c:v>
                </c:pt>
                <c:pt idx="812">
                  <c:v>0.23933697349778943</c:v>
                </c:pt>
                <c:pt idx="813">
                  <c:v>0.23959724620885603</c:v>
                </c:pt>
                <c:pt idx="814">
                  <c:v>0.23937625357451603</c:v>
                </c:pt>
                <c:pt idx="815">
                  <c:v>0.23538209604881713</c:v>
                </c:pt>
                <c:pt idx="816">
                  <c:v>0.2349987493792105</c:v>
                </c:pt>
                <c:pt idx="817">
                  <c:v>0.23453667099917441</c:v>
                </c:pt>
                <c:pt idx="818">
                  <c:v>0.23303434014428839</c:v>
                </c:pt>
                <c:pt idx="819">
                  <c:v>0.23343155480960076</c:v>
                </c:pt>
                <c:pt idx="820">
                  <c:v>0.23407546356155207</c:v>
                </c:pt>
                <c:pt idx="821">
                  <c:v>0.23440639984892458</c:v>
                </c:pt>
                <c:pt idx="822">
                  <c:v>0.2344881247254981</c:v>
                </c:pt>
                <c:pt idx="823">
                  <c:v>0.23471643430803868</c:v>
                </c:pt>
                <c:pt idx="824">
                  <c:v>0.23563163137342416</c:v>
                </c:pt>
                <c:pt idx="825">
                  <c:v>0.23544239605846923</c:v>
                </c:pt>
                <c:pt idx="826">
                  <c:v>0.23556834195176232</c:v>
                </c:pt>
                <c:pt idx="827">
                  <c:v>0.23655404804581207</c:v>
                </c:pt>
                <c:pt idx="828">
                  <c:v>0.23635263476396942</c:v>
                </c:pt>
                <c:pt idx="829">
                  <c:v>0.23609670278757572</c:v>
                </c:pt>
                <c:pt idx="830">
                  <c:v>0.23612685410586531</c:v>
                </c:pt>
                <c:pt idx="831">
                  <c:v>0.23640488455976783</c:v>
                </c:pt>
                <c:pt idx="832">
                  <c:v>0.23629372513475461</c:v>
                </c:pt>
                <c:pt idx="833">
                  <c:v>0.23645934428128076</c:v>
                </c:pt>
                <c:pt idx="834">
                  <c:v>0.23664435693296837</c:v>
                </c:pt>
                <c:pt idx="835">
                  <c:v>0.23657907267804912</c:v>
                </c:pt>
                <c:pt idx="836">
                  <c:v>0.23722190875086385</c:v>
                </c:pt>
                <c:pt idx="837">
                  <c:v>0.23758091140564963</c:v>
                </c:pt>
                <c:pt idx="838">
                  <c:v>0.23791135209709621</c:v>
                </c:pt>
                <c:pt idx="839">
                  <c:v>0.23790453503367384</c:v>
                </c:pt>
                <c:pt idx="840">
                  <c:v>0.23843724220911902</c:v>
                </c:pt>
                <c:pt idx="841">
                  <c:v>0.23822809794893687</c:v>
                </c:pt>
                <c:pt idx="842">
                  <c:v>0.2396489274330309</c:v>
                </c:pt>
                <c:pt idx="843">
                  <c:v>0.24006795982950663</c:v>
                </c:pt>
                <c:pt idx="844">
                  <c:v>0.23993749813566545</c:v>
                </c:pt>
                <c:pt idx="845">
                  <c:v>0.23943965349245763</c:v>
                </c:pt>
                <c:pt idx="846">
                  <c:v>0.23941464567465634</c:v>
                </c:pt>
                <c:pt idx="847">
                  <c:v>0.23946657581886976</c:v>
                </c:pt>
                <c:pt idx="848">
                  <c:v>0.24111547991896701</c:v>
                </c:pt>
                <c:pt idx="849">
                  <c:v>0.24108553939840738</c:v>
                </c:pt>
                <c:pt idx="850">
                  <c:v>0.24198390625126096</c:v>
                </c:pt>
                <c:pt idx="851">
                  <c:v>0.24180637622172951</c:v>
                </c:pt>
                <c:pt idx="852">
                  <c:v>0.24260398613191234</c:v>
                </c:pt>
                <c:pt idx="853">
                  <c:v>0.24306394994373859</c:v>
                </c:pt>
                <c:pt idx="854">
                  <c:v>0.24348103129260459</c:v>
                </c:pt>
                <c:pt idx="855">
                  <c:v>0.24370161498072604</c:v>
                </c:pt>
                <c:pt idx="856">
                  <c:v>0.24356080856267479</c:v>
                </c:pt>
                <c:pt idx="857">
                  <c:v>0.24425053828635312</c:v>
                </c:pt>
                <c:pt idx="858">
                  <c:v>0.24539376270174437</c:v>
                </c:pt>
                <c:pt idx="859">
                  <c:v>0.24590714595722171</c:v>
                </c:pt>
                <c:pt idx="860">
                  <c:v>0.24645114052245526</c:v>
                </c:pt>
                <c:pt idx="861">
                  <c:v>0.25141961814117314</c:v>
                </c:pt>
                <c:pt idx="862">
                  <c:v>0.25131487222867754</c:v>
                </c:pt>
                <c:pt idx="863">
                  <c:v>0.25281595508483412</c:v>
                </c:pt>
                <c:pt idx="864">
                  <c:v>0.25577692066547941</c:v>
                </c:pt>
                <c:pt idx="865">
                  <c:v>0.2551164588674244</c:v>
                </c:pt>
                <c:pt idx="866">
                  <c:v>0.25449955601175428</c:v>
                </c:pt>
                <c:pt idx="867">
                  <c:v>0.25446109819996005</c:v>
                </c:pt>
                <c:pt idx="868">
                  <c:v>0.25442578940546334</c:v>
                </c:pt>
                <c:pt idx="869">
                  <c:v>0.25417854313747051</c:v>
                </c:pt>
                <c:pt idx="870">
                  <c:v>0.25851434072196072</c:v>
                </c:pt>
                <c:pt idx="871">
                  <c:v>0.25841069818904083</c:v>
                </c:pt>
                <c:pt idx="872">
                  <c:v>0.25825183475872071</c:v>
                </c:pt>
                <c:pt idx="873">
                  <c:v>0.25818919326462025</c:v>
                </c:pt>
                <c:pt idx="874">
                  <c:v>0.25834479511897912</c:v>
                </c:pt>
                <c:pt idx="875">
                  <c:v>0.25846024544690593</c:v>
                </c:pt>
                <c:pt idx="876">
                  <c:v>0.25980858966240172</c:v>
                </c:pt>
                <c:pt idx="877">
                  <c:v>0.25922806592958575</c:v>
                </c:pt>
                <c:pt idx="878">
                  <c:v>0.25938430208220731</c:v>
                </c:pt>
                <c:pt idx="879">
                  <c:v>0.25980231248790231</c:v>
                </c:pt>
                <c:pt idx="880">
                  <c:v>0.26000451028808008</c:v>
                </c:pt>
                <c:pt idx="881">
                  <c:v>0.26031302374406701</c:v>
                </c:pt>
                <c:pt idx="882">
                  <c:v>0.26156075290397413</c:v>
                </c:pt>
                <c:pt idx="883">
                  <c:v>0.26090937089378108</c:v>
                </c:pt>
                <c:pt idx="884">
                  <c:v>0.26262825492680608</c:v>
                </c:pt>
                <c:pt idx="885">
                  <c:v>0.26173148393540396</c:v>
                </c:pt>
                <c:pt idx="886">
                  <c:v>0.26167827715173153</c:v>
                </c:pt>
                <c:pt idx="887">
                  <c:v>0.2615837187285584</c:v>
                </c:pt>
                <c:pt idx="888">
                  <c:v>0.26155964718167429</c:v>
                </c:pt>
                <c:pt idx="889">
                  <c:v>0.26150565453542696</c:v>
                </c:pt>
                <c:pt idx="890">
                  <c:v>0.26179099565383945</c:v>
                </c:pt>
                <c:pt idx="891">
                  <c:v>0.26114410920510817</c:v>
                </c:pt>
                <c:pt idx="892">
                  <c:v>0.26073074430368315</c:v>
                </c:pt>
                <c:pt idx="893">
                  <c:v>0.26065632958571272</c:v>
                </c:pt>
                <c:pt idx="894">
                  <c:v>0.26060168276063933</c:v>
                </c:pt>
                <c:pt idx="895">
                  <c:v>0.2608431141835767</c:v>
                </c:pt>
                <c:pt idx="896">
                  <c:v>0.26142453666185156</c:v>
                </c:pt>
                <c:pt idx="897">
                  <c:v>0.26130828557584879</c:v>
                </c:pt>
                <c:pt idx="898">
                  <c:v>0.26190570423034903</c:v>
                </c:pt>
                <c:pt idx="899">
                  <c:v>0.2638927483779861</c:v>
                </c:pt>
                <c:pt idx="900">
                  <c:v>0.26406959678203396</c:v>
                </c:pt>
                <c:pt idx="901">
                  <c:v>0.26413545111711523</c:v>
                </c:pt>
                <c:pt idx="902">
                  <c:v>0.26344324783341416</c:v>
                </c:pt>
                <c:pt idx="903">
                  <c:v>0.26357873288657152</c:v>
                </c:pt>
                <c:pt idx="904">
                  <c:v>0.26368612250716689</c:v>
                </c:pt>
                <c:pt idx="905">
                  <c:v>0.26367895089574844</c:v>
                </c:pt>
                <c:pt idx="906">
                  <c:v>0.2638866175872937</c:v>
                </c:pt>
                <c:pt idx="907">
                  <c:v>0.26386310775066391</c:v>
                </c:pt>
                <c:pt idx="908">
                  <c:v>0.26374189837245604</c:v>
                </c:pt>
                <c:pt idx="909">
                  <c:v>0.26388547229557413</c:v>
                </c:pt>
                <c:pt idx="910">
                  <c:v>0.2638639907839726</c:v>
                </c:pt>
                <c:pt idx="911">
                  <c:v>0.2640205740519968</c:v>
                </c:pt>
                <c:pt idx="912">
                  <c:v>0.26409901670438046</c:v>
                </c:pt>
                <c:pt idx="913">
                  <c:v>0.26368886129033403</c:v>
                </c:pt>
                <c:pt idx="914">
                  <c:v>0.26382814936097043</c:v>
                </c:pt>
                <c:pt idx="915">
                  <c:v>0.26338952276985689</c:v>
                </c:pt>
                <c:pt idx="916">
                  <c:v>0.26371082172653754</c:v>
                </c:pt>
                <c:pt idx="917">
                  <c:v>0.26342946903695563</c:v>
                </c:pt>
                <c:pt idx="918">
                  <c:v>0.26341577218848844</c:v>
                </c:pt>
                <c:pt idx="919">
                  <c:v>0.26327987459301128</c:v>
                </c:pt>
                <c:pt idx="920">
                  <c:v>0.26320806840142802</c:v>
                </c:pt>
                <c:pt idx="921">
                  <c:v>0.26324566824418938</c:v>
                </c:pt>
                <c:pt idx="922">
                  <c:v>0.26291359111422347</c:v>
                </c:pt>
                <c:pt idx="923">
                  <c:v>0.26284270127357406</c:v>
                </c:pt>
                <c:pt idx="924">
                  <c:v>0.26496848272281143</c:v>
                </c:pt>
                <c:pt idx="925">
                  <c:v>0.26478638786907704</c:v>
                </c:pt>
                <c:pt idx="926">
                  <c:v>0.26434634393938983</c:v>
                </c:pt>
                <c:pt idx="927">
                  <c:v>0.26449928133109152</c:v>
                </c:pt>
                <c:pt idx="928">
                  <c:v>0.26474346797992732</c:v>
                </c:pt>
                <c:pt idx="929">
                  <c:v>0.26394014027263635</c:v>
                </c:pt>
                <c:pt idx="930">
                  <c:v>0.26419372760359677</c:v>
                </c:pt>
                <c:pt idx="931">
                  <c:v>0.26413246023657894</c:v>
                </c:pt>
                <c:pt idx="932">
                  <c:v>0.26453963966326027</c:v>
                </c:pt>
                <c:pt idx="933">
                  <c:v>0.26398789479473062</c:v>
                </c:pt>
                <c:pt idx="934">
                  <c:v>0.26354571381652103</c:v>
                </c:pt>
                <c:pt idx="935">
                  <c:v>0.26377972327104648</c:v>
                </c:pt>
                <c:pt idx="936">
                  <c:v>0.26423252702233307</c:v>
                </c:pt>
                <c:pt idx="937">
                  <c:v>0.26351811684638471</c:v>
                </c:pt>
                <c:pt idx="938">
                  <c:v>0.26218312771249808</c:v>
                </c:pt>
                <c:pt idx="939">
                  <c:v>0.26232326344915874</c:v>
                </c:pt>
                <c:pt idx="940">
                  <c:v>0.26323877809516183</c:v>
                </c:pt>
                <c:pt idx="941">
                  <c:v>0.26234147976134742</c:v>
                </c:pt>
                <c:pt idx="942">
                  <c:v>0.2627599420909334</c:v>
                </c:pt>
                <c:pt idx="943">
                  <c:v>0.26270663333311961</c:v>
                </c:pt>
                <c:pt idx="944">
                  <c:v>0.26254624111767266</c:v>
                </c:pt>
                <c:pt idx="945">
                  <c:v>0.26224020432214495</c:v>
                </c:pt>
                <c:pt idx="946">
                  <c:v>0.26252885472959675</c:v>
                </c:pt>
                <c:pt idx="947">
                  <c:v>0.26270470823590608</c:v>
                </c:pt>
                <c:pt idx="948">
                  <c:v>0.26249715694529735</c:v>
                </c:pt>
                <c:pt idx="949">
                  <c:v>0.26024628848648457</c:v>
                </c:pt>
                <c:pt idx="950">
                  <c:v>0.26049040058678002</c:v>
                </c:pt>
                <c:pt idx="951">
                  <c:v>0.26033505759205328</c:v>
                </c:pt>
                <c:pt idx="952">
                  <c:v>0.26018367984155011</c:v>
                </c:pt>
                <c:pt idx="953">
                  <c:v>0.26014425568890048</c:v>
                </c:pt>
                <c:pt idx="954">
                  <c:v>0.26044326248074717</c:v>
                </c:pt>
                <c:pt idx="955">
                  <c:v>0.26220122901838822</c:v>
                </c:pt>
                <c:pt idx="956">
                  <c:v>0.26335554694014285</c:v>
                </c:pt>
                <c:pt idx="957">
                  <c:v>0.26247830420933421</c:v>
                </c:pt>
                <c:pt idx="958">
                  <c:v>0.26106698867587519</c:v>
                </c:pt>
                <c:pt idx="959">
                  <c:v>0.26089482470987091</c:v>
                </c:pt>
                <c:pt idx="960">
                  <c:v>0.26142654309763025</c:v>
                </c:pt>
                <c:pt idx="961">
                  <c:v>0.26180591677803983</c:v>
                </c:pt>
                <c:pt idx="962">
                  <c:v>0.26229719441281607</c:v>
                </c:pt>
                <c:pt idx="963">
                  <c:v>0.26343154879857122</c:v>
                </c:pt>
                <c:pt idx="964">
                  <c:v>0.26442212301498569</c:v>
                </c:pt>
                <c:pt idx="965">
                  <c:v>0.26460055805539129</c:v>
                </c:pt>
                <c:pt idx="966">
                  <c:v>0.26450357019073006</c:v>
                </c:pt>
                <c:pt idx="967">
                  <c:v>0.2644661802298463</c:v>
                </c:pt>
                <c:pt idx="968">
                  <c:v>0.2645626186377405</c:v>
                </c:pt>
                <c:pt idx="969">
                  <c:v>0.26461072080416825</c:v>
                </c:pt>
                <c:pt idx="970">
                  <c:v>0.26455026495052253</c:v>
                </c:pt>
                <c:pt idx="971">
                  <c:v>0.2648101664286257</c:v>
                </c:pt>
                <c:pt idx="972">
                  <c:v>0.26458046964274634</c:v>
                </c:pt>
                <c:pt idx="973">
                  <c:v>0.26539665567766363</c:v>
                </c:pt>
                <c:pt idx="974">
                  <c:v>0.26647652452371301</c:v>
                </c:pt>
                <c:pt idx="975">
                  <c:v>0.26862664610065506</c:v>
                </c:pt>
                <c:pt idx="976">
                  <c:v>0.26894811778628158</c:v>
                </c:pt>
                <c:pt idx="977">
                  <c:v>0.26922838638751362</c:v>
                </c:pt>
                <c:pt idx="978">
                  <c:v>0.26981216755247428</c:v>
                </c:pt>
                <c:pt idx="979">
                  <c:v>0.27069118741900833</c:v>
                </c:pt>
                <c:pt idx="980">
                  <c:v>0.27097288201995978</c:v>
                </c:pt>
                <c:pt idx="981">
                  <c:v>0.2709044200549518</c:v>
                </c:pt>
                <c:pt idx="982">
                  <c:v>0.27089447315803405</c:v>
                </c:pt>
                <c:pt idx="983">
                  <c:v>0.27201300707973958</c:v>
                </c:pt>
                <c:pt idx="984">
                  <c:v>0.27286394414878734</c:v>
                </c:pt>
                <c:pt idx="985">
                  <c:v>0.27282388977639926</c:v>
                </c:pt>
                <c:pt idx="986">
                  <c:v>0.2728063583437339</c:v>
                </c:pt>
                <c:pt idx="987">
                  <c:v>0.27269566554466151</c:v>
                </c:pt>
                <c:pt idx="988">
                  <c:v>0.27259410390137256</c:v>
                </c:pt>
                <c:pt idx="989">
                  <c:v>0.27236245838977208</c:v>
                </c:pt>
                <c:pt idx="990">
                  <c:v>0.27238571972277786</c:v>
                </c:pt>
                <c:pt idx="991">
                  <c:v>0.27264190310827741</c:v>
                </c:pt>
                <c:pt idx="992">
                  <c:v>0.27279216405618123</c:v>
                </c:pt>
                <c:pt idx="993">
                  <c:v>0.27291186030835524</c:v>
                </c:pt>
                <c:pt idx="994">
                  <c:v>0.27327038107573409</c:v>
                </c:pt>
                <c:pt idx="995">
                  <c:v>0.273464139932591</c:v>
                </c:pt>
                <c:pt idx="996">
                  <c:v>0.27396137995638414</c:v>
                </c:pt>
                <c:pt idx="997">
                  <c:v>0.27501929040398376</c:v>
                </c:pt>
                <c:pt idx="998">
                  <c:v>0.27561537903718875</c:v>
                </c:pt>
                <c:pt idx="999">
                  <c:v>0.27589657737547418</c:v>
                </c:pt>
                <c:pt idx="1000">
                  <c:v>0.2755620455195264</c:v>
                </c:pt>
                <c:pt idx="1001">
                  <c:v>0.27646636435290839</c:v>
                </c:pt>
                <c:pt idx="1002">
                  <c:v>0.27652561478040733</c:v>
                </c:pt>
                <c:pt idx="1003">
                  <c:v>0.27666652668342318</c:v>
                </c:pt>
                <c:pt idx="1004">
                  <c:v>0.27678828963731517</c:v>
                </c:pt>
                <c:pt idx="1005">
                  <c:v>0.27655287906692472</c:v>
                </c:pt>
                <c:pt idx="1006">
                  <c:v>0.27633588319720875</c:v>
                </c:pt>
                <c:pt idx="1007">
                  <c:v>0.27642921971085294</c:v>
                </c:pt>
                <c:pt idx="1008">
                  <c:v>0.27596653157774637</c:v>
                </c:pt>
                <c:pt idx="1009">
                  <c:v>0.27794641673370812</c:v>
                </c:pt>
                <c:pt idx="1010">
                  <c:v>0.2790648941103927</c:v>
                </c:pt>
                <c:pt idx="1011">
                  <c:v>0.27892210679231638</c:v>
                </c:pt>
                <c:pt idx="1012">
                  <c:v>0.27921141810430194</c:v>
                </c:pt>
                <c:pt idx="1013">
                  <c:v>0.27921897687300795</c:v>
                </c:pt>
                <c:pt idx="1014">
                  <c:v>0.27932879149623974</c:v>
                </c:pt>
                <c:pt idx="1015">
                  <c:v>0.27976591103749499</c:v>
                </c:pt>
                <c:pt idx="1016">
                  <c:v>0.28299226282266399</c:v>
                </c:pt>
                <c:pt idx="1017">
                  <c:v>0.28288806229818542</c:v>
                </c:pt>
                <c:pt idx="1018">
                  <c:v>0.28256464632169709</c:v>
                </c:pt>
                <c:pt idx="1019">
                  <c:v>0.28337901200514432</c:v>
                </c:pt>
                <c:pt idx="1020">
                  <c:v>0.28346036529736185</c:v>
                </c:pt>
                <c:pt idx="1021">
                  <c:v>0.28143552737092076</c:v>
                </c:pt>
                <c:pt idx="1022">
                  <c:v>0.28166385057885379</c:v>
                </c:pt>
                <c:pt idx="1023">
                  <c:v>0.2825373891030778</c:v>
                </c:pt>
                <c:pt idx="1024">
                  <c:v>0.28223663679005528</c:v>
                </c:pt>
                <c:pt idx="1025">
                  <c:v>0.28156748619594835</c:v>
                </c:pt>
                <c:pt idx="1026">
                  <c:v>0.28020120682248018</c:v>
                </c:pt>
                <c:pt idx="1027">
                  <c:v>0.28029365818923313</c:v>
                </c:pt>
                <c:pt idx="1028">
                  <c:v>0.28057112585352273</c:v>
                </c:pt>
                <c:pt idx="1029">
                  <c:v>0.28137970537524987</c:v>
                </c:pt>
                <c:pt idx="1030">
                  <c:v>0.28061418705339297</c:v>
                </c:pt>
                <c:pt idx="1031">
                  <c:v>0.27996838590267187</c:v>
                </c:pt>
                <c:pt idx="1032">
                  <c:v>0.28008247660761759</c:v>
                </c:pt>
                <c:pt idx="1033">
                  <c:v>0.28022917480712128</c:v>
                </c:pt>
                <c:pt idx="1034">
                  <c:v>0.28005774164663705</c:v>
                </c:pt>
                <c:pt idx="1035">
                  <c:v>0.27953462462534662</c:v>
                </c:pt>
                <c:pt idx="1036">
                  <c:v>0.27946484785082154</c:v>
                </c:pt>
                <c:pt idx="1037">
                  <c:v>0.27939937277713156</c:v>
                </c:pt>
                <c:pt idx="1038">
                  <c:v>0.27941176612125207</c:v>
                </c:pt>
                <c:pt idx="1039">
                  <c:v>0.27900738129818536</c:v>
                </c:pt>
                <c:pt idx="1040">
                  <c:v>0.27917888723371931</c:v>
                </c:pt>
                <c:pt idx="1041">
                  <c:v>0.27950289321861982</c:v>
                </c:pt>
                <c:pt idx="1042">
                  <c:v>0.27928215528776074</c:v>
                </c:pt>
                <c:pt idx="1043">
                  <c:v>0.27907552821289811</c:v>
                </c:pt>
                <c:pt idx="1044">
                  <c:v>0.27903999188149403</c:v>
                </c:pt>
                <c:pt idx="1045">
                  <c:v>0.27915960692807357</c:v>
                </c:pt>
                <c:pt idx="1046">
                  <c:v>0.27938803228478193</c:v>
                </c:pt>
                <c:pt idx="1047">
                  <c:v>0.27936925666062767</c:v>
                </c:pt>
                <c:pt idx="1048">
                  <c:v>0.28112525590417436</c:v>
                </c:pt>
                <c:pt idx="1049">
                  <c:v>0.2808701710804537</c:v>
                </c:pt>
                <c:pt idx="1050">
                  <c:v>0.28184776744806772</c:v>
                </c:pt>
                <c:pt idx="1051">
                  <c:v>0.28149285198897678</c:v>
                </c:pt>
                <c:pt idx="1052">
                  <c:v>0.28075490426586136</c:v>
                </c:pt>
                <c:pt idx="1053">
                  <c:v>0.28040687309805995</c:v>
                </c:pt>
                <c:pt idx="1054">
                  <c:v>0.28118383092380439</c:v>
                </c:pt>
                <c:pt idx="1055">
                  <c:v>0.28103172761702389</c:v>
                </c:pt>
                <c:pt idx="1056">
                  <c:v>0.29331847272938616</c:v>
                </c:pt>
                <c:pt idx="1057">
                  <c:v>0.29626499396913769</c:v>
                </c:pt>
                <c:pt idx="1058">
                  <c:v>0.29145670150042619</c:v>
                </c:pt>
                <c:pt idx="1059">
                  <c:v>0.29132963669878098</c:v>
                </c:pt>
                <c:pt idx="1060">
                  <c:v>0.2912914022122905</c:v>
                </c:pt>
                <c:pt idx="1061">
                  <c:v>0.29114167882491898</c:v>
                </c:pt>
                <c:pt idx="1062">
                  <c:v>0.29114850864748981</c:v>
                </c:pt>
                <c:pt idx="1063">
                  <c:v>0.29175954375301633</c:v>
                </c:pt>
                <c:pt idx="1064">
                  <c:v>0.28780449849262096</c:v>
                </c:pt>
                <c:pt idx="1065">
                  <c:v>0.28759055662690808</c:v>
                </c:pt>
                <c:pt idx="1066">
                  <c:v>0.28762837835241273</c:v>
                </c:pt>
                <c:pt idx="1067">
                  <c:v>0.29307781633576879</c:v>
                </c:pt>
                <c:pt idx="1068">
                  <c:v>0.2930946381260236</c:v>
                </c:pt>
                <c:pt idx="1069">
                  <c:v>0.29373588866765959</c:v>
                </c:pt>
                <c:pt idx="1070">
                  <c:v>0.29369086351026175</c:v>
                </c:pt>
                <c:pt idx="1071">
                  <c:v>0.29368022653278486</c:v>
                </c:pt>
                <c:pt idx="1072">
                  <c:v>0.29302709533756766</c:v>
                </c:pt>
                <c:pt idx="1073">
                  <c:v>0.2926340972642576</c:v>
                </c:pt>
                <c:pt idx="1074">
                  <c:v>0.29274325967440995</c:v>
                </c:pt>
                <c:pt idx="1075">
                  <c:v>0.29264425767374763</c:v>
                </c:pt>
                <c:pt idx="1076">
                  <c:v>0.29315092084610467</c:v>
                </c:pt>
                <c:pt idx="1077">
                  <c:v>0.294201360196095</c:v>
                </c:pt>
                <c:pt idx="1078">
                  <c:v>0.29458885831514386</c:v>
                </c:pt>
                <c:pt idx="1079">
                  <c:v>0.2920942676065198</c:v>
                </c:pt>
                <c:pt idx="1080">
                  <c:v>0.29191555666302998</c:v>
                </c:pt>
                <c:pt idx="1081">
                  <c:v>0.2930037466988068</c:v>
                </c:pt>
                <c:pt idx="1082">
                  <c:v>0.29497176746148729</c:v>
                </c:pt>
                <c:pt idx="1083">
                  <c:v>0.29486529823668189</c:v>
                </c:pt>
                <c:pt idx="1084">
                  <c:v>0.29493827561897129</c:v>
                </c:pt>
                <c:pt idx="1085">
                  <c:v>0.2949081653636304</c:v>
                </c:pt>
                <c:pt idx="1086">
                  <c:v>0.29499509971209231</c:v>
                </c:pt>
                <c:pt idx="1087">
                  <c:v>0.29583603531796315</c:v>
                </c:pt>
                <c:pt idx="1088">
                  <c:v>0.29503477613052764</c:v>
                </c:pt>
                <c:pt idx="1089">
                  <c:v>0.29486012948988127</c:v>
                </c:pt>
                <c:pt idx="1090">
                  <c:v>0.29377790116240887</c:v>
                </c:pt>
                <c:pt idx="1091">
                  <c:v>0.29270338185459588</c:v>
                </c:pt>
                <c:pt idx="1092">
                  <c:v>0.29064435563940766</c:v>
                </c:pt>
                <c:pt idx="1093">
                  <c:v>0.29036047231535311</c:v>
                </c:pt>
                <c:pt idx="1094">
                  <c:v>0.28866893274120431</c:v>
                </c:pt>
                <c:pt idx="1095">
                  <c:v>0.28784885511466007</c:v>
                </c:pt>
                <c:pt idx="1096">
                  <c:v>0.28846939790635434</c:v>
                </c:pt>
                <c:pt idx="1097">
                  <c:v>0.28982997518090065</c:v>
                </c:pt>
                <c:pt idx="1098">
                  <c:v>0.28995018508188458</c:v>
                </c:pt>
                <c:pt idx="1099">
                  <c:v>0.28926184908575453</c:v>
                </c:pt>
                <c:pt idx="1100">
                  <c:v>0.28715333857397191</c:v>
                </c:pt>
                <c:pt idx="1101">
                  <c:v>0.28713386795547735</c:v>
                </c:pt>
                <c:pt idx="1102">
                  <c:v>0.28637522618913075</c:v>
                </c:pt>
                <c:pt idx="1103">
                  <c:v>0.28588719847450789</c:v>
                </c:pt>
                <c:pt idx="1104">
                  <c:v>0.28496686207979111</c:v>
                </c:pt>
                <c:pt idx="1105">
                  <c:v>0.28525180021180613</c:v>
                </c:pt>
                <c:pt idx="1106">
                  <c:v>0.28514081434232957</c:v>
                </c:pt>
                <c:pt idx="1107">
                  <c:v>0.28461852089203565</c:v>
                </c:pt>
                <c:pt idx="1108">
                  <c:v>0.28332467248005561</c:v>
                </c:pt>
                <c:pt idx="1109">
                  <c:v>0.28253867008680761</c:v>
                </c:pt>
                <c:pt idx="1110">
                  <c:v>0.28087414524166082</c:v>
                </c:pt>
                <c:pt idx="1111">
                  <c:v>0.28029439715028082</c:v>
                </c:pt>
                <c:pt idx="1112">
                  <c:v>0.27986726292747499</c:v>
                </c:pt>
                <c:pt idx="1113">
                  <c:v>0.27301112005306766</c:v>
                </c:pt>
                <c:pt idx="1114">
                  <c:v>0.27339025590596577</c:v>
                </c:pt>
                <c:pt idx="1115">
                  <c:v>0.2735671612132442</c:v>
                </c:pt>
                <c:pt idx="1116">
                  <c:v>0.26933735924424473</c:v>
                </c:pt>
                <c:pt idx="1117">
                  <c:v>0.26943608144102577</c:v>
                </c:pt>
                <c:pt idx="1118">
                  <c:v>0.27013668909669308</c:v>
                </c:pt>
                <c:pt idx="1119">
                  <c:v>0.2711639818258258</c:v>
                </c:pt>
                <c:pt idx="1120">
                  <c:v>0.27068891954693702</c:v>
                </c:pt>
                <c:pt idx="1121">
                  <c:v>0.27152980390283821</c:v>
                </c:pt>
                <c:pt idx="1122">
                  <c:v>0.26470497513255031</c:v>
                </c:pt>
                <c:pt idx="1123">
                  <c:v>0.26506149652669969</c:v>
                </c:pt>
                <c:pt idx="1124">
                  <c:v>0.26562366479461252</c:v>
                </c:pt>
                <c:pt idx="1125">
                  <c:v>0.26554152459016506</c:v>
                </c:pt>
                <c:pt idx="1126">
                  <c:v>0.26482696012814128</c:v>
                </c:pt>
                <c:pt idx="1127">
                  <c:v>0.2658487495195046</c:v>
                </c:pt>
                <c:pt idx="1128">
                  <c:v>0.26501302002475752</c:v>
                </c:pt>
                <c:pt idx="1129">
                  <c:v>0.26649398484444609</c:v>
                </c:pt>
                <c:pt idx="1130">
                  <c:v>0.26644402930202354</c:v>
                </c:pt>
                <c:pt idx="1131">
                  <c:v>0.26626452174628956</c:v>
                </c:pt>
                <c:pt idx="1132">
                  <c:v>0.26562466276932994</c:v>
                </c:pt>
                <c:pt idx="1133">
                  <c:v>0.2652977612776441</c:v>
                </c:pt>
                <c:pt idx="1134">
                  <c:v>0.26374844311987056</c:v>
                </c:pt>
                <c:pt idx="1135">
                  <c:v>0.26377489967507867</c:v>
                </c:pt>
                <c:pt idx="1136">
                  <c:v>0.26249164760700472</c:v>
                </c:pt>
                <c:pt idx="1137">
                  <c:v>0.26237338196216886</c:v>
                </c:pt>
                <c:pt idx="1138">
                  <c:v>0.26294458229356077</c:v>
                </c:pt>
                <c:pt idx="1139">
                  <c:v>0.26318100790000509</c:v>
                </c:pt>
                <c:pt idx="1140">
                  <c:v>0.26313498618715087</c:v>
                </c:pt>
                <c:pt idx="1141">
                  <c:v>0.26278975698603746</c:v>
                </c:pt>
                <c:pt idx="1142">
                  <c:v>0.26193500774668022</c:v>
                </c:pt>
                <c:pt idx="1143">
                  <c:v>0.26438310884566796</c:v>
                </c:pt>
                <c:pt idx="1144">
                  <c:v>0.26567070206315285</c:v>
                </c:pt>
                <c:pt idx="1145">
                  <c:v>0.26560384746134574</c:v>
                </c:pt>
                <c:pt idx="1146">
                  <c:v>0.26648503872105073</c:v>
                </c:pt>
                <c:pt idx="1147">
                  <c:v>0.26651084243388384</c:v>
                </c:pt>
                <c:pt idx="1148">
                  <c:v>0.26645470461124326</c:v>
                </c:pt>
                <c:pt idx="1149">
                  <c:v>0.26688411839988779</c:v>
                </c:pt>
                <c:pt idx="1150">
                  <c:v>0.26643335316572542</c:v>
                </c:pt>
                <c:pt idx="1151">
                  <c:v>0.2636714445326222</c:v>
                </c:pt>
                <c:pt idx="1152">
                  <c:v>0.26416657585283443</c:v>
                </c:pt>
                <c:pt idx="1153">
                  <c:v>0.26440571468737833</c:v>
                </c:pt>
                <c:pt idx="1154">
                  <c:v>0.26833270881472837</c:v>
                </c:pt>
                <c:pt idx="1155">
                  <c:v>0.26508693174380216</c:v>
                </c:pt>
                <c:pt idx="1156">
                  <c:v>0.26793590644042375</c:v>
                </c:pt>
                <c:pt idx="1157">
                  <c:v>0.26778328087556774</c:v>
                </c:pt>
                <c:pt idx="1158">
                  <c:v>0.26670395256914153</c:v>
                </c:pt>
                <c:pt idx="1159">
                  <c:v>0.26678050471948311</c:v>
                </c:pt>
                <c:pt idx="1160">
                  <c:v>0.26694499094025609</c:v>
                </c:pt>
                <c:pt idx="1161">
                  <c:v>0.26688535248378076</c:v>
                </c:pt>
                <c:pt idx="1162">
                  <c:v>0.2672966532383837</c:v>
                </c:pt>
                <c:pt idx="1163">
                  <c:v>0.26727531105520941</c:v>
                </c:pt>
                <c:pt idx="1164">
                  <c:v>0.26698204577524431</c:v>
                </c:pt>
                <c:pt idx="1165">
                  <c:v>0.26711790395919632</c:v>
                </c:pt>
                <c:pt idx="1166">
                  <c:v>0.2668812034093222</c:v>
                </c:pt>
                <c:pt idx="1167">
                  <c:v>0.26707581938219893</c:v>
                </c:pt>
                <c:pt idx="1168">
                  <c:v>0.26788347444638644</c:v>
                </c:pt>
                <c:pt idx="1169">
                  <c:v>0.2682619731901294</c:v>
                </c:pt>
                <c:pt idx="1170">
                  <c:v>0.26897617786696909</c:v>
                </c:pt>
                <c:pt idx="1171">
                  <c:v>0.26933474415764791</c:v>
                </c:pt>
                <c:pt idx="1172">
                  <c:v>0.2693034918676353</c:v>
                </c:pt>
                <c:pt idx="1173">
                  <c:v>0.26904915632715592</c:v>
                </c:pt>
                <c:pt idx="1174">
                  <c:v>0.26887196117374029</c:v>
                </c:pt>
                <c:pt idx="1175">
                  <c:v>0.26913305128317122</c:v>
                </c:pt>
                <c:pt idx="1176">
                  <c:v>0.26900270715010016</c:v>
                </c:pt>
                <c:pt idx="1177">
                  <c:v>0.26616497431476993</c:v>
                </c:pt>
                <c:pt idx="1178">
                  <c:v>0.26325399977890829</c:v>
                </c:pt>
                <c:pt idx="1179">
                  <c:v>0.26219273989191111</c:v>
                </c:pt>
                <c:pt idx="1180">
                  <c:v>0.26201283376365508</c:v>
                </c:pt>
                <c:pt idx="1181">
                  <c:v>0.26310136679172408</c:v>
                </c:pt>
                <c:pt idx="1182">
                  <c:v>0.26314686169961105</c:v>
                </c:pt>
                <c:pt idx="1183">
                  <c:v>0.26300822837473425</c:v>
                </c:pt>
                <c:pt idx="1184">
                  <c:v>0.26211453432358556</c:v>
                </c:pt>
                <c:pt idx="1185">
                  <c:v>0.26270068107914646</c:v>
                </c:pt>
                <c:pt idx="1186">
                  <c:v>0.26340217737248689</c:v>
                </c:pt>
                <c:pt idx="1187">
                  <c:v>0.26283417486327576</c:v>
                </c:pt>
                <c:pt idx="1188">
                  <c:v>0.26192551415401616</c:v>
                </c:pt>
                <c:pt idx="1189">
                  <c:v>0.26087742919839513</c:v>
                </c:pt>
                <c:pt idx="1190">
                  <c:v>0.26364988861791383</c:v>
                </c:pt>
                <c:pt idx="1191">
                  <c:v>0.26285994860752632</c:v>
                </c:pt>
                <c:pt idx="1192">
                  <c:v>0.25207726712809331</c:v>
                </c:pt>
                <c:pt idx="1193">
                  <c:v>0.24921832140318334</c:v>
                </c:pt>
                <c:pt idx="1194">
                  <c:v>0.24890940026711422</c:v>
                </c:pt>
                <c:pt idx="1195">
                  <c:v>0.24910093394904192</c:v>
                </c:pt>
                <c:pt idx="1196">
                  <c:v>0.24888634274374155</c:v>
                </c:pt>
                <c:pt idx="1197">
                  <c:v>0.24829644639116449</c:v>
                </c:pt>
                <c:pt idx="1198">
                  <c:v>0.2482975473862141</c:v>
                </c:pt>
                <c:pt idx="1199">
                  <c:v>0.24825094617761231</c:v>
                </c:pt>
                <c:pt idx="1200">
                  <c:v>0.24795623950822601</c:v>
                </c:pt>
                <c:pt idx="1201">
                  <c:v>0.25042268078234625</c:v>
                </c:pt>
                <c:pt idx="1202">
                  <c:v>0.24927521879245607</c:v>
                </c:pt>
                <c:pt idx="1203">
                  <c:v>0.249430275668934</c:v>
                </c:pt>
                <c:pt idx="1204">
                  <c:v>0.24871075735170442</c:v>
                </c:pt>
                <c:pt idx="1205">
                  <c:v>0.24917133521610302</c:v>
                </c:pt>
                <c:pt idx="1206">
                  <c:v>0.24897687652258804</c:v>
                </c:pt>
                <c:pt idx="1207">
                  <c:v>0.24448168772066958</c:v>
                </c:pt>
                <c:pt idx="1208">
                  <c:v>0.24373893285117343</c:v>
                </c:pt>
                <c:pt idx="1209">
                  <c:v>0.24113059369300363</c:v>
                </c:pt>
                <c:pt idx="1210">
                  <c:v>0.2403252426060897</c:v>
                </c:pt>
                <c:pt idx="1211">
                  <c:v>0.24005778317414248</c:v>
                </c:pt>
                <c:pt idx="1212">
                  <c:v>0.2393109422619642</c:v>
                </c:pt>
                <c:pt idx="1213">
                  <c:v>0.2378803041796472</c:v>
                </c:pt>
                <c:pt idx="1214">
                  <c:v>0.23757877538001709</c:v>
                </c:pt>
                <c:pt idx="1215">
                  <c:v>0.23565286659692211</c:v>
                </c:pt>
                <c:pt idx="1216">
                  <c:v>0.2351746888131038</c:v>
                </c:pt>
                <c:pt idx="1217">
                  <c:v>0.23524245858018297</c:v>
                </c:pt>
                <c:pt idx="1218">
                  <c:v>0.23399562763741619</c:v>
                </c:pt>
                <c:pt idx="1219">
                  <c:v>0.23392557136170891</c:v>
                </c:pt>
                <c:pt idx="1220">
                  <c:v>0.2338777487939932</c:v>
                </c:pt>
                <c:pt idx="1221">
                  <c:v>0.23432657498526452</c:v>
                </c:pt>
                <c:pt idx="1222">
                  <c:v>0.23430437658367104</c:v>
                </c:pt>
                <c:pt idx="1223">
                  <c:v>0.23402708831773364</c:v>
                </c:pt>
                <c:pt idx="1224">
                  <c:v>0.23364804394932043</c:v>
                </c:pt>
                <c:pt idx="1225">
                  <c:v>0.23197132941120929</c:v>
                </c:pt>
                <c:pt idx="1226">
                  <c:v>0.22595582936430175</c:v>
                </c:pt>
                <c:pt idx="1227">
                  <c:v>0.22124234872778079</c:v>
                </c:pt>
                <c:pt idx="1228">
                  <c:v>0.21735302680240182</c:v>
                </c:pt>
                <c:pt idx="1229">
                  <c:v>0.21844368447726276</c:v>
                </c:pt>
                <c:pt idx="1230">
                  <c:v>0.21275819274906285</c:v>
                </c:pt>
                <c:pt idx="1231">
                  <c:v>0.21342587362751358</c:v>
                </c:pt>
                <c:pt idx="1232">
                  <c:v>0.21439098754487998</c:v>
                </c:pt>
                <c:pt idx="1233">
                  <c:v>0.21427537965265595</c:v>
                </c:pt>
                <c:pt idx="1234">
                  <c:v>0.21384561100240349</c:v>
                </c:pt>
                <c:pt idx="1235">
                  <c:v>0.21404119916875658</c:v>
                </c:pt>
                <c:pt idx="1236">
                  <c:v>0.212869920283555</c:v>
                </c:pt>
                <c:pt idx="1237">
                  <c:v>0.21290823563396122</c:v>
                </c:pt>
                <c:pt idx="1238">
                  <c:v>0.21354600920268574</c:v>
                </c:pt>
                <c:pt idx="1239">
                  <c:v>0.21319629053357347</c:v>
                </c:pt>
                <c:pt idx="1240">
                  <c:v>0.21321234928269278</c:v>
                </c:pt>
                <c:pt idx="1241">
                  <c:v>0.21347474318480683</c:v>
                </c:pt>
                <c:pt idx="1242">
                  <c:v>0.21322185630510201</c:v>
                </c:pt>
                <c:pt idx="1243">
                  <c:v>0.21277022616276375</c:v>
                </c:pt>
                <c:pt idx="1244">
                  <c:v>0.21297632777118458</c:v>
                </c:pt>
                <c:pt idx="1245">
                  <c:v>0.21234936267276655</c:v>
                </c:pt>
                <c:pt idx="1246">
                  <c:v>0.21183815657934341</c:v>
                </c:pt>
                <c:pt idx="1247">
                  <c:v>0.21161626961205576</c:v>
                </c:pt>
                <c:pt idx="1248">
                  <c:v>0.21117030817095964</c:v>
                </c:pt>
                <c:pt idx="1249">
                  <c:v>0.20958561331855849</c:v>
                </c:pt>
                <c:pt idx="1250">
                  <c:v>0.20927152182542458</c:v>
                </c:pt>
                <c:pt idx="1251">
                  <c:v>0.20912816092199446</c:v>
                </c:pt>
                <c:pt idx="1252">
                  <c:v>0.20989847534703249</c:v>
                </c:pt>
                <c:pt idx="1253">
                  <c:v>0.20896071305343314</c:v>
                </c:pt>
                <c:pt idx="1254">
                  <c:v>0.20868737113431687</c:v>
                </c:pt>
                <c:pt idx="1255">
                  <c:v>0.2084720431395185</c:v>
                </c:pt>
                <c:pt idx="1256">
                  <c:v>0.20808027214865163</c:v>
                </c:pt>
                <c:pt idx="1257">
                  <c:v>0.20838906113080916</c:v>
                </c:pt>
                <c:pt idx="1258">
                  <c:v>0.2083485768201106</c:v>
                </c:pt>
                <c:pt idx="1259">
                  <c:v>0.2084668678875477</c:v>
                </c:pt>
                <c:pt idx="1260">
                  <c:v>0.20750645895265893</c:v>
                </c:pt>
                <c:pt idx="1261">
                  <c:v>0.20753846280507887</c:v>
                </c:pt>
                <c:pt idx="1262">
                  <c:v>0.20529722546582771</c:v>
                </c:pt>
                <c:pt idx="1263">
                  <c:v>0.20519610546732542</c:v>
                </c:pt>
                <c:pt idx="1264">
                  <c:v>0.20395640061674572</c:v>
                </c:pt>
                <c:pt idx="1265">
                  <c:v>0.20324712009203955</c:v>
                </c:pt>
                <c:pt idx="1266">
                  <c:v>0.20443107742514197</c:v>
                </c:pt>
                <c:pt idx="1267">
                  <c:v>0.20470394487919602</c:v>
                </c:pt>
                <c:pt idx="1268">
                  <c:v>0.19845723723368219</c:v>
                </c:pt>
                <c:pt idx="1269">
                  <c:v>0.19935960856171339</c:v>
                </c:pt>
                <c:pt idx="1270">
                  <c:v>0.19839714002955708</c:v>
                </c:pt>
                <c:pt idx="1271">
                  <c:v>0.19733025609768551</c:v>
                </c:pt>
                <c:pt idx="1272">
                  <c:v>0.19648859513157257</c:v>
                </c:pt>
                <c:pt idx="1273">
                  <c:v>0.19717773043105624</c:v>
                </c:pt>
                <c:pt idx="1274">
                  <c:v>0.1961276553669184</c:v>
                </c:pt>
                <c:pt idx="1275">
                  <c:v>0.19608520465446405</c:v>
                </c:pt>
                <c:pt idx="1276">
                  <c:v>0.1937275693786539</c:v>
                </c:pt>
                <c:pt idx="1277">
                  <c:v>0.19376012336740903</c:v>
                </c:pt>
                <c:pt idx="1278">
                  <c:v>0.19490882658378314</c:v>
                </c:pt>
                <c:pt idx="1279">
                  <c:v>0.1947207381663007</c:v>
                </c:pt>
                <c:pt idx="1280">
                  <c:v>0.1947999769574196</c:v>
                </c:pt>
                <c:pt idx="1281">
                  <c:v>0.1949724295810252</c:v>
                </c:pt>
                <c:pt idx="1282">
                  <c:v>0.1944635566097406</c:v>
                </c:pt>
                <c:pt idx="1283">
                  <c:v>0.1946375469566177</c:v>
                </c:pt>
                <c:pt idx="1284">
                  <c:v>0.19468673358107941</c:v>
                </c:pt>
                <c:pt idx="1285">
                  <c:v>0.19442897047022095</c:v>
                </c:pt>
                <c:pt idx="1286">
                  <c:v>0.19434475669579626</c:v>
                </c:pt>
                <c:pt idx="1287">
                  <c:v>0.19494683061493537</c:v>
                </c:pt>
                <c:pt idx="1288">
                  <c:v>0.19474633821351592</c:v>
                </c:pt>
                <c:pt idx="1289">
                  <c:v>0.19472494144374078</c:v>
                </c:pt>
                <c:pt idx="1290">
                  <c:v>0.19568642777475112</c:v>
                </c:pt>
                <c:pt idx="1291">
                  <c:v>0.19612636678999229</c:v>
                </c:pt>
                <c:pt idx="1292">
                  <c:v>0.19607790814738152</c:v>
                </c:pt>
                <c:pt idx="1293">
                  <c:v>0.19431316351972591</c:v>
                </c:pt>
                <c:pt idx="1294">
                  <c:v>0.1945694630496024</c:v>
                </c:pt>
                <c:pt idx="1295">
                  <c:v>0.19454656831866093</c:v>
                </c:pt>
                <c:pt idx="1296">
                  <c:v>0.19406441152077603</c:v>
                </c:pt>
                <c:pt idx="1297">
                  <c:v>0.19240719204176801</c:v>
                </c:pt>
                <c:pt idx="1298">
                  <c:v>0.19239004393387138</c:v>
                </c:pt>
                <c:pt idx="1299">
                  <c:v>0.19229857826938671</c:v>
                </c:pt>
                <c:pt idx="1300">
                  <c:v>0.19026269844574345</c:v>
                </c:pt>
                <c:pt idx="1301">
                  <c:v>0.19084799673671016</c:v>
                </c:pt>
                <c:pt idx="1302">
                  <c:v>0.19128266033149263</c:v>
                </c:pt>
                <c:pt idx="1303">
                  <c:v>0.19109539441863257</c:v>
                </c:pt>
                <c:pt idx="1304">
                  <c:v>0.19111816349331565</c:v>
                </c:pt>
                <c:pt idx="1305">
                  <c:v>0.19233292263277904</c:v>
                </c:pt>
                <c:pt idx="1306">
                  <c:v>0.19121025242585829</c:v>
                </c:pt>
                <c:pt idx="1307">
                  <c:v>0.19124445114922259</c:v>
                </c:pt>
                <c:pt idx="1308">
                  <c:v>0.19142969276091659</c:v>
                </c:pt>
                <c:pt idx="1309">
                  <c:v>0.19092615499833174</c:v>
                </c:pt>
                <c:pt idx="1310">
                  <c:v>0.19028725611910183</c:v>
                </c:pt>
                <c:pt idx="1311">
                  <c:v>0.1906882876143505</c:v>
                </c:pt>
                <c:pt idx="1312">
                  <c:v>0.19152649794916052</c:v>
                </c:pt>
                <c:pt idx="1313">
                  <c:v>0.19121262702981712</c:v>
                </c:pt>
                <c:pt idx="1314">
                  <c:v>0.19137351726533863</c:v>
                </c:pt>
                <c:pt idx="1315">
                  <c:v>0.19148055339219477</c:v>
                </c:pt>
                <c:pt idx="1316">
                  <c:v>0.19138066985443813</c:v>
                </c:pt>
                <c:pt idx="1317">
                  <c:v>0.19185100077835426</c:v>
                </c:pt>
                <c:pt idx="1318">
                  <c:v>0.19104500127749494</c:v>
                </c:pt>
                <c:pt idx="1319">
                  <c:v>0.19174494463716915</c:v>
                </c:pt>
                <c:pt idx="1320">
                  <c:v>0.19443612796528886</c:v>
                </c:pt>
                <c:pt idx="1321">
                  <c:v>0.19463880070346734</c:v>
                </c:pt>
                <c:pt idx="1322">
                  <c:v>0.19589891869411347</c:v>
                </c:pt>
                <c:pt idx="1323">
                  <c:v>0.19594384589846517</c:v>
                </c:pt>
                <c:pt idx="1324">
                  <c:v>0.19630535781386149</c:v>
                </c:pt>
                <c:pt idx="1325">
                  <c:v>0.19591484483708249</c:v>
                </c:pt>
                <c:pt idx="1326">
                  <c:v>0.19571616785800727</c:v>
                </c:pt>
                <c:pt idx="1327">
                  <c:v>0.19585211505790762</c:v>
                </c:pt>
                <c:pt idx="1328">
                  <c:v>0.19595519791997185</c:v>
                </c:pt>
                <c:pt idx="1329">
                  <c:v>0.19464737021680753</c:v>
                </c:pt>
                <c:pt idx="1330">
                  <c:v>0.19389397453037363</c:v>
                </c:pt>
                <c:pt idx="1331">
                  <c:v>0.19431605511634059</c:v>
                </c:pt>
                <c:pt idx="1332">
                  <c:v>0.19435102100775792</c:v>
                </c:pt>
                <c:pt idx="1333">
                  <c:v>0.19343978837658501</c:v>
                </c:pt>
                <c:pt idx="1334">
                  <c:v>0.19067272430824508</c:v>
                </c:pt>
                <c:pt idx="1335">
                  <c:v>0.19110907364554236</c:v>
                </c:pt>
                <c:pt idx="1336">
                  <c:v>0.19083738582033877</c:v>
                </c:pt>
                <c:pt idx="1337">
                  <c:v>0.19047523494589033</c:v>
                </c:pt>
                <c:pt idx="1338">
                  <c:v>0.18994176934411724</c:v>
                </c:pt>
                <c:pt idx="1339">
                  <c:v>0.18994315943974341</c:v>
                </c:pt>
                <c:pt idx="1340">
                  <c:v>0.18998604375862507</c:v>
                </c:pt>
                <c:pt idx="1341">
                  <c:v>0.19004140642650239</c:v>
                </c:pt>
                <c:pt idx="1342">
                  <c:v>0.19009588608751785</c:v>
                </c:pt>
                <c:pt idx="1343">
                  <c:v>0.19077654195123331</c:v>
                </c:pt>
                <c:pt idx="1344">
                  <c:v>0.19101488828901667</c:v>
                </c:pt>
                <c:pt idx="1345">
                  <c:v>0.19141709844627397</c:v>
                </c:pt>
                <c:pt idx="1346">
                  <c:v>0.19169697744421108</c:v>
                </c:pt>
                <c:pt idx="1347">
                  <c:v>0.19157002841648951</c:v>
                </c:pt>
                <c:pt idx="1348">
                  <c:v>0.19185381951405467</c:v>
                </c:pt>
                <c:pt idx="1349">
                  <c:v>0.19236667728393803</c:v>
                </c:pt>
                <c:pt idx="1350">
                  <c:v>0.19223307915702317</c:v>
                </c:pt>
                <c:pt idx="1351">
                  <c:v>0.1953107569798265</c:v>
                </c:pt>
                <c:pt idx="1352">
                  <c:v>0.19601577657334734</c:v>
                </c:pt>
                <c:pt idx="1353">
                  <c:v>0.19601860641277327</c:v>
                </c:pt>
                <c:pt idx="1354">
                  <c:v>0.19406268968140405</c:v>
                </c:pt>
                <c:pt idx="1355">
                  <c:v>0.18939167400988108</c:v>
                </c:pt>
                <c:pt idx="1356">
                  <c:v>0.19041276942018887</c:v>
                </c:pt>
                <c:pt idx="1357">
                  <c:v>0.190382092641807</c:v>
                </c:pt>
                <c:pt idx="1358">
                  <c:v>0.19036331105746324</c:v>
                </c:pt>
                <c:pt idx="1359">
                  <c:v>0.19042707109338142</c:v>
                </c:pt>
                <c:pt idx="1360">
                  <c:v>0.19036010229580011</c:v>
                </c:pt>
                <c:pt idx="1361">
                  <c:v>0.19032142174537547</c:v>
                </c:pt>
                <c:pt idx="1362">
                  <c:v>0.19035988810199039</c:v>
                </c:pt>
                <c:pt idx="1363">
                  <c:v>0.19033625190803644</c:v>
                </c:pt>
                <c:pt idx="1364">
                  <c:v>0.19033712452818813</c:v>
                </c:pt>
                <c:pt idx="1365">
                  <c:v>0.19042668276956215</c:v>
                </c:pt>
                <c:pt idx="1366">
                  <c:v>0.19026309985616613</c:v>
                </c:pt>
                <c:pt idx="1367">
                  <c:v>0.18758434319022238</c:v>
                </c:pt>
                <c:pt idx="1368">
                  <c:v>0.18689737556965214</c:v>
                </c:pt>
                <c:pt idx="1369">
                  <c:v>0.18685498528720376</c:v>
                </c:pt>
                <c:pt idx="1370">
                  <c:v>0.18614589696482012</c:v>
                </c:pt>
                <c:pt idx="1371">
                  <c:v>0.1850803162144144</c:v>
                </c:pt>
                <c:pt idx="1372">
                  <c:v>0.18564027325281424</c:v>
                </c:pt>
                <c:pt idx="1373">
                  <c:v>0.18515164473017012</c:v>
                </c:pt>
                <c:pt idx="1374">
                  <c:v>0.18391153645433331</c:v>
                </c:pt>
                <c:pt idx="1375">
                  <c:v>0.18364323467782184</c:v>
                </c:pt>
                <c:pt idx="1376">
                  <c:v>0.18290214343785521</c:v>
                </c:pt>
                <c:pt idx="1377">
                  <c:v>0.18286477771255819</c:v>
                </c:pt>
                <c:pt idx="1378">
                  <c:v>0.18163801433391608</c:v>
                </c:pt>
                <c:pt idx="1379">
                  <c:v>0.1801613803112041</c:v>
                </c:pt>
                <c:pt idx="1380">
                  <c:v>0.18006520298579162</c:v>
                </c:pt>
                <c:pt idx="1381">
                  <c:v>0.18061916544271972</c:v>
                </c:pt>
                <c:pt idx="1382">
                  <c:v>0.18059875239750509</c:v>
                </c:pt>
                <c:pt idx="1383">
                  <c:v>0.18038826822721632</c:v>
                </c:pt>
                <c:pt idx="1384">
                  <c:v>0.18028719933703802</c:v>
                </c:pt>
                <c:pt idx="1385">
                  <c:v>0.18025489123882674</c:v>
                </c:pt>
                <c:pt idx="1386">
                  <c:v>0.17961995201738026</c:v>
                </c:pt>
                <c:pt idx="1387">
                  <c:v>0.17939869893470839</c:v>
                </c:pt>
                <c:pt idx="1388">
                  <c:v>0.17877086057618335</c:v>
                </c:pt>
                <c:pt idx="1389">
                  <c:v>0.17873751127328222</c:v>
                </c:pt>
                <c:pt idx="1390">
                  <c:v>0.17812466008567721</c:v>
                </c:pt>
                <c:pt idx="1391">
                  <c:v>0.1782587084081737</c:v>
                </c:pt>
                <c:pt idx="1392">
                  <c:v>0.17826396871826292</c:v>
                </c:pt>
                <c:pt idx="1393">
                  <c:v>0.17832940268004271</c:v>
                </c:pt>
                <c:pt idx="1394">
                  <c:v>0.17894369192391432</c:v>
                </c:pt>
                <c:pt idx="1395">
                  <c:v>0.17876437365165992</c:v>
                </c:pt>
                <c:pt idx="1396">
                  <c:v>0.17837077438265017</c:v>
                </c:pt>
                <c:pt idx="1397">
                  <c:v>0.17854177251017581</c:v>
                </c:pt>
                <c:pt idx="1398">
                  <c:v>0.17767043016749695</c:v>
                </c:pt>
                <c:pt idx="1399">
                  <c:v>0.17801896078393697</c:v>
                </c:pt>
                <c:pt idx="1400">
                  <c:v>0.17777283693065948</c:v>
                </c:pt>
                <c:pt idx="1401">
                  <c:v>0.17770308083700878</c:v>
                </c:pt>
                <c:pt idx="1402">
                  <c:v>0.17765086107478353</c:v>
                </c:pt>
                <c:pt idx="1403">
                  <c:v>0.17846077564026205</c:v>
                </c:pt>
                <c:pt idx="1404">
                  <c:v>0.1780270644958252</c:v>
                </c:pt>
                <c:pt idx="1405">
                  <c:v>0.17810482783777729</c:v>
                </c:pt>
                <c:pt idx="1406">
                  <c:v>0.17405412383493296</c:v>
                </c:pt>
                <c:pt idx="1407">
                  <c:v>0.17183177968629187</c:v>
                </c:pt>
                <c:pt idx="1408">
                  <c:v>0.16590599776789278</c:v>
                </c:pt>
                <c:pt idx="1409">
                  <c:v>0.16581212376497351</c:v>
                </c:pt>
                <c:pt idx="1410">
                  <c:v>0.16631237963764084</c:v>
                </c:pt>
                <c:pt idx="1411">
                  <c:v>0.16666433003987943</c:v>
                </c:pt>
                <c:pt idx="1412">
                  <c:v>0.16661781888072547</c:v>
                </c:pt>
                <c:pt idx="1413">
                  <c:v>0.1666333473413375</c:v>
                </c:pt>
                <c:pt idx="1414">
                  <c:v>0.16602146950805752</c:v>
                </c:pt>
                <c:pt idx="1415">
                  <c:v>0.16613842776310947</c:v>
                </c:pt>
                <c:pt idx="1416">
                  <c:v>0.16582192152407818</c:v>
                </c:pt>
                <c:pt idx="1417">
                  <c:v>0.16582016147632125</c:v>
                </c:pt>
                <c:pt idx="1418">
                  <c:v>0.16579203314050436</c:v>
                </c:pt>
                <c:pt idx="1419">
                  <c:v>0.16585141390922201</c:v>
                </c:pt>
                <c:pt idx="1420">
                  <c:v>0.1642823461788824</c:v>
                </c:pt>
                <c:pt idx="1421">
                  <c:v>0.16424147379025358</c:v>
                </c:pt>
                <c:pt idx="1422">
                  <c:v>0.16420348570038742</c:v>
                </c:pt>
                <c:pt idx="1423">
                  <c:v>0.16484552437308153</c:v>
                </c:pt>
                <c:pt idx="1424">
                  <c:v>0.16483623377744203</c:v>
                </c:pt>
                <c:pt idx="1425">
                  <c:v>0.16577541398113305</c:v>
                </c:pt>
                <c:pt idx="1426">
                  <c:v>0.16635117143463343</c:v>
                </c:pt>
                <c:pt idx="1427">
                  <c:v>0.16575928969154341</c:v>
                </c:pt>
                <c:pt idx="1428">
                  <c:v>0.16576004603754446</c:v>
                </c:pt>
                <c:pt idx="1429">
                  <c:v>0.16978384207233213</c:v>
                </c:pt>
                <c:pt idx="1430">
                  <c:v>0.16854680419146634</c:v>
                </c:pt>
                <c:pt idx="1431">
                  <c:v>0.16952492006845654</c:v>
                </c:pt>
                <c:pt idx="1432">
                  <c:v>0.17326129752713523</c:v>
                </c:pt>
                <c:pt idx="1433">
                  <c:v>0.17516146415398773</c:v>
                </c:pt>
                <c:pt idx="1434">
                  <c:v>0.17499282567151725</c:v>
                </c:pt>
                <c:pt idx="1435">
                  <c:v>0.17558070100236414</c:v>
                </c:pt>
                <c:pt idx="1436">
                  <c:v>0.17553293341705548</c:v>
                </c:pt>
                <c:pt idx="1437">
                  <c:v>0.17567729094696491</c:v>
                </c:pt>
                <c:pt idx="1438">
                  <c:v>0.17566074993387279</c:v>
                </c:pt>
                <c:pt idx="1439">
                  <c:v>0.17541862567639979</c:v>
                </c:pt>
                <c:pt idx="1440">
                  <c:v>0.17566634950960536</c:v>
                </c:pt>
                <c:pt idx="1441">
                  <c:v>0.17586706921452561</c:v>
                </c:pt>
                <c:pt idx="1442">
                  <c:v>0.17574948876680135</c:v>
                </c:pt>
                <c:pt idx="1443">
                  <c:v>0.17557989504764682</c:v>
                </c:pt>
                <c:pt idx="1444">
                  <c:v>0.17953574764809593</c:v>
                </c:pt>
                <c:pt idx="1445">
                  <c:v>0.1825198656246631</c:v>
                </c:pt>
                <c:pt idx="1446">
                  <c:v>0.1808678264531054</c:v>
                </c:pt>
                <c:pt idx="1447">
                  <c:v>0.18044885894371251</c:v>
                </c:pt>
                <c:pt idx="1448">
                  <c:v>0.18082683218202081</c:v>
                </c:pt>
                <c:pt idx="1449">
                  <c:v>0.18104908925842808</c:v>
                </c:pt>
                <c:pt idx="1450">
                  <c:v>0.18061490512525821</c:v>
                </c:pt>
                <c:pt idx="1451">
                  <c:v>0.18044030266237424</c:v>
                </c:pt>
                <c:pt idx="1452">
                  <c:v>0.18051864482336333</c:v>
                </c:pt>
                <c:pt idx="1453">
                  <c:v>0.18058997440750468</c:v>
                </c:pt>
                <c:pt idx="1454">
                  <c:v>0.18127266134062517</c:v>
                </c:pt>
                <c:pt idx="1455">
                  <c:v>0.18119900666979052</c:v>
                </c:pt>
                <c:pt idx="1456">
                  <c:v>0.18084504472652679</c:v>
                </c:pt>
                <c:pt idx="1457">
                  <c:v>0.18031282383686623</c:v>
                </c:pt>
                <c:pt idx="1458">
                  <c:v>0.18091478250978155</c:v>
                </c:pt>
                <c:pt idx="1459">
                  <c:v>0.18319684222915997</c:v>
                </c:pt>
                <c:pt idx="1460">
                  <c:v>0.18378205305314807</c:v>
                </c:pt>
                <c:pt idx="1461">
                  <c:v>0.18621037485637237</c:v>
                </c:pt>
                <c:pt idx="1462">
                  <c:v>0.18770461815792577</c:v>
                </c:pt>
                <c:pt idx="1463">
                  <c:v>0.18804747771460986</c:v>
                </c:pt>
                <c:pt idx="1464">
                  <c:v>0.18710526948656944</c:v>
                </c:pt>
                <c:pt idx="1465">
                  <c:v>0.18775166322630424</c:v>
                </c:pt>
                <c:pt idx="1466">
                  <c:v>0.18779125055289056</c:v>
                </c:pt>
                <c:pt idx="1467">
                  <c:v>0.18817773146521369</c:v>
                </c:pt>
                <c:pt idx="1468">
                  <c:v>0.18830422383005679</c:v>
                </c:pt>
                <c:pt idx="1469">
                  <c:v>0.18820946515701475</c:v>
                </c:pt>
                <c:pt idx="1470">
                  <c:v>0.18915525495187893</c:v>
                </c:pt>
                <c:pt idx="1471">
                  <c:v>0.18894278901243958</c:v>
                </c:pt>
                <c:pt idx="1472">
                  <c:v>0.18901541790623655</c:v>
                </c:pt>
                <c:pt idx="1473">
                  <c:v>0.18763965453859235</c:v>
                </c:pt>
                <c:pt idx="1474">
                  <c:v>0.18765967954418653</c:v>
                </c:pt>
                <c:pt idx="1475">
                  <c:v>0.18712599670249563</c:v>
                </c:pt>
                <c:pt idx="1476">
                  <c:v>0.18656523934659341</c:v>
                </c:pt>
                <c:pt idx="1477">
                  <c:v>0.18644899326522016</c:v>
                </c:pt>
                <c:pt idx="1478">
                  <c:v>0.18828974992038225</c:v>
                </c:pt>
                <c:pt idx="1479">
                  <c:v>0.18822916814443086</c:v>
                </c:pt>
                <c:pt idx="1480">
                  <c:v>0.19079794903071248</c:v>
                </c:pt>
                <c:pt idx="1481">
                  <c:v>0.18863340793628011</c:v>
                </c:pt>
                <c:pt idx="1482">
                  <c:v>0.19514667975188321</c:v>
                </c:pt>
                <c:pt idx="1483">
                  <c:v>0.19407699284580862</c:v>
                </c:pt>
                <c:pt idx="1484">
                  <c:v>0.19256492345362311</c:v>
                </c:pt>
                <c:pt idx="1485">
                  <c:v>0.19256210123186848</c:v>
                </c:pt>
                <c:pt idx="1486">
                  <c:v>0.19220129429943977</c:v>
                </c:pt>
                <c:pt idx="1487">
                  <c:v>0.19226684727052426</c:v>
                </c:pt>
                <c:pt idx="1488">
                  <c:v>0.19238744855526918</c:v>
                </c:pt>
                <c:pt idx="1489">
                  <c:v>0.19219145016119746</c:v>
                </c:pt>
                <c:pt idx="1490">
                  <c:v>0.19135693546628513</c:v>
                </c:pt>
                <c:pt idx="1491">
                  <c:v>0.19128610723755876</c:v>
                </c:pt>
                <c:pt idx="1492">
                  <c:v>0.19065062725472959</c:v>
                </c:pt>
                <c:pt idx="1493">
                  <c:v>0.1904775144486863</c:v>
                </c:pt>
                <c:pt idx="1494">
                  <c:v>0.19077179102692507</c:v>
                </c:pt>
                <c:pt idx="1495">
                  <c:v>0.19091158983918416</c:v>
                </c:pt>
                <c:pt idx="1496">
                  <c:v>0.19082164603277615</c:v>
                </c:pt>
                <c:pt idx="1497">
                  <c:v>0.19132863950469772</c:v>
                </c:pt>
                <c:pt idx="1498">
                  <c:v>0.19132868812443329</c:v>
                </c:pt>
                <c:pt idx="1499">
                  <c:v>0.19143226694432927</c:v>
                </c:pt>
                <c:pt idx="1500">
                  <c:v>0.1902718937581945</c:v>
                </c:pt>
                <c:pt idx="1501">
                  <c:v>0.18993816145008366</c:v>
                </c:pt>
                <c:pt idx="1502">
                  <c:v>0.19007168124314849</c:v>
                </c:pt>
                <c:pt idx="1503">
                  <c:v>0.18984822877570168</c:v>
                </c:pt>
                <c:pt idx="1504">
                  <c:v>0.1884766435143001</c:v>
                </c:pt>
                <c:pt idx="1505">
                  <c:v>0.18889605900454742</c:v>
                </c:pt>
                <c:pt idx="1506">
                  <c:v>0.18788326816905201</c:v>
                </c:pt>
                <c:pt idx="1507">
                  <c:v>0.18766471045666028</c:v>
                </c:pt>
                <c:pt idx="1508">
                  <c:v>0.18827227925106016</c:v>
                </c:pt>
                <c:pt idx="1509">
                  <c:v>0.18832523772318574</c:v>
                </c:pt>
                <c:pt idx="1510">
                  <c:v>0.18835330366281192</c:v>
                </c:pt>
                <c:pt idx="1511">
                  <c:v>0.18784424208409428</c:v>
                </c:pt>
                <c:pt idx="1512">
                  <c:v>0.18767306902316475</c:v>
                </c:pt>
                <c:pt idx="1513">
                  <c:v>0.18739800302775778</c:v>
                </c:pt>
                <c:pt idx="1514">
                  <c:v>0.18757165387025609</c:v>
                </c:pt>
                <c:pt idx="1515">
                  <c:v>0.18961166750441494</c:v>
                </c:pt>
                <c:pt idx="1516">
                  <c:v>0.19064020918908761</c:v>
                </c:pt>
                <c:pt idx="1517">
                  <c:v>0.1909671948467791</c:v>
                </c:pt>
                <c:pt idx="1518">
                  <c:v>0.18946365394082107</c:v>
                </c:pt>
                <c:pt idx="1519">
                  <c:v>0.18889524271254376</c:v>
                </c:pt>
                <c:pt idx="1520">
                  <c:v>0.19002260720767059</c:v>
                </c:pt>
                <c:pt idx="1521">
                  <c:v>0.18862398634060701</c:v>
                </c:pt>
                <c:pt idx="1522">
                  <c:v>0.18829472919717222</c:v>
                </c:pt>
                <c:pt idx="1523">
                  <c:v>0.18813756968711107</c:v>
                </c:pt>
                <c:pt idx="1524">
                  <c:v>0.18811753705018897</c:v>
                </c:pt>
                <c:pt idx="1525">
                  <c:v>0.18949345605005408</c:v>
                </c:pt>
                <c:pt idx="1526">
                  <c:v>0.19063357716897242</c:v>
                </c:pt>
                <c:pt idx="1527">
                  <c:v>0.18840269628646522</c:v>
                </c:pt>
                <c:pt idx="1528">
                  <c:v>0.19011475458766552</c:v>
                </c:pt>
                <c:pt idx="1529">
                  <c:v>0.19109281892992494</c:v>
                </c:pt>
                <c:pt idx="1530">
                  <c:v>0.19051714345126755</c:v>
                </c:pt>
                <c:pt idx="1531">
                  <c:v>0.19000779771088475</c:v>
                </c:pt>
                <c:pt idx="1532">
                  <c:v>0.19007149878385646</c:v>
                </c:pt>
                <c:pt idx="1533">
                  <c:v>0.19009498792528184</c:v>
                </c:pt>
                <c:pt idx="1534">
                  <c:v>0.19006963436429777</c:v>
                </c:pt>
                <c:pt idx="1535">
                  <c:v>0.18954356640348727</c:v>
                </c:pt>
                <c:pt idx="1536">
                  <c:v>0.18876931936159955</c:v>
                </c:pt>
                <c:pt idx="1537">
                  <c:v>0.18875536731813963</c:v>
                </c:pt>
                <c:pt idx="1538">
                  <c:v>0.18844369253176285</c:v>
                </c:pt>
                <c:pt idx="1539">
                  <c:v>0.18807907845568514</c:v>
                </c:pt>
                <c:pt idx="1540">
                  <c:v>0.18859377945606509</c:v>
                </c:pt>
                <c:pt idx="1541">
                  <c:v>0.18859124377016168</c:v>
                </c:pt>
                <c:pt idx="1542">
                  <c:v>0.18527809983641863</c:v>
                </c:pt>
                <c:pt idx="1543">
                  <c:v>0.17516112557263225</c:v>
                </c:pt>
                <c:pt idx="1544">
                  <c:v>0.17234833135928465</c:v>
                </c:pt>
                <c:pt idx="1545">
                  <c:v>0.17366740298190619</c:v>
                </c:pt>
                <c:pt idx="1546">
                  <c:v>0.17326401357726995</c:v>
                </c:pt>
                <c:pt idx="1547">
                  <c:v>0.17219604968367833</c:v>
                </c:pt>
                <c:pt idx="1548">
                  <c:v>0.17240888848061156</c:v>
                </c:pt>
                <c:pt idx="1549">
                  <c:v>0.17228048247460878</c:v>
                </c:pt>
                <c:pt idx="1550">
                  <c:v>0.17228279777072059</c:v>
                </c:pt>
                <c:pt idx="1551">
                  <c:v>0.17189577336578424</c:v>
                </c:pt>
                <c:pt idx="1552">
                  <c:v>0.17191247850997696</c:v>
                </c:pt>
                <c:pt idx="1553">
                  <c:v>0.17300903410989671</c:v>
                </c:pt>
                <c:pt idx="1554">
                  <c:v>0.17279310190769881</c:v>
                </c:pt>
                <c:pt idx="1555">
                  <c:v>0.17318193139132299</c:v>
                </c:pt>
                <c:pt idx="1556">
                  <c:v>0.17494718229826767</c:v>
                </c:pt>
                <c:pt idx="1557">
                  <c:v>0.17380311495588122</c:v>
                </c:pt>
                <c:pt idx="1558">
                  <c:v>0.17407226474433973</c:v>
                </c:pt>
                <c:pt idx="1559">
                  <c:v>0.17438103539607083</c:v>
                </c:pt>
                <c:pt idx="1560">
                  <c:v>0.17572604814316198</c:v>
                </c:pt>
                <c:pt idx="1561">
                  <c:v>0.17612802415822346</c:v>
                </c:pt>
                <c:pt idx="1562">
                  <c:v>0.17758475782887198</c:v>
                </c:pt>
                <c:pt idx="1563">
                  <c:v>0.17776092290529133</c:v>
                </c:pt>
                <c:pt idx="1564">
                  <c:v>0.17705521881237959</c:v>
                </c:pt>
                <c:pt idx="1565">
                  <c:v>0.1775052159463627</c:v>
                </c:pt>
                <c:pt idx="1566">
                  <c:v>0.17748231090044403</c:v>
                </c:pt>
                <c:pt idx="1567">
                  <c:v>0.17712312759062299</c:v>
                </c:pt>
                <c:pt idx="1568">
                  <c:v>0.17774825555674123</c:v>
                </c:pt>
                <c:pt idx="1569">
                  <c:v>0.1765937857939279</c:v>
                </c:pt>
                <c:pt idx="1570">
                  <c:v>0.17677595872090754</c:v>
                </c:pt>
                <c:pt idx="1571">
                  <c:v>0.17596686502791845</c:v>
                </c:pt>
                <c:pt idx="1572">
                  <c:v>0.17265123628471588</c:v>
                </c:pt>
                <c:pt idx="1573">
                  <c:v>0.17266921858682563</c:v>
                </c:pt>
                <c:pt idx="1574">
                  <c:v>0.1725889110454758</c:v>
                </c:pt>
                <c:pt idx="1575">
                  <c:v>0.17258669169244339</c:v>
                </c:pt>
                <c:pt idx="1576">
                  <c:v>0.17216222462712599</c:v>
                </c:pt>
                <c:pt idx="1577">
                  <c:v>0.1722219126784432</c:v>
                </c:pt>
                <c:pt idx="1578">
                  <c:v>0.17248642996340405</c:v>
                </c:pt>
                <c:pt idx="1579">
                  <c:v>0.17219589678348121</c:v>
                </c:pt>
                <c:pt idx="1580">
                  <c:v>0.17173538996386445</c:v>
                </c:pt>
                <c:pt idx="1581">
                  <c:v>0.17080285559902558</c:v>
                </c:pt>
                <c:pt idx="1582">
                  <c:v>0.17034189486662848</c:v>
                </c:pt>
                <c:pt idx="1583">
                  <c:v>0.17052707755819665</c:v>
                </c:pt>
                <c:pt idx="1584">
                  <c:v>0.17090072980424034</c:v>
                </c:pt>
                <c:pt idx="1585">
                  <c:v>0.17125474772233001</c:v>
                </c:pt>
                <c:pt idx="1586">
                  <c:v>0.17131482464018644</c:v>
                </c:pt>
                <c:pt idx="1587">
                  <c:v>0.17027555864836172</c:v>
                </c:pt>
                <c:pt idx="1588">
                  <c:v>0.170583409546574</c:v>
                </c:pt>
                <c:pt idx="1589">
                  <c:v>0.17015506543995129</c:v>
                </c:pt>
                <c:pt idx="1590">
                  <c:v>0.17135678883821162</c:v>
                </c:pt>
                <c:pt idx="1591">
                  <c:v>0.17088558212168994</c:v>
                </c:pt>
                <c:pt idx="1592">
                  <c:v>0.16999351298843618</c:v>
                </c:pt>
                <c:pt idx="1593">
                  <c:v>0.16968881149243237</c:v>
                </c:pt>
                <c:pt idx="1594">
                  <c:v>0.17071057946037199</c:v>
                </c:pt>
                <c:pt idx="1595">
                  <c:v>0.17042913472047141</c:v>
                </c:pt>
                <c:pt idx="1596">
                  <c:v>0.17063163489040392</c:v>
                </c:pt>
                <c:pt idx="1597">
                  <c:v>0.17045596339796013</c:v>
                </c:pt>
                <c:pt idx="1598">
                  <c:v>0.17261482826056296</c:v>
                </c:pt>
                <c:pt idx="1599">
                  <c:v>0.17318619317689446</c:v>
                </c:pt>
                <c:pt idx="1600">
                  <c:v>0.17464234084341904</c:v>
                </c:pt>
                <c:pt idx="1601">
                  <c:v>0.17737442184737545</c:v>
                </c:pt>
                <c:pt idx="1602">
                  <c:v>0.17902261400805833</c:v>
                </c:pt>
                <c:pt idx="1603">
                  <c:v>0.17955247890094808</c:v>
                </c:pt>
                <c:pt idx="1604">
                  <c:v>0.18265128045620305</c:v>
                </c:pt>
                <c:pt idx="1605">
                  <c:v>0.18384788651383188</c:v>
                </c:pt>
                <c:pt idx="1606">
                  <c:v>0.1901120209131239</c:v>
                </c:pt>
                <c:pt idx="1607">
                  <c:v>0.19606314481118706</c:v>
                </c:pt>
                <c:pt idx="1608">
                  <c:v>0.19606064618498759</c:v>
                </c:pt>
                <c:pt idx="1609">
                  <c:v>0.19402633916578185</c:v>
                </c:pt>
                <c:pt idx="1610">
                  <c:v>0.19531315881138589</c:v>
                </c:pt>
                <c:pt idx="1611">
                  <c:v>0.19589353183099817</c:v>
                </c:pt>
                <c:pt idx="1612">
                  <c:v>0.19651512018041842</c:v>
                </c:pt>
                <c:pt idx="1613">
                  <c:v>0.19659919062338874</c:v>
                </c:pt>
                <c:pt idx="1614">
                  <c:v>0.19672227489441116</c:v>
                </c:pt>
                <c:pt idx="1615">
                  <c:v>0.19790255582761931</c:v>
                </c:pt>
                <c:pt idx="1616">
                  <c:v>0.19801075748389446</c:v>
                </c:pt>
                <c:pt idx="1617">
                  <c:v>0.19746296116229298</c:v>
                </c:pt>
                <c:pt idx="1618">
                  <c:v>0.19729853825031482</c:v>
                </c:pt>
                <c:pt idx="1619">
                  <c:v>0.19769570504372408</c:v>
                </c:pt>
                <c:pt idx="1620">
                  <c:v>0.19749432310271806</c:v>
                </c:pt>
                <c:pt idx="1621">
                  <c:v>0.19746115138219156</c:v>
                </c:pt>
                <c:pt idx="1622">
                  <c:v>0.19786201111069701</c:v>
                </c:pt>
                <c:pt idx="1623">
                  <c:v>0.19748550772384971</c:v>
                </c:pt>
                <c:pt idx="1624">
                  <c:v>0.19780612217517177</c:v>
                </c:pt>
                <c:pt idx="1625">
                  <c:v>0.19799759588040888</c:v>
                </c:pt>
                <c:pt idx="1626">
                  <c:v>0.19807665980580955</c:v>
                </c:pt>
                <c:pt idx="1627">
                  <c:v>0.19885161732906653</c:v>
                </c:pt>
                <c:pt idx="1628">
                  <c:v>0.19906635731790503</c:v>
                </c:pt>
                <c:pt idx="1629">
                  <c:v>0.19874954586969198</c:v>
                </c:pt>
                <c:pt idx="1630">
                  <c:v>0.19992668481066761</c:v>
                </c:pt>
                <c:pt idx="1631">
                  <c:v>0.19994854208627114</c:v>
                </c:pt>
                <c:pt idx="1632">
                  <c:v>0.19992590972378232</c:v>
                </c:pt>
                <c:pt idx="1633">
                  <c:v>0.198873742852687</c:v>
                </c:pt>
                <c:pt idx="1634">
                  <c:v>0.19867818189902545</c:v>
                </c:pt>
                <c:pt idx="1635">
                  <c:v>0.19888351196077902</c:v>
                </c:pt>
                <c:pt idx="1636">
                  <c:v>0.19890520383331242</c:v>
                </c:pt>
                <c:pt idx="1637">
                  <c:v>0.1978411227750804</c:v>
                </c:pt>
                <c:pt idx="1638">
                  <c:v>0.199118278147285</c:v>
                </c:pt>
                <c:pt idx="1639">
                  <c:v>0.20142662470825157</c:v>
                </c:pt>
                <c:pt idx="1640">
                  <c:v>0.2011447550224772</c:v>
                </c:pt>
                <c:pt idx="1641">
                  <c:v>0.20123531677898066</c:v>
                </c:pt>
                <c:pt idx="1642">
                  <c:v>0.20083442411732658</c:v>
                </c:pt>
                <c:pt idx="1643">
                  <c:v>0.19924144012504008</c:v>
                </c:pt>
                <c:pt idx="1644">
                  <c:v>0.19872729970000474</c:v>
                </c:pt>
                <c:pt idx="1645">
                  <c:v>0.20037032508604066</c:v>
                </c:pt>
                <c:pt idx="1646">
                  <c:v>0.20180265215389329</c:v>
                </c:pt>
                <c:pt idx="1647">
                  <c:v>0.20183752297431909</c:v>
                </c:pt>
                <c:pt idx="1648">
                  <c:v>0.20179698626845091</c:v>
                </c:pt>
                <c:pt idx="1649">
                  <c:v>0.20142080529872269</c:v>
                </c:pt>
                <c:pt idx="1650">
                  <c:v>0.20592038898058224</c:v>
                </c:pt>
                <c:pt idx="1651">
                  <c:v>0.20573251754570326</c:v>
                </c:pt>
                <c:pt idx="1652">
                  <c:v>0.20572686260904169</c:v>
                </c:pt>
                <c:pt idx="1653">
                  <c:v>0.20514988596690134</c:v>
                </c:pt>
                <c:pt idx="1654">
                  <c:v>0.20472928522418943</c:v>
                </c:pt>
                <c:pt idx="1655">
                  <c:v>0.20394974085781623</c:v>
                </c:pt>
                <c:pt idx="1656">
                  <c:v>0.20389077999165758</c:v>
                </c:pt>
                <c:pt idx="1657">
                  <c:v>0.20374869024396577</c:v>
                </c:pt>
                <c:pt idx="1658">
                  <c:v>0.20430265008011581</c:v>
                </c:pt>
                <c:pt idx="1659">
                  <c:v>0.20444456856835788</c:v>
                </c:pt>
                <c:pt idx="1660">
                  <c:v>0.2028207073586894</c:v>
                </c:pt>
                <c:pt idx="1661">
                  <c:v>0.20403853602244335</c:v>
                </c:pt>
                <c:pt idx="1662">
                  <c:v>0.20381359095079235</c:v>
                </c:pt>
                <c:pt idx="1663">
                  <c:v>0.20436921562958804</c:v>
                </c:pt>
                <c:pt idx="1664">
                  <c:v>0.20575893787847888</c:v>
                </c:pt>
                <c:pt idx="1665">
                  <c:v>0.20646902967310063</c:v>
                </c:pt>
                <c:pt idx="1666">
                  <c:v>0.20646587562388696</c:v>
                </c:pt>
                <c:pt idx="1667">
                  <c:v>0.20665893845652011</c:v>
                </c:pt>
                <c:pt idx="1668">
                  <c:v>0.20686334575283624</c:v>
                </c:pt>
                <c:pt idx="1669">
                  <c:v>0.20733654871212312</c:v>
                </c:pt>
                <c:pt idx="1670">
                  <c:v>0.20700074062643031</c:v>
                </c:pt>
                <c:pt idx="1671">
                  <c:v>0.20654958703594947</c:v>
                </c:pt>
                <c:pt idx="1672">
                  <c:v>0.20777381854622443</c:v>
                </c:pt>
                <c:pt idx="1673">
                  <c:v>0.20736309991207225</c:v>
                </c:pt>
                <c:pt idx="1674">
                  <c:v>0.20772759852132155</c:v>
                </c:pt>
                <c:pt idx="1675">
                  <c:v>0.21033048814082839</c:v>
                </c:pt>
                <c:pt idx="1676">
                  <c:v>0.20983155241741933</c:v>
                </c:pt>
                <c:pt idx="1677">
                  <c:v>0.21411985425650218</c:v>
                </c:pt>
                <c:pt idx="1678">
                  <c:v>0.21575494779500637</c:v>
                </c:pt>
                <c:pt idx="1679">
                  <c:v>0.21725909863074419</c:v>
                </c:pt>
                <c:pt idx="1680">
                  <c:v>0.21772892391432805</c:v>
                </c:pt>
                <c:pt idx="1681">
                  <c:v>0.21519718060783538</c:v>
                </c:pt>
                <c:pt idx="1682">
                  <c:v>0.21822815966592762</c:v>
                </c:pt>
                <c:pt idx="1683">
                  <c:v>0.21796835547251095</c:v>
                </c:pt>
                <c:pt idx="1684">
                  <c:v>0.2153696695144916</c:v>
                </c:pt>
                <c:pt idx="1685">
                  <c:v>0.21413487046044705</c:v>
                </c:pt>
                <c:pt idx="1686">
                  <c:v>0.2145143918628383</c:v>
                </c:pt>
                <c:pt idx="1687">
                  <c:v>0.21396594967557875</c:v>
                </c:pt>
                <c:pt idx="1688">
                  <c:v>0.21425542202277217</c:v>
                </c:pt>
                <c:pt idx="1689">
                  <c:v>0.21432957541685138</c:v>
                </c:pt>
                <c:pt idx="1690">
                  <c:v>0.21420643507302392</c:v>
                </c:pt>
                <c:pt idx="1691">
                  <c:v>0.21449110624574305</c:v>
                </c:pt>
                <c:pt idx="1692">
                  <c:v>0.21444855782923228</c:v>
                </c:pt>
                <c:pt idx="1693">
                  <c:v>0.21468737939104446</c:v>
                </c:pt>
                <c:pt idx="1694">
                  <c:v>0.21468822224836445</c:v>
                </c:pt>
                <c:pt idx="1695">
                  <c:v>0.21563229410594056</c:v>
                </c:pt>
                <c:pt idx="1696">
                  <c:v>0.21588278642599035</c:v>
                </c:pt>
                <c:pt idx="1697">
                  <c:v>0.21556891037795342</c:v>
                </c:pt>
                <c:pt idx="1698">
                  <c:v>0.21556863014697303</c:v>
                </c:pt>
                <c:pt idx="1699">
                  <c:v>0.21579811703178581</c:v>
                </c:pt>
                <c:pt idx="1700">
                  <c:v>0.21599146431822658</c:v>
                </c:pt>
                <c:pt idx="1701">
                  <c:v>0.21606484811839133</c:v>
                </c:pt>
                <c:pt idx="1702">
                  <c:v>0.216180979136747</c:v>
                </c:pt>
                <c:pt idx="1703">
                  <c:v>0.21642675487317525</c:v>
                </c:pt>
                <c:pt idx="1704">
                  <c:v>0.2164842289197747</c:v>
                </c:pt>
                <c:pt idx="1705">
                  <c:v>0.21718013908893607</c:v>
                </c:pt>
                <c:pt idx="1706">
                  <c:v>0.21724617898243292</c:v>
                </c:pt>
                <c:pt idx="1707">
                  <c:v>0.21825829376595107</c:v>
                </c:pt>
                <c:pt idx="1708">
                  <c:v>0.21950183945721383</c:v>
                </c:pt>
                <c:pt idx="1709">
                  <c:v>0.22043132012674013</c:v>
                </c:pt>
                <c:pt idx="1710">
                  <c:v>0.22033688878054966</c:v>
                </c:pt>
                <c:pt idx="1711">
                  <c:v>0.21961276457811216</c:v>
                </c:pt>
                <c:pt idx="1712">
                  <c:v>0.21974180529237219</c:v>
                </c:pt>
                <c:pt idx="1713">
                  <c:v>0.21892363172642409</c:v>
                </c:pt>
                <c:pt idx="1714">
                  <c:v>0.21881515378657651</c:v>
                </c:pt>
                <c:pt idx="1715">
                  <c:v>0.21878610376841467</c:v>
                </c:pt>
                <c:pt idx="1716">
                  <c:v>0.21910046613192491</c:v>
                </c:pt>
                <c:pt idx="1717">
                  <c:v>0.21897813428774665</c:v>
                </c:pt>
                <c:pt idx="1718">
                  <c:v>0.21858960756428417</c:v>
                </c:pt>
                <c:pt idx="1719">
                  <c:v>0.21843992030504009</c:v>
                </c:pt>
                <c:pt idx="1720">
                  <c:v>0.21821170955544641</c:v>
                </c:pt>
                <c:pt idx="1721">
                  <c:v>0.21798270093392605</c:v>
                </c:pt>
                <c:pt idx="1722">
                  <c:v>0.21789128782185033</c:v>
                </c:pt>
                <c:pt idx="1723">
                  <c:v>0.21806764565579065</c:v>
                </c:pt>
                <c:pt idx="1724">
                  <c:v>0.21806050974852448</c:v>
                </c:pt>
                <c:pt idx="1725">
                  <c:v>0.21846426526875506</c:v>
                </c:pt>
                <c:pt idx="1726">
                  <c:v>0.21862192493614152</c:v>
                </c:pt>
                <c:pt idx="1727">
                  <c:v>0.21964450119891576</c:v>
                </c:pt>
                <c:pt idx="1728">
                  <c:v>0.22021929977073201</c:v>
                </c:pt>
                <c:pt idx="1729">
                  <c:v>0.22030234614412306</c:v>
                </c:pt>
                <c:pt idx="1730">
                  <c:v>0.22047477579978678</c:v>
                </c:pt>
                <c:pt idx="1731">
                  <c:v>0.22049257870202885</c:v>
                </c:pt>
                <c:pt idx="1732">
                  <c:v>0.22051144420948737</c:v>
                </c:pt>
                <c:pt idx="1733">
                  <c:v>0.22123010443892246</c:v>
                </c:pt>
                <c:pt idx="1734">
                  <c:v>0.22124930117461022</c:v>
                </c:pt>
                <c:pt idx="1735">
                  <c:v>0.22110728231487611</c:v>
                </c:pt>
                <c:pt idx="1736">
                  <c:v>0.2210926963172459</c:v>
                </c:pt>
                <c:pt idx="1737">
                  <c:v>0.22105471773887106</c:v>
                </c:pt>
                <c:pt idx="1738">
                  <c:v>0.22126117530942005</c:v>
                </c:pt>
                <c:pt idx="1739">
                  <c:v>0.22159224815451856</c:v>
                </c:pt>
                <c:pt idx="1740">
                  <c:v>0.22188166598175441</c:v>
                </c:pt>
                <c:pt idx="1741">
                  <c:v>0.22123145721987225</c:v>
                </c:pt>
                <c:pt idx="1742">
                  <c:v>0.22067136136854282</c:v>
                </c:pt>
                <c:pt idx="1743">
                  <c:v>0.22091792291930229</c:v>
                </c:pt>
                <c:pt idx="1744">
                  <c:v>0.22079196950336916</c:v>
                </c:pt>
                <c:pt idx="1745">
                  <c:v>0.2205815287177629</c:v>
                </c:pt>
                <c:pt idx="1746">
                  <c:v>0.22049686746515737</c:v>
                </c:pt>
                <c:pt idx="1747">
                  <c:v>0.21789602788228032</c:v>
                </c:pt>
                <c:pt idx="1748">
                  <c:v>0.21780813783183722</c:v>
                </c:pt>
                <c:pt idx="1749">
                  <c:v>0.217950251142499</c:v>
                </c:pt>
                <c:pt idx="1750">
                  <c:v>0.217998744045032</c:v>
                </c:pt>
                <c:pt idx="1751">
                  <c:v>0.2173453995227202</c:v>
                </c:pt>
                <c:pt idx="1752">
                  <c:v>0.2182883842776874</c:v>
                </c:pt>
                <c:pt idx="1753">
                  <c:v>0.21791995713662016</c:v>
                </c:pt>
                <c:pt idx="1754">
                  <c:v>0.21786201713991277</c:v>
                </c:pt>
                <c:pt idx="1755">
                  <c:v>0.2180315630525434</c:v>
                </c:pt>
                <c:pt idx="1756">
                  <c:v>0.21895084035792789</c:v>
                </c:pt>
                <c:pt idx="1757">
                  <c:v>0.21893186513162338</c:v>
                </c:pt>
                <c:pt idx="1758">
                  <c:v>0.21665999318528642</c:v>
                </c:pt>
                <c:pt idx="1759">
                  <c:v>0.21660551843208195</c:v>
                </c:pt>
                <c:pt idx="1760">
                  <c:v>0.21654468015256245</c:v>
                </c:pt>
                <c:pt idx="1761">
                  <c:v>0.21644107122060699</c:v>
                </c:pt>
                <c:pt idx="1762">
                  <c:v>0.21655968091155692</c:v>
                </c:pt>
                <c:pt idx="1763">
                  <c:v>0.21672540116706615</c:v>
                </c:pt>
                <c:pt idx="1764">
                  <c:v>0.21697274084057813</c:v>
                </c:pt>
                <c:pt idx="1765">
                  <c:v>0.21724132522322706</c:v>
                </c:pt>
                <c:pt idx="1766">
                  <c:v>0.21687044003834041</c:v>
                </c:pt>
                <c:pt idx="1767">
                  <c:v>0.21545953998037426</c:v>
                </c:pt>
                <c:pt idx="1768">
                  <c:v>0.21502514753956398</c:v>
                </c:pt>
                <c:pt idx="1769">
                  <c:v>0.21536641714199523</c:v>
                </c:pt>
                <c:pt idx="1770">
                  <c:v>0.2154556638469716</c:v>
                </c:pt>
                <c:pt idx="1771">
                  <c:v>0.21490001762459165</c:v>
                </c:pt>
                <c:pt idx="1772">
                  <c:v>0.2143373424083877</c:v>
                </c:pt>
                <c:pt idx="1773">
                  <c:v>0.21465767043976833</c:v>
                </c:pt>
                <c:pt idx="1774">
                  <c:v>0.21474293053983051</c:v>
                </c:pt>
                <c:pt idx="1775">
                  <c:v>0.21479000107682114</c:v>
                </c:pt>
                <c:pt idx="1776">
                  <c:v>0.21478480910578163</c:v>
                </c:pt>
                <c:pt idx="1777">
                  <c:v>0.21525754296088387</c:v>
                </c:pt>
                <c:pt idx="1778">
                  <c:v>0.21523912925099636</c:v>
                </c:pt>
                <c:pt idx="1779">
                  <c:v>0.21538725281577545</c:v>
                </c:pt>
                <c:pt idx="1780">
                  <c:v>0.21470859848803009</c:v>
                </c:pt>
                <c:pt idx="1781">
                  <c:v>0.21472613327196674</c:v>
                </c:pt>
                <c:pt idx="1782">
                  <c:v>0.21379012359863156</c:v>
                </c:pt>
                <c:pt idx="1783">
                  <c:v>0.21396112839448994</c:v>
                </c:pt>
                <c:pt idx="1784">
                  <c:v>0.21567264617555379</c:v>
                </c:pt>
                <c:pt idx="1785">
                  <c:v>0.21622299405049517</c:v>
                </c:pt>
                <c:pt idx="1786">
                  <c:v>0.21635851110622206</c:v>
                </c:pt>
                <c:pt idx="1787">
                  <c:v>0.21689473345280813</c:v>
                </c:pt>
                <c:pt idx="1788">
                  <c:v>0.21712782292719593</c:v>
                </c:pt>
                <c:pt idx="1789">
                  <c:v>0.21718196454005104</c:v>
                </c:pt>
                <c:pt idx="1790">
                  <c:v>0.21752515195574615</c:v>
                </c:pt>
                <c:pt idx="1791">
                  <c:v>0.21933697780731118</c:v>
                </c:pt>
                <c:pt idx="1792">
                  <c:v>0.21874587249569097</c:v>
                </c:pt>
                <c:pt idx="1793">
                  <c:v>0.21878700560535913</c:v>
                </c:pt>
                <c:pt idx="1794">
                  <c:v>0.22004429748844015</c:v>
                </c:pt>
                <c:pt idx="1795">
                  <c:v>0.22792569190298151</c:v>
                </c:pt>
                <c:pt idx="1796">
                  <c:v>0.23055811530647213</c:v>
                </c:pt>
                <c:pt idx="1797">
                  <c:v>0.23081473781413903</c:v>
                </c:pt>
                <c:pt idx="1798">
                  <c:v>0.23100806441116523</c:v>
                </c:pt>
                <c:pt idx="1799">
                  <c:v>0.23176465698184506</c:v>
                </c:pt>
                <c:pt idx="1800">
                  <c:v>0.231436331836295</c:v>
                </c:pt>
                <c:pt idx="1801">
                  <c:v>0.23018492629891324</c:v>
                </c:pt>
                <c:pt idx="1802">
                  <c:v>0.22918439232565618</c:v>
                </c:pt>
                <c:pt idx="1803">
                  <c:v>0.22880155770275584</c:v>
                </c:pt>
                <c:pt idx="1804">
                  <c:v>0.22871074259709978</c:v>
                </c:pt>
                <c:pt idx="1805">
                  <c:v>0.23034335134245446</c:v>
                </c:pt>
                <c:pt idx="1806">
                  <c:v>0.22974960078733381</c:v>
                </c:pt>
                <c:pt idx="1807">
                  <c:v>0.22977369529156913</c:v>
                </c:pt>
                <c:pt idx="1808">
                  <c:v>0.22874203488691608</c:v>
                </c:pt>
                <c:pt idx="1809">
                  <c:v>0.22833045663408585</c:v>
                </c:pt>
                <c:pt idx="1810">
                  <c:v>0.22820641798924371</c:v>
                </c:pt>
                <c:pt idx="1811">
                  <c:v>0.22723290168248247</c:v>
                </c:pt>
                <c:pt idx="1812">
                  <c:v>0.22602648344094839</c:v>
                </c:pt>
                <c:pt idx="1813">
                  <c:v>0.22604018576964421</c:v>
                </c:pt>
                <c:pt idx="1814">
                  <c:v>0.22566648192737296</c:v>
                </c:pt>
                <c:pt idx="1815">
                  <c:v>0.22509044204956197</c:v>
                </c:pt>
                <c:pt idx="1816">
                  <c:v>0.22554054268011162</c:v>
                </c:pt>
                <c:pt idx="1817">
                  <c:v>0.22513029489766451</c:v>
                </c:pt>
                <c:pt idx="1818">
                  <c:v>0.22441155589984305</c:v>
                </c:pt>
                <c:pt idx="1819">
                  <c:v>0.22181461457444784</c:v>
                </c:pt>
                <c:pt idx="1820">
                  <c:v>0.20988356250161286</c:v>
                </c:pt>
                <c:pt idx="1821">
                  <c:v>0.21460361306213144</c:v>
                </c:pt>
                <c:pt idx="1822">
                  <c:v>0.21227839489840009</c:v>
                </c:pt>
                <c:pt idx="1823">
                  <c:v>0.21194699709470891</c:v>
                </c:pt>
                <c:pt idx="1824">
                  <c:v>0.20831269401982305</c:v>
                </c:pt>
                <c:pt idx="1825">
                  <c:v>0.20824815467329447</c:v>
                </c:pt>
                <c:pt idx="1826">
                  <c:v>0.20954777632046126</c:v>
                </c:pt>
                <c:pt idx="1827">
                  <c:v>0.21222493126087127</c:v>
                </c:pt>
                <c:pt idx="1828">
                  <c:v>0.21265516628265005</c:v>
                </c:pt>
                <c:pt idx="1829">
                  <c:v>0.21260404409137978</c:v>
                </c:pt>
                <c:pt idx="1830">
                  <c:v>0.21321146441894551</c:v>
                </c:pt>
                <c:pt idx="1831">
                  <c:v>0.21489434133557289</c:v>
                </c:pt>
                <c:pt idx="1832">
                  <c:v>0.21517725386936518</c:v>
                </c:pt>
                <c:pt idx="1833">
                  <c:v>0.21553554978020342</c:v>
                </c:pt>
                <c:pt idx="1834">
                  <c:v>0.21544986566067342</c:v>
                </c:pt>
                <c:pt idx="1835">
                  <c:v>0.2151452027399389</c:v>
                </c:pt>
                <c:pt idx="1836">
                  <c:v>0.21690027464133019</c:v>
                </c:pt>
                <c:pt idx="1837">
                  <c:v>0.21839881473333678</c:v>
                </c:pt>
                <c:pt idx="1838">
                  <c:v>0.21822116907689598</c:v>
                </c:pt>
                <c:pt idx="1839">
                  <c:v>0.21915770633038023</c:v>
                </c:pt>
                <c:pt idx="1840">
                  <c:v>0.21991665025622142</c:v>
                </c:pt>
                <c:pt idx="1841">
                  <c:v>0.22155864972627889</c:v>
                </c:pt>
                <c:pt idx="1842">
                  <c:v>0.22147013823671965</c:v>
                </c:pt>
                <c:pt idx="1843">
                  <c:v>0.22227266288594208</c:v>
                </c:pt>
                <c:pt idx="1844">
                  <c:v>0.2236349216495121</c:v>
                </c:pt>
                <c:pt idx="1845">
                  <c:v>0.22329057420944473</c:v>
                </c:pt>
                <c:pt idx="1846">
                  <c:v>0.22272306910336492</c:v>
                </c:pt>
                <c:pt idx="1847">
                  <c:v>0.22237455263674277</c:v>
                </c:pt>
                <c:pt idx="1848">
                  <c:v>0.22220123854002957</c:v>
                </c:pt>
                <c:pt idx="1849">
                  <c:v>0.22275205411913232</c:v>
                </c:pt>
                <c:pt idx="1850">
                  <c:v>0.22251110700639654</c:v>
                </c:pt>
                <c:pt idx="1851">
                  <c:v>0.22230269825014501</c:v>
                </c:pt>
                <c:pt idx="1852">
                  <c:v>0.22189560844374351</c:v>
                </c:pt>
                <c:pt idx="1853">
                  <c:v>0.22008840041584715</c:v>
                </c:pt>
                <c:pt idx="1854">
                  <c:v>0.22025522940898284</c:v>
                </c:pt>
                <c:pt idx="1855">
                  <c:v>0.2192407064168094</c:v>
                </c:pt>
                <c:pt idx="1856">
                  <c:v>0.21885218058210376</c:v>
                </c:pt>
                <c:pt idx="1857">
                  <c:v>0.21834773747416006</c:v>
                </c:pt>
                <c:pt idx="1858">
                  <c:v>0.21769608150709427</c:v>
                </c:pt>
                <c:pt idx="1859">
                  <c:v>0.21675882745080335</c:v>
                </c:pt>
                <c:pt idx="1860">
                  <c:v>0.21629558311920516</c:v>
                </c:pt>
                <c:pt idx="1861">
                  <c:v>0.2186125829192116</c:v>
                </c:pt>
                <c:pt idx="1862">
                  <c:v>0.21862595326372344</c:v>
                </c:pt>
                <c:pt idx="1863">
                  <c:v>0.22124035810902273</c:v>
                </c:pt>
                <c:pt idx="1864">
                  <c:v>0.22088298313300192</c:v>
                </c:pt>
                <c:pt idx="1865">
                  <c:v>0.22095057393800868</c:v>
                </c:pt>
                <c:pt idx="1866">
                  <c:v>0.22084011651920446</c:v>
                </c:pt>
                <c:pt idx="1867">
                  <c:v>0.22009170472122208</c:v>
                </c:pt>
                <c:pt idx="1868">
                  <c:v>0.2201507716756172</c:v>
                </c:pt>
                <c:pt idx="1869">
                  <c:v>0.22064193255487299</c:v>
                </c:pt>
                <c:pt idx="1870">
                  <c:v>0.22127207522236586</c:v>
                </c:pt>
                <c:pt idx="1871">
                  <c:v>0.22140100600044782</c:v>
                </c:pt>
                <c:pt idx="1872">
                  <c:v>0.22157660723041359</c:v>
                </c:pt>
                <c:pt idx="1873">
                  <c:v>0.22178059243408643</c:v>
                </c:pt>
                <c:pt idx="1874">
                  <c:v>0.22151522987746475</c:v>
                </c:pt>
                <c:pt idx="1875">
                  <c:v>0.22140022381108418</c:v>
                </c:pt>
                <c:pt idx="1876">
                  <c:v>0.22086292235950414</c:v>
                </c:pt>
                <c:pt idx="1877">
                  <c:v>0.22107548835100493</c:v>
                </c:pt>
                <c:pt idx="1878">
                  <c:v>0.22249689378453388</c:v>
                </c:pt>
                <c:pt idx="1879">
                  <c:v>0.22322070304729061</c:v>
                </c:pt>
                <c:pt idx="1880">
                  <c:v>0.22525156300478202</c:v>
                </c:pt>
                <c:pt idx="1881">
                  <c:v>0.22569973946420677</c:v>
                </c:pt>
                <c:pt idx="1882">
                  <c:v>0.22540924560302611</c:v>
                </c:pt>
                <c:pt idx="1883">
                  <c:v>0.22545577316209811</c:v>
                </c:pt>
                <c:pt idx="1884">
                  <c:v>0.22489530689227136</c:v>
                </c:pt>
                <c:pt idx="1885">
                  <c:v>0.22513585195125074</c:v>
                </c:pt>
                <c:pt idx="1886">
                  <c:v>0.22534465201290754</c:v>
                </c:pt>
                <c:pt idx="1887">
                  <c:v>0.22551581754410668</c:v>
                </c:pt>
                <c:pt idx="1888">
                  <c:v>0.22548527661526474</c:v>
                </c:pt>
                <c:pt idx="1889">
                  <c:v>0.225417133529244</c:v>
                </c:pt>
                <c:pt idx="1890">
                  <c:v>0.22516732551734603</c:v>
                </c:pt>
                <c:pt idx="1891">
                  <c:v>0.22393562270146522</c:v>
                </c:pt>
                <c:pt idx="1892">
                  <c:v>0.22428519026583271</c:v>
                </c:pt>
                <c:pt idx="1893">
                  <c:v>0.22354822507836059</c:v>
                </c:pt>
                <c:pt idx="1894">
                  <c:v>0.22348335420470641</c:v>
                </c:pt>
                <c:pt idx="1895">
                  <c:v>0.22509674841235891</c:v>
                </c:pt>
                <c:pt idx="1896">
                  <c:v>0.22507165329013165</c:v>
                </c:pt>
                <c:pt idx="1897">
                  <c:v>0.22455730577870148</c:v>
                </c:pt>
                <c:pt idx="1898">
                  <c:v>0.22597246629899648</c:v>
                </c:pt>
                <c:pt idx="1899">
                  <c:v>0.22667731967245208</c:v>
                </c:pt>
                <c:pt idx="1900">
                  <c:v>0.22794829986997753</c:v>
                </c:pt>
                <c:pt idx="1901">
                  <c:v>0.2267871991593309</c:v>
                </c:pt>
                <c:pt idx="1902">
                  <c:v>0.22476836678242937</c:v>
                </c:pt>
                <c:pt idx="1903">
                  <c:v>0.22552807146226464</c:v>
                </c:pt>
                <c:pt idx="1904">
                  <c:v>0.22641470239939909</c:v>
                </c:pt>
                <c:pt idx="1905">
                  <c:v>0.22698304085387214</c:v>
                </c:pt>
                <c:pt idx="1906">
                  <c:v>0.22650508563848831</c:v>
                </c:pt>
                <c:pt idx="1907">
                  <c:v>0.22676381212494243</c:v>
                </c:pt>
                <c:pt idx="1908">
                  <c:v>0.22538128802054924</c:v>
                </c:pt>
                <c:pt idx="1909">
                  <c:v>0.2255135172304959</c:v>
                </c:pt>
                <c:pt idx="1910">
                  <c:v>0.22600591542227325</c:v>
                </c:pt>
                <c:pt idx="1911">
                  <c:v>0.22613293022028824</c:v>
                </c:pt>
                <c:pt idx="1912">
                  <c:v>0.22682264547070996</c:v>
                </c:pt>
                <c:pt idx="1913">
                  <c:v>0.22616784747979346</c:v>
                </c:pt>
                <c:pt idx="1914">
                  <c:v>0.22646686654116444</c:v>
                </c:pt>
                <c:pt idx="1915">
                  <c:v>0.22700627356987443</c:v>
                </c:pt>
                <c:pt idx="1916">
                  <c:v>0.2270334264405445</c:v>
                </c:pt>
                <c:pt idx="1917">
                  <c:v>0.22591492448663922</c:v>
                </c:pt>
                <c:pt idx="1918">
                  <c:v>0.22708970695122277</c:v>
                </c:pt>
                <c:pt idx="1919">
                  <c:v>0.22958912015277577</c:v>
                </c:pt>
                <c:pt idx="1920">
                  <c:v>0.23015128969742085</c:v>
                </c:pt>
                <c:pt idx="1921">
                  <c:v>0.23186732478068334</c:v>
                </c:pt>
                <c:pt idx="1922">
                  <c:v>0.23215821416907623</c:v>
                </c:pt>
                <c:pt idx="1923">
                  <c:v>0.2326388806400089</c:v>
                </c:pt>
                <c:pt idx="1924">
                  <c:v>0.23181847491217666</c:v>
                </c:pt>
                <c:pt idx="1925">
                  <c:v>0.23378927347156833</c:v>
                </c:pt>
                <c:pt idx="1926">
                  <c:v>0.23414888878720128</c:v>
                </c:pt>
                <c:pt idx="1927">
                  <c:v>0.23422108337571704</c:v>
                </c:pt>
                <c:pt idx="1928">
                  <c:v>0.23501327318177284</c:v>
                </c:pt>
                <c:pt idx="1929">
                  <c:v>0.2319324061447875</c:v>
                </c:pt>
                <c:pt idx="1930">
                  <c:v>0.23127571791946105</c:v>
                </c:pt>
                <c:pt idx="1931">
                  <c:v>0.23029290503474681</c:v>
                </c:pt>
                <c:pt idx="1932">
                  <c:v>0.23090825783634203</c:v>
                </c:pt>
                <c:pt idx="1933">
                  <c:v>0.23178771748535429</c:v>
                </c:pt>
                <c:pt idx="1934">
                  <c:v>0.23147215214801406</c:v>
                </c:pt>
                <c:pt idx="1935">
                  <c:v>0.23149347430292885</c:v>
                </c:pt>
                <c:pt idx="1936">
                  <c:v>0.23116076983109973</c:v>
                </c:pt>
                <c:pt idx="1937">
                  <c:v>0.23124627290330813</c:v>
                </c:pt>
                <c:pt idx="1938">
                  <c:v>0.23099035941208304</c:v>
                </c:pt>
                <c:pt idx="1939">
                  <c:v>0.23192019845646558</c:v>
                </c:pt>
                <c:pt idx="1940">
                  <c:v>0.23071075372735478</c:v>
                </c:pt>
                <c:pt idx="1941">
                  <c:v>0.23100906576054678</c:v>
                </c:pt>
                <c:pt idx="1942">
                  <c:v>0.23151483436259929</c:v>
                </c:pt>
                <c:pt idx="1943">
                  <c:v>0.23131881866339013</c:v>
                </c:pt>
                <c:pt idx="1944">
                  <c:v>0.23133461825120469</c:v>
                </c:pt>
                <c:pt idx="1945">
                  <c:v>0.23176680600902447</c:v>
                </c:pt>
                <c:pt idx="1946">
                  <c:v>0.23208183939934027</c:v>
                </c:pt>
                <c:pt idx="1947">
                  <c:v>0.2315702985442149</c:v>
                </c:pt>
                <c:pt idx="1948">
                  <c:v>0.23138078064439707</c:v>
                </c:pt>
                <c:pt idx="1949">
                  <c:v>0.23142419600720257</c:v>
                </c:pt>
                <c:pt idx="1950">
                  <c:v>0.23161951560276378</c:v>
                </c:pt>
                <c:pt idx="1951">
                  <c:v>0.23314755048481237</c:v>
                </c:pt>
                <c:pt idx="1952">
                  <c:v>0.23319400548039512</c:v>
                </c:pt>
                <c:pt idx="1953">
                  <c:v>0.23359578504487075</c:v>
                </c:pt>
                <c:pt idx="1954">
                  <c:v>0.23360734654210402</c:v>
                </c:pt>
                <c:pt idx="1955">
                  <c:v>0.23343049999783472</c:v>
                </c:pt>
                <c:pt idx="1956">
                  <c:v>0.23376667018427463</c:v>
                </c:pt>
                <c:pt idx="1957">
                  <c:v>0.23347246097084684</c:v>
                </c:pt>
                <c:pt idx="1958">
                  <c:v>0.23343626867356623</c:v>
                </c:pt>
                <c:pt idx="1959">
                  <c:v>0.23287932320824095</c:v>
                </c:pt>
                <c:pt idx="1960">
                  <c:v>0.23256641133934236</c:v>
                </c:pt>
                <c:pt idx="1961">
                  <c:v>0.23242698299871917</c:v>
                </c:pt>
                <c:pt idx="1962">
                  <c:v>0.23187768624939648</c:v>
                </c:pt>
                <c:pt idx="1963">
                  <c:v>0.23271124255132514</c:v>
                </c:pt>
                <c:pt idx="1964">
                  <c:v>0.23258499884641304</c:v>
                </c:pt>
                <c:pt idx="1965">
                  <c:v>0.23332968443480215</c:v>
                </c:pt>
                <c:pt idx="1966">
                  <c:v>0.23334535849318513</c:v>
                </c:pt>
                <c:pt idx="1967">
                  <c:v>0.23385928145552498</c:v>
                </c:pt>
                <c:pt idx="1968">
                  <c:v>0.23455855610826459</c:v>
                </c:pt>
                <c:pt idx="1969">
                  <c:v>0.23441089520963804</c:v>
                </c:pt>
                <c:pt idx="1970">
                  <c:v>0.23517821028596114</c:v>
                </c:pt>
                <c:pt idx="1971">
                  <c:v>0.23536074684854902</c:v>
                </c:pt>
                <c:pt idx="1972">
                  <c:v>0.2353007466984261</c:v>
                </c:pt>
                <c:pt idx="1973">
                  <c:v>0.23543712331752772</c:v>
                </c:pt>
                <c:pt idx="1974">
                  <c:v>0.23545369672291477</c:v>
                </c:pt>
                <c:pt idx="1975">
                  <c:v>0.23586645717598484</c:v>
                </c:pt>
                <c:pt idx="1976">
                  <c:v>0.23617778330981562</c:v>
                </c:pt>
                <c:pt idx="1977">
                  <c:v>0.23789330810144491</c:v>
                </c:pt>
                <c:pt idx="1978">
                  <c:v>0.23765366814310127</c:v>
                </c:pt>
                <c:pt idx="1979">
                  <c:v>0.2373593001513134</c:v>
                </c:pt>
                <c:pt idx="1980">
                  <c:v>0.23743537659100758</c:v>
                </c:pt>
                <c:pt idx="1981">
                  <c:v>0.23770511329850916</c:v>
                </c:pt>
                <c:pt idx="1982">
                  <c:v>0.23798280991986553</c:v>
                </c:pt>
                <c:pt idx="1983">
                  <c:v>0.23801010986703136</c:v>
                </c:pt>
                <c:pt idx="1984">
                  <c:v>0.23867117922120926</c:v>
                </c:pt>
                <c:pt idx="1985">
                  <c:v>0.23855856884682883</c:v>
                </c:pt>
                <c:pt idx="1986">
                  <c:v>0.2385709784591761</c:v>
                </c:pt>
                <c:pt idx="1987">
                  <c:v>0.23901943849998114</c:v>
                </c:pt>
                <c:pt idx="1988">
                  <c:v>0.23906218425012729</c:v>
                </c:pt>
                <c:pt idx="1989">
                  <c:v>0.23877725521974924</c:v>
                </c:pt>
                <c:pt idx="1990">
                  <c:v>0.23893305337385182</c:v>
                </c:pt>
                <c:pt idx="1991">
                  <c:v>0.23876786103398889</c:v>
                </c:pt>
                <c:pt idx="1992">
                  <c:v>0.23880666547327556</c:v>
                </c:pt>
                <c:pt idx="1993">
                  <c:v>0.23957382329384377</c:v>
                </c:pt>
                <c:pt idx="1994">
                  <c:v>0.24026243308794681</c:v>
                </c:pt>
                <c:pt idx="1995">
                  <c:v>0.2406141010851405</c:v>
                </c:pt>
                <c:pt idx="1996">
                  <c:v>0.24116584713779352</c:v>
                </c:pt>
                <c:pt idx="1997">
                  <c:v>0.24138618872598122</c:v>
                </c:pt>
                <c:pt idx="1998">
                  <c:v>0.24140002521970103</c:v>
                </c:pt>
                <c:pt idx="1999">
                  <c:v>0.24363614048543522</c:v>
                </c:pt>
                <c:pt idx="2000">
                  <c:v>0.24407254407575918</c:v>
                </c:pt>
                <c:pt idx="2001">
                  <c:v>0.24435023275862164</c:v>
                </c:pt>
                <c:pt idx="2002">
                  <c:v>0.24440253473729323</c:v>
                </c:pt>
                <c:pt idx="2003">
                  <c:v>0.24511533578795022</c:v>
                </c:pt>
                <c:pt idx="2004">
                  <c:v>0.2453047310188862</c:v>
                </c:pt>
                <c:pt idx="2005">
                  <c:v>0.24610937720165851</c:v>
                </c:pt>
                <c:pt idx="2006">
                  <c:v>0.2461616324415184</c:v>
                </c:pt>
                <c:pt idx="2007">
                  <c:v>0.24606248795765165</c:v>
                </c:pt>
              </c:numCache>
            </c:numRef>
          </c:val>
          <c:smooth val="0"/>
          <c:extLst xmlns:c16r2="http://schemas.microsoft.com/office/drawing/2015/06/chart">
            <c:ext xmlns:c16="http://schemas.microsoft.com/office/drawing/2014/chart" uri="{C3380CC4-5D6E-409C-BE32-E72D297353CC}">
              <c16:uniqueId val="{00000004-2ABA-46E5-85D6-2306B79F7B0A}"/>
            </c:ext>
          </c:extLst>
        </c:ser>
        <c:dLbls>
          <c:showLegendKey val="0"/>
          <c:showVal val="0"/>
          <c:showCatName val="0"/>
          <c:showSerName val="0"/>
          <c:showPercent val="0"/>
          <c:showBubbleSize val="0"/>
        </c:dLbls>
        <c:marker val="1"/>
        <c:smooth val="0"/>
        <c:axId val="554177664"/>
        <c:axId val="554179200"/>
      </c:lineChart>
      <c:dateAx>
        <c:axId val="554177664"/>
        <c:scaling>
          <c:orientation val="minMax"/>
        </c:scaling>
        <c:delete val="0"/>
        <c:axPos val="b"/>
        <c:numFmt formatCode="m/d/yyyy" sourceLinked="1"/>
        <c:majorTickMark val="none"/>
        <c:minorTickMark val="none"/>
        <c:tickLblPos val="nextTo"/>
        <c:crossAx val="554179200"/>
        <c:crosses val="autoZero"/>
        <c:auto val="1"/>
        <c:lblOffset val="100"/>
        <c:baseTimeUnit val="days"/>
      </c:dateAx>
      <c:valAx>
        <c:axId val="554179200"/>
        <c:scaling>
          <c:orientation val="minMax"/>
        </c:scaling>
        <c:delete val="0"/>
        <c:axPos val="l"/>
        <c:majorGridlines/>
        <c:numFmt formatCode="0.00%" sourceLinked="1"/>
        <c:majorTickMark val="none"/>
        <c:minorTickMark val="none"/>
        <c:tickLblPos val="nextTo"/>
        <c:spPr>
          <a:ln w="9525">
            <a:noFill/>
          </a:ln>
        </c:spPr>
        <c:crossAx val="554177664"/>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dirty="0"/>
              <a:t>VIX futures</a:t>
            </a:r>
            <a:r>
              <a:rPr lang="en-US" sz="1200" baseline="0" dirty="0"/>
              <a:t> daily volume (Million USD)</a:t>
            </a:r>
            <a:endParaRPr lang="en-US" sz="1200" dirty="0"/>
          </a:p>
        </c:rich>
      </c:tx>
      <c:layout/>
      <c:overlay val="0"/>
    </c:title>
    <c:autoTitleDeleted val="0"/>
    <c:plotArea>
      <c:layout/>
      <c:lineChart>
        <c:grouping val="standard"/>
        <c:varyColors val="0"/>
        <c:ser>
          <c:idx val="0"/>
          <c:order val="0"/>
          <c:tx>
            <c:strRef>
              <c:f>'Vix futures volumes'!$AJ$4</c:f>
              <c:strCache>
                <c:ptCount val="1"/>
                <c:pt idx="0">
                  <c:v>1st Nearby future</c:v>
                </c:pt>
              </c:strCache>
            </c:strRef>
          </c:tx>
          <c:marker>
            <c:symbol val="none"/>
          </c:marker>
          <c:cat>
            <c:numRef>
              <c:f>'Vix futures volumes'!$AI$5:$AI$2330</c:f>
              <c:numCache>
                <c:formatCode>m/d/yyyy</c:formatCode>
                <c:ptCount val="2326"/>
                <c:pt idx="0">
                  <c:v>39085</c:v>
                </c:pt>
                <c:pt idx="1">
                  <c:v>39086</c:v>
                </c:pt>
                <c:pt idx="2">
                  <c:v>39087</c:v>
                </c:pt>
                <c:pt idx="3">
                  <c:v>39090</c:v>
                </c:pt>
                <c:pt idx="4">
                  <c:v>39091</c:v>
                </c:pt>
                <c:pt idx="5">
                  <c:v>39092</c:v>
                </c:pt>
                <c:pt idx="6">
                  <c:v>39093</c:v>
                </c:pt>
                <c:pt idx="7">
                  <c:v>39094</c:v>
                </c:pt>
                <c:pt idx="8">
                  <c:v>39098</c:v>
                </c:pt>
                <c:pt idx="9">
                  <c:v>39099</c:v>
                </c:pt>
                <c:pt idx="10">
                  <c:v>39100</c:v>
                </c:pt>
                <c:pt idx="11">
                  <c:v>39101</c:v>
                </c:pt>
                <c:pt idx="12">
                  <c:v>39105</c:v>
                </c:pt>
                <c:pt idx="13">
                  <c:v>39106</c:v>
                </c:pt>
                <c:pt idx="14">
                  <c:v>39107</c:v>
                </c:pt>
                <c:pt idx="15">
                  <c:v>39114</c:v>
                </c:pt>
                <c:pt idx="16">
                  <c:v>39119</c:v>
                </c:pt>
                <c:pt idx="17">
                  <c:v>39121</c:v>
                </c:pt>
                <c:pt idx="18">
                  <c:v>39122</c:v>
                </c:pt>
                <c:pt idx="19">
                  <c:v>39125</c:v>
                </c:pt>
                <c:pt idx="20">
                  <c:v>39127</c:v>
                </c:pt>
                <c:pt idx="21">
                  <c:v>39128</c:v>
                </c:pt>
                <c:pt idx="22">
                  <c:v>39133</c:v>
                </c:pt>
                <c:pt idx="23">
                  <c:v>39134</c:v>
                </c:pt>
                <c:pt idx="24">
                  <c:v>39135</c:v>
                </c:pt>
                <c:pt idx="25">
                  <c:v>39136</c:v>
                </c:pt>
                <c:pt idx="26">
                  <c:v>39140</c:v>
                </c:pt>
                <c:pt idx="27">
                  <c:v>39141</c:v>
                </c:pt>
                <c:pt idx="28">
                  <c:v>39142</c:v>
                </c:pt>
                <c:pt idx="29">
                  <c:v>39143</c:v>
                </c:pt>
                <c:pt idx="30">
                  <c:v>39146</c:v>
                </c:pt>
                <c:pt idx="31">
                  <c:v>39147</c:v>
                </c:pt>
                <c:pt idx="32">
                  <c:v>39154</c:v>
                </c:pt>
                <c:pt idx="33">
                  <c:v>39155</c:v>
                </c:pt>
                <c:pt idx="34">
                  <c:v>39157</c:v>
                </c:pt>
                <c:pt idx="35">
                  <c:v>39160</c:v>
                </c:pt>
                <c:pt idx="36">
                  <c:v>39162</c:v>
                </c:pt>
                <c:pt idx="37">
                  <c:v>39163</c:v>
                </c:pt>
                <c:pt idx="38">
                  <c:v>39164</c:v>
                </c:pt>
                <c:pt idx="39">
                  <c:v>39167</c:v>
                </c:pt>
                <c:pt idx="40">
                  <c:v>39168</c:v>
                </c:pt>
                <c:pt idx="41">
                  <c:v>39169</c:v>
                </c:pt>
                <c:pt idx="42">
                  <c:v>39170</c:v>
                </c:pt>
                <c:pt idx="43">
                  <c:v>39171</c:v>
                </c:pt>
                <c:pt idx="44">
                  <c:v>39174</c:v>
                </c:pt>
                <c:pt idx="45">
                  <c:v>39175</c:v>
                </c:pt>
                <c:pt idx="46">
                  <c:v>39176</c:v>
                </c:pt>
                <c:pt idx="47">
                  <c:v>39177</c:v>
                </c:pt>
                <c:pt idx="48">
                  <c:v>39181</c:v>
                </c:pt>
                <c:pt idx="49">
                  <c:v>39182</c:v>
                </c:pt>
                <c:pt idx="50">
                  <c:v>39183</c:v>
                </c:pt>
                <c:pt idx="51">
                  <c:v>39184</c:v>
                </c:pt>
                <c:pt idx="52">
                  <c:v>39189</c:v>
                </c:pt>
                <c:pt idx="53">
                  <c:v>39192</c:v>
                </c:pt>
                <c:pt idx="54">
                  <c:v>39195</c:v>
                </c:pt>
                <c:pt idx="55">
                  <c:v>39196</c:v>
                </c:pt>
                <c:pt idx="56">
                  <c:v>39198</c:v>
                </c:pt>
                <c:pt idx="57">
                  <c:v>39199</c:v>
                </c:pt>
                <c:pt idx="58">
                  <c:v>39202</c:v>
                </c:pt>
                <c:pt idx="59">
                  <c:v>39203</c:v>
                </c:pt>
                <c:pt idx="60">
                  <c:v>39205</c:v>
                </c:pt>
                <c:pt idx="61">
                  <c:v>39206</c:v>
                </c:pt>
                <c:pt idx="62">
                  <c:v>39209</c:v>
                </c:pt>
                <c:pt idx="63">
                  <c:v>39210</c:v>
                </c:pt>
                <c:pt idx="64">
                  <c:v>39211</c:v>
                </c:pt>
                <c:pt idx="65">
                  <c:v>39212</c:v>
                </c:pt>
                <c:pt idx="66">
                  <c:v>39213</c:v>
                </c:pt>
                <c:pt idx="67">
                  <c:v>39216</c:v>
                </c:pt>
                <c:pt idx="68">
                  <c:v>39217</c:v>
                </c:pt>
                <c:pt idx="69">
                  <c:v>39218</c:v>
                </c:pt>
                <c:pt idx="70">
                  <c:v>39219</c:v>
                </c:pt>
                <c:pt idx="71">
                  <c:v>39223</c:v>
                </c:pt>
                <c:pt idx="72">
                  <c:v>39224</c:v>
                </c:pt>
                <c:pt idx="73">
                  <c:v>39225</c:v>
                </c:pt>
                <c:pt idx="74">
                  <c:v>39226</c:v>
                </c:pt>
                <c:pt idx="75">
                  <c:v>39227</c:v>
                </c:pt>
                <c:pt idx="76">
                  <c:v>39231</c:v>
                </c:pt>
                <c:pt idx="77">
                  <c:v>39232</c:v>
                </c:pt>
                <c:pt idx="78">
                  <c:v>39233</c:v>
                </c:pt>
                <c:pt idx="79">
                  <c:v>39234</c:v>
                </c:pt>
                <c:pt idx="80">
                  <c:v>39237</c:v>
                </c:pt>
                <c:pt idx="81">
                  <c:v>39238</c:v>
                </c:pt>
                <c:pt idx="82">
                  <c:v>39239</c:v>
                </c:pt>
                <c:pt idx="83">
                  <c:v>39240</c:v>
                </c:pt>
                <c:pt idx="84">
                  <c:v>39241</c:v>
                </c:pt>
                <c:pt idx="85">
                  <c:v>39244</c:v>
                </c:pt>
                <c:pt idx="86">
                  <c:v>39245</c:v>
                </c:pt>
                <c:pt idx="87">
                  <c:v>39246</c:v>
                </c:pt>
                <c:pt idx="88">
                  <c:v>39247</c:v>
                </c:pt>
                <c:pt idx="89">
                  <c:v>39248</c:v>
                </c:pt>
                <c:pt idx="90">
                  <c:v>39251</c:v>
                </c:pt>
                <c:pt idx="91">
                  <c:v>39252</c:v>
                </c:pt>
                <c:pt idx="92">
                  <c:v>39253</c:v>
                </c:pt>
                <c:pt idx="93">
                  <c:v>39254</c:v>
                </c:pt>
                <c:pt idx="94">
                  <c:v>39255</c:v>
                </c:pt>
                <c:pt idx="95">
                  <c:v>39258</c:v>
                </c:pt>
                <c:pt idx="96">
                  <c:v>39259</c:v>
                </c:pt>
                <c:pt idx="97">
                  <c:v>39260</c:v>
                </c:pt>
                <c:pt idx="98">
                  <c:v>39261</c:v>
                </c:pt>
                <c:pt idx="99">
                  <c:v>39262</c:v>
                </c:pt>
                <c:pt idx="100">
                  <c:v>39265</c:v>
                </c:pt>
                <c:pt idx="101">
                  <c:v>39266</c:v>
                </c:pt>
                <c:pt idx="102">
                  <c:v>39268</c:v>
                </c:pt>
                <c:pt idx="103">
                  <c:v>39269</c:v>
                </c:pt>
                <c:pt idx="104">
                  <c:v>39272</c:v>
                </c:pt>
                <c:pt idx="105">
                  <c:v>39273</c:v>
                </c:pt>
                <c:pt idx="106">
                  <c:v>39274</c:v>
                </c:pt>
                <c:pt idx="107">
                  <c:v>39275</c:v>
                </c:pt>
                <c:pt idx="108">
                  <c:v>39276</c:v>
                </c:pt>
                <c:pt idx="109">
                  <c:v>39279</c:v>
                </c:pt>
                <c:pt idx="110">
                  <c:v>39280</c:v>
                </c:pt>
                <c:pt idx="111">
                  <c:v>39281</c:v>
                </c:pt>
                <c:pt idx="112">
                  <c:v>39282</c:v>
                </c:pt>
                <c:pt idx="113">
                  <c:v>39283</c:v>
                </c:pt>
                <c:pt idx="114">
                  <c:v>39286</c:v>
                </c:pt>
                <c:pt idx="115">
                  <c:v>39287</c:v>
                </c:pt>
                <c:pt idx="116">
                  <c:v>39288</c:v>
                </c:pt>
                <c:pt idx="117">
                  <c:v>39289</c:v>
                </c:pt>
                <c:pt idx="118">
                  <c:v>39290</c:v>
                </c:pt>
                <c:pt idx="119">
                  <c:v>39293</c:v>
                </c:pt>
                <c:pt idx="120">
                  <c:v>39294</c:v>
                </c:pt>
                <c:pt idx="121">
                  <c:v>39295</c:v>
                </c:pt>
                <c:pt idx="122">
                  <c:v>39296</c:v>
                </c:pt>
                <c:pt idx="123">
                  <c:v>39297</c:v>
                </c:pt>
                <c:pt idx="124">
                  <c:v>39300</c:v>
                </c:pt>
                <c:pt idx="125">
                  <c:v>39301</c:v>
                </c:pt>
                <c:pt idx="126">
                  <c:v>39302</c:v>
                </c:pt>
                <c:pt idx="127">
                  <c:v>39303</c:v>
                </c:pt>
                <c:pt idx="128">
                  <c:v>39304</c:v>
                </c:pt>
                <c:pt idx="129">
                  <c:v>39307</c:v>
                </c:pt>
                <c:pt idx="130">
                  <c:v>39308</c:v>
                </c:pt>
                <c:pt idx="131">
                  <c:v>39309</c:v>
                </c:pt>
                <c:pt idx="132">
                  <c:v>39310</c:v>
                </c:pt>
                <c:pt idx="133">
                  <c:v>39311</c:v>
                </c:pt>
                <c:pt idx="134">
                  <c:v>39314</c:v>
                </c:pt>
                <c:pt idx="135">
                  <c:v>39315</c:v>
                </c:pt>
                <c:pt idx="136">
                  <c:v>39316</c:v>
                </c:pt>
                <c:pt idx="137">
                  <c:v>39317</c:v>
                </c:pt>
                <c:pt idx="138">
                  <c:v>39318</c:v>
                </c:pt>
                <c:pt idx="139">
                  <c:v>39322</c:v>
                </c:pt>
                <c:pt idx="140">
                  <c:v>39323</c:v>
                </c:pt>
                <c:pt idx="141">
                  <c:v>39329</c:v>
                </c:pt>
                <c:pt idx="142">
                  <c:v>39330</c:v>
                </c:pt>
                <c:pt idx="143">
                  <c:v>39331</c:v>
                </c:pt>
                <c:pt idx="144">
                  <c:v>39332</c:v>
                </c:pt>
                <c:pt idx="145">
                  <c:v>39335</c:v>
                </c:pt>
                <c:pt idx="146">
                  <c:v>39338</c:v>
                </c:pt>
                <c:pt idx="147">
                  <c:v>39339</c:v>
                </c:pt>
                <c:pt idx="148">
                  <c:v>39342</c:v>
                </c:pt>
                <c:pt idx="149">
                  <c:v>39343</c:v>
                </c:pt>
                <c:pt idx="150">
                  <c:v>39344</c:v>
                </c:pt>
                <c:pt idx="151">
                  <c:v>39345</c:v>
                </c:pt>
                <c:pt idx="152">
                  <c:v>39346</c:v>
                </c:pt>
                <c:pt idx="153">
                  <c:v>39349</c:v>
                </c:pt>
                <c:pt idx="154">
                  <c:v>39350</c:v>
                </c:pt>
                <c:pt idx="155">
                  <c:v>39351</c:v>
                </c:pt>
                <c:pt idx="156">
                  <c:v>39352</c:v>
                </c:pt>
                <c:pt idx="157">
                  <c:v>39353</c:v>
                </c:pt>
                <c:pt idx="158">
                  <c:v>39356</c:v>
                </c:pt>
                <c:pt idx="159">
                  <c:v>39357</c:v>
                </c:pt>
                <c:pt idx="160">
                  <c:v>39358</c:v>
                </c:pt>
                <c:pt idx="161">
                  <c:v>39359</c:v>
                </c:pt>
                <c:pt idx="162">
                  <c:v>39360</c:v>
                </c:pt>
                <c:pt idx="163">
                  <c:v>39363</c:v>
                </c:pt>
                <c:pt idx="164">
                  <c:v>39364</c:v>
                </c:pt>
                <c:pt idx="165">
                  <c:v>39365</c:v>
                </c:pt>
                <c:pt idx="166">
                  <c:v>39366</c:v>
                </c:pt>
                <c:pt idx="167">
                  <c:v>39367</c:v>
                </c:pt>
                <c:pt idx="168">
                  <c:v>39370</c:v>
                </c:pt>
                <c:pt idx="169">
                  <c:v>39371</c:v>
                </c:pt>
                <c:pt idx="170">
                  <c:v>39372</c:v>
                </c:pt>
                <c:pt idx="171">
                  <c:v>39374</c:v>
                </c:pt>
                <c:pt idx="172">
                  <c:v>39377</c:v>
                </c:pt>
                <c:pt idx="173">
                  <c:v>39379</c:v>
                </c:pt>
                <c:pt idx="174">
                  <c:v>39380</c:v>
                </c:pt>
                <c:pt idx="175">
                  <c:v>39381</c:v>
                </c:pt>
                <c:pt idx="176">
                  <c:v>39384</c:v>
                </c:pt>
                <c:pt idx="177">
                  <c:v>39385</c:v>
                </c:pt>
                <c:pt idx="178">
                  <c:v>39386</c:v>
                </c:pt>
                <c:pt idx="179">
                  <c:v>39387</c:v>
                </c:pt>
                <c:pt idx="180">
                  <c:v>39388</c:v>
                </c:pt>
                <c:pt idx="181">
                  <c:v>39391</c:v>
                </c:pt>
                <c:pt idx="182">
                  <c:v>39392</c:v>
                </c:pt>
                <c:pt idx="183">
                  <c:v>39393</c:v>
                </c:pt>
                <c:pt idx="184">
                  <c:v>39394</c:v>
                </c:pt>
                <c:pt idx="185">
                  <c:v>39395</c:v>
                </c:pt>
                <c:pt idx="186">
                  <c:v>39398</c:v>
                </c:pt>
                <c:pt idx="187">
                  <c:v>39399</c:v>
                </c:pt>
                <c:pt idx="188">
                  <c:v>39400</c:v>
                </c:pt>
                <c:pt idx="189">
                  <c:v>39401</c:v>
                </c:pt>
                <c:pt idx="190">
                  <c:v>39402</c:v>
                </c:pt>
                <c:pt idx="191">
                  <c:v>39405</c:v>
                </c:pt>
                <c:pt idx="192">
                  <c:v>39406</c:v>
                </c:pt>
                <c:pt idx="193">
                  <c:v>39407</c:v>
                </c:pt>
                <c:pt idx="194">
                  <c:v>39409</c:v>
                </c:pt>
                <c:pt idx="195">
                  <c:v>39412</c:v>
                </c:pt>
                <c:pt idx="196">
                  <c:v>39413</c:v>
                </c:pt>
                <c:pt idx="197">
                  <c:v>39414</c:v>
                </c:pt>
                <c:pt idx="198">
                  <c:v>39415</c:v>
                </c:pt>
                <c:pt idx="199">
                  <c:v>39416</c:v>
                </c:pt>
                <c:pt idx="200">
                  <c:v>39420</c:v>
                </c:pt>
                <c:pt idx="201">
                  <c:v>39421</c:v>
                </c:pt>
                <c:pt idx="202">
                  <c:v>39422</c:v>
                </c:pt>
                <c:pt idx="203">
                  <c:v>39423</c:v>
                </c:pt>
                <c:pt idx="204">
                  <c:v>39426</c:v>
                </c:pt>
                <c:pt idx="205">
                  <c:v>39427</c:v>
                </c:pt>
                <c:pt idx="206">
                  <c:v>39428</c:v>
                </c:pt>
                <c:pt idx="207">
                  <c:v>39429</c:v>
                </c:pt>
                <c:pt idx="208">
                  <c:v>39430</c:v>
                </c:pt>
                <c:pt idx="209">
                  <c:v>39433</c:v>
                </c:pt>
                <c:pt idx="210">
                  <c:v>39434</c:v>
                </c:pt>
                <c:pt idx="211">
                  <c:v>39435</c:v>
                </c:pt>
                <c:pt idx="212">
                  <c:v>39436</c:v>
                </c:pt>
                <c:pt idx="213">
                  <c:v>39437</c:v>
                </c:pt>
                <c:pt idx="214">
                  <c:v>39440</c:v>
                </c:pt>
                <c:pt idx="215">
                  <c:v>39442</c:v>
                </c:pt>
                <c:pt idx="216">
                  <c:v>39443</c:v>
                </c:pt>
                <c:pt idx="217">
                  <c:v>39444</c:v>
                </c:pt>
                <c:pt idx="218">
                  <c:v>39447</c:v>
                </c:pt>
                <c:pt idx="219">
                  <c:v>39449</c:v>
                </c:pt>
                <c:pt idx="220">
                  <c:v>39450</c:v>
                </c:pt>
                <c:pt idx="221">
                  <c:v>39451</c:v>
                </c:pt>
                <c:pt idx="222">
                  <c:v>39454</c:v>
                </c:pt>
                <c:pt idx="223">
                  <c:v>39455</c:v>
                </c:pt>
                <c:pt idx="224">
                  <c:v>39456</c:v>
                </c:pt>
                <c:pt idx="225">
                  <c:v>39457</c:v>
                </c:pt>
                <c:pt idx="226">
                  <c:v>39458</c:v>
                </c:pt>
                <c:pt idx="227">
                  <c:v>39461</c:v>
                </c:pt>
                <c:pt idx="228">
                  <c:v>39462</c:v>
                </c:pt>
                <c:pt idx="229">
                  <c:v>39463</c:v>
                </c:pt>
                <c:pt idx="230">
                  <c:v>39464</c:v>
                </c:pt>
                <c:pt idx="231">
                  <c:v>39465</c:v>
                </c:pt>
                <c:pt idx="232">
                  <c:v>39469</c:v>
                </c:pt>
                <c:pt idx="233">
                  <c:v>39470</c:v>
                </c:pt>
                <c:pt idx="234">
                  <c:v>39471</c:v>
                </c:pt>
                <c:pt idx="235">
                  <c:v>39472</c:v>
                </c:pt>
                <c:pt idx="236">
                  <c:v>39475</c:v>
                </c:pt>
                <c:pt idx="237">
                  <c:v>39476</c:v>
                </c:pt>
                <c:pt idx="238">
                  <c:v>39477</c:v>
                </c:pt>
                <c:pt idx="239">
                  <c:v>39478</c:v>
                </c:pt>
                <c:pt idx="240">
                  <c:v>39479</c:v>
                </c:pt>
                <c:pt idx="241">
                  <c:v>39482</c:v>
                </c:pt>
                <c:pt idx="242">
                  <c:v>39483</c:v>
                </c:pt>
                <c:pt idx="243">
                  <c:v>39484</c:v>
                </c:pt>
                <c:pt idx="244">
                  <c:v>39485</c:v>
                </c:pt>
                <c:pt idx="245">
                  <c:v>39486</c:v>
                </c:pt>
                <c:pt idx="246">
                  <c:v>39489</c:v>
                </c:pt>
                <c:pt idx="247">
                  <c:v>39490</c:v>
                </c:pt>
                <c:pt idx="248">
                  <c:v>39491</c:v>
                </c:pt>
                <c:pt idx="249">
                  <c:v>39492</c:v>
                </c:pt>
                <c:pt idx="250">
                  <c:v>39493</c:v>
                </c:pt>
                <c:pt idx="251">
                  <c:v>39497</c:v>
                </c:pt>
                <c:pt idx="252">
                  <c:v>39498</c:v>
                </c:pt>
                <c:pt idx="253">
                  <c:v>39499</c:v>
                </c:pt>
                <c:pt idx="254">
                  <c:v>39500</c:v>
                </c:pt>
                <c:pt idx="255">
                  <c:v>39503</c:v>
                </c:pt>
                <c:pt idx="256">
                  <c:v>39504</c:v>
                </c:pt>
                <c:pt idx="257">
                  <c:v>39505</c:v>
                </c:pt>
                <c:pt idx="258">
                  <c:v>39506</c:v>
                </c:pt>
                <c:pt idx="259">
                  <c:v>39507</c:v>
                </c:pt>
                <c:pt idx="260">
                  <c:v>39510</c:v>
                </c:pt>
                <c:pt idx="261">
                  <c:v>39511</c:v>
                </c:pt>
                <c:pt idx="262">
                  <c:v>39512</c:v>
                </c:pt>
                <c:pt idx="263">
                  <c:v>39513</c:v>
                </c:pt>
                <c:pt idx="264">
                  <c:v>39514</c:v>
                </c:pt>
                <c:pt idx="265">
                  <c:v>39518</c:v>
                </c:pt>
                <c:pt idx="266">
                  <c:v>39519</c:v>
                </c:pt>
                <c:pt idx="267">
                  <c:v>39520</c:v>
                </c:pt>
                <c:pt idx="268">
                  <c:v>39521</c:v>
                </c:pt>
                <c:pt idx="269">
                  <c:v>39524</c:v>
                </c:pt>
                <c:pt idx="270">
                  <c:v>39525</c:v>
                </c:pt>
                <c:pt idx="271">
                  <c:v>39526</c:v>
                </c:pt>
                <c:pt idx="272">
                  <c:v>39527</c:v>
                </c:pt>
                <c:pt idx="273">
                  <c:v>39531</c:v>
                </c:pt>
                <c:pt idx="274">
                  <c:v>39532</c:v>
                </c:pt>
                <c:pt idx="275">
                  <c:v>39533</c:v>
                </c:pt>
                <c:pt idx="276">
                  <c:v>39534</c:v>
                </c:pt>
                <c:pt idx="277">
                  <c:v>39535</c:v>
                </c:pt>
                <c:pt idx="278">
                  <c:v>39538</c:v>
                </c:pt>
                <c:pt idx="279">
                  <c:v>39539</c:v>
                </c:pt>
                <c:pt idx="280">
                  <c:v>39540</c:v>
                </c:pt>
                <c:pt idx="281">
                  <c:v>39541</c:v>
                </c:pt>
                <c:pt idx="282">
                  <c:v>39542</c:v>
                </c:pt>
                <c:pt idx="283">
                  <c:v>39545</c:v>
                </c:pt>
                <c:pt idx="284">
                  <c:v>39546</c:v>
                </c:pt>
                <c:pt idx="285">
                  <c:v>39547</c:v>
                </c:pt>
                <c:pt idx="286">
                  <c:v>39548</c:v>
                </c:pt>
                <c:pt idx="287">
                  <c:v>39549</c:v>
                </c:pt>
                <c:pt idx="288">
                  <c:v>39552</c:v>
                </c:pt>
                <c:pt idx="289">
                  <c:v>39553</c:v>
                </c:pt>
                <c:pt idx="290">
                  <c:v>39555</c:v>
                </c:pt>
                <c:pt idx="291">
                  <c:v>39556</c:v>
                </c:pt>
                <c:pt idx="292">
                  <c:v>39559</c:v>
                </c:pt>
                <c:pt idx="293">
                  <c:v>39560</c:v>
                </c:pt>
                <c:pt idx="294">
                  <c:v>39561</c:v>
                </c:pt>
                <c:pt idx="295">
                  <c:v>39562</c:v>
                </c:pt>
                <c:pt idx="296">
                  <c:v>39563</c:v>
                </c:pt>
                <c:pt idx="297">
                  <c:v>39566</c:v>
                </c:pt>
                <c:pt idx="298">
                  <c:v>39567</c:v>
                </c:pt>
                <c:pt idx="299">
                  <c:v>39568</c:v>
                </c:pt>
                <c:pt idx="300">
                  <c:v>39569</c:v>
                </c:pt>
                <c:pt idx="301">
                  <c:v>39570</c:v>
                </c:pt>
                <c:pt idx="302">
                  <c:v>39573</c:v>
                </c:pt>
                <c:pt idx="303">
                  <c:v>39574</c:v>
                </c:pt>
                <c:pt idx="304">
                  <c:v>39575</c:v>
                </c:pt>
                <c:pt idx="305">
                  <c:v>39576</c:v>
                </c:pt>
                <c:pt idx="306">
                  <c:v>39577</c:v>
                </c:pt>
                <c:pt idx="307">
                  <c:v>39580</c:v>
                </c:pt>
                <c:pt idx="308">
                  <c:v>39581</c:v>
                </c:pt>
                <c:pt idx="309">
                  <c:v>39582</c:v>
                </c:pt>
                <c:pt idx="310">
                  <c:v>39583</c:v>
                </c:pt>
                <c:pt idx="311">
                  <c:v>39584</c:v>
                </c:pt>
                <c:pt idx="312">
                  <c:v>39587</c:v>
                </c:pt>
                <c:pt idx="313">
                  <c:v>39588</c:v>
                </c:pt>
                <c:pt idx="314">
                  <c:v>39589</c:v>
                </c:pt>
                <c:pt idx="315">
                  <c:v>39590</c:v>
                </c:pt>
                <c:pt idx="316">
                  <c:v>39591</c:v>
                </c:pt>
                <c:pt idx="317">
                  <c:v>39595</c:v>
                </c:pt>
                <c:pt idx="318">
                  <c:v>39596</c:v>
                </c:pt>
                <c:pt idx="319">
                  <c:v>39597</c:v>
                </c:pt>
                <c:pt idx="320">
                  <c:v>39598</c:v>
                </c:pt>
                <c:pt idx="321">
                  <c:v>39601</c:v>
                </c:pt>
                <c:pt idx="322">
                  <c:v>39602</c:v>
                </c:pt>
                <c:pt idx="323">
                  <c:v>39603</c:v>
                </c:pt>
                <c:pt idx="324">
                  <c:v>39604</c:v>
                </c:pt>
                <c:pt idx="325">
                  <c:v>39605</c:v>
                </c:pt>
                <c:pt idx="326">
                  <c:v>39608</c:v>
                </c:pt>
                <c:pt idx="327">
                  <c:v>39609</c:v>
                </c:pt>
                <c:pt idx="328">
                  <c:v>39610</c:v>
                </c:pt>
                <c:pt idx="329">
                  <c:v>39611</c:v>
                </c:pt>
                <c:pt idx="330">
                  <c:v>39612</c:v>
                </c:pt>
                <c:pt idx="331">
                  <c:v>39615</c:v>
                </c:pt>
                <c:pt idx="332">
                  <c:v>39616</c:v>
                </c:pt>
                <c:pt idx="333">
                  <c:v>39617</c:v>
                </c:pt>
                <c:pt idx="334">
                  <c:v>39618</c:v>
                </c:pt>
                <c:pt idx="335">
                  <c:v>39619</c:v>
                </c:pt>
                <c:pt idx="336">
                  <c:v>39622</c:v>
                </c:pt>
                <c:pt idx="337">
                  <c:v>39623</c:v>
                </c:pt>
                <c:pt idx="338">
                  <c:v>39624</c:v>
                </c:pt>
                <c:pt idx="339">
                  <c:v>39625</c:v>
                </c:pt>
                <c:pt idx="340">
                  <c:v>39626</c:v>
                </c:pt>
                <c:pt idx="341">
                  <c:v>39629</c:v>
                </c:pt>
                <c:pt idx="342">
                  <c:v>39630</c:v>
                </c:pt>
                <c:pt idx="343">
                  <c:v>39631</c:v>
                </c:pt>
                <c:pt idx="344">
                  <c:v>39632</c:v>
                </c:pt>
                <c:pt idx="345">
                  <c:v>39636</c:v>
                </c:pt>
                <c:pt idx="346">
                  <c:v>39637</c:v>
                </c:pt>
                <c:pt idx="347">
                  <c:v>39638</c:v>
                </c:pt>
                <c:pt idx="348">
                  <c:v>39639</c:v>
                </c:pt>
                <c:pt idx="349">
                  <c:v>39640</c:v>
                </c:pt>
                <c:pt idx="350">
                  <c:v>39643</c:v>
                </c:pt>
                <c:pt idx="351">
                  <c:v>39644</c:v>
                </c:pt>
                <c:pt idx="352">
                  <c:v>39645</c:v>
                </c:pt>
                <c:pt idx="353">
                  <c:v>39646</c:v>
                </c:pt>
                <c:pt idx="354">
                  <c:v>39647</c:v>
                </c:pt>
                <c:pt idx="355">
                  <c:v>39650</c:v>
                </c:pt>
                <c:pt idx="356">
                  <c:v>39651</c:v>
                </c:pt>
                <c:pt idx="357">
                  <c:v>39652</c:v>
                </c:pt>
                <c:pt idx="358">
                  <c:v>39653</c:v>
                </c:pt>
                <c:pt idx="359">
                  <c:v>39654</c:v>
                </c:pt>
                <c:pt idx="360">
                  <c:v>39657</c:v>
                </c:pt>
                <c:pt idx="361">
                  <c:v>39658</c:v>
                </c:pt>
                <c:pt idx="362">
                  <c:v>39659</c:v>
                </c:pt>
                <c:pt idx="363">
                  <c:v>39660</c:v>
                </c:pt>
                <c:pt idx="364">
                  <c:v>39661</c:v>
                </c:pt>
                <c:pt idx="365">
                  <c:v>39664</c:v>
                </c:pt>
                <c:pt idx="366">
                  <c:v>39665</c:v>
                </c:pt>
                <c:pt idx="367">
                  <c:v>39666</c:v>
                </c:pt>
                <c:pt idx="368">
                  <c:v>39667</c:v>
                </c:pt>
                <c:pt idx="369">
                  <c:v>39668</c:v>
                </c:pt>
                <c:pt idx="370">
                  <c:v>39671</c:v>
                </c:pt>
                <c:pt idx="371">
                  <c:v>39672</c:v>
                </c:pt>
                <c:pt idx="372">
                  <c:v>39673</c:v>
                </c:pt>
                <c:pt idx="373">
                  <c:v>39674</c:v>
                </c:pt>
                <c:pt idx="374">
                  <c:v>39675</c:v>
                </c:pt>
                <c:pt idx="375">
                  <c:v>39678</c:v>
                </c:pt>
                <c:pt idx="376">
                  <c:v>39679</c:v>
                </c:pt>
                <c:pt idx="377">
                  <c:v>39680</c:v>
                </c:pt>
                <c:pt idx="378">
                  <c:v>39681</c:v>
                </c:pt>
                <c:pt idx="379">
                  <c:v>39682</c:v>
                </c:pt>
                <c:pt idx="380">
                  <c:v>39685</c:v>
                </c:pt>
                <c:pt idx="381">
                  <c:v>39686</c:v>
                </c:pt>
                <c:pt idx="382">
                  <c:v>39687</c:v>
                </c:pt>
                <c:pt idx="383">
                  <c:v>39688</c:v>
                </c:pt>
                <c:pt idx="384">
                  <c:v>39689</c:v>
                </c:pt>
                <c:pt idx="385">
                  <c:v>39693</c:v>
                </c:pt>
                <c:pt idx="386">
                  <c:v>39694</c:v>
                </c:pt>
                <c:pt idx="387">
                  <c:v>39695</c:v>
                </c:pt>
                <c:pt idx="388">
                  <c:v>39696</c:v>
                </c:pt>
                <c:pt idx="389">
                  <c:v>39699</c:v>
                </c:pt>
                <c:pt idx="390">
                  <c:v>39700</c:v>
                </c:pt>
                <c:pt idx="391">
                  <c:v>39701</c:v>
                </c:pt>
                <c:pt idx="392">
                  <c:v>39702</c:v>
                </c:pt>
                <c:pt idx="393">
                  <c:v>39703</c:v>
                </c:pt>
                <c:pt idx="394">
                  <c:v>39706</c:v>
                </c:pt>
                <c:pt idx="395">
                  <c:v>39707</c:v>
                </c:pt>
                <c:pt idx="396">
                  <c:v>39708</c:v>
                </c:pt>
                <c:pt idx="397">
                  <c:v>39709</c:v>
                </c:pt>
                <c:pt idx="398">
                  <c:v>39710</c:v>
                </c:pt>
                <c:pt idx="399">
                  <c:v>39713</c:v>
                </c:pt>
                <c:pt idx="400">
                  <c:v>39714</c:v>
                </c:pt>
                <c:pt idx="401">
                  <c:v>39715</c:v>
                </c:pt>
                <c:pt idx="402">
                  <c:v>39716</c:v>
                </c:pt>
                <c:pt idx="403">
                  <c:v>39717</c:v>
                </c:pt>
                <c:pt idx="404">
                  <c:v>39720</c:v>
                </c:pt>
                <c:pt idx="405">
                  <c:v>39721</c:v>
                </c:pt>
                <c:pt idx="406">
                  <c:v>39722</c:v>
                </c:pt>
                <c:pt idx="407">
                  <c:v>39723</c:v>
                </c:pt>
                <c:pt idx="408">
                  <c:v>39724</c:v>
                </c:pt>
                <c:pt idx="409">
                  <c:v>39727</c:v>
                </c:pt>
                <c:pt idx="410">
                  <c:v>39728</c:v>
                </c:pt>
                <c:pt idx="411">
                  <c:v>39729</c:v>
                </c:pt>
                <c:pt idx="412">
                  <c:v>39730</c:v>
                </c:pt>
                <c:pt idx="413">
                  <c:v>39731</c:v>
                </c:pt>
                <c:pt idx="414">
                  <c:v>39734</c:v>
                </c:pt>
                <c:pt idx="415">
                  <c:v>39735</c:v>
                </c:pt>
                <c:pt idx="416">
                  <c:v>39736</c:v>
                </c:pt>
                <c:pt idx="417">
                  <c:v>39737</c:v>
                </c:pt>
                <c:pt idx="418">
                  <c:v>39738</c:v>
                </c:pt>
                <c:pt idx="419">
                  <c:v>39741</c:v>
                </c:pt>
                <c:pt idx="420">
                  <c:v>39742</c:v>
                </c:pt>
                <c:pt idx="421">
                  <c:v>39743</c:v>
                </c:pt>
                <c:pt idx="422">
                  <c:v>39744</c:v>
                </c:pt>
                <c:pt idx="423">
                  <c:v>39745</c:v>
                </c:pt>
                <c:pt idx="424">
                  <c:v>39748</c:v>
                </c:pt>
                <c:pt idx="425">
                  <c:v>39749</c:v>
                </c:pt>
                <c:pt idx="426">
                  <c:v>39750</c:v>
                </c:pt>
                <c:pt idx="427">
                  <c:v>39751</c:v>
                </c:pt>
                <c:pt idx="428">
                  <c:v>39752</c:v>
                </c:pt>
                <c:pt idx="429">
                  <c:v>39755</c:v>
                </c:pt>
                <c:pt idx="430">
                  <c:v>39756</c:v>
                </c:pt>
                <c:pt idx="431">
                  <c:v>39757</c:v>
                </c:pt>
                <c:pt idx="432">
                  <c:v>39758</c:v>
                </c:pt>
                <c:pt idx="433">
                  <c:v>39759</c:v>
                </c:pt>
                <c:pt idx="434">
                  <c:v>39762</c:v>
                </c:pt>
                <c:pt idx="435">
                  <c:v>39763</c:v>
                </c:pt>
                <c:pt idx="436">
                  <c:v>39764</c:v>
                </c:pt>
                <c:pt idx="437">
                  <c:v>39765</c:v>
                </c:pt>
                <c:pt idx="438">
                  <c:v>39766</c:v>
                </c:pt>
                <c:pt idx="439">
                  <c:v>39769</c:v>
                </c:pt>
                <c:pt idx="440">
                  <c:v>39770</c:v>
                </c:pt>
                <c:pt idx="441">
                  <c:v>39771</c:v>
                </c:pt>
                <c:pt idx="442">
                  <c:v>39772</c:v>
                </c:pt>
                <c:pt idx="443">
                  <c:v>39773</c:v>
                </c:pt>
                <c:pt idx="444">
                  <c:v>39776</c:v>
                </c:pt>
                <c:pt idx="445">
                  <c:v>39777</c:v>
                </c:pt>
                <c:pt idx="446">
                  <c:v>39778</c:v>
                </c:pt>
                <c:pt idx="447">
                  <c:v>39780</c:v>
                </c:pt>
                <c:pt idx="448">
                  <c:v>39783</c:v>
                </c:pt>
                <c:pt idx="449">
                  <c:v>39784</c:v>
                </c:pt>
                <c:pt idx="450">
                  <c:v>39785</c:v>
                </c:pt>
                <c:pt idx="451">
                  <c:v>39786</c:v>
                </c:pt>
                <c:pt idx="452">
                  <c:v>39787</c:v>
                </c:pt>
                <c:pt idx="453">
                  <c:v>39790</c:v>
                </c:pt>
                <c:pt idx="454">
                  <c:v>39791</c:v>
                </c:pt>
                <c:pt idx="455">
                  <c:v>39792</c:v>
                </c:pt>
                <c:pt idx="456">
                  <c:v>39793</c:v>
                </c:pt>
                <c:pt idx="457">
                  <c:v>39794</c:v>
                </c:pt>
                <c:pt idx="458">
                  <c:v>39797</c:v>
                </c:pt>
                <c:pt idx="459">
                  <c:v>39798</c:v>
                </c:pt>
                <c:pt idx="460">
                  <c:v>39799</c:v>
                </c:pt>
                <c:pt idx="461">
                  <c:v>39800</c:v>
                </c:pt>
                <c:pt idx="462">
                  <c:v>39801</c:v>
                </c:pt>
                <c:pt idx="463">
                  <c:v>39805</c:v>
                </c:pt>
                <c:pt idx="464">
                  <c:v>39806</c:v>
                </c:pt>
                <c:pt idx="465">
                  <c:v>39808</c:v>
                </c:pt>
                <c:pt idx="466">
                  <c:v>39811</c:v>
                </c:pt>
                <c:pt idx="467">
                  <c:v>39812</c:v>
                </c:pt>
                <c:pt idx="468">
                  <c:v>39813</c:v>
                </c:pt>
                <c:pt idx="469">
                  <c:v>39815</c:v>
                </c:pt>
                <c:pt idx="470">
                  <c:v>39818</c:v>
                </c:pt>
                <c:pt idx="471">
                  <c:v>39819</c:v>
                </c:pt>
                <c:pt idx="472">
                  <c:v>39820</c:v>
                </c:pt>
                <c:pt idx="473">
                  <c:v>39821</c:v>
                </c:pt>
                <c:pt idx="474">
                  <c:v>39822</c:v>
                </c:pt>
                <c:pt idx="475">
                  <c:v>39825</c:v>
                </c:pt>
                <c:pt idx="476">
                  <c:v>39826</c:v>
                </c:pt>
                <c:pt idx="477">
                  <c:v>39827</c:v>
                </c:pt>
                <c:pt idx="478">
                  <c:v>39828</c:v>
                </c:pt>
                <c:pt idx="479">
                  <c:v>39829</c:v>
                </c:pt>
                <c:pt idx="480">
                  <c:v>39833</c:v>
                </c:pt>
                <c:pt idx="481">
                  <c:v>39834</c:v>
                </c:pt>
                <c:pt idx="482">
                  <c:v>39835</c:v>
                </c:pt>
                <c:pt idx="483">
                  <c:v>39836</c:v>
                </c:pt>
                <c:pt idx="484">
                  <c:v>39839</c:v>
                </c:pt>
                <c:pt idx="485">
                  <c:v>39840</c:v>
                </c:pt>
                <c:pt idx="486">
                  <c:v>39841</c:v>
                </c:pt>
                <c:pt idx="487">
                  <c:v>39842</c:v>
                </c:pt>
                <c:pt idx="488">
                  <c:v>39843</c:v>
                </c:pt>
                <c:pt idx="489">
                  <c:v>39846</c:v>
                </c:pt>
                <c:pt idx="490">
                  <c:v>39847</c:v>
                </c:pt>
                <c:pt idx="491">
                  <c:v>39848</c:v>
                </c:pt>
                <c:pt idx="492">
                  <c:v>39849</c:v>
                </c:pt>
                <c:pt idx="493">
                  <c:v>39850</c:v>
                </c:pt>
                <c:pt idx="494">
                  <c:v>39853</c:v>
                </c:pt>
                <c:pt idx="495">
                  <c:v>39854</c:v>
                </c:pt>
                <c:pt idx="496">
                  <c:v>39855</c:v>
                </c:pt>
                <c:pt idx="497">
                  <c:v>39856</c:v>
                </c:pt>
                <c:pt idx="498">
                  <c:v>39857</c:v>
                </c:pt>
                <c:pt idx="499">
                  <c:v>39861</c:v>
                </c:pt>
                <c:pt idx="500">
                  <c:v>39862</c:v>
                </c:pt>
                <c:pt idx="501">
                  <c:v>39863</c:v>
                </c:pt>
                <c:pt idx="502">
                  <c:v>39864</c:v>
                </c:pt>
                <c:pt idx="503">
                  <c:v>39867</c:v>
                </c:pt>
                <c:pt idx="504">
                  <c:v>39868</c:v>
                </c:pt>
                <c:pt idx="505">
                  <c:v>39869</c:v>
                </c:pt>
                <c:pt idx="506">
                  <c:v>39870</c:v>
                </c:pt>
                <c:pt idx="507">
                  <c:v>39871</c:v>
                </c:pt>
                <c:pt idx="508">
                  <c:v>39874</c:v>
                </c:pt>
                <c:pt idx="509">
                  <c:v>39875</c:v>
                </c:pt>
                <c:pt idx="510">
                  <c:v>39876</c:v>
                </c:pt>
                <c:pt idx="511">
                  <c:v>39877</c:v>
                </c:pt>
                <c:pt idx="512">
                  <c:v>39878</c:v>
                </c:pt>
                <c:pt idx="513">
                  <c:v>39881</c:v>
                </c:pt>
                <c:pt idx="514">
                  <c:v>39882</c:v>
                </c:pt>
                <c:pt idx="515">
                  <c:v>39883</c:v>
                </c:pt>
                <c:pt idx="516">
                  <c:v>39884</c:v>
                </c:pt>
                <c:pt idx="517">
                  <c:v>39885</c:v>
                </c:pt>
                <c:pt idx="518">
                  <c:v>39888</c:v>
                </c:pt>
                <c:pt idx="519">
                  <c:v>39889</c:v>
                </c:pt>
                <c:pt idx="520">
                  <c:v>39890</c:v>
                </c:pt>
                <c:pt idx="521">
                  <c:v>39891</c:v>
                </c:pt>
                <c:pt idx="522">
                  <c:v>39892</c:v>
                </c:pt>
                <c:pt idx="523">
                  <c:v>39895</c:v>
                </c:pt>
                <c:pt idx="524">
                  <c:v>39896</c:v>
                </c:pt>
                <c:pt idx="525">
                  <c:v>39897</c:v>
                </c:pt>
                <c:pt idx="526">
                  <c:v>39898</c:v>
                </c:pt>
                <c:pt idx="527">
                  <c:v>39899</c:v>
                </c:pt>
                <c:pt idx="528">
                  <c:v>39902</c:v>
                </c:pt>
                <c:pt idx="529">
                  <c:v>39903</c:v>
                </c:pt>
                <c:pt idx="530">
                  <c:v>39904</c:v>
                </c:pt>
                <c:pt idx="531">
                  <c:v>39905</c:v>
                </c:pt>
                <c:pt idx="532">
                  <c:v>39906</c:v>
                </c:pt>
                <c:pt idx="533">
                  <c:v>39909</c:v>
                </c:pt>
                <c:pt idx="534">
                  <c:v>39910</c:v>
                </c:pt>
                <c:pt idx="535">
                  <c:v>39911</c:v>
                </c:pt>
                <c:pt idx="536">
                  <c:v>39912</c:v>
                </c:pt>
                <c:pt idx="537">
                  <c:v>39916</c:v>
                </c:pt>
                <c:pt idx="538">
                  <c:v>39917</c:v>
                </c:pt>
                <c:pt idx="539">
                  <c:v>39918</c:v>
                </c:pt>
                <c:pt idx="540">
                  <c:v>39919</c:v>
                </c:pt>
                <c:pt idx="541">
                  <c:v>39920</c:v>
                </c:pt>
                <c:pt idx="542">
                  <c:v>39923</c:v>
                </c:pt>
                <c:pt idx="543">
                  <c:v>39924</c:v>
                </c:pt>
                <c:pt idx="544">
                  <c:v>39925</c:v>
                </c:pt>
                <c:pt idx="545">
                  <c:v>39926</c:v>
                </c:pt>
                <c:pt idx="546">
                  <c:v>39927</c:v>
                </c:pt>
                <c:pt idx="547">
                  <c:v>39930</c:v>
                </c:pt>
                <c:pt idx="548">
                  <c:v>39931</c:v>
                </c:pt>
                <c:pt idx="549">
                  <c:v>39932</c:v>
                </c:pt>
                <c:pt idx="550">
                  <c:v>39933</c:v>
                </c:pt>
                <c:pt idx="551">
                  <c:v>39934</c:v>
                </c:pt>
                <c:pt idx="552">
                  <c:v>39937</c:v>
                </c:pt>
                <c:pt idx="553">
                  <c:v>39938</c:v>
                </c:pt>
                <c:pt idx="554">
                  <c:v>39939</c:v>
                </c:pt>
                <c:pt idx="555">
                  <c:v>39940</c:v>
                </c:pt>
                <c:pt idx="556">
                  <c:v>39941</c:v>
                </c:pt>
                <c:pt idx="557">
                  <c:v>39944</c:v>
                </c:pt>
                <c:pt idx="558">
                  <c:v>39945</c:v>
                </c:pt>
                <c:pt idx="559">
                  <c:v>39946</c:v>
                </c:pt>
                <c:pt idx="560">
                  <c:v>39947</c:v>
                </c:pt>
                <c:pt idx="561">
                  <c:v>39948</c:v>
                </c:pt>
                <c:pt idx="562">
                  <c:v>39951</c:v>
                </c:pt>
                <c:pt idx="563">
                  <c:v>39952</c:v>
                </c:pt>
                <c:pt idx="564">
                  <c:v>39953</c:v>
                </c:pt>
                <c:pt idx="565">
                  <c:v>39954</c:v>
                </c:pt>
                <c:pt idx="566">
                  <c:v>39955</c:v>
                </c:pt>
                <c:pt idx="567">
                  <c:v>39959</c:v>
                </c:pt>
                <c:pt idx="568">
                  <c:v>39960</c:v>
                </c:pt>
                <c:pt idx="569">
                  <c:v>39961</c:v>
                </c:pt>
                <c:pt idx="570">
                  <c:v>39962</c:v>
                </c:pt>
                <c:pt idx="571">
                  <c:v>39965</c:v>
                </c:pt>
                <c:pt idx="572">
                  <c:v>39966</c:v>
                </c:pt>
                <c:pt idx="573">
                  <c:v>39967</c:v>
                </c:pt>
                <c:pt idx="574">
                  <c:v>39968</c:v>
                </c:pt>
                <c:pt idx="575">
                  <c:v>39969</c:v>
                </c:pt>
                <c:pt idx="576">
                  <c:v>39972</c:v>
                </c:pt>
                <c:pt idx="577">
                  <c:v>39973</c:v>
                </c:pt>
                <c:pt idx="578">
                  <c:v>39974</c:v>
                </c:pt>
                <c:pt idx="579">
                  <c:v>39975</c:v>
                </c:pt>
                <c:pt idx="580">
                  <c:v>39976</c:v>
                </c:pt>
                <c:pt idx="581">
                  <c:v>39979</c:v>
                </c:pt>
                <c:pt idx="582">
                  <c:v>39980</c:v>
                </c:pt>
                <c:pt idx="583">
                  <c:v>39981</c:v>
                </c:pt>
                <c:pt idx="584">
                  <c:v>39982</c:v>
                </c:pt>
                <c:pt idx="585">
                  <c:v>39983</c:v>
                </c:pt>
                <c:pt idx="586">
                  <c:v>39986</c:v>
                </c:pt>
                <c:pt idx="587">
                  <c:v>39987</c:v>
                </c:pt>
                <c:pt idx="588">
                  <c:v>39988</c:v>
                </c:pt>
                <c:pt idx="589">
                  <c:v>39989</c:v>
                </c:pt>
                <c:pt idx="590">
                  <c:v>39990</c:v>
                </c:pt>
                <c:pt idx="591">
                  <c:v>39993</c:v>
                </c:pt>
                <c:pt idx="592">
                  <c:v>39994</c:v>
                </c:pt>
                <c:pt idx="593">
                  <c:v>39995</c:v>
                </c:pt>
                <c:pt idx="594">
                  <c:v>39996</c:v>
                </c:pt>
                <c:pt idx="595">
                  <c:v>40000</c:v>
                </c:pt>
                <c:pt idx="596">
                  <c:v>40001</c:v>
                </c:pt>
                <c:pt idx="597">
                  <c:v>40002</c:v>
                </c:pt>
                <c:pt idx="598">
                  <c:v>40003</c:v>
                </c:pt>
                <c:pt idx="599">
                  <c:v>40004</c:v>
                </c:pt>
                <c:pt idx="600">
                  <c:v>40007</c:v>
                </c:pt>
                <c:pt idx="601">
                  <c:v>40008</c:v>
                </c:pt>
                <c:pt idx="602">
                  <c:v>40009</c:v>
                </c:pt>
                <c:pt idx="603">
                  <c:v>40010</c:v>
                </c:pt>
                <c:pt idx="604">
                  <c:v>40011</c:v>
                </c:pt>
                <c:pt idx="605">
                  <c:v>40014</c:v>
                </c:pt>
                <c:pt idx="606">
                  <c:v>40015</c:v>
                </c:pt>
                <c:pt idx="607">
                  <c:v>40016</c:v>
                </c:pt>
                <c:pt idx="608">
                  <c:v>40017</c:v>
                </c:pt>
                <c:pt idx="609">
                  <c:v>40018</c:v>
                </c:pt>
                <c:pt idx="610">
                  <c:v>40021</c:v>
                </c:pt>
                <c:pt idx="611">
                  <c:v>40022</c:v>
                </c:pt>
                <c:pt idx="612">
                  <c:v>40023</c:v>
                </c:pt>
                <c:pt idx="613">
                  <c:v>40024</c:v>
                </c:pt>
                <c:pt idx="614">
                  <c:v>40025</c:v>
                </c:pt>
                <c:pt idx="615">
                  <c:v>40028</c:v>
                </c:pt>
                <c:pt idx="616">
                  <c:v>40029</c:v>
                </c:pt>
                <c:pt idx="617">
                  <c:v>40030</c:v>
                </c:pt>
                <c:pt idx="618">
                  <c:v>40031</c:v>
                </c:pt>
                <c:pt idx="619">
                  <c:v>40032</c:v>
                </c:pt>
                <c:pt idx="620">
                  <c:v>40035</c:v>
                </c:pt>
                <c:pt idx="621">
                  <c:v>40036</c:v>
                </c:pt>
                <c:pt idx="622">
                  <c:v>40037</c:v>
                </c:pt>
                <c:pt idx="623">
                  <c:v>40038</c:v>
                </c:pt>
                <c:pt idx="624">
                  <c:v>40039</c:v>
                </c:pt>
                <c:pt idx="625">
                  <c:v>40042</c:v>
                </c:pt>
                <c:pt idx="626">
                  <c:v>40043</c:v>
                </c:pt>
                <c:pt idx="627">
                  <c:v>40044</c:v>
                </c:pt>
                <c:pt idx="628">
                  <c:v>40045</c:v>
                </c:pt>
                <c:pt idx="629">
                  <c:v>40046</c:v>
                </c:pt>
                <c:pt idx="630">
                  <c:v>40049</c:v>
                </c:pt>
                <c:pt idx="631">
                  <c:v>40050</c:v>
                </c:pt>
                <c:pt idx="632">
                  <c:v>40051</c:v>
                </c:pt>
                <c:pt idx="633">
                  <c:v>40052</c:v>
                </c:pt>
                <c:pt idx="634">
                  <c:v>40053</c:v>
                </c:pt>
                <c:pt idx="635">
                  <c:v>40056</c:v>
                </c:pt>
                <c:pt idx="636">
                  <c:v>40057</c:v>
                </c:pt>
                <c:pt idx="637">
                  <c:v>40058</c:v>
                </c:pt>
                <c:pt idx="638">
                  <c:v>40059</c:v>
                </c:pt>
                <c:pt idx="639">
                  <c:v>40060</c:v>
                </c:pt>
                <c:pt idx="640">
                  <c:v>40064</c:v>
                </c:pt>
                <c:pt idx="641">
                  <c:v>40065</c:v>
                </c:pt>
                <c:pt idx="642">
                  <c:v>40066</c:v>
                </c:pt>
                <c:pt idx="643">
                  <c:v>40067</c:v>
                </c:pt>
                <c:pt idx="644">
                  <c:v>40070</c:v>
                </c:pt>
                <c:pt idx="645">
                  <c:v>40071</c:v>
                </c:pt>
                <c:pt idx="646">
                  <c:v>40072</c:v>
                </c:pt>
                <c:pt idx="647">
                  <c:v>40073</c:v>
                </c:pt>
                <c:pt idx="648">
                  <c:v>40074</c:v>
                </c:pt>
                <c:pt idx="649">
                  <c:v>40077</c:v>
                </c:pt>
                <c:pt idx="650">
                  <c:v>40078</c:v>
                </c:pt>
                <c:pt idx="651">
                  <c:v>40079</c:v>
                </c:pt>
                <c:pt idx="652">
                  <c:v>40080</c:v>
                </c:pt>
                <c:pt idx="653">
                  <c:v>40081</c:v>
                </c:pt>
                <c:pt idx="654">
                  <c:v>40084</c:v>
                </c:pt>
                <c:pt idx="655">
                  <c:v>40085</c:v>
                </c:pt>
                <c:pt idx="656">
                  <c:v>40086</c:v>
                </c:pt>
                <c:pt idx="657">
                  <c:v>40087</c:v>
                </c:pt>
                <c:pt idx="658">
                  <c:v>40088</c:v>
                </c:pt>
                <c:pt idx="659">
                  <c:v>40091</c:v>
                </c:pt>
                <c:pt idx="660">
                  <c:v>40092</c:v>
                </c:pt>
                <c:pt idx="661">
                  <c:v>40093</c:v>
                </c:pt>
                <c:pt idx="662">
                  <c:v>40094</c:v>
                </c:pt>
                <c:pt idx="663">
                  <c:v>40095</c:v>
                </c:pt>
                <c:pt idx="664">
                  <c:v>40098</c:v>
                </c:pt>
                <c:pt idx="665">
                  <c:v>40099</c:v>
                </c:pt>
                <c:pt idx="666">
                  <c:v>40100</c:v>
                </c:pt>
                <c:pt idx="667">
                  <c:v>40101</c:v>
                </c:pt>
                <c:pt idx="668">
                  <c:v>40102</c:v>
                </c:pt>
                <c:pt idx="669">
                  <c:v>40105</c:v>
                </c:pt>
                <c:pt idx="670">
                  <c:v>40106</c:v>
                </c:pt>
                <c:pt idx="671">
                  <c:v>40107</c:v>
                </c:pt>
                <c:pt idx="672">
                  <c:v>40108</c:v>
                </c:pt>
                <c:pt idx="673">
                  <c:v>40109</c:v>
                </c:pt>
                <c:pt idx="674">
                  <c:v>40112</c:v>
                </c:pt>
                <c:pt idx="675">
                  <c:v>40113</c:v>
                </c:pt>
                <c:pt idx="676">
                  <c:v>40114</c:v>
                </c:pt>
                <c:pt idx="677">
                  <c:v>40115</c:v>
                </c:pt>
                <c:pt idx="678">
                  <c:v>40116</c:v>
                </c:pt>
                <c:pt idx="679">
                  <c:v>40119</c:v>
                </c:pt>
                <c:pt idx="680">
                  <c:v>40120</c:v>
                </c:pt>
                <c:pt idx="681">
                  <c:v>40121</c:v>
                </c:pt>
                <c:pt idx="682">
                  <c:v>40122</c:v>
                </c:pt>
                <c:pt idx="683">
                  <c:v>40123</c:v>
                </c:pt>
                <c:pt idx="684">
                  <c:v>40126</c:v>
                </c:pt>
                <c:pt idx="685">
                  <c:v>40127</c:v>
                </c:pt>
                <c:pt idx="686">
                  <c:v>40128</c:v>
                </c:pt>
                <c:pt idx="687">
                  <c:v>40129</c:v>
                </c:pt>
                <c:pt idx="688">
                  <c:v>40130</c:v>
                </c:pt>
                <c:pt idx="689">
                  <c:v>40133</c:v>
                </c:pt>
                <c:pt idx="690">
                  <c:v>40134</c:v>
                </c:pt>
                <c:pt idx="691">
                  <c:v>40135</c:v>
                </c:pt>
                <c:pt idx="692">
                  <c:v>40136</c:v>
                </c:pt>
                <c:pt idx="693">
                  <c:v>40137</c:v>
                </c:pt>
                <c:pt idx="694">
                  <c:v>40140</c:v>
                </c:pt>
                <c:pt idx="695">
                  <c:v>40141</c:v>
                </c:pt>
                <c:pt idx="696">
                  <c:v>40142</c:v>
                </c:pt>
                <c:pt idx="697">
                  <c:v>40144</c:v>
                </c:pt>
                <c:pt idx="698">
                  <c:v>40147</c:v>
                </c:pt>
                <c:pt idx="699">
                  <c:v>40148</c:v>
                </c:pt>
                <c:pt idx="700">
                  <c:v>40149</c:v>
                </c:pt>
                <c:pt idx="701">
                  <c:v>40150</c:v>
                </c:pt>
                <c:pt idx="702">
                  <c:v>40151</c:v>
                </c:pt>
                <c:pt idx="703">
                  <c:v>40154</c:v>
                </c:pt>
                <c:pt idx="704">
                  <c:v>40155</c:v>
                </c:pt>
                <c:pt idx="705">
                  <c:v>40156</c:v>
                </c:pt>
                <c:pt idx="706">
                  <c:v>40157</c:v>
                </c:pt>
                <c:pt idx="707">
                  <c:v>40158</c:v>
                </c:pt>
                <c:pt idx="708">
                  <c:v>40161</c:v>
                </c:pt>
                <c:pt idx="709">
                  <c:v>40162</c:v>
                </c:pt>
                <c:pt idx="710">
                  <c:v>40163</c:v>
                </c:pt>
                <c:pt idx="711">
                  <c:v>40164</c:v>
                </c:pt>
                <c:pt idx="712">
                  <c:v>40165</c:v>
                </c:pt>
                <c:pt idx="713">
                  <c:v>40168</c:v>
                </c:pt>
                <c:pt idx="714">
                  <c:v>40169</c:v>
                </c:pt>
                <c:pt idx="715">
                  <c:v>40170</c:v>
                </c:pt>
                <c:pt idx="716">
                  <c:v>40171</c:v>
                </c:pt>
                <c:pt idx="717">
                  <c:v>40175</c:v>
                </c:pt>
                <c:pt idx="718">
                  <c:v>40176</c:v>
                </c:pt>
                <c:pt idx="719">
                  <c:v>40177</c:v>
                </c:pt>
                <c:pt idx="720">
                  <c:v>40178</c:v>
                </c:pt>
                <c:pt idx="721">
                  <c:v>40182</c:v>
                </c:pt>
                <c:pt idx="722">
                  <c:v>40183</c:v>
                </c:pt>
                <c:pt idx="723">
                  <c:v>40184</c:v>
                </c:pt>
                <c:pt idx="724">
                  <c:v>40185</c:v>
                </c:pt>
                <c:pt idx="725">
                  <c:v>40186</c:v>
                </c:pt>
                <c:pt idx="726">
                  <c:v>40189</c:v>
                </c:pt>
                <c:pt idx="727">
                  <c:v>40190</c:v>
                </c:pt>
                <c:pt idx="728">
                  <c:v>40191</c:v>
                </c:pt>
                <c:pt idx="729">
                  <c:v>40192</c:v>
                </c:pt>
                <c:pt idx="730">
                  <c:v>40193</c:v>
                </c:pt>
                <c:pt idx="731">
                  <c:v>40197</c:v>
                </c:pt>
                <c:pt idx="732">
                  <c:v>40198</c:v>
                </c:pt>
                <c:pt idx="733">
                  <c:v>40199</c:v>
                </c:pt>
                <c:pt idx="734">
                  <c:v>40200</c:v>
                </c:pt>
                <c:pt idx="735">
                  <c:v>40203</c:v>
                </c:pt>
                <c:pt idx="736">
                  <c:v>40204</c:v>
                </c:pt>
                <c:pt idx="737">
                  <c:v>40205</c:v>
                </c:pt>
                <c:pt idx="738">
                  <c:v>40206</c:v>
                </c:pt>
                <c:pt idx="739">
                  <c:v>40207</c:v>
                </c:pt>
                <c:pt idx="740">
                  <c:v>40210</c:v>
                </c:pt>
                <c:pt idx="741">
                  <c:v>40211</c:v>
                </c:pt>
                <c:pt idx="742">
                  <c:v>40212</c:v>
                </c:pt>
                <c:pt idx="743">
                  <c:v>40213</c:v>
                </c:pt>
                <c:pt idx="744">
                  <c:v>40214</c:v>
                </c:pt>
                <c:pt idx="745">
                  <c:v>40217</c:v>
                </c:pt>
                <c:pt idx="746">
                  <c:v>40218</c:v>
                </c:pt>
                <c:pt idx="747">
                  <c:v>40219</c:v>
                </c:pt>
                <c:pt idx="748">
                  <c:v>40220</c:v>
                </c:pt>
                <c:pt idx="749">
                  <c:v>40221</c:v>
                </c:pt>
                <c:pt idx="750">
                  <c:v>40225</c:v>
                </c:pt>
                <c:pt idx="751">
                  <c:v>40226</c:v>
                </c:pt>
                <c:pt idx="752">
                  <c:v>40227</c:v>
                </c:pt>
                <c:pt idx="753">
                  <c:v>40228</c:v>
                </c:pt>
                <c:pt idx="754">
                  <c:v>40231</c:v>
                </c:pt>
                <c:pt idx="755">
                  <c:v>40232</c:v>
                </c:pt>
                <c:pt idx="756">
                  <c:v>40233</c:v>
                </c:pt>
                <c:pt idx="757">
                  <c:v>40234</c:v>
                </c:pt>
                <c:pt idx="758">
                  <c:v>40235</c:v>
                </c:pt>
                <c:pt idx="759">
                  <c:v>40238</c:v>
                </c:pt>
                <c:pt idx="760">
                  <c:v>40239</c:v>
                </c:pt>
                <c:pt idx="761">
                  <c:v>40240</c:v>
                </c:pt>
                <c:pt idx="762">
                  <c:v>40241</c:v>
                </c:pt>
                <c:pt idx="763">
                  <c:v>40242</c:v>
                </c:pt>
                <c:pt idx="764">
                  <c:v>40245</c:v>
                </c:pt>
                <c:pt idx="765">
                  <c:v>40246</c:v>
                </c:pt>
                <c:pt idx="766">
                  <c:v>40247</c:v>
                </c:pt>
                <c:pt idx="767">
                  <c:v>40248</c:v>
                </c:pt>
                <c:pt idx="768">
                  <c:v>40249</c:v>
                </c:pt>
                <c:pt idx="769">
                  <c:v>40252</c:v>
                </c:pt>
                <c:pt idx="770">
                  <c:v>40253</c:v>
                </c:pt>
                <c:pt idx="771">
                  <c:v>40254</c:v>
                </c:pt>
                <c:pt idx="772">
                  <c:v>40255</c:v>
                </c:pt>
                <c:pt idx="773">
                  <c:v>40256</c:v>
                </c:pt>
                <c:pt idx="774">
                  <c:v>40259</c:v>
                </c:pt>
                <c:pt idx="775">
                  <c:v>40260</c:v>
                </c:pt>
                <c:pt idx="776">
                  <c:v>40261</c:v>
                </c:pt>
                <c:pt idx="777">
                  <c:v>40262</c:v>
                </c:pt>
                <c:pt idx="778">
                  <c:v>40263</c:v>
                </c:pt>
                <c:pt idx="779">
                  <c:v>40266</c:v>
                </c:pt>
                <c:pt idx="780">
                  <c:v>40267</c:v>
                </c:pt>
                <c:pt idx="781">
                  <c:v>40268</c:v>
                </c:pt>
                <c:pt idx="782">
                  <c:v>40269</c:v>
                </c:pt>
                <c:pt idx="783">
                  <c:v>40273</c:v>
                </c:pt>
                <c:pt idx="784">
                  <c:v>40274</c:v>
                </c:pt>
                <c:pt idx="785">
                  <c:v>40275</c:v>
                </c:pt>
                <c:pt idx="786">
                  <c:v>40276</c:v>
                </c:pt>
                <c:pt idx="787">
                  <c:v>40277</c:v>
                </c:pt>
                <c:pt idx="788">
                  <c:v>40280</c:v>
                </c:pt>
                <c:pt idx="789">
                  <c:v>40281</c:v>
                </c:pt>
                <c:pt idx="790">
                  <c:v>40282</c:v>
                </c:pt>
                <c:pt idx="791">
                  <c:v>40283</c:v>
                </c:pt>
                <c:pt idx="792">
                  <c:v>40284</c:v>
                </c:pt>
                <c:pt idx="793">
                  <c:v>40287</c:v>
                </c:pt>
                <c:pt idx="794">
                  <c:v>40288</c:v>
                </c:pt>
                <c:pt idx="795">
                  <c:v>40289</c:v>
                </c:pt>
                <c:pt idx="796">
                  <c:v>40290</c:v>
                </c:pt>
                <c:pt idx="797">
                  <c:v>40291</c:v>
                </c:pt>
                <c:pt idx="798">
                  <c:v>40294</c:v>
                </c:pt>
                <c:pt idx="799">
                  <c:v>40295</c:v>
                </c:pt>
                <c:pt idx="800">
                  <c:v>40296</c:v>
                </c:pt>
                <c:pt idx="801">
                  <c:v>40297</c:v>
                </c:pt>
                <c:pt idx="802">
                  <c:v>40298</c:v>
                </c:pt>
                <c:pt idx="803">
                  <c:v>40301</c:v>
                </c:pt>
                <c:pt idx="804">
                  <c:v>40302</c:v>
                </c:pt>
                <c:pt idx="805">
                  <c:v>40303</c:v>
                </c:pt>
                <c:pt idx="806">
                  <c:v>40304</c:v>
                </c:pt>
                <c:pt idx="807">
                  <c:v>40305</c:v>
                </c:pt>
                <c:pt idx="808">
                  <c:v>40308</c:v>
                </c:pt>
                <c:pt idx="809">
                  <c:v>40309</c:v>
                </c:pt>
                <c:pt idx="810">
                  <c:v>40310</c:v>
                </c:pt>
                <c:pt idx="811">
                  <c:v>40311</c:v>
                </c:pt>
                <c:pt idx="812">
                  <c:v>40312</c:v>
                </c:pt>
                <c:pt idx="813">
                  <c:v>40315</c:v>
                </c:pt>
                <c:pt idx="814">
                  <c:v>40316</c:v>
                </c:pt>
                <c:pt idx="815">
                  <c:v>40317</c:v>
                </c:pt>
                <c:pt idx="816">
                  <c:v>40318</c:v>
                </c:pt>
                <c:pt idx="817">
                  <c:v>40319</c:v>
                </c:pt>
                <c:pt idx="818">
                  <c:v>40322</c:v>
                </c:pt>
                <c:pt idx="819">
                  <c:v>40323</c:v>
                </c:pt>
                <c:pt idx="820">
                  <c:v>40324</c:v>
                </c:pt>
                <c:pt idx="821">
                  <c:v>40325</c:v>
                </c:pt>
                <c:pt idx="822">
                  <c:v>40326</c:v>
                </c:pt>
                <c:pt idx="823">
                  <c:v>40330</c:v>
                </c:pt>
                <c:pt idx="824">
                  <c:v>40331</c:v>
                </c:pt>
                <c:pt idx="825">
                  <c:v>40332</c:v>
                </c:pt>
                <c:pt idx="826">
                  <c:v>40333</c:v>
                </c:pt>
                <c:pt idx="827">
                  <c:v>40336</c:v>
                </c:pt>
                <c:pt idx="828">
                  <c:v>40337</c:v>
                </c:pt>
                <c:pt idx="829">
                  <c:v>40338</c:v>
                </c:pt>
                <c:pt idx="830">
                  <c:v>40339</c:v>
                </c:pt>
                <c:pt idx="831">
                  <c:v>40340</c:v>
                </c:pt>
                <c:pt idx="832">
                  <c:v>40343</c:v>
                </c:pt>
                <c:pt idx="833">
                  <c:v>40344</c:v>
                </c:pt>
                <c:pt idx="834">
                  <c:v>40345</c:v>
                </c:pt>
                <c:pt idx="835">
                  <c:v>40346</c:v>
                </c:pt>
                <c:pt idx="836">
                  <c:v>40347</c:v>
                </c:pt>
                <c:pt idx="837">
                  <c:v>40350</c:v>
                </c:pt>
                <c:pt idx="838">
                  <c:v>40351</c:v>
                </c:pt>
                <c:pt idx="839">
                  <c:v>40352</c:v>
                </c:pt>
                <c:pt idx="840">
                  <c:v>40353</c:v>
                </c:pt>
                <c:pt idx="841">
                  <c:v>40354</c:v>
                </c:pt>
                <c:pt idx="842">
                  <c:v>40357</c:v>
                </c:pt>
                <c:pt idx="843">
                  <c:v>40358</c:v>
                </c:pt>
                <c:pt idx="844">
                  <c:v>40359</c:v>
                </c:pt>
                <c:pt idx="845">
                  <c:v>40360</c:v>
                </c:pt>
                <c:pt idx="846">
                  <c:v>40361</c:v>
                </c:pt>
                <c:pt idx="847">
                  <c:v>40365</c:v>
                </c:pt>
                <c:pt idx="848">
                  <c:v>40366</c:v>
                </c:pt>
                <c:pt idx="849">
                  <c:v>40367</c:v>
                </c:pt>
                <c:pt idx="850">
                  <c:v>40368</c:v>
                </c:pt>
                <c:pt idx="851">
                  <c:v>40371</c:v>
                </c:pt>
                <c:pt idx="852">
                  <c:v>40372</c:v>
                </c:pt>
                <c:pt idx="853">
                  <c:v>40373</c:v>
                </c:pt>
                <c:pt idx="854">
                  <c:v>40374</c:v>
                </c:pt>
                <c:pt idx="855">
                  <c:v>40375</c:v>
                </c:pt>
                <c:pt idx="856">
                  <c:v>40378</c:v>
                </c:pt>
                <c:pt idx="857">
                  <c:v>40379</c:v>
                </c:pt>
                <c:pt idx="858">
                  <c:v>40380</c:v>
                </c:pt>
                <c:pt idx="859">
                  <c:v>40381</c:v>
                </c:pt>
                <c:pt idx="860">
                  <c:v>40382</c:v>
                </c:pt>
                <c:pt idx="861">
                  <c:v>40385</c:v>
                </c:pt>
                <c:pt idx="862">
                  <c:v>40386</c:v>
                </c:pt>
                <c:pt idx="863">
                  <c:v>40387</c:v>
                </c:pt>
                <c:pt idx="864">
                  <c:v>40388</c:v>
                </c:pt>
                <c:pt idx="865">
                  <c:v>40389</c:v>
                </c:pt>
                <c:pt idx="866">
                  <c:v>40392</c:v>
                </c:pt>
                <c:pt idx="867">
                  <c:v>40393</c:v>
                </c:pt>
                <c:pt idx="868">
                  <c:v>40394</c:v>
                </c:pt>
                <c:pt idx="869">
                  <c:v>40395</c:v>
                </c:pt>
                <c:pt idx="870">
                  <c:v>40396</c:v>
                </c:pt>
                <c:pt idx="871">
                  <c:v>40399</c:v>
                </c:pt>
                <c:pt idx="872">
                  <c:v>40400</c:v>
                </c:pt>
                <c:pt idx="873">
                  <c:v>40401</c:v>
                </c:pt>
                <c:pt idx="874">
                  <c:v>40402</c:v>
                </c:pt>
                <c:pt idx="875">
                  <c:v>40403</c:v>
                </c:pt>
                <c:pt idx="876">
                  <c:v>40406</c:v>
                </c:pt>
                <c:pt idx="877">
                  <c:v>40407</c:v>
                </c:pt>
                <c:pt idx="878">
                  <c:v>40408</c:v>
                </c:pt>
                <c:pt idx="879">
                  <c:v>40409</c:v>
                </c:pt>
                <c:pt idx="880">
                  <c:v>40410</c:v>
                </c:pt>
                <c:pt idx="881">
                  <c:v>40413</c:v>
                </c:pt>
                <c:pt idx="882">
                  <c:v>40414</c:v>
                </c:pt>
                <c:pt idx="883">
                  <c:v>40415</c:v>
                </c:pt>
                <c:pt idx="884">
                  <c:v>40416</c:v>
                </c:pt>
                <c:pt idx="885">
                  <c:v>40417</c:v>
                </c:pt>
                <c:pt idx="886">
                  <c:v>40420</c:v>
                </c:pt>
                <c:pt idx="887">
                  <c:v>40421</c:v>
                </c:pt>
                <c:pt idx="888">
                  <c:v>40422</c:v>
                </c:pt>
                <c:pt idx="889">
                  <c:v>40423</c:v>
                </c:pt>
                <c:pt idx="890">
                  <c:v>40424</c:v>
                </c:pt>
                <c:pt idx="891">
                  <c:v>40428</c:v>
                </c:pt>
                <c:pt idx="892">
                  <c:v>40429</c:v>
                </c:pt>
                <c:pt idx="893">
                  <c:v>40430</c:v>
                </c:pt>
                <c:pt idx="894">
                  <c:v>40431</c:v>
                </c:pt>
                <c:pt idx="895">
                  <c:v>40434</c:v>
                </c:pt>
                <c:pt idx="896">
                  <c:v>40435</c:v>
                </c:pt>
                <c:pt idx="897">
                  <c:v>40436</c:v>
                </c:pt>
                <c:pt idx="898">
                  <c:v>40437</c:v>
                </c:pt>
                <c:pt idx="899">
                  <c:v>40438</c:v>
                </c:pt>
                <c:pt idx="900">
                  <c:v>40441</c:v>
                </c:pt>
                <c:pt idx="901">
                  <c:v>40442</c:v>
                </c:pt>
                <c:pt idx="902">
                  <c:v>40443</c:v>
                </c:pt>
                <c:pt idx="903">
                  <c:v>40444</c:v>
                </c:pt>
                <c:pt idx="904">
                  <c:v>40445</c:v>
                </c:pt>
                <c:pt idx="905">
                  <c:v>40448</c:v>
                </c:pt>
                <c:pt idx="906">
                  <c:v>40449</c:v>
                </c:pt>
                <c:pt idx="907">
                  <c:v>40450</c:v>
                </c:pt>
                <c:pt idx="908">
                  <c:v>40451</c:v>
                </c:pt>
                <c:pt idx="909">
                  <c:v>40452</c:v>
                </c:pt>
                <c:pt idx="910">
                  <c:v>40455</c:v>
                </c:pt>
                <c:pt idx="911">
                  <c:v>40456</c:v>
                </c:pt>
                <c:pt idx="912">
                  <c:v>40457</c:v>
                </c:pt>
                <c:pt idx="913">
                  <c:v>40458</c:v>
                </c:pt>
                <c:pt idx="914">
                  <c:v>40459</c:v>
                </c:pt>
                <c:pt idx="915">
                  <c:v>40462</c:v>
                </c:pt>
                <c:pt idx="916">
                  <c:v>40463</c:v>
                </c:pt>
                <c:pt idx="917">
                  <c:v>40464</c:v>
                </c:pt>
                <c:pt idx="918">
                  <c:v>40465</c:v>
                </c:pt>
                <c:pt idx="919">
                  <c:v>40466</c:v>
                </c:pt>
                <c:pt idx="920">
                  <c:v>40469</c:v>
                </c:pt>
                <c:pt idx="921">
                  <c:v>40470</c:v>
                </c:pt>
                <c:pt idx="922">
                  <c:v>40471</c:v>
                </c:pt>
                <c:pt idx="923">
                  <c:v>40472</c:v>
                </c:pt>
                <c:pt idx="924">
                  <c:v>40473</c:v>
                </c:pt>
                <c:pt idx="925">
                  <c:v>40476</c:v>
                </c:pt>
                <c:pt idx="926">
                  <c:v>40477</c:v>
                </c:pt>
                <c:pt idx="927">
                  <c:v>40478</c:v>
                </c:pt>
                <c:pt idx="928">
                  <c:v>40479</c:v>
                </c:pt>
                <c:pt idx="929">
                  <c:v>40480</c:v>
                </c:pt>
                <c:pt idx="930">
                  <c:v>40483</c:v>
                </c:pt>
                <c:pt idx="931">
                  <c:v>40484</c:v>
                </c:pt>
                <c:pt idx="932">
                  <c:v>40485</c:v>
                </c:pt>
                <c:pt idx="933">
                  <c:v>40486</c:v>
                </c:pt>
                <c:pt idx="934">
                  <c:v>40487</c:v>
                </c:pt>
                <c:pt idx="935">
                  <c:v>40490</c:v>
                </c:pt>
                <c:pt idx="936">
                  <c:v>40491</c:v>
                </c:pt>
                <c:pt idx="937">
                  <c:v>40492</c:v>
                </c:pt>
                <c:pt idx="938">
                  <c:v>40493</c:v>
                </c:pt>
                <c:pt idx="939">
                  <c:v>40494</c:v>
                </c:pt>
                <c:pt idx="940">
                  <c:v>40497</c:v>
                </c:pt>
                <c:pt idx="941">
                  <c:v>40498</c:v>
                </c:pt>
                <c:pt idx="942">
                  <c:v>40499</c:v>
                </c:pt>
                <c:pt idx="943">
                  <c:v>40500</c:v>
                </c:pt>
                <c:pt idx="944">
                  <c:v>40501</c:v>
                </c:pt>
                <c:pt idx="945">
                  <c:v>40504</c:v>
                </c:pt>
                <c:pt idx="946">
                  <c:v>40505</c:v>
                </c:pt>
                <c:pt idx="947">
                  <c:v>40506</c:v>
                </c:pt>
                <c:pt idx="948">
                  <c:v>40508</c:v>
                </c:pt>
                <c:pt idx="949">
                  <c:v>40511</c:v>
                </c:pt>
                <c:pt idx="950">
                  <c:v>40512</c:v>
                </c:pt>
                <c:pt idx="951">
                  <c:v>40513</c:v>
                </c:pt>
                <c:pt idx="952">
                  <c:v>40514</c:v>
                </c:pt>
                <c:pt idx="953">
                  <c:v>40515</c:v>
                </c:pt>
                <c:pt idx="954">
                  <c:v>40518</c:v>
                </c:pt>
                <c:pt idx="955">
                  <c:v>40519</c:v>
                </c:pt>
                <c:pt idx="956">
                  <c:v>40520</c:v>
                </c:pt>
                <c:pt idx="957">
                  <c:v>40521</c:v>
                </c:pt>
                <c:pt idx="958">
                  <c:v>40522</c:v>
                </c:pt>
                <c:pt idx="959">
                  <c:v>40525</c:v>
                </c:pt>
                <c:pt idx="960">
                  <c:v>40526</c:v>
                </c:pt>
                <c:pt idx="961">
                  <c:v>40527</c:v>
                </c:pt>
                <c:pt idx="962">
                  <c:v>40528</c:v>
                </c:pt>
                <c:pt idx="963">
                  <c:v>40529</c:v>
                </c:pt>
                <c:pt idx="964">
                  <c:v>40532</c:v>
                </c:pt>
                <c:pt idx="965">
                  <c:v>40533</c:v>
                </c:pt>
                <c:pt idx="966">
                  <c:v>40534</c:v>
                </c:pt>
                <c:pt idx="967">
                  <c:v>40535</c:v>
                </c:pt>
                <c:pt idx="968">
                  <c:v>40539</c:v>
                </c:pt>
                <c:pt idx="969">
                  <c:v>40540</c:v>
                </c:pt>
                <c:pt idx="970">
                  <c:v>40541</c:v>
                </c:pt>
                <c:pt idx="971">
                  <c:v>40542</c:v>
                </c:pt>
                <c:pt idx="972">
                  <c:v>40543</c:v>
                </c:pt>
                <c:pt idx="973">
                  <c:v>40546</c:v>
                </c:pt>
                <c:pt idx="974">
                  <c:v>40547</c:v>
                </c:pt>
                <c:pt idx="975">
                  <c:v>40548</c:v>
                </c:pt>
                <c:pt idx="976">
                  <c:v>40549</c:v>
                </c:pt>
                <c:pt idx="977">
                  <c:v>40550</c:v>
                </c:pt>
                <c:pt idx="978">
                  <c:v>40553</c:v>
                </c:pt>
                <c:pt idx="979">
                  <c:v>40554</c:v>
                </c:pt>
                <c:pt idx="980">
                  <c:v>40555</c:v>
                </c:pt>
                <c:pt idx="981">
                  <c:v>40556</c:v>
                </c:pt>
                <c:pt idx="982">
                  <c:v>40557</c:v>
                </c:pt>
                <c:pt idx="983">
                  <c:v>40561</c:v>
                </c:pt>
                <c:pt idx="984">
                  <c:v>40562</c:v>
                </c:pt>
                <c:pt idx="985">
                  <c:v>40563</c:v>
                </c:pt>
                <c:pt idx="986">
                  <c:v>40564</c:v>
                </c:pt>
                <c:pt idx="987">
                  <c:v>40567</c:v>
                </c:pt>
                <c:pt idx="988">
                  <c:v>40568</c:v>
                </c:pt>
                <c:pt idx="989">
                  <c:v>40569</c:v>
                </c:pt>
                <c:pt idx="990">
                  <c:v>40570</c:v>
                </c:pt>
                <c:pt idx="991">
                  <c:v>40571</c:v>
                </c:pt>
                <c:pt idx="992">
                  <c:v>40574</c:v>
                </c:pt>
                <c:pt idx="993">
                  <c:v>40575</c:v>
                </c:pt>
                <c:pt idx="994">
                  <c:v>40576</c:v>
                </c:pt>
                <c:pt idx="995">
                  <c:v>40577</c:v>
                </c:pt>
                <c:pt idx="996">
                  <c:v>40578</c:v>
                </c:pt>
                <c:pt idx="997">
                  <c:v>40581</c:v>
                </c:pt>
                <c:pt idx="998">
                  <c:v>40582</c:v>
                </c:pt>
                <c:pt idx="999">
                  <c:v>40583</c:v>
                </c:pt>
                <c:pt idx="1000">
                  <c:v>40584</c:v>
                </c:pt>
                <c:pt idx="1001">
                  <c:v>40585</c:v>
                </c:pt>
                <c:pt idx="1002">
                  <c:v>40588</c:v>
                </c:pt>
                <c:pt idx="1003">
                  <c:v>40589</c:v>
                </c:pt>
                <c:pt idx="1004">
                  <c:v>40590</c:v>
                </c:pt>
                <c:pt idx="1005">
                  <c:v>40591</c:v>
                </c:pt>
                <c:pt idx="1006">
                  <c:v>40592</c:v>
                </c:pt>
                <c:pt idx="1007">
                  <c:v>40596</c:v>
                </c:pt>
                <c:pt idx="1008">
                  <c:v>40597</c:v>
                </c:pt>
                <c:pt idx="1009">
                  <c:v>40598</c:v>
                </c:pt>
                <c:pt idx="1010">
                  <c:v>40599</c:v>
                </c:pt>
                <c:pt idx="1011">
                  <c:v>40602</c:v>
                </c:pt>
                <c:pt idx="1012">
                  <c:v>40603</c:v>
                </c:pt>
                <c:pt idx="1013">
                  <c:v>40604</c:v>
                </c:pt>
                <c:pt idx="1014">
                  <c:v>40605</c:v>
                </c:pt>
                <c:pt idx="1015">
                  <c:v>40606</c:v>
                </c:pt>
                <c:pt idx="1016">
                  <c:v>40609</c:v>
                </c:pt>
                <c:pt idx="1017">
                  <c:v>40610</c:v>
                </c:pt>
                <c:pt idx="1018">
                  <c:v>40611</c:v>
                </c:pt>
                <c:pt idx="1019">
                  <c:v>40612</c:v>
                </c:pt>
                <c:pt idx="1020">
                  <c:v>40613</c:v>
                </c:pt>
                <c:pt idx="1021">
                  <c:v>40616</c:v>
                </c:pt>
                <c:pt idx="1022">
                  <c:v>40617</c:v>
                </c:pt>
                <c:pt idx="1023">
                  <c:v>40618</c:v>
                </c:pt>
                <c:pt idx="1024">
                  <c:v>40619</c:v>
                </c:pt>
                <c:pt idx="1025">
                  <c:v>40620</c:v>
                </c:pt>
                <c:pt idx="1026">
                  <c:v>40623</c:v>
                </c:pt>
                <c:pt idx="1027">
                  <c:v>40624</c:v>
                </c:pt>
                <c:pt idx="1028">
                  <c:v>40625</c:v>
                </c:pt>
                <c:pt idx="1029">
                  <c:v>40626</c:v>
                </c:pt>
                <c:pt idx="1030">
                  <c:v>40627</c:v>
                </c:pt>
                <c:pt idx="1031">
                  <c:v>40630</c:v>
                </c:pt>
                <c:pt idx="1032">
                  <c:v>40631</c:v>
                </c:pt>
                <c:pt idx="1033">
                  <c:v>40632</c:v>
                </c:pt>
                <c:pt idx="1034">
                  <c:v>40633</c:v>
                </c:pt>
                <c:pt idx="1035">
                  <c:v>40634</c:v>
                </c:pt>
                <c:pt idx="1036">
                  <c:v>40637</c:v>
                </c:pt>
                <c:pt idx="1037">
                  <c:v>40638</c:v>
                </c:pt>
                <c:pt idx="1038">
                  <c:v>40639</c:v>
                </c:pt>
                <c:pt idx="1039">
                  <c:v>40640</c:v>
                </c:pt>
                <c:pt idx="1040">
                  <c:v>40641</c:v>
                </c:pt>
                <c:pt idx="1041">
                  <c:v>40644</c:v>
                </c:pt>
                <c:pt idx="1042">
                  <c:v>40645</c:v>
                </c:pt>
                <c:pt idx="1043">
                  <c:v>40646</c:v>
                </c:pt>
                <c:pt idx="1044">
                  <c:v>40647</c:v>
                </c:pt>
                <c:pt idx="1045">
                  <c:v>40648</c:v>
                </c:pt>
                <c:pt idx="1046">
                  <c:v>40651</c:v>
                </c:pt>
                <c:pt idx="1047">
                  <c:v>40652</c:v>
                </c:pt>
                <c:pt idx="1048">
                  <c:v>40653</c:v>
                </c:pt>
                <c:pt idx="1049">
                  <c:v>40654</c:v>
                </c:pt>
                <c:pt idx="1050">
                  <c:v>40658</c:v>
                </c:pt>
                <c:pt idx="1051">
                  <c:v>40659</c:v>
                </c:pt>
                <c:pt idx="1052">
                  <c:v>40660</c:v>
                </c:pt>
                <c:pt idx="1053">
                  <c:v>40661</c:v>
                </c:pt>
                <c:pt idx="1054">
                  <c:v>40662</c:v>
                </c:pt>
                <c:pt idx="1055">
                  <c:v>40665</c:v>
                </c:pt>
                <c:pt idx="1056">
                  <c:v>40666</c:v>
                </c:pt>
                <c:pt idx="1057">
                  <c:v>40667</c:v>
                </c:pt>
                <c:pt idx="1058">
                  <c:v>40668</c:v>
                </c:pt>
                <c:pt idx="1059">
                  <c:v>40669</c:v>
                </c:pt>
                <c:pt idx="1060">
                  <c:v>40672</c:v>
                </c:pt>
                <c:pt idx="1061">
                  <c:v>40673</c:v>
                </c:pt>
                <c:pt idx="1062">
                  <c:v>40674</c:v>
                </c:pt>
                <c:pt idx="1063">
                  <c:v>40675</c:v>
                </c:pt>
                <c:pt idx="1064">
                  <c:v>40676</c:v>
                </c:pt>
                <c:pt idx="1065">
                  <c:v>40679</c:v>
                </c:pt>
                <c:pt idx="1066">
                  <c:v>40680</c:v>
                </c:pt>
                <c:pt idx="1067">
                  <c:v>40681</c:v>
                </c:pt>
                <c:pt idx="1068">
                  <c:v>40682</c:v>
                </c:pt>
                <c:pt idx="1069">
                  <c:v>40683</c:v>
                </c:pt>
                <c:pt idx="1070">
                  <c:v>40686</c:v>
                </c:pt>
                <c:pt idx="1071">
                  <c:v>40687</c:v>
                </c:pt>
                <c:pt idx="1072">
                  <c:v>40688</c:v>
                </c:pt>
                <c:pt idx="1073">
                  <c:v>40689</c:v>
                </c:pt>
                <c:pt idx="1074">
                  <c:v>40690</c:v>
                </c:pt>
                <c:pt idx="1075">
                  <c:v>40694</c:v>
                </c:pt>
                <c:pt idx="1076">
                  <c:v>40695</c:v>
                </c:pt>
                <c:pt idx="1077">
                  <c:v>40696</c:v>
                </c:pt>
                <c:pt idx="1078">
                  <c:v>40697</c:v>
                </c:pt>
                <c:pt idx="1079">
                  <c:v>40700</c:v>
                </c:pt>
                <c:pt idx="1080">
                  <c:v>40701</c:v>
                </c:pt>
                <c:pt idx="1081">
                  <c:v>40702</c:v>
                </c:pt>
                <c:pt idx="1082">
                  <c:v>40703</c:v>
                </c:pt>
                <c:pt idx="1083">
                  <c:v>40704</c:v>
                </c:pt>
                <c:pt idx="1084">
                  <c:v>40707</c:v>
                </c:pt>
                <c:pt idx="1085">
                  <c:v>40708</c:v>
                </c:pt>
                <c:pt idx="1086">
                  <c:v>40709</c:v>
                </c:pt>
                <c:pt idx="1087">
                  <c:v>40710</c:v>
                </c:pt>
                <c:pt idx="1088">
                  <c:v>40711</c:v>
                </c:pt>
                <c:pt idx="1089">
                  <c:v>40714</c:v>
                </c:pt>
                <c:pt idx="1090">
                  <c:v>40715</c:v>
                </c:pt>
                <c:pt idx="1091">
                  <c:v>40716</c:v>
                </c:pt>
                <c:pt idx="1092">
                  <c:v>40717</c:v>
                </c:pt>
                <c:pt idx="1093">
                  <c:v>40718</c:v>
                </c:pt>
                <c:pt idx="1094">
                  <c:v>40721</c:v>
                </c:pt>
                <c:pt idx="1095">
                  <c:v>40722</c:v>
                </c:pt>
                <c:pt idx="1096">
                  <c:v>40723</c:v>
                </c:pt>
                <c:pt idx="1097">
                  <c:v>40724</c:v>
                </c:pt>
                <c:pt idx="1098">
                  <c:v>40725</c:v>
                </c:pt>
                <c:pt idx="1099">
                  <c:v>40729</c:v>
                </c:pt>
                <c:pt idx="1100">
                  <c:v>40730</c:v>
                </c:pt>
                <c:pt idx="1101">
                  <c:v>40731</c:v>
                </c:pt>
                <c:pt idx="1102">
                  <c:v>40732</c:v>
                </c:pt>
                <c:pt idx="1103">
                  <c:v>40735</c:v>
                </c:pt>
                <c:pt idx="1104">
                  <c:v>40736</c:v>
                </c:pt>
                <c:pt idx="1105">
                  <c:v>40737</c:v>
                </c:pt>
                <c:pt idx="1106">
                  <c:v>40738</c:v>
                </c:pt>
                <c:pt idx="1107">
                  <c:v>40739</c:v>
                </c:pt>
                <c:pt idx="1108">
                  <c:v>40742</c:v>
                </c:pt>
                <c:pt idx="1109">
                  <c:v>40743</c:v>
                </c:pt>
                <c:pt idx="1110">
                  <c:v>40744</c:v>
                </c:pt>
                <c:pt idx="1111">
                  <c:v>40745</c:v>
                </c:pt>
                <c:pt idx="1112">
                  <c:v>40746</c:v>
                </c:pt>
                <c:pt idx="1113">
                  <c:v>40749</c:v>
                </c:pt>
                <c:pt idx="1114">
                  <c:v>40750</c:v>
                </c:pt>
                <c:pt idx="1115">
                  <c:v>40751</c:v>
                </c:pt>
                <c:pt idx="1116">
                  <c:v>40752</c:v>
                </c:pt>
                <c:pt idx="1117">
                  <c:v>40753</c:v>
                </c:pt>
                <c:pt idx="1118">
                  <c:v>40756</c:v>
                </c:pt>
                <c:pt idx="1119">
                  <c:v>40757</c:v>
                </c:pt>
                <c:pt idx="1120">
                  <c:v>40758</c:v>
                </c:pt>
                <c:pt idx="1121">
                  <c:v>40759</c:v>
                </c:pt>
                <c:pt idx="1122">
                  <c:v>40760</c:v>
                </c:pt>
                <c:pt idx="1123">
                  <c:v>40763</c:v>
                </c:pt>
                <c:pt idx="1124">
                  <c:v>40764</c:v>
                </c:pt>
                <c:pt idx="1125">
                  <c:v>40765</c:v>
                </c:pt>
                <c:pt idx="1126">
                  <c:v>40766</c:v>
                </c:pt>
                <c:pt idx="1127">
                  <c:v>40767</c:v>
                </c:pt>
                <c:pt idx="1128">
                  <c:v>40770</c:v>
                </c:pt>
                <c:pt idx="1129">
                  <c:v>40771</c:v>
                </c:pt>
                <c:pt idx="1130">
                  <c:v>40772</c:v>
                </c:pt>
                <c:pt idx="1131">
                  <c:v>40773</c:v>
                </c:pt>
                <c:pt idx="1132">
                  <c:v>40774</c:v>
                </c:pt>
                <c:pt idx="1133">
                  <c:v>40777</c:v>
                </c:pt>
                <c:pt idx="1134">
                  <c:v>40778</c:v>
                </c:pt>
                <c:pt idx="1135">
                  <c:v>40779</c:v>
                </c:pt>
                <c:pt idx="1136">
                  <c:v>40780</c:v>
                </c:pt>
                <c:pt idx="1137">
                  <c:v>40781</c:v>
                </c:pt>
                <c:pt idx="1138">
                  <c:v>40784</c:v>
                </c:pt>
                <c:pt idx="1139">
                  <c:v>40785</c:v>
                </c:pt>
                <c:pt idx="1140">
                  <c:v>40786</c:v>
                </c:pt>
                <c:pt idx="1141">
                  <c:v>40787</c:v>
                </c:pt>
                <c:pt idx="1142">
                  <c:v>40788</c:v>
                </c:pt>
                <c:pt idx="1143">
                  <c:v>40792</c:v>
                </c:pt>
                <c:pt idx="1144">
                  <c:v>40793</c:v>
                </c:pt>
                <c:pt idx="1145">
                  <c:v>40794</c:v>
                </c:pt>
                <c:pt idx="1146">
                  <c:v>40795</c:v>
                </c:pt>
                <c:pt idx="1147">
                  <c:v>40798</c:v>
                </c:pt>
                <c:pt idx="1148">
                  <c:v>40799</c:v>
                </c:pt>
                <c:pt idx="1149">
                  <c:v>40800</c:v>
                </c:pt>
                <c:pt idx="1150">
                  <c:v>40801</c:v>
                </c:pt>
                <c:pt idx="1151">
                  <c:v>40802</c:v>
                </c:pt>
                <c:pt idx="1152">
                  <c:v>40805</c:v>
                </c:pt>
                <c:pt idx="1153">
                  <c:v>40806</c:v>
                </c:pt>
                <c:pt idx="1154">
                  <c:v>40807</c:v>
                </c:pt>
                <c:pt idx="1155">
                  <c:v>40808</c:v>
                </c:pt>
                <c:pt idx="1156">
                  <c:v>40809</c:v>
                </c:pt>
                <c:pt idx="1157">
                  <c:v>40812</c:v>
                </c:pt>
                <c:pt idx="1158">
                  <c:v>40813</c:v>
                </c:pt>
                <c:pt idx="1159">
                  <c:v>40814</c:v>
                </c:pt>
                <c:pt idx="1160">
                  <c:v>40815</c:v>
                </c:pt>
                <c:pt idx="1161">
                  <c:v>40816</c:v>
                </c:pt>
                <c:pt idx="1162">
                  <c:v>40819</c:v>
                </c:pt>
                <c:pt idx="1163">
                  <c:v>40820</c:v>
                </c:pt>
                <c:pt idx="1164">
                  <c:v>40821</c:v>
                </c:pt>
                <c:pt idx="1165">
                  <c:v>40822</c:v>
                </c:pt>
                <c:pt idx="1166">
                  <c:v>40823</c:v>
                </c:pt>
                <c:pt idx="1167">
                  <c:v>40826</c:v>
                </c:pt>
                <c:pt idx="1168">
                  <c:v>40827</c:v>
                </c:pt>
                <c:pt idx="1169">
                  <c:v>40828</c:v>
                </c:pt>
                <c:pt idx="1170">
                  <c:v>40829</c:v>
                </c:pt>
                <c:pt idx="1171">
                  <c:v>40830</c:v>
                </c:pt>
                <c:pt idx="1172">
                  <c:v>40833</c:v>
                </c:pt>
                <c:pt idx="1173">
                  <c:v>40834</c:v>
                </c:pt>
                <c:pt idx="1174">
                  <c:v>40835</c:v>
                </c:pt>
                <c:pt idx="1175">
                  <c:v>40836</c:v>
                </c:pt>
                <c:pt idx="1176">
                  <c:v>40837</c:v>
                </c:pt>
                <c:pt idx="1177">
                  <c:v>40840</c:v>
                </c:pt>
                <c:pt idx="1178">
                  <c:v>40841</c:v>
                </c:pt>
                <c:pt idx="1179">
                  <c:v>40842</c:v>
                </c:pt>
                <c:pt idx="1180">
                  <c:v>40843</c:v>
                </c:pt>
                <c:pt idx="1181">
                  <c:v>40844</c:v>
                </c:pt>
                <c:pt idx="1182">
                  <c:v>40847</c:v>
                </c:pt>
                <c:pt idx="1183">
                  <c:v>40848</c:v>
                </c:pt>
                <c:pt idx="1184">
                  <c:v>40849</c:v>
                </c:pt>
                <c:pt idx="1185">
                  <c:v>40850</c:v>
                </c:pt>
                <c:pt idx="1186">
                  <c:v>40851</c:v>
                </c:pt>
                <c:pt idx="1187">
                  <c:v>40854</c:v>
                </c:pt>
                <c:pt idx="1188">
                  <c:v>40855</c:v>
                </c:pt>
                <c:pt idx="1189">
                  <c:v>40856</c:v>
                </c:pt>
                <c:pt idx="1190">
                  <c:v>40857</c:v>
                </c:pt>
                <c:pt idx="1191">
                  <c:v>40858</c:v>
                </c:pt>
                <c:pt idx="1192">
                  <c:v>40861</c:v>
                </c:pt>
                <c:pt idx="1193">
                  <c:v>40862</c:v>
                </c:pt>
                <c:pt idx="1194">
                  <c:v>40863</c:v>
                </c:pt>
                <c:pt idx="1195">
                  <c:v>40864</c:v>
                </c:pt>
                <c:pt idx="1196">
                  <c:v>40865</c:v>
                </c:pt>
                <c:pt idx="1197">
                  <c:v>40868</c:v>
                </c:pt>
                <c:pt idx="1198">
                  <c:v>40869</c:v>
                </c:pt>
                <c:pt idx="1199">
                  <c:v>40870</c:v>
                </c:pt>
                <c:pt idx="1200">
                  <c:v>40872</c:v>
                </c:pt>
                <c:pt idx="1201">
                  <c:v>40875</c:v>
                </c:pt>
                <c:pt idx="1202">
                  <c:v>40876</c:v>
                </c:pt>
                <c:pt idx="1203">
                  <c:v>40877</c:v>
                </c:pt>
                <c:pt idx="1204">
                  <c:v>40878</c:v>
                </c:pt>
                <c:pt idx="1205">
                  <c:v>40879</c:v>
                </c:pt>
                <c:pt idx="1206">
                  <c:v>40882</c:v>
                </c:pt>
                <c:pt idx="1207">
                  <c:v>40883</c:v>
                </c:pt>
                <c:pt idx="1208">
                  <c:v>40884</c:v>
                </c:pt>
                <c:pt idx="1209">
                  <c:v>40885</c:v>
                </c:pt>
                <c:pt idx="1210">
                  <c:v>40886</c:v>
                </c:pt>
                <c:pt idx="1211">
                  <c:v>40889</c:v>
                </c:pt>
                <c:pt idx="1212">
                  <c:v>40890</c:v>
                </c:pt>
                <c:pt idx="1213">
                  <c:v>40891</c:v>
                </c:pt>
                <c:pt idx="1214">
                  <c:v>40892</c:v>
                </c:pt>
                <c:pt idx="1215">
                  <c:v>40893</c:v>
                </c:pt>
                <c:pt idx="1216">
                  <c:v>40896</c:v>
                </c:pt>
                <c:pt idx="1217">
                  <c:v>40897</c:v>
                </c:pt>
                <c:pt idx="1218">
                  <c:v>40898</c:v>
                </c:pt>
                <c:pt idx="1219">
                  <c:v>40899</c:v>
                </c:pt>
                <c:pt idx="1220">
                  <c:v>40900</c:v>
                </c:pt>
                <c:pt idx="1221">
                  <c:v>40904</c:v>
                </c:pt>
                <c:pt idx="1222">
                  <c:v>40905</c:v>
                </c:pt>
                <c:pt idx="1223">
                  <c:v>40906</c:v>
                </c:pt>
                <c:pt idx="1224">
                  <c:v>40907</c:v>
                </c:pt>
                <c:pt idx="1225">
                  <c:v>40911</c:v>
                </c:pt>
                <c:pt idx="1226">
                  <c:v>40912</c:v>
                </c:pt>
                <c:pt idx="1227">
                  <c:v>40913</c:v>
                </c:pt>
                <c:pt idx="1228">
                  <c:v>40914</c:v>
                </c:pt>
                <c:pt idx="1229">
                  <c:v>40917</c:v>
                </c:pt>
                <c:pt idx="1230">
                  <c:v>40918</c:v>
                </c:pt>
                <c:pt idx="1231">
                  <c:v>40919</c:v>
                </c:pt>
                <c:pt idx="1232">
                  <c:v>40920</c:v>
                </c:pt>
                <c:pt idx="1233">
                  <c:v>40921</c:v>
                </c:pt>
                <c:pt idx="1234">
                  <c:v>40925</c:v>
                </c:pt>
                <c:pt idx="1235">
                  <c:v>40926</c:v>
                </c:pt>
                <c:pt idx="1236">
                  <c:v>40927</c:v>
                </c:pt>
                <c:pt idx="1237">
                  <c:v>40928</c:v>
                </c:pt>
                <c:pt idx="1238">
                  <c:v>40931</c:v>
                </c:pt>
                <c:pt idx="1239">
                  <c:v>40932</c:v>
                </c:pt>
                <c:pt idx="1240">
                  <c:v>40933</c:v>
                </c:pt>
                <c:pt idx="1241">
                  <c:v>40934</c:v>
                </c:pt>
                <c:pt idx="1242">
                  <c:v>40935</c:v>
                </c:pt>
                <c:pt idx="1243">
                  <c:v>40938</c:v>
                </c:pt>
                <c:pt idx="1244">
                  <c:v>40939</c:v>
                </c:pt>
                <c:pt idx="1245">
                  <c:v>40940</c:v>
                </c:pt>
                <c:pt idx="1246">
                  <c:v>40941</c:v>
                </c:pt>
                <c:pt idx="1247">
                  <c:v>40942</c:v>
                </c:pt>
                <c:pt idx="1248">
                  <c:v>40945</c:v>
                </c:pt>
                <c:pt idx="1249">
                  <c:v>40946</c:v>
                </c:pt>
                <c:pt idx="1250">
                  <c:v>40947</c:v>
                </c:pt>
                <c:pt idx="1251">
                  <c:v>40948</c:v>
                </c:pt>
                <c:pt idx="1252">
                  <c:v>40949</c:v>
                </c:pt>
                <c:pt idx="1253">
                  <c:v>40952</c:v>
                </c:pt>
                <c:pt idx="1254">
                  <c:v>40953</c:v>
                </c:pt>
                <c:pt idx="1255">
                  <c:v>40954</c:v>
                </c:pt>
                <c:pt idx="1256">
                  <c:v>40955</c:v>
                </c:pt>
                <c:pt idx="1257">
                  <c:v>40956</c:v>
                </c:pt>
                <c:pt idx="1258">
                  <c:v>40960</c:v>
                </c:pt>
                <c:pt idx="1259">
                  <c:v>40961</c:v>
                </c:pt>
                <c:pt idx="1260">
                  <c:v>40962</c:v>
                </c:pt>
                <c:pt idx="1261">
                  <c:v>40963</c:v>
                </c:pt>
                <c:pt idx="1262">
                  <c:v>40966</c:v>
                </c:pt>
                <c:pt idx="1263">
                  <c:v>40967</c:v>
                </c:pt>
                <c:pt idx="1264">
                  <c:v>40968</c:v>
                </c:pt>
                <c:pt idx="1265">
                  <c:v>40969</c:v>
                </c:pt>
                <c:pt idx="1266">
                  <c:v>40970</c:v>
                </c:pt>
                <c:pt idx="1267">
                  <c:v>40973</c:v>
                </c:pt>
                <c:pt idx="1268">
                  <c:v>40974</c:v>
                </c:pt>
                <c:pt idx="1269">
                  <c:v>40975</c:v>
                </c:pt>
                <c:pt idx="1270">
                  <c:v>40976</c:v>
                </c:pt>
                <c:pt idx="1271">
                  <c:v>40977</c:v>
                </c:pt>
                <c:pt idx="1272">
                  <c:v>40980</c:v>
                </c:pt>
                <c:pt idx="1273">
                  <c:v>40981</c:v>
                </c:pt>
                <c:pt idx="1274">
                  <c:v>40982</c:v>
                </c:pt>
                <c:pt idx="1275">
                  <c:v>40983</c:v>
                </c:pt>
                <c:pt idx="1276">
                  <c:v>40984</c:v>
                </c:pt>
                <c:pt idx="1277">
                  <c:v>40987</c:v>
                </c:pt>
                <c:pt idx="1278">
                  <c:v>40988</c:v>
                </c:pt>
                <c:pt idx="1279">
                  <c:v>40989</c:v>
                </c:pt>
                <c:pt idx="1280">
                  <c:v>40990</c:v>
                </c:pt>
                <c:pt idx="1281">
                  <c:v>40991</c:v>
                </c:pt>
                <c:pt idx="1282">
                  <c:v>40994</c:v>
                </c:pt>
                <c:pt idx="1283">
                  <c:v>40995</c:v>
                </c:pt>
                <c:pt idx="1284">
                  <c:v>40996</c:v>
                </c:pt>
                <c:pt idx="1285">
                  <c:v>40997</c:v>
                </c:pt>
                <c:pt idx="1286">
                  <c:v>40998</c:v>
                </c:pt>
                <c:pt idx="1287">
                  <c:v>41001</c:v>
                </c:pt>
                <c:pt idx="1288">
                  <c:v>41002</c:v>
                </c:pt>
                <c:pt idx="1289">
                  <c:v>41003</c:v>
                </c:pt>
                <c:pt idx="1290">
                  <c:v>41004</c:v>
                </c:pt>
                <c:pt idx="1291">
                  <c:v>41008</c:v>
                </c:pt>
                <c:pt idx="1292">
                  <c:v>41009</c:v>
                </c:pt>
                <c:pt idx="1293">
                  <c:v>41010</c:v>
                </c:pt>
                <c:pt idx="1294">
                  <c:v>41011</c:v>
                </c:pt>
                <c:pt idx="1295">
                  <c:v>41012</c:v>
                </c:pt>
                <c:pt idx="1296">
                  <c:v>41015</c:v>
                </c:pt>
                <c:pt idx="1297">
                  <c:v>41016</c:v>
                </c:pt>
                <c:pt idx="1298">
                  <c:v>41017</c:v>
                </c:pt>
                <c:pt idx="1299">
                  <c:v>41018</c:v>
                </c:pt>
                <c:pt idx="1300">
                  <c:v>41019</c:v>
                </c:pt>
                <c:pt idx="1301">
                  <c:v>41022</c:v>
                </c:pt>
                <c:pt idx="1302">
                  <c:v>41023</c:v>
                </c:pt>
                <c:pt idx="1303">
                  <c:v>41024</c:v>
                </c:pt>
                <c:pt idx="1304">
                  <c:v>41025</c:v>
                </c:pt>
                <c:pt idx="1305">
                  <c:v>41026</c:v>
                </c:pt>
                <c:pt idx="1306">
                  <c:v>41029</c:v>
                </c:pt>
                <c:pt idx="1307">
                  <c:v>41030</c:v>
                </c:pt>
                <c:pt idx="1308">
                  <c:v>41031</c:v>
                </c:pt>
                <c:pt idx="1309">
                  <c:v>41032</c:v>
                </c:pt>
                <c:pt idx="1310">
                  <c:v>41033</c:v>
                </c:pt>
                <c:pt idx="1311">
                  <c:v>41036</c:v>
                </c:pt>
                <c:pt idx="1312">
                  <c:v>41037</c:v>
                </c:pt>
                <c:pt idx="1313">
                  <c:v>41038</c:v>
                </c:pt>
                <c:pt idx="1314">
                  <c:v>41039</c:v>
                </c:pt>
                <c:pt idx="1315">
                  <c:v>41040</c:v>
                </c:pt>
                <c:pt idx="1316">
                  <c:v>41043</c:v>
                </c:pt>
                <c:pt idx="1317">
                  <c:v>41044</c:v>
                </c:pt>
                <c:pt idx="1318">
                  <c:v>41045</c:v>
                </c:pt>
                <c:pt idx="1319">
                  <c:v>41046</c:v>
                </c:pt>
                <c:pt idx="1320">
                  <c:v>41047</c:v>
                </c:pt>
                <c:pt idx="1321">
                  <c:v>41050</c:v>
                </c:pt>
                <c:pt idx="1322">
                  <c:v>41051</c:v>
                </c:pt>
                <c:pt idx="1323">
                  <c:v>41052</c:v>
                </c:pt>
                <c:pt idx="1324">
                  <c:v>41053</c:v>
                </c:pt>
                <c:pt idx="1325">
                  <c:v>41054</c:v>
                </c:pt>
                <c:pt idx="1326">
                  <c:v>41058</c:v>
                </c:pt>
                <c:pt idx="1327">
                  <c:v>41059</c:v>
                </c:pt>
                <c:pt idx="1328">
                  <c:v>41060</c:v>
                </c:pt>
                <c:pt idx="1329">
                  <c:v>41061</c:v>
                </c:pt>
                <c:pt idx="1330">
                  <c:v>41064</c:v>
                </c:pt>
                <c:pt idx="1331">
                  <c:v>41065</c:v>
                </c:pt>
                <c:pt idx="1332">
                  <c:v>41066</c:v>
                </c:pt>
                <c:pt idx="1333">
                  <c:v>41067</c:v>
                </c:pt>
                <c:pt idx="1334">
                  <c:v>41068</c:v>
                </c:pt>
                <c:pt idx="1335">
                  <c:v>41071</c:v>
                </c:pt>
                <c:pt idx="1336">
                  <c:v>41072</c:v>
                </c:pt>
                <c:pt idx="1337">
                  <c:v>41073</c:v>
                </c:pt>
                <c:pt idx="1338">
                  <c:v>41074</c:v>
                </c:pt>
                <c:pt idx="1339">
                  <c:v>41075</c:v>
                </c:pt>
                <c:pt idx="1340">
                  <c:v>41078</c:v>
                </c:pt>
                <c:pt idx="1341">
                  <c:v>41079</c:v>
                </c:pt>
                <c:pt idx="1342">
                  <c:v>41080</c:v>
                </c:pt>
                <c:pt idx="1343">
                  <c:v>41081</c:v>
                </c:pt>
                <c:pt idx="1344">
                  <c:v>41082</c:v>
                </c:pt>
                <c:pt idx="1345">
                  <c:v>41085</c:v>
                </c:pt>
                <c:pt idx="1346">
                  <c:v>41086</c:v>
                </c:pt>
                <c:pt idx="1347">
                  <c:v>41087</c:v>
                </c:pt>
                <c:pt idx="1348">
                  <c:v>41088</c:v>
                </c:pt>
                <c:pt idx="1349">
                  <c:v>41089</c:v>
                </c:pt>
                <c:pt idx="1350">
                  <c:v>41092</c:v>
                </c:pt>
                <c:pt idx="1351">
                  <c:v>41093</c:v>
                </c:pt>
                <c:pt idx="1352">
                  <c:v>41095</c:v>
                </c:pt>
                <c:pt idx="1353">
                  <c:v>41096</c:v>
                </c:pt>
                <c:pt idx="1354">
                  <c:v>41099</c:v>
                </c:pt>
                <c:pt idx="1355">
                  <c:v>41100</c:v>
                </c:pt>
                <c:pt idx="1356">
                  <c:v>41101</c:v>
                </c:pt>
                <c:pt idx="1357">
                  <c:v>41102</c:v>
                </c:pt>
                <c:pt idx="1358">
                  <c:v>41103</c:v>
                </c:pt>
                <c:pt idx="1359">
                  <c:v>41106</c:v>
                </c:pt>
                <c:pt idx="1360">
                  <c:v>41107</c:v>
                </c:pt>
                <c:pt idx="1361">
                  <c:v>41108</c:v>
                </c:pt>
                <c:pt idx="1362">
                  <c:v>41109</c:v>
                </c:pt>
                <c:pt idx="1363">
                  <c:v>41110</c:v>
                </c:pt>
                <c:pt idx="1364">
                  <c:v>41113</c:v>
                </c:pt>
                <c:pt idx="1365">
                  <c:v>41114</c:v>
                </c:pt>
                <c:pt idx="1366">
                  <c:v>41115</c:v>
                </c:pt>
                <c:pt idx="1367">
                  <c:v>41116</c:v>
                </c:pt>
                <c:pt idx="1368">
                  <c:v>41117</c:v>
                </c:pt>
                <c:pt idx="1369">
                  <c:v>41120</c:v>
                </c:pt>
                <c:pt idx="1370">
                  <c:v>41121</c:v>
                </c:pt>
                <c:pt idx="1371">
                  <c:v>41122</c:v>
                </c:pt>
                <c:pt idx="1372">
                  <c:v>41123</c:v>
                </c:pt>
                <c:pt idx="1373">
                  <c:v>41124</c:v>
                </c:pt>
                <c:pt idx="1374">
                  <c:v>41127</c:v>
                </c:pt>
                <c:pt idx="1375">
                  <c:v>41128</c:v>
                </c:pt>
                <c:pt idx="1376">
                  <c:v>41129</c:v>
                </c:pt>
                <c:pt idx="1377">
                  <c:v>41130</c:v>
                </c:pt>
                <c:pt idx="1378">
                  <c:v>41131</c:v>
                </c:pt>
                <c:pt idx="1379">
                  <c:v>41134</c:v>
                </c:pt>
                <c:pt idx="1380">
                  <c:v>41135</c:v>
                </c:pt>
                <c:pt idx="1381">
                  <c:v>41136</c:v>
                </c:pt>
                <c:pt idx="1382">
                  <c:v>41137</c:v>
                </c:pt>
                <c:pt idx="1383">
                  <c:v>41138</c:v>
                </c:pt>
                <c:pt idx="1384">
                  <c:v>41141</c:v>
                </c:pt>
                <c:pt idx="1385">
                  <c:v>41142</c:v>
                </c:pt>
                <c:pt idx="1386">
                  <c:v>41143</c:v>
                </c:pt>
                <c:pt idx="1387">
                  <c:v>41144</c:v>
                </c:pt>
                <c:pt idx="1388">
                  <c:v>41145</c:v>
                </c:pt>
                <c:pt idx="1389">
                  <c:v>41148</c:v>
                </c:pt>
                <c:pt idx="1390">
                  <c:v>41149</c:v>
                </c:pt>
                <c:pt idx="1391">
                  <c:v>41150</c:v>
                </c:pt>
                <c:pt idx="1392">
                  <c:v>41151</c:v>
                </c:pt>
                <c:pt idx="1393">
                  <c:v>41152</c:v>
                </c:pt>
                <c:pt idx="1394">
                  <c:v>41156</c:v>
                </c:pt>
                <c:pt idx="1395">
                  <c:v>41157</c:v>
                </c:pt>
                <c:pt idx="1396">
                  <c:v>41158</c:v>
                </c:pt>
                <c:pt idx="1397">
                  <c:v>41159</c:v>
                </c:pt>
                <c:pt idx="1398">
                  <c:v>41162</c:v>
                </c:pt>
                <c:pt idx="1399">
                  <c:v>41163</c:v>
                </c:pt>
                <c:pt idx="1400">
                  <c:v>41164</c:v>
                </c:pt>
                <c:pt idx="1401">
                  <c:v>41165</c:v>
                </c:pt>
                <c:pt idx="1402">
                  <c:v>41166</c:v>
                </c:pt>
                <c:pt idx="1403">
                  <c:v>41169</c:v>
                </c:pt>
                <c:pt idx="1404">
                  <c:v>41170</c:v>
                </c:pt>
                <c:pt idx="1405">
                  <c:v>41171</c:v>
                </c:pt>
                <c:pt idx="1406">
                  <c:v>41172</c:v>
                </c:pt>
                <c:pt idx="1407">
                  <c:v>41173</c:v>
                </c:pt>
                <c:pt idx="1408">
                  <c:v>41176</c:v>
                </c:pt>
                <c:pt idx="1409">
                  <c:v>41177</c:v>
                </c:pt>
                <c:pt idx="1410">
                  <c:v>41178</c:v>
                </c:pt>
                <c:pt idx="1411">
                  <c:v>41179</c:v>
                </c:pt>
                <c:pt idx="1412">
                  <c:v>41180</c:v>
                </c:pt>
                <c:pt idx="1413">
                  <c:v>41183</c:v>
                </c:pt>
                <c:pt idx="1414">
                  <c:v>41184</c:v>
                </c:pt>
                <c:pt idx="1415">
                  <c:v>41185</c:v>
                </c:pt>
                <c:pt idx="1416">
                  <c:v>41186</c:v>
                </c:pt>
                <c:pt idx="1417">
                  <c:v>41187</c:v>
                </c:pt>
                <c:pt idx="1418">
                  <c:v>41190</c:v>
                </c:pt>
                <c:pt idx="1419">
                  <c:v>41191</c:v>
                </c:pt>
                <c:pt idx="1420">
                  <c:v>41192</c:v>
                </c:pt>
                <c:pt idx="1421">
                  <c:v>41193</c:v>
                </c:pt>
                <c:pt idx="1422">
                  <c:v>41194</c:v>
                </c:pt>
                <c:pt idx="1423">
                  <c:v>41197</c:v>
                </c:pt>
                <c:pt idx="1424">
                  <c:v>41198</c:v>
                </c:pt>
                <c:pt idx="1425">
                  <c:v>41199</c:v>
                </c:pt>
                <c:pt idx="1426">
                  <c:v>41200</c:v>
                </c:pt>
                <c:pt idx="1427">
                  <c:v>41201</c:v>
                </c:pt>
                <c:pt idx="1428">
                  <c:v>41204</c:v>
                </c:pt>
                <c:pt idx="1429">
                  <c:v>41205</c:v>
                </c:pt>
                <c:pt idx="1430">
                  <c:v>41206</c:v>
                </c:pt>
                <c:pt idx="1431">
                  <c:v>41207</c:v>
                </c:pt>
                <c:pt idx="1432">
                  <c:v>41208</c:v>
                </c:pt>
                <c:pt idx="1433">
                  <c:v>41213</c:v>
                </c:pt>
                <c:pt idx="1434">
                  <c:v>41214</c:v>
                </c:pt>
                <c:pt idx="1435">
                  <c:v>41215</c:v>
                </c:pt>
                <c:pt idx="1436">
                  <c:v>41218</c:v>
                </c:pt>
                <c:pt idx="1437">
                  <c:v>41219</c:v>
                </c:pt>
                <c:pt idx="1438">
                  <c:v>41220</c:v>
                </c:pt>
                <c:pt idx="1439">
                  <c:v>41221</c:v>
                </c:pt>
                <c:pt idx="1440">
                  <c:v>41222</c:v>
                </c:pt>
                <c:pt idx="1441">
                  <c:v>41225</c:v>
                </c:pt>
                <c:pt idx="1442">
                  <c:v>41226</c:v>
                </c:pt>
                <c:pt idx="1443">
                  <c:v>41227</c:v>
                </c:pt>
                <c:pt idx="1444">
                  <c:v>41228</c:v>
                </c:pt>
                <c:pt idx="1445">
                  <c:v>41229</c:v>
                </c:pt>
                <c:pt idx="1446">
                  <c:v>41232</c:v>
                </c:pt>
                <c:pt idx="1447">
                  <c:v>41233</c:v>
                </c:pt>
                <c:pt idx="1448">
                  <c:v>41234</c:v>
                </c:pt>
                <c:pt idx="1449">
                  <c:v>41236</c:v>
                </c:pt>
                <c:pt idx="1450">
                  <c:v>41239</c:v>
                </c:pt>
                <c:pt idx="1451">
                  <c:v>41240</c:v>
                </c:pt>
                <c:pt idx="1452">
                  <c:v>41241</c:v>
                </c:pt>
                <c:pt idx="1453">
                  <c:v>41242</c:v>
                </c:pt>
                <c:pt idx="1454">
                  <c:v>41243</c:v>
                </c:pt>
                <c:pt idx="1455">
                  <c:v>41246</c:v>
                </c:pt>
                <c:pt idx="1456">
                  <c:v>41247</c:v>
                </c:pt>
                <c:pt idx="1457">
                  <c:v>41248</c:v>
                </c:pt>
                <c:pt idx="1458">
                  <c:v>41249</c:v>
                </c:pt>
                <c:pt idx="1459">
                  <c:v>41250</c:v>
                </c:pt>
                <c:pt idx="1460">
                  <c:v>41253</c:v>
                </c:pt>
                <c:pt idx="1461">
                  <c:v>41254</c:v>
                </c:pt>
                <c:pt idx="1462">
                  <c:v>41255</c:v>
                </c:pt>
                <c:pt idx="1463">
                  <c:v>41256</c:v>
                </c:pt>
                <c:pt idx="1464">
                  <c:v>41257</c:v>
                </c:pt>
                <c:pt idx="1465">
                  <c:v>41260</c:v>
                </c:pt>
                <c:pt idx="1466">
                  <c:v>41261</c:v>
                </c:pt>
                <c:pt idx="1467">
                  <c:v>41262</c:v>
                </c:pt>
                <c:pt idx="1468">
                  <c:v>41263</c:v>
                </c:pt>
                <c:pt idx="1469">
                  <c:v>41264</c:v>
                </c:pt>
                <c:pt idx="1470">
                  <c:v>41267</c:v>
                </c:pt>
                <c:pt idx="1471">
                  <c:v>41269</c:v>
                </c:pt>
                <c:pt idx="1472">
                  <c:v>41270</c:v>
                </c:pt>
                <c:pt idx="1473">
                  <c:v>41271</c:v>
                </c:pt>
                <c:pt idx="1474">
                  <c:v>41274</c:v>
                </c:pt>
                <c:pt idx="1475">
                  <c:v>41276</c:v>
                </c:pt>
                <c:pt idx="1476">
                  <c:v>41277</c:v>
                </c:pt>
                <c:pt idx="1477">
                  <c:v>41278</c:v>
                </c:pt>
                <c:pt idx="1478">
                  <c:v>41281</c:v>
                </c:pt>
                <c:pt idx="1479">
                  <c:v>41282</c:v>
                </c:pt>
                <c:pt idx="1480">
                  <c:v>41283</c:v>
                </c:pt>
                <c:pt idx="1481">
                  <c:v>41284</c:v>
                </c:pt>
                <c:pt idx="1482">
                  <c:v>41285</c:v>
                </c:pt>
                <c:pt idx="1483">
                  <c:v>41288</c:v>
                </c:pt>
                <c:pt idx="1484">
                  <c:v>41289</c:v>
                </c:pt>
                <c:pt idx="1485">
                  <c:v>41290</c:v>
                </c:pt>
                <c:pt idx="1486">
                  <c:v>41291</c:v>
                </c:pt>
                <c:pt idx="1487">
                  <c:v>41292</c:v>
                </c:pt>
                <c:pt idx="1488">
                  <c:v>41296</c:v>
                </c:pt>
                <c:pt idx="1489">
                  <c:v>41297</c:v>
                </c:pt>
                <c:pt idx="1490">
                  <c:v>41298</c:v>
                </c:pt>
                <c:pt idx="1491">
                  <c:v>41299</c:v>
                </c:pt>
                <c:pt idx="1492">
                  <c:v>41302</c:v>
                </c:pt>
                <c:pt idx="1493">
                  <c:v>41303</c:v>
                </c:pt>
                <c:pt idx="1494">
                  <c:v>41304</c:v>
                </c:pt>
                <c:pt idx="1495">
                  <c:v>41305</c:v>
                </c:pt>
                <c:pt idx="1496">
                  <c:v>41306</c:v>
                </c:pt>
                <c:pt idx="1497">
                  <c:v>41309</c:v>
                </c:pt>
                <c:pt idx="1498">
                  <c:v>41310</c:v>
                </c:pt>
                <c:pt idx="1499">
                  <c:v>41311</c:v>
                </c:pt>
                <c:pt idx="1500">
                  <c:v>41312</c:v>
                </c:pt>
                <c:pt idx="1501">
                  <c:v>41313</c:v>
                </c:pt>
                <c:pt idx="1502">
                  <c:v>41316</c:v>
                </c:pt>
                <c:pt idx="1503">
                  <c:v>41317</c:v>
                </c:pt>
                <c:pt idx="1504">
                  <c:v>41318</c:v>
                </c:pt>
                <c:pt idx="1505">
                  <c:v>41319</c:v>
                </c:pt>
                <c:pt idx="1506">
                  <c:v>41320</c:v>
                </c:pt>
                <c:pt idx="1507">
                  <c:v>41324</c:v>
                </c:pt>
                <c:pt idx="1508">
                  <c:v>41325</c:v>
                </c:pt>
                <c:pt idx="1509">
                  <c:v>41326</c:v>
                </c:pt>
                <c:pt idx="1510">
                  <c:v>41327</c:v>
                </c:pt>
                <c:pt idx="1511">
                  <c:v>41330</c:v>
                </c:pt>
                <c:pt idx="1512">
                  <c:v>41331</c:v>
                </c:pt>
                <c:pt idx="1513">
                  <c:v>41332</c:v>
                </c:pt>
                <c:pt idx="1514">
                  <c:v>41333</c:v>
                </c:pt>
                <c:pt idx="1515">
                  <c:v>41334</c:v>
                </c:pt>
                <c:pt idx="1516">
                  <c:v>41337</c:v>
                </c:pt>
                <c:pt idx="1517">
                  <c:v>41338</c:v>
                </c:pt>
                <c:pt idx="1518">
                  <c:v>41339</c:v>
                </c:pt>
                <c:pt idx="1519">
                  <c:v>41340</c:v>
                </c:pt>
                <c:pt idx="1520">
                  <c:v>41341</c:v>
                </c:pt>
                <c:pt idx="1521">
                  <c:v>41344</c:v>
                </c:pt>
                <c:pt idx="1522">
                  <c:v>41345</c:v>
                </c:pt>
                <c:pt idx="1523">
                  <c:v>41346</c:v>
                </c:pt>
                <c:pt idx="1524">
                  <c:v>41347</c:v>
                </c:pt>
                <c:pt idx="1525">
                  <c:v>41348</c:v>
                </c:pt>
                <c:pt idx="1526">
                  <c:v>41351</c:v>
                </c:pt>
                <c:pt idx="1527">
                  <c:v>41352</c:v>
                </c:pt>
                <c:pt idx="1528">
                  <c:v>41353</c:v>
                </c:pt>
                <c:pt idx="1529">
                  <c:v>41354</c:v>
                </c:pt>
                <c:pt idx="1530">
                  <c:v>41355</c:v>
                </c:pt>
                <c:pt idx="1531">
                  <c:v>41358</c:v>
                </c:pt>
                <c:pt idx="1532">
                  <c:v>41359</c:v>
                </c:pt>
                <c:pt idx="1533">
                  <c:v>41360</c:v>
                </c:pt>
                <c:pt idx="1534">
                  <c:v>41361</c:v>
                </c:pt>
                <c:pt idx="1535">
                  <c:v>41365</c:v>
                </c:pt>
                <c:pt idx="1536">
                  <c:v>41366</c:v>
                </c:pt>
                <c:pt idx="1537">
                  <c:v>41367</c:v>
                </c:pt>
                <c:pt idx="1538">
                  <c:v>41368</c:v>
                </c:pt>
                <c:pt idx="1539">
                  <c:v>41369</c:v>
                </c:pt>
                <c:pt idx="1540">
                  <c:v>41372</c:v>
                </c:pt>
                <c:pt idx="1541">
                  <c:v>41373</c:v>
                </c:pt>
                <c:pt idx="1542">
                  <c:v>41374</c:v>
                </c:pt>
                <c:pt idx="1543">
                  <c:v>41375</c:v>
                </c:pt>
                <c:pt idx="1544">
                  <c:v>41376</c:v>
                </c:pt>
                <c:pt idx="1545">
                  <c:v>41379</c:v>
                </c:pt>
                <c:pt idx="1546">
                  <c:v>41380</c:v>
                </c:pt>
                <c:pt idx="1547">
                  <c:v>41381</c:v>
                </c:pt>
                <c:pt idx="1548">
                  <c:v>41382</c:v>
                </c:pt>
                <c:pt idx="1549">
                  <c:v>41383</c:v>
                </c:pt>
                <c:pt idx="1550">
                  <c:v>41386</c:v>
                </c:pt>
                <c:pt idx="1551">
                  <c:v>41387</c:v>
                </c:pt>
                <c:pt idx="1552">
                  <c:v>41388</c:v>
                </c:pt>
                <c:pt idx="1553">
                  <c:v>41389</c:v>
                </c:pt>
                <c:pt idx="1554">
                  <c:v>41390</c:v>
                </c:pt>
                <c:pt idx="1555">
                  <c:v>41393</c:v>
                </c:pt>
                <c:pt idx="1556">
                  <c:v>41394</c:v>
                </c:pt>
                <c:pt idx="1557">
                  <c:v>41395</c:v>
                </c:pt>
                <c:pt idx="1558">
                  <c:v>41396</c:v>
                </c:pt>
                <c:pt idx="1559">
                  <c:v>41397</c:v>
                </c:pt>
                <c:pt idx="1560">
                  <c:v>41400</c:v>
                </c:pt>
                <c:pt idx="1561">
                  <c:v>41401</c:v>
                </c:pt>
                <c:pt idx="1562">
                  <c:v>41402</c:v>
                </c:pt>
                <c:pt idx="1563">
                  <c:v>41403</c:v>
                </c:pt>
                <c:pt idx="1564">
                  <c:v>41404</c:v>
                </c:pt>
                <c:pt idx="1565">
                  <c:v>41407</c:v>
                </c:pt>
                <c:pt idx="1566">
                  <c:v>41408</c:v>
                </c:pt>
                <c:pt idx="1567">
                  <c:v>41409</c:v>
                </c:pt>
                <c:pt idx="1568">
                  <c:v>41410</c:v>
                </c:pt>
                <c:pt idx="1569">
                  <c:v>41411</c:v>
                </c:pt>
                <c:pt idx="1570">
                  <c:v>41414</c:v>
                </c:pt>
                <c:pt idx="1571">
                  <c:v>41415</c:v>
                </c:pt>
                <c:pt idx="1572">
                  <c:v>41416</c:v>
                </c:pt>
                <c:pt idx="1573">
                  <c:v>41417</c:v>
                </c:pt>
                <c:pt idx="1574">
                  <c:v>41418</c:v>
                </c:pt>
                <c:pt idx="1575">
                  <c:v>41422</c:v>
                </c:pt>
                <c:pt idx="1576">
                  <c:v>41423</c:v>
                </c:pt>
                <c:pt idx="1577">
                  <c:v>41424</c:v>
                </c:pt>
                <c:pt idx="1578">
                  <c:v>41425</c:v>
                </c:pt>
                <c:pt idx="1579">
                  <c:v>41428</c:v>
                </c:pt>
                <c:pt idx="1580">
                  <c:v>41429</c:v>
                </c:pt>
                <c:pt idx="1581">
                  <c:v>41430</c:v>
                </c:pt>
                <c:pt idx="1582">
                  <c:v>41431</c:v>
                </c:pt>
                <c:pt idx="1583">
                  <c:v>41432</c:v>
                </c:pt>
                <c:pt idx="1584">
                  <c:v>41435</c:v>
                </c:pt>
                <c:pt idx="1585">
                  <c:v>41436</c:v>
                </c:pt>
                <c:pt idx="1586">
                  <c:v>41437</c:v>
                </c:pt>
                <c:pt idx="1587">
                  <c:v>41438</c:v>
                </c:pt>
                <c:pt idx="1588">
                  <c:v>41439</c:v>
                </c:pt>
                <c:pt idx="1589">
                  <c:v>41442</c:v>
                </c:pt>
                <c:pt idx="1590">
                  <c:v>41443</c:v>
                </c:pt>
                <c:pt idx="1591">
                  <c:v>41444</c:v>
                </c:pt>
                <c:pt idx="1592">
                  <c:v>41445</c:v>
                </c:pt>
                <c:pt idx="1593">
                  <c:v>41446</c:v>
                </c:pt>
                <c:pt idx="1594">
                  <c:v>41449</c:v>
                </c:pt>
                <c:pt idx="1595">
                  <c:v>41450</c:v>
                </c:pt>
                <c:pt idx="1596">
                  <c:v>41451</c:v>
                </c:pt>
                <c:pt idx="1597">
                  <c:v>41452</c:v>
                </c:pt>
                <c:pt idx="1598">
                  <c:v>41453</c:v>
                </c:pt>
                <c:pt idx="1599">
                  <c:v>41456</c:v>
                </c:pt>
                <c:pt idx="1600">
                  <c:v>41457</c:v>
                </c:pt>
                <c:pt idx="1601">
                  <c:v>41458</c:v>
                </c:pt>
                <c:pt idx="1602">
                  <c:v>41460</c:v>
                </c:pt>
                <c:pt idx="1603">
                  <c:v>41463</c:v>
                </c:pt>
                <c:pt idx="1604">
                  <c:v>41464</c:v>
                </c:pt>
                <c:pt idx="1605">
                  <c:v>41465</c:v>
                </c:pt>
                <c:pt idx="1606">
                  <c:v>41466</c:v>
                </c:pt>
                <c:pt idx="1607">
                  <c:v>41467</c:v>
                </c:pt>
                <c:pt idx="1608">
                  <c:v>41470</c:v>
                </c:pt>
                <c:pt idx="1609">
                  <c:v>41471</c:v>
                </c:pt>
                <c:pt idx="1610">
                  <c:v>41472</c:v>
                </c:pt>
                <c:pt idx="1611">
                  <c:v>41473</c:v>
                </c:pt>
                <c:pt idx="1612">
                  <c:v>41474</c:v>
                </c:pt>
                <c:pt idx="1613">
                  <c:v>41477</c:v>
                </c:pt>
                <c:pt idx="1614">
                  <c:v>41478</c:v>
                </c:pt>
                <c:pt idx="1615">
                  <c:v>41479</c:v>
                </c:pt>
                <c:pt idx="1616">
                  <c:v>41480</c:v>
                </c:pt>
                <c:pt idx="1617">
                  <c:v>41481</c:v>
                </c:pt>
                <c:pt idx="1618">
                  <c:v>41484</c:v>
                </c:pt>
                <c:pt idx="1619">
                  <c:v>41485</c:v>
                </c:pt>
                <c:pt idx="1620">
                  <c:v>41486</c:v>
                </c:pt>
                <c:pt idx="1621">
                  <c:v>41487</c:v>
                </c:pt>
                <c:pt idx="1622">
                  <c:v>41488</c:v>
                </c:pt>
                <c:pt idx="1623">
                  <c:v>41491</c:v>
                </c:pt>
                <c:pt idx="1624">
                  <c:v>41492</c:v>
                </c:pt>
                <c:pt idx="1625">
                  <c:v>41493</c:v>
                </c:pt>
                <c:pt idx="1626">
                  <c:v>41494</c:v>
                </c:pt>
                <c:pt idx="1627">
                  <c:v>41495</c:v>
                </c:pt>
                <c:pt idx="1628">
                  <c:v>41498</c:v>
                </c:pt>
                <c:pt idx="1629">
                  <c:v>41499</c:v>
                </c:pt>
                <c:pt idx="1630">
                  <c:v>41500</c:v>
                </c:pt>
                <c:pt idx="1631">
                  <c:v>41501</c:v>
                </c:pt>
                <c:pt idx="1632">
                  <c:v>41502</c:v>
                </c:pt>
                <c:pt idx="1633">
                  <c:v>41505</c:v>
                </c:pt>
                <c:pt idx="1634">
                  <c:v>41506</c:v>
                </c:pt>
                <c:pt idx="1635">
                  <c:v>41507</c:v>
                </c:pt>
                <c:pt idx="1636">
                  <c:v>41508</c:v>
                </c:pt>
                <c:pt idx="1637">
                  <c:v>41509</c:v>
                </c:pt>
                <c:pt idx="1638">
                  <c:v>41512</c:v>
                </c:pt>
                <c:pt idx="1639">
                  <c:v>41513</c:v>
                </c:pt>
                <c:pt idx="1640">
                  <c:v>41514</c:v>
                </c:pt>
                <c:pt idx="1641">
                  <c:v>41515</c:v>
                </c:pt>
                <c:pt idx="1642">
                  <c:v>41516</c:v>
                </c:pt>
                <c:pt idx="1643">
                  <c:v>41520</c:v>
                </c:pt>
                <c:pt idx="1644">
                  <c:v>41521</c:v>
                </c:pt>
                <c:pt idx="1645">
                  <c:v>41522</c:v>
                </c:pt>
                <c:pt idx="1646">
                  <c:v>41523</c:v>
                </c:pt>
                <c:pt idx="1647">
                  <c:v>41526</c:v>
                </c:pt>
                <c:pt idx="1648">
                  <c:v>41527</c:v>
                </c:pt>
                <c:pt idx="1649">
                  <c:v>41528</c:v>
                </c:pt>
                <c:pt idx="1650">
                  <c:v>41529</c:v>
                </c:pt>
                <c:pt idx="1651">
                  <c:v>41530</c:v>
                </c:pt>
                <c:pt idx="1652">
                  <c:v>41533</c:v>
                </c:pt>
                <c:pt idx="1653">
                  <c:v>41534</c:v>
                </c:pt>
                <c:pt idx="1654">
                  <c:v>41535</c:v>
                </c:pt>
                <c:pt idx="1655">
                  <c:v>41536</c:v>
                </c:pt>
                <c:pt idx="1656">
                  <c:v>41537</c:v>
                </c:pt>
                <c:pt idx="1657">
                  <c:v>41540</c:v>
                </c:pt>
                <c:pt idx="1658">
                  <c:v>41541</c:v>
                </c:pt>
                <c:pt idx="1659">
                  <c:v>41542</c:v>
                </c:pt>
                <c:pt idx="1660">
                  <c:v>41543</c:v>
                </c:pt>
                <c:pt idx="1661">
                  <c:v>41544</c:v>
                </c:pt>
                <c:pt idx="1662">
                  <c:v>41547</c:v>
                </c:pt>
                <c:pt idx="1663">
                  <c:v>41548</c:v>
                </c:pt>
                <c:pt idx="1664">
                  <c:v>41549</c:v>
                </c:pt>
                <c:pt idx="1665">
                  <c:v>41550</c:v>
                </c:pt>
                <c:pt idx="1666">
                  <c:v>41551</c:v>
                </c:pt>
                <c:pt idx="1667">
                  <c:v>41554</c:v>
                </c:pt>
                <c:pt idx="1668">
                  <c:v>41555</c:v>
                </c:pt>
                <c:pt idx="1669">
                  <c:v>41556</c:v>
                </c:pt>
                <c:pt idx="1670">
                  <c:v>41557</c:v>
                </c:pt>
                <c:pt idx="1671">
                  <c:v>41558</c:v>
                </c:pt>
                <c:pt idx="1672">
                  <c:v>41561</c:v>
                </c:pt>
                <c:pt idx="1673">
                  <c:v>41562</c:v>
                </c:pt>
                <c:pt idx="1674">
                  <c:v>41563</c:v>
                </c:pt>
                <c:pt idx="1675">
                  <c:v>41564</c:v>
                </c:pt>
                <c:pt idx="1676">
                  <c:v>41565</c:v>
                </c:pt>
                <c:pt idx="1677">
                  <c:v>41568</c:v>
                </c:pt>
                <c:pt idx="1678">
                  <c:v>41569</c:v>
                </c:pt>
                <c:pt idx="1679">
                  <c:v>41570</c:v>
                </c:pt>
                <c:pt idx="1680">
                  <c:v>41571</c:v>
                </c:pt>
                <c:pt idx="1681">
                  <c:v>41572</c:v>
                </c:pt>
                <c:pt idx="1682">
                  <c:v>41575</c:v>
                </c:pt>
                <c:pt idx="1683">
                  <c:v>41576</c:v>
                </c:pt>
                <c:pt idx="1684">
                  <c:v>41577</c:v>
                </c:pt>
                <c:pt idx="1685">
                  <c:v>41578</c:v>
                </c:pt>
                <c:pt idx="1686">
                  <c:v>41579</c:v>
                </c:pt>
                <c:pt idx="1687">
                  <c:v>41582</c:v>
                </c:pt>
                <c:pt idx="1688">
                  <c:v>41583</c:v>
                </c:pt>
                <c:pt idx="1689">
                  <c:v>41584</c:v>
                </c:pt>
                <c:pt idx="1690">
                  <c:v>41585</c:v>
                </c:pt>
                <c:pt idx="1691">
                  <c:v>41586</c:v>
                </c:pt>
                <c:pt idx="1692">
                  <c:v>41589</c:v>
                </c:pt>
                <c:pt idx="1693">
                  <c:v>41590</c:v>
                </c:pt>
                <c:pt idx="1694">
                  <c:v>41591</c:v>
                </c:pt>
                <c:pt idx="1695">
                  <c:v>41592</c:v>
                </c:pt>
                <c:pt idx="1696">
                  <c:v>41593</c:v>
                </c:pt>
                <c:pt idx="1697">
                  <c:v>41596</c:v>
                </c:pt>
                <c:pt idx="1698">
                  <c:v>41597</c:v>
                </c:pt>
                <c:pt idx="1699">
                  <c:v>41598</c:v>
                </c:pt>
                <c:pt idx="1700">
                  <c:v>41599</c:v>
                </c:pt>
                <c:pt idx="1701">
                  <c:v>41600</c:v>
                </c:pt>
                <c:pt idx="1702">
                  <c:v>41603</c:v>
                </c:pt>
                <c:pt idx="1703">
                  <c:v>41604</c:v>
                </c:pt>
                <c:pt idx="1704">
                  <c:v>41605</c:v>
                </c:pt>
                <c:pt idx="1705">
                  <c:v>41607</c:v>
                </c:pt>
                <c:pt idx="1706">
                  <c:v>41610</c:v>
                </c:pt>
                <c:pt idx="1707">
                  <c:v>41611</c:v>
                </c:pt>
                <c:pt idx="1708">
                  <c:v>41612</c:v>
                </c:pt>
                <c:pt idx="1709">
                  <c:v>41613</c:v>
                </c:pt>
                <c:pt idx="1710">
                  <c:v>41614</c:v>
                </c:pt>
                <c:pt idx="1711">
                  <c:v>41617</c:v>
                </c:pt>
                <c:pt idx="1712">
                  <c:v>41618</c:v>
                </c:pt>
                <c:pt idx="1713">
                  <c:v>41619</c:v>
                </c:pt>
                <c:pt idx="1714">
                  <c:v>41620</c:v>
                </c:pt>
                <c:pt idx="1715">
                  <c:v>41621</c:v>
                </c:pt>
                <c:pt idx="1716">
                  <c:v>41624</c:v>
                </c:pt>
                <c:pt idx="1717">
                  <c:v>41625</c:v>
                </c:pt>
                <c:pt idx="1718">
                  <c:v>41626</c:v>
                </c:pt>
                <c:pt idx="1719">
                  <c:v>41627</c:v>
                </c:pt>
                <c:pt idx="1720">
                  <c:v>41628</c:v>
                </c:pt>
                <c:pt idx="1721">
                  <c:v>41631</c:v>
                </c:pt>
                <c:pt idx="1722">
                  <c:v>41632</c:v>
                </c:pt>
                <c:pt idx="1723">
                  <c:v>41634</c:v>
                </c:pt>
                <c:pt idx="1724">
                  <c:v>41635</c:v>
                </c:pt>
                <c:pt idx="1725">
                  <c:v>41638</c:v>
                </c:pt>
                <c:pt idx="1726">
                  <c:v>41639</c:v>
                </c:pt>
                <c:pt idx="1727">
                  <c:v>41641</c:v>
                </c:pt>
                <c:pt idx="1728">
                  <c:v>41642</c:v>
                </c:pt>
                <c:pt idx="1729">
                  <c:v>41645</c:v>
                </c:pt>
                <c:pt idx="1730">
                  <c:v>41646</c:v>
                </c:pt>
                <c:pt idx="1731">
                  <c:v>41647</c:v>
                </c:pt>
                <c:pt idx="1732">
                  <c:v>41648</c:v>
                </c:pt>
                <c:pt idx="1733">
                  <c:v>41649</c:v>
                </c:pt>
                <c:pt idx="1734">
                  <c:v>41652</c:v>
                </c:pt>
                <c:pt idx="1735">
                  <c:v>41653</c:v>
                </c:pt>
                <c:pt idx="1736">
                  <c:v>41654</c:v>
                </c:pt>
                <c:pt idx="1737">
                  <c:v>41655</c:v>
                </c:pt>
                <c:pt idx="1738">
                  <c:v>41656</c:v>
                </c:pt>
                <c:pt idx="1739">
                  <c:v>41660</c:v>
                </c:pt>
                <c:pt idx="1740">
                  <c:v>41661</c:v>
                </c:pt>
                <c:pt idx="1741">
                  <c:v>41662</c:v>
                </c:pt>
                <c:pt idx="1742">
                  <c:v>41663</c:v>
                </c:pt>
                <c:pt idx="1743">
                  <c:v>41666</c:v>
                </c:pt>
                <c:pt idx="1744">
                  <c:v>41667</c:v>
                </c:pt>
                <c:pt idx="1745">
                  <c:v>41668</c:v>
                </c:pt>
                <c:pt idx="1746">
                  <c:v>41669</c:v>
                </c:pt>
                <c:pt idx="1747">
                  <c:v>41670</c:v>
                </c:pt>
                <c:pt idx="1748">
                  <c:v>41673</c:v>
                </c:pt>
                <c:pt idx="1749">
                  <c:v>41674</c:v>
                </c:pt>
                <c:pt idx="1750">
                  <c:v>41675</c:v>
                </c:pt>
                <c:pt idx="1751">
                  <c:v>41676</c:v>
                </c:pt>
                <c:pt idx="1752">
                  <c:v>41677</c:v>
                </c:pt>
                <c:pt idx="1753">
                  <c:v>41680</c:v>
                </c:pt>
                <c:pt idx="1754">
                  <c:v>41681</c:v>
                </c:pt>
                <c:pt idx="1755">
                  <c:v>41682</c:v>
                </c:pt>
                <c:pt idx="1756">
                  <c:v>41683</c:v>
                </c:pt>
                <c:pt idx="1757">
                  <c:v>41684</c:v>
                </c:pt>
                <c:pt idx="1758">
                  <c:v>41688</c:v>
                </c:pt>
                <c:pt idx="1759">
                  <c:v>41689</c:v>
                </c:pt>
                <c:pt idx="1760">
                  <c:v>41690</c:v>
                </c:pt>
                <c:pt idx="1761">
                  <c:v>41691</c:v>
                </c:pt>
                <c:pt idx="1762">
                  <c:v>41694</c:v>
                </c:pt>
                <c:pt idx="1763">
                  <c:v>41695</c:v>
                </c:pt>
                <c:pt idx="1764">
                  <c:v>41696</c:v>
                </c:pt>
                <c:pt idx="1765">
                  <c:v>41697</c:v>
                </c:pt>
                <c:pt idx="1766">
                  <c:v>41698</c:v>
                </c:pt>
                <c:pt idx="1767">
                  <c:v>41701</c:v>
                </c:pt>
                <c:pt idx="1768">
                  <c:v>41702</c:v>
                </c:pt>
                <c:pt idx="1769">
                  <c:v>41703</c:v>
                </c:pt>
                <c:pt idx="1770">
                  <c:v>41704</c:v>
                </c:pt>
                <c:pt idx="1771">
                  <c:v>41705</c:v>
                </c:pt>
                <c:pt idx="1772">
                  <c:v>41708</c:v>
                </c:pt>
                <c:pt idx="1773">
                  <c:v>41709</c:v>
                </c:pt>
                <c:pt idx="1774">
                  <c:v>41710</c:v>
                </c:pt>
                <c:pt idx="1775">
                  <c:v>41711</c:v>
                </c:pt>
                <c:pt idx="1776">
                  <c:v>41712</c:v>
                </c:pt>
                <c:pt idx="1777">
                  <c:v>41715</c:v>
                </c:pt>
                <c:pt idx="1778">
                  <c:v>41716</c:v>
                </c:pt>
                <c:pt idx="1779">
                  <c:v>41717</c:v>
                </c:pt>
                <c:pt idx="1780">
                  <c:v>41718</c:v>
                </c:pt>
                <c:pt idx="1781">
                  <c:v>41719</c:v>
                </c:pt>
                <c:pt idx="1782">
                  <c:v>41722</c:v>
                </c:pt>
                <c:pt idx="1783">
                  <c:v>41723</c:v>
                </c:pt>
                <c:pt idx="1784">
                  <c:v>41724</c:v>
                </c:pt>
                <c:pt idx="1785">
                  <c:v>41725</c:v>
                </c:pt>
                <c:pt idx="1786">
                  <c:v>41726</c:v>
                </c:pt>
                <c:pt idx="1787">
                  <c:v>41729</c:v>
                </c:pt>
                <c:pt idx="1788">
                  <c:v>41730</c:v>
                </c:pt>
                <c:pt idx="1789">
                  <c:v>41731</c:v>
                </c:pt>
                <c:pt idx="1790">
                  <c:v>41732</c:v>
                </c:pt>
                <c:pt idx="1791">
                  <c:v>41733</c:v>
                </c:pt>
                <c:pt idx="1792">
                  <c:v>41736</c:v>
                </c:pt>
                <c:pt idx="1793">
                  <c:v>41737</c:v>
                </c:pt>
                <c:pt idx="1794">
                  <c:v>41738</c:v>
                </c:pt>
                <c:pt idx="1795">
                  <c:v>41739</c:v>
                </c:pt>
                <c:pt idx="1796">
                  <c:v>41740</c:v>
                </c:pt>
                <c:pt idx="1797">
                  <c:v>41743</c:v>
                </c:pt>
                <c:pt idx="1798">
                  <c:v>41744</c:v>
                </c:pt>
                <c:pt idx="1799">
                  <c:v>41745</c:v>
                </c:pt>
                <c:pt idx="1800">
                  <c:v>41746</c:v>
                </c:pt>
                <c:pt idx="1801">
                  <c:v>41750</c:v>
                </c:pt>
                <c:pt idx="1802">
                  <c:v>41751</c:v>
                </c:pt>
                <c:pt idx="1803">
                  <c:v>41752</c:v>
                </c:pt>
                <c:pt idx="1804">
                  <c:v>41753</c:v>
                </c:pt>
                <c:pt idx="1805">
                  <c:v>41754</c:v>
                </c:pt>
                <c:pt idx="1806">
                  <c:v>41757</c:v>
                </c:pt>
                <c:pt idx="1807">
                  <c:v>41758</c:v>
                </c:pt>
                <c:pt idx="1808">
                  <c:v>41759</c:v>
                </c:pt>
                <c:pt idx="1809">
                  <c:v>41760</c:v>
                </c:pt>
                <c:pt idx="1810">
                  <c:v>41761</c:v>
                </c:pt>
                <c:pt idx="1811">
                  <c:v>41764</c:v>
                </c:pt>
                <c:pt idx="1812">
                  <c:v>41765</c:v>
                </c:pt>
                <c:pt idx="1813">
                  <c:v>41766</c:v>
                </c:pt>
                <c:pt idx="1814">
                  <c:v>41767</c:v>
                </c:pt>
                <c:pt idx="1815">
                  <c:v>41768</c:v>
                </c:pt>
                <c:pt idx="1816">
                  <c:v>41771</c:v>
                </c:pt>
                <c:pt idx="1817">
                  <c:v>41772</c:v>
                </c:pt>
                <c:pt idx="1818">
                  <c:v>41773</c:v>
                </c:pt>
                <c:pt idx="1819">
                  <c:v>41774</c:v>
                </c:pt>
                <c:pt idx="1820">
                  <c:v>41775</c:v>
                </c:pt>
                <c:pt idx="1821">
                  <c:v>41778</c:v>
                </c:pt>
                <c:pt idx="1822">
                  <c:v>41779</c:v>
                </c:pt>
                <c:pt idx="1823">
                  <c:v>41780</c:v>
                </c:pt>
                <c:pt idx="1824">
                  <c:v>41781</c:v>
                </c:pt>
                <c:pt idx="1825">
                  <c:v>41782</c:v>
                </c:pt>
                <c:pt idx="1826">
                  <c:v>41786</c:v>
                </c:pt>
                <c:pt idx="1827">
                  <c:v>41787</c:v>
                </c:pt>
                <c:pt idx="1828">
                  <c:v>41788</c:v>
                </c:pt>
                <c:pt idx="1829">
                  <c:v>41789</c:v>
                </c:pt>
                <c:pt idx="1830">
                  <c:v>41792</c:v>
                </c:pt>
                <c:pt idx="1831">
                  <c:v>41793</c:v>
                </c:pt>
                <c:pt idx="1832">
                  <c:v>41794</c:v>
                </c:pt>
                <c:pt idx="1833">
                  <c:v>41795</c:v>
                </c:pt>
                <c:pt idx="1834">
                  <c:v>41796</c:v>
                </c:pt>
                <c:pt idx="1835">
                  <c:v>41799</c:v>
                </c:pt>
                <c:pt idx="1836">
                  <c:v>41800</c:v>
                </c:pt>
                <c:pt idx="1837">
                  <c:v>41801</c:v>
                </c:pt>
                <c:pt idx="1838">
                  <c:v>41802</c:v>
                </c:pt>
                <c:pt idx="1839">
                  <c:v>41803</c:v>
                </c:pt>
                <c:pt idx="1840">
                  <c:v>41806</c:v>
                </c:pt>
                <c:pt idx="1841">
                  <c:v>41807</c:v>
                </c:pt>
                <c:pt idx="1842">
                  <c:v>41808</c:v>
                </c:pt>
                <c:pt idx="1843">
                  <c:v>41809</c:v>
                </c:pt>
                <c:pt idx="1844">
                  <c:v>41810</c:v>
                </c:pt>
                <c:pt idx="1845">
                  <c:v>41813</c:v>
                </c:pt>
                <c:pt idx="1846">
                  <c:v>41814</c:v>
                </c:pt>
                <c:pt idx="1847">
                  <c:v>41815</c:v>
                </c:pt>
                <c:pt idx="1848">
                  <c:v>41816</c:v>
                </c:pt>
                <c:pt idx="1849">
                  <c:v>41817</c:v>
                </c:pt>
                <c:pt idx="1850">
                  <c:v>41820</c:v>
                </c:pt>
                <c:pt idx="1851">
                  <c:v>41821</c:v>
                </c:pt>
                <c:pt idx="1852">
                  <c:v>41822</c:v>
                </c:pt>
                <c:pt idx="1853">
                  <c:v>41823</c:v>
                </c:pt>
                <c:pt idx="1854">
                  <c:v>41827</c:v>
                </c:pt>
                <c:pt idx="1855">
                  <c:v>41828</c:v>
                </c:pt>
                <c:pt idx="1856">
                  <c:v>41829</c:v>
                </c:pt>
                <c:pt idx="1857">
                  <c:v>41830</c:v>
                </c:pt>
                <c:pt idx="1858">
                  <c:v>41831</c:v>
                </c:pt>
                <c:pt idx="1859">
                  <c:v>41834</c:v>
                </c:pt>
                <c:pt idx="1860">
                  <c:v>41835</c:v>
                </c:pt>
                <c:pt idx="1861">
                  <c:v>41836</c:v>
                </c:pt>
                <c:pt idx="1862">
                  <c:v>41837</c:v>
                </c:pt>
                <c:pt idx="1863">
                  <c:v>41838</c:v>
                </c:pt>
                <c:pt idx="1864">
                  <c:v>41841</c:v>
                </c:pt>
                <c:pt idx="1865">
                  <c:v>41842</c:v>
                </c:pt>
                <c:pt idx="1866">
                  <c:v>41843</c:v>
                </c:pt>
                <c:pt idx="1867">
                  <c:v>41844</c:v>
                </c:pt>
                <c:pt idx="1868">
                  <c:v>41845</c:v>
                </c:pt>
                <c:pt idx="1869">
                  <c:v>41848</c:v>
                </c:pt>
                <c:pt idx="1870">
                  <c:v>41849</c:v>
                </c:pt>
                <c:pt idx="1871">
                  <c:v>41850</c:v>
                </c:pt>
                <c:pt idx="1872">
                  <c:v>41851</c:v>
                </c:pt>
                <c:pt idx="1873">
                  <c:v>41852</c:v>
                </c:pt>
                <c:pt idx="1874">
                  <c:v>41855</c:v>
                </c:pt>
                <c:pt idx="1875">
                  <c:v>41856</c:v>
                </c:pt>
                <c:pt idx="1876">
                  <c:v>41857</c:v>
                </c:pt>
                <c:pt idx="1877">
                  <c:v>41858</c:v>
                </c:pt>
                <c:pt idx="1878">
                  <c:v>41859</c:v>
                </c:pt>
                <c:pt idx="1879">
                  <c:v>41862</c:v>
                </c:pt>
                <c:pt idx="1880">
                  <c:v>41863</c:v>
                </c:pt>
                <c:pt idx="1881">
                  <c:v>41864</c:v>
                </c:pt>
                <c:pt idx="1882">
                  <c:v>41865</c:v>
                </c:pt>
                <c:pt idx="1883">
                  <c:v>41866</c:v>
                </c:pt>
                <c:pt idx="1884">
                  <c:v>41869</c:v>
                </c:pt>
                <c:pt idx="1885">
                  <c:v>41870</c:v>
                </c:pt>
                <c:pt idx="1886">
                  <c:v>41871</c:v>
                </c:pt>
                <c:pt idx="1887">
                  <c:v>41872</c:v>
                </c:pt>
                <c:pt idx="1888">
                  <c:v>41873</c:v>
                </c:pt>
                <c:pt idx="1889">
                  <c:v>41876</c:v>
                </c:pt>
                <c:pt idx="1890">
                  <c:v>41877</c:v>
                </c:pt>
                <c:pt idx="1891">
                  <c:v>41878</c:v>
                </c:pt>
                <c:pt idx="1892">
                  <c:v>41879</c:v>
                </c:pt>
                <c:pt idx="1893">
                  <c:v>41880</c:v>
                </c:pt>
                <c:pt idx="1894">
                  <c:v>41884</c:v>
                </c:pt>
                <c:pt idx="1895">
                  <c:v>41885</c:v>
                </c:pt>
                <c:pt idx="1896">
                  <c:v>41886</c:v>
                </c:pt>
                <c:pt idx="1897">
                  <c:v>41887</c:v>
                </c:pt>
                <c:pt idx="1898">
                  <c:v>41890</c:v>
                </c:pt>
                <c:pt idx="1899">
                  <c:v>41891</c:v>
                </c:pt>
                <c:pt idx="1900">
                  <c:v>41892</c:v>
                </c:pt>
                <c:pt idx="1901">
                  <c:v>41893</c:v>
                </c:pt>
                <c:pt idx="1902">
                  <c:v>41894</c:v>
                </c:pt>
                <c:pt idx="1903">
                  <c:v>41897</c:v>
                </c:pt>
                <c:pt idx="1904">
                  <c:v>41898</c:v>
                </c:pt>
                <c:pt idx="1905">
                  <c:v>41899</c:v>
                </c:pt>
                <c:pt idx="1906">
                  <c:v>41900</c:v>
                </c:pt>
                <c:pt idx="1907">
                  <c:v>41901</c:v>
                </c:pt>
                <c:pt idx="1908">
                  <c:v>41904</c:v>
                </c:pt>
                <c:pt idx="1909">
                  <c:v>41905</c:v>
                </c:pt>
                <c:pt idx="1910">
                  <c:v>41906</c:v>
                </c:pt>
                <c:pt idx="1911">
                  <c:v>41907</c:v>
                </c:pt>
                <c:pt idx="1912">
                  <c:v>41908</c:v>
                </c:pt>
                <c:pt idx="1913">
                  <c:v>41911</c:v>
                </c:pt>
                <c:pt idx="1914">
                  <c:v>41912</c:v>
                </c:pt>
                <c:pt idx="1915">
                  <c:v>41913</c:v>
                </c:pt>
                <c:pt idx="1916">
                  <c:v>41914</c:v>
                </c:pt>
                <c:pt idx="1917">
                  <c:v>41915</c:v>
                </c:pt>
                <c:pt idx="1918">
                  <c:v>41918</c:v>
                </c:pt>
                <c:pt idx="1919">
                  <c:v>41919</c:v>
                </c:pt>
                <c:pt idx="1920">
                  <c:v>41920</c:v>
                </c:pt>
                <c:pt idx="1921">
                  <c:v>41921</c:v>
                </c:pt>
                <c:pt idx="1922">
                  <c:v>41922</c:v>
                </c:pt>
                <c:pt idx="1923">
                  <c:v>41925</c:v>
                </c:pt>
                <c:pt idx="1924">
                  <c:v>41926</c:v>
                </c:pt>
                <c:pt idx="1925">
                  <c:v>41927</c:v>
                </c:pt>
                <c:pt idx="1926">
                  <c:v>41928</c:v>
                </c:pt>
                <c:pt idx="1927">
                  <c:v>41929</c:v>
                </c:pt>
                <c:pt idx="1928">
                  <c:v>41932</c:v>
                </c:pt>
                <c:pt idx="1929">
                  <c:v>41933</c:v>
                </c:pt>
                <c:pt idx="1930">
                  <c:v>41934</c:v>
                </c:pt>
                <c:pt idx="1931">
                  <c:v>41935</c:v>
                </c:pt>
                <c:pt idx="1932">
                  <c:v>41936</c:v>
                </c:pt>
                <c:pt idx="1933">
                  <c:v>41939</c:v>
                </c:pt>
                <c:pt idx="1934">
                  <c:v>41940</c:v>
                </c:pt>
                <c:pt idx="1935">
                  <c:v>41941</c:v>
                </c:pt>
                <c:pt idx="1936">
                  <c:v>41942</c:v>
                </c:pt>
                <c:pt idx="1937">
                  <c:v>41943</c:v>
                </c:pt>
                <c:pt idx="1938">
                  <c:v>41946</c:v>
                </c:pt>
                <c:pt idx="1939">
                  <c:v>41947</c:v>
                </c:pt>
                <c:pt idx="1940">
                  <c:v>41948</c:v>
                </c:pt>
                <c:pt idx="1941">
                  <c:v>41949</c:v>
                </c:pt>
                <c:pt idx="1942">
                  <c:v>41950</c:v>
                </c:pt>
                <c:pt idx="1943">
                  <c:v>41953</c:v>
                </c:pt>
                <c:pt idx="1944">
                  <c:v>41954</c:v>
                </c:pt>
                <c:pt idx="1945">
                  <c:v>41955</c:v>
                </c:pt>
                <c:pt idx="1946">
                  <c:v>41956</c:v>
                </c:pt>
                <c:pt idx="1947">
                  <c:v>41957</c:v>
                </c:pt>
                <c:pt idx="1948">
                  <c:v>41960</c:v>
                </c:pt>
                <c:pt idx="1949">
                  <c:v>41961</c:v>
                </c:pt>
                <c:pt idx="1950">
                  <c:v>41962</c:v>
                </c:pt>
                <c:pt idx="1951">
                  <c:v>41963</c:v>
                </c:pt>
                <c:pt idx="1952">
                  <c:v>41964</c:v>
                </c:pt>
                <c:pt idx="1953">
                  <c:v>41967</c:v>
                </c:pt>
                <c:pt idx="1954">
                  <c:v>41968</c:v>
                </c:pt>
                <c:pt idx="1955">
                  <c:v>41969</c:v>
                </c:pt>
                <c:pt idx="1956">
                  <c:v>41971</c:v>
                </c:pt>
                <c:pt idx="1957">
                  <c:v>41974</c:v>
                </c:pt>
                <c:pt idx="1958">
                  <c:v>41975</c:v>
                </c:pt>
                <c:pt idx="1959">
                  <c:v>41976</c:v>
                </c:pt>
                <c:pt idx="1960">
                  <c:v>41977</c:v>
                </c:pt>
                <c:pt idx="1961">
                  <c:v>41978</c:v>
                </c:pt>
                <c:pt idx="1962">
                  <c:v>41981</c:v>
                </c:pt>
                <c:pt idx="1963">
                  <c:v>41982</c:v>
                </c:pt>
                <c:pt idx="1964">
                  <c:v>41983</c:v>
                </c:pt>
                <c:pt idx="1965">
                  <c:v>41984</c:v>
                </c:pt>
                <c:pt idx="1966">
                  <c:v>41985</c:v>
                </c:pt>
                <c:pt idx="1967">
                  <c:v>41988</c:v>
                </c:pt>
                <c:pt idx="1968">
                  <c:v>41989</c:v>
                </c:pt>
                <c:pt idx="1969">
                  <c:v>41990</c:v>
                </c:pt>
                <c:pt idx="1970">
                  <c:v>41991</c:v>
                </c:pt>
                <c:pt idx="1971">
                  <c:v>41992</c:v>
                </c:pt>
                <c:pt idx="1972">
                  <c:v>41995</c:v>
                </c:pt>
                <c:pt idx="1973">
                  <c:v>41996</c:v>
                </c:pt>
                <c:pt idx="1974">
                  <c:v>41997</c:v>
                </c:pt>
                <c:pt idx="1975">
                  <c:v>41999</c:v>
                </c:pt>
                <c:pt idx="1976">
                  <c:v>42002</c:v>
                </c:pt>
                <c:pt idx="1977">
                  <c:v>42003</c:v>
                </c:pt>
                <c:pt idx="1978">
                  <c:v>42004</c:v>
                </c:pt>
                <c:pt idx="1979">
                  <c:v>42006</c:v>
                </c:pt>
                <c:pt idx="1980">
                  <c:v>42009</c:v>
                </c:pt>
                <c:pt idx="1981">
                  <c:v>42010</c:v>
                </c:pt>
                <c:pt idx="1982">
                  <c:v>42011</c:v>
                </c:pt>
                <c:pt idx="1983">
                  <c:v>42012</c:v>
                </c:pt>
                <c:pt idx="1984">
                  <c:v>42013</c:v>
                </c:pt>
                <c:pt idx="1985">
                  <c:v>42016</c:v>
                </c:pt>
                <c:pt idx="1986">
                  <c:v>42017</c:v>
                </c:pt>
                <c:pt idx="1987">
                  <c:v>42018</c:v>
                </c:pt>
                <c:pt idx="1988">
                  <c:v>42019</c:v>
                </c:pt>
                <c:pt idx="1989">
                  <c:v>42020</c:v>
                </c:pt>
                <c:pt idx="1990">
                  <c:v>42024</c:v>
                </c:pt>
                <c:pt idx="1991">
                  <c:v>42025</c:v>
                </c:pt>
                <c:pt idx="1992">
                  <c:v>42026</c:v>
                </c:pt>
                <c:pt idx="1993">
                  <c:v>42027</c:v>
                </c:pt>
                <c:pt idx="1994">
                  <c:v>42030</c:v>
                </c:pt>
                <c:pt idx="1995">
                  <c:v>42031</c:v>
                </c:pt>
                <c:pt idx="1996">
                  <c:v>42032</c:v>
                </c:pt>
                <c:pt idx="1997">
                  <c:v>42033</c:v>
                </c:pt>
                <c:pt idx="1998">
                  <c:v>42034</c:v>
                </c:pt>
                <c:pt idx="1999">
                  <c:v>42037</c:v>
                </c:pt>
                <c:pt idx="2000">
                  <c:v>42038</c:v>
                </c:pt>
                <c:pt idx="2001">
                  <c:v>42039</c:v>
                </c:pt>
                <c:pt idx="2002">
                  <c:v>42040</c:v>
                </c:pt>
                <c:pt idx="2003">
                  <c:v>42041</c:v>
                </c:pt>
                <c:pt idx="2004">
                  <c:v>42044</c:v>
                </c:pt>
                <c:pt idx="2005">
                  <c:v>42045</c:v>
                </c:pt>
                <c:pt idx="2006">
                  <c:v>42046</c:v>
                </c:pt>
                <c:pt idx="2007">
                  <c:v>42047</c:v>
                </c:pt>
                <c:pt idx="2008">
                  <c:v>42048</c:v>
                </c:pt>
                <c:pt idx="2009">
                  <c:v>42052</c:v>
                </c:pt>
                <c:pt idx="2010">
                  <c:v>42053</c:v>
                </c:pt>
                <c:pt idx="2011">
                  <c:v>42054</c:v>
                </c:pt>
                <c:pt idx="2012">
                  <c:v>42055</c:v>
                </c:pt>
                <c:pt idx="2013">
                  <c:v>42058</c:v>
                </c:pt>
                <c:pt idx="2014">
                  <c:v>42059</c:v>
                </c:pt>
                <c:pt idx="2015">
                  <c:v>42060</c:v>
                </c:pt>
                <c:pt idx="2016">
                  <c:v>42061</c:v>
                </c:pt>
                <c:pt idx="2017">
                  <c:v>42062</c:v>
                </c:pt>
                <c:pt idx="2018">
                  <c:v>42065</c:v>
                </c:pt>
                <c:pt idx="2019">
                  <c:v>42066</c:v>
                </c:pt>
                <c:pt idx="2020">
                  <c:v>42067</c:v>
                </c:pt>
                <c:pt idx="2021">
                  <c:v>42068</c:v>
                </c:pt>
                <c:pt idx="2022">
                  <c:v>42069</c:v>
                </c:pt>
                <c:pt idx="2023">
                  <c:v>42072</c:v>
                </c:pt>
                <c:pt idx="2024">
                  <c:v>42073</c:v>
                </c:pt>
                <c:pt idx="2025">
                  <c:v>42074</c:v>
                </c:pt>
                <c:pt idx="2026">
                  <c:v>42075</c:v>
                </c:pt>
                <c:pt idx="2027">
                  <c:v>42076</c:v>
                </c:pt>
                <c:pt idx="2028">
                  <c:v>42079</c:v>
                </c:pt>
                <c:pt idx="2029">
                  <c:v>42080</c:v>
                </c:pt>
                <c:pt idx="2030">
                  <c:v>42081</c:v>
                </c:pt>
                <c:pt idx="2031">
                  <c:v>42082</c:v>
                </c:pt>
                <c:pt idx="2032">
                  <c:v>42083</c:v>
                </c:pt>
                <c:pt idx="2033">
                  <c:v>42086</c:v>
                </c:pt>
                <c:pt idx="2034">
                  <c:v>42087</c:v>
                </c:pt>
                <c:pt idx="2035">
                  <c:v>42088</c:v>
                </c:pt>
                <c:pt idx="2036">
                  <c:v>42089</c:v>
                </c:pt>
                <c:pt idx="2037">
                  <c:v>42090</c:v>
                </c:pt>
                <c:pt idx="2038">
                  <c:v>42093</c:v>
                </c:pt>
                <c:pt idx="2039">
                  <c:v>42094</c:v>
                </c:pt>
                <c:pt idx="2040">
                  <c:v>42095</c:v>
                </c:pt>
                <c:pt idx="2041">
                  <c:v>42096</c:v>
                </c:pt>
                <c:pt idx="2042">
                  <c:v>42100</c:v>
                </c:pt>
                <c:pt idx="2043">
                  <c:v>42101</c:v>
                </c:pt>
                <c:pt idx="2044">
                  <c:v>42102</c:v>
                </c:pt>
                <c:pt idx="2045">
                  <c:v>42103</c:v>
                </c:pt>
                <c:pt idx="2046">
                  <c:v>42104</c:v>
                </c:pt>
                <c:pt idx="2047">
                  <c:v>42107</c:v>
                </c:pt>
                <c:pt idx="2048">
                  <c:v>42108</c:v>
                </c:pt>
                <c:pt idx="2049">
                  <c:v>42109</c:v>
                </c:pt>
                <c:pt idx="2050">
                  <c:v>42110</c:v>
                </c:pt>
                <c:pt idx="2051">
                  <c:v>42111</c:v>
                </c:pt>
                <c:pt idx="2052">
                  <c:v>42114</c:v>
                </c:pt>
                <c:pt idx="2053">
                  <c:v>42115</c:v>
                </c:pt>
                <c:pt idx="2054">
                  <c:v>42116</c:v>
                </c:pt>
                <c:pt idx="2055">
                  <c:v>42117</c:v>
                </c:pt>
                <c:pt idx="2056">
                  <c:v>42118</c:v>
                </c:pt>
                <c:pt idx="2057">
                  <c:v>42121</c:v>
                </c:pt>
                <c:pt idx="2058">
                  <c:v>42122</c:v>
                </c:pt>
                <c:pt idx="2059">
                  <c:v>42123</c:v>
                </c:pt>
                <c:pt idx="2060">
                  <c:v>42124</c:v>
                </c:pt>
                <c:pt idx="2061">
                  <c:v>42125</c:v>
                </c:pt>
                <c:pt idx="2062">
                  <c:v>42128</c:v>
                </c:pt>
                <c:pt idx="2063">
                  <c:v>42129</c:v>
                </c:pt>
                <c:pt idx="2064">
                  <c:v>42130</c:v>
                </c:pt>
                <c:pt idx="2065">
                  <c:v>42131</c:v>
                </c:pt>
                <c:pt idx="2066">
                  <c:v>42132</c:v>
                </c:pt>
                <c:pt idx="2067">
                  <c:v>42135</c:v>
                </c:pt>
                <c:pt idx="2068">
                  <c:v>42136</c:v>
                </c:pt>
                <c:pt idx="2069">
                  <c:v>42137</c:v>
                </c:pt>
                <c:pt idx="2070">
                  <c:v>42138</c:v>
                </c:pt>
                <c:pt idx="2071">
                  <c:v>42139</c:v>
                </c:pt>
                <c:pt idx="2072">
                  <c:v>42142</c:v>
                </c:pt>
                <c:pt idx="2073">
                  <c:v>42143</c:v>
                </c:pt>
                <c:pt idx="2074">
                  <c:v>42144</c:v>
                </c:pt>
                <c:pt idx="2075">
                  <c:v>42145</c:v>
                </c:pt>
                <c:pt idx="2076">
                  <c:v>42146</c:v>
                </c:pt>
                <c:pt idx="2077">
                  <c:v>42150</c:v>
                </c:pt>
                <c:pt idx="2078">
                  <c:v>42151</c:v>
                </c:pt>
                <c:pt idx="2079">
                  <c:v>42152</c:v>
                </c:pt>
                <c:pt idx="2080">
                  <c:v>42153</c:v>
                </c:pt>
                <c:pt idx="2081">
                  <c:v>42156</c:v>
                </c:pt>
                <c:pt idx="2082">
                  <c:v>42157</c:v>
                </c:pt>
                <c:pt idx="2083">
                  <c:v>42158</c:v>
                </c:pt>
                <c:pt idx="2084">
                  <c:v>42159</c:v>
                </c:pt>
                <c:pt idx="2085">
                  <c:v>42160</c:v>
                </c:pt>
                <c:pt idx="2086">
                  <c:v>42163</c:v>
                </c:pt>
                <c:pt idx="2087">
                  <c:v>42164</c:v>
                </c:pt>
                <c:pt idx="2088">
                  <c:v>42165</c:v>
                </c:pt>
                <c:pt idx="2089">
                  <c:v>42166</c:v>
                </c:pt>
                <c:pt idx="2090">
                  <c:v>42167</c:v>
                </c:pt>
                <c:pt idx="2091">
                  <c:v>42170</c:v>
                </c:pt>
                <c:pt idx="2092">
                  <c:v>42171</c:v>
                </c:pt>
                <c:pt idx="2093">
                  <c:v>42172</c:v>
                </c:pt>
                <c:pt idx="2094">
                  <c:v>42173</c:v>
                </c:pt>
                <c:pt idx="2095">
                  <c:v>42174</c:v>
                </c:pt>
                <c:pt idx="2096">
                  <c:v>42177</c:v>
                </c:pt>
                <c:pt idx="2097">
                  <c:v>42178</c:v>
                </c:pt>
                <c:pt idx="2098">
                  <c:v>42179</c:v>
                </c:pt>
                <c:pt idx="2099">
                  <c:v>42180</c:v>
                </c:pt>
                <c:pt idx="2100">
                  <c:v>42181</c:v>
                </c:pt>
                <c:pt idx="2101">
                  <c:v>42184</c:v>
                </c:pt>
                <c:pt idx="2102">
                  <c:v>42185</c:v>
                </c:pt>
                <c:pt idx="2103">
                  <c:v>42186</c:v>
                </c:pt>
                <c:pt idx="2104">
                  <c:v>42187</c:v>
                </c:pt>
                <c:pt idx="2105">
                  <c:v>42191</c:v>
                </c:pt>
                <c:pt idx="2106">
                  <c:v>42192</c:v>
                </c:pt>
                <c:pt idx="2107">
                  <c:v>42193</c:v>
                </c:pt>
                <c:pt idx="2108">
                  <c:v>42194</c:v>
                </c:pt>
                <c:pt idx="2109">
                  <c:v>42195</c:v>
                </c:pt>
                <c:pt idx="2110">
                  <c:v>42198</c:v>
                </c:pt>
                <c:pt idx="2111">
                  <c:v>42199</c:v>
                </c:pt>
                <c:pt idx="2112">
                  <c:v>42200</c:v>
                </c:pt>
                <c:pt idx="2113">
                  <c:v>42201</c:v>
                </c:pt>
                <c:pt idx="2114">
                  <c:v>42202</c:v>
                </c:pt>
                <c:pt idx="2115">
                  <c:v>42205</c:v>
                </c:pt>
                <c:pt idx="2116">
                  <c:v>42206</c:v>
                </c:pt>
                <c:pt idx="2117">
                  <c:v>42207</c:v>
                </c:pt>
                <c:pt idx="2118">
                  <c:v>42208</c:v>
                </c:pt>
                <c:pt idx="2119">
                  <c:v>42209</c:v>
                </c:pt>
                <c:pt idx="2120">
                  <c:v>42212</c:v>
                </c:pt>
                <c:pt idx="2121">
                  <c:v>42213</c:v>
                </c:pt>
                <c:pt idx="2122">
                  <c:v>42214</c:v>
                </c:pt>
                <c:pt idx="2123">
                  <c:v>42215</c:v>
                </c:pt>
                <c:pt idx="2124">
                  <c:v>42216</c:v>
                </c:pt>
                <c:pt idx="2125">
                  <c:v>42219</c:v>
                </c:pt>
                <c:pt idx="2126">
                  <c:v>42220</c:v>
                </c:pt>
                <c:pt idx="2127">
                  <c:v>42221</c:v>
                </c:pt>
                <c:pt idx="2128">
                  <c:v>42222</c:v>
                </c:pt>
                <c:pt idx="2129">
                  <c:v>42223</c:v>
                </c:pt>
                <c:pt idx="2130">
                  <c:v>42226</c:v>
                </c:pt>
                <c:pt idx="2131">
                  <c:v>42227</c:v>
                </c:pt>
                <c:pt idx="2132">
                  <c:v>42228</c:v>
                </c:pt>
                <c:pt idx="2133">
                  <c:v>42229</c:v>
                </c:pt>
                <c:pt idx="2134">
                  <c:v>42230</c:v>
                </c:pt>
                <c:pt idx="2135">
                  <c:v>42233</c:v>
                </c:pt>
                <c:pt idx="2136">
                  <c:v>42234</c:v>
                </c:pt>
                <c:pt idx="2137">
                  <c:v>42235</c:v>
                </c:pt>
                <c:pt idx="2138">
                  <c:v>42236</c:v>
                </c:pt>
                <c:pt idx="2139">
                  <c:v>42237</c:v>
                </c:pt>
                <c:pt idx="2140">
                  <c:v>42240</c:v>
                </c:pt>
                <c:pt idx="2141">
                  <c:v>42241</c:v>
                </c:pt>
                <c:pt idx="2142">
                  <c:v>42242</c:v>
                </c:pt>
                <c:pt idx="2143">
                  <c:v>42243</c:v>
                </c:pt>
                <c:pt idx="2144">
                  <c:v>42244</c:v>
                </c:pt>
                <c:pt idx="2145">
                  <c:v>42247</c:v>
                </c:pt>
                <c:pt idx="2146">
                  <c:v>42248</c:v>
                </c:pt>
                <c:pt idx="2147">
                  <c:v>42249</c:v>
                </c:pt>
                <c:pt idx="2148">
                  <c:v>42250</c:v>
                </c:pt>
                <c:pt idx="2149">
                  <c:v>42251</c:v>
                </c:pt>
                <c:pt idx="2150">
                  <c:v>42255</c:v>
                </c:pt>
                <c:pt idx="2151">
                  <c:v>42256</c:v>
                </c:pt>
                <c:pt idx="2152">
                  <c:v>42257</c:v>
                </c:pt>
                <c:pt idx="2153">
                  <c:v>42258</c:v>
                </c:pt>
                <c:pt idx="2154">
                  <c:v>42261</c:v>
                </c:pt>
                <c:pt idx="2155">
                  <c:v>42262</c:v>
                </c:pt>
                <c:pt idx="2156">
                  <c:v>42263</c:v>
                </c:pt>
                <c:pt idx="2157">
                  <c:v>42264</c:v>
                </c:pt>
                <c:pt idx="2158">
                  <c:v>42265</c:v>
                </c:pt>
                <c:pt idx="2159">
                  <c:v>42268</c:v>
                </c:pt>
                <c:pt idx="2160">
                  <c:v>42269</c:v>
                </c:pt>
                <c:pt idx="2161">
                  <c:v>42270</c:v>
                </c:pt>
                <c:pt idx="2162">
                  <c:v>42271</c:v>
                </c:pt>
                <c:pt idx="2163">
                  <c:v>42272</c:v>
                </c:pt>
                <c:pt idx="2164">
                  <c:v>42275</c:v>
                </c:pt>
                <c:pt idx="2165">
                  <c:v>42276</c:v>
                </c:pt>
                <c:pt idx="2166">
                  <c:v>42277</c:v>
                </c:pt>
                <c:pt idx="2167">
                  <c:v>42278</c:v>
                </c:pt>
                <c:pt idx="2168">
                  <c:v>42279</c:v>
                </c:pt>
                <c:pt idx="2169">
                  <c:v>42282</c:v>
                </c:pt>
                <c:pt idx="2170">
                  <c:v>42283</c:v>
                </c:pt>
                <c:pt idx="2171">
                  <c:v>42284</c:v>
                </c:pt>
                <c:pt idx="2172">
                  <c:v>42285</c:v>
                </c:pt>
                <c:pt idx="2173">
                  <c:v>42286</c:v>
                </c:pt>
                <c:pt idx="2174">
                  <c:v>42289</c:v>
                </c:pt>
                <c:pt idx="2175">
                  <c:v>42290</c:v>
                </c:pt>
                <c:pt idx="2176">
                  <c:v>42291</c:v>
                </c:pt>
                <c:pt idx="2177">
                  <c:v>42292</c:v>
                </c:pt>
                <c:pt idx="2178">
                  <c:v>42293</c:v>
                </c:pt>
                <c:pt idx="2179">
                  <c:v>42296</c:v>
                </c:pt>
                <c:pt idx="2180">
                  <c:v>42297</c:v>
                </c:pt>
                <c:pt idx="2181">
                  <c:v>42298</c:v>
                </c:pt>
                <c:pt idx="2182">
                  <c:v>42299</c:v>
                </c:pt>
                <c:pt idx="2183">
                  <c:v>42300</c:v>
                </c:pt>
                <c:pt idx="2184">
                  <c:v>42303</c:v>
                </c:pt>
                <c:pt idx="2185">
                  <c:v>42304</c:v>
                </c:pt>
                <c:pt idx="2186">
                  <c:v>42305</c:v>
                </c:pt>
                <c:pt idx="2187">
                  <c:v>42306</c:v>
                </c:pt>
                <c:pt idx="2188">
                  <c:v>42307</c:v>
                </c:pt>
                <c:pt idx="2189">
                  <c:v>42310</c:v>
                </c:pt>
                <c:pt idx="2190">
                  <c:v>42311</c:v>
                </c:pt>
                <c:pt idx="2191">
                  <c:v>42312</c:v>
                </c:pt>
                <c:pt idx="2192">
                  <c:v>42313</c:v>
                </c:pt>
                <c:pt idx="2193">
                  <c:v>42314</c:v>
                </c:pt>
                <c:pt idx="2194">
                  <c:v>42317</c:v>
                </c:pt>
                <c:pt idx="2195">
                  <c:v>42318</c:v>
                </c:pt>
                <c:pt idx="2196">
                  <c:v>42319</c:v>
                </c:pt>
                <c:pt idx="2197">
                  <c:v>42320</c:v>
                </c:pt>
                <c:pt idx="2198">
                  <c:v>42321</c:v>
                </c:pt>
                <c:pt idx="2199">
                  <c:v>42324</c:v>
                </c:pt>
                <c:pt idx="2200">
                  <c:v>42325</c:v>
                </c:pt>
                <c:pt idx="2201">
                  <c:v>42326</c:v>
                </c:pt>
                <c:pt idx="2202">
                  <c:v>42327</c:v>
                </c:pt>
                <c:pt idx="2203">
                  <c:v>42328</c:v>
                </c:pt>
                <c:pt idx="2204">
                  <c:v>42331</c:v>
                </c:pt>
                <c:pt idx="2205">
                  <c:v>42332</c:v>
                </c:pt>
                <c:pt idx="2206">
                  <c:v>42333</c:v>
                </c:pt>
                <c:pt idx="2207">
                  <c:v>42335</c:v>
                </c:pt>
                <c:pt idx="2208">
                  <c:v>42338</c:v>
                </c:pt>
                <c:pt idx="2209">
                  <c:v>42339</c:v>
                </c:pt>
                <c:pt idx="2210">
                  <c:v>42340</c:v>
                </c:pt>
                <c:pt idx="2211">
                  <c:v>42341</c:v>
                </c:pt>
                <c:pt idx="2212">
                  <c:v>42342</c:v>
                </c:pt>
                <c:pt idx="2213">
                  <c:v>42345</c:v>
                </c:pt>
                <c:pt idx="2214">
                  <c:v>42346</c:v>
                </c:pt>
                <c:pt idx="2215">
                  <c:v>42347</c:v>
                </c:pt>
                <c:pt idx="2216">
                  <c:v>42348</c:v>
                </c:pt>
                <c:pt idx="2217">
                  <c:v>42349</c:v>
                </c:pt>
                <c:pt idx="2218">
                  <c:v>42352</c:v>
                </c:pt>
                <c:pt idx="2219">
                  <c:v>42353</c:v>
                </c:pt>
                <c:pt idx="2220">
                  <c:v>42354</c:v>
                </c:pt>
                <c:pt idx="2221">
                  <c:v>42355</c:v>
                </c:pt>
                <c:pt idx="2222">
                  <c:v>42356</c:v>
                </c:pt>
                <c:pt idx="2223">
                  <c:v>42359</c:v>
                </c:pt>
                <c:pt idx="2224">
                  <c:v>42360</c:v>
                </c:pt>
                <c:pt idx="2225">
                  <c:v>42361</c:v>
                </c:pt>
                <c:pt idx="2226">
                  <c:v>42362</c:v>
                </c:pt>
                <c:pt idx="2227">
                  <c:v>42366</c:v>
                </c:pt>
                <c:pt idx="2228">
                  <c:v>42367</c:v>
                </c:pt>
                <c:pt idx="2229">
                  <c:v>42368</c:v>
                </c:pt>
                <c:pt idx="2230">
                  <c:v>42369</c:v>
                </c:pt>
                <c:pt idx="2231">
                  <c:v>42373</c:v>
                </c:pt>
                <c:pt idx="2232">
                  <c:v>42374</c:v>
                </c:pt>
                <c:pt idx="2233">
                  <c:v>42375</c:v>
                </c:pt>
                <c:pt idx="2234">
                  <c:v>42376</c:v>
                </c:pt>
                <c:pt idx="2235">
                  <c:v>42377</c:v>
                </c:pt>
                <c:pt idx="2236">
                  <c:v>42380</c:v>
                </c:pt>
                <c:pt idx="2237">
                  <c:v>42381</c:v>
                </c:pt>
                <c:pt idx="2238">
                  <c:v>42382</c:v>
                </c:pt>
                <c:pt idx="2239">
                  <c:v>42383</c:v>
                </c:pt>
                <c:pt idx="2240">
                  <c:v>42384</c:v>
                </c:pt>
                <c:pt idx="2241">
                  <c:v>42388</c:v>
                </c:pt>
                <c:pt idx="2242">
                  <c:v>42389</c:v>
                </c:pt>
                <c:pt idx="2243">
                  <c:v>42390</c:v>
                </c:pt>
                <c:pt idx="2244">
                  <c:v>42391</c:v>
                </c:pt>
                <c:pt idx="2245">
                  <c:v>42394</c:v>
                </c:pt>
                <c:pt idx="2246">
                  <c:v>42395</c:v>
                </c:pt>
                <c:pt idx="2247">
                  <c:v>42396</c:v>
                </c:pt>
                <c:pt idx="2248">
                  <c:v>42397</c:v>
                </c:pt>
                <c:pt idx="2249">
                  <c:v>42398</c:v>
                </c:pt>
                <c:pt idx="2250">
                  <c:v>42401</c:v>
                </c:pt>
                <c:pt idx="2251">
                  <c:v>42402</c:v>
                </c:pt>
                <c:pt idx="2252">
                  <c:v>42403</c:v>
                </c:pt>
                <c:pt idx="2253">
                  <c:v>42404</c:v>
                </c:pt>
                <c:pt idx="2254">
                  <c:v>42405</c:v>
                </c:pt>
                <c:pt idx="2255">
                  <c:v>42408</c:v>
                </c:pt>
                <c:pt idx="2256">
                  <c:v>42409</c:v>
                </c:pt>
                <c:pt idx="2257">
                  <c:v>42410</c:v>
                </c:pt>
                <c:pt idx="2258">
                  <c:v>42411</c:v>
                </c:pt>
                <c:pt idx="2259">
                  <c:v>42412</c:v>
                </c:pt>
                <c:pt idx="2260">
                  <c:v>42416</c:v>
                </c:pt>
                <c:pt idx="2261">
                  <c:v>42417</c:v>
                </c:pt>
                <c:pt idx="2262">
                  <c:v>42418</c:v>
                </c:pt>
                <c:pt idx="2263">
                  <c:v>42419</c:v>
                </c:pt>
                <c:pt idx="2264">
                  <c:v>42422</c:v>
                </c:pt>
                <c:pt idx="2265">
                  <c:v>42423</c:v>
                </c:pt>
                <c:pt idx="2266">
                  <c:v>42424</c:v>
                </c:pt>
                <c:pt idx="2267">
                  <c:v>42425</c:v>
                </c:pt>
                <c:pt idx="2268">
                  <c:v>42426</c:v>
                </c:pt>
                <c:pt idx="2269">
                  <c:v>42429</c:v>
                </c:pt>
                <c:pt idx="2270">
                  <c:v>42430</c:v>
                </c:pt>
                <c:pt idx="2271">
                  <c:v>42431</c:v>
                </c:pt>
                <c:pt idx="2272">
                  <c:v>42432</c:v>
                </c:pt>
                <c:pt idx="2273">
                  <c:v>42433</c:v>
                </c:pt>
                <c:pt idx="2274">
                  <c:v>42436</c:v>
                </c:pt>
                <c:pt idx="2275">
                  <c:v>42437</c:v>
                </c:pt>
                <c:pt idx="2276">
                  <c:v>42438</c:v>
                </c:pt>
                <c:pt idx="2277">
                  <c:v>42439</c:v>
                </c:pt>
                <c:pt idx="2278">
                  <c:v>42440</c:v>
                </c:pt>
                <c:pt idx="2279">
                  <c:v>42443</c:v>
                </c:pt>
                <c:pt idx="2280">
                  <c:v>42444</c:v>
                </c:pt>
                <c:pt idx="2281">
                  <c:v>42445</c:v>
                </c:pt>
                <c:pt idx="2282">
                  <c:v>42446</c:v>
                </c:pt>
                <c:pt idx="2283">
                  <c:v>42447</c:v>
                </c:pt>
                <c:pt idx="2284">
                  <c:v>42450</c:v>
                </c:pt>
                <c:pt idx="2285">
                  <c:v>42451</c:v>
                </c:pt>
                <c:pt idx="2286">
                  <c:v>42452</c:v>
                </c:pt>
                <c:pt idx="2287">
                  <c:v>42453</c:v>
                </c:pt>
                <c:pt idx="2288">
                  <c:v>42457</c:v>
                </c:pt>
                <c:pt idx="2289">
                  <c:v>42458</c:v>
                </c:pt>
                <c:pt idx="2290">
                  <c:v>42459</c:v>
                </c:pt>
                <c:pt idx="2291">
                  <c:v>42460</c:v>
                </c:pt>
                <c:pt idx="2292">
                  <c:v>42461</c:v>
                </c:pt>
                <c:pt idx="2293">
                  <c:v>42464</c:v>
                </c:pt>
                <c:pt idx="2294">
                  <c:v>42465</c:v>
                </c:pt>
                <c:pt idx="2295">
                  <c:v>42466</c:v>
                </c:pt>
                <c:pt idx="2296">
                  <c:v>42467</c:v>
                </c:pt>
                <c:pt idx="2297">
                  <c:v>42468</c:v>
                </c:pt>
                <c:pt idx="2298">
                  <c:v>42471</c:v>
                </c:pt>
                <c:pt idx="2299">
                  <c:v>42472</c:v>
                </c:pt>
                <c:pt idx="2300">
                  <c:v>42473</c:v>
                </c:pt>
                <c:pt idx="2301">
                  <c:v>42474</c:v>
                </c:pt>
                <c:pt idx="2302">
                  <c:v>42475</c:v>
                </c:pt>
                <c:pt idx="2303">
                  <c:v>42478</c:v>
                </c:pt>
                <c:pt idx="2304">
                  <c:v>42479</c:v>
                </c:pt>
                <c:pt idx="2305">
                  <c:v>42480</c:v>
                </c:pt>
                <c:pt idx="2306">
                  <c:v>42481</c:v>
                </c:pt>
                <c:pt idx="2307">
                  <c:v>42482</c:v>
                </c:pt>
                <c:pt idx="2308">
                  <c:v>42485</c:v>
                </c:pt>
                <c:pt idx="2309">
                  <c:v>42486</c:v>
                </c:pt>
                <c:pt idx="2310">
                  <c:v>42487</c:v>
                </c:pt>
                <c:pt idx="2311">
                  <c:v>42488</c:v>
                </c:pt>
                <c:pt idx="2312">
                  <c:v>42489</c:v>
                </c:pt>
                <c:pt idx="2313">
                  <c:v>42492</c:v>
                </c:pt>
                <c:pt idx="2314">
                  <c:v>42493</c:v>
                </c:pt>
                <c:pt idx="2315">
                  <c:v>42494</c:v>
                </c:pt>
                <c:pt idx="2316">
                  <c:v>42495</c:v>
                </c:pt>
                <c:pt idx="2317">
                  <c:v>42496</c:v>
                </c:pt>
                <c:pt idx="2318">
                  <c:v>42499</c:v>
                </c:pt>
                <c:pt idx="2319">
                  <c:v>42500</c:v>
                </c:pt>
                <c:pt idx="2320">
                  <c:v>42501</c:v>
                </c:pt>
                <c:pt idx="2321">
                  <c:v>42502</c:v>
                </c:pt>
                <c:pt idx="2322">
                  <c:v>42503</c:v>
                </c:pt>
                <c:pt idx="2323">
                  <c:v>42506</c:v>
                </c:pt>
                <c:pt idx="2324">
                  <c:v>42507</c:v>
                </c:pt>
                <c:pt idx="2325">
                  <c:v>42508</c:v>
                </c:pt>
              </c:numCache>
            </c:numRef>
          </c:cat>
          <c:val>
            <c:numRef>
              <c:f>'Vix futures volumes'!$AJ$5:$AJ$2330</c:f>
              <c:numCache>
                <c:formatCode>_(* #,##0.00_);_(* \(#,##0.00\);_(* "-"??_);_(@_)</c:formatCode>
                <c:ptCount val="2326"/>
                <c:pt idx="0">
                  <c:v>2.4542099999999998</c:v>
                </c:pt>
                <c:pt idx="1">
                  <c:v>3.4755699999999998</c:v>
                </c:pt>
                <c:pt idx="2">
                  <c:v>1.9931800000000002</c:v>
                </c:pt>
                <c:pt idx="3">
                  <c:v>5.4267500000000002</c:v>
                </c:pt>
                <c:pt idx="4">
                  <c:v>5.7678399999999996</c:v>
                </c:pt>
                <c:pt idx="5">
                  <c:v>4.76</c:v>
                </c:pt>
                <c:pt idx="6">
                  <c:v>6.0280199999999997</c:v>
                </c:pt>
                <c:pt idx="7">
                  <c:v>14.894640000000001</c:v>
                </c:pt>
                <c:pt idx="8">
                  <c:v>16.207799999999999</c:v>
                </c:pt>
                <c:pt idx="9">
                  <c:v>8.2417200000000008</c:v>
                </c:pt>
                <c:pt idx="10">
                  <c:v>17.61966</c:v>
                </c:pt>
                <c:pt idx="11">
                  <c:v>14.098140000000001</c:v>
                </c:pt>
                <c:pt idx="12">
                  <c:v>13.54607</c:v>
                </c:pt>
                <c:pt idx="13">
                  <c:v>7.79948</c:v>
                </c:pt>
                <c:pt idx="14">
                  <c:v>4.8502999999999998</c:v>
                </c:pt>
                <c:pt idx="15">
                  <c:v>28.211279999999999</c:v>
                </c:pt>
                <c:pt idx="16">
                  <c:v>9.1623599999999996</c:v>
                </c:pt>
                <c:pt idx="17">
                  <c:v>10.44849</c:v>
                </c:pt>
                <c:pt idx="18">
                  <c:v>5.1849999999999996</c:v>
                </c:pt>
                <c:pt idx="19">
                  <c:v>11.674799999999999</c:v>
                </c:pt>
                <c:pt idx="20">
                  <c:v>8.8155400000000004</c:v>
                </c:pt>
                <c:pt idx="21">
                  <c:v>3.8230500000000003</c:v>
                </c:pt>
                <c:pt idx="22">
                  <c:v>2.4331800000000001</c:v>
                </c:pt>
                <c:pt idx="23">
                  <c:v>2.2929599999999999</c:v>
                </c:pt>
                <c:pt idx="24">
                  <c:v>2.8209499999999998</c:v>
                </c:pt>
                <c:pt idx="25">
                  <c:v>5.4936600000000002</c:v>
                </c:pt>
                <c:pt idx="26">
                  <c:v>30.360499999999998</c:v>
                </c:pt>
                <c:pt idx="27">
                  <c:v>53.46</c:v>
                </c:pt>
                <c:pt idx="28">
                  <c:v>26.988959999999999</c:v>
                </c:pt>
                <c:pt idx="29">
                  <c:v>14.400119999999999</c:v>
                </c:pt>
                <c:pt idx="30">
                  <c:v>19.912949999999999</c:v>
                </c:pt>
                <c:pt idx="31">
                  <c:v>10.40076</c:v>
                </c:pt>
                <c:pt idx="32">
                  <c:v>10.047700000000001</c:v>
                </c:pt>
                <c:pt idx="33">
                  <c:v>38.955840000000002</c:v>
                </c:pt>
                <c:pt idx="34">
                  <c:v>26.621939999999999</c:v>
                </c:pt>
                <c:pt idx="35">
                  <c:v>6.0900100000000004</c:v>
                </c:pt>
                <c:pt idx="36">
                  <c:v>20.331679999999999</c:v>
                </c:pt>
                <c:pt idx="37">
                  <c:v>13.88104</c:v>
                </c:pt>
                <c:pt idx="38">
                  <c:v>4.9187700000000003</c:v>
                </c:pt>
                <c:pt idx="39">
                  <c:v>9.0314999999999994</c:v>
                </c:pt>
                <c:pt idx="40">
                  <c:v>3.3849900000000002</c:v>
                </c:pt>
                <c:pt idx="41">
                  <c:v>12.570880000000001</c:v>
                </c:pt>
                <c:pt idx="42">
                  <c:v>3.1389999999999998</c:v>
                </c:pt>
                <c:pt idx="43">
                  <c:v>3.15882</c:v>
                </c:pt>
                <c:pt idx="44">
                  <c:v>5.2038000000000002</c:v>
                </c:pt>
                <c:pt idx="45">
                  <c:v>5.7119999999999997</c:v>
                </c:pt>
                <c:pt idx="46">
                  <c:v>7.2754500000000002</c:v>
                </c:pt>
                <c:pt idx="47">
                  <c:v>3.7884000000000002</c:v>
                </c:pt>
                <c:pt idx="48">
                  <c:v>2.4073000000000002</c:v>
                </c:pt>
                <c:pt idx="49">
                  <c:v>18.14988</c:v>
                </c:pt>
                <c:pt idx="50">
                  <c:v>23.35952</c:v>
                </c:pt>
                <c:pt idx="51">
                  <c:v>12.44529</c:v>
                </c:pt>
                <c:pt idx="52">
                  <c:v>20.367000000000001</c:v>
                </c:pt>
                <c:pt idx="53">
                  <c:v>9.1861499999999996</c:v>
                </c:pt>
                <c:pt idx="54">
                  <c:v>1.4013199999999999</c:v>
                </c:pt>
                <c:pt idx="55">
                  <c:v>5.7331399999999997</c:v>
                </c:pt>
                <c:pt idx="56">
                  <c:v>4.07721</c:v>
                </c:pt>
                <c:pt idx="57">
                  <c:v>4.41378</c:v>
                </c:pt>
                <c:pt idx="58">
                  <c:v>6.9866099999999998</c:v>
                </c:pt>
                <c:pt idx="59">
                  <c:v>12.4899</c:v>
                </c:pt>
                <c:pt idx="60">
                  <c:v>30.999600000000001</c:v>
                </c:pt>
                <c:pt idx="61">
                  <c:v>10.5777</c:v>
                </c:pt>
                <c:pt idx="62">
                  <c:v>50.262439999999998</c:v>
                </c:pt>
                <c:pt idx="63">
                  <c:v>25.366990000000001</c:v>
                </c:pt>
                <c:pt idx="64">
                  <c:v>28.429179999999999</c:v>
                </c:pt>
                <c:pt idx="65">
                  <c:v>75.387450000000001</c:v>
                </c:pt>
                <c:pt idx="66">
                  <c:v>13.521800000000001</c:v>
                </c:pt>
                <c:pt idx="67">
                  <c:v>22.555099999999999</c:v>
                </c:pt>
                <c:pt idx="68">
                  <c:v>12.4818</c:v>
                </c:pt>
                <c:pt idx="69">
                  <c:v>7.5642800000000001</c:v>
                </c:pt>
                <c:pt idx="70">
                  <c:v>6.1879200000000001</c:v>
                </c:pt>
                <c:pt idx="71">
                  <c:v>7.3860799999999998</c:v>
                </c:pt>
                <c:pt idx="72">
                  <c:v>4.6954000000000002</c:v>
                </c:pt>
                <c:pt idx="73">
                  <c:v>4.2625000000000002</c:v>
                </c:pt>
                <c:pt idx="74">
                  <c:v>15.762</c:v>
                </c:pt>
                <c:pt idx="75">
                  <c:v>2.90368</c:v>
                </c:pt>
                <c:pt idx="76">
                  <c:v>3.8170799999999998</c:v>
                </c:pt>
                <c:pt idx="77">
                  <c:v>6.5223599999999999</c:v>
                </c:pt>
                <c:pt idx="78">
                  <c:v>5.7672499999999998</c:v>
                </c:pt>
                <c:pt idx="79">
                  <c:v>3.7816200000000002</c:v>
                </c:pt>
                <c:pt idx="80">
                  <c:v>14.614890000000001</c:v>
                </c:pt>
                <c:pt idx="81">
                  <c:v>15.821340000000001</c:v>
                </c:pt>
                <c:pt idx="82">
                  <c:v>22.756039999999999</c:v>
                </c:pt>
                <c:pt idx="83">
                  <c:v>42.413420000000002</c:v>
                </c:pt>
                <c:pt idx="84">
                  <c:v>25.635999999999999</c:v>
                </c:pt>
                <c:pt idx="85">
                  <c:v>16.04148</c:v>
                </c:pt>
                <c:pt idx="86">
                  <c:v>17.670000000000002</c:v>
                </c:pt>
                <c:pt idx="87">
                  <c:v>13.49414</c:v>
                </c:pt>
                <c:pt idx="88">
                  <c:v>15.675660000000001</c:v>
                </c:pt>
                <c:pt idx="89">
                  <c:v>17.57574</c:v>
                </c:pt>
                <c:pt idx="90">
                  <c:v>11.16408</c:v>
                </c:pt>
                <c:pt idx="91">
                  <c:v>11.65596</c:v>
                </c:pt>
                <c:pt idx="92">
                  <c:v>43.166159999999998</c:v>
                </c:pt>
                <c:pt idx="93">
                  <c:v>17.330500000000001</c:v>
                </c:pt>
                <c:pt idx="94">
                  <c:v>45.007579999999997</c:v>
                </c:pt>
                <c:pt idx="95">
                  <c:v>24.080939999999998</c:v>
                </c:pt>
                <c:pt idx="96">
                  <c:v>39.087359999999997</c:v>
                </c:pt>
                <c:pt idx="97">
                  <c:v>29.40924</c:v>
                </c:pt>
                <c:pt idx="98">
                  <c:v>12.020149999999999</c:v>
                </c:pt>
                <c:pt idx="99">
                  <c:v>21.532699999999998</c:v>
                </c:pt>
                <c:pt idx="100">
                  <c:v>7.5298800000000004</c:v>
                </c:pt>
                <c:pt idx="101">
                  <c:v>6.3921599999999996</c:v>
                </c:pt>
                <c:pt idx="102">
                  <c:v>5.2516800000000003</c:v>
                </c:pt>
                <c:pt idx="103">
                  <c:v>5.0030999999999999</c:v>
                </c:pt>
                <c:pt idx="104">
                  <c:v>7.1810600000000004</c:v>
                </c:pt>
                <c:pt idx="105">
                  <c:v>42.791890000000009</c:v>
                </c:pt>
                <c:pt idx="106">
                  <c:v>36.978479999999998</c:v>
                </c:pt>
                <c:pt idx="107">
                  <c:v>39.556789999999999</c:v>
                </c:pt>
                <c:pt idx="108">
                  <c:v>10.824</c:v>
                </c:pt>
                <c:pt idx="109">
                  <c:v>20.440799999999999</c:v>
                </c:pt>
                <c:pt idx="110">
                  <c:v>30.564599999999999</c:v>
                </c:pt>
                <c:pt idx="111">
                  <c:v>72.450270000000003</c:v>
                </c:pt>
                <c:pt idx="112">
                  <c:v>48.653759999999998</c:v>
                </c:pt>
                <c:pt idx="113">
                  <c:v>28.210239999999999</c:v>
                </c:pt>
                <c:pt idx="114">
                  <c:v>21.411000000000001</c:v>
                </c:pt>
                <c:pt idx="115">
                  <c:v>61.59384</c:v>
                </c:pt>
                <c:pt idx="116">
                  <c:v>84.42304</c:v>
                </c:pt>
                <c:pt idx="117">
                  <c:v>117.55653</c:v>
                </c:pt>
                <c:pt idx="118">
                  <c:v>54.65061</c:v>
                </c:pt>
                <c:pt idx="119">
                  <c:v>65.804400000000001</c:v>
                </c:pt>
                <c:pt idx="120">
                  <c:v>94.145759999999996</c:v>
                </c:pt>
                <c:pt idx="121">
                  <c:v>199.2302</c:v>
                </c:pt>
                <c:pt idx="122">
                  <c:v>58.871490000000001</c:v>
                </c:pt>
                <c:pt idx="123">
                  <c:v>44.360819999999997</c:v>
                </c:pt>
                <c:pt idx="124">
                  <c:v>171.03167999999999</c:v>
                </c:pt>
                <c:pt idx="125">
                  <c:v>100.91983</c:v>
                </c:pt>
                <c:pt idx="126">
                  <c:v>122.39136000000001</c:v>
                </c:pt>
                <c:pt idx="127">
                  <c:v>62.662440000000011</c:v>
                </c:pt>
                <c:pt idx="128">
                  <c:v>114.9714</c:v>
                </c:pt>
                <c:pt idx="129">
                  <c:v>126.4023</c:v>
                </c:pt>
                <c:pt idx="130">
                  <c:v>86.073300000000003</c:v>
                </c:pt>
                <c:pt idx="131">
                  <c:v>120.97319</c:v>
                </c:pt>
                <c:pt idx="132">
                  <c:v>305.39596999999998</c:v>
                </c:pt>
                <c:pt idx="133">
                  <c:v>31.208130000000001</c:v>
                </c:pt>
                <c:pt idx="134">
                  <c:v>29.70675</c:v>
                </c:pt>
                <c:pt idx="135">
                  <c:v>30.79035</c:v>
                </c:pt>
                <c:pt idx="136">
                  <c:v>36.047600000000003</c:v>
                </c:pt>
                <c:pt idx="137">
                  <c:v>26.0337</c:v>
                </c:pt>
                <c:pt idx="138">
                  <c:v>30.255030000000001</c:v>
                </c:pt>
                <c:pt idx="139">
                  <c:v>45.025060000000003</c:v>
                </c:pt>
                <c:pt idx="140">
                  <c:v>41.072000000000003</c:v>
                </c:pt>
                <c:pt idx="141">
                  <c:v>30.22906</c:v>
                </c:pt>
                <c:pt idx="142">
                  <c:v>49.98704</c:v>
                </c:pt>
                <c:pt idx="143">
                  <c:v>7.1460400000000002</c:v>
                </c:pt>
                <c:pt idx="144">
                  <c:v>40.13982</c:v>
                </c:pt>
                <c:pt idx="145">
                  <c:v>51.623040000000003</c:v>
                </c:pt>
                <c:pt idx="146">
                  <c:v>24.526949999999999</c:v>
                </c:pt>
                <c:pt idx="147">
                  <c:v>18.572179999999999</c:v>
                </c:pt>
                <c:pt idx="148">
                  <c:v>18.449719999999999</c:v>
                </c:pt>
                <c:pt idx="149">
                  <c:v>50.009819999999998</c:v>
                </c:pt>
                <c:pt idx="150">
                  <c:v>64.342960000000005</c:v>
                </c:pt>
                <c:pt idx="151">
                  <c:v>51.925080000000001</c:v>
                </c:pt>
                <c:pt idx="152">
                  <c:v>35.58717</c:v>
                </c:pt>
                <c:pt idx="153">
                  <c:v>30.727889999999999</c:v>
                </c:pt>
                <c:pt idx="154">
                  <c:v>23.239719999999998</c:v>
                </c:pt>
                <c:pt idx="155">
                  <c:v>23.730409999999999</c:v>
                </c:pt>
                <c:pt idx="156">
                  <c:v>17.559360000000002</c:v>
                </c:pt>
                <c:pt idx="157">
                  <c:v>37.877839999999999</c:v>
                </c:pt>
                <c:pt idx="158">
                  <c:v>14.946730000000001</c:v>
                </c:pt>
                <c:pt idx="159">
                  <c:v>30.915280000000003</c:v>
                </c:pt>
                <c:pt idx="160">
                  <c:v>21.6021</c:v>
                </c:pt>
                <c:pt idx="161">
                  <c:v>9.2833199999999998</c:v>
                </c:pt>
                <c:pt idx="162">
                  <c:v>44.968440000000001</c:v>
                </c:pt>
                <c:pt idx="163">
                  <c:v>11.174799999999999</c:v>
                </c:pt>
                <c:pt idx="164">
                  <c:v>15.985219999999998</c:v>
                </c:pt>
                <c:pt idx="165">
                  <c:v>21.48171</c:v>
                </c:pt>
                <c:pt idx="166">
                  <c:v>29.573879999999999</c:v>
                </c:pt>
                <c:pt idx="167">
                  <c:v>34.912750000000003</c:v>
                </c:pt>
                <c:pt idx="168">
                  <c:v>42.534439999999996</c:v>
                </c:pt>
                <c:pt idx="169">
                  <c:v>34.810560000000002</c:v>
                </c:pt>
                <c:pt idx="170">
                  <c:v>48.166020000000003</c:v>
                </c:pt>
                <c:pt idx="171">
                  <c:v>73.367699999999999</c:v>
                </c:pt>
                <c:pt idx="172">
                  <c:v>47.479640000000003</c:v>
                </c:pt>
                <c:pt idx="173">
                  <c:v>48.576070000000001</c:v>
                </c:pt>
                <c:pt idx="174">
                  <c:v>50.757980000000003</c:v>
                </c:pt>
                <c:pt idx="175">
                  <c:v>62.19</c:v>
                </c:pt>
                <c:pt idx="176">
                  <c:v>27.34423</c:v>
                </c:pt>
                <c:pt idx="177">
                  <c:v>25.59216</c:v>
                </c:pt>
                <c:pt idx="178">
                  <c:v>67.281800000000004</c:v>
                </c:pt>
                <c:pt idx="179">
                  <c:v>72.349199999999996</c:v>
                </c:pt>
                <c:pt idx="180">
                  <c:v>90.725040000000007</c:v>
                </c:pt>
                <c:pt idx="181">
                  <c:v>59.323320000000002</c:v>
                </c:pt>
                <c:pt idx="182">
                  <c:v>74.466650000000001</c:v>
                </c:pt>
                <c:pt idx="183">
                  <c:v>88.723960000000005</c:v>
                </c:pt>
                <c:pt idx="184">
                  <c:v>207.47280000000001</c:v>
                </c:pt>
                <c:pt idx="185">
                  <c:v>131.64568</c:v>
                </c:pt>
                <c:pt idx="186">
                  <c:v>200.74932000000001</c:v>
                </c:pt>
                <c:pt idx="187">
                  <c:v>120.80965</c:v>
                </c:pt>
                <c:pt idx="188">
                  <c:v>100.947</c:v>
                </c:pt>
                <c:pt idx="189">
                  <c:v>288.84228000000002</c:v>
                </c:pt>
                <c:pt idx="190">
                  <c:v>79.2971</c:v>
                </c:pt>
                <c:pt idx="191">
                  <c:v>70.745760000000004</c:v>
                </c:pt>
                <c:pt idx="192">
                  <c:v>52.647979999999997</c:v>
                </c:pt>
                <c:pt idx="193">
                  <c:v>45.121229999999997</c:v>
                </c:pt>
                <c:pt idx="194">
                  <c:v>28.322199999999999</c:v>
                </c:pt>
                <c:pt idx="195">
                  <c:v>33.466999999999999</c:v>
                </c:pt>
                <c:pt idx="196">
                  <c:v>69.503200000000007</c:v>
                </c:pt>
                <c:pt idx="197">
                  <c:v>66.36112</c:v>
                </c:pt>
                <c:pt idx="198">
                  <c:v>26.25216</c:v>
                </c:pt>
                <c:pt idx="199">
                  <c:v>46.057760000000002</c:v>
                </c:pt>
                <c:pt idx="200">
                  <c:v>38.041919999999998</c:v>
                </c:pt>
                <c:pt idx="201">
                  <c:v>90.095420000000004</c:v>
                </c:pt>
                <c:pt idx="202">
                  <c:v>57.512180000000008</c:v>
                </c:pt>
                <c:pt idx="203">
                  <c:v>34.64669</c:v>
                </c:pt>
                <c:pt idx="204">
                  <c:v>24.301760000000002</c:v>
                </c:pt>
                <c:pt idx="205">
                  <c:v>107.21976000000001</c:v>
                </c:pt>
                <c:pt idx="206">
                  <c:v>61.133450000000003</c:v>
                </c:pt>
                <c:pt idx="207">
                  <c:v>59.596159999999998</c:v>
                </c:pt>
                <c:pt idx="208">
                  <c:v>16.867439999999998</c:v>
                </c:pt>
                <c:pt idx="209">
                  <c:v>38.60765</c:v>
                </c:pt>
                <c:pt idx="210">
                  <c:v>72.260369999999995</c:v>
                </c:pt>
                <c:pt idx="211">
                  <c:v>58.87662000000001</c:v>
                </c:pt>
                <c:pt idx="212">
                  <c:v>22.429760000000002</c:v>
                </c:pt>
                <c:pt idx="213">
                  <c:v>13.952400000000001</c:v>
                </c:pt>
                <c:pt idx="214">
                  <c:v>5.4176799999999998</c:v>
                </c:pt>
                <c:pt idx="215">
                  <c:v>17.13156</c:v>
                </c:pt>
                <c:pt idx="216">
                  <c:v>13.81376</c:v>
                </c:pt>
                <c:pt idx="217">
                  <c:v>8.3028399999999998</c:v>
                </c:pt>
                <c:pt idx="218">
                  <c:v>14.58872</c:v>
                </c:pt>
                <c:pt idx="219">
                  <c:v>28.441120000000002</c:v>
                </c:pt>
                <c:pt idx="220">
                  <c:v>9.6958800000000007</c:v>
                </c:pt>
                <c:pt idx="221">
                  <c:v>28.283280000000001</c:v>
                </c:pt>
                <c:pt idx="222">
                  <c:v>26.339040000000001</c:v>
                </c:pt>
                <c:pt idx="223">
                  <c:v>80.348839999999996</c:v>
                </c:pt>
                <c:pt idx="224">
                  <c:v>32.97925</c:v>
                </c:pt>
                <c:pt idx="225">
                  <c:v>62.533859999999997</c:v>
                </c:pt>
                <c:pt idx="226">
                  <c:v>61.687849999999997</c:v>
                </c:pt>
                <c:pt idx="227">
                  <c:v>41.465200000000003</c:v>
                </c:pt>
                <c:pt idx="228">
                  <c:v>41.44408</c:v>
                </c:pt>
                <c:pt idx="229">
                  <c:v>53.878439999999998</c:v>
                </c:pt>
                <c:pt idx="230">
                  <c:v>89.459490000000002</c:v>
                </c:pt>
                <c:pt idx="231">
                  <c:v>85.424639999999997</c:v>
                </c:pt>
                <c:pt idx="232">
                  <c:v>159.30885000000001</c:v>
                </c:pt>
                <c:pt idx="233">
                  <c:v>49.869599999999998</c:v>
                </c:pt>
                <c:pt idx="234">
                  <c:v>26.244990000000001</c:v>
                </c:pt>
                <c:pt idx="235">
                  <c:v>46.972999999999999</c:v>
                </c:pt>
                <c:pt idx="236">
                  <c:v>23.596319999999999</c:v>
                </c:pt>
                <c:pt idx="237">
                  <c:v>43.68</c:v>
                </c:pt>
                <c:pt idx="238">
                  <c:v>32.073779999999999</c:v>
                </c:pt>
                <c:pt idx="239">
                  <c:v>42.947000000000003</c:v>
                </c:pt>
                <c:pt idx="240">
                  <c:v>27.544799999999999</c:v>
                </c:pt>
                <c:pt idx="241">
                  <c:v>24.364640000000001</c:v>
                </c:pt>
                <c:pt idx="242">
                  <c:v>40.235909999999997</c:v>
                </c:pt>
                <c:pt idx="243">
                  <c:v>46.428930000000001</c:v>
                </c:pt>
                <c:pt idx="244">
                  <c:v>60.32208</c:v>
                </c:pt>
                <c:pt idx="245">
                  <c:v>65.041489999999996</c:v>
                </c:pt>
                <c:pt idx="246">
                  <c:v>7.8752399999999998</c:v>
                </c:pt>
                <c:pt idx="247">
                  <c:v>30.434080000000002</c:v>
                </c:pt>
                <c:pt idx="248">
                  <c:v>49.142240000000001</c:v>
                </c:pt>
                <c:pt idx="249">
                  <c:v>36.128399999999999</c:v>
                </c:pt>
                <c:pt idx="250">
                  <c:v>69.699839999999995</c:v>
                </c:pt>
                <c:pt idx="251">
                  <c:v>21.691669999999998</c:v>
                </c:pt>
                <c:pt idx="252">
                  <c:v>40.007399999999997</c:v>
                </c:pt>
                <c:pt idx="253">
                  <c:v>67.032540000000012</c:v>
                </c:pt>
                <c:pt idx="254">
                  <c:v>46.656120000000001</c:v>
                </c:pt>
                <c:pt idx="255">
                  <c:v>49.016759999999998</c:v>
                </c:pt>
                <c:pt idx="256">
                  <c:v>44.266570000000002</c:v>
                </c:pt>
                <c:pt idx="257">
                  <c:v>33.623040000000003</c:v>
                </c:pt>
                <c:pt idx="258">
                  <c:v>36.869999999999997</c:v>
                </c:pt>
                <c:pt idx="259">
                  <c:v>56.898000000000003</c:v>
                </c:pt>
                <c:pt idx="260">
                  <c:v>30.554880000000001</c:v>
                </c:pt>
                <c:pt idx="261">
                  <c:v>34.670560000000002</c:v>
                </c:pt>
                <c:pt idx="262">
                  <c:v>55.122599999999991</c:v>
                </c:pt>
                <c:pt idx="263">
                  <c:v>45.063839999999999</c:v>
                </c:pt>
                <c:pt idx="264">
                  <c:v>59.551830000000002</c:v>
                </c:pt>
                <c:pt idx="265">
                  <c:v>93.264920000000004</c:v>
                </c:pt>
                <c:pt idx="266">
                  <c:v>65.232600000000005</c:v>
                </c:pt>
                <c:pt idx="267">
                  <c:v>75.542000000000002</c:v>
                </c:pt>
                <c:pt idx="268">
                  <c:v>58.40896</c:v>
                </c:pt>
                <c:pt idx="269">
                  <c:v>96.864760000000004</c:v>
                </c:pt>
                <c:pt idx="270">
                  <c:v>98.983599999999996</c:v>
                </c:pt>
                <c:pt idx="271">
                  <c:v>101.99261</c:v>
                </c:pt>
                <c:pt idx="272">
                  <c:v>105.51600000000001</c:v>
                </c:pt>
                <c:pt idx="273">
                  <c:v>51.277099999999997</c:v>
                </c:pt>
                <c:pt idx="274">
                  <c:v>21.845600000000001</c:v>
                </c:pt>
                <c:pt idx="275">
                  <c:v>14.8764</c:v>
                </c:pt>
                <c:pt idx="276">
                  <c:v>44.115839999999999</c:v>
                </c:pt>
                <c:pt idx="277">
                  <c:v>45.007199999999997</c:v>
                </c:pt>
                <c:pt idx="278">
                  <c:v>41.147820000000003</c:v>
                </c:pt>
                <c:pt idx="279">
                  <c:v>94.68</c:v>
                </c:pt>
                <c:pt idx="280">
                  <c:v>73.451840000000004</c:v>
                </c:pt>
                <c:pt idx="281">
                  <c:v>72.543030000000002</c:v>
                </c:pt>
                <c:pt idx="282">
                  <c:v>53.574559999999998</c:v>
                </c:pt>
                <c:pt idx="283">
                  <c:v>60.102120000000006</c:v>
                </c:pt>
                <c:pt idx="284">
                  <c:v>42.49492</c:v>
                </c:pt>
                <c:pt idx="285">
                  <c:v>57.019190000000002</c:v>
                </c:pt>
                <c:pt idx="286">
                  <c:v>49.127499999999998</c:v>
                </c:pt>
                <c:pt idx="287">
                  <c:v>25.67944</c:v>
                </c:pt>
                <c:pt idx="288">
                  <c:v>34.533439999999999</c:v>
                </c:pt>
                <c:pt idx="289">
                  <c:v>79.820700000000002</c:v>
                </c:pt>
                <c:pt idx="290">
                  <c:v>21.486989999999999</c:v>
                </c:pt>
                <c:pt idx="291">
                  <c:v>47.73</c:v>
                </c:pt>
                <c:pt idx="292">
                  <c:v>31.740160000000003</c:v>
                </c:pt>
                <c:pt idx="293">
                  <c:v>25.370799999999999</c:v>
                </c:pt>
                <c:pt idx="294">
                  <c:v>34.648099999999999</c:v>
                </c:pt>
                <c:pt idx="295">
                  <c:v>27.471620000000001</c:v>
                </c:pt>
                <c:pt idx="296">
                  <c:v>22.59348</c:v>
                </c:pt>
                <c:pt idx="297">
                  <c:v>35.328800000000001</c:v>
                </c:pt>
                <c:pt idx="298">
                  <c:v>27.968640000000001</c:v>
                </c:pt>
                <c:pt idx="299">
                  <c:v>58.856039999999993</c:v>
                </c:pt>
                <c:pt idx="300">
                  <c:v>32.113619999999997</c:v>
                </c:pt>
                <c:pt idx="301">
                  <c:v>38.1404</c:v>
                </c:pt>
                <c:pt idx="302">
                  <c:v>27.034369999999999</c:v>
                </c:pt>
                <c:pt idx="303">
                  <c:v>32.577419999999996</c:v>
                </c:pt>
                <c:pt idx="304">
                  <c:v>55.219099999999997</c:v>
                </c:pt>
                <c:pt idx="305">
                  <c:v>62.039180000000009</c:v>
                </c:pt>
                <c:pt idx="306">
                  <c:v>32.478079999999999</c:v>
                </c:pt>
                <c:pt idx="307">
                  <c:v>70.873480000000001</c:v>
                </c:pt>
                <c:pt idx="308">
                  <c:v>37.886200000000002</c:v>
                </c:pt>
                <c:pt idx="309">
                  <c:v>54.881700000000002</c:v>
                </c:pt>
                <c:pt idx="310">
                  <c:v>68.203590000000005</c:v>
                </c:pt>
                <c:pt idx="311">
                  <c:v>88.998660000000001</c:v>
                </c:pt>
                <c:pt idx="312">
                  <c:v>80.008240000000001</c:v>
                </c:pt>
                <c:pt idx="313">
                  <c:v>97.166939999999997</c:v>
                </c:pt>
                <c:pt idx="314">
                  <c:v>74.656080000000003</c:v>
                </c:pt>
                <c:pt idx="315">
                  <c:v>36.663359999999997</c:v>
                </c:pt>
                <c:pt idx="316">
                  <c:v>32.166809999999998</c:v>
                </c:pt>
                <c:pt idx="317">
                  <c:v>26.282269999999997</c:v>
                </c:pt>
                <c:pt idx="318">
                  <c:v>14.611049999999999</c:v>
                </c:pt>
                <c:pt idx="319">
                  <c:v>32.311459999999997</c:v>
                </c:pt>
                <c:pt idx="320">
                  <c:v>27.170760000000001</c:v>
                </c:pt>
                <c:pt idx="321">
                  <c:v>26.543040000000001</c:v>
                </c:pt>
                <c:pt idx="322">
                  <c:v>48.418860000000002</c:v>
                </c:pt>
                <c:pt idx="323">
                  <c:v>37.722299999999997</c:v>
                </c:pt>
                <c:pt idx="324">
                  <c:v>39.561169999999997</c:v>
                </c:pt>
                <c:pt idx="325">
                  <c:v>93.229860000000002</c:v>
                </c:pt>
                <c:pt idx="326">
                  <c:v>98.540700000000001</c:v>
                </c:pt>
                <c:pt idx="327">
                  <c:v>46.303359999999998</c:v>
                </c:pt>
                <c:pt idx="328">
                  <c:v>60.704999999999998</c:v>
                </c:pt>
                <c:pt idx="329">
                  <c:v>62.609000000000009</c:v>
                </c:pt>
                <c:pt idx="330">
                  <c:v>44.689</c:v>
                </c:pt>
                <c:pt idx="331">
                  <c:v>35.997419999999998</c:v>
                </c:pt>
                <c:pt idx="332">
                  <c:v>43.658999999999999</c:v>
                </c:pt>
                <c:pt idx="333">
                  <c:v>24.82105</c:v>
                </c:pt>
                <c:pt idx="334">
                  <c:v>29.258679999999998</c:v>
                </c:pt>
                <c:pt idx="335">
                  <c:v>52.709420000000001</c:v>
                </c:pt>
                <c:pt idx="336">
                  <c:v>26.025569999999998</c:v>
                </c:pt>
                <c:pt idx="337">
                  <c:v>22.094049999999999</c:v>
                </c:pt>
                <c:pt idx="338">
                  <c:v>25.164929999999998</c:v>
                </c:pt>
                <c:pt idx="339">
                  <c:v>72.256559999999993</c:v>
                </c:pt>
                <c:pt idx="340">
                  <c:v>58.94455</c:v>
                </c:pt>
                <c:pt idx="341">
                  <c:v>56.14499</c:v>
                </c:pt>
                <c:pt idx="342">
                  <c:v>77.625709999999998</c:v>
                </c:pt>
                <c:pt idx="343">
                  <c:v>57.927570000000003</c:v>
                </c:pt>
                <c:pt idx="344">
                  <c:v>27.928999999999998</c:v>
                </c:pt>
                <c:pt idx="345">
                  <c:v>49.580300000000001</c:v>
                </c:pt>
                <c:pt idx="346">
                  <c:v>46.051119999999997</c:v>
                </c:pt>
                <c:pt idx="347">
                  <c:v>31.786560000000001</c:v>
                </c:pt>
                <c:pt idx="348">
                  <c:v>67.866500000000002</c:v>
                </c:pt>
                <c:pt idx="349">
                  <c:v>64.311750000000004</c:v>
                </c:pt>
                <c:pt idx="350">
                  <c:v>59.417549999999999</c:v>
                </c:pt>
                <c:pt idx="351">
                  <c:v>106.9614</c:v>
                </c:pt>
                <c:pt idx="352">
                  <c:v>38.760959999999997</c:v>
                </c:pt>
                <c:pt idx="353">
                  <c:v>50.294499999999999</c:v>
                </c:pt>
                <c:pt idx="354">
                  <c:v>15.656549999999999</c:v>
                </c:pt>
                <c:pt idx="355">
                  <c:v>22.791599999999999</c:v>
                </c:pt>
                <c:pt idx="356">
                  <c:v>31.525410000000001</c:v>
                </c:pt>
                <c:pt idx="357">
                  <c:v>35.03566</c:v>
                </c:pt>
                <c:pt idx="358">
                  <c:v>23.9739</c:v>
                </c:pt>
                <c:pt idx="359">
                  <c:v>16.43845</c:v>
                </c:pt>
                <c:pt idx="360">
                  <c:v>17.24175</c:v>
                </c:pt>
                <c:pt idx="361">
                  <c:v>26.62632</c:v>
                </c:pt>
                <c:pt idx="362">
                  <c:v>42.039929999999998</c:v>
                </c:pt>
                <c:pt idx="363">
                  <c:v>27.574470000000002</c:v>
                </c:pt>
                <c:pt idx="364">
                  <c:v>20.12715</c:v>
                </c:pt>
                <c:pt idx="365">
                  <c:v>36.721359999999997</c:v>
                </c:pt>
                <c:pt idx="366">
                  <c:v>40.24288</c:v>
                </c:pt>
                <c:pt idx="367">
                  <c:v>48.955500000000001</c:v>
                </c:pt>
                <c:pt idx="368">
                  <c:v>104.45256000000002</c:v>
                </c:pt>
                <c:pt idx="369">
                  <c:v>27.51756</c:v>
                </c:pt>
                <c:pt idx="370">
                  <c:v>34.594450000000002</c:v>
                </c:pt>
                <c:pt idx="371">
                  <c:v>26.514880000000002</c:v>
                </c:pt>
                <c:pt idx="372">
                  <c:v>32.292999999999999</c:v>
                </c:pt>
                <c:pt idx="373">
                  <c:v>34.840000000000003</c:v>
                </c:pt>
                <c:pt idx="374">
                  <c:v>26.676640000000003</c:v>
                </c:pt>
                <c:pt idx="375">
                  <c:v>28.695319999999999</c:v>
                </c:pt>
                <c:pt idx="376">
                  <c:v>46.433250000000001</c:v>
                </c:pt>
                <c:pt idx="377">
                  <c:v>28.578849999999999</c:v>
                </c:pt>
                <c:pt idx="378">
                  <c:v>31.354469999999999</c:v>
                </c:pt>
                <c:pt idx="379">
                  <c:v>21.330919999999999</c:v>
                </c:pt>
                <c:pt idx="380">
                  <c:v>18.836480000000002</c:v>
                </c:pt>
                <c:pt idx="381">
                  <c:v>8.9824000000000002</c:v>
                </c:pt>
                <c:pt idx="382">
                  <c:v>18.813400000000001</c:v>
                </c:pt>
                <c:pt idx="383">
                  <c:v>31.553280000000001</c:v>
                </c:pt>
                <c:pt idx="384">
                  <c:v>31.226299999999998</c:v>
                </c:pt>
                <c:pt idx="385">
                  <c:v>27.467519999999997</c:v>
                </c:pt>
                <c:pt idx="386">
                  <c:v>42.13308</c:v>
                </c:pt>
                <c:pt idx="387">
                  <c:v>91.74324</c:v>
                </c:pt>
                <c:pt idx="388">
                  <c:v>65.408719999999988</c:v>
                </c:pt>
                <c:pt idx="389">
                  <c:v>67.091489999999993</c:v>
                </c:pt>
                <c:pt idx="390">
                  <c:v>42.384999999999998</c:v>
                </c:pt>
                <c:pt idx="391">
                  <c:v>72.680790000000002</c:v>
                </c:pt>
                <c:pt idx="392">
                  <c:v>65.556329999999988</c:v>
                </c:pt>
                <c:pt idx="393">
                  <c:v>28.378350000000001</c:v>
                </c:pt>
                <c:pt idx="394">
                  <c:v>101.81361</c:v>
                </c:pt>
                <c:pt idx="395">
                  <c:v>83.212019999999995</c:v>
                </c:pt>
                <c:pt idx="396">
                  <c:v>78.233400000000003</c:v>
                </c:pt>
                <c:pt idx="397">
                  <c:v>74.816360000000003</c:v>
                </c:pt>
                <c:pt idx="398">
                  <c:v>38.866540000000001</c:v>
                </c:pt>
                <c:pt idx="399">
                  <c:v>59.680320000000002</c:v>
                </c:pt>
                <c:pt idx="400">
                  <c:v>112.91682</c:v>
                </c:pt>
                <c:pt idx="401">
                  <c:v>69.332999999999998</c:v>
                </c:pt>
                <c:pt idx="402">
                  <c:v>43.080219999999997</c:v>
                </c:pt>
                <c:pt idx="403">
                  <c:v>43.475520000000003</c:v>
                </c:pt>
                <c:pt idx="404">
                  <c:v>143.21489</c:v>
                </c:pt>
                <c:pt idx="405">
                  <c:v>92.593199999999996</c:v>
                </c:pt>
                <c:pt idx="406">
                  <c:v>57.174779999999998</c:v>
                </c:pt>
                <c:pt idx="407">
                  <c:v>92.8202</c:v>
                </c:pt>
                <c:pt idx="408">
                  <c:v>63.385590000000001</c:v>
                </c:pt>
                <c:pt idx="409">
                  <c:v>153.44121999999999</c:v>
                </c:pt>
                <c:pt idx="410">
                  <c:v>157.95008000000001</c:v>
                </c:pt>
                <c:pt idx="411">
                  <c:v>183.65235999999999</c:v>
                </c:pt>
                <c:pt idx="412">
                  <c:v>194.9221</c:v>
                </c:pt>
                <c:pt idx="413">
                  <c:v>214.02354</c:v>
                </c:pt>
                <c:pt idx="414">
                  <c:v>169.49207999999999</c:v>
                </c:pt>
                <c:pt idx="415">
                  <c:v>115.90515000000001</c:v>
                </c:pt>
                <c:pt idx="416">
                  <c:v>127.1233</c:v>
                </c:pt>
                <c:pt idx="417">
                  <c:v>268.99867999999998</c:v>
                </c:pt>
                <c:pt idx="418">
                  <c:v>89.046719999999993</c:v>
                </c:pt>
                <c:pt idx="419">
                  <c:v>134.56434999999999</c:v>
                </c:pt>
                <c:pt idx="420">
                  <c:v>146.68620000000001</c:v>
                </c:pt>
                <c:pt idx="421">
                  <c:v>113.57550000000001</c:v>
                </c:pt>
                <c:pt idx="422">
                  <c:v>107.14284000000001</c:v>
                </c:pt>
                <c:pt idx="423">
                  <c:v>113.98444000000001</c:v>
                </c:pt>
                <c:pt idx="424">
                  <c:v>130.55658</c:v>
                </c:pt>
                <c:pt idx="425">
                  <c:v>130.81319999999999</c:v>
                </c:pt>
                <c:pt idx="426">
                  <c:v>63.686889999999991</c:v>
                </c:pt>
                <c:pt idx="427">
                  <c:v>58.47072</c:v>
                </c:pt>
                <c:pt idx="428">
                  <c:v>34.924799999999998</c:v>
                </c:pt>
                <c:pt idx="429">
                  <c:v>61.780439999999999</c:v>
                </c:pt>
                <c:pt idx="430">
                  <c:v>66.209180000000003</c:v>
                </c:pt>
                <c:pt idx="431">
                  <c:v>38.001399999999997</c:v>
                </c:pt>
                <c:pt idx="432">
                  <c:v>113.25986</c:v>
                </c:pt>
                <c:pt idx="433">
                  <c:v>57.765050000000002</c:v>
                </c:pt>
                <c:pt idx="434">
                  <c:v>44.951999999999998</c:v>
                </c:pt>
                <c:pt idx="435">
                  <c:v>57.329160000000002</c:v>
                </c:pt>
                <c:pt idx="436">
                  <c:v>72.629400000000004</c:v>
                </c:pt>
                <c:pt idx="437">
                  <c:v>142.68682999999999</c:v>
                </c:pt>
                <c:pt idx="438">
                  <c:v>49.92483</c:v>
                </c:pt>
                <c:pt idx="439">
                  <c:v>89.606250000000003</c:v>
                </c:pt>
                <c:pt idx="440">
                  <c:v>152.96430000000001</c:v>
                </c:pt>
                <c:pt idx="441">
                  <c:v>108.5025</c:v>
                </c:pt>
                <c:pt idx="442">
                  <c:v>90.139030000000005</c:v>
                </c:pt>
                <c:pt idx="443">
                  <c:v>78.600560000000002</c:v>
                </c:pt>
                <c:pt idx="444">
                  <c:v>134.81335999999999</c:v>
                </c:pt>
                <c:pt idx="445">
                  <c:v>48.488639999999997</c:v>
                </c:pt>
                <c:pt idx="446">
                  <c:v>97.957560000000001</c:v>
                </c:pt>
                <c:pt idx="447">
                  <c:v>13.67497</c:v>
                </c:pt>
                <c:pt idx="448">
                  <c:v>52.470599999999997</c:v>
                </c:pt>
                <c:pt idx="449">
                  <c:v>39.624119999999998</c:v>
                </c:pt>
                <c:pt idx="450">
                  <c:v>30.71236</c:v>
                </c:pt>
                <c:pt idx="451">
                  <c:v>44.823090000000001</c:v>
                </c:pt>
                <c:pt idx="452">
                  <c:v>74.24136</c:v>
                </c:pt>
                <c:pt idx="453">
                  <c:v>84.160979999999995</c:v>
                </c:pt>
                <c:pt idx="454">
                  <c:v>54.933599999999998</c:v>
                </c:pt>
                <c:pt idx="455">
                  <c:v>70.456500000000005</c:v>
                </c:pt>
                <c:pt idx="456">
                  <c:v>106.70628000000001</c:v>
                </c:pt>
                <c:pt idx="457">
                  <c:v>28.537040000000001</c:v>
                </c:pt>
                <c:pt idx="458">
                  <c:v>45.681719999999999</c:v>
                </c:pt>
                <c:pt idx="459">
                  <c:v>46.293500000000002</c:v>
                </c:pt>
                <c:pt idx="460">
                  <c:v>62.119509999999998</c:v>
                </c:pt>
                <c:pt idx="461">
                  <c:v>74.609729999999999</c:v>
                </c:pt>
                <c:pt idx="462">
                  <c:v>38.02205</c:v>
                </c:pt>
                <c:pt idx="463">
                  <c:v>14.352650000000001</c:v>
                </c:pt>
                <c:pt idx="464">
                  <c:v>6.4479300000000004</c:v>
                </c:pt>
                <c:pt idx="465">
                  <c:v>6.0500999999999996</c:v>
                </c:pt>
                <c:pt idx="466">
                  <c:v>13.531280000000002</c:v>
                </c:pt>
                <c:pt idx="467">
                  <c:v>12.502940000000001</c:v>
                </c:pt>
                <c:pt idx="468">
                  <c:v>15.35004</c:v>
                </c:pt>
                <c:pt idx="469">
                  <c:v>30.882600000000004</c:v>
                </c:pt>
                <c:pt idx="470">
                  <c:v>29.530439999999999</c:v>
                </c:pt>
                <c:pt idx="471">
                  <c:v>21.701969999999999</c:v>
                </c:pt>
                <c:pt idx="472">
                  <c:v>24.327680000000001</c:v>
                </c:pt>
                <c:pt idx="473">
                  <c:v>23.375679999999999</c:v>
                </c:pt>
                <c:pt idx="474">
                  <c:v>27.3537</c:v>
                </c:pt>
                <c:pt idx="475">
                  <c:v>41.698720000000002</c:v>
                </c:pt>
                <c:pt idx="476">
                  <c:v>51.150320000000001</c:v>
                </c:pt>
                <c:pt idx="477">
                  <c:v>44.43582</c:v>
                </c:pt>
                <c:pt idx="478">
                  <c:v>100.9277</c:v>
                </c:pt>
                <c:pt idx="479">
                  <c:v>59.012479999999996</c:v>
                </c:pt>
                <c:pt idx="480">
                  <c:v>80.842140000000001</c:v>
                </c:pt>
                <c:pt idx="481">
                  <c:v>158.04283000000001</c:v>
                </c:pt>
                <c:pt idx="482">
                  <c:v>42.756839999999997</c:v>
                </c:pt>
                <c:pt idx="483">
                  <c:v>18.96048</c:v>
                </c:pt>
                <c:pt idx="484">
                  <c:v>32.524199999999993</c:v>
                </c:pt>
                <c:pt idx="485">
                  <c:v>29.895919999999997</c:v>
                </c:pt>
                <c:pt idx="486">
                  <c:v>36.640459999999997</c:v>
                </c:pt>
                <c:pt idx="487">
                  <c:v>30.366</c:v>
                </c:pt>
                <c:pt idx="488">
                  <c:v>32.43779</c:v>
                </c:pt>
                <c:pt idx="489">
                  <c:v>32.788049999999998</c:v>
                </c:pt>
                <c:pt idx="490">
                  <c:v>24.29345</c:v>
                </c:pt>
                <c:pt idx="491">
                  <c:v>27.34375</c:v>
                </c:pt>
                <c:pt idx="492">
                  <c:v>46.407249999999998</c:v>
                </c:pt>
                <c:pt idx="493">
                  <c:v>34.932000000000002</c:v>
                </c:pt>
                <c:pt idx="494">
                  <c:v>45.05</c:v>
                </c:pt>
                <c:pt idx="495">
                  <c:v>62.107199999999999</c:v>
                </c:pt>
                <c:pt idx="496">
                  <c:v>30.6402</c:v>
                </c:pt>
                <c:pt idx="497">
                  <c:v>82.121499999999997</c:v>
                </c:pt>
                <c:pt idx="498">
                  <c:v>23.038399999999999</c:v>
                </c:pt>
                <c:pt idx="499">
                  <c:v>54.357700000000001</c:v>
                </c:pt>
                <c:pt idx="500">
                  <c:v>26.775449999999999</c:v>
                </c:pt>
                <c:pt idx="501">
                  <c:v>16.572599999999998</c:v>
                </c:pt>
                <c:pt idx="502">
                  <c:v>54.639000000000003</c:v>
                </c:pt>
                <c:pt idx="503">
                  <c:v>33.010649999999998</c:v>
                </c:pt>
                <c:pt idx="504">
                  <c:v>60.653500000000001</c:v>
                </c:pt>
                <c:pt idx="505">
                  <c:v>33.847549999999998</c:v>
                </c:pt>
                <c:pt idx="506">
                  <c:v>26.268000000000001</c:v>
                </c:pt>
                <c:pt idx="507">
                  <c:v>32.404050000000005</c:v>
                </c:pt>
                <c:pt idx="508">
                  <c:v>59.477550000000001</c:v>
                </c:pt>
                <c:pt idx="509">
                  <c:v>42.829799999999999</c:v>
                </c:pt>
                <c:pt idx="510">
                  <c:v>54.237000000000002</c:v>
                </c:pt>
                <c:pt idx="511">
                  <c:v>58.477249999999998</c:v>
                </c:pt>
                <c:pt idx="512">
                  <c:v>48.842550000000003</c:v>
                </c:pt>
                <c:pt idx="513">
                  <c:v>35.146349999999998</c:v>
                </c:pt>
                <c:pt idx="514">
                  <c:v>47.206099999999999</c:v>
                </c:pt>
                <c:pt idx="515">
                  <c:v>28.53285</c:v>
                </c:pt>
                <c:pt idx="516">
                  <c:v>30.9894</c:v>
                </c:pt>
                <c:pt idx="517">
                  <c:v>24.7104</c:v>
                </c:pt>
                <c:pt idx="518">
                  <c:v>69.046199999999999</c:v>
                </c:pt>
                <c:pt idx="519">
                  <c:v>49.146999999999998</c:v>
                </c:pt>
                <c:pt idx="520">
                  <c:v>40.868099999999998</c:v>
                </c:pt>
                <c:pt idx="521">
                  <c:v>31.813600000000005</c:v>
                </c:pt>
                <c:pt idx="522">
                  <c:v>55.801299999999998</c:v>
                </c:pt>
                <c:pt idx="523">
                  <c:v>45.517499999999998</c:v>
                </c:pt>
                <c:pt idx="524">
                  <c:v>21.56</c:v>
                </c:pt>
                <c:pt idx="525">
                  <c:v>29.1555</c:v>
                </c:pt>
                <c:pt idx="526">
                  <c:v>32.206650000000003</c:v>
                </c:pt>
                <c:pt idx="527">
                  <c:v>18.081949999999999</c:v>
                </c:pt>
                <c:pt idx="528">
                  <c:v>60.069600000000001</c:v>
                </c:pt>
                <c:pt idx="529">
                  <c:v>35.409300000000002</c:v>
                </c:pt>
                <c:pt idx="530">
                  <c:v>40.90005</c:v>
                </c:pt>
                <c:pt idx="531">
                  <c:v>34.789499999999997</c:v>
                </c:pt>
                <c:pt idx="532">
                  <c:v>24.686399999999999</c:v>
                </c:pt>
                <c:pt idx="533">
                  <c:v>29.910350000000005</c:v>
                </c:pt>
                <c:pt idx="534">
                  <c:v>25.281549999999999</c:v>
                </c:pt>
                <c:pt idx="535">
                  <c:v>39.706800000000001</c:v>
                </c:pt>
                <c:pt idx="536">
                  <c:v>33.704000000000001</c:v>
                </c:pt>
                <c:pt idx="537">
                  <c:v>59.510300000000008</c:v>
                </c:pt>
                <c:pt idx="538">
                  <c:v>43.797600000000003</c:v>
                </c:pt>
                <c:pt idx="539">
                  <c:v>40.002800000000001</c:v>
                </c:pt>
                <c:pt idx="540">
                  <c:v>36.042749999999998</c:v>
                </c:pt>
                <c:pt idx="541">
                  <c:v>42.236400000000003</c:v>
                </c:pt>
                <c:pt idx="542">
                  <c:v>57.116999999999997</c:v>
                </c:pt>
                <c:pt idx="543">
                  <c:v>28.879799999999999</c:v>
                </c:pt>
                <c:pt idx="544">
                  <c:v>39.372799999999998</c:v>
                </c:pt>
                <c:pt idx="545">
                  <c:v>22.642199999999999</c:v>
                </c:pt>
                <c:pt idx="546">
                  <c:v>39.538800000000002</c:v>
                </c:pt>
                <c:pt idx="547">
                  <c:v>14.376250000000001</c:v>
                </c:pt>
                <c:pt idx="548">
                  <c:v>25.785000000000004</c:v>
                </c:pt>
                <c:pt idx="549">
                  <c:v>27.738450000000004</c:v>
                </c:pt>
                <c:pt idx="550">
                  <c:v>26.862650000000002</c:v>
                </c:pt>
                <c:pt idx="551">
                  <c:v>28.82555</c:v>
                </c:pt>
                <c:pt idx="552">
                  <c:v>27.213599999999996</c:v>
                </c:pt>
                <c:pt idx="553">
                  <c:v>36.3992</c:v>
                </c:pt>
                <c:pt idx="554">
                  <c:v>45.708149999999989</c:v>
                </c:pt>
                <c:pt idx="555">
                  <c:v>35.890500000000003</c:v>
                </c:pt>
                <c:pt idx="556">
                  <c:v>36.192799999999998</c:v>
                </c:pt>
                <c:pt idx="557">
                  <c:v>32.482450000000007</c:v>
                </c:pt>
                <c:pt idx="558">
                  <c:v>20.160450000000001</c:v>
                </c:pt>
                <c:pt idx="559">
                  <c:v>24.2484</c:v>
                </c:pt>
                <c:pt idx="560">
                  <c:v>26.385999999999999</c:v>
                </c:pt>
                <c:pt idx="561">
                  <c:v>32.403200000000005</c:v>
                </c:pt>
                <c:pt idx="562">
                  <c:v>24.710850000000001</c:v>
                </c:pt>
                <c:pt idx="563">
                  <c:v>30.187200000000001</c:v>
                </c:pt>
                <c:pt idx="564">
                  <c:v>46.298999999999999</c:v>
                </c:pt>
                <c:pt idx="565">
                  <c:v>87.777200000000022</c:v>
                </c:pt>
                <c:pt idx="566">
                  <c:v>31.571000000000002</c:v>
                </c:pt>
                <c:pt idx="567">
                  <c:v>35.0749</c:v>
                </c:pt>
                <c:pt idx="568">
                  <c:v>33.191400000000002</c:v>
                </c:pt>
                <c:pt idx="569">
                  <c:v>27.827100000000002</c:v>
                </c:pt>
                <c:pt idx="570">
                  <c:v>30.653500000000001</c:v>
                </c:pt>
                <c:pt idx="571">
                  <c:v>18.026399999999999</c:v>
                </c:pt>
                <c:pt idx="572">
                  <c:v>24.7456</c:v>
                </c:pt>
                <c:pt idx="573">
                  <c:v>36.227449999999997</c:v>
                </c:pt>
                <c:pt idx="574">
                  <c:v>16.8476</c:v>
                </c:pt>
                <c:pt idx="575">
                  <c:v>25.264849999999999</c:v>
                </c:pt>
                <c:pt idx="576">
                  <c:v>24.956250000000001</c:v>
                </c:pt>
                <c:pt idx="577">
                  <c:v>23.454599999999999</c:v>
                </c:pt>
                <c:pt idx="578">
                  <c:v>45.4542</c:v>
                </c:pt>
                <c:pt idx="579">
                  <c:v>51.647799999999997</c:v>
                </c:pt>
                <c:pt idx="580">
                  <c:v>26.296099999999999</c:v>
                </c:pt>
                <c:pt idx="581">
                  <c:v>30.911100000000001</c:v>
                </c:pt>
                <c:pt idx="582">
                  <c:v>58.028399999999998</c:v>
                </c:pt>
                <c:pt idx="583">
                  <c:v>52.207349999999998</c:v>
                </c:pt>
                <c:pt idx="584">
                  <c:v>56.505600000000001</c:v>
                </c:pt>
                <c:pt idx="585">
                  <c:v>50.5989</c:v>
                </c:pt>
                <c:pt idx="586">
                  <c:v>45.948250000000002</c:v>
                </c:pt>
                <c:pt idx="587">
                  <c:v>29.389849999999996</c:v>
                </c:pt>
                <c:pt idx="588">
                  <c:v>35.954999999999998</c:v>
                </c:pt>
                <c:pt idx="589">
                  <c:v>57.1233</c:v>
                </c:pt>
                <c:pt idx="590">
                  <c:v>34.631149999999998</c:v>
                </c:pt>
                <c:pt idx="591">
                  <c:v>33.159599999999998</c:v>
                </c:pt>
                <c:pt idx="592">
                  <c:v>50.854649999999999</c:v>
                </c:pt>
                <c:pt idx="593">
                  <c:v>32.599350000000001</c:v>
                </c:pt>
                <c:pt idx="594">
                  <c:v>42.836599999999997</c:v>
                </c:pt>
                <c:pt idx="595">
                  <c:v>44.543999999999997</c:v>
                </c:pt>
                <c:pt idx="596">
                  <c:v>49.307499999999997</c:v>
                </c:pt>
                <c:pt idx="597">
                  <c:v>39.0852</c:v>
                </c:pt>
                <c:pt idx="598">
                  <c:v>41.292999999999999</c:v>
                </c:pt>
                <c:pt idx="599">
                  <c:v>18.148199999999999</c:v>
                </c:pt>
                <c:pt idx="600">
                  <c:v>44.05245</c:v>
                </c:pt>
                <c:pt idx="601">
                  <c:v>45.441000000000003</c:v>
                </c:pt>
                <c:pt idx="602">
                  <c:v>49.117649999999998</c:v>
                </c:pt>
                <c:pt idx="603">
                  <c:v>50.297800000000002</c:v>
                </c:pt>
                <c:pt idx="604">
                  <c:v>82.94</c:v>
                </c:pt>
                <c:pt idx="605">
                  <c:v>57.765599999999999</c:v>
                </c:pt>
                <c:pt idx="606">
                  <c:v>83.410749999999993</c:v>
                </c:pt>
                <c:pt idx="607">
                  <c:v>83.449600000000004</c:v>
                </c:pt>
                <c:pt idx="608">
                  <c:v>46.436250000000001</c:v>
                </c:pt>
                <c:pt idx="609">
                  <c:v>31.044</c:v>
                </c:pt>
                <c:pt idx="610">
                  <c:v>61.316450000000003</c:v>
                </c:pt>
                <c:pt idx="611">
                  <c:v>61.0428</c:v>
                </c:pt>
                <c:pt idx="612">
                  <c:v>30.221450000000001</c:v>
                </c:pt>
                <c:pt idx="613">
                  <c:v>55.993499999999997</c:v>
                </c:pt>
                <c:pt idx="614">
                  <c:v>66.190250000000006</c:v>
                </c:pt>
                <c:pt idx="615">
                  <c:v>49.620199999999997</c:v>
                </c:pt>
                <c:pt idx="616">
                  <c:v>40.712400000000002</c:v>
                </c:pt>
                <c:pt idx="617">
                  <c:v>33.057450000000003</c:v>
                </c:pt>
                <c:pt idx="618">
                  <c:v>37.3996</c:v>
                </c:pt>
                <c:pt idx="619">
                  <c:v>48.504150000000003</c:v>
                </c:pt>
                <c:pt idx="620">
                  <c:v>36.8384</c:v>
                </c:pt>
                <c:pt idx="621">
                  <c:v>56.120399999999997</c:v>
                </c:pt>
                <c:pt idx="622">
                  <c:v>38.887099999999997</c:v>
                </c:pt>
                <c:pt idx="623">
                  <c:v>68.186099999999996</c:v>
                </c:pt>
                <c:pt idx="624">
                  <c:v>96.021900000000002</c:v>
                </c:pt>
                <c:pt idx="625">
                  <c:v>114.0685</c:v>
                </c:pt>
                <c:pt idx="626">
                  <c:v>82.602000000000004</c:v>
                </c:pt>
                <c:pt idx="627">
                  <c:v>54.432000000000002</c:v>
                </c:pt>
                <c:pt idx="628">
                  <c:v>56.684199999999997</c:v>
                </c:pt>
                <c:pt idx="629">
                  <c:v>69.086100000000002</c:v>
                </c:pt>
                <c:pt idx="630">
                  <c:v>41.428800000000003</c:v>
                </c:pt>
                <c:pt idx="631">
                  <c:v>117.41025</c:v>
                </c:pt>
                <c:pt idx="632">
                  <c:v>67.070999999999998</c:v>
                </c:pt>
                <c:pt idx="633">
                  <c:v>53.014600000000002</c:v>
                </c:pt>
                <c:pt idx="634">
                  <c:v>61.089399999999998</c:v>
                </c:pt>
                <c:pt idx="635">
                  <c:v>49.59</c:v>
                </c:pt>
                <c:pt idx="636">
                  <c:v>80.083250000000007</c:v>
                </c:pt>
                <c:pt idx="637">
                  <c:v>84.271500000000003</c:v>
                </c:pt>
                <c:pt idx="638">
                  <c:v>84.620850000000004</c:v>
                </c:pt>
                <c:pt idx="639">
                  <c:v>33.202800000000003</c:v>
                </c:pt>
                <c:pt idx="640">
                  <c:v>104.3436</c:v>
                </c:pt>
                <c:pt idx="641">
                  <c:v>75.929699999999997</c:v>
                </c:pt>
                <c:pt idx="642">
                  <c:v>93.716849999999994</c:v>
                </c:pt>
                <c:pt idx="643">
                  <c:v>197.6395</c:v>
                </c:pt>
                <c:pt idx="644">
                  <c:v>52.774549999999998</c:v>
                </c:pt>
                <c:pt idx="645">
                  <c:v>82.726050000000001</c:v>
                </c:pt>
                <c:pt idx="646">
                  <c:v>74.398650000000004</c:v>
                </c:pt>
                <c:pt idx="647">
                  <c:v>114.3441</c:v>
                </c:pt>
                <c:pt idx="648">
                  <c:v>81.427000000000007</c:v>
                </c:pt>
                <c:pt idx="649">
                  <c:v>39.329099999999997</c:v>
                </c:pt>
                <c:pt idx="650">
                  <c:v>49.955399999999997</c:v>
                </c:pt>
                <c:pt idx="651">
                  <c:v>107.0864</c:v>
                </c:pt>
                <c:pt idx="652">
                  <c:v>87.774699999999996</c:v>
                </c:pt>
                <c:pt idx="653">
                  <c:v>59.508000000000003</c:v>
                </c:pt>
                <c:pt idx="654">
                  <c:v>59.351599999999998</c:v>
                </c:pt>
                <c:pt idx="655">
                  <c:v>66.796099999999996</c:v>
                </c:pt>
                <c:pt idx="656">
                  <c:v>66.249700000000004</c:v>
                </c:pt>
                <c:pt idx="657">
                  <c:v>86.847200000000001</c:v>
                </c:pt>
                <c:pt idx="658">
                  <c:v>84.886799999999994</c:v>
                </c:pt>
                <c:pt idx="659">
                  <c:v>54.537999999999997</c:v>
                </c:pt>
                <c:pt idx="660">
                  <c:v>65.597999999999999</c:v>
                </c:pt>
                <c:pt idx="661">
                  <c:v>62.153799999999997</c:v>
                </c:pt>
                <c:pt idx="662">
                  <c:v>88.727099999999993</c:v>
                </c:pt>
                <c:pt idx="663">
                  <c:v>106.37515</c:v>
                </c:pt>
                <c:pt idx="664">
                  <c:v>63.948950000000004</c:v>
                </c:pt>
                <c:pt idx="665">
                  <c:v>215.19990000000001</c:v>
                </c:pt>
                <c:pt idx="666">
                  <c:v>216.89924999999999</c:v>
                </c:pt>
                <c:pt idx="667">
                  <c:v>65.485500000000002</c:v>
                </c:pt>
                <c:pt idx="668">
                  <c:v>61.984999999999999</c:v>
                </c:pt>
                <c:pt idx="669">
                  <c:v>75.700149999999994</c:v>
                </c:pt>
                <c:pt idx="670">
                  <c:v>127.9546</c:v>
                </c:pt>
                <c:pt idx="671">
                  <c:v>132.29995</c:v>
                </c:pt>
                <c:pt idx="672">
                  <c:v>69.223550000000003</c:v>
                </c:pt>
                <c:pt idx="673">
                  <c:v>64.718549999999993</c:v>
                </c:pt>
                <c:pt idx="674">
                  <c:v>83.690950000000001</c:v>
                </c:pt>
                <c:pt idx="675">
                  <c:v>90.169700000000006</c:v>
                </c:pt>
                <c:pt idx="676">
                  <c:v>167.92165</c:v>
                </c:pt>
                <c:pt idx="677">
                  <c:v>116.20695000000001</c:v>
                </c:pt>
                <c:pt idx="678">
                  <c:v>227.256</c:v>
                </c:pt>
                <c:pt idx="679">
                  <c:v>182.476</c:v>
                </c:pt>
                <c:pt idx="680">
                  <c:v>105.57170000000001</c:v>
                </c:pt>
                <c:pt idx="681">
                  <c:v>114.126</c:v>
                </c:pt>
                <c:pt idx="682">
                  <c:v>85.651300000000006</c:v>
                </c:pt>
                <c:pt idx="683">
                  <c:v>77.433499999999995</c:v>
                </c:pt>
                <c:pt idx="684">
                  <c:v>106.408</c:v>
                </c:pt>
                <c:pt idx="685">
                  <c:v>104.3165</c:v>
                </c:pt>
                <c:pt idx="686">
                  <c:v>97.698149999999998</c:v>
                </c:pt>
                <c:pt idx="687">
                  <c:v>120.3296</c:v>
                </c:pt>
                <c:pt idx="688">
                  <c:v>118.5998</c:v>
                </c:pt>
                <c:pt idx="689">
                  <c:v>105.7702</c:v>
                </c:pt>
                <c:pt idx="690">
                  <c:v>85.556250000000006</c:v>
                </c:pt>
                <c:pt idx="691">
                  <c:v>62.488399999999999</c:v>
                </c:pt>
                <c:pt idx="692">
                  <c:v>132.29320000000001</c:v>
                </c:pt>
                <c:pt idx="693">
                  <c:v>120.879</c:v>
                </c:pt>
                <c:pt idx="694">
                  <c:v>107.5321</c:v>
                </c:pt>
                <c:pt idx="695">
                  <c:v>92.116600000000005</c:v>
                </c:pt>
                <c:pt idx="696">
                  <c:v>108.24105</c:v>
                </c:pt>
                <c:pt idx="697">
                  <c:v>122.67905</c:v>
                </c:pt>
                <c:pt idx="698">
                  <c:v>116.01739999999999</c:v>
                </c:pt>
                <c:pt idx="699">
                  <c:v>86.045649999999995</c:v>
                </c:pt>
                <c:pt idx="700">
                  <c:v>83.216099999999997</c:v>
                </c:pt>
                <c:pt idx="701">
                  <c:v>78.701250000000002</c:v>
                </c:pt>
                <c:pt idx="702">
                  <c:v>65.698200000000014</c:v>
                </c:pt>
                <c:pt idx="703">
                  <c:v>114.97499999999999</c:v>
                </c:pt>
                <c:pt idx="704">
                  <c:v>85.892499999999998</c:v>
                </c:pt>
                <c:pt idx="705">
                  <c:v>85.792100000000005</c:v>
                </c:pt>
                <c:pt idx="706">
                  <c:v>86.85</c:v>
                </c:pt>
                <c:pt idx="707">
                  <c:v>81.224000000000004</c:v>
                </c:pt>
                <c:pt idx="708">
                  <c:v>93.896249999999995</c:v>
                </c:pt>
                <c:pt idx="709">
                  <c:v>112.43825</c:v>
                </c:pt>
                <c:pt idx="710">
                  <c:v>89.049499999999995</c:v>
                </c:pt>
                <c:pt idx="711">
                  <c:v>36.748350000000002</c:v>
                </c:pt>
                <c:pt idx="712">
                  <c:v>39.307099999999998</c:v>
                </c:pt>
                <c:pt idx="713">
                  <c:v>78.887249999999995</c:v>
                </c:pt>
                <c:pt idx="714">
                  <c:v>67.293149999999997</c:v>
                </c:pt>
                <c:pt idx="715">
                  <c:v>18.453900000000001</c:v>
                </c:pt>
                <c:pt idx="716">
                  <c:v>17.8568</c:v>
                </c:pt>
                <c:pt idx="717">
                  <c:v>32.272450000000006</c:v>
                </c:pt>
                <c:pt idx="718">
                  <c:v>34.804000000000002</c:v>
                </c:pt>
                <c:pt idx="719">
                  <c:v>90.495999999999995</c:v>
                </c:pt>
                <c:pt idx="720">
                  <c:v>63.86985</c:v>
                </c:pt>
                <c:pt idx="721">
                  <c:v>147.6943</c:v>
                </c:pt>
                <c:pt idx="722">
                  <c:v>164.5127</c:v>
                </c:pt>
                <c:pt idx="723">
                  <c:v>77.563199999999995</c:v>
                </c:pt>
                <c:pt idx="724">
                  <c:v>68.9983</c:v>
                </c:pt>
                <c:pt idx="725">
                  <c:v>87.301299999999998</c:v>
                </c:pt>
                <c:pt idx="726">
                  <c:v>64.330500000000001</c:v>
                </c:pt>
                <c:pt idx="727">
                  <c:v>99.609750000000005</c:v>
                </c:pt>
                <c:pt idx="728">
                  <c:v>282.25060000000002</c:v>
                </c:pt>
                <c:pt idx="729">
                  <c:v>64.145750000000007</c:v>
                </c:pt>
                <c:pt idx="730">
                  <c:v>203.78434999999999</c:v>
                </c:pt>
                <c:pt idx="731">
                  <c:v>189.23054999999999</c:v>
                </c:pt>
                <c:pt idx="732">
                  <c:v>103.96120000000001</c:v>
                </c:pt>
                <c:pt idx="733">
                  <c:v>176.69264999999999</c:v>
                </c:pt>
                <c:pt idx="734">
                  <c:v>189.26325</c:v>
                </c:pt>
                <c:pt idx="735">
                  <c:v>272.89044999999999</c:v>
                </c:pt>
                <c:pt idx="736">
                  <c:v>154.51769999999999</c:v>
                </c:pt>
                <c:pt idx="737">
                  <c:v>152.66499999999999</c:v>
                </c:pt>
                <c:pt idx="738">
                  <c:v>129.768</c:v>
                </c:pt>
                <c:pt idx="739">
                  <c:v>187.61115000000001</c:v>
                </c:pt>
                <c:pt idx="740">
                  <c:v>104.99275</c:v>
                </c:pt>
                <c:pt idx="741">
                  <c:v>79.847300000000004</c:v>
                </c:pt>
                <c:pt idx="742">
                  <c:v>58.631049999999995</c:v>
                </c:pt>
                <c:pt idx="743">
                  <c:v>179.73759999999999</c:v>
                </c:pt>
                <c:pt idx="744">
                  <c:v>230.1498</c:v>
                </c:pt>
                <c:pt idx="745">
                  <c:v>133.95359999999999</c:v>
                </c:pt>
                <c:pt idx="746">
                  <c:v>207.08275</c:v>
                </c:pt>
                <c:pt idx="747">
                  <c:v>71.858999999999995</c:v>
                </c:pt>
                <c:pt idx="748">
                  <c:v>137.97135</c:v>
                </c:pt>
                <c:pt idx="749">
                  <c:v>121.9353</c:v>
                </c:pt>
                <c:pt idx="750">
                  <c:v>149.90719999999999</c:v>
                </c:pt>
                <c:pt idx="751">
                  <c:v>102.67075</c:v>
                </c:pt>
                <c:pt idx="752">
                  <c:v>116.303</c:v>
                </c:pt>
                <c:pt idx="753">
                  <c:v>66.185000000000002</c:v>
                </c:pt>
                <c:pt idx="754">
                  <c:v>121.5519</c:v>
                </c:pt>
                <c:pt idx="755">
                  <c:v>131.65365</c:v>
                </c:pt>
                <c:pt idx="756">
                  <c:v>90.666700000000006</c:v>
                </c:pt>
                <c:pt idx="757">
                  <c:v>99.847700000000003</c:v>
                </c:pt>
                <c:pt idx="758">
                  <c:v>110.77199999999999</c:v>
                </c:pt>
                <c:pt idx="759">
                  <c:v>126.9</c:v>
                </c:pt>
                <c:pt idx="760">
                  <c:v>141.64920000000001</c:v>
                </c:pt>
                <c:pt idx="761">
                  <c:v>110.79880000000001</c:v>
                </c:pt>
                <c:pt idx="762">
                  <c:v>84.828800000000001</c:v>
                </c:pt>
                <c:pt idx="763">
                  <c:v>127.6611</c:v>
                </c:pt>
                <c:pt idx="764">
                  <c:v>103.71420000000002</c:v>
                </c:pt>
                <c:pt idx="765">
                  <c:v>63.454999999999998</c:v>
                </c:pt>
                <c:pt idx="766">
                  <c:v>73.860600000000005</c:v>
                </c:pt>
                <c:pt idx="767">
                  <c:v>126.25680000000001</c:v>
                </c:pt>
                <c:pt idx="768">
                  <c:v>78.078000000000003</c:v>
                </c:pt>
                <c:pt idx="769">
                  <c:v>91.676000000000002</c:v>
                </c:pt>
                <c:pt idx="770">
                  <c:v>90.601500000000001</c:v>
                </c:pt>
                <c:pt idx="771">
                  <c:v>103.73609999999999</c:v>
                </c:pt>
                <c:pt idx="772">
                  <c:v>90.446399999999997</c:v>
                </c:pt>
                <c:pt idx="773">
                  <c:v>146.44999999999999</c:v>
                </c:pt>
                <c:pt idx="774">
                  <c:v>97.868200000000002</c:v>
                </c:pt>
                <c:pt idx="775">
                  <c:v>55.296349999999997</c:v>
                </c:pt>
                <c:pt idx="776">
                  <c:v>85.649600000000007</c:v>
                </c:pt>
                <c:pt idx="777">
                  <c:v>86.510400000000004</c:v>
                </c:pt>
                <c:pt idx="778">
                  <c:v>108.01719999999999</c:v>
                </c:pt>
                <c:pt idx="779">
                  <c:v>53.703000000000003</c:v>
                </c:pt>
                <c:pt idx="780">
                  <c:v>86.007300000000001</c:v>
                </c:pt>
                <c:pt idx="781">
                  <c:v>98.179950000000005</c:v>
                </c:pt>
                <c:pt idx="782">
                  <c:v>101.4824</c:v>
                </c:pt>
                <c:pt idx="783">
                  <c:v>61.055999999999997</c:v>
                </c:pt>
                <c:pt idx="784">
                  <c:v>130.84010000000001</c:v>
                </c:pt>
                <c:pt idx="785">
                  <c:v>188.70179999999996</c:v>
                </c:pt>
                <c:pt idx="786">
                  <c:v>169.66634999999999</c:v>
                </c:pt>
                <c:pt idx="787">
                  <c:v>114.7928</c:v>
                </c:pt>
                <c:pt idx="788">
                  <c:v>67.562100000000001</c:v>
                </c:pt>
                <c:pt idx="789">
                  <c:v>67.999750000000006</c:v>
                </c:pt>
                <c:pt idx="790">
                  <c:v>87.775199999999998</c:v>
                </c:pt>
                <c:pt idx="791">
                  <c:v>59.6691</c:v>
                </c:pt>
                <c:pt idx="792">
                  <c:v>192.59729999999999</c:v>
                </c:pt>
                <c:pt idx="793">
                  <c:v>145.87950000000001</c:v>
                </c:pt>
                <c:pt idx="794">
                  <c:v>155.4588</c:v>
                </c:pt>
                <c:pt idx="795">
                  <c:v>134.50909999999999</c:v>
                </c:pt>
                <c:pt idx="796">
                  <c:v>186.77975000000001</c:v>
                </c:pt>
                <c:pt idx="797">
                  <c:v>83.379499999999993</c:v>
                </c:pt>
                <c:pt idx="798">
                  <c:v>85.78125</c:v>
                </c:pt>
                <c:pt idx="799">
                  <c:v>391.00375000000003</c:v>
                </c:pt>
                <c:pt idx="800">
                  <c:v>239.63679999999999</c:v>
                </c:pt>
                <c:pt idx="801">
                  <c:v>130.04369999999997</c:v>
                </c:pt>
                <c:pt idx="802">
                  <c:v>181.09440000000001</c:v>
                </c:pt>
                <c:pt idx="803">
                  <c:v>143.02799999999999</c:v>
                </c:pt>
                <c:pt idx="804">
                  <c:v>342.815</c:v>
                </c:pt>
                <c:pt idx="805">
                  <c:v>326.38724999999999</c:v>
                </c:pt>
                <c:pt idx="806">
                  <c:v>684.79840000000002</c:v>
                </c:pt>
                <c:pt idx="807">
                  <c:v>670.03824999999995</c:v>
                </c:pt>
                <c:pt idx="808">
                  <c:v>396.29565000000002</c:v>
                </c:pt>
                <c:pt idx="809">
                  <c:v>205.71610000000001</c:v>
                </c:pt>
                <c:pt idx="810">
                  <c:v>150.72585000000001</c:v>
                </c:pt>
                <c:pt idx="811">
                  <c:v>135.971</c:v>
                </c:pt>
                <c:pt idx="812">
                  <c:v>291.755</c:v>
                </c:pt>
                <c:pt idx="813">
                  <c:v>245.19499999999999</c:v>
                </c:pt>
                <c:pt idx="814">
                  <c:v>341.96654999999998</c:v>
                </c:pt>
                <c:pt idx="815">
                  <c:v>553.71675000000005</c:v>
                </c:pt>
                <c:pt idx="816">
                  <c:v>859.13310000000013</c:v>
                </c:pt>
                <c:pt idx="817">
                  <c:v>482.01724999999999</c:v>
                </c:pt>
                <c:pt idx="818">
                  <c:v>283.4325</c:v>
                </c:pt>
                <c:pt idx="819">
                  <c:v>460.95749999999998</c:v>
                </c:pt>
                <c:pt idx="820">
                  <c:v>275.35599999999999</c:v>
                </c:pt>
                <c:pt idx="821">
                  <c:v>230.79560000000001</c:v>
                </c:pt>
                <c:pt idx="822">
                  <c:v>201.33920000000001</c:v>
                </c:pt>
                <c:pt idx="823">
                  <c:v>157.80240000000001</c:v>
                </c:pt>
                <c:pt idx="824">
                  <c:v>168.26445000000001</c:v>
                </c:pt>
                <c:pt idx="825">
                  <c:v>139.59360000000001</c:v>
                </c:pt>
                <c:pt idx="826">
                  <c:v>229.38134999999997</c:v>
                </c:pt>
                <c:pt idx="827">
                  <c:v>204.36925000000002</c:v>
                </c:pt>
                <c:pt idx="828">
                  <c:v>204.81435000000002</c:v>
                </c:pt>
                <c:pt idx="829">
                  <c:v>231.12799999999999</c:v>
                </c:pt>
                <c:pt idx="830">
                  <c:v>161.3416</c:v>
                </c:pt>
                <c:pt idx="831">
                  <c:v>115.62779999999999</c:v>
                </c:pt>
                <c:pt idx="832">
                  <c:v>184.9512</c:v>
                </c:pt>
                <c:pt idx="833">
                  <c:v>278.93349999999998</c:v>
                </c:pt>
                <c:pt idx="834">
                  <c:v>152.2884</c:v>
                </c:pt>
                <c:pt idx="835">
                  <c:v>230.60310000000001</c:v>
                </c:pt>
                <c:pt idx="836">
                  <c:v>155.03190000000001</c:v>
                </c:pt>
                <c:pt idx="837">
                  <c:v>127.39709999999999</c:v>
                </c:pt>
                <c:pt idx="838">
                  <c:v>158.38679999999999</c:v>
                </c:pt>
                <c:pt idx="839">
                  <c:v>155.39375000000001</c:v>
                </c:pt>
                <c:pt idx="840">
                  <c:v>184.78885</c:v>
                </c:pt>
                <c:pt idx="841">
                  <c:v>149.13675000000001</c:v>
                </c:pt>
                <c:pt idx="842">
                  <c:v>109.05255</c:v>
                </c:pt>
                <c:pt idx="843">
                  <c:v>355.30099999999999</c:v>
                </c:pt>
                <c:pt idx="844">
                  <c:v>246.0462</c:v>
                </c:pt>
                <c:pt idx="845">
                  <c:v>268.70094999999998</c:v>
                </c:pt>
                <c:pt idx="846">
                  <c:v>159.12825000000001</c:v>
                </c:pt>
                <c:pt idx="847">
                  <c:v>178.59139999999999</c:v>
                </c:pt>
                <c:pt idx="848">
                  <c:v>188.89439999999999</c:v>
                </c:pt>
                <c:pt idx="849">
                  <c:v>158.32364999999999</c:v>
                </c:pt>
                <c:pt idx="850">
                  <c:v>107.3682</c:v>
                </c:pt>
                <c:pt idx="851">
                  <c:v>126.27725</c:v>
                </c:pt>
                <c:pt idx="852">
                  <c:v>83.514600000000002</c:v>
                </c:pt>
                <c:pt idx="853">
                  <c:v>115.64024999999999</c:v>
                </c:pt>
                <c:pt idx="854">
                  <c:v>105.01949999999999</c:v>
                </c:pt>
                <c:pt idx="855">
                  <c:v>169.79939999999999</c:v>
                </c:pt>
                <c:pt idx="856">
                  <c:v>174.34620000000001</c:v>
                </c:pt>
                <c:pt idx="857">
                  <c:v>205.99799999999999</c:v>
                </c:pt>
                <c:pt idx="858">
                  <c:v>202.55584999999999</c:v>
                </c:pt>
                <c:pt idx="859">
                  <c:v>229.64760000000001</c:v>
                </c:pt>
                <c:pt idx="860">
                  <c:v>131.19120000000001</c:v>
                </c:pt>
                <c:pt idx="861">
                  <c:v>120.05945</c:v>
                </c:pt>
                <c:pt idx="862">
                  <c:v>137.22640000000001</c:v>
                </c:pt>
                <c:pt idx="863">
                  <c:v>126.79300000000001</c:v>
                </c:pt>
                <c:pt idx="864">
                  <c:v>152.92925</c:v>
                </c:pt>
                <c:pt idx="865">
                  <c:v>125.90115</c:v>
                </c:pt>
                <c:pt idx="866">
                  <c:v>107.5158</c:v>
                </c:pt>
                <c:pt idx="867">
                  <c:v>91.2667</c:v>
                </c:pt>
                <c:pt idx="868">
                  <c:v>102.69499999999999</c:v>
                </c:pt>
                <c:pt idx="869">
                  <c:v>105.7196</c:v>
                </c:pt>
                <c:pt idx="870">
                  <c:v>137.6259</c:v>
                </c:pt>
                <c:pt idx="871">
                  <c:v>116.0082</c:v>
                </c:pt>
                <c:pt idx="872">
                  <c:v>171.14324999999999</c:v>
                </c:pt>
                <c:pt idx="873">
                  <c:v>157.33539999999999</c:v>
                </c:pt>
                <c:pt idx="874">
                  <c:v>128.63184999999999</c:v>
                </c:pt>
                <c:pt idx="875">
                  <c:v>123.107</c:v>
                </c:pt>
                <c:pt idx="876">
                  <c:v>147.34925000000001</c:v>
                </c:pt>
                <c:pt idx="877">
                  <c:v>166.30414999999999</c:v>
                </c:pt>
                <c:pt idx="878">
                  <c:v>190.18199999999999</c:v>
                </c:pt>
                <c:pt idx="879">
                  <c:v>198.5659</c:v>
                </c:pt>
                <c:pt idx="880">
                  <c:v>202.6712</c:v>
                </c:pt>
                <c:pt idx="881">
                  <c:v>184.875</c:v>
                </c:pt>
                <c:pt idx="882">
                  <c:v>261.16719999999998</c:v>
                </c:pt>
                <c:pt idx="883">
                  <c:v>221.42339999999999</c:v>
                </c:pt>
                <c:pt idx="884">
                  <c:v>226.47120000000001</c:v>
                </c:pt>
                <c:pt idx="885">
                  <c:v>176.76079999999999</c:v>
                </c:pt>
                <c:pt idx="886">
                  <c:v>150.64275000000001</c:v>
                </c:pt>
                <c:pt idx="887">
                  <c:v>204.47909999999999</c:v>
                </c:pt>
                <c:pt idx="888">
                  <c:v>188.4948</c:v>
                </c:pt>
                <c:pt idx="889">
                  <c:v>137.92500000000001</c:v>
                </c:pt>
                <c:pt idx="890">
                  <c:v>211.31440000000001</c:v>
                </c:pt>
                <c:pt idx="891">
                  <c:v>191.24789999999999</c:v>
                </c:pt>
                <c:pt idx="892">
                  <c:v>124.54470000000001</c:v>
                </c:pt>
                <c:pt idx="893">
                  <c:v>227.64375000000001</c:v>
                </c:pt>
                <c:pt idx="894">
                  <c:v>218.34899999999999</c:v>
                </c:pt>
                <c:pt idx="895">
                  <c:v>194.3948</c:v>
                </c:pt>
                <c:pt idx="896">
                  <c:v>254.68700000000001</c:v>
                </c:pt>
                <c:pt idx="897">
                  <c:v>220.57560000000001</c:v>
                </c:pt>
                <c:pt idx="898">
                  <c:v>180.72</c:v>
                </c:pt>
                <c:pt idx="899">
                  <c:v>209.16749999999999</c:v>
                </c:pt>
                <c:pt idx="900">
                  <c:v>215.74100000000001</c:v>
                </c:pt>
                <c:pt idx="901">
                  <c:v>259.14555000000001</c:v>
                </c:pt>
                <c:pt idx="902">
                  <c:v>192.09004999999999</c:v>
                </c:pt>
                <c:pt idx="903">
                  <c:v>183.20580000000001</c:v>
                </c:pt>
                <c:pt idx="904">
                  <c:v>153.50059999999999</c:v>
                </c:pt>
                <c:pt idx="905">
                  <c:v>148.94895</c:v>
                </c:pt>
                <c:pt idx="906">
                  <c:v>279.32850000000002</c:v>
                </c:pt>
                <c:pt idx="907">
                  <c:v>207.5788</c:v>
                </c:pt>
                <c:pt idx="908">
                  <c:v>237.67755</c:v>
                </c:pt>
                <c:pt idx="909">
                  <c:v>144.54</c:v>
                </c:pt>
                <c:pt idx="910">
                  <c:v>132.36444999999998</c:v>
                </c:pt>
                <c:pt idx="911">
                  <c:v>268.12004999999999</c:v>
                </c:pt>
                <c:pt idx="912">
                  <c:v>193.905</c:v>
                </c:pt>
                <c:pt idx="913">
                  <c:v>157.34520000000001</c:v>
                </c:pt>
                <c:pt idx="914">
                  <c:v>189.71385000000001</c:v>
                </c:pt>
                <c:pt idx="915">
                  <c:v>131.22929999999999</c:v>
                </c:pt>
                <c:pt idx="916">
                  <c:v>156.56829999999999</c:v>
                </c:pt>
                <c:pt idx="917">
                  <c:v>206.62389999999999</c:v>
                </c:pt>
                <c:pt idx="918">
                  <c:v>144.08330000000001</c:v>
                </c:pt>
                <c:pt idx="919">
                  <c:v>203.65539999999999</c:v>
                </c:pt>
                <c:pt idx="920">
                  <c:v>169.78710000000001</c:v>
                </c:pt>
                <c:pt idx="921">
                  <c:v>426.65264999999999</c:v>
                </c:pt>
                <c:pt idx="922">
                  <c:v>279.78800000000001</c:v>
                </c:pt>
                <c:pt idx="923">
                  <c:v>268.02600000000001</c:v>
                </c:pt>
                <c:pt idx="924">
                  <c:v>268.32870000000003</c:v>
                </c:pt>
                <c:pt idx="925">
                  <c:v>307.69265000000001</c:v>
                </c:pt>
                <c:pt idx="926">
                  <c:v>343.81240000000003</c:v>
                </c:pt>
                <c:pt idx="927">
                  <c:v>316.80315000000002</c:v>
                </c:pt>
                <c:pt idx="928">
                  <c:v>164.691</c:v>
                </c:pt>
                <c:pt idx="929">
                  <c:v>168.80175</c:v>
                </c:pt>
                <c:pt idx="930">
                  <c:v>320.01749999999998</c:v>
                </c:pt>
                <c:pt idx="931">
                  <c:v>219.66</c:v>
                </c:pt>
                <c:pt idx="932">
                  <c:v>425.1456</c:v>
                </c:pt>
                <c:pt idx="933">
                  <c:v>244.05199999999999</c:v>
                </c:pt>
                <c:pt idx="934">
                  <c:v>392.23975000000002</c:v>
                </c:pt>
                <c:pt idx="935">
                  <c:v>178.34190000000001</c:v>
                </c:pt>
                <c:pt idx="936">
                  <c:v>249.32879999999997</c:v>
                </c:pt>
                <c:pt idx="937">
                  <c:v>265.29624999999999</c:v>
                </c:pt>
                <c:pt idx="938">
                  <c:v>222.05609999999999</c:v>
                </c:pt>
                <c:pt idx="939">
                  <c:v>373.88900000000001</c:v>
                </c:pt>
                <c:pt idx="940">
                  <c:v>393.49765000000002</c:v>
                </c:pt>
                <c:pt idx="941">
                  <c:v>648.0444</c:v>
                </c:pt>
                <c:pt idx="942">
                  <c:v>375.2867</c:v>
                </c:pt>
                <c:pt idx="943">
                  <c:v>487.16849999999999</c:v>
                </c:pt>
                <c:pt idx="944">
                  <c:v>325.90899999999999</c:v>
                </c:pt>
                <c:pt idx="945">
                  <c:v>358.06319999999999</c:v>
                </c:pt>
                <c:pt idx="946">
                  <c:v>457.72424999999998</c:v>
                </c:pt>
                <c:pt idx="947">
                  <c:v>298.92059999999998</c:v>
                </c:pt>
                <c:pt idx="948">
                  <c:v>188.61500000000001</c:v>
                </c:pt>
                <c:pt idx="949">
                  <c:v>451.84424999999999</c:v>
                </c:pt>
                <c:pt idx="950">
                  <c:v>434.97680000000003</c:v>
                </c:pt>
                <c:pt idx="951">
                  <c:v>254.32469999999998</c:v>
                </c:pt>
                <c:pt idx="952">
                  <c:v>232.30455000000003</c:v>
                </c:pt>
                <c:pt idx="953">
                  <c:v>255.32714999999999</c:v>
                </c:pt>
                <c:pt idx="954">
                  <c:v>138.38399999999999</c:v>
                </c:pt>
                <c:pt idx="955">
                  <c:v>200.60100000000003</c:v>
                </c:pt>
                <c:pt idx="956">
                  <c:v>175.19319999999999</c:v>
                </c:pt>
                <c:pt idx="957">
                  <c:v>178.92</c:v>
                </c:pt>
                <c:pt idx="958">
                  <c:v>190.8246</c:v>
                </c:pt>
                <c:pt idx="959">
                  <c:v>211.4931</c:v>
                </c:pt>
                <c:pt idx="960">
                  <c:v>130.5634</c:v>
                </c:pt>
                <c:pt idx="961">
                  <c:v>265.86180000000002</c:v>
                </c:pt>
                <c:pt idx="962">
                  <c:v>336.09440000000001</c:v>
                </c:pt>
                <c:pt idx="963">
                  <c:v>228.90600000000001</c:v>
                </c:pt>
                <c:pt idx="964">
                  <c:v>193.90620000000001</c:v>
                </c:pt>
                <c:pt idx="965">
                  <c:v>208.131</c:v>
                </c:pt>
                <c:pt idx="966">
                  <c:v>211.8655</c:v>
                </c:pt>
                <c:pt idx="967">
                  <c:v>113.87945000000002</c:v>
                </c:pt>
                <c:pt idx="968">
                  <c:v>329.30635000000001</c:v>
                </c:pt>
                <c:pt idx="969">
                  <c:v>89.371949999999998</c:v>
                </c:pt>
                <c:pt idx="970">
                  <c:v>125.81325</c:v>
                </c:pt>
                <c:pt idx="971">
                  <c:v>138.54929999999999</c:v>
                </c:pt>
                <c:pt idx="972">
                  <c:v>104.01600000000001</c:v>
                </c:pt>
                <c:pt idx="973">
                  <c:v>167.2345</c:v>
                </c:pt>
                <c:pt idx="974">
                  <c:v>196.02330000000001</c:v>
                </c:pt>
                <c:pt idx="975">
                  <c:v>190.36600000000001</c:v>
                </c:pt>
                <c:pt idx="976">
                  <c:v>209.43949999999998</c:v>
                </c:pt>
                <c:pt idx="977">
                  <c:v>247.6815</c:v>
                </c:pt>
                <c:pt idx="978">
                  <c:v>217.64549999999997</c:v>
                </c:pt>
                <c:pt idx="979">
                  <c:v>369.68025</c:v>
                </c:pt>
                <c:pt idx="980">
                  <c:v>261.52800000000002</c:v>
                </c:pt>
                <c:pt idx="981">
                  <c:v>184.83975000000001</c:v>
                </c:pt>
                <c:pt idx="982">
                  <c:v>342.88400000000001</c:v>
                </c:pt>
                <c:pt idx="983">
                  <c:v>420.42105000000004</c:v>
                </c:pt>
                <c:pt idx="984">
                  <c:v>446.92500000000001</c:v>
                </c:pt>
                <c:pt idx="985">
                  <c:v>475.36984999999993</c:v>
                </c:pt>
                <c:pt idx="986">
                  <c:v>291.83569999999997</c:v>
                </c:pt>
                <c:pt idx="987">
                  <c:v>225.03199999999998</c:v>
                </c:pt>
                <c:pt idx="988">
                  <c:v>272.03539999999998</c:v>
                </c:pt>
                <c:pt idx="989">
                  <c:v>243.48869999999999</c:v>
                </c:pt>
                <c:pt idx="990">
                  <c:v>215.60775000000001</c:v>
                </c:pt>
                <c:pt idx="991">
                  <c:v>616.24099999999999</c:v>
                </c:pt>
                <c:pt idx="992">
                  <c:v>333.18040000000002</c:v>
                </c:pt>
                <c:pt idx="993">
                  <c:v>234.94755000000001</c:v>
                </c:pt>
                <c:pt idx="994">
                  <c:v>221.31104999999999</c:v>
                </c:pt>
                <c:pt idx="995">
                  <c:v>174.0087</c:v>
                </c:pt>
                <c:pt idx="996">
                  <c:v>233.3235</c:v>
                </c:pt>
                <c:pt idx="997">
                  <c:v>201.62025</c:v>
                </c:pt>
                <c:pt idx="998">
                  <c:v>236.59085000000002</c:v>
                </c:pt>
                <c:pt idx="999">
                  <c:v>213.33785000000003</c:v>
                </c:pt>
                <c:pt idx="1000">
                  <c:v>263.62309999999997</c:v>
                </c:pt>
                <c:pt idx="1001">
                  <c:v>309.34089999999998</c:v>
                </c:pt>
                <c:pt idx="1002">
                  <c:v>212.87910000000002</c:v>
                </c:pt>
                <c:pt idx="1003">
                  <c:v>344.48424999999997</c:v>
                </c:pt>
                <c:pt idx="1004">
                  <c:v>362.41320000000002</c:v>
                </c:pt>
                <c:pt idx="1005">
                  <c:v>273.22604999999999</c:v>
                </c:pt>
                <c:pt idx="1006">
                  <c:v>188.6412</c:v>
                </c:pt>
                <c:pt idx="1007">
                  <c:v>725.25464999999997</c:v>
                </c:pt>
                <c:pt idx="1008">
                  <c:v>809.54399999999998</c:v>
                </c:pt>
                <c:pt idx="1009">
                  <c:v>548.10725000000002</c:v>
                </c:pt>
                <c:pt idx="1010">
                  <c:v>408.6823</c:v>
                </c:pt>
                <c:pt idx="1011">
                  <c:v>314.41919999999999</c:v>
                </c:pt>
                <c:pt idx="1012">
                  <c:v>492.8152</c:v>
                </c:pt>
                <c:pt idx="1013">
                  <c:v>324.72899999999998</c:v>
                </c:pt>
                <c:pt idx="1014">
                  <c:v>371.71929999999998</c:v>
                </c:pt>
                <c:pt idx="1015">
                  <c:v>365.41125</c:v>
                </c:pt>
                <c:pt idx="1016">
                  <c:v>409.7593</c:v>
                </c:pt>
                <c:pt idx="1017">
                  <c:v>360.738</c:v>
                </c:pt>
                <c:pt idx="1018">
                  <c:v>356.54489999999998</c:v>
                </c:pt>
                <c:pt idx="1019">
                  <c:v>552.28949999999998</c:v>
                </c:pt>
                <c:pt idx="1020">
                  <c:v>668.86469999999997</c:v>
                </c:pt>
                <c:pt idx="1021">
                  <c:v>498.36040000000003</c:v>
                </c:pt>
                <c:pt idx="1022">
                  <c:v>838.80650000000003</c:v>
                </c:pt>
                <c:pt idx="1023">
                  <c:v>1514.3931</c:v>
                </c:pt>
                <c:pt idx="1024">
                  <c:v>541.82939999999996</c:v>
                </c:pt>
                <c:pt idx="1025">
                  <c:v>447.22255000000001</c:v>
                </c:pt>
                <c:pt idx="1026">
                  <c:v>390.096</c:v>
                </c:pt>
                <c:pt idx="1027">
                  <c:v>251.20599999999999</c:v>
                </c:pt>
                <c:pt idx="1028">
                  <c:v>316.41750000000002</c:v>
                </c:pt>
                <c:pt idx="1029">
                  <c:v>349.42424999999997</c:v>
                </c:pt>
                <c:pt idx="1030">
                  <c:v>294.15649999999999</c:v>
                </c:pt>
                <c:pt idx="1031">
                  <c:v>197.43780000000001</c:v>
                </c:pt>
                <c:pt idx="1032">
                  <c:v>176.18440000000001</c:v>
                </c:pt>
                <c:pt idx="1033">
                  <c:v>139.15825000000001</c:v>
                </c:pt>
                <c:pt idx="1034">
                  <c:v>150.4821</c:v>
                </c:pt>
                <c:pt idx="1035">
                  <c:v>203.53020000000001</c:v>
                </c:pt>
                <c:pt idx="1036">
                  <c:v>136.79050000000001</c:v>
                </c:pt>
                <c:pt idx="1037">
                  <c:v>354.4905</c:v>
                </c:pt>
                <c:pt idx="1038">
                  <c:v>153.33260000000001</c:v>
                </c:pt>
                <c:pt idx="1039">
                  <c:v>227.95759999999996</c:v>
                </c:pt>
                <c:pt idx="1040">
                  <c:v>346.79674999999997</c:v>
                </c:pt>
                <c:pt idx="1041">
                  <c:v>181.47919999999999</c:v>
                </c:pt>
                <c:pt idx="1042">
                  <c:v>338.5822</c:v>
                </c:pt>
                <c:pt idx="1043">
                  <c:v>241.90770000000001</c:v>
                </c:pt>
                <c:pt idx="1044">
                  <c:v>224.09009999999998</c:v>
                </c:pt>
                <c:pt idx="1045">
                  <c:v>543.73514999999998</c:v>
                </c:pt>
                <c:pt idx="1046">
                  <c:v>761.70159999999998</c:v>
                </c:pt>
                <c:pt idx="1047">
                  <c:v>465.71530000000007</c:v>
                </c:pt>
                <c:pt idx="1048">
                  <c:v>373.03694999999999</c:v>
                </c:pt>
                <c:pt idx="1049">
                  <c:v>252.38999999999996</c:v>
                </c:pt>
                <c:pt idx="1050">
                  <c:v>196.80109999999999</c:v>
                </c:pt>
                <c:pt idx="1051">
                  <c:v>234.31120000000001</c:v>
                </c:pt>
                <c:pt idx="1052">
                  <c:v>360.63799999999998</c:v>
                </c:pt>
                <c:pt idx="1053">
                  <c:v>230.42975000000001</c:v>
                </c:pt>
                <c:pt idx="1054">
                  <c:v>149.54849999999999</c:v>
                </c:pt>
                <c:pt idx="1055">
                  <c:v>227.30324999999999</c:v>
                </c:pt>
                <c:pt idx="1056">
                  <c:v>254.50829999999999</c:v>
                </c:pt>
                <c:pt idx="1057">
                  <c:v>299.51369999999997</c:v>
                </c:pt>
                <c:pt idx="1058">
                  <c:v>462.49590000000001</c:v>
                </c:pt>
                <c:pt idx="1059">
                  <c:v>426.50684999999993</c:v>
                </c:pt>
                <c:pt idx="1060">
                  <c:v>256.46265</c:v>
                </c:pt>
                <c:pt idx="1061">
                  <c:v>397.36889999999994</c:v>
                </c:pt>
                <c:pt idx="1062">
                  <c:v>326.55919999999998</c:v>
                </c:pt>
                <c:pt idx="1063">
                  <c:v>326.43990000000002</c:v>
                </c:pt>
                <c:pt idx="1064">
                  <c:v>299.38844999999998</c:v>
                </c:pt>
                <c:pt idx="1065">
                  <c:v>418.69995</c:v>
                </c:pt>
                <c:pt idx="1066">
                  <c:v>692.16179999999997</c:v>
                </c:pt>
                <c:pt idx="1067">
                  <c:v>380.5301</c:v>
                </c:pt>
                <c:pt idx="1068">
                  <c:v>283.24720000000002</c:v>
                </c:pt>
                <c:pt idx="1069">
                  <c:v>348.07619999999997</c:v>
                </c:pt>
                <c:pt idx="1070">
                  <c:v>446.40575000000001</c:v>
                </c:pt>
                <c:pt idx="1071">
                  <c:v>235.57589999999999</c:v>
                </c:pt>
                <c:pt idx="1072">
                  <c:v>232.07554999999999</c:v>
                </c:pt>
                <c:pt idx="1073">
                  <c:v>203.93815000000001</c:v>
                </c:pt>
                <c:pt idx="1074">
                  <c:v>285.79230000000001</c:v>
                </c:pt>
                <c:pt idx="1075">
                  <c:v>286.66255000000001</c:v>
                </c:pt>
                <c:pt idx="1076">
                  <c:v>447.63709999999998</c:v>
                </c:pt>
                <c:pt idx="1077">
                  <c:v>282.05880000000002</c:v>
                </c:pt>
                <c:pt idx="1078">
                  <c:v>322.5256</c:v>
                </c:pt>
                <c:pt idx="1079">
                  <c:v>271.18</c:v>
                </c:pt>
                <c:pt idx="1080">
                  <c:v>260.27800000000002</c:v>
                </c:pt>
                <c:pt idx="1081">
                  <c:v>400.00700000000001</c:v>
                </c:pt>
                <c:pt idx="1082">
                  <c:v>258.9015</c:v>
                </c:pt>
                <c:pt idx="1083">
                  <c:v>468.18520000000007</c:v>
                </c:pt>
                <c:pt idx="1084">
                  <c:v>658.08</c:v>
                </c:pt>
                <c:pt idx="1085">
                  <c:v>411.11040000000003</c:v>
                </c:pt>
                <c:pt idx="1086">
                  <c:v>759.29084999999998</c:v>
                </c:pt>
                <c:pt idx="1087">
                  <c:v>986.21349999999995</c:v>
                </c:pt>
                <c:pt idx="1088">
                  <c:v>616.70894999999996</c:v>
                </c:pt>
                <c:pt idx="1089">
                  <c:v>577.83519999999999</c:v>
                </c:pt>
                <c:pt idx="1090">
                  <c:v>367.75830000000002</c:v>
                </c:pt>
                <c:pt idx="1091">
                  <c:v>408.13150000000002</c:v>
                </c:pt>
                <c:pt idx="1092">
                  <c:v>573.74440000000004</c:v>
                </c:pt>
                <c:pt idx="1093">
                  <c:v>382.41534999999999</c:v>
                </c:pt>
                <c:pt idx="1094">
                  <c:v>252.88560000000004</c:v>
                </c:pt>
                <c:pt idx="1095">
                  <c:v>264.81</c:v>
                </c:pt>
                <c:pt idx="1096">
                  <c:v>441.74299999999999</c:v>
                </c:pt>
                <c:pt idx="1097">
                  <c:v>328.97219999999999</c:v>
                </c:pt>
                <c:pt idx="1098">
                  <c:v>320.77875</c:v>
                </c:pt>
                <c:pt idx="1099">
                  <c:v>255.08054999999999</c:v>
                </c:pt>
                <c:pt idx="1100">
                  <c:v>248.62424999999999</c:v>
                </c:pt>
                <c:pt idx="1101">
                  <c:v>234.06450000000001</c:v>
                </c:pt>
                <c:pt idx="1102">
                  <c:v>302.27670000000001</c:v>
                </c:pt>
                <c:pt idx="1103">
                  <c:v>586.76279999999997</c:v>
                </c:pt>
                <c:pt idx="1104">
                  <c:v>521.7912</c:v>
                </c:pt>
                <c:pt idx="1105">
                  <c:v>458.33679999999993</c:v>
                </c:pt>
                <c:pt idx="1106">
                  <c:v>706.62234999999998</c:v>
                </c:pt>
                <c:pt idx="1107">
                  <c:v>542.24879999999996</c:v>
                </c:pt>
                <c:pt idx="1108">
                  <c:v>571.59900000000005</c:v>
                </c:pt>
                <c:pt idx="1109">
                  <c:v>553.75049999999999</c:v>
                </c:pt>
                <c:pt idx="1110">
                  <c:v>505.90575000000007</c:v>
                </c:pt>
                <c:pt idx="1111">
                  <c:v>464.31005000000005</c:v>
                </c:pt>
                <c:pt idx="1112">
                  <c:v>299.97525000000002</c:v>
                </c:pt>
                <c:pt idx="1113">
                  <c:v>363.18015000000003</c:v>
                </c:pt>
                <c:pt idx="1114">
                  <c:v>380.4633</c:v>
                </c:pt>
                <c:pt idx="1115">
                  <c:v>710.35500000000002</c:v>
                </c:pt>
                <c:pt idx="1116">
                  <c:v>545.5779</c:v>
                </c:pt>
                <c:pt idx="1117">
                  <c:v>747.38310000000001</c:v>
                </c:pt>
                <c:pt idx="1118">
                  <c:v>736.1748</c:v>
                </c:pt>
                <c:pt idx="1119">
                  <c:v>622.63829999999996</c:v>
                </c:pt>
                <c:pt idx="1120">
                  <c:v>825.06600000000003</c:v>
                </c:pt>
                <c:pt idx="1121">
                  <c:v>1490.8643999999999</c:v>
                </c:pt>
                <c:pt idx="1122">
                  <c:v>1989.8372999999999</c:v>
                </c:pt>
                <c:pt idx="1123">
                  <c:v>1927.8297499999996</c:v>
                </c:pt>
                <c:pt idx="1124">
                  <c:v>1354.2915</c:v>
                </c:pt>
                <c:pt idx="1125">
                  <c:v>1431.3240000000001</c:v>
                </c:pt>
                <c:pt idx="1126">
                  <c:v>1105.6432500000001</c:v>
                </c:pt>
                <c:pt idx="1127">
                  <c:v>764.48249999999996</c:v>
                </c:pt>
                <c:pt idx="1128">
                  <c:v>549.29909999999995</c:v>
                </c:pt>
                <c:pt idx="1129">
                  <c:v>578.99559999999997</c:v>
                </c:pt>
                <c:pt idx="1130">
                  <c:v>878.85979999999995</c:v>
                </c:pt>
                <c:pt idx="1131">
                  <c:v>1946.2847999999999</c:v>
                </c:pt>
                <c:pt idx="1132">
                  <c:v>1354.8594499999999</c:v>
                </c:pt>
                <c:pt idx="1133">
                  <c:v>1005.0723000000002</c:v>
                </c:pt>
                <c:pt idx="1134">
                  <c:v>1263.7835</c:v>
                </c:pt>
                <c:pt idx="1135">
                  <c:v>981.00199999999984</c:v>
                </c:pt>
                <c:pt idx="1136">
                  <c:v>938.18050000000005</c:v>
                </c:pt>
                <c:pt idx="1137">
                  <c:v>1006.808</c:v>
                </c:pt>
                <c:pt idx="1138">
                  <c:v>453.54450000000003</c:v>
                </c:pt>
                <c:pt idx="1139">
                  <c:v>495.95</c:v>
                </c:pt>
                <c:pt idx="1140">
                  <c:v>619.29555000000005</c:v>
                </c:pt>
                <c:pt idx="1141">
                  <c:v>826.3193</c:v>
                </c:pt>
                <c:pt idx="1142">
                  <c:v>650.66999999999996</c:v>
                </c:pt>
                <c:pt idx="1143">
                  <c:v>780.24374999999998</c:v>
                </c:pt>
                <c:pt idx="1144">
                  <c:v>585.14554999999996</c:v>
                </c:pt>
                <c:pt idx="1145">
                  <c:v>533.22059999999999</c:v>
                </c:pt>
                <c:pt idx="1146">
                  <c:v>912.67124999999987</c:v>
                </c:pt>
                <c:pt idx="1147">
                  <c:v>997.44689999999991</c:v>
                </c:pt>
                <c:pt idx="1148">
                  <c:v>690.19475</c:v>
                </c:pt>
                <c:pt idx="1149">
                  <c:v>557.80724999999995</c:v>
                </c:pt>
                <c:pt idx="1150">
                  <c:v>417.95480000000003</c:v>
                </c:pt>
                <c:pt idx="1151">
                  <c:v>732.58185000000003</c:v>
                </c:pt>
                <c:pt idx="1152">
                  <c:v>571.8356</c:v>
                </c:pt>
                <c:pt idx="1153">
                  <c:v>620.67915000000005</c:v>
                </c:pt>
                <c:pt idx="1154">
                  <c:v>817.96</c:v>
                </c:pt>
                <c:pt idx="1155">
                  <c:v>1514.4753000000001</c:v>
                </c:pt>
                <c:pt idx="1156">
                  <c:v>972.10419999999999</c:v>
                </c:pt>
                <c:pt idx="1157">
                  <c:v>650.70000000000005</c:v>
                </c:pt>
                <c:pt idx="1158">
                  <c:v>654.55425000000002</c:v>
                </c:pt>
                <c:pt idx="1159">
                  <c:v>690.17774999999995</c:v>
                </c:pt>
                <c:pt idx="1160">
                  <c:v>801.72199999999998</c:v>
                </c:pt>
                <c:pt idx="1161">
                  <c:v>972.40049999999997</c:v>
                </c:pt>
                <c:pt idx="1162">
                  <c:v>1094.3545999999999</c:v>
                </c:pt>
                <c:pt idx="1163">
                  <c:v>1216.248</c:v>
                </c:pt>
                <c:pt idx="1164">
                  <c:v>815.37070000000017</c:v>
                </c:pt>
                <c:pt idx="1165">
                  <c:v>499.9228</c:v>
                </c:pt>
                <c:pt idx="1166">
                  <c:v>691.48694999999998</c:v>
                </c:pt>
                <c:pt idx="1167">
                  <c:v>427.15700000000004</c:v>
                </c:pt>
                <c:pt idx="1168">
                  <c:v>478.23899999999998</c:v>
                </c:pt>
                <c:pt idx="1169">
                  <c:v>778.09574999999995</c:v>
                </c:pt>
                <c:pt idx="1170">
                  <c:v>456.7509</c:v>
                </c:pt>
                <c:pt idx="1171">
                  <c:v>446.03194999999999</c:v>
                </c:pt>
                <c:pt idx="1172">
                  <c:v>712.01655000000017</c:v>
                </c:pt>
                <c:pt idx="1173">
                  <c:v>631.16</c:v>
                </c:pt>
                <c:pt idx="1174">
                  <c:v>1096.8077000000001</c:v>
                </c:pt>
                <c:pt idx="1175">
                  <c:v>567.66269999999997</c:v>
                </c:pt>
                <c:pt idx="1176">
                  <c:v>411.93759999999997</c:v>
                </c:pt>
                <c:pt idx="1177">
                  <c:v>423.16399999999999</c:v>
                </c:pt>
                <c:pt idx="1178">
                  <c:v>565.93079999999998</c:v>
                </c:pt>
                <c:pt idx="1179">
                  <c:v>454.84649999999999</c:v>
                </c:pt>
                <c:pt idx="1180">
                  <c:v>719.42579999999998</c:v>
                </c:pt>
                <c:pt idx="1181">
                  <c:v>328.8075</c:v>
                </c:pt>
                <c:pt idx="1182">
                  <c:v>483.42295000000001</c:v>
                </c:pt>
                <c:pt idx="1183">
                  <c:v>1249.4278999999999</c:v>
                </c:pt>
                <c:pt idx="1184">
                  <c:v>422.61480000000006</c:v>
                </c:pt>
                <c:pt idx="1185">
                  <c:v>445.77285000000001</c:v>
                </c:pt>
                <c:pt idx="1186">
                  <c:v>318.42739999999998</c:v>
                </c:pt>
                <c:pt idx="1187">
                  <c:v>317.7176</c:v>
                </c:pt>
                <c:pt idx="1188">
                  <c:v>465.00099999999998</c:v>
                </c:pt>
                <c:pt idx="1189">
                  <c:v>857.41335000000015</c:v>
                </c:pt>
                <c:pt idx="1190">
                  <c:v>641.16959999999995</c:v>
                </c:pt>
                <c:pt idx="1191">
                  <c:v>291.79239999999999</c:v>
                </c:pt>
                <c:pt idx="1192">
                  <c:v>521.91975000000002</c:v>
                </c:pt>
                <c:pt idx="1193">
                  <c:v>947.7704</c:v>
                </c:pt>
                <c:pt idx="1194">
                  <c:v>682.51559999999995</c:v>
                </c:pt>
                <c:pt idx="1195">
                  <c:v>889.51499999999999</c:v>
                </c:pt>
                <c:pt idx="1196">
                  <c:v>695.75144999999998</c:v>
                </c:pt>
                <c:pt idx="1197">
                  <c:v>678.44050000000004</c:v>
                </c:pt>
                <c:pt idx="1198">
                  <c:v>574.06790000000001</c:v>
                </c:pt>
                <c:pt idx="1199">
                  <c:v>536.89440000000002</c:v>
                </c:pt>
                <c:pt idx="1200">
                  <c:v>273.447</c:v>
                </c:pt>
                <c:pt idx="1201">
                  <c:v>431.68</c:v>
                </c:pt>
                <c:pt idx="1202">
                  <c:v>348.07905</c:v>
                </c:pt>
                <c:pt idx="1203">
                  <c:v>536.32529999999997</c:v>
                </c:pt>
                <c:pt idx="1204">
                  <c:v>332.73540000000003</c:v>
                </c:pt>
                <c:pt idx="1205">
                  <c:v>410.10559999999998</c:v>
                </c:pt>
                <c:pt idx="1206">
                  <c:v>305.661</c:v>
                </c:pt>
                <c:pt idx="1207">
                  <c:v>267.34339999999997</c:v>
                </c:pt>
                <c:pt idx="1208">
                  <c:v>445.61660000000001</c:v>
                </c:pt>
                <c:pt idx="1209">
                  <c:v>376.66395</c:v>
                </c:pt>
                <c:pt idx="1210">
                  <c:v>283.53280000000001</c:v>
                </c:pt>
                <c:pt idx="1211">
                  <c:v>320.82240000000002</c:v>
                </c:pt>
                <c:pt idx="1212">
                  <c:v>735.06039999999996</c:v>
                </c:pt>
                <c:pt idx="1213">
                  <c:v>411.4051</c:v>
                </c:pt>
                <c:pt idx="1214">
                  <c:v>211.08985000000001</c:v>
                </c:pt>
                <c:pt idx="1215">
                  <c:v>354.1626</c:v>
                </c:pt>
                <c:pt idx="1216">
                  <c:v>476.10989999999998</c:v>
                </c:pt>
                <c:pt idx="1217">
                  <c:v>486.58184999999997</c:v>
                </c:pt>
                <c:pt idx="1218">
                  <c:v>476.15750000000003</c:v>
                </c:pt>
                <c:pt idx="1219">
                  <c:v>373.18680000000001</c:v>
                </c:pt>
                <c:pt idx="1220">
                  <c:v>229.88650000000001</c:v>
                </c:pt>
                <c:pt idx="1221">
                  <c:v>172.042</c:v>
                </c:pt>
                <c:pt idx="1222">
                  <c:v>303.2586</c:v>
                </c:pt>
                <c:pt idx="1223">
                  <c:v>152.87145000000001</c:v>
                </c:pt>
                <c:pt idx="1224">
                  <c:v>132.53880000000001</c:v>
                </c:pt>
                <c:pt idx="1225">
                  <c:v>325.02879999999999</c:v>
                </c:pt>
                <c:pt idx="1226">
                  <c:v>295.07060000000001</c:v>
                </c:pt>
                <c:pt idx="1227">
                  <c:v>294.04874999999998</c:v>
                </c:pt>
                <c:pt idx="1228">
                  <c:v>294.11799999999999</c:v>
                </c:pt>
                <c:pt idx="1229">
                  <c:v>207.08955</c:v>
                </c:pt>
                <c:pt idx="1230">
                  <c:v>403.32810000000001</c:v>
                </c:pt>
                <c:pt idx="1231">
                  <c:v>244.46340000000001</c:v>
                </c:pt>
                <c:pt idx="1232">
                  <c:v>298.41239999999999</c:v>
                </c:pt>
                <c:pt idx="1233">
                  <c:v>600.01769999999999</c:v>
                </c:pt>
                <c:pt idx="1234">
                  <c:v>824.76615000000004</c:v>
                </c:pt>
                <c:pt idx="1235">
                  <c:v>449.47680000000003</c:v>
                </c:pt>
                <c:pt idx="1236">
                  <c:v>398.07515000000001</c:v>
                </c:pt>
                <c:pt idx="1237">
                  <c:v>385.80545000000001</c:v>
                </c:pt>
                <c:pt idx="1238">
                  <c:v>446.00069999999999</c:v>
                </c:pt>
                <c:pt idx="1239">
                  <c:v>383.27480000000003</c:v>
                </c:pt>
                <c:pt idx="1240">
                  <c:v>705.19979999999998</c:v>
                </c:pt>
                <c:pt idx="1241">
                  <c:v>474.35565000000003</c:v>
                </c:pt>
                <c:pt idx="1242">
                  <c:v>375.07209999999998</c:v>
                </c:pt>
                <c:pt idx="1243">
                  <c:v>417.08429999999998</c:v>
                </c:pt>
                <c:pt idx="1244">
                  <c:v>312.7894</c:v>
                </c:pt>
                <c:pt idx="1245">
                  <c:v>363.81079999999997</c:v>
                </c:pt>
                <c:pt idx="1246">
                  <c:v>356.51555000000002</c:v>
                </c:pt>
                <c:pt idx="1247">
                  <c:v>502.29485</c:v>
                </c:pt>
                <c:pt idx="1248">
                  <c:v>287.21080000000001</c:v>
                </c:pt>
                <c:pt idx="1249">
                  <c:v>362.95839999999998</c:v>
                </c:pt>
                <c:pt idx="1250">
                  <c:v>374.03519999999997</c:v>
                </c:pt>
                <c:pt idx="1251">
                  <c:v>477.72</c:v>
                </c:pt>
                <c:pt idx="1252">
                  <c:v>971.64945</c:v>
                </c:pt>
                <c:pt idx="1253">
                  <c:v>963.51239999999984</c:v>
                </c:pt>
                <c:pt idx="1254">
                  <c:v>1078.74495</c:v>
                </c:pt>
                <c:pt idx="1255">
                  <c:v>1257.0715</c:v>
                </c:pt>
                <c:pt idx="1256">
                  <c:v>925.24680000000001</c:v>
                </c:pt>
                <c:pt idx="1257">
                  <c:v>805.03459999999995</c:v>
                </c:pt>
                <c:pt idx="1258">
                  <c:v>808.05669999999998</c:v>
                </c:pt>
                <c:pt idx="1259">
                  <c:v>732.52359999999999</c:v>
                </c:pt>
                <c:pt idx="1260">
                  <c:v>762.41250000000002</c:v>
                </c:pt>
                <c:pt idx="1261">
                  <c:v>661.22799999999995</c:v>
                </c:pt>
                <c:pt idx="1262">
                  <c:v>569.56650000000002</c:v>
                </c:pt>
                <c:pt idx="1263">
                  <c:v>402.42585000000003</c:v>
                </c:pt>
                <c:pt idx="1264">
                  <c:v>630.41999999999996</c:v>
                </c:pt>
                <c:pt idx="1265">
                  <c:v>459.84674999999999</c:v>
                </c:pt>
                <c:pt idx="1266">
                  <c:v>419.95440000000002</c:v>
                </c:pt>
                <c:pt idx="1267">
                  <c:v>410.59654999999998</c:v>
                </c:pt>
                <c:pt idx="1268">
                  <c:v>832.61249999999995</c:v>
                </c:pt>
                <c:pt idx="1269">
                  <c:v>492.75029999999992</c:v>
                </c:pt>
                <c:pt idx="1270">
                  <c:v>479.77379999999999</c:v>
                </c:pt>
                <c:pt idx="1271">
                  <c:v>613.35284999999999</c:v>
                </c:pt>
                <c:pt idx="1272">
                  <c:v>576.11175000000003</c:v>
                </c:pt>
                <c:pt idx="1273">
                  <c:v>547.24699999999996</c:v>
                </c:pt>
                <c:pt idx="1274">
                  <c:v>595.90840000000003</c:v>
                </c:pt>
                <c:pt idx="1275">
                  <c:v>471.0915</c:v>
                </c:pt>
                <c:pt idx="1276">
                  <c:v>736.36559999999997</c:v>
                </c:pt>
                <c:pt idx="1277">
                  <c:v>1121.4000000000001</c:v>
                </c:pt>
                <c:pt idx="1278">
                  <c:v>1027.6755000000001</c:v>
                </c:pt>
                <c:pt idx="1279">
                  <c:v>1084.914</c:v>
                </c:pt>
                <c:pt idx="1280">
                  <c:v>905.33395000000007</c:v>
                </c:pt>
                <c:pt idx="1281">
                  <c:v>1078.021</c:v>
                </c:pt>
                <c:pt idx="1282">
                  <c:v>884.47320000000002</c:v>
                </c:pt>
                <c:pt idx="1283">
                  <c:v>914.28480000000013</c:v>
                </c:pt>
                <c:pt idx="1284">
                  <c:v>901.49139999999989</c:v>
                </c:pt>
                <c:pt idx="1285">
                  <c:v>674.68050000000005</c:v>
                </c:pt>
                <c:pt idx="1286">
                  <c:v>530.82960000000003</c:v>
                </c:pt>
                <c:pt idx="1287">
                  <c:v>445.41699999999997</c:v>
                </c:pt>
                <c:pt idx="1288">
                  <c:v>503.30324999999999</c:v>
                </c:pt>
                <c:pt idx="1289">
                  <c:v>670.36069999999995</c:v>
                </c:pt>
                <c:pt idx="1290">
                  <c:v>482.81805000000003</c:v>
                </c:pt>
                <c:pt idx="1291">
                  <c:v>488.96120000000008</c:v>
                </c:pt>
                <c:pt idx="1292">
                  <c:v>880.93979999999999</c:v>
                </c:pt>
                <c:pt idx="1293">
                  <c:v>538.48979999999995</c:v>
                </c:pt>
                <c:pt idx="1294">
                  <c:v>595.59500000000003</c:v>
                </c:pt>
                <c:pt idx="1295">
                  <c:v>842.00340000000006</c:v>
                </c:pt>
                <c:pt idx="1296">
                  <c:v>989.85005000000012</c:v>
                </c:pt>
                <c:pt idx="1297">
                  <c:v>893.18145000000004</c:v>
                </c:pt>
                <c:pt idx="1298">
                  <c:v>760.82264999999995</c:v>
                </c:pt>
                <c:pt idx="1299">
                  <c:v>786.27719999999999</c:v>
                </c:pt>
                <c:pt idx="1300">
                  <c:v>606.81910000000005</c:v>
                </c:pt>
                <c:pt idx="1301">
                  <c:v>763.82740000000001</c:v>
                </c:pt>
                <c:pt idx="1302">
                  <c:v>485.90924999999999</c:v>
                </c:pt>
                <c:pt idx="1303">
                  <c:v>704.12090000000001</c:v>
                </c:pt>
                <c:pt idx="1304">
                  <c:v>604.83600000000001</c:v>
                </c:pt>
                <c:pt idx="1305">
                  <c:v>475.72579999999999</c:v>
                </c:pt>
                <c:pt idx="1306">
                  <c:v>481.74795</c:v>
                </c:pt>
                <c:pt idx="1307">
                  <c:v>447.13799999999998</c:v>
                </c:pt>
                <c:pt idx="1308">
                  <c:v>459.30029999999999</c:v>
                </c:pt>
                <c:pt idx="1309">
                  <c:v>546.91079999999999</c:v>
                </c:pt>
                <c:pt idx="1310">
                  <c:v>649.44000000000005</c:v>
                </c:pt>
                <c:pt idx="1311">
                  <c:v>547.04385000000002</c:v>
                </c:pt>
                <c:pt idx="1312">
                  <c:v>750.07484999999997</c:v>
                </c:pt>
                <c:pt idx="1313">
                  <c:v>864.52599999999995</c:v>
                </c:pt>
                <c:pt idx="1314">
                  <c:v>541.50975000000005</c:v>
                </c:pt>
                <c:pt idx="1315">
                  <c:v>737.89919999999995</c:v>
                </c:pt>
                <c:pt idx="1316">
                  <c:v>1042.866</c:v>
                </c:pt>
                <c:pt idx="1317">
                  <c:v>1053.1056999999998</c:v>
                </c:pt>
                <c:pt idx="1318">
                  <c:v>1157.4628</c:v>
                </c:pt>
                <c:pt idx="1319">
                  <c:v>1323.8598</c:v>
                </c:pt>
                <c:pt idx="1320">
                  <c:v>1792.6176</c:v>
                </c:pt>
                <c:pt idx="1321">
                  <c:v>1981.8554999999999</c:v>
                </c:pt>
                <c:pt idx="1322">
                  <c:v>1244.8802499999999</c:v>
                </c:pt>
                <c:pt idx="1323">
                  <c:v>1152.4808</c:v>
                </c:pt>
                <c:pt idx="1324">
                  <c:v>894.63099999999997</c:v>
                </c:pt>
                <c:pt idx="1325">
                  <c:v>551.49120000000005</c:v>
                </c:pt>
                <c:pt idx="1326">
                  <c:v>740.16300000000001</c:v>
                </c:pt>
                <c:pt idx="1327">
                  <c:v>861.56679999999994</c:v>
                </c:pt>
                <c:pt idx="1328">
                  <c:v>1095.2239999999999</c:v>
                </c:pt>
                <c:pt idx="1329">
                  <c:v>1203.1845000000001</c:v>
                </c:pt>
                <c:pt idx="1330">
                  <c:v>961.98024999999996</c:v>
                </c:pt>
                <c:pt idx="1331">
                  <c:v>725.19680000000005</c:v>
                </c:pt>
                <c:pt idx="1332">
                  <c:v>809.07839999999999</c:v>
                </c:pt>
                <c:pt idx="1333">
                  <c:v>761.52589999999998</c:v>
                </c:pt>
                <c:pt idx="1334">
                  <c:v>601.91459999999995</c:v>
                </c:pt>
                <c:pt idx="1335">
                  <c:v>859.37275</c:v>
                </c:pt>
                <c:pt idx="1336">
                  <c:v>778.54</c:v>
                </c:pt>
                <c:pt idx="1337">
                  <c:v>912.09715000000006</c:v>
                </c:pt>
                <c:pt idx="1338">
                  <c:v>779.15250000000003</c:v>
                </c:pt>
                <c:pt idx="1339">
                  <c:v>769.90210000000002</c:v>
                </c:pt>
                <c:pt idx="1340">
                  <c:v>1667.7</c:v>
                </c:pt>
                <c:pt idx="1341">
                  <c:v>1052.7111</c:v>
                </c:pt>
                <c:pt idx="1342">
                  <c:v>1401.0295000000001</c:v>
                </c:pt>
                <c:pt idx="1343">
                  <c:v>1694.4628</c:v>
                </c:pt>
                <c:pt idx="1344">
                  <c:v>1507.1474499999999</c:v>
                </c:pt>
                <c:pt idx="1345">
                  <c:v>1109.8381999999999</c:v>
                </c:pt>
                <c:pt idx="1346">
                  <c:v>1030.58025</c:v>
                </c:pt>
                <c:pt idx="1347">
                  <c:v>712.45439999999996</c:v>
                </c:pt>
                <c:pt idx="1348">
                  <c:v>854.21349999999995</c:v>
                </c:pt>
                <c:pt idx="1349">
                  <c:v>965.16395</c:v>
                </c:pt>
                <c:pt idx="1350">
                  <c:v>865.59164999999985</c:v>
                </c:pt>
                <c:pt idx="1351">
                  <c:v>451.86329999999998</c:v>
                </c:pt>
                <c:pt idx="1352">
                  <c:v>601.67520000000002</c:v>
                </c:pt>
                <c:pt idx="1353">
                  <c:v>608.18124999999998</c:v>
                </c:pt>
                <c:pt idx="1354">
                  <c:v>538.64160000000004</c:v>
                </c:pt>
                <c:pt idx="1355">
                  <c:v>670.88175000000001</c:v>
                </c:pt>
                <c:pt idx="1356">
                  <c:v>672.28710000000001</c:v>
                </c:pt>
                <c:pt idx="1357">
                  <c:v>735.1345</c:v>
                </c:pt>
                <c:pt idx="1358">
                  <c:v>894.35700000000008</c:v>
                </c:pt>
                <c:pt idx="1359">
                  <c:v>682.33219999999994</c:v>
                </c:pt>
                <c:pt idx="1360">
                  <c:v>981.36919999999998</c:v>
                </c:pt>
                <c:pt idx="1361">
                  <c:v>687.75604999999996</c:v>
                </c:pt>
                <c:pt idx="1362">
                  <c:v>687.0136</c:v>
                </c:pt>
                <c:pt idx="1363">
                  <c:v>704.94979999999998</c:v>
                </c:pt>
                <c:pt idx="1364">
                  <c:v>1072.0527999999999</c:v>
                </c:pt>
                <c:pt idx="1365">
                  <c:v>990.41680000000008</c:v>
                </c:pt>
                <c:pt idx="1366">
                  <c:v>810.09230000000002</c:v>
                </c:pt>
                <c:pt idx="1367">
                  <c:v>815.00484999999992</c:v>
                </c:pt>
                <c:pt idx="1368">
                  <c:v>716.32320000000004</c:v>
                </c:pt>
                <c:pt idx="1369">
                  <c:v>583.34249999999997</c:v>
                </c:pt>
                <c:pt idx="1370">
                  <c:v>539.25019999999995</c:v>
                </c:pt>
                <c:pt idx="1371">
                  <c:v>676.63589999999999</c:v>
                </c:pt>
                <c:pt idx="1372">
                  <c:v>924.26620000000003</c:v>
                </c:pt>
                <c:pt idx="1373">
                  <c:v>712.92280000000005</c:v>
                </c:pt>
                <c:pt idx="1374">
                  <c:v>485.34740000000005</c:v>
                </c:pt>
                <c:pt idx="1375">
                  <c:v>474.74969999999996</c:v>
                </c:pt>
                <c:pt idx="1376">
                  <c:v>486.79680000000002</c:v>
                </c:pt>
                <c:pt idx="1377">
                  <c:v>414.39544999999998</c:v>
                </c:pt>
                <c:pt idx="1378">
                  <c:v>371.21040000000005</c:v>
                </c:pt>
                <c:pt idx="1379">
                  <c:v>432.6198</c:v>
                </c:pt>
                <c:pt idx="1380">
                  <c:v>474.22239999999994</c:v>
                </c:pt>
                <c:pt idx="1381">
                  <c:v>302.00040000000001</c:v>
                </c:pt>
                <c:pt idx="1382">
                  <c:v>441.32040000000001</c:v>
                </c:pt>
                <c:pt idx="1383">
                  <c:v>609.31780000000003</c:v>
                </c:pt>
                <c:pt idx="1384">
                  <c:v>544.08725000000004</c:v>
                </c:pt>
                <c:pt idx="1385">
                  <c:v>884.49374999999998</c:v>
                </c:pt>
                <c:pt idx="1386">
                  <c:v>813.90300000000002</c:v>
                </c:pt>
                <c:pt idx="1387">
                  <c:v>758.62509999999997</c:v>
                </c:pt>
                <c:pt idx="1388">
                  <c:v>725.67600000000004</c:v>
                </c:pt>
                <c:pt idx="1389">
                  <c:v>543.226</c:v>
                </c:pt>
                <c:pt idx="1390">
                  <c:v>541.72799999999995</c:v>
                </c:pt>
                <c:pt idx="1391">
                  <c:v>594.28599999999994</c:v>
                </c:pt>
                <c:pt idx="1392">
                  <c:v>619.28920000000005</c:v>
                </c:pt>
                <c:pt idx="1393">
                  <c:v>734.74834999999996</c:v>
                </c:pt>
                <c:pt idx="1394">
                  <c:v>693.07129999999995</c:v>
                </c:pt>
                <c:pt idx="1395">
                  <c:v>608.9325</c:v>
                </c:pt>
                <c:pt idx="1396">
                  <c:v>829.68130000000008</c:v>
                </c:pt>
                <c:pt idx="1397">
                  <c:v>664.79259999999999</c:v>
                </c:pt>
                <c:pt idx="1398">
                  <c:v>750.27149999999995</c:v>
                </c:pt>
                <c:pt idx="1399">
                  <c:v>855.09920000000011</c:v>
                </c:pt>
                <c:pt idx="1400">
                  <c:v>643.42340000000002</c:v>
                </c:pt>
                <c:pt idx="1401">
                  <c:v>942.43989999999997</c:v>
                </c:pt>
                <c:pt idx="1402">
                  <c:v>1000.3836500000001</c:v>
                </c:pt>
                <c:pt idx="1403">
                  <c:v>841.75860000000011</c:v>
                </c:pt>
                <c:pt idx="1404">
                  <c:v>827.77499999999998</c:v>
                </c:pt>
                <c:pt idx="1405">
                  <c:v>938.81264999999996</c:v>
                </c:pt>
                <c:pt idx="1406">
                  <c:v>754.18679999999983</c:v>
                </c:pt>
                <c:pt idx="1407">
                  <c:v>674.13210000000004</c:v>
                </c:pt>
                <c:pt idx="1408">
                  <c:v>591.27329999999995</c:v>
                </c:pt>
                <c:pt idx="1409">
                  <c:v>1010.1178499999999</c:v>
                </c:pt>
                <c:pt idx="1410">
                  <c:v>1071.3544999999999</c:v>
                </c:pt>
                <c:pt idx="1411">
                  <c:v>923.22230000000013</c:v>
                </c:pt>
                <c:pt idx="1412">
                  <c:v>674.66319999999996</c:v>
                </c:pt>
                <c:pt idx="1413">
                  <c:v>825.09209999999996</c:v>
                </c:pt>
                <c:pt idx="1414">
                  <c:v>604.30640000000005</c:v>
                </c:pt>
                <c:pt idx="1415">
                  <c:v>655.56150000000002</c:v>
                </c:pt>
                <c:pt idx="1416">
                  <c:v>478.40820000000002</c:v>
                </c:pt>
                <c:pt idx="1417">
                  <c:v>690.93674999999996</c:v>
                </c:pt>
                <c:pt idx="1418">
                  <c:v>393.19110000000001</c:v>
                </c:pt>
                <c:pt idx="1419">
                  <c:v>674.78020000000004</c:v>
                </c:pt>
                <c:pt idx="1420">
                  <c:v>646.81799999999998</c:v>
                </c:pt>
                <c:pt idx="1421">
                  <c:v>626.38919999999996</c:v>
                </c:pt>
                <c:pt idx="1422">
                  <c:v>889.95600000000002</c:v>
                </c:pt>
                <c:pt idx="1423">
                  <c:v>843.57419999999991</c:v>
                </c:pt>
                <c:pt idx="1424">
                  <c:v>715.69399999999996</c:v>
                </c:pt>
                <c:pt idx="1425">
                  <c:v>808.55039999999997</c:v>
                </c:pt>
                <c:pt idx="1426">
                  <c:v>768.18330000000003</c:v>
                </c:pt>
                <c:pt idx="1427">
                  <c:v>1186.856</c:v>
                </c:pt>
                <c:pt idx="1428">
                  <c:v>887.15755000000013</c:v>
                </c:pt>
                <c:pt idx="1429">
                  <c:v>1770.144</c:v>
                </c:pt>
                <c:pt idx="1430">
                  <c:v>1106.8125</c:v>
                </c:pt>
                <c:pt idx="1431">
                  <c:v>749.27520000000004</c:v>
                </c:pt>
                <c:pt idx="1432">
                  <c:v>932.44725000000005</c:v>
                </c:pt>
                <c:pt idx="1433">
                  <c:v>1130.7844</c:v>
                </c:pt>
                <c:pt idx="1434">
                  <c:v>1013.2901999999999</c:v>
                </c:pt>
                <c:pt idx="1435">
                  <c:v>1035.8710000000001</c:v>
                </c:pt>
                <c:pt idx="1436">
                  <c:v>818.64490000000012</c:v>
                </c:pt>
                <c:pt idx="1437">
                  <c:v>706.99530000000004</c:v>
                </c:pt>
                <c:pt idx="1438">
                  <c:v>1353.3169</c:v>
                </c:pt>
                <c:pt idx="1439">
                  <c:v>959.29899999999998</c:v>
                </c:pt>
                <c:pt idx="1440">
                  <c:v>1004.5674000000001</c:v>
                </c:pt>
                <c:pt idx="1441">
                  <c:v>682.87139999999999</c:v>
                </c:pt>
                <c:pt idx="1442">
                  <c:v>942.16575</c:v>
                </c:pt>
                <c:pt idx="1443">
                  <c:v>981.9285000000001</c:v>
                </c:pt>
                <c:pt idx="1444">
                  <c:v>1072.4588000000001</c:v>
                </c:pt>
                <c:pt idx="1445">
                  <c:v>1178.3954000000001</c:v>
                </c:pt>
                <c:pt idx="1446">
                  <c:v>1356.9836</c:v>
                </c:pt>
                <c:pt idx="1447">
                  <c:v>937.48959999999988</c:v>
                </c:pt>
                <c:pt idx="1448">
                  <c:v>664.00424999999996</c:v>
                </c:pt>
                <c:pt idx="1449">
                  <c:v>510.59540000000004</c:v>
                </c:pt>
                <c:pt idx="1450">
                  <c:v>676.26</c:v>
                </c:pt>
                <c:pt idx="1451">
                  <c:v>755.54544999999985</c:v>
                </c:pt>
                <c:pt idx="1452">
                  <c:v>849.02800000000002</c:v>
                </c:pt>
                <c:pt idx="1453">
                  <c:v>627.01900000000001</c:v>
                </c:pt>
                <c:pt idx="1454">
                  <c:v>710.24625000000003</c:v>
                </c:pt>
                <c:pt idx="1455">
                  <c:v>674.28599999999994</c:v>
                </c:pt>
                <c:pt idx="1456">
                  <c:v>742.69799999999998</c:v>
                </c:pt>
                <c:pt idx="1457">
                  <c:v>649.42570000000001</c:v>
                </c:pt>
                <c:pt idx="1458">
                  <c:v>521.40519999999992</c:v>
                </c:pt>
                <c:pt idx="1459">
                  <c:v>687.50400000000002</c:v>
                </c:pt>
                <c:pt idx="1460">
                  <c:v>471.84</c:v>
                </c:pt>
                <c:pt idx="1461">
                  <c:v>628.46879999999999</c:v>
                </c:pt>
                <c:pt idx="1462">
                  <c:v>650.69759999999997</c:v>
                </c:pt>
                <c:pt idx="1463">
                  <c:v>708.62080000000014</c:v>
                </c:pt>
                <c:pt idx="1464">
                  <c:v>816.19159999999999</c:v>
                </c:pt>
                <c:pt idx="1465">
                  <c:v>788.22149999999999</c:v>
                </c:pt>
                <c:pt idx="1466">
                  <c:v>1023.7807999999999</c:v>
                </c:pt>
                <c:pt idx="1467">
                  <c:v>1009.1394000000001</c:v>
                </c:pt>
                <c:pt idx="1468">
                  <c:v>957.42499999999995</c:v>
                </c:pt>
                <c:pt idx="1469">
                  <c:v>1340.2070000000001</c:v>
                </c:pt>
                <c:pt idx="1470">
                  <c:v>421.00509999999991</c:v>
                </c:pt>
                <c:pt idx="1471">
                  <c:v>755.00099999999998</c:v>
                </c:pt>
                <c:pt idx="1472">
                  <c:v>1240.4494999999999</c:v>
                </c:pt>
                <c:pt idx="1473">
                  <c:v>1345.5817500000001</c:v>
                </c:pt>
                <c:pt idx="1474">
                  <c:v>1645.6751999999999</c:v>
                </c:pt>
                <c:pt idx="1475">
                  <c:v>1521.546</c:v>
                </c:pt>
                <c:pt idx="1476">
                  <c:v>948.9597</c:v>
                </c:pt>
                <c:pt idx="1477">
                  <c:v>810.54809999999998</c:v>
                </c:pt>
                <c:pt idx="1478">
                  <c:v>574.92550000000006</c:v>
                </c:pt>
                <c:pt idx="1479">
                  <c:v>640.20500000000004</c:v>
                </c:pt>
                <c:pt idx="1480">
                  <c:v>558.87929999999994</c:v>
                </c:pt>
                <c:pt idx="1481">
                  <c:v>509.25459999999998</c:v>
                </c:pt>
                <c:pt idx="1482">
                  <c:v>697.52</c:v>
                </c:pt>
                <c:pt idx="1483">
                  <c:v>836.54560000000004</c:v>
                </c:pt>
                <c:pt idx="1484">
                  <c:v>721.30160000000001</c:v>
                </c:pt>
                <c:pt idx="1485">
                  <c:v>877.39300000000003</c:v>
                </c:pt>
                <c:pt idx="1486">
                  <c:v>665.28750000000002</c:v>
                </c:pt>
                <c:pt idx="1487">
                  <c:v>1006.9238</c:v>
                </c:pt>
                <c:pt idx="1488">
                  <c:v>782.7817</c:v>
                </c:pt>
                <c:pt idx="1489">
                  <c:v>769.03579999999999</c:v>
                </c:pt>
                <c:pt idx="1490">
                  <c:v>1139.33835</c:v>
                </c:pt>
                <c:pt idx="1491">
                  <c:v>647.00670000000002</c:v>
                </c:pt>
                <c:pt idx="1492">
                  <c:v>603.69539999999995</c:v>
                </c:pt>
                <c:pt idx="1493">
                  <c:v>669.38414999999998</c:v>
                </c:pt>
                <c:pt idx="1494">
                  <c:v>1064.7723000000001</c:v>
                </c:pt>
                <c:pt idx="1495">
                  <c:v>701.28340000000003</c:v>
                </c:pt>
                <c:pt idx="1496">
                  <c:v>950.53530000000001</c:v>
                </c:pt>
                <c:pt idx="1497">
                  <c:v>875.87909999999999</c:v>
                </c:pt>
                <c:pt idx="1498">
                  <c:v>678.21119999999996</c:v>
                </c:pt>
                <c:pt idx="1499">
                  <c:v>645.84844999999996</c:v>
                </c:pt>
                <c:pt idx="1500">
                  <c:v>840.50099999999998</c:v>
                </c:pt>
                <c:pt idx="1501">
                  <c:v>784.22540000000004</c:v>
                </c:pt>
                <c:pt idx="1502">
                  <c:v>742.02829999999994</c:v>
                </c:pt>
                <c:pt idx="1503">
                  <c:v>953.74159999999995</c:v>
                </c:pt>
                <c:pt idx="1504">
                  <c:v>826.89975000000004</c:v>
                </c:pt>
                <c:pt idx="1505">
                  <c:v>678.67020000000002</c:v>
                </c:pt>
                <c:pt idx="1506">
                  <c:v>772.89350000000002</c:v>
                </c:pt>
                <c:pt idx="1507">
                  <c:v>1016.3402</c:v>
                </c:pt>
                <c:pt idx="1508">
                  <c:v>1325.5242000000001</c:v>
                </c:pt>
                <c:pt idx="1509">
                  <c:v>1471.663</c:v>
                </c:pt>
                <c:pt idx="1510">
                  <c:v>758.76075000000003</c:v>
                </c:pt>
                <c:pt idx="1511">
                  <c:v>2567.1748499999999</c:v>
                </c:pt>
                <c:pt idx="1512">
                  <c:v>2313.3951499999998</c:v>
                </c:pt>
                <c:pt idx="1513">
                  <c:v>1462.461</c:v>
                </c:pt>
                <c:pt idx="1514">
                  <c:v>1080.1927499999999</c:v>
                </c:pt>
                <c:pt idx="1515">
                  <c:v>1319.8227999999999</c:v>
                </c:pt>
                <c:pt idx="1516">
                  <c:v>1047.57</c:v>
                </c:pt>
                <c:pt idx="1517">
                  <c:v>878.74725000000001</c:v>
                </c:pt>
                <c:pt idx="1518">
                  <c:v>705.62940000000003</c:v>
                </c:pt>
                <c:pt idx="1519">
                  <c:v>667.25800000000004</c:v>
                </c:pt>
                <c:pt idx="1520">
                  <c:v>934.19100000000003</c:v>
                </c:pt>
                <c:pt idx="1521">
                  <c:v>778.97299999999996</c:v>
                </c:pt>
                <c:pt idx="1522">
                  <c:v>721.74075000000005</c:v>
                </c:pt>
                <c:pt idx="1523">
                  <c:v>534.96450000000004</c:v>
                </c:pt>
                <c:pt idx="1524">
                  <c:v>484.91944999999998</c:v>
                </c:pt>
                <c:pt idx="1525">
                  <c:v>748.70039999999995</c:v>
                </c:pt>
                <c:pt idx="1526">
                  <c:v>1527.4490000000001</c:v>
                </c:pt>
                <c:pt idx="1527">
                  <c:v>1994.5001999999999</c:v>
                </c:pt>
                <c:pt idx="1528">
                  <c:v>1645.3295000000001</c:v>
                </c:pt>
                <c:pt idx="1529">
                  <c:v>1435.5887</c:v>
                </c:pt>
                <c:pt idx="1530">
                  <c:v>881.26599999999996</c:v>
                </c:pt>
                <c:pt idx="1531">
                  <c:v>1354.1248499999999</c:v>
                </c:pt>
                <c:pt idx="1532">
                  <c:v>805.495</c:v>
                </c:pt>
                <c:pt idx="1533">
                  <c:v>786.08159999999998</c:v>
                </c:pt>
                <c:pt idx="1534">
                  <c:v>611.66499999999996</c:v>
                </c:pt>
                <c:pt idx="1535">
                  <c:v>730.98720000000003</c:v>
                </c:pt>
                <c:pt idx="1536">
                  <c:v>827.47559999999999</c:v>
                </c:pt>
                <c:pt idx="1537">
                  <c:v>1212.1410000000001</c:v>
                </c:pt>
                <c:pt idx="1538">
                  <c:v>1003.998</c:v>
                </c:pt>
                <c:pt idx="1539">
                  <c:v>1222.0173</c:v>
                </c:pt>
                <c:pt idx="1540">
                  <c:v>798.57960000000003</c:v>
                </c:pt>
                <c:pt idx="1541">
                  <c:v>850.80240000000003</c:v>
                </c:pt>
                <c:pt idx="1542">
                  <c:v>781.04819999999995</c:v>
                </c:pt>
                <c:pt idx="1543">
                  <c:v>671.04449999999997</c:v>
                </c:pt>
                <c:pt idx="1544">
                  <c:v>743.07309999999995</c:v>
                </c:pt>
                <c:pt idx="1545">
                  <c:v>2978.7349499999996</c:v>
                </c:pt>
                <c:pt idx="1546">
                  <c:v>2012.6375</c:v>
                </c:pt>
                <c:pt idx="1547">
                  <c:v>3095.1333</c:v>
                </c:pt>
                <c:pt idx="1548">
                  <c:v>2233.3168000000001</c:v>
                </c:pt>
                <c:pt idx="1549">
                  <c:v>1574.1214500000001</c:v>
                </c:pt>
                <c:pt idx="1550">
                  <c:v>1221.5214000000001</c:v>
                </c:pt>
                <c:pt idx="1551">
                  <c:v>1350.9529500000001</c:v>
                </c:pt>
                <c:pt idx="1552">
                  <c:v>772.84609999999998</c:v>
                </c:pt>
                <c:pt idx="1553">
                  <c:v>621.34839999999997</c:v>
                </c:pt>
                <c:pt idx="1554">
                  <c:v>681.83600000000001</c:v>
                </c:pt>
                <c:pt idx="1555">
                  <c:v>693.39750000000004</c:v>
                </c:pt>
                <c:pt idx="1556">
                  <c:v>743.82820000000004</c:v>
                </c:pt>
                <c:pt idx="1557">
                  <c:v>1035.2904000000001</c:v>
                </c:pt>
                <c:pt idx="1558">
                  <c:v>816.53144999999995</c:v>
                </c:pt>
                <c:pt idx="1559">
                  <c:v>720.86474999999996</c:v>
                </c:pt>
                <c:pt idx="1560">
                  <c:v>477.56229999999999</c:v>
                </c:pt>
                <c:pt idx="1561">
                  <c:v>590.63324999999998</c:v>
                </c:pt>
                <c:pt idx="1562">
                  <c:v>595.21</c:v>
                </c:pt>
                <c:pt idx="1563">
                  <c:v>923.32659999999998</c:v>
                </c:pt>
                <c:pt idx="1564">
                  <c:v>748.53710000000001</c:v>
                </c:pt>
                <c:pt idx="1565">
                  <c:v>548.57984999999996</c:v>
                </c:pt>
                <c:pt idx="1566">
                  <c:v>660.53539999999998</c:v>
                </c:pt>
                <c:pt idx="1567">
                  <c:v>744.64980000000003</c:v>
                </c:pt>
                <c:pt idx="1568">
                  <c:v>677.27250000000004</c:v>
                </c:pt>
                <c:pt idx="1569">
                  <c:v>1048.8611000000001</c:v>
                </c:pt>
                <c:pt idx="1570">
                  <c:v>876.3587</c:v>
                </c:pt>
                <c:pt idx="1571">
                  <c:v>1107.029</c:v>
                </c:pt>
                <c:pt idx="1572">
                  <c:v>1346.8284000000001</c:v>
                </c:pt>
                <c:pt idx="1573">
                  <c:v>1437.2684999999999</c:v>
                </c:pt>
                <c:pt idx="1574">
                  <c:v>838.89099999999996</c:v>
                </c:pt>
                <c:pt idx="1575">
                  <c:v>995.94960000000003</c:v>
                </c:pt>
                <c:pt idx="1576">
                  <c:v>1326.248</c:v>
                </c:pt>
                <c:pt idx="1577">
                  <c:v>1057.4872</c:v>
                </c:pt>
                <c:pt idx="1578">
                  <c:v>1369.65885</c:v>
                </c:pt>
                <c:pt idx="1579">
                  <c:v>1681.2159999999999</c:v>
                </c:pt>
                <c:pt idx="1580">
                  <c:v>1019.5486000000001</c:v>
                </c:pt>
                <c:pt idx="1581">
                  <c:v>1652.1108999999999</c:v>
                </c:pt>
                <c:pt idx="1582">
                  <c:v>1988.2838999999999</c:v>
                </c:pt>
                <c:pt idx="1583">
                  <c:v>1301.0036</c:v>
                </c:pt>
                <c:pt idx="1584">
                  <c:v>859.29480000000001</c:v>
                </c:pt>
                <c:pt idx="1585">
                  <c:v>1594.1262999999997</c:v>
                </c:pt>
                <c:pt idx="1586">
                  <c:v>2063.1260000000002</c:v>
                </c:pt>
                <c:pt idx="1587">
                  <c:v>1704.4272000000001</c:v>
                </c:pt>
                <c:pt idx="1588">
                  <c:v>1445.7732000000001</c:v>
                </c:pt>
                <c:pt idx="1589">
                  <c:v>1381.9386</c:v>
                </c:pt>
                <c:pt idx="1590">
                  <c:v>1174.9957999999999</c:v>
                </c:pt>
                <c:pt idx="1591">
                  <c:v>2047.0144499999999</c:v>
                </c:pt>
                <c:pt idx="1592">
                  <c:v>3621.9469499999996</c:v>
                </c:pt>
                <c:pt idx="1593">
                  <c:v>2258.4160000000002</c:v>
                </c:pt>
                <c:pt idx="1594">
                  <c:v>2219.4016000000001</c:v>
                </c:pt>
                <c:pt idx="1595">
                  <c:v>1517.3723</c:v>
                </c:pt>
                <c:pt idx="1596">
                  <c:v>1222.0643500000001</c:v>
                </c:pt>
                <c:pt idx="1597">
                  <c:v>1212.211</c:v>
                </c:pt>
                <c:pt idx="1598">
                  <c:v>1205.2887499999999</c:v>
                </c:pt>
                <c:pt idx="1599">
                  <c:v>1275.1419000000001</c:v>
                </c:pt>
                <c:pt idx="1600">
                  <c:v>881.17920000000015</c:v>
                </c:pt>
                <c:pt idx="1601">
                  <c:v>578.04750000000001</c:v>
                </c:pt>
                <c:pt idx="1602">
                  <c:v>1192.5177000000001</c:v>
                </c:pt>
                <c:pt idx="1603">
                  <c:v>1092.4594999999999</c:v>
                </c:pt>
                <c:pt idx="1604">
                  <c:v>882.80640000000005</c:v>
                </c:pt>
                <c:pt idx="1605">
                  <c:v>844.35614999999996</c:v>
                </c:pt>
                <c:pt idx="1606">
                  <c:v>906.49649999999997</c:v>
                </c:pt>
                <c:pt idx="1607">
                  <c:v>776.02859999999998</c:v>
                </c:pt>
                <c:pt idx="1608">
                  <c:v>744.20325000000003</c:v>
                </c:pt>
                <c:pt idx="1609">
                  <c:v>1008.5958000000001</c:v>
                </c:pt>
                <c:pt idx="1610">
                  <c:v>1072.7963999999999</c:v>
                </c:pt>
                <c:pt idx="1611">
                  <c:v>896.64075000000003</c:v>
                </c:pt>
                <c:pt idx="1612">
                  <c:v>787.55439999999999</c:v>
                </c:pt>
                <c:pt idx="1613">
                  <c:v>679.15470000000005</c:v>
                </c:pt>
                <c:pt idx="1614">
                  <c:v>774.86779999999999</c:v>
                </c:pt>
                <c:pt idx="1615">
                  <c:v>856.26880000000006</c:v>
                </c:pt>
                <c:pt idx="1616">
                  <c:v>599.08199999999999</c:v>
                </c:pt>
                <c:pt idx="1617">
                  <c:v>474.71140000000003</c:v>
                </c:pt>
                <c:pt idx="1618">
                  <c:v>586.19045000000006</c:v>
                </c:pt>
                <c:pt idx="1619">
                  <c:v>750.73569999999995</c:v>
                </c:pt>
                <c:pt idx="1620">
                  <c:v>1111.9027000000001</c:v>
                </c:pt>
                <c:pt idx="1621">
                  <c:v>933.98</c:v>
                </c:pt>
                <c:pt idx="1622">
                  <c:v>648.88675000000001</c:v>
                </c:pt>
                <c:pt idx="1623">
                  <c:v>560.34090000000003</c:v>
                </c:pt>
                <c:pt idx="1624">
                  <c:v>701.70439999999996</c:v>
                </c:pt>
                <c:pt idx="1625">
                  <c:v>817.20050000000003</c:v>
                </c:pt>
                <c:pt idx="1626">
                  <c:v>542.66700000000003</c:v>
                </c:pt>
                <c:pt idx="1627">
                  <c:v>602.58204999999998</c:v>
                </c:pt>
                <c:pt idx="1628">
                  <c:v>660.22424999999998</c:v>
                </c:pt>
                <c:pt idx="1629">
                  <c:v>639.20140000000004</c:v>
                </c:pt>
                <c:pt idx="1630">
                  <c:v>713.05020000000002</c:v>
                </c:pt>
                <c:pt idx="1631">
                  <c:v>1174.5419999999999</c:v>
                </c:pt>
                <c:pt idx="1632">
                  <c:v>1290.4164000000001</c:v>
                </c:pt>
                <c:pt idx="1633">
                  <c:v>852.22445000000005</c:v>
                </c:pt>
                <c:pt idx="1634">
                  <c:v>1093.4029</c:v>
                </c:pt>
                <c:pt idx="1635">
                  <c:v>1683.8024000000003</c:v>
                </c:pt>
                <c:pt idx="1636">
                  <c:v>1175.9612999999999</c:v>
                </c:pt>
                <c:pt idx="1637">
                  <c:v>560.04399999999998</c:v>
                </c:pt>
                <c:pt idx="1638">
                  <c:v>877.12315000000001</c:v>
                </c:pt>
                <c:pt idx="1639">
                  <c:v>1698.7752</c:v>
                </c:pt>
                <c:pt idx="1640">
                  <c:v>1523.8331500000002</c:v>
                </c:pt>
                <c:pt idx="1641">
                  <c:v>1174.7338</c:v>
                </c:pt>
                <c:pt idx="1642">
                  <c:v>1178.625</c:v>
                </c:pt>
                <c:pt idx="1643">
                  <c:v>1372.98855</c:v>
                </c:pt>
                <c:pt idx="1644">
                  <c:v>985.58389999999997</c:v>
                </c:pt>
                <c:pt idx="1645">
                  <c:v>705.24919999999986</c:v>
                </c:pt>
                <c:pt idx="1646">
                  <c:v>1197.8175000000001</c:v>
                </c:pt>
                <c:pt idx="1647">
                  <c:v>734.28920000000005</c:v>
                </c:pt>
                <c:pt idx="1648">
                  <c:v>943.66319999999996</c:v>
                </c:pt>
                <c:pt idx="1649">
                  <c:v>782.0625</c:v>
                </c:pt>
                <c:pt idx="1650">
                  <c:v>700.17319999999995</c:v>
                </c:pt>
                <c:pt idx="1651">
                  <c:v>915.95759999999996</c:v>
                </c:pt>
                <c:pt idx="1652">
                  <c:v>848.14364999999998</c:v>
                </c:pt>
                <c:pt idx="1653">
                  <c:v>857.52134999999998</c:v>
                </c:pt>
                <c:pt idx="1654">
                  <c:v>1387.386</c:v>
                </c:pt>
                <c:pt idx="1655">
                  <c:v>865.57425000000001</c:v>
                </c:pt>
                <c:pt idx="1656">
                  <c:v>969.42</c:v>
                </c:pt>
                <c:pt idx="1657">
                  <c:v>769.72574999999995</c:v>
                </c:pt>
                <c:pt idx="1658">
                  <c:v>661.67325000000005</c:v>
                </c:pt>
                <c:pt idx="1659">
                  <c:v>875.7595</c:v>
                </c:pt>
                <c:pt idx="1660">
                  <c:v>684.89959999999996</c:v>
                </c:pt>
                <c:pt idx="1661">
                  <c:v>973.803</c:v>
                </c:pt>
                <c:pt idx="1662">
                  <c:v>1280.0753999999999</c:v>
                </c:pt>
                <c:pt idx="1663">
                  <c:v>949.20164999999997</c:v>
                </c:pt>
                <c:pt idx="1664">
                  <c:v>1152.3316500000001</c:v>
                </c:pt>
                <c:pt idx="1665">
                  <c:v>1954.6320000000001</c:v>
                </c:pt>
                <c:pt idx="1666">
                  <c:v>1114.1928</c:v>
                </c:pt>
                <c:pt idx="1667">
                  <c:v>1322.1395</c:v>
                </c:pt>
                <c:pt idx="1668">
                  <c:v>2138.4425999999999</c:v>
                </c:pt>
                <c:pt idx="1669">
                  <c:v>2084.3953000000001</c:v>
                </c:pt>
                <c:pt idx="1670">
                  <c:v>1394.7707999999998</c:v>
                </c:pt>
                <c:pt idx="1671">
                  <c:v>1149.722</c:v>
                </c:pt>
                <c:pt idx="1672">
                  <c:v>1565.8492499999998</c:v>
                </c:pt>
                <c:pt idx="1673">
                  <c:v>1852.0515</c:v>
                </c:pt>
                <c:pt idx="1674">
                  <c:v>2099.1878000000002</c:v>
                </c:pt>
                <c:pt idx="1675">
                  <c:v>1559.0616</c:v>
                </c:pt>
                <c:pt idx="1676">
                  <c:v>1058.8865000000001</c:v>
                </c:pt>
                <c:pt idx="1677">
                  <c:v>751.66639999999995</c:v>
                </c:pt>
                <c:pt idx="1678">
                  <c:v>868.87519999999995</c:v>
                </c:pt>
                <c:pt idx="1679">
                  <c:v>857.87729999999999</c:v>
                </c:pt>
                <c:pt idx="1680">
                  <c:v>560.09645</c:v>
                </c:pt>
                <c:pt idx="1681">
                  <c:v>421.66</c:v>
                </c:pt>
                <c:pt idx="1682">
                  <c:v>404.30085000000003</c:v>
                </c:pt>
                <c:pt idx="1683">
                  <c:v>451.3313</c:v>
                </c:pt>
                <c:pt idx="1684">
                  <c:v>809.38739999999996</c:v>
                </c:pt>
                <c:pt idx="1685">
                  <c:v>539.55949999999996</c:v>
                </c:pt>
                <c:pt idx="1686">
                  <c:v>466.60494999999997</c:v>
                </c:pt>
                <c:pt idx="1687">
                  <c:v>536.65650000000005</c:v>
                </c:pt>
                <c:pt idx="1688">
                  <c:v>716.43600000000004</c:v>
                </c:pt>
                <c:pt idx="1689">
                  <c:v>609.26639999999998</c:v>
                </c:pt>
                <c:pt idx="1690">
                  <c:v>770.46900000000005</c:v>
                </c:pt>
                <c:pt idx="1691">
                  <c:v>800.86320000000001</c:v>
                </c:pt>
                <c:pt idx="1692">
                  <c:v>484.29289999999997</c:v>
                </c:pt>
                <c:pt idx="1693">
                  <c:v>517.21905000000004</c:v>
                </c:pt>
                <c:pt idx="1694">
                  <c:v>716.94425000000001</c:v>
                </c:pt>
                <c:pt idx="1695">
                  <c:v>619.1703</c:v>
                </c:pt>
                <c:pt idx="1696">
                  <c:v>759.60289999999998</c:v>
                </c:pt>
                <c:pt idx="1697">
                  <c:v>807.9357</c:v>
                </c:pt>
                <c:pt idx="1698">
                  <c:v>904.24900000000002</c:v>
                </c:pt>
                <c:pt idx="1699">
                  <c:v>1659.2997499999999</c:v>
                </c:pt>
                <c:pt idx="1700">
                  <c:v>1297.8146999999999</c:v>
                </c:pt>
                <c:pt idx="1701">
                  <c:v>556.03599999999994</c:v>
                </c:pt>
                <c:pt idx="1702">
                  <c:v>524.20095000000003</c:v>
                </c:pt>
                <c:pt idx="1703">
                  <c:v>566.91250000000002</c:v>
                </c:pt>
                <c:pt idx="1704">
                  <c:v>437.29989999999998</c:v>
                </c:pt>
                <c:pt idx="1705">
                  <c:v>357.46875</c:v>
                </c:pt>
                <c:pt idx="1706">
                  <c:v>734.93420000000003</c:v>
                </c:pt>
                <c:pt idx="1707">
                  <c:v>1222.0297499999999</c:v>
                </c:pt>
                <c:pt idx="1708">
                  <c:v>1249.39725</c:v>
                </c:pt>
                <c:pt idx="1709">
                  <c:v>871.35585000000003</c:v>
                </c:pt>
                <c:pt idx="1710">
                  <c:v>727.26930000000004</c:v>
                </c:pt>
                <c:pt idx="1711">
                  <c:v>614.84500000000003</c:v>
                </c:pt>
                <c:pt idx="1712">
                  <c:v>674.42669999999998</c:v>
                </c:pt>
                <c:pt idx="1713">
                  <c:v>1352.6369</c:v>
                </c:pt>
                <c:pt idx="1714">
                  <c:v>1722.6902</c:v>
                </c:pt>
                <c:pt idx="1715">
                  <c:v>743.98450000000003</c:v>
                </c:pt>
                <c:pt idx="1716">
                  <c:v>1198.827</c:v>
                </c:pt>
                <c:pt idx="1717">
                  <c:v>1408.6433999999999</c:v>
                </c:pt>
                <c:pt idx="1718">
                  <c:v>2134.1680000000001</c:v>
                </c:pt>
                <c:pt idx="1719">
                  <c:v>1201.9654499999999</c:v>
                </c:pt>
                <c:pt idx="1720">
                  <c:v>846.20645000000002</c:v>
                </c:pt>
                <c:pt idx="1721">
                  <c:v>621.76089999999999</c:v>
                </c:pt>
                <c:pt idx="1722">
                  <c:v>591.04719999999998</c:v>
                </c:pt>
                <c:pt idx="1723">
                  <c:v>636.90200000000004</c:v>
                </c:pt>
                <c:pt idx="1724">
                  <c:v>748.25289999999995</c:v>
                </c:pt>
                <c:pt idx="1725">
                  <c:v>519.63760000000002</c:v>
                </c:pt>
                <c:pt idx="1726">
                  <c:v>650.65589999999997</c:v>
                </c:pt>
                <c:pt idx="1727">
                  <c:v>989.85360000000003</c:v>
                </c:pt>
                <c:pt idx="1728">
                  <c:v>675.08844999999997</c:v>
                </c:pt>
                <c:pt idx="1729">
                  <c:v>745.77670000000001</c:v>
                </c:pt>
                <c:pt idx="1730">
                  <c:v>560.96040000000005</c:v>
                </c:pt>
                <c:pt idx="1731">
                  <c:v>683.04089999999997</c:v>
                </c:pt>
                <c:pt idx="1732">
                  <c:v>648.90734999999995</c:v>
                </c:pt>
                <c:pt idx="1733">
                  <c:v>728.18025</c:v>
                </c:pt>
                <c:pt idx="1734">
                  <c:v>1226.8476000000001</c:v>
                </c:pt>
                <c:pt idx="1735">
                  <c:v>913.59400000000005</c:v>
                </c:pt>
                <c:pt idx="1736">
                  <c:v>508.23435000000001</c:v>
                </c:pt>
                <c:pt idx="1737">
                  <c:v>692.47325000000001</c:v>
                </c:pt>
                <c:pt idx="1738">
                  <c:v>896.98050000000001</c:v>
                </c:pt>
                <c:pt idx="1739">
                  <c:v>929.3451</c:v>
                </c:pt>
                <c:pt idx="1740">
                  <c:v>920.26324999999997</c:v>
                </c:pt>
                <c:pt idx="1741">
                  <c:v>1369.6751999999999</c:v>
                </c:pt>
                <c:pt idx="1742">
                  <c:v>2856.7080000000001</c:v>
                </c:pt>
                <c:pt idx="1743">
                  <c:v>3329.9630000000006</c:v>
                </c:pt>
                <c:pt idx="1744">
                  <c:v>1819.1512</c:v>
                </c:pt>
                <c:pt idx="1745">
                  <c:v>2953.8203999999996</c:v>
                </c:pt>
                <c:pt idx="1746">
                  <c:v>2000.9303999999997</c:v>
                </c:pt>
                <c:pt idx="1747">
                  <c:v>2915.1936000000001</c:v>
                </c:pt>
                <c:pt idx="1748">
                  <c:v>3220.4735999999998</c:v>
                </c:pt>
                <c:pt idx="1749">
                  <c:v>2334.6442999999999</c:v>
                </c:pt>
                <c:pt idx="1750">
                  <c:v>2430.7478000000001</c:v>
                </c:pt>
                <c:pt idx="1751">
                  <c:v>1750.7280000000001</c:v>
                </c:pt>
                <c:pt idx="1752">
                  <c:v>1651.308</c:v>
                </c:pt>
                <c:pt idx="1753">
                  <c:v>1081.0707</c:v>
                </c:pt>
                <c:pt idx="1754">
                  <c:v>1164.04225</c:v>
                </c:pt>
                <c:pt idx="1755">
                  <c:v>847.65390000000002</c:v>
                </c:pt>
                <c:pt idx="1756">
                  <c:v>967.93619999999999</c:v>
                </c:pt>
                <c:pt idx="1757">
                  <c:v>1213.3086000000001</c:v>
                </c:pt>
                <c:pt idx="1758">
                  <c:v>1108.3439000000001</c:v>
                </c:pt>
                <c:pt idx="1759">
                  <c:v>1956.4467999999999</c:v>
                </c:pt>
                <c:pt idx="1760">
                  <c:v>1168.5219</c:v>
                </c:pt>
                <c:pt idx="1761">
                  <c:v>1093.2846</c:v>
                </c:pt>
                <c:pt idx="1762">
                  <c:v>831.40499999999997</c:v>
                </c:pt>
                <c:pt idx="1763">
                  <c:v>858.49329999999998</c:v>
                </c:pt>
                <c:pt idx="1764">
                  <c:v>1176.9983999999999</c:v>
                </c:pt>
                <c:pt idx="1765">
                  <c:v>1007.17</c:v>
                </c:pt>
                <c:pt idx="1766">
                  <c:v>1335.5340000000001</c:v>
                </c:pt>
                <c:pt idx="1767">
                  <c:v>1908.9502000000002</c:v>
                </c:pt>
                <c:pt idx="1768">
                  <c:v>1224.8063</c:v>
                </c:pt>
                <c:pt idx="1769">
                  <c:v>910.87860000000001</c:v>
                </c:pt>
                <c:pt idx="1770">
                  <c:v>668.22</c:v>
                </c:pt>
                <c:pt idx="1771">
                  <c:v>1196.0264999999999</c:v>
                </c:pt>
                <c:pt idx="1772">
                  <c:v>914.48099999999999</c:v>
                </c:pt>
                <c:pt idx="1773">
                  <c:v>1046.6394</c:v>
                </c:pt>
                <c:pt idx="1774">
                  <c:v>862.35389999999995</c:v>
                </c:pt>
                <c:pt idx="1775">
                  <c:v>1767.8170000000002</c:v>
                </c:pt>
                <c:pt idx="1776">
                  <c:v>1958.1894000000002</c:v>
                </c:pt>
                <c:pt idx="1777">
                  <c:v>1339.3841</c:v>
                </c:pt>
                <c:pt idx="1778">
                  <c:v>1476.9612</c:v>
                </c:pt>
                <c:pt idx="1779">
                  <c:v>1738.96</c:v>
                </c:pt>
                <c:pt idx="1780">
                  <c:v>975.19275000000005</c:v>
                </c:pt>
                <c:pt idx="1781">
                  <c:v>1277.52</c:v>
                </c:pt>
                <c:pt idx="1782">
                  <c:v>1143.8702000000001</c:v>
                </c:pt>
                <c:pt idx="1783">
                  <c:v>1034.3631</c:v>
                </c:pt>
                <c:pt idx="1784">
                  <c:v>1193.9594999999999</c:v>
                </c:pt>
                <c:pt idx="1785">
                  <c:v>1157.23125</c:v>
                </c:pt>
                <c:pt idx="1786">
                  <c:v>1038.9287999999999</c:v>
                </c:pt>
                <c:pt idx="1787">
                  <c:v>782.42174999999997</c:v>
                </c:pt>
                <c:pt idx="1788">
                  <c:v>717.32950000000005</c:v>
                </c:pt>
                <c:pt idx="1789">
                  <c:v>616.87919999999997</c:v>
                </c:pt>
                <c:pt idx="1790">
                  <c:v>546.35450000000003</c:v>
                </c:pt>
                <c:pt idx="1791">
                  <c:v>1212.9331500000001</c:v>
                </c:pt>
                <c:pt idx="1792">
                  <c:v>1185.3315</c:v>
                </c:pt>
                <c:pt idx="1793">
                  <c:v>991.82505000000003</c:v>
                </c:pt>
                <c:pt idx="1794">
                  <c:v>755.36300000000006</c:v>
                </c:pt>
                <c:pt idx="1795">
                  <c:v>1645.02395</c:v>
                </c:pt>
                <c:pt idx="1796">
                  <c:v>1779.4520999999997</c:v>
                </c:pt>
                <c:pt idx="1797">
                  <c:v>1687.5274499999998</c:v>
                </c:pt>
                <c:pt idx="1798">
                  <c:v>2183.4414000000002</c:v>
                </c:pt>
                <c:pt idx="1799">
                  <c:v>1472.817</c:v>
                </c:pt>
                <c:pt idx="1800">
                  <c:v>1102.0463999999999</c:v>
                </c:pt>
                <c:pt idx="1801">
                  <c:v>767.52059999999994</c:v>
                </c:pt>
                <c:pt idx="1802">
                  <c:v>798.87125000000003</c:v>
                </c:pt>
                <c:pt idx="1803">
                  <c:v>727.08019999999999</c:v>
                </c:pt>
                <c:pt idx="1804">
                  <c:v>1162.1434999999999</c:v>
                </c:pt>
                <c:pt idx="1805">
                  <c:v>1082.1251999999999</c:v>
                </c:pt>
                <c:pt idx="1806">
                  <c:v>958.78560000000004</c:v>
                </c:pt>
                <c:pt idx="1807">
                  <c:v>771.13499999999999</c:v>
                </c:pt>
                <c:pt idx="1808">
                  <c:v>792.67499999999995</c:v>
                </c:pt>
                <c:pt idx="1809">
                  <c:v>557.52819999999997</c:v>
                </c:pt>
                <c:pt idx="1810">
                  <c:v>823.23990000000003</c:v>
                </c:pt>
                <c:pt idx="1811">
                  <c:v>695.93820000000005</c:v>
                </c:pt>
                <c:pt idx="1812">
                  <c:v>739.12249999999995</c:v>
                </c:pt>
                <c:pt idx="1813">
                  <c:v>872.81280000000004</c:v>
                </c:pt>
                <c:pt idx="1814">
                  <c:v>855.96019999999999</c:v>
                </c:pt>
                <c:pt idx="1815">
                  <c:v>790.80425000000002</c:v>
                </c:pt>
                <c:pt idx="1816">
                  <c:v>733.779</c:v>
                </c:pt>
                <c:pt idx="1817">
                  <c:v>479.4255</c:v>
                </c:pt>
                <c:pt idx="1818">
                  <c:v>867.31849999999997</c:v>
                </c:pt>
                <c:pt idx="1819">
                  <c:v>1442.8154999999999</c:v>
                </c:pt>
                <c:pt idx="1820">
                  <c:v>894.58759999999995</c:v>
                </c:pt>
                <c:pt idx="1821">
                  <c:v>694.41084999999998</c:v>
                </c:pt>
                <c:pt idx="1822">
                  <c:v>1434.3119999999999</c:v>
                </c:pt>
                <c:pt idx="1823">
                  <c:v>924.52290000000005</c:v>
                </c:pt>
                <c:pt idx="1824">
                  <c:v>647.62070000000006</c:v>
                </c:pt>
                <c:pt idx="1825">
                  <c:v>310.26190000000003</c:v>
                </c:pt>
                <c:pt idx="1826">
                  <c:v>700.26080000000002</c:v>
                </c:pt>
                <c:pt idx="1827">
                  <c:v>881.44574999999998</c:v>
                </c:pt>
                <c:pt idx="1828">
                  <c:v>609.32619999999997</c:v>
                </c:pt>
                <c:pt idx="1829">
                  <c:v>389.0915</c:v>
                </c:pt>
                <c:pt idx="1830">
                  <c:v>513.99480000000005</c:v>
                </c:pt>
                <c:pt idx="1831">
                  <c:v>559.7704</c:v>
                </c:pt>
                <c:pt idx="1832">
                  <c:v>611.83320000000003</c:v>
                </c:pt>
                <c:pt idx="1833">
                  <c:v>1081.2334499999999</c:v>
                </c:pt>
                <c:pt idx="1834">
                  <c:v>1005.528</c:v>
                </c:pt>
                <c:pt idx="1835">
                  <c:v>693.10640000000001</c:v>
                </c:pt>
                <c:pt idx="1836">
                  <c:v>577.50829999999996</c:v>
                </c:pt>
                <c:pt idx="1837">
                  <c:v>752.3125</c:v>
                </c:pt>
                <c:pt idx="1838">
                  <c:v>1202.586</c:v>
                </c:pt>
                <c:pt idx="1839">
                  <c:v>1036.5732</c:v>
                </c:pt>
                <c:pt idx="1840">
                  <c:v>772.91039999999998</c:v>
                </c:pt>
                <c:pt idx="1841">
                  <c:v>1236.6737000000001</c:v>
                </c:pt>
                <c:pt idx="1842">
                  <c:v>1266.7107000000001</c:v>
                </c:pt>
                <c:pt idx="1843">
                  <c:v>790.14400000000001</c:v>
                </c:pt>
                <c:pt idx="1844">
                  <c:v>628.79759999999999</c:v>
                </c:pt>
                <c:pt idx="1845">
                  <c:v>751.08600000000001</c:v>
                </c:pt>
                <c:pt idx="1846">
                  <c:v>1048.8646000000001</c:v>
                </c:pt>
                <c:pt idx="1847">
                  <c:v>964.7396</c:v>
                </c:pt>
                <c:pt idx="1848">
                  <c:v>886.53300000000002</c:v>
                </c:pt>
                <c:pt idx="1849">
                  <c:v>539.10505000000001</c:v>
                </c:pt>
                <c:pt idx="1850">
                  <c:v>620.93129999999996</c:v>
                </c:pt>
                <c:pt idx="1851">
                  <c:v>770.08029999999997</c:v>
                </c:pt>
                <c:pt idx="1852">
                  <c:v>519.20359999999994</c:v>
                </c:pt>
                <c:pt idx="1853">
                  <c:v>458.30020000000002</c:v>
                </c:pt>
                <c:pt idx="1854">
                  <c:v>599.59034999999994</c:v>
                </c:pt>
                <c:pt idx="1855">
                  <c:v>1095.2424000000001</c:v>
                </c:pt>
                <c:pt idx="1856">
                  <c:v>959.8365</c:v>
                </c:pt>
                <c:pt idx="1857">
                  <c:v>1376.8820000000001</c:v>
                </c:pt>
                <c:pt idx="1858">
                  <c:v>737.56320000000005</c:v>
                </c:pt>
                <c:pt idx="1859">
                  <c:v>759.82349999999997</c:v>
                </c:pt>
                <c:pt idx="1860">
                  <c:v>1101.308</c:v>
                </c:pt>
                <c:pt idx="1861">
                  <c:v>1032.3576</c:v>
                </c:pt>
                <c:pt idx="1862">
                  <c:v>2665.6637999999998</c:v>
                </c:pt>
                <c:pt idx="1863">
                  <c:v>1356.94</c:v>
                </c:pt>
                <c:pt idx="1864">
                  <c:v>1122.2634</c:v>
                </c:pt>
                <c:pt idx="1865">
                  <c:v>801.26800000000003</c:v>
                </c:pt>
                <c:pt idx="1866">
                  <c:v>828.85770000000002</c:v>
                </c:pt>
                <c:pt idx="1867">
                  <c:v>692.88120000000004</c:v>
                </c:pt>
                <c:pt idx="1868">
                  <c:v>942.54300000000001</c:v>
                </c:pt>
                <c:pt idx="1869">
                  <c:v>910.8972</c:v>
                </c:pt>
                <c:pt idx="1870">
                  <c:v>886.23395000000005</c:v>
                </c:pt>
                <c:pt idx="1871">
                  <c:v>1266.4101000000001</c:v>
                </c:pt>
                <c:pt idx="1872">
                  <c:v>2510.5232000000001</c:v>
                </c:pt>
                <c:pt idx="1873">
                  <c:v>3815.2294499999998</c:v>
                </c:pt>
                <c:pt idx="1874">
                  <c:v>1761.3791000000001</c:v>
                </c:pt>
                <c:pt idx="1875">
                  <c:v>2515.4594000000002</c:v>
                </c:pt>
                <c:pt idx="1876">
                  <c:v>1887.0246</c:v>
                </c:pt>
                <c:pt idx="1877">
                  <c:v>2266.7143500000002</c:v>
                </c:pt>
                <c:pt idx="1878">
                  <c:v>1603.44</c:v>
                </c:pt>
                <c:pt idx="1879">
                  <c:v>1085.1804</c:v>
                </c:pt>
                <c:pt idx="1880">
                  <c:v>993.37255000000005</c:v>
                </c:pt>
                <c:pt idx="1881">
                  <c:v>896.31894999999997</c:v>
                </c:pt>
                <c:pt idx="1882">
                  <c:v>790.97304999999994</c:v>
                </c:pt>
                <c:pt idx="1883">
                  <c:v>1572.924</c:v>
                </c:pt>
                <c:pt idx="1884">
                  <c:v>939.47400000000005</c:v>
                </c:pt>
                <c:pt idx="1885">
                  <c:v>873.57150000000001</c:v>
                </c:pt>
                <c:pt idx="1886">
                  <c:v>936.54899999999998</c:v>
                </c:pt>
                <c:pt idx="1887">
                  <c:v>615.42179999999996</c:v>
                </c:pt>
                <c:pt idx="1888">
                  <c:v>942.69150000000002</c:v>
                </c:pt>
                <c:pt idx="1889">
                  <c:v>530.80934999999999</c:v>
                </c:pt>
                <c:pt idx="1890">
                  <c:v>557.36800000000005</c:v>
                </c:pt>
                <c:pt idx="1891">
                  <c:v>385.93110000000001</c:v>
                </c:pt>
                <c:pt idx="1892">
                  <c:v>551.16719999999998</c:v>
                </c:pt>
                <c:pt idx="1893">
                  <c:v>506.61180000000002</c:v>
                </c:pt>
                <c:pt idx="1894">
                  <c:v>537.41875000000005</c:v>
                </c:pt>
                <c:pt idx="1895">
                  <c:v>620.60850000000005</c:v>
                </c:pt>
                <c:pt idx="1896">
                  <c:v>855.89930000000004</c:v>
                </c:pt>
                <c:pt idx="1897">
                  <c:v>676.77719999999999</c:v>
                </c:pt>
                <c:pt idx="1898">
                  <c:v>470.1069</c:v>
                </c:pt>
                <c:pt idx="1899">
                  <c:v>857.61969999999997</c:v>
                </c:pt>
                <c:pt idx="1900">
                  <c:v>854.92110000000002</c:v>
                </c:pt>
                <c:pt idx="1901">
                  <c:v>825.92669999999998</c:v>
                </c:pt>
                <c:pt idx="1902">
                  <c:v>1276.796</c:v>
                </c:pt>
                <c:pt idx="1903">
                  <c:v>1174.124</c:v>
                </c:pt>
                <c:pt idx="1904">
                  <c:v>1450.5840000000001</c:v>
                </c:pt>
                <c:pt idx="1905">
                  <c:v>1358.652</c:v>
                </c:pt>
                <c:pt idx="1906">
                  <c:v>648.84304999999995</c:v>
                </c:pt>
                <c:pt idx="1907">
                  <c:v>994.6884</c:v>
                </c:pt>
                <c:pt idx="1908">
                  <c:v>1333.9672</c:v>
                </c:pt>
                <c:pt idx="1909">
                  <c:v>1514.2819999999999</c:v>
                </c:pt>
                <c:pt idx="1910">
                  <c:v>1041.0436500000001</c:v>
                </c:pt>
                <c:pt idx="1911">
                  <c:v>2528.7584000000002</c:v>
                </c:pt>
                <c:pt idx="1912">
                  <c:v>1533.0505499999999</c:v>
                </c:pt>
                <c:pt idx="1913">
                  <c:v>1651.3575000000001</c:v>
                </c:pt>
                <c:pt idx="1914">
                  <c:v>1396.095</c:v>
                </c:pt>
                <c:pt idx="1915">
                  <c:v>1893.4928999999997</c:v>
                </c:pt>
                <c:pt idx="1916">
                  <c:v>1757.0307499999999</c:v>
                </c:pt>
                <c:pt idx="1917">
                  <c:v>1404.1759999999999</c:v>
                </c:pt>
                <c:pt idx="1918">
                  <c:v>1086.48225</c:v>
                </c:pt>
                <c:pt idx="1919">
                  <c:v>1666.2582000000002</c:v>
                </c:pt>
                <c:pt idx="1920">
                  <c:v>1605.1692499999999</c:v>
                </c:pt>
                <c:pt idx="1921">
                  <c:v>2828.7292000000002</c:v>
                </c:pt>
                <c:pt idx="1922">
                  <c:v>3868.5239999999999</c:v>
                </c:pt>
                <c:pt idx="1923">
                  <c:v>4351.3924999999999</c:v>
                </c:pt>
                <c:pt idx="1924">
                  <c:v>4361.8927000000003</c:v>
                </c:pt>
                <c:pt idx="1925">
                  <c:v>7505.7144500000004</c:v>
                </c:pt>
                <c:pt idx="1926">
                  <c:v>4005.5037000000002</c:v>
                </c:pt>
                <c:pt idx="1927">
                  <c:v>2484.55305</c:v>
                </c:pt>
                <c:pt idx="1928">
                  <c:v>1820.5389</c:v>
                </c:pt>
                <c:pt idx="1929">
                  <c:v>1837.4139</c:v>
                </c:pt>
                <c:pt idx="1930">
                  <c:v>2528.7148000000002</c:v>
                </c:pt>
                <c:pt idx="1931">
                  <c:v>2479.09</c:v>
                </c:pt>
                <c:pt idx="1932">
                  <c:v>1767.1900499999999</c:v>
                </c:pt>
                <c:pt idx="1933">
                  <c:v>1404.9177</c:v>
                </c:pt>
                <c:pt idx="1934">
                  <c:v>1366.1197999999999</c:v>
                </c:pt>
                <c:pt idx="1935">
                  <c:v>1777.7920999999999</c:v>
                </c:pt>
                <c:pt idx="1936">
                  <c:v>1310.0234</c:v>
                </c:pt>
                <c:pt idx="1937">
                  <c:v>1008.04</c:v>
                </c:pt>
                <c:pt idx="1938">
                  <c:v>721.00379999999996</c:v>
                </c:pt>
                <c:pt idx="1939">
                  <c:v>880.35654999999997</c:v>
                </c:pt>
                <c:pt idx="1940">
                  <c:v>722.72609999999997</c:v>
                </c:pt>
                <c:pt idx="1941">
                  <c:v>871.99270000000001</c:v>
                </c:pt>
                <c:pt idx="1942">
                  <c:v>733.93200000000002</c:v>
                </c:pt>
                <c:pt idx="1943">
                  <c:v>862.48400000000004</c:v>
                </c:pt>
                <c:pt idx="1944">
                  <c:v>557.6268</c:v>
                </c:pt>
                <c:pt idx="1945">
                  <c:v>596.04480000000001</c:v>
                </c:pt>
                <c:pt idx="1946">
                  <c:v>855.61350000000004</c:v>
                </c:pt>
                <c:pt idx="1947">
                  <c:v>608.54044999999996</c:v>
                </c:pt>
                <c:pt idx="1948">
                  <c:v>890.94470000000001</c:v>
                </c:pt>
                <c:pt idx="1949">
                  <c:v>987.90570000000002</c:v>
                </c:pt>
                <c:pt idx="1950">
                  <c:v>900.55</c:v>
                </c:pt>
                <c:pt idx="1951">
                  <c:v>706.36874999999998</c:v>
                </c:pt>
                <c:pt idx="1952">
                  <c:v>818.60220000000004</c:v>
                </c:pt>
                <c:pt idx="1953">
                  <c:v>628.60365000000002</c:v>
                </c:pt>
                <c:pt idx="1954">
                  <c:v>701.09955000000002</c:v>
                </c:pt>
                <c:pt idx="1955">
                  <c:v>547.15440000000001</c:v>
                </c:pt>
                <c:pt idx="1956">
                  <c:v>794.35619999999994</c:v>
                </c:pt>
                <c:pt idx="1957">
                  <c:v>1105.9931999999999</c:v>
                </c:pt>
                <c:pt idx="1958">
                  <c:v>935.42700000000002</c:v>
                </c:pt>
                <c:pt idx="1959">
                  <c:v>613.96124999999995</c:v>
                </c:pt>
                <c:pt idx="1960">
                  <c:v>897.6825</c:v>
                </c:pt>
                <c:pt idx="1961">
                  <c:v>806.41200000000003</c:v>
                </c:pt>
                <c:pt idx="1962">
                  <c:v>1084.4777999999999</c:v>
                </c:pt>
                <c:pt idx="1963">
                  <c:v>1598.174</c:v>
                </c:pt>
                <c:pt idx="1964">
                  <c:v>2609.3910000000001</c:v>
                </c:pt>
                <c:pt idx="1965">
                  <c:v>2728.1867000000002</c:v>
                </c:pt>
                <c:pt idx="1966">
                  <c:v>2727.2420000000002</c:v>
                </c:pt>
                <c:pt idx="1967">
                  <c:v>3040.0124999999998</c:v>
                </c:pt>
                <c:pt idx="1968">
                  <c:v>3554.3634000000006</c:v>
                </c:pt>
                <c:pt idx="1969">
                  <c:v>2960.5580500000001</c:v>
                </c:pt>
                <c:pt idx="1970">
                  <c:v>2213.8636000000001</c:v>
                </c:pt>
                <c:pt idx="1971">
                  <c:v>1806.5318</c:v>
                </c:pt>
                <c:pt idx="1972">
                  <c:v>1048.4570249999999</c:v>
                </c:pt>
                <c:pt idx="1973">
                  <c:v>956.48734999999999</c:v>
                </c:pt>
                <c:pt idx="1974">
                  <c:v>437.62070000000006</c:v>
                </c:pt>
                <c:pt idx="1975">
                  <c:v>473.120025</c:v>
                </c:pt>
                <c:pt idx="1976">
                  <c:v>752.26177499999994</c:v>
                </c:pt>
                <c:pt idx="1977">
                  <c:v>761.69295</c:v>
                </c:pt>
                <c:pt idx="1978">
                  <c:v>1381.454025</c:v>
                </c:pt>
                <c:pt idx="1979">
                  <c:v>1859.3079250000001</c:v>
                </c:pt>
                <c:pt idx="1980">
                  <c:v>2085.9446250000001</c:v>
                </c:pt>
                <c:pt idx="1981">
                  <c:v>2621.1547500000001</c:v>
                </c:pt>
                <c:pt idx="1982">
                  <c:v>1737.4610500000003</c:v>
                </c:pt>
                <c:pt idx="1983">
                  <c:v>1439.9999250000001</c:v>
                </c:pt>
                <c:pt idx="1984">
                  <c:v>1805.2840000000001</c:v>
                </c:pt>
                <c:pt idx="1985">
                  <c:v>1696.48695</c:v>
                </c:pt>
                <c:pt idx="1986">
                  <c:v>2073.1426499999998</c:v>
                </c:pt>
                <c:pt idx="1987">
                  <c:v>2586.6066999999998</c:v>
                </c:pt>
                <c:pt idx="1988">
                  <c:v>2282.0623500000002</c:v>
                </c:pt>
                <c:pt idx="1989">
                  <c:v>1571.7281250000001</c:v>
                </c:pt>
                <c:pt idx="1990">
                  <c:v>1806.3797500000001</c:v>
                </c:pt>
                <c:pt idx="1991">
                  <c:v>1867.6246249999999</c:v>
                </c:pt>
                <c:pt idx="1992">
                  <c:v>1837.3176249999999</c:v>
                </c:pt>
                <c:pt idx="1993">
                  <c:v>1367.7247500000001</c:v>
                </c:pt>
                <c:pt idx="1994">
                  <c:v>1138.658625</c:v>
                </c:pt>
                <c:pt idx="1995">
                  <c:v>1619.4392499999999</c:v>
                </c:pt>
                <c:pt idx="1996">
                  <c:v>2452.9868999999999</c:v>
                </c:pt>
                <c:pt idx="1997">
                  <c:v>2066.184925</c:v>
                </c:pt>
                <c:pt idx="1998">
                  <c:v>2068.8389749999997</c:v>
                </c:pt>
                <c:pt idx="1999">
                  <c:v>1841.9147250000003</c:v>
                </c:pt>
                <c:pt idx="2000">
                  <c:v>1491.578</c:v>
                </c:pt>
                <c:pt idx="2001">
                  <c:v>1527.994475</c:v>
                </c:pt>
                <c:pt idx="2002">
                  <c:v>1230.1035750000001</c:v>
                </c:pt>
                <c:pt idx="2003">
                  <c:v>1842.8325500000001</c:v>
                </c:pt>
                <c:pt idx="2004">
                  <c:v>1021.854125</c:v>
                </c:pt>
                <c:pt idx="2005">
                  <c:v>975.44754999999998</c:v>
                </c:pt>
                <c:pt idx="2006">
                  <c:v>1205.10555</c:v>
                </c:pt>
                <c:pt idx="2007">
                  <c:v>1282.651875</c:v>
                </c:pt>
                <c:pt idx="2008">
                  <c:v>906.03150000000005</c:v>
                </c:pt>
                <c:pt idx="2009">
                  <c:v>1279.106</c:v>
                </c:pt>
                <c:pt idx="2010">
                  <c:v>1124.4090000000001</c:v>
                </c:pt>
                <c:pt idx="2011">
                  <c:v>915.12525000000005</c:v>
                </c:pt>
                <c:pt idx="2012">
                  <c:v>1290.9036000000001</c:v>
                </c:pt>
                <c:pt idx="2013">
                  <c:v>618.56932500000005</c:v>
                </c:pt>
                <c:pt idx="2014">
                  <c:v>1192.2663749999999</c:v>
                </c:pt>
                <c:pt idx="2015">
                  <c:v>1296.5237999999999</c:v>
                </c:pt>
                <c:pt idx="2016">
                  <c:v>962.15702499999986</c:v>
                </c:pt>
                <c:pt idx="2017">
                  <c:v>879.14205000000004</c:v>
                </c:pt>
                <c:pt idx="2018">
                  <c:v>742.91002500000002</c:v>
                </c:pt>
                <c:pt idx="2019">
                  <c:v>979.32777499999997</c:v>
                </c:pt>
                <c:pt idx="2020">
                  <c:v>1043.4481000000001</c:v>
                </c:pt>
                <c:pt idx="2021">
                  <c:v>813.17515000000003</c:v>
                </c:pt>
                <c:pt idx="2022">
                  <c:v>1440.0012000000002</c:v>
                </c:pt>
                <c:pt idx="2023">
                  <c:v>813.48412499999995</c:v>
                </c:pt>
                <c:pt idx="2024">
                  <c:v>1315.157125</c:v>
                </c:pt>
                <c:pt idx="2025">
                  <c:v>1065.4696000000001</c:v>
                </c:pt>
                <c:pt idx="2026">
                  <c:v>879.20512499999995</c:v>
                </c:pt>
                <c:pt idx="2027">
                  <c:v>1057.9671000000001</c:v>
                </c:pt>
                <c:pt idx="2028">
                  <c:v>1044.568125</c:v>
                </c:pt>
                <c:pt idx="2029">
                  <c:v>1035.254625</c:v>
                </c:pt>
                <c:pt idx="2030">
                  <c:v>1652.7643999999998</c:v>
                </c:pt>
                <c:pt idx="2031">
                  <c:v>1142.2410500000001</c:v>
                </c:pt>
                <c:pt idx="2032">
                  <c:v>1566.661975</c:v>
                </c:pt>
                <c:pt idx="2033">
                  <c:v>783.30259999999998</c:v>
                </c:pt>
                <c:pt idx="2034">
                  <c:v>1175.1468749999999</c:v>
                </c:pt>
                <c:pt idx="2035">
                  <c:v>1445.9864250000001</c:v>
                </c:pt>
                <c:pt idx="2036">
                  <c:v>1586.4107000000001</c:v>
                </c:pt>
                <c:pt idx="2037">
                  <c:v>883.38635000000011</c:v>
                </c:pt>
                <c:pt idx="2038">
                  <c:v>832.54139999999995</c:v>
                </c:pt>
                <c:pt idx="2039">
                  <c:v>885.11587499999985</c:v>
                </c:pt>
                <c:pt idx="2040">
                  <c:v>1166.5559000000001</c:v>
                </c:pt>
                <c:pt idx="2041">
                  <c:v>762.78125</c:v>
                </c:pt>
                <c:pt idx="2042">
                  <c:v>747.29882499999997</c:v>
                </c:pt>
                <c:pt idx="2043">
                  <c:v>765.70519999999999</c:v>
                </c:pt>
                <c:pt idx="2044">
                  <c:v>972.62377500000002</c:v>
                </c:pt>
                <c:pt idx="2045">
                  <c:v>935.3682</c:v>
                </c:pt>
                <c:pt idx="2046">
                  <c:v>951.75194999999997</c:v>
                </c:pt>
                <c:pt idx="2047">
                  <c:v>1437.313975</c:v>
                </c:pt>
                <c:pt idx="2048">
                  <c:v>991.0625</c:v>
                </c:pt>
                <c:pt idx="2049">
                  <c:v>967.77374999999995</c:v>
                </c:pt>
                <c:pt idx="2050">
                  <c:v>799.734375</c:v>
                </c:pt>
                <c:pt idx="2051">
                  <c:v>1614.6033749999999</c:v>
                </c:pt>
                <c:pt idx="2052">
                  <c:v>1017.650675</c:v>
                </c:pt>
                <c:pt idx="2053">
                  <c:v>836.03437499999995</c:v>
                </c:pt>
                <c:pt idx="2054">
                  <c:v>801.09937500000001</c:v>
                </c:pt>
                <c:pt idx="2055">
                  <c:v>688.83550000000002</c:v>
                </c:pt>
                <c:pt idx="2056">
                  <c:v>570.63824999999997</c:v>
                </c:pt>
                <c:pt idx="2057">
                  <c:v>837.395625</c:v>
                </c:pt>
                <c:pt idx="2058">
                  <c:v>988.20825000000002</c:v>
                </c:pt>
                <c:pt idx="2059">
                  <c:v>1339.006725</c:v>
                </c:pt>
                <c:pt idx="2060">
                  <c:v>1212.47145</c:v>
                </c:pt>
                <c:pt idx="2061">
                  <c:v>931.06095000000005</c:v>
                </c:pt>
                <c:pt idx="2062">
                  <c:v>751.87492499999996</c:v>
                </c:pt>
                <c:pt idx="2063">
                  <c:v>1348.6913999999999</c:v>
                </c:pt>
                <c:pt idx="2064">
                  <c:v>1460.361375</c:v>
                </c:pt>
                <c:pt idx="2065">
                  <c:v>1332.488625</c:v>
                </c:pt>
                <c:pt idx="2066">
                  <c:v>1231.9087500000001</c:v>
                </c:pt>
                <c:pt idx="2067">
                  <c:v>891.27622499999995</c:v>
                </c:pt>
                <c:pt idx="2068">
                  <c:v>1037.3219999999999</c:v>
                </c:pt>
                <c:pt idx="2069">
                  <c:v>1118.882775</c:v>
                </c:pt>
                <c:pt idx="2070">
                  <c:v>711.88829999999996</c:v>
                </c:pt>
                <c:pt idx="2071">
                  <c:v>1225.074875</c:v>
                </c:pt>
                <c:pt idx="2072">
                  <c:v>1063.719175</c:v>
                </c:pt>
                <c:pt idx="2073">
                  <c:v>1139.57375</c:v>
                </c:pt>
                <c:pt idx="2074">
                  <c:v>1049.7138749999999</c:v>
                </c:pt>
                <c:pt idx="2075">
                  <c:v>1079.2025249999999</c:v>
                </c:pt>
                <c:pt idx="2076">
                  <c:v>828.54314999999997</c:v>
                </c:pt>
                <c:pt idx="2077">
                  <c:v>1600.1987999999999</c:v>
                </c:pt>
                <c:pt idx="2078">
                  <c:v>964.63430000000005</c:v>
                </c:pt>
                <c:pt idx="2079">
                  <c:v>987.99112500000001</c:v>
                </c:pt>
                <c:pt idx="2080">
                  <c:v>1282.217625</c:v>
                </c:pt>
                <c:pt idx="2081">
                  <c:v>919.50760000000002</c:v>
                </c:pt>
                <c:pt idx="2082">
                  <c:v>1153.273625</c:v>
                </c:pt>
                <c:pt idx="2083">
                  <c:v>1076.0550000000001</c:v>
                </c:pt>
                <c:pt idx="2084">
                  <c:v>1708.991925</c:v>
                </c:pt>
                <c:pt idx="2085">
                  <c:v>1415.7645749999999</c:v>
                </c:pt>
                <c:pt idx="2086">
                  <c:v>1100.8893</c:v>
                </c:pt>
                <c:pt idx="2087">
                  <c:v>1103.2764999999999</c:v>
                </c:pt>
                <c:pt idx="2088">
                  <c:v>1186.7565</c:v>
                </c:pt>
                <c:pt idx="2089">
                  <c:v>1170.9404</c:v>
                </c:pt>
                <c:pt idx="2090">
                  <c:v>1620.1348</c:v>
                </c:pt>
                <c:pt idx="2091">
                  <c:v>1875.4538249999998</c:v>
                </c:pt>
                <c:pt idx="2092">
                  <c:v>1495.27925</c:v>
                </c:pt>
                <c:pt idx="2093">
                  <c:v>1470.796875</c:v>
                </c:pt>
                <c:pt idx="2094">
                  <c:v>1488.5898749999999</c:v>
                </c:pt>
                <c:pt idx="2095">
                  <c:v>1009.458275</c:v>
                </c:pt>
                <c:pt idx="2096">
                  <c:v>999.01497500000005</c:v>
                </c:pt>
                <c:pt idx="2097">
                  <c:v>929.96339999999998</c:v>
                </c:pt>
                <c:pt idx="2098">
                  <c:v>1141.1787750000001</c:v>
                </c:pt>
                <c:pt idx="2099">
                  <c:v>1061.3655000000001</c:v>
                </c:pt>
                <c:pt idx="2100">
                  <c:v>989.57372499999997</c:v>
                </c:pt>
                <c:pt idx="2101">
                  <c:v>3445.7578749999998</c:v>
                </c:pt>
                <c:pt idx="2102">
                  <c:v>3144.8686499999999</c:v>
                </c:pt>
                <c:pt idx="2103">
                  <c:v>1863.3683249999999</c:v>
                </c:pt>
                <c:pt idx="2104">
                  <c:v>2167.6185999999998</c:v>
                </c:pt>
                <c:pt idx="2105">
                  <c:v>2024.1958750000003</c:v>
                </c:pt>
                <c:pt idx="2106">
                  <c:v>2508.3688999999999</c:v>
                </c:pt>
                <c:pt idx="2107">
                  <c:v>2530.802725</c:v>
                </c:pt>
                <c:pt idx="2108">
                  <c:v>2067.1544250000002</c:v>
                </c:pt>
                <c:pt idx="2109">
                  <c:v>1749.6157249999997</c:v>
                </c:pt>
                <c:pt idx="2110">
                  <c:v>1319.844975</c:v>
                </c:pt>
                <c:pt idx="2111">
                  <c:v>1049.3334749999999</c:v>
                </c:pt>
                <c:pt idx="2112">
                  <c:v>1206.2661000000001</c:v>
                </c:pt>
                <c:pt idx="2113">
                  <c:v>998.10727499999996</c:v>
                </c:pt>
                <c:pt idx="2114">
                  <c:v>685.99437499999999</c:v>
                </c:pt>
                <c:pt idx="2115">
                  <c:v>1142.509325</c:v>
                </c:pt>
                <c:pt idx="2116">
                  <c:v>1171.1158</c:v>
                </c:pt>
                <c:pt idx="2117">
                  <c:v>1215.832275</c:v>
                </c:pt>
                <c:pt idx="2118">
                  <c:v>1651.717425</c:v>
                </c:pt>
                <c:pt idx="2119">
                  <c:v>1741.7801999999999</c:v>
                </c:pt>
                <c:pt idx="2120">
                  <c:v>1828.7168750000001</c:v>
                </c:pt>
                <c:pt idx="2121">
                  <c:v>1647.3318750000001</c:v>
                </c:pt>
                <c:pt idx="2122">
                  <c:v>1402.6582000000001</c:v>
                </c:pt>
                <c:pt idx="2123">
                  <c:v>1161.1778999999999</c:v>
                </c:pt>
                <c:pt idx="2124">
                  <c:v>1023.9203</c:v>
                </c:pt>
                <c:pt idx="2125">
                  <c:v>1244.1990000000001</c:v>
                </c:pt>
                <c:pt idx="2126">
                  <c:v>1068.0901249999999</c:v>
                </c:pt>
                <c:pt idx="2127">
                  <c:v>1060.764725</c:v>
                </c:pt>
                <c:pt idx="2128">
                  <c:v>1386.314175</c:v>
                </c:pt>
                <c:pt idx="2129">
                  <c:v>1485.171</c:v>
                </c:pt>
                <c:pt idx="2130">
                  <c:v>867.9855</c:v>
                </c:pt>
                <c:pt idx="2131">
                  <c:v>1507.383075</c:v>
                </c:pt>
                <c:pt idx="2132">
                  <c:v>2374.354425</c:v>
                </c:pt>
                <c:pt idx="2133">
                  <c:v>1352.677725</c:v>
                </c:pt>
                <c:pt idx="2134">
                  <c:v>1382.5337500000001</c:v>
                </c:pt>
                <c:pt idx="2135">
                  <c:v>1061.8768500000001</c:v>
                </c:pt>
                <c:pt idx="2136">
                  <c:v>1075.467425</c:v>
                </c:pt>
                <c:pt idx="2137">
                  <c:v>2419.9202500000001</c:v>
                </c:pt>
                <c:pt idx="2138">
                  <c:v>3158.3821499999999</c:v>
                </c:pt>
                <c:pt idx="2139">
                  <c:v>6557.7465000000002</c:v>
                </c:pt>
                <c:pt idx="2140">
                  <c:v>9528.5306249999994</c:v>
                </c:pt>
                <c:pt idx="2141">
                  <c:v>6807.0307750000002</c:v>
                </c:pt>
                <c:pt idx="2142">
                  <c:v>5613.4773500000001</c:v>
                </c:pt>
                <c:pt idx="2143">
                  <c:v>4943.0138999999999</c:v>
                </c:pt>
                <c:pt idx="2144">
                  <c:v>3720.1473249999999</c:v>
                </c:pt>
                <c:pt idx="2145">
                  <c:v>2574.0856749999998</c:v>
                </c:pt>
                <c:pt idx="2146">
                  <c:v>5587.0218249999998</c:v>
                </c:pt>
                <c:pt idx="2147">
                  <c:v>3500.0273499999998</c:v>
                </c:pt>
                <c:pt idx="2148">
                  <c:v>3797.2150000000001</c:v>
                </c:pt>
                <c:pt idx="2149">
                  <c:v>3164.7791750000001</c:v>
                </c:pt>
                <c:pt idx="2150">
                  <c:v>1687.526625</c:v>
                </c:pt>
                <c:pt idx="2151">
                  <c:v>2242.4880499999999</c:v>
                </c:pt>
                <c:pt idx="2152">
                  <c:v>3013.5976000000001</c:v>
                </c:pt>
                <c:pt idx="2153">
                  <c:v>1515.6078</c:v>
                </c:pt>
                <c:pt idx="2154">
                  <c:v>1330.249875</c:v>
                </c:pt>
                <c:pt idx="2155">
                  <c:v>2453.0425</c:v>
                </c:pt>
                <c:pt idx="2156">
                  <c:v>2249.087775</c:v>
                </c:pt>
                <c:pt idx="2157">
                  <c:v>3568.8602500000002</c:v>
                </c:pt>
                <c:pt idx="2158">
                  <c:v>2879.7221249999998</c:v>
                </c:pt>
                <c:pt idx="2159">
                  <c:v>1990.83455</c:v>
                </c:pt>
                <c:pt idx="2160">
                  <c:v>3202.2314999999999</c:v>
                </c:pt>
                <c:pt idx="2161">
                  <c:v>1760.76875</c:v>
                </c:pt>
                <c:pt idx="2162">
                  <c:v>2985.1062499999998</c:v>
                </c:pt>
                <c:pt idx="2163">
                  <c:v>2388.6633750000001</c:v>
                </c:pt>
                <c:pt idx="2164">
                  <c:v>3006.1008000000002</c:v>
                </c:pt>
                <c:pt idx="2165">
                  <c:v>2448.047</c:v>
                </c:pt>
                <c:pt idx="2166">
                  <c:v>1820.0571749999999</c:v>
                </c:pt>
                <c:pt idx="2167">
                  <c:v>2032.8985250000003</c:v>
                </c:pt>
                <c:pt idx="2168">
                  <c:v>2146.32015</c:v>
                </c:pt>
                <c:pt idx="2169">
                  <c:v>1444.5150000000001</c:v>
                </c:pt>
                <c:pt idx="2170">
                  <c:v>1221.9999749999999</c:v>
                </c:pt>
                <c:pt idx="2171">
                  <c:v>1313.1408249999999</c:v>
                </c:pt>
                <c:pt idx="2172">
                  <c:v>1344.9512999999999</c:v>
                </c:pt>
                <c:pt idx="2173">
                  <c:v>1111.2922000000001</c:v>
                </c:pt>
                <c:pt idx="2174">
                  <c:v>992.69565000000011</c:v>
                </c:pt>
                <c:pt idx="2175">
                  <c:v>1320.00325</c:v>
                </c:pt>
                <c:pt idx="2176">
                  <c:v>1217.2014750000001</c:v>
                </c:pt>
                <c:pt idx="2177">
                  <c:v>1021.898475</c:v>
                </c:pt>
                <c:pt idx="2178">
                  <c:v>872.08870000000013</c:v>
                </c:pt>
                <c:pt idx="2179">
                  <c:v>1411.87805</c:v>
                </c:pt>
                <c:pt idx="2180">
                  <c:v>1489.2959249999997</c:v>
                </c:pt>
                <c:pt idx="2181">
                  <c:v>1929.4078500000003</c:v>
                </c:pt>
                <c:pt idx="2182">
                  <c:v>1934.7142749999998</c:v>
                </c:pt>
                <c:pt idx="2183">
                  <c:v>1678.6916000000003</c:v>
                </c:pt>
                <c:pt idx="2184">
                  <c:v>1011.47185</c:v>
                </c:pt>
                <c:pt idx="2185">
                  <c:v>1125.3742999999999</c:v>
                </c:pt>
                <c:pt idx="2186">
                  <c:v>1442.3188500000001</c:v>
                </c:pt>
                <c:pt idx="2187">
                  <c:v>985.28395</c:v>
                </c:pt>
                <c:pt idx="2188">
                  <c:v>924.46637499999997</c:v>
                </c:pt>
                <c:pt idx="2189">
                  <c:v>1004.744625</c:v>
                </c:pt>
                <c:pt idx="2190">
                  <c:v>943.60275000000001</c:v>
                </c:pt>
                <c:pt idx="2191">
                  <c:v>1262.419725</c:v>
                </c:pt>
                <c:pt idx="2192">
                  <c:v>1145.6593</c:v>
                </c:pt>
                <c:pt idx="2193">
                  <c:v>1333.84845</c:v>
                </c:pt>
                <c:pt idx="2194">
                  <c:v>1439.6510249999997</c:v>
                </c:pt>
                <c:pt idx="2195">
                  <c:v>987.98892500000011</c:v>
                </c:pt>
                <c:pt idx="2196">
                  <c:v>864.63382499999989</c:v>
                </c:pt>
                <c:pt idx="2197">
                  <c:v>1634.7300250000001</c:v>
                </c:pt>
                <c:pt idx="2198">
                  <c:v>2125.1616749999998</c:v>
                </c:pt>
                <c:pt idx="2199">
                  <c:v>1997.1916249999999</c:v>
                </c:pt>
                <c:pt idx="2200">
                  <c:v>2061.9065999999998</c:v>
                </c:pt>
                <c:pt idx="2201">
                  <c:v>1611.1437749999998</c:v>
                </c:pt>
                <c:pt idx="2202">
                  <c:v>1422.684475</c:v>
                </c:pt>
                <c:pt idx="2203">
                  <c:v>1176.030675</c:v>
                </c:pt>
                <c:pt idx="2204">
                  <c:v>998.82269999999983</c:v>
                </c:pt>
                <c:pt idx="2205">
                  <c:v>1234.4218499999999</c:v>
                </c:pt>
                <c:pt idx="2206">
                  <c:v>892.1951499999999</c:v>
                </c:pt>
                <c:pt idx="2207">
                  <c:v>608.61329999999998</c:v>
                </c:pt>
                <c:pt idx="2208">
                  <c:v>1050.9222500000001</c:v>
                </c:pt>
                <c:pt idx="2209">
                  <c:v>1117.0271250000001</c:v>
                </c:pt>
                <c:pt idx="2210">
                  <c:v>1486.7514749999998</c:v>
                </c:pt>
                <c:pt idx="2211">
                  <c:v>2710.52405</c:v>
                </c:pt>
                <c:pt idx="2212">
                  <c:v>1947.9086000000002</c:v>
                </c:pt>
                <c:pt idx="2213">
                  <c:v>1469.1220749999998</c:v>
                </c:pt>
                <c:pt idx="2214">
                  <c:v>1676.6268749999997</c:v>
                </c:pt>
                <c:pt idx="2215">
                  <c:v>2548.5512250000002</c:v>
                </c:pt>
                <c:pt idx="2216">
                  <c:v>1737.2595249999999</c:v>
                </c:pt>
                <c:pt idx="2217">
                  <c:v>4127.4925999999996</c:v>
                </c:pt>
                <c:pt idx="2218">
                  <c:v>2977.658625</c:v>
                </c:pt>
                <c:pt idx="2219">
                  <c:v>1820.6824999999999</c:v>
                </c:pt>
                <c:pt idx="2220">
                  <c:v>2179.4406250000002</c:v>
                </c:pt>
                <c:pt idx="2221">
                  <c:v>2037.4060499999998</c:v>
                </c:pt>
                <c:pt idx="2222">
                  <c:v>2556.2296000000001</c:v>
                </c:pt>
                <c:pt idx="2223">
                  <c:v>1293.4281000000001</c:v>
                </c:pt>
                <c:pt idx="2224">
                  <c:v>1344.61105</c:v>
                </c:pt>
                <c:pt idx="2225">
                  <c:v>1233.571625</c:v>
                </c:pt>
                <c:pt idx="2226">
                  <c:v>374.76067499999999</c:v>
                </c:pt>
                <c:pt idx="2227">
                  <c:v>1069.53565</c:v>
                </c:pt>
                <c:pt idx="2228">
                  <c:v>916.86082500000009</c:v>
                </c:pt>
                <c:pt idx="2229">
                  <c:v>678.82155</c:v>
                </c:pt>
                <c:pt idx="2230">
                  <c:v>952.44434999999987</c:v>
                </c:pt>
                <c:pt idx="2231">
                  <c:v>2553.6384250000001</c:v>
                </c:pt>
                <c:pt idx="2232">
                  <c:v>1745.8024499999999</c:v>
                </c:pt>
                <c:pt idx="2233">
                  <c:v>2258.1075000000001</c:v>
                </c:pt>
                <c:pt idx="2234">
                  <c:v>4132.7308499999999</c:v>
                </c:pt>
                <c:pt idx="2235">
                  <c:v>3336.5021999999999</c:v>
                </c:pt>
                <c:pt idx="2236">
                  <c:v>3793.6538999999998</c:v>
                </c:pt>
                <c:pt idx="2237">
                  <c:v>2490.6339499999999</c:v>
                </c:pt>
                <c:pt idx="2238">
                  <c:v>3182.8492500000002</c:v>
                </c:pt>
                <c:pt idx="2239">
                  <c:v>3371.3193000000001</c:v>
                </c:pt>
                <c:pt idx="2240">
                  <c:v>4446.2909250000002</c:v>
                </c:pt>
                <c:pt idx="2241">
                  <c:v>3631.4268000000002</c:v>
                </c:pt>
                <c:pt idx="2242">
                  <c:v>5043.8999999999996</c:v>
                </c:pt>
                <c:pt idx="2243">
                  <c:v>3534.8227499999998</c:v>
                </c:pt>
                <c:pt idx="2244">
                  <c:v>2218.5735749999999</c:v>
                </c:pt>
                <c:pt idx="2245">
                  <c:v>1578.6827499999999</c:v>
                </c:pt>
                <c:pt idx="2246">
                  <c:v>1569.4225750000001</c:v>
                </c:pt>
                <c:pt idx="2247">
                  <c:v>2132.8076999999998</c:v>
                </c:pt>
                <c:pt idx="2248">
                  <c:v>1873.8469749999999</c:v>
                </c:pt>
                <c:pt idx="2249">
                  <c:v>1681.408625</c:v>
                </c:pt>
                <c:pt idx="2250">
                  <c:v>1436.0618999999999</c:v>
                </c:pt>
                <c:pt idx="2251">
                  <c:v>2036.4336000000001</c:v>
                </c:pt>
                <c:pt idx="2252">
                  <c:v>2540.8473250000002</c:v>
                </c:pt>
                <c:pt idx="2253">
                  <c:v>1666.6149499999999</c:v>
                </c:pt>
                <c:pt idx="2254">
                  <c:v>2375.5163750000002</c:v>
                </c:pt>
                <c:pt idx="2255">
                  <c:v>2583.9173249999999</c:v>
                </c:pt>
                <c:pt idx="2256">
                  <c:v>2655.7629999999999</c:v>
                </c:pt>
                <c:pt idx="2257">
                  <c:v>1975.7748999999999</c:v>
                </c:pt>
                <c:pt idx="2258">
                  <c:v>4319.7749999999996</c:v>
                </c:pt>
                <c:pt idx="2259">
                  <c:v>1931.56</c:v>
                </c:pt>
                <c:pt idx="2260">
                  <c:v>2227.8995749999999</c:v>
                </c:pt>
                <c:pt idx="2261">
                  <c:v>1758.5309</c:v>
                </c:pt>
                <c:pt idx="2262">
                  <c:v>1746.136475</c:v>
                </c:pt>
                <c:pt idx="2263">
                  <c:v>1843.185375</c:v>
                </c:pt>
                <c:pt idx="2264">
                  <c:v>1530.809225</c:v>
                </c:pt>
                <c:pt idx="2265">
                  <c:v>1777.2819</c:v>
                </c:pt>
                <c:pt idx="2266">
                  <c:v>1999.4022749999997</c:v>
                </c:pt>
                <c:pt idx="2267">
                  <c:v>1392.7760000000001</c:v>
                </c:pt>
                <c:pt idx="2268">
                  <c:v>1602.2282749999999</c:v>
                </c:pt>
                <c:pt idx="2269">
                  <c:v>1321.0674750000001</c:v>
                </c:pt>
                <c:pt idx="2270">
                  <c:v>1566.3931500000001</c:v>
                </c:pt>
                <c:pt idx="2271">
                  <c:v>1219.3364999999999</c:v>
                </c:pt>
                <c:pt idx="2272">
                  <c:v>1566.23775</c:v>
                </c:pt>
                <c:pt idx="2273">
                  <c:v>1393.44775</c:v>
                </c:pt>
                <c:pt idx="2274">
                  <c:v>990.49329999999998</c:v>
                </c:pt>
                <c:pt idx="2275">
                  <c:v>1370.2175</c:v>
                </c:pt>
                <c:pt idx="2276">
                  <c:v>1059.063075</c:v>
                </c:pt>
                <c:pt idx="2277">
                  <c:v>2018.4971499999999</c:v>
                </c:pt>
                <c:pt idx="2278">
                  <c:v>1284.5805</c:v>
                </c:pt>
                <c:pt idx="2279">
                  <c:v>1156.1185499999999</c:v>
                </c:pt>
                <c:pt idx="2280">
                  <c:v>1505.685125</c:v>
                </c:pt>
                <c:pt idx="2281">
                  <c:v>2073.1890999999996</c:v>
                </c:pt>
                <c:pt idx="2282">
                  <c:v>1563.4178999999997</c:v>
                </c:pt>
                <c:pt idx="2283">
                  <c:v>1424.9836499999999</c:v>
                </c:pt>
                <c:pt idx="2284">
                  <c:v>1276.570925</c:v>
                </c:pt>
                <c:pt idx="2285">
                  <c:v>1328.4683500000001</c:v>
                </c:pt>
                <c:pt idx="2286">
                  <c:v>1268.985925</c:v>
                </c:pt>
                <c:pt idx="2287">
                  <c:v>1353.3387499999999</c:v>
                </c:pt>
                <c:pt idx="2288">
                  <c:v>925.53774999999996</c:v>
                </c:pt>
                <c:pt idx="2289">
                  <c:v>1401.981125</c:v>
                </c:pt>
                <c:pt idx="2290">
                  <c:v>1395.6242</c:v>
                </c:pt>
                <c:pt idx="2291">
                  <c:v>1018.4992999999999</c:v>
                </c:pt>
                <c:pt idx="2292">
                  <c:v>1406.5903249999999</c:v>
                </c:pt>
                <c:pt idx="2293">
                  <c:v>909.58822499999997</c:v>
                </c:pt>
                <c:pt idx="2294">
                  <c:v>1500.9263499999997</c:v>
                </c:pt>
                <c:pt idx="2295">
                  <c:v>1162.03125</c:v>
                </c:pt>
                <c:pt idx="2296">
                  <c:v>1701.5874999999999</c:v>
                </c:pt>
                <c:pt idx="2297">
                  <c:v>1215.0238750000001</c:v>
                </c:pt>
                <c:pt idx="2298">
                  <c:v>1199.8943999999999</c:v>
                </c:pt>
                <c:pt idx="2299">
                  <c:v>1401.2566750000001</c:v>
                </c:pt>
                <c:pt idx="2300">
                  <c:v>1045.5331249999999</c:v>
                </c:pt>
                <c:pt idx="2301">
                  <c:v>976.34242500000005</c:v>
                </c:pt>
                <c:pt idx="2302">
                  <c:v>1134.5318</c:v>
                </c:pt>
                <c:pt idx="2303">
                  <c:v>1844.3119750000003</c:v>
                </c:pt>
                <c:pt idx="2304">
                  <c:v>2120.5588250000001</c:v>
                </c:pt>
                <c:pt idx="2305">
                  <c:v>1364.1126750000001</c:v>
                </c:pt>
                <c:pt idx="2306">
                  <c:v>1437.4161999999997</c:v>
                </c:pt>
                <c:pt idx="2307">
                  <c:v>1321.3680999999999</c:v>
                </c:pt>
                <c:pt idx="2308">
                  <c:v>1026.5395250000001</c:v>
                </c:pt>
                <c:pt idx="2309">
                  <c:v>1104.605775</c:v>
                </c:pt>
                <c:pt idx="2310">
                  <c:v>1300.472575</c:v>
                </c:pt>
                <c:pt idx="2311">
                  <c:v>1806.5826000000002</c:v>
                </c:pt>
                <c:pt idx="2312">
                  <c:v>2552.7318749999999</c:v>
                </c:pt>
                <c:pt idx="2313">
                  <c:v>1525.9630749999999</c:v>
                </c:pt>
                <c:pt idx="2314">
                  <c:v>1714.2203750000001</c:v>
                </c:pt>
                <c:pt idx="2315">
                  <c:v>1416.38625</c:v>
                </c:pt>
                <c:pt idx="2316">
                  <c:v>1041.3821250000001</c:v>
                </c:pt>
                <c:pt idx="2317">
                  <c:v>1300.5833</c:v>
                </c:pt>
                <c:pt idx="2318">
                  <c:v>1149.8543999999999</c:v>
                </c:pt>
                <c:pt idx="2319">
                  <c:v>1289.9507249999999</c:v>
                </c:pt>
                <c:pt idx="2320">
                  <c:v>1379.078125</c:v>
                </c:pt>
                <c:pt idx="2321">
                  <c:v>1545.2157</c:v>
                </c:pt>
                <c:pt idx="2322">
                  <c:v>1489.694125</c:v>
                </c:pt>
                <c:pt idx="2323">
                  <c:v>1529.7581749999999</c:v>
                </c:pt>
                <c:pt idx="2324">
                  <c:v>2134.2959999999998</c:v>
                </c:pt>
                <c:pt idx="2325">
                  <c:v>2336.5733249999998</c:v>
                </c:pt>
              </c:numCache>
            </c:numRef>
          </c:val>
          <c:smooth val="0"/>
          <c:extLst xmlns:c16r2="http://schemas.microsoft.com/office/drawing/2015/06/chart">
            <c:ext xmlns:c16="http://schemas.microsoft.com/office/drawing/2014/chart" uri="{C3380CC4-5D6E-409C-BE32-E72D297353CC}">
              <c16:uniqueId val="{00000000-D32F-411E-8D19-FB25DBF8795E}"/>
            </c:ext>
          </c:extLst>
        </c:ser>
        <c:ser>
          <c:idx val="1"/>
          <c:order val="1"/>
          <c:tx>
            <c:strRef>
              <c:f>'Vix futures volumes'!$AK$4</c:f>
              <c:strCache>
                <c:ptCount val="1"/>
                <c:pt idx="0">
                  <c:v>2nd Nearby future</c:v>
                </c:pt>
              </c:strCache>
            </c:strRef>
          </c:tx>
          <c:marker>
            <c:symbol val="none"/>
          </c:marker>
          <c:cat>
            <c:numRef>
              <c:f>'Vix futures volumes'!$AI$5:$AI$2330</c:f>
              <c:numCache>
                <c:formatCode>m/d/yyyy</c:formatCode>
                <c:ptCount val="2326"/>
                <c:pt idx="0">
                  <c:v>39085</c:v>
                </c:pt>
                <c:pt idx="1">
                  <c:v>39086</c:v>
                </c:pt>
                <c:pt idx="2">
                  <c:v>39087</c:v>
                </c:pt>
                <c:pt idx="3">
                  <c:v>39090</c:v>
                </c:pt>
                <c:pt idx="4">
                  <c:v>39091</c:v>
                </c:pt>
                <c:pt idx="5">
                  <c:v>39092</c:v>
                </c:pt>
                <c:pt idx="6">
                  <c:v>39093</c:v>
                </c:pt>
                <c:pt idx="7">
                  <c:v>39094</c:v>
                </c:pt>
                <c:pt idx="8">
                  <c:v>39098</c:v>
                </c:pt>
                <c:pt idx="9">
                  <c:v>39099</c:v>
                </c:pt>
                <c:pt idx="10">
                  <c:v>39100</c:v>
                </c:pt>
                <c:pt idx="11">
                  <c:v>39101</c:v>
                </c:pt>
                <c:pt idx="12">
                  <c:v>39105</c:v>
                </c:pt>
                <c:pt idx="13">
                  <c:v>39106</c:v>
                </c:pt>
                <c:pt idx="14">
                  <c:v>39107</c:v>
                </c:pt>
                <c:pt idx="15">
                  <c:v>39114</c:v>
                </c:pt>
                <c:pt idx="16">
                  <c:v>39119</c:v>
                </c:pt>
                <c:pt idx="17">
                  <c:v>39121</c:v>
                </c:pt>
                <c:pt idx="18">
                  <c:v>39122</c:v>
                </c:pt>
                <c:pt idx="19">
                  <c:v>39125</c:v>
                </c:pt>
                <c:pt idx="20">
                  <c:v>39127</c:v>
                </c:pt>
                <c:pt idx="21">
                  <c:v>39128</c:v>
                </c:pt>
                <c:pt idx="22">
                  <c:v>39133</c:v>
                </c:pt>
                <c:pt idx="23">
                  <c:v>39134</c:v>
                </c:pt>
                <c:pt idx="24">
                  <c:v>39135</c:v>
                </c:pt>
                <c:pt idx="25">
                  <c:v>39136</c:v>
                </c:pt>
                <c:pt idx="26">
                  <c:v>39140</c:v>
                </c:pt>
                <c:pt idx="27">
                  <c:v>39141</c:v>
                </c:pt>
                <c:pt idx="28">
                  <c:v>39142</c:v>
                </c:pt>
                <c:pt idx="29">
                  <c:v>39143</c:v>
                </c:pt>
                <c:pt idx="30">
                  <c:v>39146</c:v>
                </c:pt>
                <c:pt idx="31">
                  <c:v>39147</c:v>
                </c:pt>
                <c:pt idx="32">
                  <c:v>39154</c:v>
                </c:pt>
                <c:pt idx="33">
                  <c:v>39155</c:v>
                </c:pt>
                <c:pt idx="34">
                  <c:v>39157</c:v>
                </c:pt>
                <c:pt idx="35">
                  <c:v>39160</c:v>
                </c:pt>
                <c:pt idx="36">
                  <c:v>39162</c:v>
                </c:pt>
                <c:pt idx="37">
                  <c:v>39163</c:v>
                </c:pt>
                <c:pt idx="38">
                  <c:v>39164</c:v>
                </c:pt>
                <c:pt idx="39">
                  <c:v>39167</c:v>
                </c:pt>
                <c:pt idx="40">
                  <c:v>39168</c:v>
                </c:pt>
                <c:pt idx="41">
                  <c:v>39169</c:v>
                </c:pt>
                <c:pt idx="42">
                  <c:v>39170</c:v>
                </c:pt>
                <c:pt idx="43">
                  <c:v>39171</c:v>
                </c:pt>
                <c:pt idx="44">
                  <c:v>39174</c:v>
                </c:pt>
                <c:pt idx="45">
                  <c:v>39175</c:v>
                </c:pt>
                <c:pt idx="46">
                  <c:v>39176</c:v>
                </c:pt>
                <c:pt idx="47">
                  <c:v>39177</c:v>
                </c:pt>
                <c:pt idx="48">
                  <c:v>39181</c:v>
                </c:pt>
                <c:pt idx="49">
                  <c:v>39182</c:v>
                </c:pt>
                <c:pt idx="50">
                  <c:v>39183</c:v>
                </c:pt>
                <c:pt idx="51">
                  <c:v>39184</c:v>
                </c:pt>
                <c:pt idx="52">
                  <c:v>39189</c:v>
                </c:pt>
                <c:pt idx="53">
                  <c:v>39192</c:v>
                </c:pt>
                <c:pt idx="54">
                  <c:v>39195</c:v>
                </c:pt>
                <c:pt idx="55">
                  <c:v>39196</c:v>
                </c:pt>
                <c:pt idx="56">
                  <c:v>39198</c:v>
                </c:pt>
                <c:pt idx="57">
                  <c:v>39199</c:v>
                </c:pt>
                <c:pt idx="58">
                  <c:v>39202</c:v>
                </c:pt>
                <c:pt idx="59">
                  <c:v>39203</c:v>
                </c:pt>
                <c:pt idx="60">
                  <c:v>39205</c:v>
                </c:pt>
                <c:pt idx="61">
                  <c:v>39206</c:v>
                </c:pt>
                <c:pt idx="62">
                  <c:v>39209</c:v>
                </c:pt>
                <c:pt idx="63">
                  <c:v>39210</c:v>
                </c:pt>
                <c:pt idx="64">
                  <c:v>39211</c:v>
                </c:pt>
                <c:pt idx="65">
                  <c:v>39212</c:v>
                </c:pt>
                <c:pt idx="66">
                  <c:v>39213</c:v>
                </c:pt>
                <c:pt idx="67">
                  <c:v>39216</c:v>
                </c:pt>
                <c:pt idx="68">
                  <c:v>39217</c:v>
                </c:pt>
                <c:pt idx="69">
                  <c:v>39218</c:v>
                </c:pt>
                <c:pt idx="70">
                  <c:v>39219</c:v>
                </c:pt>
                <c:pt idx="71">
                  <c:v>39223</c:v>
                </c:pt>
                <c:pt idx="72">
                  <c:v>39224</c:v>
                </c:pt>
                <c:pt idx="73">
                  <c:v>39225</c:v>
                </c:pt>
                <c:pt idx="74">
                  <c:v>39226</c:v>
                </c:pt>
                <c:pt idx="75">
                  <c:v>39227</c:v>
                </c:pt>
                <c:pt idx="76">
                  <c:v>39231</c:v>
                </c:pt>
                <c:pt idx="77">
                  <c:v>39232</c:v>
                </c:pt>
                <c:pt idx="78">
                  <c:v>39233</c:v>
                </c:pt>
                <c:pt idx="79">
                  <c:v>39234</c:v>
                </c:pt>
                <c:pt idx="80">
                  <c:v>39237</c:v>
                </c:pt>
                <c:pt idx="81">
                  <c:v>39238</c:v>
                </c:pt>
                <c:pt idx="82">
                  <c:v>39239</c:v>
                </c:pt>
                <c:pt idx="83">
                  <c:v>39240</c:v>
                </c:pt>
                <c:pt idx="84">
                  <c:v>39241</c:v>
                </c:pt>
                <c:pt idx="85">
                  <c:v>39244</c:v>
                </c:pt>
                <c:pt idx="86">
                  <c:v>39245</c:v>
                </c:pt>
                <c:pt idx="87">
                  <c:v>39246</c:v>
                </c:pt>
                <c:pt idx="88">
                  <c:v>39247</c:v>
                </c:pt>
                <c:pt idx="89">
                  <c:v>39248</c:v>
                </c:pt>
                <c:pt idx="90">
                  <c:v>39251</c:v>
                </c:pt>
                <c:pt idx="91">
                  <c:v>39252</c:v>
                </c:pt>
                <c:pt idx="92">
                  <c:v>39253</c:v>
                </c:pt>
                <c:pt idx="93">
                  <c:v>39254</c:v>
                </c:pt>
                <c:pt idx="94">
                  <c:v>39255</c:v>
                </c:pt>
                <c:pt idx="95">
                  <c:v>39258</c:v>
                </c:pt>
                <c:pt idx="96">
                  <c:v>39259</c:v>
                </c:pt>
                <c:pt idx="97">
                  <c:v>39260</c:v>
                </c:pt>
                <c:pt idx="98">
                  <c:v>39261</c:v>
                </c:pt>
                <c:pt idx="99">
                  <c:v>39262</c:v>
                </c:pt>
                <c:pt idx="100">
                  <c:v>39265</c:v>
                </c:pt>
                <c:pt idx="101">
                  <c:v>39266</c:v>
                </c:pt>
                <c:pt idx="102">
                  <c:v>39268</c:v>
                </c:pt>
                <c:pt idx="103">
                  <c:v>39269</c:v>
                </c:pt>
                <c:pt idx="104">
                  <c:v>39272</c:v>
                </c:pt>
                <c:pt idx="105">
                  <c:v>39273</c:v>
                </c:pt>
                <c:pt idx="106">
                  <c:v>39274</c:v>
                </c:pt>
                <c:pt idx="107">
                  <c:v>39275</c:v>
                </c:pt>
                <c:pt idx="108">
                  <c:v>39276</c:v>
                </c:pt>
                <c:pt idx="109">
                  <c:v>39279</c:v>
                </c:pt>
                <c:pt idx="110">
                  <c:v>39280</c:v>
                </c:pt>
                <c:pt idx="111">
                  <c:v>39281</c:v>
                </c:pt>
                <c:pt idx="112">
                  <c:v>39282</c:v>
                </c:pt>
                <c:pt idx="113">
                  <c:v>39283</c:v>
                </c:pt>
                <c:pt idx="114">
                  <c:v>39286</c:v>
                </c:pt>
                <c:pt idx="115">
                  <c:v>39287</c:v>
                </c:pt>
                <c:pt idx="116">
                  <c:v>39288</c:v>
                </c:pt>
                <c:pt idx="117">
                  <c:v>39289</c:v>
                </c:pt>
                <c:pt idx="118">
                  <c:v>39290</c:v>
                </c:pt>
                <c:pt idx="119">
                  <c:v>39293</c:v>
                </c:pt>
                <c:pt idx="120">
                  <c:v>39294</c:v>
                </c:pt>
                <c:pt idx="121">
                  <c:v>39295</c:v>
                </c:pt>
                <c:pt idx="122">
                  <c:v>39296</c:v>
                </c:pt>
                <c:pt idx="123">
                  <c:v>39297</c:v>
                </c:pt>
                <c:pt idx="124">
                  <c:v>39300</c:v>
                </c:pt>
                <c:pt idx="125">
                  <c:v>39301</c:v>
                </c:pt>
                <c:pt idx="126">
                  <c:v>39302</c:v>
                </c:pt>
                <c:pt idx="127">
                  <c:v>39303</c:v>
                </c:pt>
                <c:pt idx="128">
                  <c:v>39304</c:v>
                </c:pt>
                <c:pt idx="129">
                  <c:v>39307</c:v>
                </c:pt>
                <c:pt idx="130">
                  <c:v>39308</c:v>
                </c:pt>
                <c:pt idx="131">
                  <c:v>39309</c:v>
                </c:pt>
                <c:pt idx="132">
                  <c:v>39310</c:v>
                </c:pt>
                <c:pt idx="133">
                  <c:v>39311</c:v>
                </c:pt>
                <c:pt idx="134">
                  <c:v>39314</c:v>
                </c:pt>
                <c:pt idx="135">
                  <c:v>39315</c:v>
                </c:pt>
                <c:pt idx="136">
                  <c:v>39316</c:v>
                </c:pt>
                <c:pt idx="137">
                  <c:v>39317</c:v>
                </c:pt>
                <c:pt idx="138">
                  <c:v>39318</c:v>
                </c:pt>
                <c:pt idx="139">
                  <c:v>39322</c:v>
                </c:pt>
                <c:pt idx="140">
                  <c:v>39323</c:v>
                </c:pt>
                <c:pt idx="141">
                  <c:v>39329</c:v>
                </c:pt>
                <c:pt idx="142">
                  <c:v>39330</c:v>
                </c:pt>
                <c:pt idx="143">
                  <c:v>39331</c:v>
                </c:pt>
                <c:pt idx="144">
                  <c:v>39332</c:v>
                </c:pt>
                <c:pt idx="145">
                  <c:v>39335</c:v>
                </c:pt>
                <c:pt idx="146">
                  <c:v>39338</c:v>
                </c:pt>
                <c:pt idx="147">
                  <c:v>39339</c:v>
                </c:pt>
                <c:pt idx="148">
                  <c:v>39342</c:v>
                </c:pt>
                <c:pt idx="149">
                  <c:v>39343</c:v>
                </c:pt>
                <c:pt idx="150">
                  <c:v>39344</c:v>
                </c:pt>
                <c:pt idx="151">
                  <c:v>39345</c:v>
                </c:pt>
                <c:pt idx="152">
                  <c:v>39346</c:v>
                </c:pt>
                <c:pt idx="153">
                  <c:v>39349</c:v>
                </c:pt>
                <c:pt idx="154">
                  <c:v>39350</c:v>
                </c:pt>
                <c:pt idx="155">
                  <c:v>39351</c:v>
                </c:pt>
                <c:pt idx="156">
                  <c:v>39352</c:v>
                </c:pt>
                <c:pt idx="157">
                  <c:v>39353</c:v>
                </c:pt>
                <c:pt idx="158">
                  <c:v>39356</c:v>
                </c:pt>
                <c:pt idx="159">
                  <c:v>39357</c:v>
                </c:pt>
                <c:pt idx="160">
                  <c:v>39358</c:v>
                </c:pt>
                <c:pt idx="161">
                  <c:v>39359</c:v>
                </c:pt>
                <c:pt idx="162">
                  <c:v>39360</c:v>
                </c:pt>
                <c:pt idx="163">
                  <c:v>39363</c:v>
                </c:pt>
                <c:pt idx="164">
                  <c:v>39364</c:v>
                </c:pt>
                <c:pt idx="165">
                  <c:v>39365</c:v>
                </c:pt>
                <c:pt idx="166">
                  <c:v>39366</c:v>
                </c:pt>
                <c:pt idx="167">
                  <c:v>39367</c:v>
                </c:pt>
                <c:pt idx="168">
                  <c:v>39370</c:v>
                </c:pt>
                <c:pt idx="169">
                  <c:v>39371</c:v>
                </c:pt>
                <c:pt idx="170">
                  <c:v>39372</c:v>
                </c:pt>
                <c:pt idx="171">
                  <c:v>39374</c:v>
                </c:pt>
                <c:pt idx="172">
                  <c:v>39377</c:v>
                </c:pt>
                <c:pt idx="173">
                  <c:v>39379</c:v>
                </c:pt>
                <c:pt idx="174">
                  <c:v>39380</c:v>
                </c:pt>
                <c:pt idx="175">
                  <c:v>39381</c:v>
                </c:pt>
                <c:pt idx="176">
                  <c:v>39384</c:v>
                </c:pt>
                <c:pt idx="177">
                  <c:v>39385</c:v>
                </c:pt>
                <c:pt idx="178">
                  <c:v>39386</c:v>
                </c:pt>
                <c:pt idx="179">
                  <c:v>39387</c:v>
                </c:pt>
                <c:pt idx="180">
                  <c:v>39388</c:v>
                </c:pt>
                <c:pt idx="181">
                  <c:v>39391</c:v>
                </c:pt>
                <c:pt idx="182">
                  <c:v>39392</c:v>
                </c:pt>
                <c:pt idx="183">
                  <c:v>39393</c:v>
                </c:pt>
                <c:pt idx="184">
                  <c:v>39394</c:v>
                </c:pt>
                <c:pt idx="185">
                  <c:v>39395</c:v>
                </c:pt>
                <c:pt idx="186">
                  <c:v>39398</c:v>
                </c:pt>
                <c:pt idx="187">
                  <c:v>39399</c:v>
                </c:pt>
                <c:pt idx="188">
                  <c:v>39400</c:v>
                </c:pt>
                <c:pt idx="189">
                  <c:v>39401</c:v>
                </c:pt>
                <c:pt idx="190">
                  <c:v>39402</c:v>
                </c:pt>
                <c:pt idx="191">
                  <c:v>39405</c:v>
                </c:pt>
                <c:pt idx="192">
                  <c:v>39406</c:v>
                </c:pt>
                <c:pt idx="193">
                  <c:v>39407</c:v>
                </c:pt>
                <c:pt idx="194">
                  <c:v>39409</c:v>
                </c:pt>
                <c:pt idx="195">
                  <c:v>39412</c:v>
                </c:pt>
                <c:pt idx="196">
                  <c:v>39413</c:v>
                </c:pt>
                <c:pt idx="197">
                  <c:v>39414</c:v>
                </c:pt>
                <c:pt idx="198">
                  <c:v>39415</c:v>
                </c:pt>
                <c:pt idx="199">
                  <c:v>39416</c:v>
                </c:pt>
                <c:pt idx="200">
                  <c:v>39420</c:v>
                </c:pt>
                <c:pt idx="201">
                  <c:v>39421</c:v>
                </c:pt>
                <c:pt idx="202">
                  <c:v>39422</c:v>
                </c:pt>
                <c:pt idx="203">
                  <c:v>39423</c:v>
                </c:pt>
                <c:pt idx="204">
                  <c:v>39426</c:v>
                </c:pt>
                <c:pt idx="205">
                  <c:v>39427</c:v>
                </c:pt>
                <c:pt idx="206">
                  <c:v>39428</c:v>
                </c:pt>
                <c:pt idx="207">
                  <c:v>39429</c:v>
                </c:pt>
                <c:pt idx="208">
                  <c:v>39430</c:v>
                </c:pt>
                <c:pt idx="209">
                  <c:v>39433</c:v>
                </c:pt>
                <c:pt idx="210">
                  <c:v>39434</c:v>
                </c:pt>
                <c:pt idx="211">
                  <c:v>39435</c:v>
                </c:pt>
                <c:pt idx="212">
                  <c:v>39436</c:v>
                </c:pt>
                <c:pt idx="213">
                  <c:v>39437</c:v>
                </c:pt>
                <c:pt idx="214">
                  <c:v>39440</c:v>
                </c:pt>
                <c:pt idx="215">
                  <c:v>39442</c:v>
                </c:pt>
                <c:pt idx="216">
                  <c:v>39443</c:v>
                </c:pt>
                <c:pt idx="217">
                  <c:v>39444</c:v>
                </c:pt>
                <c:pt idx="218">
                  <c:v>39447</c:v>
                </c:pt>
                <c:pt idx="219">
                  <c:v>39449</c:v>
                </c:pt>
                <c:pt idx="220">
                  <c:v>39450</c:v>
                </c:pt>
                <c:pt idx="221">
                  <c:v>39451</c:v>
                </c:pt>
                <c:pt idx="222">
                  <c:v>39454</c:v>
                </c:pt>
                <c:pt idx="223">
                  <c:v>39455</c:v>
                </c:pt>
                <c:pt idx="224">
                  <c:v>39456</c:v>
                </c:pt>
                <c:pt idx="225">
                  <c:v>39457</c:v>
                </c:pt>
                <c:pt idx="226">
                  <c:v>39458</c:v>
                </c:pt>
                <c:pt idx="227">
                  <c:v>39461</c:v>
                </c:pt>
                <c:pt idx="228">
                  <c:v>39462</c:v>
                </c:pt>
                <c:pt idx="229">
                  <c:v>39463</c:v>
                </c:pt>
                <c:pt idx="230">
                  <c:v>39464</c:v>
                </c:pt>
                <c:pt idx="231">
                  <c:v>39465</c:v>
                </c:pt>
                <c:pt idx="232">
                  <c:v>39469</c:v>
                </c:pt>
                <c:pt idx="233">
                  <c:v>39470</c:v>
                </c:pt>
                <c:pt idx="234">
                  <c:v>39471</c:v>
                </c:pt>
                <c:pt idx="235">
                  <c:v>39472</c:v>
                </c:pt>
                <c:pt idx="236">
                  <c:v>39475</c:v>
                </c:pt>
                <c:pt idx="237">
                  <c:v>39476</c:v>
                </c:pt>
                <c:pt idx="238">
                  <c:v>39477</c:v>
                </c:pt>
                <c:pt idx="239">
                  <c:v>39478</c:v>
                </c:pt>
                <c:pt idx="240">
                  <c:v>39479</c:v>
                </c:pt>
                <c:pt idx="241">
                  <c:v>39482</c:v>
                </c:pt>
                <c:pt idx="242">
                  <c:v>39483</c:v>
                </c:pt>
                <c:pt idx="243">
                  <c:v>39484</c:v>
                </c:pt>
                <c:pt idx="244">
                  <c:v>39485</c:v>
                </c:pt>
                <c:pt idx="245">
                  <c:v>39486</c:v>
                </c:pt>
                <c:pt idx="246">
                  <c:v>39489</c:v>
                </c:pt>
                <c:pt idx="247">
                  <c:v>39490</c:v>
                </c:pt>
                <c:pt idx="248">
                  <c:v>39491</c:v>
                </c:pt>
                <c:pt idx="249">
                  <c:v>39492</c:v>
                </c:pt>
                <c:pt idx="250">
                  <c:v>39493</c:v>
                </c:pt>
                <c:pt idx="251">
                  <c:v>39497</c:v>
                </c:pt>
                <c:pt idx="252">
                  <c:v>39498</c:v>
                </c:pt>
                <c:pt idx="253">
                  <c:v>39499</c:v>
                </c:pt>
                <c:pt idx="254">
                  <c:v>39500</c:v>
                </c:pt>
                <c:pt idx="255">
                  <c:v>39503</c:v>
                </c:pt>
                <c:pt idx="256">
                  <c:v>39504</c:v>
                </c:pt>
                <c:pt idx="257">
                  <c:v>39505</c:v>
                </c:pt>
                <c:pt idx="258">
                  <c:v>39506</c:v>
                </c:pt>
                <c:pt idx="259">
                  <c:v>39507</c:v>
                </c:pt>
                <c:pt idx="260">
                  <c:v>39510</c:v>
                </c:pt>
                <c:pt idx="261">
                  <c:v>39511</c:v>
                </c:pt>
                <c:pt idx="262">
                  <c:v>39512</c:v>
                </c:pt>
                <c:pt idx="263">
                  <c:v>39513</c:v>
                </c:pt>
                <c:pt idx="264">
                  <c:v>39514</c:v>
                </c:pt>
                <c:pt idx="265">
                  <c:v>39518</c:v>
                </c:pt>
                <c:pt idx="266">
                  <c:v>39519</c:v>
                </c:pt>
                <c:pt idx="267">
                  <c:v>39520</c:v>
                </c:pt>
                <c:pt idx="268">
                  <c:v>39521</c:v>
                </c:pt>
                <c:pt idx="269">
                  <c:v>39524</c:v>
                </c:pt>
                <c:pt idx="270">
                  <c:v>39525</c:v>
                </c:pt>
                <c:pt idx="271">
                  <c:v>39526</c:v>
                </c:pt>
                <c:pt idx="272">
                  <c:v>39527</c:v>
                </c:pt>
                <c:pt idx="273">
                  <c:v>39531</c:v>
                </c:pt>
                <c:pt idx="274">
                  <c:v>39532</c:v>
                </c:pt>
                <c:pt idx="275">
                  <c:v>39533</c:v>
                </c:pt>
                <c:pt idx="276">
                  <c:v>39534</c:v>
                </c:pt>
                <c:pt idx="277">
                  <c:v>39535</c:v>
                </c:pt>
                <c:pt idx="278">
                  <c:v>39538</c:v>
                </c:pt>
                <c:pt idx="279">
                  <c:v>39539</c:v>
                </c:pt>
                <c:pt idx="280">
                  <c:v>39540</c:v>
                </c:pt>
                <c:pt idx="281">
                  <c:v>39541</c:v>
                </c:pt>
                <c:pt idx="282">
                  <c:v>39542</c:v>
                </c:pt>
                <c:pt idx="283">
                  <c:v>39545</c:v>
                </c:pt>
                <c:pt idx="284">
                  <c:v>39546</c:v>
                </c:pt>
                <c:pt idx="285">
                  <c:v>39547</c:v>
                </c:pt>
                <c:pt idx="286">
                  <c:v>39548</c:v>
                </c:pt>
                <c:pt idx="287">
                  <c:v>39549</c:v>
                </c:pt>
                <c:pt idx="288">
                  <c:v>39552</c:v>
                </c:pt>
                <c:pt idx="289">
                  <c:v>39553</c:v>
                </c:pt>
                <c:pt idx="290">
                  <c:v>39555</c:v>
                </c:pt>
                <c:pt idx="291">
                  <c:v>39556</c:v>
                </c:pt>
                <c:pt idx="292">
                  <c:v>39559</c:v>
                </c:pt>
                <c:pt idx="293">
                  <c:v>39560</c:v>
                </c:pt>
                <c:pt idx="294">
                  <c:v>39561</c:v>
                </c:pt>
                <c:pt idx="295">
                  <c:v>39562</c:v>
                </c:pt>
                <c:pt idx="296">
                  <c:v>39563</c:v>
                </c:pt>
                <c:pt idx="297">
                  <c:v>39566</c:v>
                </c:pt>
                <c:pt idx="298">
                  <c:v>39567</c:v>
                </c:pt>
                <c:pt idx="299">
                  <c:v>39568</c:v>
                </c:pt>
                <c:pt idx="300">
                  <c:v>39569</c:v>
                </c:pt>
                <c:pt idx="301">
                  <c:v>39570</c:v>
                </c:pt>
                <c:pt idx="302">
                  <c:v>39573</c:v>
                </c:pt>
                <c:pt idx="303">
                  <c:v>39574</c:v>
                </c:pt>
                <c:pt idx="304">
                  <c:v>39575</c:v>
                </c:pt>
                <c:pt idx="305">
                  <c:v>39576</c:v>
                </c:pt>
                <c:pt idx="306">
                  <c:v>39577</c:v>
                </c:pt>
                <c:pt idx="307">
                  <c:v>39580</c:v>
                </c:pt>
                <c:pt idx="308">
                  <c:v>39581</c:v>
                </c:pt>
                <c:pt idx="309">
                  <c:v>39582</c:v>
                </c:pt>
                <c:pt idx="310">
                  <c:v>39583</c:v>
                </c:pt>
                <c:pt idx="311">
                  <c:v>39584</c:v>
                </c:pt>
                <c:pt idx="312">
                  <c:v>39587</c:v>
                </c:pt>
                <c:pt idx="313">
                  <c:v>39588</c:v>
                </c:pt>
                <c:pt idx="314">
                  <c:v>39589</c:v>
                </c:pt>
                <c:pt idx="315">
                  <c:v>39590</c:v>
                </c:pt>
                <c:pt idx="316">
                  <c:v>39591</c:v>
                </c:pt>
                <c:pt idx="317">
                  <c:v>39595</c:v>
                </c:pt>
                <c:pt idx="318">
                  <c:v>39596</c:v>
                </c:pt>
                <c:pt idx="319">
                  <c:v>39597</c:v>
                </c:pt>
                <c:pt idx="320">
                  <c:v>39598</c:v>
                </c:pt>
                <c:pt idx="321">
                  <c:v>39601</c:v>
                </c:pt>
                <c:pt idx="322">
                  <c:v>39602</c:v>
                </c:pt>
                <c:pt idx="323">
                  <c:v>39603</c:v>
                </c:pt>
                <c:pt idx="324">
                  <c:v>39604</c:v>
                </c:pt>
                <c:pt idx="325">
                  <c:v>39605</c:v>
                </c:pt>
                <c:pt idx="326">
                  <c:v>39608</c:v>
                </c:pt>
                <c:pt idx="327">
                  <c:v>39609</c:v>
                </c:pt>
                <c:pt idx="328">
                  <c:v>39610</c:v>
                </c:pt>
                <c:pt idx="329">
                  <c:v>39611</c:v>
                </c:pt>
                <c:pt idx="330">
                  <c:v>39612</c:v>
                </c:pt>
                <c:pt idx="331">
                  <c:v>39615</c:v>
                </c:pt>
                <c:pt idx="332">
                  <c:v>39616</c:v>
                </c:pt>
                <c:pt idx="333">
                  <c:v>39617</c:v>
                </c:pt>
                <c:pt idx="334">
                  <c:v>39618</c:v>
                </c:pt>
                <c:pt idx="335">
                  <c:v>39619</c:v>
                </c:pt>
                <c:pt idx="336">
                  <c:v>39622</c:v>
                </c:pt>
                <c:pt idx="337">
                  <c:v>39623</c:v>
                </c:pt>
                <c:pt idx="338">
                  <c:v>39624</c:v>
                </c:pt>
                <c:pt idx="339">
                  <c:v>39625</c:v>
                </c:pt>
                <c:pt idx="340">
                  <c:v>39626</c:v>
                </c:pt>
                <c:pt idx="341">
                  <c:v>39629</c:v>
                </c:pt>
                <c:pt idx="342">
                  <c:v>39630</c:v>
                </c:pt>
                <c:pt idx="343">
                  <c:v>39631</c:v>
                </c:pt>
                <c:pt idx="344">
                  <c:v>39632</c:v>
                </c:pt>
                <c:pt idx="345">
                  <c:v>39636</c:v>
                </c:pt>
                <c:pt idx="346">
                  <c:v>39637</c:v>
                </c:pt>
                <c:pt idx="347">
                  <c:v>39638</c:v>
                </c:pt>
                <c:pt idx="348">
                  <c:v>39639</c:v>
                </c:pt>
                <c:pt idx="349">
                  <c:v>39640</c:v>
                </c:pt>
                <c:pt idx="350">
                  <c:v>39643</c:v>
                </c:pt>
                <c:pt idx="351">
                  <c:v>39644</c:v>
                </c:pt>
                <c:pt idx="352">
                  <c:v>39645</c:v>
                </c:pt>
                <c:pt idx="353">
                  <c:v>39646</c:v>
                </c:pt>
                <c:pt idx="354">
                  <c:v>39647</c:v>
                </c:pt>
                <c:pt idx="355">
                  <c:v>39650</c:v>
                </c:pt>
                <c:pt idx="356">
                  <c:v>39651</c:v>
                </c:pt>
                <c:pt idx="357">
                  <c:v>39652</c:v>
                </c:pt>
                <c:pt idx="358">
                  <c:v>39653</c:v>
                </c:pt>
                <c:pt idx="359">
                  <c:v>39654</c:v>
                </c:pt>
                <c:pt idx="360">
                  <c:v>39657</c:v>
                </c:pt>
                <c:pt idx="361">
                  <c:v>39658</c:v>
                </c:pt>
                <c:pt idx="362">
                  <c:v>39659</c:v>
                </c:pt>
                <c:pt idx="363">
                  <c:v>39660</c:v>
                </c:pt>
                <c:pt idx="364">
                  <c:v>39661</c:v>
                </c:pt>
                <c:pt idx="365">
                  <c:v>39664</c:v>
                </c:pt>
                <c:pt idx="366">
                  <c:v>39665</c:v>
                </c:pt>
                <c:pt idx="367">
                  <c:v>39666</c:v>
                </c:pt>
                <c:pt idx="368">
                  <c:v>39667</c:v>
                </c:pt>
                <c:pt idx="369">
                  <c:v>39668</c:v>
                </c:pt>
                <c:pt idx="370">
                  <c:v>39671</c:v>
                </c:pt>
                <c:pt idx="371">
                  <c:v>39672</c:v>
                </c:pt>
                <c:pt idx="372">
                  <c:v>39673</c:v>
                </c:pt>
                <c:pt idx="373">
                  <c:v>39674</c:v>
                </c:pt>
                <c:pt idx="374">
                  <c:v>39675</c:v>
                </c:pt>
                <c:pt idx="375">
                  <c:v>39678</c:v>
                </c:pt>
                <c:pt idx="376">
                  <c:v>39679</c:v>
                </c:pt>
                <c:pt idx="377">
                  <c:v>39680</c:v>
                </c:pt>
                <c:pt idx="378">
                  <c:v>39681</c:v>
                </c:pt>
                <c:pt idx="379">
                  <c:v>39682</c:v>
                </c:pt>
                <c:pt idx="380">
                  <c:v>39685</c:v>
                </c:pt>
                <c:pt idx="381">
                  <c:v>39686</c:v>
                </c:pt>
                <c:pt idx="382">
                  <c:v>39687</c:v>
                </c:pt>
                <c:pt idx="383">
                  <c:v>39688</c:v>
                </c:pt>
                <c:pt idx="384">
                  <c:v>39689</c:v>
                </c:pt>
                <c:pt idx="385">
                  <c:v>39693</c:v>
                </c:pt>
                <c:pt idx="386">
                  <c:v>39694</c:v>
                </c:pt>
                <c:pt idx="387">
                  <c:v>39695</c:v>
                </c:pt>
                <c:pt idx="388">
                  <c:v>39696</c:v>
                </c:pt>
                <c:pt idx="389">
                  <c:v>39699</c:v>
                </c:pt>
                <c:pt idx="390">
                  <c:v>39700</c:v>
                </c:pt>
                <c:pt idx="391">
                  <c:v>39701</c:v>
                </c:pt>
                <c:pt idx="392">
                  <c:v>39702</c:v>
                </c:pt>
                <c:pt idx="393">
                  <c:v>39703</c:v>
                </c:pt>
                <c:pt idx="394">
                  <c:v>39706</c:v>
                </c:pt>
                <c:pt idx="395">
                  <c:v>39707</c:v>
                </c:pt>
                <c:pt idx="396">
                  <c:v>39708</c:v>
                </c:pt>
                <c:pt idx="397">
                  <c:v>39709</c:v>
                </c:pt>
                <c:pt idx="398">
                  <c:v>39710</c:v>
                </c:pt>
                <c:pt idx="399">
                  <c:v>39713</c:v>
                </c:pt>
                <c:pt idx="400">
                  <c:v>39714</c:v>
                </c:pt>
                <c:pt idx="401">
                  <c:v>39715</c:v>
                </c:pt>
                <c:pt idx="402">
                  <c:v>39716</c:v>
                </c:pt>
                <c:pt idx="403">
                  <c:v>39717</c:v>
                </c:pt>
                <c:pt idx="404">
                  <c:v>39720</c:v>
                </c:pt>
                <c:pt idx="405">
                  <c:v>39721</c:v>
                </c:pt>
                <c:pt idx="406">
                  <c:v>39722</c:v>
                </c:pt>
                <c:pt idx="407">
                  <c:v>39723</c:v>
                </c:pt>
                <c:pt idx="408">
                  <c:v>39724</c:v>
                </c:pt>
                <c:pt idx="409">
                  <c:v>39727</c:v>
                </c:pt>
                <c:pt idx="410">
                  <c:v>39728</c:v>
                </c:pt>
                <c:pt idx="411">
                  <c:v>39729</c:v>
                </c:pt>
                <c:pt idx="412">
                  <c:v>39730</c:v>
                </c:pt>
                <c:pt idx="413">
                  <c:v>39731</c:v>
                </c:pt>
                <c:pt idx="414">
                  <c:v>39734</c:v>
                </c:pt>
                <c:pt idx="415">
                  <c:v>39735</c:v>
                </c:pt>
                <c:pt idx="416">
                  <c:v>39736</c:v>
                </c:pt>
                <c:pt idx="417">
                  <c:v>39737</c:v>
                </c:pt>
                <c:pt idx="418">
                  <c:v>39738</c:v>
                </c:pt>
                <c:pt idx="419">
                  <c:v>39741</c:v>
                </c:pt>
                <c:pt idx="420">
                  <c:v>39742</c:v>
                </c:pt>
                <c:pt idx="421">
                  <c:v>39743</c:v>
                </c:pt>
                <c:pt idx="422">
                  <c:v>39744</c:v>
                </c:pt>
                <c:pt idx="423">
                  <c:v>39745</c:v>
                </c:pt>
                <c:pt idx="424">
                  <c:v>39748</c:v>
                </c:pt>
                <c:pt idx="425">
                  <c:v>39749</c:v>
                </c:pt>
                <c:pt idx="426">
                  <c:v>39750</c:v>
                </c:pt>
                <c:pt idx="427">
                  <c:v>39751</c:v>
                </c:pt>
                <c:pt idx="428">
                  <c:v>39752</c:v>
                </c:pt>
                <c:pt idx="429">
                  <c:v>39755</c:v>
                </c:pt>
                <c:pt idx="430">
                  <c:v>39756</c:v>
                </c:pt>
                <c:pt idx="431">
                  <c:v>39757</c:v>
                </c:pt>
                <c:pt idx="432">
                  <c:v>39758</c:v>
                </c:pt>
                <c:pt idx="433">
                  <c:v>39759</c:v>
                </c:pt>
                <c:pt idx="434">
                  <c:v>39762</c:v>
                </c:pt>
                <c:pt idx="435">
                  <c:v>39763</c:v>
                </c:pt>
                <c:pt idx="436">
                  <c:v>39764</c:v>
                </c:pt>
                <c:pt idx="437">
                  <c:v>39765</c:v>
                </c:pt>
                <c:pt idx="438">
                  <c:v>39766</c:v>
                </c:pt>
                <c:pt idx="439">
                  <c:v>39769</c:v>
                </c:pt>
                <c:pt idx="440">
                  <c:v>39770</c:v>
                </c:pt>
                <c:pt idx="441">
                  <c:v>39771</c:v>
                </c:pt>
                <c:pt idx="442">
                  <c:v>39772</c:v>
                </c:pt>
                <c:pt idx="443">
                  <c:v>39773</c:v>
                </c:pt>
                <c:pt idx="444">
                  <c:v>39776</c:v>
                </c:pt>
                <c:pt idx="445">
                  <c:v>39777</c:v>
                </c:pt>
                <c:pt idx="446">
                  <c:v>39778</c:v>
                </c:pt>
                <c:pt idx="447">
                  <c:v>39780</c:v>
                </c:pt>
                <c:pt idx="448">
                  <c:v>39783</c:v>
                </c:pt>
                <c:pt idx="449">
                  <c:v>39784</c:v>
                </c:pt>
                <c:pt idx="450">
                  <c:v>39785</c:v>
                </c:pt>
                <c:pt idx="451">
                  <c:v>39786</c:v>
                </c:pt>
                <c:pt idx="452">
                  <c:v>39787</c:v>
                </c:pt>
                <c:pt idx="453">
                  <c:v>39790</c:v>
                </c:pt>
                <c:pt idx="454">
                  <c:v>39791</c:v>
                </c:pt>
                <c:pt idx="455">
                  <c:v>39792</c:v>
                </c:pt>
                <c:pt idx="456">
                  <c:v>39793</c:v>
                </c:pt>
                <c:pt idx="457">
                  <c:v>39794</c:v>
                </c:pt>
                <c:pt idx="458">
                  <c:v>39797</c:v>
                </c:pt>
                <c:pt idx="459">
                  <c:v>39798</c:v>
                </c:pt>
                <c:pt idx="460">
                  <c:v>39799</c:v>
                </c:pt>
                <c:pt idx="461">
                  <c:v>39800</c:v>
                </c:pt>
                <c:pt idx="462">
                  <c:v>39801</c:v>
                </c:pt>
                <c:pt idx="463">
                  <c:v>39805</c:v>
                </c:pt>
                <c:pt idx="464">
                  <c:v>39806</c:v>
                </c:pt>
                <c:pt idx="465">
                  <c:v>39808</c:v>
                </c:pt>
                <c:pt idx="466">
                  <c:v>39811</c:v>
                </c:pt>
                <c:pt idx="467">
                  <c:v>39812</c:v>
                </c:pt>
                <c:pt idx="468">
                  <c:v>39813</c:v>
                </c:pt>
                <c:pt idx="469">
                  <c:v>39815</c:v>
                </c:pt>
                <c:pt idx="470">
                  <c:v>39818</c:v>
                </c:pt>
                <c:pt idx="471">
                  <c:v>39819</c:v>
                </c:pt>
                <c:pt idx="472">
                  <c:v>39820</c:v>
                </c:pt>
                <c:pt idx="473">
                  <c:v>39821</c:v>
                </c:pt>
                <c:pt idx="474">
                  <c:v>39822</c:v>
                </c:pt>
                <c:pt idx="475">
                  <c:v>39825</c:v>
                </c:pt>
                <c:pt idx="476">
                  <c:v>39826</c:v>
                </c:pt>
                <c:pt idx="477">
                  <c:v>39827</c:v>
                </c:pt>
                <c:pt idx="478">
                  <c:v>39828</c:v>
                </c:pt>
                <c:pt idx="479">
                  <c:v>39829</c:v>
                </c:pt>
                <c:pt idx="480">
                  <c:v>39833</c:v>
                </c:pt>
                <c:pt idx="481">
                  <c:v>39834</c:v>
                </c:pt>
                <c:pt idx="482">
                  <c:v>39835</c:v>
                </c:pt>
                <c:pt idx="483">
                  <c:v>39836</c:v>
                </c:pt>
                <c:pt idx="484">
                  <c:v>39839</c:v>
                </c:pt>
                <c:pt idx="485">
                  <c:v>39840</c:v>
                </c:pt>
                <c:pt idx="486">
                  <c:v>39841</c:v>
                </c:pt>
                <c:pt idx="487">
                  <c:v>39842</c:v>
                </c:pt>
                <c:pt idx="488">
                  <c:v>39843</c:v>
                </c:pt>
                <c:pt idx="489">
                  <c:v>39846</c:v>
                </c:pt>
                <c:pt idx="490">
                  <c:v>39847</c:v>
                </c:pt>
                <c:pt idx="491">
                  <c:v>39848</c:v>
                </c:pt>
                <c:pt idx="492">
                  <c:v>39849</c:v>
                </c:pt>
                <c:pt idx="493">
                  <c:v>39850</c:v>
                </c:pt>
                <c:pt idx="494">
                  <c:v>39853</c:v>
                </c:pt>
                <c:pt idx="495">
                  <c:v>39854</c:v>
                </c:pt>
                <c:pt idx="496">
                  <c:v>39855</c:v>
                </c:pt>
                <c:pt idx="497">
                  <c:v>39856</c:v>
                </c:pt>
                <c:pt idx="498">
                  <c:v>39857</c:v>
                </c:pt>
                <c:pt idx="499">
                  <c:v>39861</c:v>
                </c:pt>
                <c:pt idx="500">
                  <c:v>39862</c:v>
                </c:pt>
                <c:pt idx="501">
                  <c:v>39863</c:v>
                </c:pt>
                <c:pt idx="502">
                  <c:v>39864</c:v>
                </c:pt>
                <c:pt idx="503">
                  <c:v>39867</c:v>
                </c:pt>
                <c:pt idx="504">
                  <c:v>39868</c:v>
                </c:pt>
                <c:pt idx="505">
                  <c:v>39869</c:v>
                </c:pt>
                <c:pt idx="506">
                  <c:v>39870</c:v>
                </c:pt>
                <c:pt idx="507">
                  <c:v>39871</c:v>
                </c:pt>
                <c:pt idx="508">
                  <c:v>39874</c:v>
                </c:pt>
                <c:pt idx="509">
                  <c:v>39875</c:v>
                </c:pt>
                <c:pt idx="510">
                  <c:v>39876</c:v>
                </c:pt>
                <c:pt idx="511">
                  <c:v>39877</c:v>
                </c:pt>
                <c:pt idx="512">
                  <c:v>39878</c:v>
                </c:pt>
                <c:pt idx="513">
                  <c:v>39881</c:v>
                </c:pt>
                <c:pt idx="514">
                  <c:v>39882</c:v>
                </c:pt>
                <c:pt idx="515">
                  <c:v>39883</c:v>
                </c:pt>
                <c:pt idx="516">
                  <c:v>39884</c:v>
                </c:pt>
                <c:pt idx="517">
                  <c:v>39885</c:v>
                </c:pt>
                <c:pt idx="518">
                  <c:v>39888</c:v>
                </c:pt>
                <c:pt idx="519">
                  <c:v>39889</c:v>
                </c:pt>
                <c:pt idx="520">
                  <c:v>39890</c:v>
                </c:pt>
                <c:pt idx="521">
                  <c:v>39891</c:v>
                </c:pt>
                <c:pt idx="522">
                  <c:v>39892</c:v>
                </c:pt>
                <c:pt idx="523">
                  <c:v>39895</c:v>
                </c:pt>
                <c:pt idx="524">
                  <c:v>39896</c:v>
                </c:pt>
                <c:pt idx="525">
                  <c:v>39897</c:v>
                </c:pt>
                <c:pt idx="526">
                  <c:v>39898</c:v>
                </c:pt>
                <c:pt idx="527">
                  <c:v>39899</c:v>
                </c:pt>
                <c:pt idx="528">
                  <c:v>39902</c:v>
                </c:pt>
                <c:pt idx="529">
                  <c:v>39903</c:v>
                </c:pt>
                <c:pt idx="530">
                  <c:v>39904</c:v>
                </c:pt>
                <c:pt idx="531">
                  <c:v>39905</c:v>
                </c:pt>
                <c:pt idx="532">
                  <c:v>39906</c:v>
                </c:pt>
                <c:pt idx="533">
                  <c:v>39909</c:v>
                </c:pt>
                <c:pt idx="534">
                  <c:v>39910</c:v>
                </c:pt>
                <c:pt idx="535">
                  <c:v>39911</c:v>
                </c:pt>
                <c:pt idx="536">
                  <c:v>39912</c:v>
                </c:pt>
                <c:pt idx="537">
                  <c:v>39916</c:v>
                </c:pt>
                <c:pt idx="538">
                  <c:v>39917</c:v>
                </c:pt>
                <c:pt idx="539">
                  <c:v>39918</c:v>
                </c:pt>
                <c:pt idx="540">
                  <c:v>39919</c:v>
                </c:pt>
                <c:pt idx="541">
                  <c:v>39920</c:v>
                </c:pt>
                <c:pt idx="542">
                  <c:v>39923</c:v>
                </c:pt>
                <c:pt idx="543">
                  <c:v>39924</c:v>
                </c:pt>
                <c:pt idx="544">
                  <c:v>39925</c:v>
                </c:pt>
                <c:pt idx="545">
                  <c:v>39926</c:v>
                </c:pt>
                <c:pt idx="546">
                  <c:v>39927</c:v>
                </c:pt>
                <c:pt idx="547">
                  <c:v>39930</c:v>
                </c:pt>
                <c:pt idx="548">
                  <c:v>39931</c:v>
                </c:pt>
                <c:pt idx="549">
                  <c:v>39932</c:v>
                </c:pt>
                <c:pt idx="550">
                  <c:v>39933</c:v>
                </c:pt>
                <c:pt idx="551">
                  <c:v>39934</c:v>
                </c:pt>
                <c:pt idx="552">
                  <c:v>39937</c:v>
                </c:pt>
                <c:pt idx="553">
                  <c:v>39938</c:v>
                </c:pt>
                <c:pt idx="554">
                  <c:v>39939</c:v>
                </c:pt>
                <c:pt idx="555">
                  <c:v>39940</c:v>
                </c:pt>
                <c:pt idx="556">
                  <c:v>39941</c:v>
                </c:pt>
                <c:pt idx="557">
                  <c:v>39944</c:v>
                </c:pt>
                <c:pt idx="558">
                  <c:v>39945</c:v>
                </c:pt>
                <c:pt idx="559">
                  <c:v>39946</c:v>
                </c:pt>
                <c:pt idx="560">
                  <c:v>39947</c:v>
                </c:pt>
                <c:pt idx="561">
                  <c:v>39948</c:v>
                </c:pt>
                <c:pt idx="562">
                  <c:v>39951</c:v>
                </c:pt>
                <c:pt idx="563">
                  <c:v>39952</c:v>
                </c:pt>
                <c:pt idx="564">
                  <c:v>39953</c:v>
                </c:pt>
                <c:pt idx="565">
                  <c:v>39954</c:v>
                </c:pt>
                <c:pt idx="566">
                  <c:v>39955</c:v>
                </c:pt>
                <c:pt idx="567">
                  <c:v>39959</c:v>
                </c:pt>
                <c:pt idx="568">
                  <c:v>39960</c:v>
                </c:pt>
                <c:pt idx="569">
                  <c:v>39961</c:v>
                </c:pt>
                <c:pt idx="570">
                  <c:v>39962</c:v>
                </c:pt>
                <c:pt idx="571">
                  <c:v>39965</c:v>
                </c:pt>
                <c:pt idx="572">
                  <c:v>39966</c:v>
                </c:pt>
                <c:pt idx="573">
                  <c:v>39967</c:v>
                </c:pt>
                <c:pt idx="574">
                  <c:v>39968</c:v>
                </c:pt>
                <c:pt idx="575">
                  <c:v>39969</c:v>
                </c:pt>
                <c:pt idx="576">
                  <c:v>39972</c:v>
                </c:pt>
                <c:pt idx="577">
                  <c:v>39973</c:v>
                </c:pt>
                <c:pt idx="578">
                  <c:v>39974</c:v>
                </c:pt>
                <c:pt idx="579">
                  <c:v>39975</c:v>
                </c:pt>
                <c:pt idx="580">
                  <c:v>39976</c:v>
                </c:pt>
                <c:pt idx="581">
                  <c:v>39979</c:v>
                </c:pt>
                <c:pt idx="582">
                  <c:v>39980</c:v>
                </c:pt>
                <c:pt idx="583">
                  <c:v>39981</c:v>
                </c:pt>
                <c:pt idx="584">
                  <c:v>39982</c:v>
                </c:pt>
                <c:pt idx="585">
                  <c:v>39983</c:v>
                </c:pt>
                <c:pt idx="586">
                  <c:v>39986</c:v>
                </c:pt>
                <c:pt idx="587">
                  <c:v>39987</c:v>
                </c:pt>
                <c:pt idx="588">
                  <c:v>39988</c:v>
                </c:pt>
                <c:pt idx="589">
                  <c:v>39989</c:v>
                </c:pt>
                <c:pt idx="590">
                  <c:v>39990</c:v>
                </c:pt>
                <c:pt idx="591">
                  <c:v>39993</c:v>
                </c:pt>
                <c:pt idx="592">
                  <c:v>39994</c:v>
                </c:pt>
                <c:pt idx="593">
                  <c:v>39995</c:v>
                </c:pt>
                <c:pt idx="594">
                  <c:v>39996</c:v>
                </c:pt>
                <c:pt idx="595">
                  <c:v>40000</c:v>
                </c:pt>
                <c:pt idx="596">
                  <c:v>40001</c:v>
                </c:pt>
                <c:pt idx="597">
                  <c:v>40002</c:v>
                </c:pt>
                <c:pt idx="598">
                  <c:v>40003</c:v>
                </c:pt>
                <c:pt idx="599">
                  <c:v>40004</c:v>
                </c:pt>
                <c:pt idx="600">
                  <c:v>40007</c:v>
                </c:pt>
                <c:pt idx="601">
                  <c:v>40008</c:v>
                </c:pt>
                <c:pt idx="602">
                  <c:v>40009</c:v>
                </c:pt>
                <c:pt idx="603">
                  <c:v>40010</c:v>
                </c:pt>
                <c:pt idx="604">
                  <c:v>40011</c:v>
                </c:pt>
                <c:pt idx="605">
                  <c:v>40014</c:v>
                </c:pt>
                <c:pt idx="606">
                  <c:v>40015</c:v>
                </c:pt>
                <c:pt idx="607">
                  <c:v>40016</c:v>
                </c:pt>
                <c:pt idx="608">
                  <c:v>40017</c:v>
                </c:pt>
                <c:pt idx="609">
                  <c:v>40018</c:v>
                </c:pt>
                <c:pt idx="610">
                  <c:v>40021</c:v>
                </c:pt>
                <c:pt idx="611">
                  <c:v>40022</c:v>
                </c:pt>
                <c:pt idx="612">
                  <c:v>40023</c:v>
                </c:pt>
                <c:pt idx="613">
                  <c:v>40024</c:v>
                </c:pt>
                <c:pt idx="614">
                  <c:v>40025</c:v>
                </c:pt>
                <c:pt idx="615">
                  <c:v>40028</c:v>
                </c:pt>
                <c:pt idx="616">
                  <c:v>40029</c:v>
                </c:pt>
                <c:pt idx="617">
                  <c:v>40030</c:v>
                </c:pt>
                <c:pt idx="618">
                  <c:v>40031</c:v>
                </c:pt>
                <c:pt idx="619">
                  <c:v>40032</c:v>
                </c:pt>
                <c:pt idx="620">
                  <c:v>40035</c:v>
                </c:pt>
                <c:pt idx="621">
                  <c:v>40036</c:v>
                </c:pt>
                <c:pt idx="622">
                  <c:v>40037</c:v>
                </c:pt>
                <c:pt idx="623">
                  <c:v>40038</c:v>
                </c:pt>
                <c:pt idx="624">
                  <c:v>40039</c:v>
                </c:pt>
                <c:pt idx="625">
                  <c:v>40042</c:v>
                </c:pt>
                <c:pt idx="626">
                  <c:v>40043</c:v>
                </c:pt>
                <c:pt idx="627">
                  <c:v>40044</c:v>
                </c:pt>
                <c:pt idx="628">
                  <c:v>40045</c:v>
                </c:pt>
                <c:pt idx="629">
                  <c:v>40046</c:v>
                </c:pt>
                <c:pt idx="630">
                  <c:v>40049</c:v>
                </c:pt>
                <c:pt idx="631">
                  <c:v>40050</c:v>
                </c:pt>
                <c:pt idx="632">
                  <c:v>40051</c:v>
                </c:pt>
                <c:pt idx="633">
                  <c:v>40052</c:v>
                </c:pt>
                <c:pt idx="634">
                  <c:v>40053</c:v>
                </c:pt>
                <c:pt idx="635">
                  <c:v>40056</c:v>
                </c:pt>
                <c:pt idx="636">
                  <c:v>40057</c:v>
                </c:pt>
                <c:pt idx="637">
                  <c:v>40058</c:v>
                </c:pt>
                <c:pt idx="638">
                  <c:v>40059</c:v>
                </c:pt>
                <c:pt idx="639">
                  <c:v>40060</c:v>
                </c:pt>
                <c:pt idx="640">
                  <c:v>40064</c:v>
                </c:pt>
                <c:pt idx="641">
                  <c:v>40065</c:v>
                </c:pt>
                <c:pt idx="642">
                  <c:v>40066</c:v>
                </c:pt>
                <c:pt idx="643">
                  <c:v>40067</c:v>
                </c:pt>
                <c:pt idx="644">
                  <c:v>40070</c:v>
                </c:pt>
                <c:pt idx="645">
                  <c:v>40071</c:v>
                </c:pt>
                <c:pt idx="646">
                  <c:v>40072</c:v>
                </c:pt>
                <c:pt idx="647">
                  <c:v>40073</c:v>
                </c:pt>
                <c:pt idx="648">
                  <c:v>40074</c:v>
                </c:pt>
                <c:pt idx="649">
                  <c:v>40077</c:v>
                </c:pt>
                <c:pt idx="650">
                  <c:v>40078</c:v>
                </c:pt>
                <c:pt idx="651">
                  <c:v>40079</c:v>
                </c:pt>
                <c:pt idx="652">
                  <c:v>40080</c:v>
                </c:pt>
                <c:pt idx="653">
                  <c:v>40081</c:v>
                </c:pt>
                <c:pt idx="654">
                  <c:v>40084</c:v>
                </c:pt>
                <c:pt idx="655">
                  <c:v>40085</c:v>
                </c:pt>
                <c:pt idx="656">
                  <c:v>40086</c:v>
                </c:pt>
                <c:pt idx="657">
                  <c:v>40087</c:v>
                </c:pt>
                <c:pt idx="658">
                  <c:v>40088</c:v>
                </c:pt>
                <c:pt idx="659">
                  <c:v>40091</c:v>
                </c:pt>
                <c:pt idx="660">
                  <c:v>40092</c:v>
                </c:pt>
                <c:pt idx="661">
                  <c:v>40093</c:v>
                </c:pt>
                <c:pt idx="662">
                  <c:v>40094</c:v>
                </c:pt>
                <c:pt idx="663">
                  <c:v>40095</c:v>
                </c:pt>
                <c:pt idx="664">
                  <c:v>40098</c:v>
                </c:pt>
                <c:pt idx="665">
                  <c:v>40099</c:v>
                </c:pt>
                <c:pt idx="666">
                  <c:v>40100</c:v>
                </c:pt>
                <c:pt idx="667">
                  <c:v>40101</c:v>
                </c:pt>
                <c:pt idx="668">
                  <c:v>40102</c:v>
                </c:pt>
                <c:pt idx="669">
                  <c:v>40105</c:v>
                </c:pt>
                <c:pt idx="670">
                  <c:v>40106</c:v>
                </c:pt>
                <c:pt idx="671">
                  <c:v>40107</c:v>
                </c:pt>
                <c:pt idx="672">
                  <c:v>40108</c:v>
                </c:pt>
                <c:pt idx="673">
                  <c:v>40109</c:v>
                </c:pt>
                <c:pt idx="674">
                  <c:v>40112</c:v>
                </c:pt>
                <c:pt idx="675">
                  <c:v>40113</c:v>
                </c:pt>
                <c:pt idx="676">
                  <c:v>40114</c:v>
                </c:pt>
                <c:pt idx="677">
                  <c:v>40115</c:v>
                </c:pt>
                <c:pt idx="678">
                  <c:v>40116</c:v>
                </c:pt>
                <c:pt idx="679">
                  <c:v>40119</c:v>
                </c:pt>
                <c:pt idx="680">
                  <c:v>40120</c:v>
                </c:pt>
                <c:pt idx="681">
                  <c:v>40121</c:v>
                </c:pt>
                <c:pt idx="682">
                  <c:v>40122</c:v>
                </c:pt>
                <c:pt idx="683">
                  <c:v>40123</c:v>
                </c:pt>
                <c:pt idx="684">
                  <c:v>40126</c:v>
                </c:pt>
                <c:pt idx="685">
                  <c:v>40127</c:v>
                </c:pt>
                <c:pt idx="686">
                  <c:v>40128</c:v>
                </c:pt>
                <c:pt idx="687">
                  <c:v>40129</c:v>
                </c:pt>
                <c:pt idx="688">
                  <c:v>40130</c:v>
                </c:pt>
                <c:pt idx="689">
                  <c:v>40133</c:v>
                </c:pt>
                <c:pt idx="690">
                  <c:v>40134</c:v>
                </c:pt>
                <c:pt idx="691">
                  <c:v>40135</c:v>
                </c:pt>
                <c:pt idx="692">
                  <c:v>40136</c:v>
                </c:pt>
                <c:pt idx="693">
                  <c:v>40137</c:v>
                </c:pt>
                <c:pt idx="694">
                  <c:v>40140</c:v>
                </c:pt>
                <c:pt idx="695">
                  <c:v>40141</c:v>
                </c:pt>
                <c:pt idx="696">
                  <c:v>40142</c:v>
                </c:pt>
                <c:pt idx="697">
                  <c:v>40144</c:v>
                </c:pt>
                <c:pt idx="698">
                  <c:v>40147</c:v>
                </c:pt>
                <c:pt idx="699">
                  <c:v>40148</c:v>
                </c:pt>
                <c:pt idx="700">
                  <c:v>40149</c:v>
                </c:pt>
                <c:pt idx="701">
                  <c:v>40150</c:v>
                </c:pt>
                <c:pt idx="702">
                  <c:v>40151</c:v>
                </c:pt>
                <c:pt idx="703">
                  <c:v>40154</c:v>
                </c:pt>
                <c:pt idx="704">
                  <c:v>40155</c:v>
                </c:pt>
                <c:pt idx="705">
                  <c:v>40156</c:v>
                </c:pt>
                <c:pt idx="706">
                  <c:v>40157</c:v>
                </c:pt>
                <c:pt idx="707">
                  <c:v>40158</c:v>
                </c:pt>
                <c:pt idx="708">
                  <c:v>40161</c:v>
                </c:pt>
                <c:pt idx="709">
                  <c:v>40162</c:v>
                </c:pt>
                <c:pt idx="710">
                  <c:v>40163</c:v>
                </c:pt>
                <c:pt idx="711">
                  <c:v>40164</c:v>
                </c:pt>
                <c:pt idx="712">
                  <c:v>40165</c:v>
                </c:pt>
                <c:pt idx="713">
                  <c:v>40168</c:v>
                </c:pt>
                <c:pt idx="714">
                  <c:v>40169</c:v>
                </c:pt>
                <c:pt idx="715">
                  <c:v>40170</c:v>
                </c:pt>
                <c:pt idx="716">
                  <c:v>40171</c:v>
                </c:pt>
                <c:pt idx="717">
                  <c:v>40175</c:v>
                </c:pt>
                <c:pt idx="718">
                  <c:v>40176</c:v>
                </c:pt>
                <c:pt idx="719">
                  <c:v>40177</c:v>
                </c:pt>
                <c:pt idx="720">
                  <c:v>40178</c:v>
                </c:pt>
                <c:pt idx="721">
                  <c:v>40182</c:v>
                </c:pt>
                <c:pt idx="722">
                  <c:v>40183</c:v>
                </c:pt>
                <c:pt idx="723">
                  <c:v>40184</c:v>
                </c:pt>
                <c:pt idx="724">
                  <c:v>40185</c:v>
                </c:pt>
                <c:pt idx="725">
                  <c:v>40186</c:v>
                </c:pt>
                <c:pt idx="726">
                  <c:v>40189</c:v>
                </c:pt>
                <c:pt idx="727">
                  <c:v>40190</c:v>
                </c:pt>
                <c:pt idx="728">
                  <c:v>40191</c:v>
                </c:pt>
                <c:pt idx="729">
                  <c:v>40192</c:v>
                </c:pt>
                <c:pt idx="730">
                  <c:v>40193</c:v>
                </c:pt>
                <c:pt idx="731">
                  <c:v>40197</c:v>
                </c:pt>
                <c:pt idx="732">
                  <c:v>40198</c:v>
                </c:pt>
                <c:pt idx="733">
                  <c:v>40199</c:v>
                </c:pt>
                <c:pt idx="734">
                  <c:v>40200</c:v>
                </c:pt>
                <c:pt idx="735">
                  <c:v>40203</c:v>
                </c:pt>
                <c:pt idx="736">
                  <c:v>40204</c:v>
                </c:pt>
                <c:pt idx="737">
                  <c:v>40205</c:v>
                </c:pt>
                <c:pt idx="738">
                  <c:v>40206</c:v>
                </c:pt>
                <c:pt idx="739">
                  <c:v>40207</c:v>
                </c:pt>
                <c:pt idx="740">
                  <c:v>40210</c:v>
                </c:pt>
                <c:pt idx="741">
                  <c:v>40211</c:v>
                </c:pt>
                <c:pt idx="742">
                  <c:v>40212</c:v>
                </c:pt>
                <c:pt idx="743">
                  <c:v>40213</c:v>
                </c:pt>
                <c:pt idx="744">
                  <c:v>40214</c:v>
                </c:pt>
                <c:pt idx="745">
                  <c:v>40217</c:v>
                </c:pt>
                <c:pt idx="746">
                  <c:v>40218</c:v>
                </c:pt>
                <c:pt idx="747">
                  <c:v>40219</c:v>
                </c:pt>
                <c:pt idx="748">
                  <c:v>40220</c:v>
                </c:pt>
                <c:pt idx="749">
                  <c:v>40221</c:v>
                </c:pt>
                <c:pt idx="750">
                  <c:v>40225</c:v>
                </c:pt>
                <c:pt idx="751">
                  <c:v>40226</c:v>
                </c:pt>
                <c:pt idx="752">
                  <c:v>40227</c:v>
                </c:pt>
                <c:pt idx="753">
                  <c:v>40228</c:v>
                </c:pt>
                <c:pt idx="754">
                  <c:v>40231</c:v>
                </c:pt>
                <c:pt idx="755">
                  <c:v>40232</c:v>
                </c:pt>
                <c:pt idx="756">
                  <c:v>40233</c:v>
                </c:pt>
                <c:pt idx="757">
                  <c:v>40234</c:v>
                </c:pt>
                <c:pt idx="758">
                  <c:v>40235</c:v>
                </c:pt>
                <c:pt idx="759">
                  <c:v>40238</c:v>
                </c:pt>
                <c:pt idx="760">
                  <c:v>40239</c:v>
                </c:pt>
                <c:pt idx="761">
                  <c:v>40240</c:v>
                </c:pt>
                <c:pt idx="762">
                  <c:v>40241</c:v>
                </c:pt>
                <c:pt idx="763">
                  <c:v>40242</c:v>
                </c:pt>
                <c:pt idx="764">
                  <c:v>40245</c:v>
                </c:pt>
                <c:pt idx="765">
                  <c:v>40246</c:v>
                </c:pt>
                <c:pt idx="766">
                  <c:v>40247</c:v>
                </c:pt>
                <c:pt idx="767">
                  <c:v>40248</c:v>
                </c:pt>
                <c:pt idx="768">
                  <c:v>40249</c:v>
                </c:pt>
                <c:pt idx="769">
                  <c:v>40252</c:v>
                </c:pt>
                <c:pt idx="770">
                  <c:v>40253</c:v>
                </c:pt>
                <c:pt idx="771">
                  <c:v>40254</c:v>
                </c:pt>
                <c:pt idx="772">
                  <c:v>40255</c:v>
                </c:pt>
                <c:pt idx="773">
                  <c:v>40256</c:v>
                </c:pt>
                <c:pt idx="774">
                  <c:v>40259</c:v>
                </c:pt>
                <c:pt idx="775">
                  <c:v>40260</c:v>
                </c:pt>
                <c:pt idx="776">
                  <c:v>40261</c:v>
                </c:pt>
                <c:pt idx="777">
                  <c:v>40262</c:v>
                </c:pt>
                <c:pt idx="778">
                  <c:v>40263</c:v>
                </c:pt>
                <c:pt idx="779">
                  <c:v>40266</c:v>
                </c:pt>
                <c:pt idx="780">
                  <c:v>40267</c:v>
                </c:pt>
                <c:pt idx="781">
                  <c:v>40268</c:v>
                </c:pt>
                <c:pt idx="782">
                  <c:v>40269</c:v>
                </c:pt>
                <c:pt idx="783">
                  <c:v>40273</c:v>
                </c:pt>
                <c:pt idx="784">
                  <c:v>40274</c:v>
                </c:pt>
                <c:pt idx="785">
                  <c:v>40275</c:v>
                </c:pt>
                <c:pt idx="786">
                  <c:v>40276</c:v>
                </c:pt>
                <c:pt idx="787">
                  <c:v>40277</c:v>
                </c:pt>
                <c:pt idx="788">
                  <c:v>40280</c:v>
                </c:pt>
                <c:pt idx="789">
                  <c:v>40281</c:v>
                </c:pt>
                <c:pt idx="790">
                  <c:v>40282</c:v>
                </c:pt>
                <c:pt idx="791">
                  <c:v>40283</c:v>
                </c:pt>
                <c:pt idx="792">
                  <c:v>40284</c:v>
                </c:pt>
                <c:pt idx="793">
                  <c:v>40287</c:v>
                </c:pt>
                <c:pt idx="794">
                  <c:v>40288</c:v>
                </c:pt>
                <c:pt idx="795">
                  <c:v>40289</c:v>
                </c:pt>
                <c:pt idx="796">
                  <c:v>40290</c:v>
                </c:pt>
                <c:pt idx="797">
                  <c:v>40291</c:v>
                </c:pt>
                <c:pt idx="798">
                  <c:v>40294</c:v>
                </c:pt>
                <c:pt idx="799">
                  <c:v>40295</c:v>
                </c:pt>
                <c:pt idx="800">
                  <c:v>40296</c:v>
                </c:pt>
                <c:pt idx="801">
                  <c:v>40297</c:v>
                </c:pt>
                <c:pt idx="802">
                  <c:v>40298</c:v>
                </c:pt>
                <c:pt idx="803">
                  <c:v>40301</c:v>
                </c:pt>
                <c:pt idx="804">
                  <c:v>40302</c:v>
                </c:pt>
                <c:pt idx="805">
                  <c:v>40303</c:v>
                </c:pt>
                <c:pt idx="806">
                  <c:v>40304</c:v>
                </c:pt>
                <c:pt idx="807">
                  <c:v>40305</c:v>
                </c:pt>
                <c:pt idx="808">
                  <c:v>40308</c:v>
                </c:pt>
                <c:pt idx="809">
                  <c:v>40309</c:v>
                </c:pt>
                <c:pt idx="810">
                  <c:v>40310</c:v>
                </c:pt>
                <c:pt idx="811">
                  <c:v>40311</c:v>
                </c:pt>
                <c:pt idx="812">
                  <c:v>40312</c:v>
                </c:pt>
                <c:pt idx="813">
                  <c:v>40315</c:v>
                </c:pt>
                <c:pt idx="814">
                  <c:v>40316</c:v>
                </c:pt>
                <c:pt idx="815">
                  <c:v>40317</c:v>
                </c:pt>
                <c:pt idx="816">
                  <c:v>40318</c:v>
                </c:pt>
                <c:pt idx="817">
                  <c:v>40319</c:v>
                </c:pt>
                <c:pt idx="818">
                  <c:v>40322</c:v>
                </c:pt>
                <c:pt idx="819">
                  <c:v>40323</c:v>
                </c:pt>
                <c:pt idx="820">
                  <c:v>40324</c:v>
                </c:pt>
                <c:pt idx="821">
                  <c:v>40325</c:v>
                </c:pt>
                <c:pt idx="822">
                  <c:v>40326</c:v>
                </c:pt>
                <c:pt idx="823">
                  <c:v>40330</c:v>
                </c:pt>
                <c:pt idx="824">
                  <c:v>40331</c:v>
                </c:pt>
                <c:pt idx="825">
                  <c:v>40332</c:v>
                </c:pt>
                <c:pt idx="826">
                  <c:v>40333</c:v>
                </c:pt>
                <c:pt idx="827">
                  <c:v>40336</c:v>
                </c:pt>
                <c:pt idx="828">
                  <c:v>40337</c:v>
                </c:pt>
                <c:pt idx="829">
                  <c:v>40338</c:v>
                </c:pt>
                <c:pt idx="830">
                  <c:v>40339</c:v>
                </c:pt>
                <c:pt idx="831">
                  <c:v>40340</c:v>
                </c:pt>
                <c:pt idx="832">
                  <c:v>40343</c:v>
                </c:pt>
                <c:pt idx="833">
                  <c:v>40344</c:v>
                </c:pt>
                <c:pt idx="834">
                  <c:v>40345</c:v>
                </c:pt>
                <c:pt idx="835">
                  <c:v>40346</c:v>
                </c:pt>
                <c:pt idx="836">
                  <c:v>40347</c:v>
                </c:pt>
                <c:pt idx="837">
                  <c:v>40350</c:v>
                </c:pt>
                <c:pt idx="838">
                  <c:v>40351</c:v>
                </c:pt>
                <c:pt idx="839">
                  <c:v>40352</c:v>
                </c:pt>
                <c:pt idx="840">
                  <c:v>40353</c:v>
                </c:pt>
                <c:pt idx="841">
                  <c:v>40354</c:v>
                </c:pt>
                <c:pt idx="842">
                  <c:v>40357</c:v>
                </c:pt>
                <c:pt idx="843">
                  <c:v>40358</c:v>
                </c:pt>
                <c:pt idx="844">
                  <c:v>40359</c:v>
                </c:pt>
                <c:pt idx="845">
                  <c:v>40360</c:v>
                </c:pt>
                <c:pt idx="846">
                  <c:v>40361</c:v>
                </c:pt>
                <c:pt idx="847">
                  <c:v>40365</c:v>
                </c:pt>
                <c:pt idx="848">
                  <c:v>40366</c:v>
                </c:pt>
                <c:pt idx="849">
                  <c:v>40367</c:v>
                </c:pt>
                <c:pt idx="850">
                  <c:v>40368</c:v>
                </c:pt>
                <c:pt idx="851">
                  <c:v>40371</c:v>
                </c:pt>
                <c:pt idx="852">
                  <c:v>40372</c:v>
                </c:pt>
                <c:pt idx="853">
                  <c:v>40373</c:v>
                </c:pt>
                <c:pt idx="854">
                  <c:v>40374</c:v>
                </c:pt>
                <c:pt idx="855">
                  <c:v>40375</c:v>
                </c:pt>
                <c:pt idx="856">
                  <c:v>40378</c:v>
                </c:pt>
                <c:pt idx="857">
                  <c:v>40379</c:v>
                </c:pt>
                <c:pt idx="858">
                  <c:v>40380</c:v>
                </c:pt>
                <c:pt idx="859">
                  <c:v>40381</c:v>
                </c:pt>
                <c:pt idx="860">
                  <c:v>40382</c:v>
                </c:pt>
                <c:pt idx="861">
                  <c:v>40385</c:v>
                </c:pt>
                <c:pt idx="862">
                  <c:v>40386</c:v>
                </c:pt>
                <c:pt idx="863">
                  <c:v>40387</c:v>
                </c:pt>
                <c:pt idx="864">
                  <c:v>40388</c:v>
                </c:pt>
                <c:pt idx="865">
                  <c:v>40389</c:v>
                </c:pt>
                <c:pt idx="866">
                  <c:v>40392</c:v>
                </c:pt>
                <c:pt idx="867">
                  <c:v>40393</c:v>
                </c:pt>
                <c:pt idx="868">
                  <c:v>40394</c:v>
                </c:pt>
                <c:pt idx="869">
                  <c:v>40395</c:v>
                </c:pt>
                <c:pt idx="870">
                  <c:v>40396</c:v>
                </c:pt>
                <c:pt idx="871">
                  <c:v>40399</c:v>
                </c:pt>
                <c:pt idx="872">
                  <c:v>40400</c:v>
                </c:pt>
                <c:pt idx="873">
                  <c:v>40401</c:v>
                </c:pt>
                <c:pt idx="874">
                  <c:v>40402</c:v>
                </c:pt>
                <c:pt idx="875">
                  <c:v>40403</c:v>
                </c:pt>
                <c:pt idx="876">
                  <c:v>40406</c:v>
                </c:pt>
                <c:pt idx="877">
                  <c:v>40407</c:v>
                </c:pt>
                <c:pt idx="878">
                  <c:v>40408</c:v>
                </c:pt>
                <c:pt idx="879">
                  <c:v>40409</c:v>
                </c:pt>
                <c:pt idx="880">
                  <c:v>40410</c:v>
                </c:pt>
                <c:pt idx="881">
                  <c:v>40413</c:v>
                </c:pt>
                <c:pt idx="882">
                  <c:v>40414</c:v>
                </c:pt>
                <c:pt idx="883">
                  <c:v>40415</c:v>
                </c:pt>
                <c:pt idx="884">
                  <c:v>40416</c:v>
                </c:pt>
                <c:pt idx="885">
                  <c:v>40417</c:v>
                </c:pt>
                <c:pt idx="886">
                  <c:v>40420</c:v>
                </c:pt>
                <c:pt idx="887">
                  <c:v>40421</c:v>
                </c:pt>
                <c:pt idx="888">
                  <c:v>40422</c:v>
                </c:pt>
                <c:pt idx="889">
                  <c:v>40423</c:v>
                </c:pt>
                <c:pt idx="890">
                  <c:v>40424</c:v>
                </c:pt>
                <c:pt idx="891">
                  <c:v>40428</c:v>
                </c:pt>
                <c:pt idx="892">
                  <c:v>40429</c:v>
                </c:pt>
                <c:pt idx="893">
                  <c:v>40430</c:v>
                </c:pt>
                <c:pt idx="894">
                  <c:v>40431</c:v>
                </c:pt>
                <c:pt idx="895">
                  <c:v>40434</c:v>
                </c:pt>
                <c:pt idx="896">
                  <c:v>40435</c:v>
                </c:pt>
                <c:pt idx="897">
                  <c:v>40436</c:v>
                </c:pt>
                <c:pt idx="898">
                  <c:v>40437</c:v>
                </c:pt>
                <c:pt idx="899">
                  <c:v>40438</c:v>
                </c:pt>
                <c:pt idx="900">
                  <c:v>40441</c:v>
                </c:pt>
                <c:pt idx="901">
                  <c:v>40442</c:v>
                </c:pt>
                <c:pt idx="902">
                  <c:v>40443</c:v>
                </c:pt>
                <c:pt idx="903">
                  <c:v>40444</c:v>
                </c:pt>
                <c:pt idx="904">
                  <c:v>40445</c:v>
                </c:pt>
                <c:pt idx="905">
                  <c:v>40448</c:v>
                </c:pt>
                <c:pt idx="906">
                  <c:v>40449</c:v>
                </c:pt>
                <c:pt idx="907">
                  <c:v>40450</c:v>
                </c:pt>
                <c:pt idx="908">
                  <c:v>40451</c:v>
                </c:pt>
                <c:pt idx="909">
                  <c:v>40452</c:v>
                </c:pt>
                <c:pt idx="910">
                  <c:v>40455</c:v>
                </c:pt>
                <c:pt idx="911">
                  <c:v>40456</c:v>
                </c:pt>
                <c:pt idx="912">
                  <c:v>40457</c:v>
                </c:pt>
                <c:pt idx="913">
                  <c:v>40458</c:v>
                </c:pt>
                <c:pt idx="914">
                  <c:v>40459</c:v>
                </c:pt>
                <c:pt idx="915">
                  <c:v>40462</c:v>
                </c:pt>
                <c:pt idx="916">
                  <c:v>40463</c:v>
                </c:pt>
                <c:pt idx="917">
                  <c:v>40464</c:v>
                </c:pt>
                <c:pt idx="918">
                  <c:v>40465</c:v>
                </c:pt>
                <c:pt idx="919">
                  <c:v>40466</c:v>
                </c:pt>
                <c:pt idx="920">
                  <c:v>40469</c:v>
                </c:pt>
                <c:pt idx="921">
                  <c:v>40470</c:v>
                </c:pt>
                <c:pt idx="922">
                  <c:v>40471</c:v>
                </c:pt>
                <c:pt idx="923">
                  <c:v>40472</c:v>
                </c:pt>
                <c:pt idx="924">
                  <c:v>40473</c:v>
                </c:pt>
                <c:pt idx="925">
                  <c:v>40476</c:v>
                </c:pt>
                <c:pt idx="926">
                  <c:v>40477</c:v>
                </c:pt>
                <c:pt idx="927">
                  <c:v>40478</c:v>
                </c:pt>
                <c:pt idx="928">
                  <c:v>40479</c:v>
                </c:pt>
                <c:pt idx="929">
                  <c:v>40480</c:v>
                </c:pt>
                <c:pt idx="930">
                  <c:v>40483</c:v>
                </c:pt>
                <c:pt idx="931">
                  <c:v>40484</c:v>
                </c:pt>
                <c:pt idx="932">
                  <c:v>40485</c:v>
                </c:pt>
                <c:pt idx="933">
                  <c:v>40486</c:v>
                </c:pt>
                <c:pt idx="934">
                  <c:v>40487</c:v>
                </c:pt>
                <c:pt idx="935">
                  <c:v>40490</c:v>
                </c:pt>
                <c:pt idx="936">
                  <c:v>40491</c:v>
                </c:pt>
                <c:pt idx="937">
                  <c:v>40492</c:v>
                </c:pt>
                <c:pt idx="938">
                  <c:v>40493</c:v>
                </c:pt>
                <c:pt idx="939">
                  <c:v>40494</c:v>
                </c:pt>
                <c:pt idx="940">
                  <c:v>40497</c:v>
                </c:pt>
                <c:pt idx="941">
                  <c:v>40498</c:v>
                </c:pt>
                <c:pt idx="942">
                  <c:v>40499</c:v>
                </c:pt>
                <c:pt idx="943">
                  <c:v>40500</c:v>
                </c:pt>
                <c:pt idx="944">
                  <c:v>40501</c:v>
                </c:pt>
                <c:pt idx="945">
                  <c:v>40504</c:v>
                </c:pt>
                <c:pt idx="946">
                  <c:v>40505</c:v>
                </c:pt>
                <c:pt idx="947">
                  <c:v>40506</c:v>
                </c:pt>
                <c:pt idx="948">
                  <c:v>40508</c:v>
                </c:pt>
                <c:pt idx="949">
                  <c:v>40511</c:v>
                </c:pt>
                <c:pt idx="950">
                  <c:v>40512</c:v>
                </c:pt>
                <c:pt idx="951">
                  <c:v>40513</c:v>
                </c:pt>
                <c:pt idx="952">
                  <c:v>40514</c:v>
                </c:pt>
                <c:pt idx="953">
                  <c:v>40515</c:v>
                </c:pt>
                <c:pt idx="954">
                  <c:v>40518</c:v>
                </c:pt>
                <c:pt idx="955">
                  <c:v>40519</c:v>
                </c:pt>
                <c:pt idx="956">
                  <c:v>40520</c:v>
                </c:pt>
                <c:pt idx="957">
                  <c:v>40521</c:v>
                </c:pt>
                <c:pt idx="958">
                  <c:v>40522</c:v>
                </c:pt>
                <c:pt idx="959">
                  <c:v>40525</c:v>
                </c:pt>
                <c:pt idx="960">
                  <c:v>40526</c:v>
                </c:pt>
                <c:pt idx="961">
                  <c:v>40527</c:v>
                </c:pt>
                <c:pt idx="962">
                  <c:v>40528</c:v>
                </c:pt>
                <c:pt idx="963">
                  <c:v>40529</c:v>
                </c:pt>
                <c:pt idx="964">
                  <c:v>40532</c:v>
                </c:pt>
                <c:pt idx="965">
                  <c:v>40533</c:v>
                </c:pt>
                <c:pt idx="966">
                  <c:v>40534</c:v>
                </c:pt>
                <c:pt idx="967">
                  <c:v>40535</c:v>
                </c:pt>
                <c:pt idx="968">
                  <c:v>40539</c:v>
                </c:pt>
                <c:pt idx="969">
                  <c:v>40540</c:v>
                </c:pt>
                <c:pt idx="970">
                  <c:v>40541</c:v>
                </c:pt>
                <c:pt idx="971">
                  <c:v>40542</c:v>
                </c:pt>
                <c:pt idx="972">
                  <c:v>40543</c:v>
                </c:pt>
                <c:pt idx="973">
                  <c:v>40546</c:v>
                </c:pt>
                <c:pt idx="974">
                  <c:v>40547</c:v>
                </c:pt>
                <c:pt idx="975">
                  <c:v>40548</c:v>
                </c:pt>
                <c:pt idx="976">
                  <c:v>40549</c:v>
                </c:pt>
                <c:pt idx="977">
                  <c:v>40550</c:v>
                </c:pt>
                <c:pt idx="978">
                  <c:v>40553</c:v>
                </c:pt>
                <c:pt idx="979">
                  <c:v>40554</c:v>
                </c:pt>
                <c:pt idx="980">
                  <c:v>40555</c:v>
                </c:pt>
                <c:pt idx="981">
                  <c:v>40556</c:v>
                </c:pt>
                <c:pt idx="982">
                  <c:v>40557</c:v>
                </c:pt>
                <c:pt idx="983">
                  <c:v>40561</c:v>
                </c:pt>
                <c:pt idx="984">
                  <c:v>40562</c:v>
                </c:pt>
                <c:pt idx="985">
                  <c:v>40563</c:v>
                </c:pt>
                <c:pt idx="986">
                  <c:v>40564</c:v>
                </c:pt>
                <c:pt idx="987">
                  <c:v>40567</c:v>
                </c:pt>
                <c:pt idx="988">
                  <c:v>40568</c:v>
                </c:pt>
                <c:pt idx="989">
                  <c:v>40569</c:v>
                </c:pt>
                <c:pt idx="990">
                  <c:v>40570</c:v>
                </c:pt>
                <c:pt idx="991">
                  <c:v>40571</c:v>
                </c:pt>
                <c:pt idx="992">
                  <c:v>40574</c:v>
                </c:pt>
                <c:pt idx="993">
                  <c:v>40575</c:v>
                </c:pt>
                <c:pt idx="994">
                  <c:v>40576</c:v>
                </c:pt>
                <c:pt idx="995">
                  <c:v>40577</c:v>
                </c:pt>
                <c:pt idx="996">
                  <c:v>40578</c:v>
                </c:pt>
                <c:pt idx="997">
                  <c:v>40581</c:v>
                </c:pt>
                <c:pt idx="998">
                  <c:v>40582</c:v>
                </c:pt>
                <c:pt idx="999">
                  <c:v>40583</c:v>
                </c:pt>
                <c:pt idx="1000">
                  <c:v>40584</c:v>
                </c:pt>
                <c:pt idx="1001">
                  <c:v>40585</c:v>
                </c:pt>
                <c:pt idx="1002">
                  <c:v>40588</c:v>
                </c:pt>
                <c:pt idx="1003">
                  <c:v>40589</c:v>
                </c:pt>
                <c:pt idx="1004">
                  <c:v>40590</c:v>
                </c:pt>
                <c:pt idx="1005">
                  <c:v>40591</c:v>
                </c:pt>
                <c:pt idx="1006">
                  <c:v>40592</c:v>
                </c:pt>
                <c:pt idx="1007">
                  <c:v>40596</c:v>
                </c:pt>
                <c:pt idx="1008">
                  <c:v>40597</c:v>
                </c:pt>
                <c:pt idx="1009">
                  <c:v>40598</c:v>
                </c:pt>
                <c:pt idx="1010">
                  <c:v>40599</c:v>
                </c:pt>
                <c:pt idx="1011">
                  <c:v>40602</c:v>
                </c:pt>
                <c:pt idx="1012">
                  <c:v>40603</c:v>
                </c:pt>
                <c:pt idx="1013">
                  <c:v>40604</c:v>
                </c:pt>
                <c:pt idx="1014">
                  <c:v>40605</c:v>
                </c:pt>
                <c:pt idx="1015">
                  <c:v>40606</c:v>
                </c:pt>
                <c:pt idx="1016">
                  <c:v>40609</c:v>
                </c:pt>
                <c:pt idx="1017">
                  <c:v>40610</c:v>
                </c:pt>
                <c:pt idx="1018">
                  <c:v>40611</c:v>
                </c:pt>
                <c:pt idx="1019">
                  <c:v>40612</c:v>
                </c:pt>
                <c:pt idx="1020">
                  <c:v>40613</c:v>
                </c:pt>
                <c:pt idx="1021">
                  <c:v>40616</c:v>
                </c:pt>
                <c:pt idx="1022">
                  <c:v>40617</c:v>
                </c:pt>
                <c:pt idx="1023">
                  <c:v>40618</c:v>
                </c:pt>
                <c:pt idx="1024">
                  <c:v>40619</c:v>
                </c:pt>
                <c:pt idx="1025">
                  <c:v>40620</c:v>
                </c:pt>
                <c:pt idx="1026">
                  <c:v>40623</c:v>
                </c:pt>
                <c:pt idx="1027">
                  <c:v>40624</c:v>
                </c:pt>
                <c:pt idx="1028">
                  <c:v>40625</c:v>
                </c:pt>
                <c:pt idx="1029">
                  <c:v>40626</c:v>
                </c:pt>
                <c:pt idx="1030">
                  <c:v>40627</c:v>
                </c:pt>
                <c:pt idx="1031">
                  <c:v>40630</c:v>
                </c:pt>
                <c:pt idx="1032">
                  <c:v>40631</c:v>
                </c:pt>
                <c:pt idx="1033">
                  <c:v>40632</c:v>
                </c:pt>
                <c:pt idx="1034">
                  <c:v>40633</c:v>
                </c:pt>
                <c:pt idx="1035">
                  <c:v>40634</c:v>
                </c:pt>
                <c:pt idx="1036">
                  <c:v>40637</c:v>
                </c:pt>
                <c:pt idx="1037">
                  <c:v>40638</c:v>
                </c:pt>
                <c:pt idx="1038">
                  <c:v>40639</c:v>
                </c:pt>
                <c:pt idx="1039">
                  <c:v>40640</c:v>
                </c:pt>
                <c:pt idx="1040">
                  <c:v>40641</c:v>
                </c:pt>
                <c:pt idx="1041">
                  <c:v>40644</c:v>
                </c:pt>
                <c:pt idx="1042">
                  <c:v>40645</c:v>
                </c:pt>
                <c:pt idx="1043">
                  <c:v>40646</c:v>
                </c:pt>
                <c:pt idx="1044">
                  <c:v>40647</c:v>
                </c:pt>
                <c:pt idx="1045">
                  <c:v>40648</c:v>
                </c:pt>
                <c:pt idx="1046">
                  <c:v>40651</c:v>
                </c:pt>
                <c:pt idx="1047">
                  <c:v>40652</c:v>
                </c:pt>
                <c:pt idx="1048">
                  <c:v>40653</c:v>
                </c:pt>
                <c:pt idx="1049">
                  <c:v>40654</c:v>
                </c:pt>
                <c:pt idx="1050">
                  <c:v>40658</c:v>
                </c:pt>
                <c:pt idx="1051">
                  <c:v>40659</c:v>
                </c:pt>
                <c:pt idx="1052">
                  <c:v>40660</c:v>
                </c:pt>
                <c:pt idx="1053">
                  <c:v>40661</c:v>
                </c:pt>
                <c:pt idx="1054">
                  <c:v>40662</c:v>
                </c:pt>
                <c:pt idx="1055">
                  <c:v>40665</c:v>
                </c:pt>
                <c:pt idx="1056">
                  <c:v>40666</c:v>
                </c:pt>
                <c:pt idx="1057">
                  <c:v>40667</c:v>
                </c:pt>
                <c:pt idx="1058">
                  <c:v>40668</c:v>
                </c:pt>
                <c:pt idx="1059">
                  <c:v>40669</c:v>
                </c:pt>
                <c:pt idx="1060">
                  <c:v>40672</c:v>
                </c:pt>
                <c:pt idx="1061">
                  <c:v>40673</c:v>
                </c:pt>
                <c:pt idx="1062">
                  <c:v>40674</c:v>
                </c:pt>
                <c:pt idx="1063">
                  <c:v>40675</c:v>
                </c:pt>
                <c:pt idx="1064">
                  <c:v>40676</c:v>
                </c:pt>
                <c:pt idx="1065">
                  <c:v>40679</c:v>
                </c:pt>
                <c:pt idx="1066">
                  <c:v>40680</c:v>
                </c:pt>
                <c:pt idx="1067">
                  <c:v>40681</c:v>
                </c:pt>
                <c:pt idx="1068">
                  <c:v>40682</c:v>
                </c:pt>
                <c:pt idx="1069">
                  <c:v>40683</c:v>
                </c:pt>
                <c:pt idx="1070">
                  <c:v>40686</c:v>
                </c:pt>
                <c:pt idx="1071">
                  <c:v>40687</c:v>
                </c:pt>
                <c:pt idx="1072">
                  <c:v>40688</c:v>
                </c:pt>
                <c:pt idx="1073">
                  <c:v>40689</c:v>
                </c:pt>
                <c:pt idx="1074">
                  <c:v>40690</c:v>
                </c:pt>
                <c:pt idx="1075">
                  <c:v>40694</c:v>
                </c:pt>
                <c:pt idx="1076">
                  <c:v>40695</c:v>
                </c:pt>
                <c:pt idx="1077">
                  <c:v>40696</c:v>
                </c:pt>
                <c:pt idx="1078">
                  <c:v>40697</c:v>
                </c:pt>
                <c:pt idx="1079">
                  <c:v>40700</c:v>
                </c:pt>
                <c:pt idx="1080">
                  <c:v>40701</c:v>
                </c:pt>
                <c:pt idx="1081">
                  <c:v>40702</c:v>
                </c:pt>
                <c:pt idx="1082">
                  <c:v>40703</c:v>
                </c:pt>
                <c:pt idx="1083">
                  <c:v>40704</c:v>
                </c:pt>
                <c:pt idx="1084">
                  <c:v>40707</c:v>
                </c:pt>
                <c:pt idx="1085">
                  <c:v>40708</c:v>
                </c:pt>
                <c:pt idx="1086">
                  <c:v>40709</c:v>
                </c:pt>
                <c:pt idx="1087">
                  <c:v>40710</c:v>
                </c:pt>
                <c:pt idx="1088">
                  <c:v>40711</c:v>
                </c:pt>
                <c:pt idx="1089">
                  <c:v>40714</c:v>
                </c:pt>
                <c:pt idx="1090">
                  <c:v>40715</c:v>
                </c:pt>
                <c:pt idx="1091">
                  <c:v>40716</c:v>
                </c:pt>
                <c:pt idx="1092">
                  <c:v>40717</c:v>
                </c:pt>
                <c:pt idx="1093">
                  <c:v>40718</c:v>
                </c:pt>
                <c:pt idx="1094">
                  <c:v>40721</c:v>
                </c:pt>
                <c:pt idx="1095">
                  <c:v>40722</c:v>
                </c:pt>
                <c:pt idx="1096">
                  <c:v>40723</c:v>
                </c:pt>
                <c:pt idx="1097">
                  <c:v>40724</c:v>
                </c:pt>
                <c:pt idx="1098">
                  <c:v>40725</c:v>
                </c:pt>
                <c:pt idx="1099">
                  <c:v>40729</c:v>
                </c:pt>
                <c:pt idx="1100">
                  <c:v>40730</c:v>
                </c:pt>
                <c:pt idx="1101">
                  <c:v>40731</c:v>
                </c:pt>
                <c:pt idx="1102">
                  <c:v>40732</c:v>
                </c:pt>
                <c:pt idx="1103">
                  <c:v>40735</c:v>
                </c:pt>
                <c:pt idx="1104">
                  <c:v>40736</c:v>
                </c:pt>
                <c:pt idx="1105">
                  <c:v>40737</c:v>
                </c:pt>
                <c:pt idx="1106">
                  <c:v>40738</c:v>
                </c:pt>
                <c:pt idx="1107">
                  <c:v>40739</c:v>
                </c:pt>
                <c:pt idx="1108">
                  <c:v>40742</c:v>
                </c:pt>
                <c:pt idx="1109">
                  <c:v>40743</c:v>
                </c:pt>
                <c:pt idx="1110">
                  <c:v>40744</c:v>
                </c:pt>
                <c:pt idx="1111">
                  <c:v>40745</c:v>
                </c:pt>
                <c:pt idx="1112">
                  <c:v>40746</c:v>
                </c:pt>
                <c:pt idx="1113">
                  <c:v>40749</c:v>
                </c:pt>
                <c:pt idx="1114">
                  <c:v>40750</c:v>
                </c:pt>
                <c:pt idx="1115">
                  <c:v>40751</c:v>
                </c:pt>
                <c:pt idx="1116">
                  <c:v>40752</c:v>
                </c:pt>
                <c:pt idx="1117">
                  <c:v>40753</c:v>
                </c:pt>
                <c:pt idx="1118">
                  <c:v>40756</c:v>
                </c:pt>
                <c:pt idx="1119">
                  <c:v>40757</c:v>
                </c:pt>
                <c:pt idx="1120">
                  <c:v>40758</c:v>
                </c:pt>
                <c:pt idx="1121">
                  <c:v>40759</c:v>
                </c:pt>
                <c:pt idx="1122">
                  <c:v>40760</c:v>
                </c:pt>
                <c:pt idx="1123">
                  <c:v>40763</c:v>
                </c:pt>
                <c:pt idx="1124">
                  <c:v>40764</c:v>
                </c:pt>
                <c:pt idx="1125">
                  <c:v>40765</c:v>
                </c:pt>
                <c:pt idx="1126">
                  <c:v>40766</c:v>
                </c:pt>
                <c:pt idx="1127">
                  <c:v>40767</c:v>
                </c:pt>
                <c:pt idx="1128">
                  <c:v>40770</c:v>
                </c:pt>
                <c:pt idx="1129">
                  <c:v>40771</c:v>
                </c:pt>
                <c:pt idx="1130">
                  <c:v>40772</c:v>
                </c:pt>
                <c:pt idx="1131">
                  <c:v>40773</c:v>
                </c:pt>
                <c:pt idx="1132">
                  <c:v>40774</c:v>
                </c:pt>
                <c:pt idx="1133">
                  <c:v>40777</c:v>
                </c:pt>
                <c:pt idx="1134">
                  <c:v>40778</c:v>
                </c:pt>
                <c:pt idx="1135">
                  <c:v>40779</c:v>
                </c:pt>
                <c:pt idx="1136">
                  <c:v>40780</c:v>
                </c:pt>
                <c:pt idx="1137">
                  <c:v>40781</c:v>
                </c:pt>
                <c:pt idx="1138">
                  <c:v>40784</c:v>
                </c:pt>
                <c:pt idx="1139">
                  <c:v>40785</c:v>
                </c:pt>
                <c:pt idx="1140">
                  <c:v>40786</c:v>
                </c:pt>
                <c:pt idx="1141">
                  <c:v>40787</c:v>
                </c:pt>
                <c:pt idx="1142">
                  <c:v>40788</c:v>
                </c:pt>
                <c:pt idx="1143">
                  <c:v>40792</c:v>
                </c:pt>
                <c:pt idx="1144">
                  <c:v>40793</c:v>
                </c:pt>
                <c:pt idx="1145">
                  <c:v>40794</c:v>
                </c:pt>
                <c:pt idx="1146">
                  <c:v>40795</c:v>
                </c:pt>
                <c:pt idx="1147">
                  <c:v>40798</c:v>
                </c:pt>
                <c:pt idx="1148">
                  <c:v>40799</c:v>
                </c:pt>
                <c:pt idx="1149">
                  <c:v>40800</c:v>
                </c:pt>
                <c:pt idx="1150">
                  <c:v>40801</c:v>
                </c:pt>
                <c:pt idx="1151">
                  <c:v>40802</c:v>
                </c:pt>
                <c:pt idx="1152">
                  <c:v>40805</c:v>
                </c:pt>
                <c:pt idx="1153">
                  <c:v>40806</c:v>
                </c:pt>
                <c:pt idx="1154">
                  <c:v>40807</c:v>
                </c:pt>
                <c:pt idx="1155">
                  <c:v>40808</c:v>
                </c:pt>
                <c:pt idx="1156">
                  <c:v>40809</c:v>
                </c:pt>
                <c:pt idx="1157">
                  <c:v>40812</c:v>
                </c:pt>
                <c:pt idx="1158">
                  <c:v>40813</c:v>
                </c:pt>
                <c:pt idx="1159">
                  <c:v>40814</c:v>
                </c:pt>
                <c:pt idx="1160">
                  <c:v>40815</c:v>
                </c:pt>
                <c:pt idx="1161">
                  <c:v>40816</c:v>
                </c:pt>
                <c:pt idx="1162">
                  <c:v>40819</c:v>
                </c:pt>
                <c:pt idx="1163">
                  <c:v>40820</c:v>
                </c:pt>
                <c:pt idx="1164">
                  <c:v>40821</c:v>
                </c:pt>
                <c:pt idx="1165">
                  <c:v>40822</c:v>
                </c:pt>
                <c:pt idx="1166">
                  <c:v>40823</c:v>
                </c:pt>
                <c:pt idx="1167">
                  <c:v>40826</c:v>
                </c:pt>
                <c:pt idx="1168">
                  <c:v>40827</c:v>
                </c:pt>
                <c:pt idx="1169">
                  <c:v>40828</c:v>
                </c:pt>
                <c:pt idx="1170">
                  <c:v>40829</c:v>
                </c:pt>
                <c:pt idx="1171">
                  <c:v>40830</c:v>
                </c:pt>
                <c:pt idx="1172">
                  <c:v>40833</c:v>
                </c:pt>
                <c:pt idx="1173">
                  <c:v>40834</c:v>
                </c:pt>
                <c:pt idx="1174">
                  <c:v>40835</c:v>
                </c:pt>
                <c:pt idx="1175">
                  <c:v>40836</c:v>
                </c:pt>
                <c:pt idx="1176">
                  <c:v>40837</c:v>
                </c:pt>
                <c:pt idx="1177">
                  <c:v>40840</c:v>
                </c:pt>
                <c:pt idx="1178">
                  <c:v>40841</c:v>
                </c:pt>
                <c:pt idx="1179">
                  <c:v>40842</c:v>
                </c:pt>
                <c:pt idx="1180">
                  <c:v>40843</c:v>
                </c:pt>
                <c:pt idx="1181">
                  <c:v>40844</c:v>
                </c:pt>
                <c:pt idx="1182">
                  <c:v>40847</c:v>
                </c:pt>
                <c:pt idx="1183">
                  <c:v>40848</c:v>
                </c:pt>
                <c:pt idx="1184">
                  <c:v>40849</c:v>
                </c:pt>
                <c:pt idx="1185">
                  <c:v>40850</c:v>
                </c:pt>
                <c:pt idx="1186">
                  <c:v>40851</c:v>
                </c:pt>
                <c:pt idx="1187">
                  <c:v>40854</c:v>
                </c:pt>
                <c:pt idx="1188">
                  <c:v>40855</c:v>
                </c:pt>
                <c:pt idx="1189">
                  <c:v>40856</c:v>
                </c:pt>
                <c:pt idx="1190">
                  <c:v>40857</c:v>
                </c:pt>
                <c:pt idx="1191">
                  <c:v>40858</c:v>
                </c:pt>
                <c:pt idx="1192">
                  <c:v>40861</c:v>
                </c:pt>
                <c:pt idx="1193">
                  <c:v>40862</c:v>
                </c:pt>
                <c:pt idx="1194">
                  <c:v>40863</c:v>
                </c:pt>
                <c:pt idx="1195">
                  <c:v>40864</c:v>
                </c:pt>
                <c:pt idx="1196">
                  <c:v>40865</c:v>
                </c:pt>
                <c:pt idx="1197">
                  <c:v>40868</c:v>
                </c:pt>
                <c:pt idx="1198">
                  <c:v>40869</c:v>
                </c:pt>
                <c:pt idx="1199">
                  <c:v>40870</c:v>
                </c:pt>
                <c:pt idx="1200">
                  <c:v>40872</c:v>
                </c:pt>
                <c:pt idx="1201">
                  <c:v>40875</c:v>
                </c:pt>
                <c:pt idx="1202">
                  <c:v>40876</c:v>
                </c:pt>
                <c:pt idx="1203">
                  <c:v>40877</c:v>
                </c:pt>
                <c:pt idx="1204">
                  <c:v>40878</c:v>
                </c:pt>
                <c:pt idx="1205">
                  <c:v>40879</c:v>
                </c:pt>
                <c:pt idx="1206">
                  <c:v>40882</c:v>
                </c:pt>
                <c:pt idx="1207">
                  <c:v>40883</c:v>
                </c:pt>
                <c:pt idx="1208">
                  <c:v>40884</c:v>
                </c:pt>
                <c:pt idx="1209">
                  <c:v>40885</c:v>
                </c:pt>
                <c:pt idx="1210">
                  <c:v>40886</c:v>
                </c:pt>
                <c:pt idx="1211">
                  <c:v>40889</c:v>
                </c:pt>
                <c:pt idx="1212">
                  <c:v>40890</c:v>
                </c:pt>
                <c:pt idx="1213">
                  <c:v>40891</c:v>
                </c:pt>
                <c:pt idx="1214">
                  <c:v>40892</c:v>
                </c:pt>
                <c:pt idx="1215">
                  <c:v>40893</c:v>
                </c:pt>
                <c:pt idx="1216">
                  <c:v>40896</c:v>
                </c:pt>
                <c:pt idx="1217">
                  <c:v>40897</c:v>
                </c:pt>
                <c:pt idx="1218">
                  <c:v>40898</c:v>
                </c:pt>
                <c:pt idx="1219">
                  <c:v>40899</c:v>
                </c:pt>
                <c:pt idx="1220">
                  <c:v>40900</c:v>
                </c:pt>
                <c:pt idx="1221">
                  <c:v>40904</c:v>
                </c:pt>
                <c:pt idx="1222">
                  <c:v>40905</c:v>
                </c:pt>
                <c:pt idx="1223">
                  <c:v>40906</c:v>
                </c:pt>
                <c:pt idx="1224">
                  <c:v>40907</c:v>
                </c:pt>
                <c:pt idx="1225">
                  <c:v>40911</c:v>
                </c:pt>
                <c:pt idx="1226">
                  <c:v>40912</c:v>
                </c:pt>
                <c:pt idx="1227">
                  <c:v>40913</c:v>
                </c:pt>
                <c:pt idx="1228">
                  <c:v>40914</c:v>
                </c:pt>
                <c:pt idx="1229">
                  <c:v>40917</c:v>
                </c:pt>
                <c:pt idx="1230">
                  <c:v>40918</c:v>
                </c:pt>
                <c:pt idx="1231">
                  <c:v>40919</c:v>
                </c:pt>
                <c:pt idx="1232">
                  <c:v>40920</c:v>
                </c:pt>
                <c:pt idx="1233">
                  <c:v>40921</c:v>
                </c:pt>
                <c:pt idx="1234">
                  <c:v>40925</c:v>
                </c:pt>
                <c:pt idx="1235">
                  <c:v>40926</c:v>
                </c:pt>
                <c:pt idx="1236">
                  <c:v>40927</c:v>
                </c:pt>
                <c:pt idx="1237">
                  <c:v>40928</c:v>
                </c:pt>
                <c:pt idx="1238">
                  <c:v>40931</c:v>
                </c:pt>
                <c:pt idx="1239">
                  <c:v>40932</c:v>
                </c:pt>
                <c:pt idx="1240">
                  <c:v>40933</c:v>
                </c:pt>
                <c:pt idx="1241">
                  <c:v>40934</c:v>
                </c:pt>
                <c:pt idx="1242">
                  <c:v>40935</c:v>
                </c:pt>
                <c:pt idx="1243">
                  <c:v>40938</c:v>
                </c:pt>
                <c:pt idx="1244">
                  <c:v>40939</c:v>
                </c:pt>
                <c:pt idx="1245">
                  <c:v>40940</c:v>
                </c:pt>
                <c:pt idx="1246">
                  <c:v>40941</c:v>
                </c:pt>
                <c:pt idx="1247">
                  <c:v>40942</c:v>
                </c:pt>
                <c:pt idx="1248">
                  <c:v>40945</c:v>
                </c:pt>
                <c:pt idx="1249">
                  <c:v>40946</c:v>
                </c:pt>
                <c:pt idx="1250">
                  <c:v>40947</c:v>
                </c:pt>
                <c:pt idx="1251">
                  <c:v>40948</c:v>
                </c:pt>
                <c:pt idx="1252">
                  <c:v>40949</c:v>
                </c:pt>
                <c:pt idx="1253">
                  <c:v>40952</c:v>
                </c:pt>
                <c:pt idx="1254">
                  <c:v>40953</c:v>
                </c:pt>
                <c:pt idx="1255">
                  <c:v>40954</c:v>
                </c:pt>
                <c:pt idx="1256">
                  <c:v>40955</c:v>
                </c:pt>
                <c:pt idx="1257">
                  <c:v>40956</c:v>
                </c:pt>
                <c:pt idx="1258">
                  <c:v>40960</c:v>
                </c:pt>
                <c:pt idx="1259">
                  <c:v>40961</c:v>
                </c:pt>
                <c:pt idx="1260">
                  <c:v>40962</c:v>
                </c:pt>
                <c:pt idx="1261">
                  <c:v>40963</c:v>
                </c:pt>
                <c:pt idx="1262">
                  <c:v>40966</c:v>
                </c:pt>
                <c:pt idx="1263">
                  <c:v>40967</c:v>
                </c:pt>
                <c:pt idx="1264">
                  <c:v>40968</c:v>
                </c:pt>
                <c:pt idx="1265">
                  <c:v>40969</c:v>
                </c:pt>
                <c:pt idx="1266">
                  <c:v>40970</c:v>
                </c:pt>
                <c:pt idx="1267">
                  <c:v>40973</c:v>
                </c:pt>
                <c:pt idx="1268">
                  <c:v>40974</c:v>
                </c:pt>
                <c:pt idx="1269">
                  <c:v>40975</c:v>
                </c:pt>
                <c:pt idx="1270">
                  <c:v>40976</c:v>
                </c:pt>
                <c:pt idx="1271">
                  <c:v>40977</c:v>
                </c:pt>
                <c:pt idx="1272">
                  <c:v>40980</c:v>
                </c:pt>
                <c:pt idx="1273">
                  <c:v>40981</c:v>
                </c:pt>
                <c:pt idx="1274">
                  <c:v>40982</c:v>
                </c:pt>
                <c:pt idx="1275">
                  <c:v>40983</c:v>
                </c:pt>
                <c:pt idx="1276">
                  <c:v>40984</c:v>
                </c:pt>
                <c:pt idx="1277">
                  <c:v>40987</c:v>
                </c:pt>
                <c:pt idx="1278">
                  <c:v>40988</c:v>
                </c:pt>
                <c:pt idx="1279">
                  <c:v>40989</c:v>
                </c:pt>
                <c:pt idx="1280">
                  <c:v>40990</c:v>
                </c:pt>
                <c:pt idx="1281">
                  <c:v>40991</c:v>
                </c:pt>
                <c:pt idx="1282">
                  <c:v>40994</c:v>
                </c:pt>
                <c:pt idx="1283">
                  <c:v>40995</c:v>
                </c:pt>
                <c:pt idx="1284">
                  <c:v>40996</c:v>
                </c:pt>
                <c:pt idx="1285">
                  <c:v>40997</c:v>
                </c:pt>
                <c:pt idx="1286">
                  <c:v>40998</c:v>
                </c:pt>
                <c:pt idx="1287">
                  <c:v>41001</c:v>
                </c:pt>
                <c:pt idx="1288">
                  <c:v>41002</c:v>
                </c:pt>
                <c:pt idx="1289">
                  <c:v>41003</c:v>
                </c:pt>
                <c:pt idx="1290">
                  <c:v>41004</c:v>
                </c:pt>
                <c:pt idx="1291">
                  <c:v>41008</c:v>
                </c:pt>
                <c:pt idx="1292">
                  <c:v>41009</c:v>
                </c:pt>
                <c:pt idx="1293">
                  <c:v>41010</c:v>
                </c:pt>
                <c:pt idx="1294">
                  <c:v>41011</c:v>
                </c:pt>
                <c:pt idx="1295">
                  <c:v>41012</c:v>
                </c:pt>
                <c:pt idx="1296">
                  <c:v>41015</c:v>
                </c:pt>
                <c:pt idx="1297">
                  <c:v>41016</c:v>
                </c:pt>
                <c:pt idx="1298">
                  <c:v>41017</c:v>
                </c:pt>
                <c:pt idx="1299">
                  <c:v>41018</c:v>
                </c:pt>
                <c:pt idx="1300">
                  <c:v>41019</c:v>
                </c:pt>
                <c:pt idx="1301">
                  <c:v>41022</c:v>
                </c:pt>
                <c:pt idx="1302">
                  <c:v>41023</c:v>
                </c:pt>
                <c:pt idx="1303">
                  <c:v>41024</c:v>
                </c:pt>
                <c:pt idx="1304">
                  <c:v>41025</c:v>
                </c:pt>
                <c:pt idx="1305">
                  <c:v>41026</c:v>
                </c:pt>
                <c:pt idx="1306">
                  <c:v>41029</c:v>
                </c:pt>
                <c:pt idx="1307">
                  <c:v>41030</c:v>
                </c:pt>
                <c:pt idx="1308">
                  <c:v>41031</c:v>
                </c:pt>
                <c:pt idx="1309">
                  <c:v>41032</c:v>
                </c:pt>
                <c:pt idx="1310">
                  <c:v>41033</c:v>
                </c:pt>
                <c:pt idx="1311">
                  <c:v>41036</c:v>
                </c:pt>
                <c:pt idx="1312">
                  <c:v>41037</c:v>
                </c:pt>
                <c:pt idx="1313">
                  <c:v>41038</c:v>
                </c:pt>
                <c:pt idx="1314">
                  <c:v>41039</c:v>
                </c:pt>
                <c:pt idx="1315">
                  <c:v>41040</c:v>
                </c:pt>
                <c:pt idx="1316">
                  <c:v>41043</c:v>
                </c:pt>
                <c:pt idx="1317">
                  <c:v>41044</c:v>
                </c:pt>
                <c:pt idx="1318">
                  <c:v>41045</c:v>
                </c:pt>
                <c:pt idx="1319">
                  <c:v>41046</c:v>
                </c:pt>
                <c:pt idx="1320">
                  <c:v>41047</c:v>
                </c:pt>
                <c:pt idx="1321">
                  <c:v>41050</c:v>
                </c:pt>
                <c:pt idx="1322">
                  <c:v>41051</c:v>
                </c:pt>
                <c:pt idx="1323">
                  <c:v>41052</c:v>
                </c:pt>
                <c:pt idx="1324">
                  <c:v>41053</c:v>
                </c:pt>
                <c:pt idx="1325">
                  <c:v>41054</c:v>
                </c:pt>
                <c:pt idx="1326">
                  <c:v>41058</c:v>
                </c:pt>
                <c:pt idx="1327">
                  <c:v>41059</c:v>
                </c:pt>
                <c:pt idx="1328">
                  <c:v>41060</c:v>
                </c:pt>
                <c:pt idx="1329">
                  <c:v>41061</c:v>
                </c:pt>
                <c:pt idx="1330">
                  <c:v>41064</c:v>
                </c:pt>
                <c:pt idx="1331">
                  <c:v>41065</c:v>
                </c:pt>
                <c:pt idx="1332">
                  <c:v>41066</c:v>
                </c:pt>
                <c:pt idx="1333">
                  <c:v>41067</c:v>
                </c:pt>
                <c:pt idx="1334">
                  <c:v>41068</c:v>
                </c:pt>
                <c:pt idx="1335">
                  <c:v>41071</c:v>
                </c:pt>
                <c:pt idx="1336">
                  <c:v>41072</c:v>
                </c:pt>
                <c:pt idx="1337">
                  <c:v>41073</c:v>
                </c:pt>
                <c:pt idx="1338">
                  <c:v>41074</c:v>
                </c:pt>
                <c:pt idx="1339">
                  <c:v>41075</c:v>
                </c:pt>
                <c:pt idx="1340">
                  <c:v>41078</c:v>
                </c:pt>
                <c:pt idx="1341">
                  <c:v>41079</c:v>
                </c:pt>
                <c:pt idx="1342">
                  <c:v>41080</c:v>
                </c:pt>
                <c:pt idx="1343">
                  <c:v>41081</c:v>
                </c:pt>
                <c:pt idx="1344">
                  <c:v>41082</c:v>
                </c:pt>
                <c:pt idx="1345">
                  <c:v>41085</c:v>
                </c:pt>
                <c:pt idx="1346">
                  <c:v>41086</c:v>
                </c:pt>
                <c:pt idx="1347">
                  <c:v>41087</c:v>
                </c:pt>
                <c:pt idx="1348">
                  <c:v>41088</c:v>
                </c:pt>
                <c:pt idx="1349">
                  <c:v>41089</c:v>
                </c:pt>
                <c:pt idx="1350">
                  <c:v>41092</c:v>
                </c:pt>
                <c:pt idx="1351">
                  <c:v>41093</c:v>
                </c:pt>
                <c:pt idx="1352">
                  <c:v>41095</c:v>
                </c:pt>
                <c:pt idx="1353">
                  <c:v>41096</c:v>
                </c:pt>
                <c:pt idx="1354">
                  <c:v>41099</c:v>
                </c:pt>
                <c:pt idx="1355">
                  <c:v>41100</c:v>
                </c:pt>
                <c:pt idx="1356">
                  <c:v>41101</c:v>
                </c:pt>
                <c:pt idx="1357">
                  <c:v>41102</c:v>
                </c:pt>
                <c:pt idx="1358">
                  <c:v>41103</c:v>
                </c:pt>
                <c:pt idx="1359">
                  <c:v>41106</c:v>
                </c:pt>
                <c:pt idx="1360">
                  <c:v>41107</c:v>
                </c:pt>
                <c:pt idx="1361">
                  <c:v>41108</c:v>
                </c:pt>
                <c:pt idx="1362">
                  <c:v>41109</c:v>
                </c:pt>
                <c:pt idx="1363">
                  <c:v>41110</c:v>
                </c:pt>
                <c:pt idx="1364">
                  <c:v>41113</c:v>
                </c:pt>
                <c:pt idx="1365">
                  <c:v>41114</c:v>
                </c:pt>
                <c:pt idx="1366">
                  <c:v>41115</c:v>
                </c:pt>
                <c:pt idx="1367">
                  <c:v>41116</c:v>
                </c:pt>
                <c:pt idx="1368">
                  <c:v>41117</c:v>
                </c:pt>
                <c:pt idx="1369">
                  <c:v>41120</c:v>
                </c:pt>
                <c:pt idx="1370">
                  <c:v>41121</c:v>
                </c:pt>
                <c:pt idx="1371">
                  <c:v>41122</c:v>
                </c:pt>
                <c:pt idx="1372">
                  <c:v>41123</c:v>
                </c:pt>
                <c:pt idx="1373">
                  <c:v>41124</c:v>
                </c:pt>
                <c:pt idx="1374">
                  <c:v>41127</c:v>
                </c:pt>
                <c:pt idx="1375">
                  <c:v>41128</c:v>
                </c:pt>
                <c:pt idx="1376">
                  <c:v>41129</c:v>
                </c:pt>
                <c:pt idx="1377">
                  <c:v>41130</c:v>
                </c:pt>
                <c:pt idx="1378">
                  <c:v>41131</c:v>
                </c:pt>
                <c:pt idx="1379">
                  <c:v>41134</c:v>
                </c:pt>
                <c:pt idx="1380">
                  <c:v>41135</c:v>
                </c:pt>
                <c:pt idx="1381">
                  <c:v>41136</c:v>
                </c:pt>
                <c:pt idx="1382">
                  <c:v>41137</c:v>
                </c:pt>
                <c:pt idx="1383">
                  <c:v>41138</c:v>
                </c:pt>
                <c:pt idx="1384">
                  <c:v>41141</c:v>
                </c:pt>
                <c:pt idx="1385">
                  <c:v>41142</c:v>
                </c:pt>
                <c:pt idx="1386">
                  <c:v>41143</c:v>
                </c:pt>
                <c:pt idx="1387">
                  <c:v>41144</c:v>
                </c:pt>
                <c:pt idx="1388">
                  <c:v>41145</c:v>
                </c:pt>
                <c:pt idx="1389">
                  <c:v>41148</c:v>
                </c:pt>
                <c:pt idx="1390">
                  <c:v>41149</c:v>
                </c:pt>
                <c:pt idx="1391">
                  <c:v>41150</c:v>
                </c:pt>
                <c:pt idx="1392">
                  <c:v>41151</c:v>
                </c:pt>
                <c:pt idx="1393">
                  <c:v>41152</c:v>
                </c:pt>
                <c:pt idx="1394">
                  <c:v>41156</c:v>
                </c:pt>
                <c:pt idx="1395">
                  <c:v>41157</c:v>
                </c:pt>
                <c:pt idx="1396">
                  <c:v>41158</c:v>
                </c:pt>
                <c:pt idx="1397">
                  <c:v>41159</c:v>
                </c:pt>
                <c:pt idx="1398">
                  <c:v>41162</c:v>
                </c:pt>
                <c:pt idx="1399">
                  <c:v>41163</c:v>
                </c:pt>
                <c:pt idx="1400">
                  <c:v>41164</c:v>
                </c:pt>
                <c:pt idx="1401">
                  <c:v>41165</c:v>
                </c:pt>
                <c:pt idx="1402">
                  <c:v>41166</c:v>
                </c:pt>
                <c:pt idx="1403">
                  <c:v>41169</c:v>
                </c:pt>
                <c:pt idx="1404">
                  <c:v>41170</c:v>
                </c:pt>
                <c:pt idx="1405">
                  <c:v>41171</c:v>
                </c:pt>
                <c:pt idx="1406">
                  <c:v>41172</c:v>
                </c:pt>
                <c:pt idx="1407">
                  <c:v>41173</c:v>
                </c:pt>
                <c:pt idx="1408">
                  <c:v>41176</c:v>
                </c:pt>
                <c:pt idx="1409">
                  <c:v>41177</c:v>
                </c:pt>
                <c:pt idx="1410">
                  <c:v>41178</c:v>
                </c:pt>
                <c:pt idx="1411">
                  <c:v>41179</c:v>
                </c:pt>
                <c:pt idx="1412">
                  <c:v>41180</c:v>
                </c:pt>
                <c:pt idx="1413">
                  <c:v>41183</c:v>
                </c:pt>
                <c:pt idx="1414">
                  <c:v>41184</c:v>
                </c:pt>
                <c:pt idx="1415">
                  <c:v>41185</c:v>
                </c:pt>
                <c:pt idx="1416">
                  <c:v>41186</c:v>
                </c:pt>
                <c:pt idx="1417">
                  <c:v>41187</c:v>
                </c:pt>
                <c:pt idx="1418">
                  <c:v>41190</c:v>
                </c:pt>
                <c:pt idx="1419">
                  <c:v>41191</c:v>
                </c:pt>
                <c:pt idx="1420">
                  <c:v>41192</c:v>
                </c:pt>
                <c:pt idx="1421">
                  <c:v>41193</c:v>
                </c:pt>
                <c:pt idx="1422">
                  <c:v>41194</c:v>
                </c:pt>
                <c:pt idx="1423">
                  <c:v>41197</c:v>
                </c:pt>
                <c:pt idx="1424">
                  <c:v>41198</c:v>
                </c:pt>
                <c:pt idx="1425">
                  <c:v>41199</c:v>
                </c:pt>
                <c:pt idx="1426">
                  <c:v>41200</c:v>
                </c:pt>
                <c:pt idx="1427">
                  <c:v>41201</c:v>
                </c:pt>
                <c:pt idx="1428">
                  <c:v>41204</c:v>
                </c:pt>
                <c:pt idx="1429">
                  <c:v>41205</c:v>
                </c:pt>
                <c:pt idx="1430">
                  <c:v>41206</c:v>
                </c:pt>
                <c:pt idx="1431">
                  <c:v>41207</c:v>
                </c:pt>
                <c:pt idx="1432">
                  <c:v>41208</c:v>
                </c:pt>
                <c:pt idx="1433">
                  <c:v>41213</c:v>
                </c:pt>
                <c:pt idx="1434">
                  <c:v>41214</c:v>
                </c:pt>
                <c:pt idx="1435">
                  <c:v>41215</c:v>
                </c:pt>
                <c:pt idx="1436">
                  <c:v>41218</c:v>
                </c:pt>
                <c:pt idx="1437">
                  <c:v>41219</c:v>
                </c:pt>
                <c:pt idx="1438">
                  <c:v>41220</c:v>
                </c:pt>
                <c:pt idx="1439">
                  <c:v>41221</c:v>
                </c:pt>
                <c:pt idx="1440">
                  <c:v>41222</c:v>
                </c:pt>
                <c:pt idx="1441">
                  <c:v>41225</c:v>
                </c:pt>
                <c:pt idx="1442">
                  <c:v>41226</c:v>
                </c:pt>
                <c:pt idx="1443">
                  <c:v>41227</c:v>
                </c:pt>
                <c:pt idx="1444">
                  <c:v>41228</c:v>
                </c:pt>
                <c:pt idx="1445">
                  <c:v>41229</c:v>
                </c:pt>
                <c:pt idx="1446">
                  <c:v>41232</c:v>
                </c:pt>
                <c:pt idx="1447">
                  <c:v>41233</c:v>
                </c:pt>
                <c:pt idx="1448">
                  <c:v>41234</c:v>
                </c:pt>
                <c:pt idx="1449">
                  <c:v>41236</c:v>
                </c:pt>
                <c:pt idx="1450">
                  <c:v>41239</c:v>
                </c:pt>
                <c:pt idx="1451">
                  <c:v>41240</c:v>
                </c:pt>
                <c:pt idx="1452">
                  <c:v>41241</c:v>
                </c:pt>
                <c:pt idx="1453">
                  <c:v>41242</c:v>
                </c:pt>
                <c:pt idx="1454">
                  <c:v>41243</c:v>
                </c:pt>
                <c:pt idx="1455">
                  <c:v>41246</c:v>
                </c:pt>
                <c:pt idx="1456">
                  <c:v>41247</c:v>
                </c:pt>
                <c:pt idx="1457">
                  <c:v>41248</c:v>
                </c:pt>
                <c:pt idx="1458">
                  <c:v>41249</c:v>
                </c:pt>
                <c:pt idx="1459">
                  <c:v>41250</c:v>
                </c:pt>
                <c:pt idx="1460">
                  <c:v>41253</c:v>
                </c:pt>
                <c:pt idx="1461">
                  <c:v>41254</c:v>
                </c:pt>
                <c:pt idx="1462">
                  <c:v>41255</c:v>
                </c:pt>
                <c:pt idx="1463">
                  <c:v>41256</c:v>
                </c:pt>
                <c:pt idx="1464">
                  <c:v>41257</c:v>
                </c:pt>
                <c:pt idx="1465">
                  <c:v>41260</c:v>
                </c:pt>
                <c:pt idx="1466">
                  <c:v>41261</c:v>
                </c:pt>
                <c:pt idx="1467">
                  <c:v>41262</c:v>
                </c:pt>
                <c:pt idx="1468">
                  <c:v>41263</c:v>
                </c:pt>
                <c:pt idx="1469">
                  <c:v>41264</c:v>
                </c:pt>
                <c:pt idx="1470">
                  <c:v>41267</c:v>
                </c:pt>
                <c:pt idx="1471">
                  <c:v>41269</c:v>
                </c:pt>
                <c:pt idx="1472">
                  <c:v>41270</c:v>
                </c:pt>
                <c:pt idx="1473">
                  <c:v>41271</c:v>
                </c:pt>
                <c:pt idx="1474">
                  <c:v>41274</c:v>
                </c:pt>
                <c:pt idx="1475">
                  <c:v>41276</c:v>
                </c:pt>
                <c:pt idx="1476">
                  <c:v>41277</c:v>
                </c:pt>
                <c:pt idx="1477">
                  <c:v>41278</c:v>
                </c:pt>
                <c:pt idx="1478">
                  <c:v>41281</c:v>
                </c:pt>
                <c:pt idx="1479">
                  <c:v>41282</c:v>
                </c:pt>
                <c:pt idx="1480">
                  <c:v>41283</c:v>
                </c:pt>
                <c:pt idx="1481">
                  <c:v>41284</c:v>
                </c:pt>
                <c:pt idx="1482">
                  <c:v>41285</c:v>
                </c:pt>
                <c:pt idx="1483">
                  <c:v>41288</c:v>
                </c:pt>
                <c:pt idx="1484">
                  <c:v>41289</c:v>
                </c:pt>
                <c:pt idx="1485">
                  <c:v>41290</c:v>
                </c:pt>
                <c:pt idx="1486">
                  <c:v>41291</c:v>
                </c:pt>
                <c:pt idx="1487">
                  <c:v>41292</c:v>
                </c:pt>
                <c:pt idx="1488">
                  <c:v>41296</c:v>
                </c:pt>
                <c:pt idx="1489">
                  <c:v>41297</c:v>
                </c:pt>
                <c:pt idx="1490">
                  <c:v>41298</c:v>
                </c:pt>
                <c:pt idx="1491">
                  <c:v>41299</c:v>
                </c:pt>
                <c:pt idx="1492">
                  <c:v>41302</c:v>
                </c:pt>
                <c:pt idx="1493">
                  <c:v>41303</c:v>
                </c:pt>
                <c:pt idx="1494">
                  <c:v>41304</c:v>
                </c:pt>
                <c:pt idx="1495">
                  <c:v>41305</c:v>
                </c:pt>
                <c:pt idx="1496">
                  <c:v>41306</c:v>
                </c:pt>
                <c:pt idx="1497">
                  <c:v>41309</c:v>
                </c:pt>
                <c:pt idx="1498">
                  <c:v>41310</c:v>
                </c:pt>
                <c:pt idx="1499">
                  <c:v>41311</c:v>
                </c:pt>
                <c:pt idx="1500">
                  <c:v>41312</c:v>
                </c:pt>
                <c:pt idx="1501">
                  <c:v>41313</c:v>
                </c:pt>
                <c:pt idx="1502">
                  <c:v>41316</c:v>
                </c:pt>
                <c:pt idx="1503">
                  <c:v>41317</c:v>
                </c:pt>
                <c:pt idx="1504">
                  <c:v>41318</c:v>
                </c:pt>
                <c:pt idx="1505">
                  <c:v>41319</c:v>
                </c:pt>
                <c:pt idx="1506">
                  <c:v>41320</c:v>
                </c:pt>
                <c:pt idx="1507">
                  <c:v>41324</c:v>
                </c:pt>
                <c:pt idx="1508">
                  <c:v>41325</c:v>
                </c:pt>
                <c:pt idx="1509">
                  <c:v>41326</c:v>
                </c:pt>
                <c:pt idx="1510">
                  <c:v>41327</c:v>
                </c:pt>
                <c:pt idx="1511">
                  <c:v>41330</c:v>
                </c:pt>
                <c:pt idx="1512">
                  <c:v>41331</c:v>
                </c:pt>
                <c:pt idx="1513">
                  <c:v>41332</c:v>
                </c:pt>
                <c:pt idx="1514">
                  <c:v>41333</c:v>
                </c:pt>
                <c:pt idx="1515">
                  <c:v>41334</c:v>
                </c:pt>
                <c:pt idx="1516">
                  <c:v>41337</c:v>
                </c:pt>
                <c:pt idx="1517">
                  <c:v>41338</c:v>
                </c:pt>
                <c:pt idx="1518">
                  <c:v>41339</c:v>
                </c:pt>
                <c:pt idx="1519">
                  <c:v>41340</c:v>
                </c:pt>
                <c:pt idx="1520">
                  <c:v>41341</c:v>
                </c:pt>
                <c:pt idx="1521">
                  <c:v>41344</c:v>
                </c:pt>
                <c:pt idx="1522">
                  <c:v>41345</c:v>
                </c:pt>
                <c:pt idx="1523">
                  <c:v>41346</c:v>
                </c:pt>
                <c:pt idx="1524">
                  <c:v>41347</c:v>
                </c:pt>
                <c:pt idx="1525">
                  <c:v>41348</c:v>
                </c:pt>
                <c:pt idx="1526">
                  <c:v>41351</c:v>
                </c:pt>
                <c:pt idx="1527">
                  <c:v>41352</c:v>
                </c:pt>
                <c:pt idx="1528">
                  <c:v>41353</c:v>
                </c:pt>
                <c:pt idx="1529">
                  <c:v>41354</c:v>
                </c:pt>
                <c:pt idx="1530">
                  <c:v>41355</c:v>
                </c:pt>
                <c:pt idx="1531">
                  <c:v>41358</c:v>
                </c:pt>
                <c:pt idx="1532">
                  <c:v>41359</c:v>
                </c:pt>
                <c:pt idx="1533">
                  <c:v>41360</c:v>
                </c:pt>
                <c:pt idx="1534">
                  <c:v>41361</c:v>
                </c:pt>
                <c:pt idx="1535">
                  <c:v>41365</c:v>
                </c:pt>
                <c:pt idx="1536">
                  <c:v>41366</c:v>
                </c:pt>
                <c:pt idx="1537">
                  <c:v>41367</c:v>
                </c:pt>
                <c:pt idx="1538">
                  <c:v>41368</c:v>
                </c:pt>
                <c:pt idx="1539">
                  <c:v>41369</c:v>
                </c:pt>
                <c:pt idx="1540">
                  <c:v>41372</c:v>
                </c:pt>
                <c:pt idx="1541">
                  <c:v>41373</c:v>
                </c:pt>
                <c:pt idx="1542">
                  <c:v>41374</c:v>
                </c:pt>
                <c:pt idx="1543">
                  <c:v>41375</c:v>
                </c:pt>
                <c:pt idx="1544">
                  <c:v>41376</c:v>
                </c:pt>
                <c:pt idx="1545">
                  <c:v>41379</c:v>
                </c:pt>
                <c:pt idx="1546">
                  <c:v>41380</c:v>
                </c:pt>
                <c:pt idx="1547">
                  <c:v>41381</c:v>
                </c:pt>
                <c:pt idx="1548">
                  <c:v>41382</c:v>
                </c:pt>
                <c:pt idx="1549">
                  <c:v>41383</c:v>
                </c:pt>
                <c:pt idx="1550">
                  <c:v>41386</c:v>
                </c:pt>
                <c:pt idx="1551">
                  <c:v>41387</c:v>
                </c:pt>
                <c:pt idx="1552">
                  <c:v>41388</c:v>
                </c:pt>
                <c:pt idx="1553">
                  <c:v>41389</c:v>
                </c:pt>
                <c:pt idx="1554">
                  <c:v>41390</c:v>
                </c:pt>
                <c:pt idx="1555">
                  <c:v>41393</c:v>
                </c:pt>
                <c:pt idx="1556">
                  <c:v>41394</c:v>
                </c:pt>
                <c:pt idx="1557">
                  <c:v>41395</c:v>
                </c:pt>
                <c:pt idx="1558">
                  <c:v>41396</c:v>
                </c:pt>
                <c:pt idx="1559">
                  <c:v>41397</c:v>
                </c:pt>
                <c:pt idx="1560">
                  <c:v>41400</c:v>
                </c:pt>
                <c:pt idx="1561">
                  <c:v>41401</c:v>
                </c:pt>
                <c:pt idx="1562">
                  <c:v>41402</c:v>
                </c:pt>
                <c:pt idx="1563">
                  <c:v>41403</c:v>
                </c:pt>
                <c:pt idx="1564">
                  <c:v>41404</c:v>
                </c:pt>
                <c:pt idx="1565">
                  <c:v>41407</c:v>
                </c:pt>
                <c:pt idx="1566">
                  <c:v>41408</c:v>
                </c:pt>
                <c:pt idx="1567">
                  <c:v>41409</c:v>
                </c:pt>
                <c:pt idx="1568">
                  <c:v>41410</c:v>
                </c:pt>
                <c:pt idx="1569">
                  <c:v>41411</c:v>
                </c:pt>
                <c:pt idx="1570">
                  <c:v>41414</c:v>
                </c:pt>
                <c:pt idx="1571">
                  <c:v>41415</c:v>
                </c:pt>
                <c:pt idx="1572">
                  <c:v>41416</c:v>
                </c:pt>
                <c:pt idx="1573">
                  <c:v>41417</c:v>
                </c:pt>
                <c:pt idx="1574">
                  <c:v>41418</c:v>
                </c:pt>
                <c:pt idx="1575">
                  <c:v>41422</c:v>
                </c:pt>
                <c:pt idx="1576">
                  <c:v>41423</c:v>
                </c:pt>
                <c:pt idx="1577">
                  <c:v>41424</c:v>
                </c:pt>
                <c:pt idx="1578">
                  <c:v>41425</c:v>
                </c:pt>
                <c:pt idx="1579">
                  <c:v>41428</c:v>
                </c:pt>
                <c:pt idx="1580">
                  <c:v>41429</c:v>
                </c:pt>
                <c:pt idx="1581">
                  <c:v>41430</c:v>
                </c:pt>
                <c:pt idx="1582">
                  <c:v>41431</c:v>
                </c:pt>
                <c:pt idx="1583">
                  <c:v>41432</c:v>
                </c:pt>
                <c:pt idx="1584">
                  <c:v>41435</c:v>
                </c:pt>
                <c:pt idx="1585">
                  <c:v>41436</c:v>
                </c:pt>
                <c:pt idx="1586">
                  <c:v>41437</c:v>
                </c:pt>
                <c:pt idx="1587">
                  <c:v>41438</c:v>
                </c:pt>
                <c:pt idx="1588">
                  <c:v>41439</c:v>
                </c:pt>
                <c:pt idx="1589">
                  <c:v>41442</c:v>
                </c:pt>
                <c:pt idx="1590">
                  <c:v>41443</c:v>
                </c:pt>
                <c:pt idx="1591">
                  <c:v>41444</c:v>
                </c:pt>
                <c:pt idx="1592">
                  <c:v>41445</c:v>
                </c:pt>
                <c:pt idx="1593">
                  <c:v>41446</c:v>
                </c:pt>
                <c:pt idx="1594">
                  <c:v>41449</c:v>
                </c:pt>
                <c:pt idx="1595">
                  <c:v>41450</c:v>
                </c:pt>
                <c:pt idx="1596">
                  <c:v>41451</c:v>
                </c:pt>
                <c:pt idx="1597">
                  <c:v>41452</c:v>
                </c:pt>
                <c:pt idx="1598">
                  <c:v>41453</c:v>
                </c:pt>
                <c:pt idx="1599">
                  <c:v>41456</c:v>
                </c:pt>
                <c:pt idx="1600">
                  <c:v>41457</c:v>
                </c:pt>
                <c:pt idx="1601">
                  <c:v>41458</c:v>
                </c:pt>
                <c:pt idx="1602">
                  <c:v>41460</c:v>
                </c:pt>
                <c:pt idx="1603">
                  <c:v>41463</c:v>
                </c:pt>
                <c:pt idx="1604">
                  <c:v>41464</c:v>
                </c:pt>
                <c:pt idx="1605">
                  <c:v>41465</c:v>
                </c:pt>
                <c:pt idx="1606">
                  <c:v>41466</c:v>
                </c:pt>
                <c:pt idx="1607">
                  <c:v>41467</c:v>
                </c:pt>
                <c:pt idx="1608">
                  <c:v>41470</c:v>
                </c:pt>
                <c:pt idx="1609">
                  <c:v>41471</c:v>
                </c:pt>
                <c:pt idx="1610">
                  <c:v>41472</c:v>
                </c:pt>
                <c:pt idx="1611">
                  <c:v>41473</c:v>
                </c:pt>
                <c:pt idx="1612">
                  <c:v>41474</c:v>
                </c:pt>
                <c:pt idx="1613">
                  <c:v>41477</c:v>
                </c:pt>
                <c:pt idx="1614">
                  <c:v>41478</c:v>
                </c:pt>
                <c:pt idx="1615">
                  <c:v>41479</c:v>
                </c:pt>
                <c:pt idx="1616">
                  <c:v>41480</c:v>
                </c:pt>
                <c:pt idx="1617">
                  <c:v>41481</c:v>
                </c:pt>
                <c:pt idx="1618">
                  <c:v>41484</c:v>
                </c:pt>
                <c:pt idx="1619">
                  <c:v>41485</c:v>
                </c:pt>
                <c:pt idx="1620">
                  <c:v>41486</c:v>
                </c:pt>
                <c:pt idx="1621">
                  <c:v>41487</c:v>
                </c:pt>
                <c:pt idx="1622">
                  <c:v>41488</c:v>
                </c:pt>
                <c:pt idx="1623">
                  <c:v>41491</c:v>
                </c:pt>
                <c:pt idx="1624">
                  <c:v>41492</c:v>
                </c:pt>
                <c:pt idx="1625">
                  <c:v>41493</c:v>
                </c:pt>
                <c:pt idx="1626">
                  <c:v>41494</c:v>
                </c:pt>
                <c:pt idx="1627">
                  <c:v>41495</c:v>
                </c:pt>
                <c:pt idx="1628">
                  <c:v>41498</c:v>
                </c:pt>
                <c:pt idx="1629">
                  <c:v>41499</c:v>
                </c:pt>
                <c:pt idx="1630">
                  <c:v>41500</c:v>
                </c:pt>
                <c:pt idx="1631">
                  <c:v>41501</c:v>
                </c:pt>
                <c:pt idx="1632">
                  <c:v>41502</c:v>
                </c:pt>
                <c:pt idx="1633">
                  <c:v>41505</c:v>
                </c:pt>
                <c:pt idx="1634">
                  <c:v>41506</c:v>
                </c:pt>
                <c:pt idx="1635">
                  <c:v>41507</c:v>
                </c:pt>
                <c:pt idx="1636">
                  <c:v>41508</c:v>
                </c:pt>
                <c:pt idx="1637">
                  <c:v>41509</c:v>
                </c:pt>
                <c:pt idx="1638">
                  <c:v>41512</c:v>
                </c:pt>
                <c:pt idx="1639">
                  <c:v>41513</c:v>
                </c:pt>
                <c:pt idx="1640">
                  <c:v>41514</c:v>
                </c:pt>
                <c:pt idx="1641">
                  <c:v>41515</c:v>
                </c:pt>
                <c:pt idx="1642">
                  <c:v>41516</c:v>
                </c:pt>
                <c:pt idx="1643">
                  <c:v>41520</c:v>
                </c:pt>
                <c:pt idx="1644">
                  <c:v>41521</c:v>
                </c:pt>
                <c:pt idx="1645">
                  <c:v>41522</c:v>
                </c:pt>
                <c:pt idx="1646">
                  <c:v>41523</c:v>
                </c:pt>
                <c:pt idx="1647">
                  <c:v>41526</c:v>
                </c:pt>
                <c:pt idx="1648">
                  <c:v>41527</c:v>
                </c:pt>
                <c:pt idx="1649">
                  <c:v>41528</c:v>
                </c:pt>
                <c:pt idx="1650">
                  <c:v>41529</c:v>
                </c:pt>
                <c:pt idx="1651">
                  <c:v>41530</c:v>
                </c:pt>
                <c:pt idx="1652">
                  <c:v>41533</c:v>
                </c:pt>
                <c:pt idx="1653">
                  <c:v>41534</c:v>
                </c:pt>
                <c:pt idx="1654">
                  <c:v>41535</c:v>
                </c:pt>
                <c:pt idx="1655">
                  <c:v>41536</c:v>
                </c:pt>
                <c:pt idx="1656">
                  <c:v>41537</c:v>
                </c:pt>
                <c:pt idx="1657">
                  <c:v>41540</c:v>
                </c:pt>
                <c:pt idx="1658">
                  <c:v>41541</c:v>
                </c:pt>
                <c:pt idx="1659">
                  <c:v>41542</c:v>
                </c:pt>
                <c:pt idx="1660">
                  <c:v>41543</c:v>
                </c:pt>
                <c:pt idx="1661">
                  <c:v>41544</c:v>
                </c:pt>
                <c:pt idx="1662">
                  <c:v>41547</c:v>
                </c:pt>
                <c:pt idx="1663">
                  <c:v>41548</c:v>
                </c:pt>
                <c:pt idx="1664">
                  <c:v>41549</c:v>
                </c:pt>
                <c:pt idx="1665">
                  <c:v>41550</c:v>
                </c:pt>
                <c:pt idx="1666">
                  <c:v>41551</c:v>
                </c:pt>
                <c:pt idx="1667">
                  <c:v>41554</c:v>
                </c:pt>
                <c:pt idx="1668">
                  <c:v>41555</c:v>
                </c:pt>
                <c:pt idx="1669">
                  <c:v>41556</c:v>
                </c:pt>
                <c:pt idx="1670">
                  <c:v>41557</c:v>
                </c:pt>
                <c:pt idx="1671">
                  <c:v>41558</c:v>
                </c:pt>
                <c:pt idx="1672">
                  <c:v>41561</c:v>
                </c:pt>
                <c:pt idx="1673">
                  <c:v>41562</c:v>
                </c:pt>
                <c:pt idx="1674">
                  <c:v>41563</c:v>
                </c:pt>
                <c:pt idx="1675">
                  <c:v>41564</c:v>
                </c:pt>
                <c:pt idx="1676">
                  <c:v>41565</c:v>
                </c:pt>
                <c:pt idx="1677">
                  <c:v>41568</c:v>
                </c:pt>
                <c:pt idx="1678">
                  <c:v>41569</c:v>
                </c:pt>
                <c:pt idx="1679">
                  <c:v>41570</c:v>
                </c:pt>
                <c:pt idx="1680">
                  <c:v>41571</c:v>
                </c:pt>
                <c:pt idx="1681">
                  <c:v>41572</c:v>
                </c:pt>
                <c:pt idx="1682">
                  <c:v>41575</c:v>
                </c:pt>
                <c:pt idx="1683">
                  <c:v>41576</c:v>
                </c:pt>
                <c:pt idx="1684">
                  <c:v>41577</c:v>
                </c:pt>
                <c:pt idx="1685">
                  <c:v>41578</c:v>
                </c:pt>
                <c:pt idx="1686">
                  <c:v>41579</c:v>
                </c:pt>
                <c:pt idx="1687">
                  <c:v>41582</c:v>
                </c:pt>
                <c:pt idx="1688">
                  <c:v>41583</c:v>
                </c:pt>
                <c:pt idx="1689">
                  <c:v>41584</c:v>
                </c:pt>
                <c:pt idx="1690">
                  <c:v>41585</c:v>
                </c:pt>
                <c:pt idx="1691">
                  <c:v>41586</c:v>
                </c:pt>
                <c:pt idx="1692">
                  <c:v>41589</c:v>
                </c:pt>
                <c:pt idx="1693">
                  <c:v>41590</c:v>
                </c:pt>
                <c:pt idx="1694">
                  <c:v>41591</c:v>
                </c:pt>
                <c:pt idx="1695">
                  <c:v>41592</c:v>
                </c:pt>
                <c:pt idx="1696">
                  <c:v>41593</c:v>
                </c:pt>
                <c:pt idx="1697">
                  <c:v>41596</c:v>
                </c:pt>
                <c:pt idx="1698">
                  <c:v>41597</c:v>
                </c:pt>
                <c:pt idx="1699">
                  <c:v>41598</c:v>
                </c:pt>
                <c:pt idx="1700">
                  <c:v>41599</c:v>
                </c:pt>
                <c:pt idx="1701">
                  <c:v>41600</c:v>
                </c:pt>
                <c:pt idx="1702">
                  <c:v>41603</c:v>
                </c:pt>
                <c:pt idx="1703">
                  <c:v>41604</c:v>
                </c:pt>
                <c:pt idx="1704">
                  <c:v>41605</c:v>
                </c:pt>
                <c:pt idx="1705">
                  <c:v>41607</c:v>
                </c:pt>
                <c:pt idx="1706">
                  <c:v>41610</c:v>
                </c:pt>
                <c:pt idx="1707">
                  <c:v>41611</c:v>
                </c:pt>
                <c:pt idx="1708">
                  <c:v>41612</c:v>
                </c:pt>
                <c:pt idx="1709">
                  <c:v>41613</c:v>
                </c:pt>
                <c:pt idx="1710">
                  <c:v>41614</c:v>
                </c:pt>
                <c:pt idx="1711">
                  <c:v>41617</c:v>
                </c:pt>
                <c:pt idx="1712">
                  <c:v>41618</c:v>
                </c:pt>
                <c:pt idx="1713">
                  <c:v>41619</c:v>
                </c:pt>
                <c:pt idx="1714">
                  <c:v>41620</c:v>
                </c:pt>
                <c:pt idx="1715">
                  <c:v>41621</c:v>
                </c:pt>
                <c:pt idx="1716">
                  <c:v>41624</c:v>
                </c:pt>
                <c:pt idx="1717">
                  <c:v>41625</c:v>
                </c:pt>
                <c:pt idx="1718">
                  <c:v>41626</c:v>
                </c:pt>
                <c:pt idx="1719">
                  <c:v>41627</c:v>
                </c:pt>
                <c:pt idx="1720">
                  <c:v>41628</c:v>
                </c:pt>
                <c:pt idx="1721">
                  <c:v>41631</c:v>
                </c:pt>
                <c:pt idx="1722">
                  <c:v>41632</c:v>
                </c:pt>
                <c:pt idx="1723">
                  <c:v>41634</c:v>
                </c:pt>
                <c:pt idx="1724">
                  <c:v>41635</c:v>
                </c:pt>
                <c:pt idx="1725">
                  <c:v>41638</c:v>
                </c:pt>
                <c:pt idx="1726">
                  <c:v>41639</c:v>
                </c:pt>
                <c:pt idx="1727">
                  <c:v>41641</c:v>
                </c:pt>
                <c:pt idx="1728">
                  <c:v>41642</c:v>
                </c:pt>
                <c:pt idx="1729">
                  <c:v>41645</c:v>
                </c:pt>
                <c:pt idx="1730">
                  <c:v>41646</c:v>
                </c:pt>
                <c:pt idx="1731">
                  <c:v>41647</c:v>
                </c:pt>
                <c:pt idx="1732">
                  <c:v>41648</c:v>
                </c:pt>
                <c:pt idx="1733">
                  <c:v>41649</c:v>
                </c:pt>
                <c:pt idx="1734">
                  <c:v>41652</c:v>
                </c:pt>
                <c:pt idx="1735">
                  <c:v>41653</c:v>
                </c:pt>
                <c:pt idx="1736">
                  <c:v>41654</c:v>
                </c:pt>
                <c:pt idx="1737">
                  <c:v>41655</c:v>
                </c:pt>
                <c:pt idx="1738">
                  <c:v>41656</c:v>
                </c:pt>
                <c:pt idx="1739">
                  <c:v>41660</c:v>
                </c:pt>
                <c:pt idx="1740">
                  <c:v>41661</c:v>
                </c:pt>
                <c:pt idx="1741">
                  <c:v>41662</c:v>
                </c:pt>
                <c:pt idx="1742">
                  <c:v>41663</c:v>
                </c:pt>
                <c:pt idx="1743">
                  <c:v>41666</c:v>
                </c:pt>
                <c:pt idx="1744">
                  <c:v>41667</c:v>
                </c:pt>
                <c:pt idx="1745">
                  <c:v>41668</c:v>
                </c:pt>
                <c:pt idx="1746">
                  <c:v>41669</c:v>
                </c:pt>
                <c:pt idx="1747">
                  <c:v>41670</c:v>
                </c:pt>
                <c:pt idx="1748">
                  <c:v>41673</c:v>
                </c:pt>
                <c:pt idx="1749">
                  <c:v>41674</c:v>
                </c:pt>
                <c:pt idx="1750">
                  <c:v>41675</c:v>
                </c:pt>
                <c:pt idx="1751">
                  <c:v>41676</c:v>
                </c:pt>
                <c:pt idx="1752">
                  <c:v>41677</c:v>
                </c:pt>
                <c:pt idx="1753">
                  <c:v>41680</c:v>
                </c:pt>
                <c:pt idx="1754">
                  <c:v>41681</c:v>
                </c:pt>
                <c:pt idx="1755">
                  <c:v>41682</c:v>
                </c:pt>
                <c:pt idx="1756">
                  <c:v>41683</c:v>
                </c:pt>
                <c:pt idx="1757">
                  <c:v>41684</c:v>
                </c:pt>
                <c:pt idx="1758">
                  <c:v>41688</c:v>
                </c:pt>
                <c:pt idx="1759">
                  <c:v>41689</c:v>
                </c:pt>
                <c:pt idx="1760">
                  <c:v>41690</c:v>
                </c:pt>
                <c:pt idx="1761">
                  <c:v>41691</c:v>
                </c:pt>
                <c:pt idx="1762">
                  <c:v>41694</c:v>
                </c:pt>
                <c:pt idx="1763">
                  <c:v>41695</c:v>
                </c:pt>
                <c:pt idx="1764">
                  <c:v>41696</c:v>
                </c:pt>
                <c:pt idx="1765">
                  <c:v>41697</c:v>
                </c:pt>
                <c:pt idx="1766">
                  <c:v>41698</c:v>
                </c:pt>
                <c:pt idx="1767">
                  <c:v>41701</c:v>
                </c:pt>
                <c:pt idx="1768">
                  <c:v>41702</c:v>
                </c:pt>
                <c:pt idx="1769">
                  <c:v>41703</c:v>
                </c:pt>
                <c:pt idx="1770">
                  <c:v>41704</c:v>
                </c:pt>
                <c:pt idx="1771">
                  <c:v>41705</c:v>
                </c:pt>
                <c:pt idx="1772">
                  <c:v>41708</c:v>
                </c:pt>
                <c:pt idx="1773">
                  <c:v>41709</c:v>
                </c:pt>
                <c:pt idx="1774">
                  <c:v>41710</c:v>
                </c:pt>
                <c:pt idx="1775">
                  <c:v>41711</c:v>
                </c:pt>
                <c:pt idx="1776">
                  <c:v>41712</c:v>
                </c:pt>
                <c:pt idx="1777">
                  <c:v>41715</c:v>
                </c:pt>
                <c:pt idx="1778">
                  <c:v>41716</c:v>
                </c:pt>
                <c:pt idx="1779">
                  <c:v>41717</c:v>
                </c:pt>
                <c:pt idx="1780">
                  <c:v>41718</c:v>
                </c:pt>
                <c:pt idx="1781">
                  <c:v>41719</c:v>
                </c:pt>
                <c:pt idx="1782">
                  <c:v>41722</c:v>
                </c:pt>
                <c:pt idx="1783">
                  <c:v>41723</c:v>
                </c:pt>
                <c:pt idx="1784">
                  <c:v>41724</c:v>
                </c:pt>
                <c:pt idx="1785">
                  <c:v>41725</c:v>
                </c:pt>
                <c:pt idx="1786">
                  <c:v>41726</c:v>
                </c:pt>
                <c:pt idx="1787">
                  <c:v>41729</c:v>
                </c:pt>
                <c:pt idx="1788">
                  <c:v>41730</c:v>
                </c:pt>
                <c:pt idx="1789">
                  <c:v>41731</c:v>
                </c:pt>
                <c:pt idx="1790">
                  <c:v>41732</c:v>
                </c:pt>
                <c:pt idx="1791">
                  <c:v>41733</c:v>
                </c:pt>
                <c:pt idx="1792">
                  <c:v>41736</c:v>
                </c:pt>
                <c:pt idx="1793">
                  <c:v>41737</c:v>
                </c:pt>
                <c:pt idx="1794">
                  <c:v>41738</c:v>
                </c:pt>
                <c:pt idx="1795">
                  <c:v>41739</c:v>
                </c:pt>
                <c:pt idx="1796">
                  <c:v>41740</c:v>
                </c:pt>
                <c:pt idx="1797">
                  <c:v>41743</c:v>
                </c:pt>
                <c:pt idx="1798">
                  <c:v>41744</c:v>
                </c:pt>
                <c:pt idx="1799">
                  <c:v>41745</c:v>
                </c:pt>
                <c:pt idx="1800">
                  <c:v>41746</c:v>
                </c:pt>
                <c:pt idx="1801">
                  <c:v>41750</c:v>
                </c:pt>
                <c:pt idx="1802">
                  <c:v>41751</c:v>
                </c:pt>
                <c:pt idx="1803">
                  <c:v>41752</c:v>
                </c:pt>
                <c:pt idx="1804">
                  <c:v>41753</c:v>
                </c:pt>
                <c:pt idx="1805">
                  <c:v>41754</c:v>
                </c:pt>
                <c:pt idx="1806">
                  <c:v>41757</c:v>
                </c:pt>
                <c:pt idx="1807">
                  <c:v>41758</c:v>
                </c:pt>
                <c:pt idx="1808">
                  <c:v>41759</c:v>
                </c:pt>
                <c:pt idx="1809">
                  <c:v>41760</c:v>
                </c:pt>
                <c:pt idx="1810">
                  <c:v>41761</c:v>
                </c:pt>
                <c:pt idx="1811">
                  <c:v>41764</c:v>
                </c:pt>
                <c:pt idx="1812">
                  <c:v>41765</c:v>
                </c:pt>
                <c:pt idx="1813">
                  <c:v>41766</c:v>
                </c:pt>
                <c:pt idx="1814">
                  <c:v>41767</c:v>
                </c:pt>
                <c:pt idx="1815">
                  <c:v>41768</c:v>
                </c:pt>
                <c:pt idx="1816">
                  <c:v>41771</c:v>
                </c:pt>
                <c:pt idx="1817">
                  <c:v>41772</c:v>
                </c:pt>
                <c:pt idx="1818">
                  <c:v>41773</c:v>
                </c:pt>
                <c:pt idx="1819">
                  <c:v>41774</c:v>
                </c:pt>
                <c:pt idx="1820">
                  <c:v>41775</c:v>
                </c:pt>
                <c:pt idx="1821">
                  <c:v>41778</c:v>
                </c:pt>
                <c:pt idx="1822">
                  <c:v>41779</c:v>
                </c:pt>
                <c:pt idx="1823">
                  <c:v>41780</c:v>
                </c:pt>
                <c:pt idx="1824">
                  <c:v>41781</c:v>
                </c:pt>
                <c:pt idx="1825">
                  <c:v>41782</c:v>
                </c:pt>
                <c:pt idx="1826">
                  <c:v>41786</c:v>
                </c:pt>
                <c:pt idx="1827">
                  <c:v>41787</c:v>
                </c:pt>
                <c:pt idx="1828">
                  <c:v>41788</c:v>
                </c:pt>
                <c:pt idx="1829">
                  <c:v>41789</c:v>
                </c:pt>
                <c:pt idx="1830">
                  <c:v>41792</c:v>
                </c:pt>
                <c:pt idx="1831">
                  <c:v>41793</c:v>
                </c:pt>
                <c:pt idx="1832">
                  <c:v>41794</c:v>
                </c:pt>
                <c:pt idx="1833">
                  <c:v>41795</c:v>
                </c:pt>
                <c:pt idx="1834">
                  <c:v>41796</c:v>
                </c:pt>
                <c:pt idx="1835">
                  <c:v>41799</c:v>
                </c:pt>
                <c:pt idx="1836">
                  <c:v>41800</c:v>
                </c:pt>
                <c:pt idx="1837">
                  <c:v>41801</c:v>
                </c:pt>
                <c:pt idx="1838">
                  <c:v>41802</c:v>
                </c:pt>
                <c:pt idx="1839">
                  <c:v>41803</c:v>
                </c:pt>
                <c:pt idx="1840">
                  <c:v>41806</c:v>
                </c:pt>
                <c:pt idx="1841">
                  <c:v>41807</c:v>
                </c:pt>
                <c:pt idx="1842">
                  <c:v>41808</c:v>
                </c:pt>
                <c:pt idx="1843">
                  <c:v>41809</c:v>
                </c:pt>
                <c:pt idx="1844">
                  <c:v>41810</c:v>
                </c:pt>
                <c:pt idx="1845">
                  <c:v>41813</c:v>
                </c:pt>
                <c:pt idx="1846">
                  <c:v>41814</c:v>
                </c:pt>
                <c:pt idx="1847">
                  <c:v>41815</c:v>
                </c:pt>
                <c:pt idx="1848">
                  <c:v>41816</c:v>
                </c:pt>
                <c:pt idx="1849">
                  <c:v>41817</c:v>
                </c:pt>
                <c:pt idx="1850">
                  <c:v>41820</c:v>
                </c:pt>
                <c:pt idx="1851">
                  <c:v>41821</c:v>
                </c:pt>
                <c:pt idx="1852">
                  <c:v>41822</c:v>
                </c:pt>
                <c:pt idx="1853">
                  <c:v>41823</c:v>
                </c:pt>
                <c:pt idx="1854">
                  <c:v>41827</c:v>
                </c:pt>
                <c:pt idx="1855">
                  <c:v>41828</c:v>
                </c:pt>
                <c:pt idx="1856">
                  <c:v>41829</c:v>
                </c:pt>
                <c:pt idx="1857">
                  <c:v>41830</c:v>
                </c:pt>
                <c:pt idx="1858">
                  <c:v>41831</c:v>
                </c:pt>
                <c:pt idx="1859">
                  <c:v>41834</c:v>
                </c:pt>
                <c:pt idx="1860">
                  <c:v>41835</c:v>
                </c:pt>
                <c:pt idx="1861">
                  <c:v>41836</c:v>
                </c:pt>
                <c:pt idx="1862">
                  <c:v>41837</c:v>
                </c:pt>
                <c:pt idx="1863">
                  <c:v>41838</c:v>
                </c:pt>
                <c:pt idx="1864">
                  <c:v>41841</c:v>
                </c:pt>
                <c:pt idx="1865">
                  <c:v>41842</c:v>
                </c:pt>
                <c:pt idx="1866">
                  <c:v>41843</c:v>
                </c:pt>
                <c:pt idx="1867">
                  <c:v>41844</c:v>
                </c:pt>
                <c:pt idx="1868">
                  <c:v>41845</c:v>
                </c:pt>
                <c:pt idx="1869">
                  <c:v>41848</c:v>
                </c:pt>
                <c:pt idx="1870">
                  <c:v>41849</c:v>
                </c:pt>
                <c:pt idx="1871">
                  <c:v>41850</c:v>
                </c:pt>
                <c:pt idx="1872">
                  <c:v>41851</c:v>
                </c:pt>
                <c:pt idx="1873">
                  <c:v>41852</c:v>
                </c:pt>
                <c:pt idx="1874">
                  <c:v>41855</c:v>
                </c:pt>
                <c:pt idx="1875">
                  <c:v>41856</c:v>
                </c:pt>
                <c:pt idx="1876">
                  <c:v>41857</c:v>
                </c:pt>
                <c:pt idx="1877">
                  <c:v>41858</c:v>
                </c:pt>
                <c:pt idx="1878">
                  <c:v>41859</c:v>
                </c:pt>
                <c:pt idx="1879">
                  <c:v>41862</c:v>
                </c:pt>
                <c:pt idx="1880">
                  <c:v>41863</c:v>
                </c:pt>
                <c:pt idx="1881">
                  <c:v>41864</c:v>
                </c:pt>
                <c:pt idx="1882">
                  <c:v>41865</c:v>
                </c:pt>
                <c:pt idx="1883">
                  <c:v>41866</c:v>
                </c:pt>
                <c:pt idx="1884">
                  <c:v>41869</c:v>
                </c:pt>
                <c:pt idx="1885">
                  <c:v>41870</c:v>
                </c:pt>
                <c:pt idx="1886">
                  <c:v>41871</c:v>
                </c:pt>
                <c:pt idx="1887">
                  <c:v>41872</c:v>
                </c:pt>
                <c:pt idx="1888">
                  <c:v>41873</c:v>
                </c:pt>
                <c:pt idx="1889">
                  <c:v>41876</c:v>
                </c:pt>
                <c:pt idx="1890">
                  <c:v>41877</c:v>
                </c:pt>
                <c:pt idx="1891">
                  <c:v>41878</c:v>
                </c:pt>
                <c:pt idx="1892">
                  <c:v>41879</c:v>
                </c:pt>
                <c:pt idx="1893">
                  <c:v>41880</c:v>
                </c:pt>
                <c:pt idx="1894">
                  <c:v>41884</c:v>
                </c:pt>
                <c:pt idx="1895">
                  <c:v>41885</c:v>
                </c:pt>
                <c:pt idx="1896">
                  <c:v>41886</c:v>
                </c:pt>
                <c:pt idx="1897">
                  <c:v>41887</c:v>
                </c:pt>
                <c:pt idx="1898">
                  <c:v>41890</c:v>
                </c:pt>
                <c:pt idx="1899">
                  <c:v>41891</c:v>
                </c:pt>
                <c:pt idx="1900">
                  <c:v>41892</c:v>
                </c:pt>
                <c:pt idx="1901">
                  <c:v>41893</c:v>
                </c:pt>
                <c:pt idx="1902">
                  <c:v>41894</c:v>
                </c:pt>
                <c:pt idx="1903">
                  <c:v>41897</c:v>
                </c:pt>
                <c:pt idx="1904">
                  <c:v>41898</c:v>
                </c:pt>
                <c:pt idx="1905">
                  <c:v>41899</c:v>
                </c:pt>
                <c:pt idx="1906">
                  <c:v>41900</c:v>
                </c:pt>
                <c:pt idx="1907">
                  <c:v>41901</c:v>
                </c:pt>
                <c:pt idx="1908">
                  <c:v>41904</c:v>
                </c:pt>
                <c:pt idx="1909">
                  <c:v>41905</c:v>
                </c:pt>
                <c:pt idx="1910">
                  <c:v>41906</c:v>
                </c:pt>
                <c:pt idx="1911">
                  <c:v>41907</c:v>
                </c:pt>
                <c:pt idx="1912">
                  <c:v>41908</c:v>
                </c:pt>
                <c:pt idx="1913">
                  <c:v>41911</c:v>
                </c:pt>
                <c:pt idx="1914">
                  <c:v>41912</c:v>
                </c:pt>
                <c:pt idx="1915">
                  <c:v>41913</c:v>
                </c:pt>
                <c:pt idx="1916">
                  <c:v>41914</c:v>
                </c:pt>
                <c:pt idx="1917">
                  <c:v>41915</c:v>
                </c:pt>
                <c:pt idx="1918">
                  <c:v>41918</c:v>
                </c:pt>
                <c:pt idx="1919">
                  <c:v>41919</c:v>
                </c:pt>
                <c:pt idx="1920">
                  <c:v>41920</c:v>
                </c:pt>
                <c:pt idx="1921">
                  <c:v>41921</c:v>
                </c:pt>
                <c:pt idx="1922">
                  <c:v>41922</c:v>
                </c:pt>
                <c:pt idx="1923">
                  <c:v>41925</c:v>
                </c:pt>
                <c:pt idx="1924">
                  <c:v>41926</c:v>
                </c:pt>
                <c:pt idx="1925">
                  <c:v>41927</c:v>
                </c:pt>
                <c:pt idx="1926">
                  <c:v>41928</c:v>
                </c:pt>
                <c:pt idx="1927">
                  <c:v>41929</c:v>
                </c:pt>
                <c:pt idx="1928">
                  <c:v>41932</c:v>
                </c:pt>
                <c:pt idx="1929">
                  <c:v>41933</c:v>
                </c:pt>
                <c:pt idx="1930">
                  <c:v>41934</c:v>
                </c:pt>
                <c:pt idx="1931">
                  <c:v>41935</c:v>
                </c:pt>
                <c:pt idx="1932">
                  <c:v>41936</c:v>
                </c:pt>
                <c:pt idx="1933">
                  <c:v>41939</c:v>
                </c:pt>
                <c:pt idx="1934">
                  <c:v>41940</c:v>
                </c:pt>
                <c:pt idx="1935">
                  <c:v>41941</c:v>
                </c:pt>
                <c:pt idx="1936">
                  <c:v>41942</c:v>
                </c:pt>
                <c:pt idx="1937">
                  <c:v>41943</c:v>
                </c:pt>
                <c:pt idx="1938">
                  <c:v>41946</c:v>
                </c:pt>
                <c:pt idx="1939">
                  <c:v>41947</c:v>
                </c:pt>
                <c:pt idx="1940">
                  <c:v>41948</c:v>
                </c:pt>
                <c:pt idx="1941">
                  <c:v>41949</c:v>
                </c:pt>
                <c:pt idx="1942">
                  <c:v>41950</c:v>
                </c:pt>
                <c:pt idx="1943">
                  <c:v>41953</c:v>
                </c:pt>
                <c:pt idx="1944">
                  <c:v>41954</c:v>
                </c:pt>
                <c:pt idx="1945">
                  <c:v>41955</c:v>
                </c:pt>
                <c:pt idx="1946">
                  <c:v>41956</c:v>
                </c:pt>
                <c:pt idx="1947">
                  <c:v>41957</c:v>
                </c:pt>
                <c:pt idx="1948">
                  <c:v>41960</c:v>
                </c:pt>
                <c:pt idx="1949">
                  <c:v>41961</c:v>
                </c:pt>
                <c:pt idx="1950">
                  <c:v>41962</c:v>
                </c:pt>
                <c:pt idx="1951">
                  <c:v>41963</c:v>
                </c:pt>
                <c:pt idx="1952">
                  <c:v>41964</c:v>
                </c:pt>
                <c:pt idx="1953">
                  <c:v>41967</c:v>
                </c:pt>
                <c:pt idx="1954">
                  <c:v>41968</c:v>
                </c:pt>
                <c:pt idx="1955">
                  <c:v>41969</c:v>
                </c:pt>
                <c:pt idx="1956">
                  <c:v>41971</c:v>
                </c:pt>
                <c:pt idx="1957">
                  <c:v>41974</c:v>
                </c:pt>
                <c:pt idx="1958">
                  <c:v>41975</c:v>
                </c:pt>
                <c:pt idx="1959">
                  <c:v>41976</c:v>
                </c:pt>
                <c:pt idx="1960">
                  <c:v>41977</c:v>
                </c:pt>
                <c:pt idx="1961">
                  <c:v>41978</c:v>
                </c:pt>
                <c:pt idx="1962">
                  <c:v>41981</c:v>
                </c:pt>
                <c:pt idx="1963">
                  <c:v>41982</c:v>
                </c:pt>
                <c:pt idx="1964">
                  <c:v>41983</c:v>
                </c:pt>
                <c:pt idx="1965">
                  <c:v>41984</c:v>
                </c:pt>
                <c:pt idx="1966">
                  <c:v>41985</c:v>
                </c:pt>
                <c:pt idx="1967">
                  <c:v>41988</c:v>
                </c:pt>
                <c:pt idx="1968">
                  <c:v>41989</c:v>
                </c:pt>
                <c:pt idx="1969">
                  <c:v>41990</c:v>
                </c:pt>
                <c:pt idx="1970">
                  <c:v>41991</c:v>
                </c:pt>
                <c:pt idx="1971">
                  <c:v>41992</c:v>
                </c:pt>
                <c:pt idx="1972">
                  <c:v>41995</c:v>
                </c:pt>
                <c:pt idx="1973">
                  <c:v>41996</c:v>
                </c:pt>
                <c:pt idx="1974">
                  <c:v>41997</c:v>
                </c:pt>
                <c:pt idx="1975">
                  <c:v>41999</c:v>
                </c:pt>
                <c:pt idx="1976">
                  <c:v>42002</c:v>
                </c:pt>
                <c:pt idx="1977">
                  <c:v>42003</c:v>
                </c:pt>
                <c:pt idx="1978">
                  <c:v>42004</c:v>
                </c:pt>
                <c:pt idx="1979">
                  <c:v>42006</c:v>
                </c:pt>
                <c:pt idx="1980">
                  <c:v>42009</c:v>
                </c:pt>
                <c:pt idx="1981">
                  <c:v>42010</c:v>
                </c:pt>
                <c:pt idx="1982">
                  <c:v>42011</c:v>
                </c:pt>
                <c:pt idx="1983">
                  <c:v>42012</c:v>
                </c:pt>
                <c:pt idx="1984">
                  <c:v>42013</c:v>
                </c:pt>
                <c:pt idx="1985">
                  <c:v>42016</c:v>
                </c:pt>
                <c:pt idx="1986">
                  <c:v>42017</c:v>
                </c:pt>
                <c:pt idx="1987">
                  <c:v>42018</c:v>
                </c:pt>
                <c:pt idx="1988">
                  <c:v>42019</c:v>
                </c:pt>
                <c:pt idx="1989">
                  <c:v>42020</c:v>
                </c:pt>
                <c:pt idx="1990">
                  <c:v>42024</c:v>
                </c:pt>
                <c:pt idx="1991">
                  <c:v>42025</c:v>
                </c:pt>
                <c:pt idx="1992">
                  <c:v>42026</c:v>
                </c:pt>
                <c:pt idx="1993">
                  <c:v>42027</c:v>
                </c:pt>
                <c:pt idx="1994">
                  <c:v>42030</c:v>
                </c:pt>
                <c:pt idx="1995">
                  <c:v>42031</c:v>
                </c:pt>
                <c:pt idx="1996">
                  <c:v>42032</c:v>
                </c:pt>
                <c:pt idx="1997">
                  <c:v>42033</c:v>
                </c:pt>
                <c:pt idx="1998">
                  <c:v>42034</c:v>
                </c:pt>
                <c:pt idx="1999">
                  <c:v>42037</c:v>
                </c:pt>
                <c:pt idx="2000">
                  <c:v>42038</c:v>
                </c:pt>
                <c:pt idx="2001">
                  <c:v>42039</c:v>
                </c:pt>
                <c:pt idx="2002">
                  <c:v>42040</c:v>
                </c:pt>
                <c:pt idx="2003">
                  <c:v>42041</c:v>
                </c:pt>
                <c:pt idx="2004">
                  <c:v>42044</c:v>
                </c:pt>
                <c:pt idx="2005">
                  <c:v>42045</c:v>
                </c:pt>
                <c:pt idx="2006">
                  <c:v>42046</c:v>
                </c:pt>
                <c:pt idx="2007">
                  <c:v>42047</c:v>
                </c:pt>
                <c:pt idx="2008">
                  <c:v>42048</c:v>
                </c:pt>
                <c:pt idx="2009">
                  <c:v>42052</c:v>
                </c:pt>
                <c:pt idx="2010">
                  <c:v>42053</c:v>
                </c:pt>
                <c:pt idx="2011">
                  <c:v>42054</c:v>
                </c:pt>
                <c:pt idx="2012">
                  <c:v>42055</c:v>
                </c:pt>
                <c:pt idx="2013">
                  <c:v>42058</c:v>
                </c:pt>
                <c:pt idx="2014">
                  <c:v>42059</c:v>
                </c:pt>
                <c:pt idx="2015">
                  <c:v>42060</c:v>
                </c:pt>
                <c:pt idx="2016">
                  <c:v>42061</c:v>
                </c:pt>
                <c:pt idx="2017">
                  <c:v>42062</c:v>
                </c:pt>
                <c:pt idx="2018">
                  <c:v>42065</c:v>
                </c:pt>
                <c:pt idx="2019">
                  <c:v>42066</c:v>
                </c:pt>
                <c:pt idx="2020">
                  <c:v>42067</c:v>
                </c:pt>
                <c:pt idx="2021">
                  <c:v>42068</c:v>
                </c:pt>
                <c:pt idx="2022">
                  <c:v>42069</c:v>
                </c:pt>
                <c:pt idx="2023">
                  <c:v>42072</c:v>
                </c:pt>
                <c:pt idx="2024">
                  <c:v>42073</c:v>
                </c:pt>
                <c:pt idx="2025">
                  <c:v>42074</c:v>
                </c:pt>
                <c:pt idx="2026">
                  <c:v>42075</c:v>
                </c:pt>
                <c:pt idx="2027">
                  <c:v>42076</c:v>
                </c:pt>
                <c:pt idx="2028">
                  <c:v>42079</c:v>
                </c:pt>
                <c:pt idx="2029">
                  <c:v>42080</c:v>
                </c:pt>
                <c:pt idx="2030">
                  <c:v>42081</c:v>
                </c:pt>
                <c:pt idx="2031">
                  <c:v>42082</c:v>
                </c:pt>
                <c:pt idx="2032">
                  <c:v>42083</c:v>
                </c:pt>
                <c:pt idx="2033">
                  <c:v>42086</c:v>
                </c:pt>
                <c:pt idx="2034">
                  <c:v>42087</c:v>
                </c:pt>
                <c:pt idx="2035">
                  <c:v>42088</c:v>
                </c:pt>
                <c:pt idx="2036">
                  <c:v>42089</c:v>
                </c:pt>
                <c:pt idx="2037">
                  <c:v>42090</c:v>
                </c:pt>
                <c:pt idx="2038">
                  <c:v>42093</c:v>
                </c:pt>
                <c:pt idx="2039">
                  <c:v>42094</c:v>
                </c:pt>
                <c:pt idx="2040">
                  <c:v>42095</c:v>
                </c:pt>
                <c:pt idx="2041">
                  <c:v>42096</c:v>
                </c:pt>
                <c:pt idx="2042">
                  <c:v>42100</c:v>
                </c:pt>
                <c:pt idx="2043">
                  <c:v>42101</c:v>
                </c:pt>
                <c:pt idx="2044">
                  <c:v>42102</c:v>
                </c:pt>
                <c:pt idx="2045">
                  <c:v>42103</c:v>
                </c:pt>
                <c:pt idx="2046">
                  <c:v>42104</c:v>
                </c:pt>
                <c:pt idx="2047">
                  <c:v>42107</c:v>
                </c:pt>
                <c:pt idx="2048">
                  <c:v>42108</c:v>
                </c:pt>
                <c:pt idx="2049">
                  <c:v>42109</c:v>
                </c:pt>
                <c:pt idx="2050">
                  <c:v>42110</c:v>
                </c:pt>
                <c:pt idx="2051">
                  <c:v>42111</c:v>
                </c:pt>
                <c:pt idx="2052">
                  <c:v>42114</c:v>
                </c:pt>
                <c:pt idx="2053">
                  <c:v>42115</c:v>
                </c:pt>
                <c:pt idx="2054">
                  <c:v>42116</c:v>
                </c:pt>
                <c:pt idx="2055">
                  <c:v>42117</c:v>
                </c:pt>
                <c:pt idx="2056">
                  <c:v>42118</c:v>
                </c:pt>
                <c:pt idx="2057">
                  <c:v>42121</c:v>
                </c:pt>
                <c:pt idx="2058">
                  <c:v>42122</c:v>
                </c:pt>
                <c:pt idx="2059">
                  <c:v>42123</c:v>
                </c:pt>
                <c:pt idx="2060">
                  <c:v>42124</c:v>
                </c:pt>
                <c:pt idx="2061">
                  <c:v>42125</c:v>
                </c:pt>
                <c:pt idx="2062">
                  <c:v>42128</c:v>
                </c:pt>
                <c:pt idx="2063">
                  <c:v>42129</c:v>
                </c:pt>
                <c:pt idx="2064">
                  <c:v>42130</c:v>
                </c:pt>
                <c:pt idx="2065">
                  <c:v>42131</c:v>
                </c:pt>
                <c:pt idx="2066">
                  <c:v>42132</c:v>
                </c:pt>
                <c:pt idx="2067">
                  <c:v>42135</c:v>
                </c:pt>
                <c:pt idx="2068">
                  <c:v>42136</c:v>
                </c:pt>
                <c:pt idx="2069">
                  <c:v>42137</c:v>
                </c:pt>
                <c:pt idx="2070">
                  <c:v>42138</c:v>
                </c:pt>
                <c:pt idx="2071">
                  <c:v>42139</c:v>
                </c:pt>
                <c:pt idx="2072">
                  <c:v>42142</c:v>
                </c:pt>
                <c:pt idx="2073">
                  <c:v>42143</c:v>
                </c:pt>
                <c:pt idx="2074">
                  <c:v>42144</c:v>
                </c:pt>
                <c:pt idx="2075">
                  <c:v>42145</c:v>
                </c:pt>
                <c:pt idx="2076">
                  <c:v>42146</c:v>
                </c:pt>
                <c:pt idx="2077">
                  <c:v>42150</c:v>
                </c:pt>
                <c:pt idx="2078">
                  <c:v>42151</c:v>
                </c:pt>
                <c:pt idx="2079">
                  <c:v>42152</c:v>
                </c:pt>
                <c:pt idx="2080">
                  <c:v>42153</c:v>
                </c:pt>
                <c:pt idx="2081">
                  <c:v>42156</c:v>
                </c:pt>
                <c:pt idx="2082">
                  <c:v>42157</c:v>
                </c:pt>
                <c:pt idx="2083">
                  <c:v>42158</c:v>
                </c:pt>
                <c:pt idx="2084">
                  <c:v>42159</c:v>
                </c:pt>
                <c:pt idx="2085">
                  <c:v>42160</c:v>
                </c:pt>
                <c:pt idx="2086">
                  <c:v>42163</c:v>
                </c:pt>
                <c:pt idx="2087">
                  <c:v>42164</c:v>
                </c:pt>
                <c:pt idx="2088">
                  <c:v>42165</c:v>
                </c:pt>
                <c:pt idx="2089">
                  <c:v>42166</c:v>
                </c:pt>
                <c:pt idx="2090">
                  <c:v>42167</c:v>
                </c:pt>
                <c:pt idx="2091">
                  <c:v>42170</c:v>
                </c:pt>
                <c:pt idx="2092">
                  <c:v>42171</c:v>
                </c:pt>
                <c:pt idx="2093">
                  <c:v>42172</c:v>
                </c:pt>
                <c:pt idx="2094">
                  <c:v>42173</c:v>
                </c:pt>
                <c:pt idx="2095">
                  <c:v>42174</c:v>
                </c:pt>
                <c:pt idx="2096">
                  <c:v>42177</c:v>
                </c:pt>
                <c:pt idx="2097">
                  <c:v>42178</c:v>
                </c:pt>
                <c:pt idx="2098">
                  <c:v>42179</c:v>
                </c:pt>
                <c:pt idx="2099">
                  <c:v>42180</c:v>
                </c:pt>
                <c:pt idx="2100">
                  <c:v>42181</c:v>
                </c:pt>
                <c:pt idx="2101">
                  <c:v>42184</c:v>
                </c:pt>
                <c:pt idx="2102">
                  <c:v>42185</c:v>
                </c:pt>
                <c:pt idx="2103">
                  <c:v>42186</c:v>
                </c:pt>
                <c:pt idx="2104">
                  <c:v>42187</c:v>
                </c:pt>
                <c:pt idx="2105">
                  <c:v>42191</c:v>
                </c:pt>
                <c:pt idx="2106">
                  <c:v>42192</c:v>
                </c:pt>
                <c:pt idx="2107">
                  <c:v>42193</c:v>
                </c:pt>
                <c:pt idx="2108">
                  <c:v>42194</c:v>
                </c:pt>
                <c:pt idx="2109">
                  <c:v>42195</c:v>
                </c:pt>
                <c:pt idx="2110">
                  <c:v>42198</c:v>
                </c:pt>
                <c:pt idx="2111">
                  <c:v>42199</c:v>
                </c:pt>
                <c:pt idx="2112">
                  <c:v>42200</c:v>
                </c:pt>
                <c:pt idx="2113">
                  <c:v>42201</c:v>
                </c:pt>
                <c:pt idx="2114">
                  <c:v>42202</c:v>
                </c:pt>
                <c:pt idx="2115">
                  <c:v>42205</c:v>
                </c:pt>
                <c:pt idx="2116">
                  <c:v>42206</c:v>
                </c:pt>
                <c:pt idx="2117">
                  <c:v>42207</c:v>
                </c:pt>
                <c:pt idx="2118">
                  <c:v>42208</c:v>
                </c:pt>
                <c:pt idx="2119">
                  <c:v>42209</c:v>
                </c:pt>
                <c:pt idx="2120">
                  <c:v>42212</c:v>
                </c:pt>
                <c:pt idx="2121">
                  <c:v>42213</c:v>
                </c:pt>
                <c:pt idx="2122">
                  <c:v>42214</c:v>
                </c:pt>
                <c:pt idx="2123">
                  <c:v>42215</c:v>
                </c:pt>
                <c:pt idx="2124">
                  <c:v>42216</c:v>
                </c:pt>
                <c:pt idx="2125">
                  <c:v>42219</c:v>
                </c:pt>
                <c:pt idx="2126">
                  <c:v>42220</c:v>
                </c:pt>
                <c:pt idx="2127">
                  <c:v>42221</c:v>
                </c:pt>
                <c:pt idx="2128">
                  <c:v>42222</c:v>
                </c:pt>
                <c:pt idx="2129">
                  <c:v>42223</c:v>
                </c:pt>
                <c:pt idx="2130">
                  <c:v>42226</c:v>
                </c:pt>
                <c:pt idx="2131">
                  <c:v>42227</c:v>
                </c:pt>
                <c:pt idx="2132">
                  <c:v>42228</c:v>
                </c:pt>
                <c:pt idx="2133">
                  <c:v>42229</c:v>
                </c:pt>
                <c:pt idx="2134">
                  <c:v>42230</c:v>
                </c:pt>
                <c:pt idx="2135">
                  <c:v>42233</c:v>
                </c:pt>
                <c:pt idx="2136">
                  <c:v>42234</c:v>
                </c:pt>
                <c:pt idx="2137">
                  <c:v>42235</c:v>
                </c:pt>
                <c:pt idx="2138">
                  <c:v>42236</c:v>
                </c:pt>
                <c:pt idx="2139">
                  <c:v>42237</c:v>
                </c:pt>
                <c:pt idx="2140">
                  <c:v>42240</c:v>
                </c:pt>
                <c:pt idx="2141">
                  <c:v>42241</c:v>
                </c:pt>
                <c:pt idx="2142">
                  <c:v>42242</c:v>
                </c:pt>
                <c:pt idx="2143">
                  <c:v>42243</c:v>
                </c:pt>
                <c:pt idx="2144">
                  <c:v>42244</c:v>
                </c:pt>
                <c:pt idx="2145">
                  <c:v>42247</c:v>
                </c:pt>
                <c:pt idx="2146">
                  <c:v>42248</c:v>
                </c:pt>
                <c:pt idx="2147">
                  <c:v>42249</c:v>
                </c:pt>
                <c:pt idx="2148">
                  <c:v>42250</c:v>
                </c:pt>
                <c:pt idx="2149">
                  <c:v>42251</c:v>
                </c:pt>
                <c:pt idx="2150">
                  <c:v>42255</c:v>
                </c:pt>
                <c:pt idx="2151">
                  <c:v>42256</c:v>
                </c:pt>
                <c:pt idx="2152">
                  <c:v>42257</c:v>
                </c:pt>
                <c:pt idx="2153">
                  <c:v>42258</c:v>
                </c:pt>
                <c:pt idx="2154">
                  <c:v>42261</c:v>
                </c:pt>
                <c:pt idx="2155">
                  <c:v>42262</c:v>
                </c:pt>
                <c:pt idx="2156">
                  <c:v>42263</c:v>
                </c:pt>
                <c:pt idx="2157">
                  <c:v>42264</c:v>
                </c:pt>
                <c:pt idx="2158">
                  <c:v>42265</c:v>
                </c:pt>
                <c:pt idx="2159">
                  <c:v>42268</c:v>
                </c:pt>
                <c:pt idx="2160">
                  <c:v>42269</c:v>
                </c:pt>
                <c:pt idx="2161">
                  <c:v>42270</c:v>
                </c:pt>
                <c:pt idx="2162">
                  <c:v>42271</c:v>
                </c:pt>
                <c:pt idx="2163">
                  <c:v>42272</c:v>
                </c:pt>
                <c:pt idx="2164">
                  <c:v>42275</c:v>
                </c:pt>
                <c:pt idx="2165">
                  <c:v>42276</c:v>
                </c:pt>
                <c:pt idx="2166">
                  <c:v>42277</c:v>
                </c:pt>
                <c:pt idx="2167">
                  <c:v>42278</c:v>
                </c:pt>
                <c:pt idx="2168">
                  <c:v>42279</c:v>
                </c:pt>
                <c:pt idx="2169">
                  <c:v>42282</c:v>
                </c:pt>
                <c:pt idx="2170">
                  <c:v>42283</c:v>
                </c:pt>
                <c:pt idx="2171">
                  <c:v>42284</c:v>
                </c:pt>
                <c:pt idx="2172">
                  <c:v>42285</c:v>
                </c:pt>
                <c:pt idx="2173">
                  <c:v>42286</c:v>
                </c:pt>
                <c:pt idx="2174">
                  <c:v>42289</c:v>
                </c:pt>
                <c:pt idx="2175">
                  <c:v>42290</c:v>
                </c:pt>
                <c:pt idx="2176">
                  <c:v>42291</c:v>
                </c:pt>
                <c:pt idx="2177">
                  <c:v>42292</c:v>
                </c:pt>
                <c:pt idx="2178">
                  <c:v>42293</c:v>
                </c:pt>
                <c:pt idx="2179">
                  <c:v>42296</c:v>
                </c:pt>
                <c:pt idx="2180">
                  <c:v>42297</c:v>
                </c:pt>
                <c:pt idx="2181">
                  <c:v>42298</c:v>
                </c:pt>
                <c:pt idx="2182">
                  <c:v>42299</c:v>
                </c:pt>
                <c:pt idx="2183">
                  <c:v>42300</c:v>
                </c:pt>
                <c:pt idx="2184">
                  <c:v>42303</c:v>
                </c:pt>
                <c:pt idx="2185">
                  <c:v>42304</c:v>
                </c:pt>
                <c:pt idx="2186">
                  <c:v>42305</c:v>
                </c:pt>
                <c:pt idx="2187">
                  <c:v>42306</c:v>
                </c:pt>
                <c:pt idx="2188">
                  <c:v>42307</c:v>
                </c:pt>
                <c:pt idx="2189">
                  <c:v>42310</c:v>
                </c:pt>
                <c:pt idx="2190">
                  <c:v>42311</c:v>
                </c:pt>
                <c:pt idx="2191">
                  <c:v>42312</c:v>
                </c:pt>
                <c:pt idx="2192">
                  <c:v>42313</c:v>
                </c:pt>
                <c:pt idx="2193">
                  <c:v>42314</c:v>
                </c:pt>
                <c:pt idx="2194">
                  <c:v>42317</c:v>
                </c:pt>
                <c:pt idx="2195">
                  <c:v>42318</c:v>
                </c:pt>
                <c:pt idx="2196">
                  <c:v>42319</c:v>
                </c:pt>
                <c:pt idx="2197">
                  <c:v>42320</c:v>
                </c:pt>
                <c:pt idx="2198">
                  <c:v>42321</c:v>
                </c:pt>
                <c:pt idx="2199">
                  <c:v>42324</c:v>
                </c:pt>
                <c:pt idx="2200">
                  <c:v>42325</c:v>
                </c:pt>
                <c:pt idx="2201">
                  <c:v>42326</c:v>
                </c:pt>
                <c:pt idx="2202">
                  <c:v>42327</c:v>
                </c:pt>
                <c:pt idx="2203">
                  <c:v>42328</c:v>
                </c:pt>
                <c:pt idx="2204">
                  <c:v>42331</c:v>
                </c:pt>
                <c:pt idx="2205">
                  <c:v>42332</c:v>
                </c:pt>
                <c:pt idx="2206">
                  <c:v>42333</c:v>
                </c:pt>
                <c:pt idx="2207">
                  <c:v>42335</c:v>
                </c:pt>
                <c:pt idx="2208">
                  <c:v>42338</c:v>
                </c:pt>
                <c:pt idx="2209">
                  <c:v>42339</c:v>
                </c:pt>
                <c:pt idx="2210">
                  <c:v>42340</c:v>
                </c:pt>
                <c:pt idx="2211">
                  <c:v>42341</c:v>
                </c:pt>
                <c:pt idx="2212">
                  <c:v>42342</c:v>
                </c:pt>
                <c:pt idx="2213">
                  <c:v>42345</c:v>
                </c:pt>
                <c:pt idx="2214">
                  <c:v>42346</c:v>
                </c:pt>
                <c:pt idx="2215">
                  <c:v>42347</c:v>
                </c:pt>
                <c:pt idx="2216">
                  <c:v>42348</c:v>
                </c:pt>
                <c:pt idx="2217">
                  <c:v>42349</c:v>
                </c:pt>
                <c:pt idx="2218">
                  <c:v>42352</c:v>
                </c:pt>
                <c:pt idx="2219">
                  <c:v>42353</c:v>
                </c:pt>
                <c:pt idx="2220">
                  <c:v>42354</c:v>
                </c:pt>
                <c:pt idx="2221">
                  <c:v>42355</c:v>
                </c:pt>
                <c:pt idx="2222">
                  <c:v>42356</c:v>
                </c:pt>
                <c:pt idx="2223">
                  <c:v>42359</c:v>
                </c:pt>
                <c:pt idx="2224">
                  <c:v>42360</c:v>
                </c:pt>
                <c:pt idx="2225">
                  <c:v>42361</c:v>
                </c:pt>
                <c:pt idx="2226">
                  <c:v>42362</c:v>
                </c:pt>
                <c:pt idx="2227">
                  <c:v>42366</c:v>
                </c:pt>
                <c:pt idx="2228">
                  <c:v>42367</c:v>
                </c:pt>
                <c:pt idx="2229">
                  <c:v>42368</c:v>
                </c:pt>
                <c:pt idx="2230">
                  <c:v>42369</c:v>
                </c:pt>
                <c:pt idx="2231">
                  <c:v>42373</c:v>
                </c:pt>
                <c:pt idx="2232">
                  <c:v>42374</c:v>
                </c:pt>
                <c:pt idx="2233">
                  <c:v>42375</c:v>
                </c:pt>
                <c:pt idx="2234">
                  <c:v>42376</c:v>
                </c:pt>
                <c:pt idx="2235">
                  <c:v>42377</c:v>
                </c:pt>
                <c:pt idx="2236">
                  <c:v>42380</c:v>
                </c:pt>
                <c:pt idx="2237">
                  <c:v>42381</c:v>
                </c:pt>
                <c:pt idx="2238">
                  <c:v>42382</c:v>
                </c:pt>
                <c:pt idx="2239">
                  <c:v>42383</c:v>
                </c:pt>
                <c:pt idx="2240">
                  <c:v>42384</c:v>
                </c:pt>
                <c:pt idx="2241">
                  <c:v>42388</c:v>
                </c:pt>
                <c:pt idx="2242">
                  <c:v>42389</c:v>
                </c:pt>
                <c:pt idx="2243">
                  <c:v>42390</c:v>
                </c:pt>
                <c:pt idx="2244">
                  <c:v>42391</c:v>
                </c:pt>
                <c:pt idx="2245">
                  <c:v>42394</c:v>
                </c:pt>
                <c:pt idx="2246">
                  <c:v>42395</c:v>
                </c:pt>
                <c:pt idx="2247">
                  <c:v>42396</c:v>
                </c:pt>
                <c:pt idx="2248">
                  <c:v>42397</c:v>
                </c:pt>
                <c:pt idx="2249">
                  <c:v>42398</c:v>
                </c:pt>
                <c:pt idx="2250">
                  <c:v>42401</c:v>
                </c:pt>
                <c:pt idx="2251">
                  <c:v>42402</c:v>
                </c:pt>
                <c:pt idx="2252">
                  <c:v>42403</c:v>
                </c:pt>
                <c:pt idx="2253">
                  <c:v>42404</c:v>
                </c:pt>
                <c:pt idx="2254">
                  <c:v>42405</c:v>
                </c:pt>
                <c:pt idx="2255">
                  <c:v>42408</c:v>
                </c:pt>
                <c:pt idx="2256">
                  <c:v>42409</c:v>
                </c:pt>
                <c:pt idx="2257">
                  <c:v>42410</c:v>
                </c:pt>
                <c:pt idx="2258">
                  <c:v>42411</c:v>
                </c:pt>
                <c:pt idx="2259">
                  <c:v>42412</c:v>
                </c:pt>
                <c:pt idx="2260">
                  <c:v>42416</c:v>
                </c:pt>
                <c:pt idx="2261">
                  <c:v>42417</c:v>
                </c:pt>
                <c:pt idx="2262">
                  <c:v>42418</c:v>
                </c:pt>
                <c:pt idx="2263">
                  <c:v>42419</c:v>
                </c:pt>
                <c:pt idx="2264">
                  <c:v>42422</c:v>
                </c:pt>
                <c:pt idx="2265">
                  <c:v>42423</c:v>
                </c:pt>
                <c:pt idx="2266">
                  <c:v>42424</c:v>
                </c:pt>
                <c:pt idx="2267">
                  <c:v>42425</c:v>
                </c:pt>
                <c:pt idx="2268">
                  <c:v>42426</c:v>
                </c:pt>
                <c:pt idx="2269">
                  <c:v>42429</c:v>
                </c:pt>
                <c:pt idx="2270">
                  <c:v>42430</c:v>
                </c:pt>
                <c:pt idx="2271">
                  <c:v>42431</c:v>
                </c:pt>
                <c:pt idx="2272">
                  <c:v>42432</c:v>
                </c:pt>
                <c:pt idx="2273">
                  <c:v>42433</c:v>
                </c:pt>
                <c:pt idx="2274">
                  <c:v>42436</c:v>
                </c:pt>
                <c:pt idx="2275">
                  <c:v>42437</c:v>
                </c:pt>
                <c:pt idx="2276">
                  <c:v>42438</c:v>
                </c:pt>
                <c:pt idx="2277">
                  <c:v>42439</c:v>
                </c:pt>
                <c:pt idx="2278">
                  <c:v>42440</c:v>
                </c:pt>
                <c:pt idx="2279">
                  <c:v>42443</c:v>
                </c:pt>
                <c:pt idx="2280">
                  <c:v>42444</c:v>
                </c:pt>
                <c:pt idx="2281">
                  <c:v>42445</c:v>
                </c:pt>
                <c:pt idx="2282">
                  <c:v>42446</c:v>
                </c:pt>
                <c:pt idx="2283">
                  <c:v>42447</c:v>
                </c:pt>
                <c:pt idx="2284">
                  <c:v>42450</c:v>
                </c:pt>
                <c:pt idx="2285">
                  <c:v>42451</c:v>
                </c:pt>
                <c:pt idx="2286">
                  <c:v>42452</c:v>
                </c:pt>
                <c:pt idx="2287">
                  <c:v>42453</c:v>
                </c:pt>
                <c:pt idx="2288">
                  <c:v>42457</c:v>
                </c:pt>
                <c:pt idx="2289">
                  <c:v>42458</c:v>
                </c:pt>
                <c:pt idx="2290">
                  <c:v>42459</c:v>
                </c:pt>
                <c:pt idx="2291">
                  <c:v>42460</c:v>
                </c:pt>
                <c:pt idx="2292">
                  <c:v>42461</c:v>
                </c:pt>
                <c:pt idx="2293">
                  <c:v>42464</c:v>
                </c:pt>
                <c:pt idx="2294">
                  <c:v>42465</c:v>
                </c:pt>
                <c:pt idx="2295">
                  <c:v>42466</c:v>
                </c:pt>
                <c:pt idx="2296">
                  <c:v>42467</c:v>
                </c:pt>
                <c:pt idx="2297">
                  <c:v>42468</c:v>
                </c:pt>
                <c:pt idx="2298">
                  <c:v>42471</c:v>
                </c:pt>
                <c:pt idx="2299">
                  <c:v>42472</c:v>
                </c:pt>
                <c:pt idx="2300">
                  <c:v>42473</c:v>
                </c:pt>
                <c:pt idx="2301">
                  <c:v>42474</c:v>
                </c:pt>
                <c:pt idx="2302">
                  <c:v>42475</c:v>
                </c:pt>
                <c:pt idx="2303">
                  <c:v>42478</c:v>
                </c:pt>
                <c:pt idx="2304">
                  <c:v>42479</c:v>
                </c:pt>
                <c:pt idx="2305">
                  <c:v>42480</c:v>
                </c:pt>
                <c:pt idx="2306">
                  <c:v>42481</c:v>
                </c:pt>
                <c:pt idx="2307">
                  <c:v>42482</c:v>
                </c:pt>
                <c:pt idx="2308">
                  <c:v>42485</c:v>
                </c:pt>
                <c:pt idx="2309">
                  <c:v>42486</c:v>
                </c:pt>
                <c:pt idx="2310">
                  <c:v>42487</c:v>
                </c:pt>
                <c:pt idx="2311">
                  <c:v>42488</c:v>
                </c:pt>
                <c:pt idx="2312">
                  <c:v>42489</c:v>
                </c:pt>
                <c:pt idx="2313">
                  <c:v>42492</c:v>
                </c:pt>
                <c:pt idx="2314">
                  <c:v>42493</c:v>
                </c:pt>
                <c:pt idx="2315">
                  <c:v>42494</c:v>
                </c:pt>
                <c:pt idx="2316">
                  <c:v>42495</c:v>
                </c:pt>
                <c:pt idx="2317">
                  <c:v>42496</c:v>
                </c:pt>
                <c:pt idx="2318">
                  <c:v>42499</c:v>
                </c:pt>
                <c:pt idx="2319">
                  <c:v>42500</c:v>
                </c:pt>
                <c:pt idx="2320">
                  <c:v>42501</c:v>
                </c:pt>
                <c:pt idx="2321">
                  <c:v>42502</c:v>
                </c:pt>
                <c:pt idx="2322">
                  <c:v>42503</c:v>
                </c:pt>
                <c:pt idx="2323">
                  <c:v>42506</c:v>
                </c:pt>
                <c:pt idx="2324">
                  <c:v>42507</c:v>
                </c:pt>
                <c:pt idx="2325">
                  <c:v>42508</c:v>
                </c:pt>
              </c:numCache>
            </c:numRef>
          </c:cat>
          <c:val>
            <c:numRef>
              <c:f>'Vix futures volumes'!$AK$5:$AK$2330</c:f>
              <c:numCache>
                <c:formatCode>_(* #,##0.00_);_(* \(#,##0.00\);_(* "-"??_);_(@_)</c:formatCode>
                <c:ptCount val="2326"/>
                <c:pt idx="0">
                  <c:v>6.5141999999999998</c:v>
                </c:pt>
                <c:pt idx="1">
                  <c:v>10.554320000000001</c:v>
                </c:pt>
                <c:pt idx="2">
                  <c:v>8.0340799999999994</c:v>
                </c:pt>
                <c:pt idx="3">
                  <c:v>5.6119300000000001</c:v>
                </c:pt>
                <c:pt idx="4">
                  <c:v>19.003679999999999</c:v>
                </c:pt>
                <c:pt idx="5">
                  <c:v>16.226279999999999</c:v>
                </c:pt>
                <c:pt idx="6">
                  <c:v>26.53708</c:v>
                </c:pt>
                <c:pt idx="7">
                  <c:v>16.053239999999999</c:v>
                </c:pt>
                <c:pt idx="8">
                  <c:v>0.64549999999999996</c:v>
                </c:pt>
                <c:pt idx="9">
                  <c:v>0.7611</c:v>
                </c:pt>
                <c:pt idx="10">
                  <c:v>0.51600000000000001</c:v>
                </c:pt>
                <c:pt idx="11">
                  <c:v>0.26838000000000001</c:v>
                </c:pt>
                <c:pt idx="12">
                  <c:v>0.49062</c:v>
                </c:pt>
                <c:pt idx="13">
                  <c:v>6.5552400000000004</c:v>
                </c:pt>
                <c:pt idx="14">
                  <c:v>1.2013199999999999</c:v>
                </c:pt>
                <c:pt idx="15">
                  <c:v>0.47853000000000001</c:v>
                </c:pt>
                <c:pt idx="16">
                  <c:v>3.5368200000000001</c:v>
                </c:pt>
                <c:pt idx="17">
                  <c:v>6.0687899999999999</c:v>
                </c:pt>
                <c:pt idx="18">
                  <c:v>0.72435000000000005</c:v>
                </c:pt>
                <c:pt idx="19">
                  <c:v>0.56237999999999999</c:v>
                </c:pt>
                <c:pt idx="20">
                  <c:v>1.7664</c:v>
                </c:pt>
                <c:pt idx="21">
                  <c:v>1.4501500000000001</c:v>
                </c:pt>
                <c:pt idx="22">
                  <c:v>0.35698999999999997</c:v>
                </c:pt>
                <c:pt idx="23">
                  <c:v>1.3240799999999999</c:v>
                </c:pt>
                <c:pt idx="24">
                  <c:v>2.3199000000000001</c:v>
                </c:pt>
                <c:pt idx="25">
                  <c:v>3.8651300000000002</c:v>
                </c:pt>
                <c:pt idx="26">
                  <c:v>5.9553900000000004</c:v>
                </c:pt>
                <c:pt idx="27">
                  <c:v>2.6829000000000001</c:v>
                </c:pt>
                <c:pt idx="28">
                  <c:v>3.7065600000000001</c:v>
                </c:pt>
                <c:pt idx="29">
                  <c:v>4.3478199999999996</c:v>
                </c:pt>
                <c:pt idx="30">
                  <c:v>8.0753799999999991</c:v>
                </c:pt>
                <c:pt idx="31">
                  <c:v>3.4029199999999999</c:v>
                </c:pt>
                <c:pt idx="32">
                  <c:v>3.3557000000000001</c:v>
                </c:pt>
                <c:pt idx="33">
                  <c:v>46.874099999999999</c:v>
                </c:pt>
                <c:pt idx="34">
                  <c:v>2.2677800000000001</c:v>
                </c:pt>
                <c:pt idx="35">
                  <c:v>1.7481100000000001</c:v>
                </c:pt>
                <c:pt idx="36">
                  <c:v>4.5423999999999998</c:v>
                </c:pt>
                <c:pt idx="37">
                  <c:v>7.5871599999999999</c:v>
                </c:pt>
                <c:pt idx="38">
                  <c:v>7.7810699999999997</c:v>
                </c:pt>
                <c:pt idx="39">
                  <c:v>6.7571000000000003</c:v>
                </c:pt>
                <c:pt idx="40">
                  <c:v>3.4975000000000001</c:v>
                </c:pt>
                <c:pt idx="41">
                  <c:v>8.3600700000000003</c:v>
                </c:pt>
                <c:pt idx="42">
                  <c:v>8.6863499999999991</c:v>
                </c:pt>
                <c:pt idx="43">
                  <c:v>4.6767500000000002</c:v>
                </c:pt>
                <c:pt idx="44">
                  <c:v>7.5474699999999997</c:v>
                </c:pt>
                <c:pt idx="45">
                  <c:v>4.7409600000000003</c:v>
                </c:pt>
                <c:pt idx="46">
                  <c:v>3.4222000000000001</c:v>
                </c:pt>
                <c:pt idx="47">
                  <c:v>2.6739999999999999</c:v>
                </c:pt>
                <c:pt idx="48">
                  <c:v>1.20658</c:v>
                </c:pt>
                <c:pt idx="49">
                  <c:v>3.1392899999999999</c:v>
                </c:pt>
                <c:pt idx="50">
                  <c:v>4.0710899999999999</c:v>
                </c:pt>
                <c:pt idx="51">
                  <c:v>11.51947</c:v>
                </c:pt>
                <c:pt idx="52">
                  <c:v>4.0166000000000004</c:v>
                </c:pt>
                <c:pt idx="53">
                  <c:v>1.1457999999999999</c:v>
                </c:pt>
                <c:pt idx="54">
                  <c:v>1.07094</c:v>
                </c:pt>
                <c:pt idx="55">
                  <c:v>6.5903999999999998</c:v>
                </c:pt>
                <c:pt idx="56">
                  <c:v>6.9376699999999998</c:v>
                </c:pt>
                <c:pt idx="57">
                  <c:v>4.2515599999999996</c:v>
                </c:pt>
                <c:pt idx="58">
                  <c:v>5.3361000000000001</c:v>
                </c:pt>
                <c:pt idx="59">
                  <c:v>4.9859999999999998</c:v>
                </c:pt>
                <c:pt idx="60">
                  <c:v>8.5606899999999992</c:v>
                </c:pt>
                <c:pt idx="61">
                  <c:v>5.3565899999999997</c:v>
                </c:pt>
                <c:pt idx="62">
                  <c:v>14.85876</c:v>
                </c:pt>
                <c:pt idx="63">
                  <c:v>9.5702999999999996</c:v>
                </c:pt>
                <c:pt idx="64">
                  <c:v>11.31338</c:v>
                </c:pt>
                <c:pt idx="65">
                  <c:v>12.282999999999999</c:v>
                </c:pt>
                <c:pt idx="66">
                  <c:v>2.0491199999999998</c:v>
                </c:pt>
                <c:pt idx="67">
                  <c:v>1.70628</c:v>
                </c:pt>
                <c:pt idx="68">
                  <c:v>7.0514599999999996</c:v>
                </c:pt>
                <c:pt idx="69">
                  <c:v>6.8150000000000004</c:v>
                </c:pt>
                <c:pt idx="70">
                  <c:v>4.4182600000000001</c:v>
                </c:pt>
                <c:pt idx="71">
                  <c:v>8.0340100000000003</c:v>
                </c:pt>
                <c:pt idx="72">
                  <c:v>1.3775999999999999</c:v>
                </c:pt>
                <c:pt idx="73">
                  <c:v>3.3125399999999998</c:v>
                </c:pt>
                <c:pt idx="74">
                  <c:v>4.6042300000000003</c:v>
                </c:pt>
                <c:pt idx="75">
                  <c:v>0.55632000000000004</c:v>
                </c:pt>
                <c:pt idx="76">
                  <c:v>2.7272699999999999</c:v>
                </c:pt>
                <c:pt idx="77">
                  <c:v>4.77522</c:v>
                </c:pt>
                <c:pt idx="78">
                  <c:v>10.65222</c:v>
                </c:pt>
                <c:pt idx="79">
                  <c:v>3.4153099999999998</c:v>
                </c:pt>
                <c:pt idx="80">
                  <c:v>0.53058000000000005</c:v>
                </c:pt>
                <c:pt idx="81">
                  <c:v>2.2880099999999999</c:v>
                </c:pt>
                <c:pt idx="82">
                  <c:v>13.31352</c:v>
                </c:pt>
                <c:pt idx="83">
                  <c:v>33.091200000000001</c:v>
                </c:pt>
                <c:pt idx="84">
                  <c:v>8.3572799999999994</c:v>
                </c:pt>
                <c:pt idx="85">
                  <c:v>3.24166</c:v>
                </c:pt>
                <c:pt idx="86">
                  <c:v>9.3910499999999999</c:v>
                </c:pt>
                <c:pt idx="87">
                  <c:v>10.6287</c:v>
                </c:pt>
                <c:pt idx="88">
                  <c:v>11.9251</c:v>
                </c:pt>
                <c:pt idx="89">
                  <c:v>9.9657599999999995</c:v>
                </c:pt>
                <c:pt idx="90">
                  <c:v>4.9038000000000004</c:v>
                </c:pt>
                <c:pt idx="91">
                  <c:v>3.2424200000000001</c:v>
                </c:pt>
                <c:pt idx="92">
                  <c:v>55.754049999999999</c:v>
                </c:pt>
                <c:pt idx="93">
                  <c:v>8.9972999999999992</c:v>
                </c:pt>
                <c:pt idx="94">
                  <c:v>5.5493100000000002</c:v>
                </c:pt>
                <c:pt idx="95">
                  <c:v>8.8114500000000007</c:v>
                </c:pt>
                <c:pt idx="96">
                  <c:v>6.6781199999999998</c:v>
                </c:pt>
                <c:pt idx="97">
                  <c:v>14.757999999999999</c:v>
                </c:pt>
                <c:pt idx="98">
                  <c:v>5.7657600000000002</c:v>
                </c:pt>
                <c:pt idx="99">
                  <c:v>9.7929600000000008</c:v>
                </c:pt>
                <c:pt idx="100">
                  <c:v>2.0510999999999999</c:v>
                </c:pt>
                <c:pt idx="101">
                  <c:v>3.4134099999999998</c:v>
                </c:pt>
                <c:pt idx="102">
                  <c:v>4.9532699999999998</c:v>
                </c:pt>
                <c:pt idx="103">
                  <c:v>6.5279499999999997</c:v>
                </c:pt>
                <c:pt idx="104">
                  <c:v>4.7347299999999999</c:v>
                </c:pt>
                <c:pt idx="105">
                  <c:v>35.128720000000001</c:v>
                </c:pt>
                <c:pt idx="106">
                  <c:v>32.850449999999995</c:v>
                </c:pt>
                <c:pt idx="107">
                  <c:v>20.327960000000004</c:v>
                </c:pt>
                <c:pt idx="108">
                  <c:v>2.23244</c:v>
                </c:pt>
                <c:pt idx="109">
                  <c:v>3.8807999999999998</c:v>
                </c:pt>
                <c:pt idx="110">
                  <c:v>5.3964600000000003</c:v>
                </c:pt>
                <c:pt idx="111">
                  <c:v>6.9331600000000009</c:v>
                </c:pt>
                <c:pt idx="112">
                  <c:v>20.32856</c:v>
                </c:pt>
                <c:pt idx="113">
                  <c:v>16.392480000000003</c:v>
                </c:pt>
                <c:pt idx="114">
                  <c:v>9.1676000000000002</c:v>
                </c:pt>
                <c:pt idx="115">
                  <c:v>9.7593200000000007</c:v>
                </c:pt>
                <c:pt idx="116">
                  <c:v>10.25352</c:v>
                </c:pt>
                <c:pt idx="117">
                  <c:v>22.348800000000001</c:v>
                </c:pt>
                <c:pt idx="118">
                  <c:v>12.96918</c:v>
                </c:pt>
                <c:pt idx="119">
                  <c:v>25.464600000000004</c:v>
                </c:pt>
                <c:pt idx="120">
                  <c:v>33.834330000000001</c:v>
                </c:pt>
                <c:pt idx="121">
                  <c:v>45.045000000000002</c:v>
                </c:pt>
                <c:pt idx="122">
                  <c:v>13.1334</c:v>
                </c:pt>
                <c:pt idx="123">
                  <c:v>15.224069999999999</c:v>
                </c:pt>
                <c:pt idx="124">
                  <c:v>18.913440000000001</c:v>
                </c:pt>
                <c:pt idx="125">
                  <c:v>40.073790000000002</c:v>
                </c:pt>
                <c:pt idx="126">
                  <c:v>24.988499999999998</c:v>
                </c:pt>
                <c:pt idx="127">
                  <c:v>35.411850000000001</c:v>
                </c:pt>
                <c:pt idx="128">
                  <c:v>24.646090000000001</c:v>
                </c:pt>
                <c:pt idx="129">
                  <c:v>22.179200000000002</c:v>
                </c:pt>
                <c:pt idx="130">
                  <c:v>31.079699999999999</c:v>
                </c:pt>
                <c:pt idx="131">
                  <c:v>24.097259999999999</c:v>
                </c:pt>
                <c:pt idx="132">
                  <c:v>41.66525</c:v>
                </c:pt>
                <c:pt idx="133">
                  <c:v>12.398910000000001</c:v>
                </c:pt>
                <c:pt idx="134">
                  <c:v>2.1270500000000001</c:v>
                </c:pt>
                <c:pt idx="135">
                  <c:v>4.3289999999999997</c:v>
                </c:pt>
                <c:pt idx="136">
                  <c:v>5.4325000000000001</c:v>
                </c:pt>
                <c:pt idx="137">
                  <c:v>14.08066</c:v>
                </c:pt>
                <c:pt idx="138">
                  <c:v>14.79655</c:v>
                </c:pt>
                <c:pt idx="139">
                  <c:v>10.268000000000001</c:v>
                </c:pt>
                <c:pt idx="140">
                  <c:v>9.9109999999999996</c:v>
                </c:pt>
                <c:pt idx="141">
                  <c:v>7.9169400000000003</c:v>
                </c:pt>
                <c:pt idx="142">
                  <c:v>7.7712199999999996</c:v>
                </c:pt>
                <c:pt idx="143">
                  <c:v>35.273490000000002</c:v>
                </c:pt>
                <c:pt idx="144">
                  <c:v>8.5795999999999992</c:v>
                </c:pt>
                <c:pt idx="145">
                  <c:v>10.46008</c:v>
                </c:pt>
                <c:pt idx="146">
                  <c:v>17.938800000000001</c:v>
                </c:pt>
                <c:pt idx="147">
                  <c:v>6.4431500000000002</c:v>
                </c:pt>
                <c:pt idx="148">
                  <c:v>4.5679999999999996</c:v>
                </c:pt>
                <c:pt idx="149">
                  <c:v>24.724440000000001</c:v>
                </c:pt>
                <c:pt idx="150">
                  <c:v>58.849069999999998</c:v>
                </c:pt>
                <c:pt idx="151">
                  <c:v>18.509</c:v>
                </c:pt>
                <c:pt idx="152">
                  <c:v>20.59938</c:v>
                </c:pt>
                <c:pt idx="153">
                  <c:v>30.760950000000001</c:v>
                </c:pt>
                <c:pt idx="154">
                  <c:v>16.128219999999999</c:v>
                </c:pt>
                <c:pt idx="155">
                  <c:v>28.987919999999995</c:v>
                </c:pt>
                <c:pt idx="156">
                  <c:v>7.07735</c:v>
                </c:pt>
                <c:pt idx="157">
                  <c:v>37.343730000000001</c:v>
                </c:pt>
                <c:pt idx="158">
                  <c:v>16.709759999999999</c:v>
                </c:pt>
                <c:pt idx="159">
                  <c:v>15.417270000000002</c:v>
                </c:pt>
                <c:pt idx="160">
                  <c:v>8.0959499999999984</c:v>
                </c:pt>
                <c:pt idx="161">
                  <c:v>11.7273</c:v>
                </c:pt>
                <c:pt idx="162">
                  <c:v>29.59872</c:v>
                </c:pt>
                <c:pt idx="163">
                  <c:v>14.456910000000002</c:v>
                </c:pt>
                <c:pt idx="164">
                  <c:v>14.185040000000001</c:v>
                </c:pt>
                <c:pt idx="165">
                  <c:v>19.476520000000001</c:v>
                </c:pt>
                <c:pt idx="166">
                  <c:v>42.787799999999997</c:v>
                </c:pt>
                <c:pt idx="167">
                  <c:v>3.8257400000000006</c:v>
                </c:pt>
                <c:pt idx="168">
                  <c:v>14.42619</c:v>
                </c:pt>
                <c:pt idx="169">
                  <c:v>12.233639999999999</c:v>
                </c:pt>
                <c:pt idx="170">
                  <c:v>23.443049999999999</c:v>
                </c:pt>
                <c:pt idx="171">
                  <c:v>23.7272</c:v>
                </c:pt>
                <c:pt idx="172">
                  <c:v>21.783480000000001</c:v>
                </c:pt>
                <c:pt idx="173">
                  <c:v>19.801259999999999</c:v>
                </c:pt>
                <c:pt idx="174">
                  <c:v>10.34136</c:v>
                </c:pt>
                <c:pt idx="175">
                  <c:v>8.2056000000000004</c:v>
                </c:pt>
                <c:pt idx="176">
                  <c:v>8.9703900000000001</c:v>
                </c:pt>
                <c:pt idx="177">
                  <c:v>15.299480000000001</c:v>
                </c:pt>
                <c:pt idx="178">
                  <c:v>20.360900000000001</c:v>
                </c:pt>
                <c:pt idx="179">
                  <c:v>21.13486</c:v>
                </c:pt>
                <c:pt idx="180">
                  <c:v>17.694690000000001</c:v>
                </c:pt>
                <c:pt idx="181">
                  <c:v>30.748259999999998</c:v>
                </c:pt>
                <c:pt idx="182">
                  <c:v>32.729760000000006</c:v>
                </c:pt>
                <c:pt idx="183">
                  <c:v>62.141489999999997</c:v>
                </c:pt>
                <c:pt idx="184">
                  <c:v>143.96234999999999</c:v>
                </c:pt>
                <c:pt idx="185">
                  <c:v>37.694800000000001</c:v>
                </c:pt>
                <c:pt idx="186">
                  <c:v>43.263359999999999</c:v>
                </c:pt>
                <c:pt idx="187">
                  <c:v>74.956400000000002</c:v>
                </c:pt>
                <c:pt idx="188">
                  <c:v>29.023099999999999</c:v>
                </c:pt>
                <c:pt idx="189">
                  <c:v>69.313199999999995</c:v>
                </c:pt>
                <c:pt idx="190">
                  <c:v>7.1994999999999996</c:v>
                </c:pt>
                <c:pt idx="191">
                  <c:v>1.2286600000000001</c:v>
                </c:pt>
                <c:pt idx="192">
                  <c:v>11.28134</c:v>
                </c:pt>
                <c:pt idx="193">
                  <c:v>7.0058800000000003</c:v>
                </c:pt>
                <c:pt idx="194">
                  <c:v>1.0260899999999999</c:v>
                </c:pt>
                <c:pt idx="195">
                  <c:v>6.0682499999999999</c:v>
                </c:pt>
                <c:pt idx="196">
                  <c:v>11.46096</c:v>
                </c:pt>
                <c:pt idx="197">
                  <c:v>5.3512199999999996</c:v>
                </c:pt>
                <c:pt idx="198">
                  <c:v>9.2639800000000001</c:v>
                </c:pt>
                <c:pt idx="199">
                  <c:v>22.347290000000001</c:v>
                </c:pt>
                <c:pt idx="200">
                  <c:v>10.40377</c:v>
                </c:pt>
                <c:pt idx="201">
                  <c:v>8.8375500000000002</c:v>
                </c:pt>
                <c:pt idx="202">
                  <c:v>8.7630800000000004</c:v>
                </c:pt>
                <c:pt idx="203">
                  <c:v>12.449450000000001</c:v>
                </c:pt>
                <c:pt idx="204">
                  <c:v>4.4006400000000001</c:v>
                </c:pt>
                <c:pt idx="205">
                  <c:v>37.753889999999998</c:v>
                </c:pt>
                <c:pt idx="206">
                  <c:v>20.409839999999999</c:v>
                </c:pt>
                <c:pt idx="207">
                  <c:v>38.152349999999998</c:v>
                </c:pt>
                <c:pt idx="208">
                  <c:v>82.727360000000004</c:v>
                </c:pt>
                <c:pt idx="209">
                  <c:v>10.35408</c:v>
                </c:pt>
                <c:pt idx="210">
                  <c:v>9.5952400000000004</c:v>
                </c:pt>
                <c:pt idx="211">
                  <c:v>16.50526</c:v>
                </c:pt>
                <c:pt idx="212">
                  <c:v>4.6994999999999996</c:v>
                </c:pt>
                <c:pt idx="213">
                  <c:v>12.506729999999999</c:v>
                </c:pt>
                <c:pt idx="214">
                  <c:v>2.5888300000000002</c:v>
                </c:pt>
                <c:pt idx="215">
                  <c:v>4.48963</c:v>
                </c:pt>
                <c:pt idx="216">
                  <c:v>3.0811199999999999</c:v>
                </c:pt>
                <c:pt idx="217">
                  <c:v>1.13856</c:v>
                </c:pt>
                <c:pt idx="218">
                  <c:v>4.9105699999999999</c:v>
                </c:pt>
                <c:pt idx="219">
                  <c:v>16.016459999999999</c:v>
                </c:pt>
                <c:pt idx="220">
                  <c:v>4.2419599999999997</c:v>
                </c:pt>
                <c:pt idx="221">
                  <c:v>12.978899999999999</c:v>
                </c:pt>
                <c:pt idx="222">
                  <c:v>11.73513</c:v>
                </c:pt>
                <c:pt idx="223">
                  <c:v>24.2942</c:v>
                </c:pt>
                <c:pt idx="224">
                  <c:v>62.413379999999997</c:v>
                </c:pt>
                <c:pt idx="225">
                  <c:v>29.366150000000001</c:v>
                </c:pt>
                <c:pt idx="226">
                  <c:v>20.475300000000001</c:v>
                </c:pt>
                <c:pt idx="227">
                  <c:v>4.1866899999999996</c:v>
                </c:pt>
                <c:pt idx="228">
                  <c:v>11.28853</c:v>
                </c:pt>
                <c:pt idx="229">
                  <c:v>9.6615800000000007</c:v>
                </c:pt>
                <c:pt idx="230">
                  <c:v>41.766779999999997</c:v>
                </c:pt>
                <c:pt idx="231">
                  <c:v>12.07292</c:v>
                </c:pt>
                <c:pt idx="232">
                  <c:v>30.759080000000001</c:v>
                </c:pt>
                <c:pt idx="233">
                  <c:v>18.241299999999999</c:v>
                </c:pt>
                <c:pt idx="234">
                  <c:v>31.117519999999999</c:v>
                </c:pt>
                <c:pt idx="235">
                  <c:v>18.085799999999999</c:v>
                </c:pt>
                <c:pt idx="236">
                  <c:v>6.5708299999999999</c:v>
                </c:pt>
                <c:pt idx="237">
                  <c:v>7.1457499999999996</c:v>
                </c:pt>
                <c:pt idx="238">
                  <c:v>14.33916</c:v>
                </c:pt>
                <c:pt idx="239">
                  <c:v>13.211819999999999</c:v>
                </c:pt>
                <c:pt idx="240">
                  <c:v>19.284120000000001</c:v>
                </c:pt>
                <c:pt idx="241">
                  <c:v>27.83484</c:v>
                </c:pt>
                <c:pt idx="242">
                  <c:v>58.98172000000001</c:v>
                </c:pt>
                <c:pt idx="243">
                  <c:v>16.532399999999999</c:v>
                </c:pt>
                <c:pt idx="244">
                  <c:v>17.412749999999999</c:v>
                </c:pt>
                <c:pt idx="245">
                  <c:v>18.981809999999999</c:v>
                </c:pt>
                <c:pt idx="246">
                  <c:v>4.0214999999999996</c:v>
                </c:pt>
                <c:pt idx="247">
                  <c:v>6.89</c:v>
                </c:pt>
                <c:pt idx="248">
                  <c:v>13.302479999999999</c:v>
                </c:pt>
                <c:pt idx="249">
                  <c:v>7.6038300000000003</c:v>
                </c:pt>
                <c:pt idx="250">
                  <c:v>27.54233</c:v>
                </c:pt>
                <c:pt idx="251">
                  <c:v>4.5746000000000002</c:v>
                </c:pt>
                <c:pt idx="252">
                  <c:v>16.338629999999998</c:v>
                </c:pt>
                <c:pt idx="253">
                  <c:v>14.6592</c:v>
                </c:pt>
                <c:pt idx="254">
                  <c:v>20.906860000000002</c:v>
                </c:pt>
                <c:pt idx="255">
                  <c:v>11.950939999999999</c:v>
                </c:pt>
                <c:pt idx="256">
                  <c:v>17.433779999999999</c:v>
                </c:pt>
                <c:pt idx="257">
                  <c:v>23.0808</c:v>
                </c:pt>
                <c:pt idx="258">
                  <c:v>11.9727</c:v>
                </c:pt>
                <c:pt idx="259">
                  <c:v>25.780080000000002</c:v>
                </c:pt>
                <c:pt idx="260">
                  <c:v>11.838749999999999</c:v>
                </c:pt>
                <c:pt idx="261">
                  <c:v>14.75188</c:v>
                </c:pt>
                <c:pt idx="262">
                  <c:v>87.484859999999998</c:v>
                </c:pt>
                <c:pt idx="263">
                  <c:v>24.21003</c:v>
                </c:pt>
                <c:pt idx="264">
                  <c:v>33.990549999999999</c:v>
                </c:pt>
                <c:pt idx="265">
                  <c:v>33.630009999999999</c:v>
                </c:pt>
                <c:pt idx="266">
                  <c:v>19.247800000000002</c:v>
                </c:pt>
                <c:pt idx="267">
                  <c:v>38.098199999999999</c:v>
                </c:pt>
                <c:pt idx="268">
                  <c:v>12.325049999999999</c:v>
                </c:pt>
                <c:pt idx="269">
                  <c:v>9.5247600000000006</c:v>
                </c:pt>
                <c:pt idx="270">
                  <c:v>14.539419999999998</c:v>
                </c:pt>
                <c:pt idx="271">
                  <c:v>11.938499999999999</c:v>
                </c:pt>
                <c:pt idx="272">
                  <c:v>6.8851199999999997</c:v>
                </c:pt>
                <c:pt idx="273">
                  <c:v>5.5533599999999996</c:v>
                </c:pt>
                <c:pt idx="274">
                  <c:v>43.306379999999997</c:v>
                </c:pt>
                <c:pt idx="275">
                  <c:v>7.52752</c:v>
                </c:pt>
                <c:pt idx="276">
                  <c:v>22.914359999999999</c:v>
                </c:pt>
                <c:pt idx="277">
                  <c:v>16.884650000000001</c:v>
                </c:pt>
                <c:pt idx="278">
                  <c:v>9.5469000000000008</c:v>
                </c:pt>
                <c:pt idx="279">
                  <c:v>65.529450000000011</c:v>
                </c:pt>
                <c:pt idx="280">
                  <c:v>43.777470000000001</c:v>
                </c:pt>
                <c:pt idx="281">
                  <c:v>18.23114</c:v>
                </c:pt>
                <c:pt idx="282">
                  <c:v>15.79335</c:v>
                </c:pt>
                <c:pt idx="283">
                  <c:v>36.414259999999999</c:v>
                </c:pt>
                <c:pt idx="284">
                  <c:v>12.20349</c:v>
                </c:pt>
                <c:pt idx="285">
                  <c:v>65.595600000000005</c:v>
                </c:pt>
                <c:pt idx="286">
                  <c:v>23.308140000000002</c:v>
                </c:pt>
                <c:pt idx="287">
                  <c:v>10.8683</c:v>
                </c:pt>
                <c:pt idx="288">
                  <c:v>10.27962</c:v>
                </c:pt>
                <c:pt idx="289">
                  <c:v>5.8650599999999997</c:v>
                </c:pt>
                <c:pt idx="290">
                  <c:v>13.11735</c:v>
                </c:pt>
                <c:pt idx="291">
                  <c:v>17.381239999999998</c:v>
                </c:pt>
                <c:pt idx="292">
                  <c:v>6.8187199999999999</c:v>
                </c:pt>
                <c:pt idx="293">
                  <c:v>6.2205000000000004</c:v>
                </c:pt>
                <c:pt idx="294">
                  <c:v>12.84093</c:v>
                </c:pt>
                <c:pt idx="295">
                  <c:v>20.61675</c:v>
                </c:pt>
                <c:pt idx="296">
                  <c:v>17.17296</c:v>
                </c:pt>
                <c:pt idx="297">
                  <c:v>9.0012600000000003</c:v>
                </c:pt>
                <c:pt idx="298">
                  <c:v>20.402550000000002</c:v>
                </c:pt>
                <c:pt idx="299">
                  <c:v>20.235959999999999</c:v>
                </c:pt>
                <c:pt idx="300">
                  <c:v>9.5113000000000003</c:v>
                </c:pt>
                <c:pt idx="301">
                  <c:v>26.633330000000001</c:v>
                </c:pt>
                <c:pt idx="302">
                  <c:v>11.124700000000001</c:v>
                </c:pt>
                <c:pt idx="303">
                  <c:v>18.781020000000002</c:v>
                </c:pt>
                <c:pt idx="304">
                  <c:v>32.111939999999997</c:v>
                </c:pt>
                <c:pt idx="305">
                  <c:v>37.484999999999999</c:v>
                </c:pt>
                <c:pt idx="306">
                  <c:v>11.00385</c:v>
                </c:pt>
                <c:pt idx="307">
                  <c:v>34.561199999999999</c:v>
                </c:pt>
                <c:pt idx="308">
                  <c:v>18.743559999999999</c:v>
                </c:pt>
                <c:pt idx="309">
                  <c:v>26.84272</c:v>
                </c:pt>
                <c:pt idx="310">
                  <c:v>36.002679999999998</c:v>
                </c:pt>
                <c:pt idx="311">
                  <c:v>13.609500000000001</c:v>
                </c:pt>
                <c:pt idx="312">
                  <c:v>9.2578200000000006</c:v>
                </c:pt>
                <c:pt idx="313">
                  <c:v>5.87805</c:v>
                </c:pt>
                <c:pt idx="314">
                  <c:v>18.816839999999999</c:v>
                </c:pt>
                <c:pt idx="315">
                  <c:v>15.73808</c:v>
                </c:pt>
                <c:pt idx="316">
                  <c:v>10.50548</c:v>
                </c:pt>
                <c:pt idx="317">
                  <c:v>9.6458999999999993</c:v>
                </c:pt>
                <c:pt idx="318">
                  <c:v>7.3470000000000004</c:v>
                </c:pt>
                <c:pt idx="319">
                  <c:v>17.015969999999999</c:v>
                </c:pt>
                <c:pt idx="320">
                  <c:v>16.327500000000001</c:v>
                </c:pt>
                <c:pt idx="321">
                  <c:v>11.628</c:v>
                </c:pt>
                <c:pt idx="322">
                  <c:v>12.053599999999999</c:v>
                </c:pt>
                <c:pt idx="323">
                  <c:v>27.130749999999999</c:v>
                </c:pt>
                <c:pt idx="324">
                  <c:v>37.134140000000002</c:v>
                </c:pt>
                <c:pt idx="325">
                  <c:v>53.481960000000001</c:v>
                </c:pt>
                <c:pt idx="326">
                  <c:v>35.894759999999998</c:v>
                </c:pt>
                <c:pt idx="327">
                  <c:v>22.977129999999999</c:v>
                </c:pt>
                <c:pt idx="328">
                  <c:v>20.803249999999998</c:v>
                </c:pt>
                <c:pt idx="329">
                  <c:v>42.936239999999998</c:v>
                </c:pt>
                <c:pt idx="330">
                  <c:v>7.2384000000000004</c:v>
                </c:pt>
                <c:pt idx="331">
                  <c:v>10.964309999999999</c:v>
                </c:pt>
                <c:pt idx="332">
                  <c:v>22.448519999999998</c:v>
                </c:pt>
                <c:pt idx="333">
                  <c:v>18.602519999999998</c:v>
                </c:pt>
                <c:pt idx="334">
                  <c:v>7.8778000000000006</c:v>
                </c:pt>
                <c:pt idx="335">
                  <c:v>31.794509999999999</c:v>
                </c:pt>
                <c:pt idx="336">
                  <c:v>16.278569999999998</c:v>
                </c:pt>
                <c:pt idx="337">
                  <c:v>20.0976</c:v>
                </c:pt>
                <c:pt idx="338">
                  <c:v>15.379</c:v>
                </c:pt>
                <c:pt idx="339">
                  <c:v>18.43</c:v>
                </c:pt>
                <c:pt idx="340">
                  <c:v>41.033459999999998</c:v>
                </c:pt>
                <c:pt idx="341">
                  <c:v>28.093820000000001</c:v>
                </c:pt>
                <c:pt idx="342">
                  <c:v>39.698399999999999</c:v>
                </c:pt>
                <c:pt idx="343">
                  <c:v>13.747450000000001</c:v>
                </c:pt>
                <c:pt idx="344">
                  <c:v>7.6539000000000001</c:v>
                </c:pt>
                <c:pt idx="345">
                  <c:v>19.353179999999998</c:v>
                </c:pt>
                <c:pt idx="346">
                  <c:v>22.55132</c:v>
                </c:pt>
                <c:pt idx="347">
                  <c:v>15.628769999999999</c:v>
                </c:pt>
                <c:pt idx="348">
                  <c:v>30.900980000000001</c:v>
                </c:pt>
                <c:pt idx="349">
                  <c:v>19.142340000000001</c:v>
                </c:pt>
                <c:pt idx="350">
                  <c:v>17.460650000000001</c:v>
                </c:pt>
                <c:pt idx="351">
                  <c:v>53.746560000000002</c:v>
                </c:pt>
                <c:pt idx="352">
                  <c:v>19.632960000000001</c:v>
                </c:pt>
                <c:pt idx="353">
                  <c:v>15.857389999999999</c:v>
                </c:pt>
                <c:pt idx="354">
                  <c:v>8.4252000000000002</c:v>
                </c:pt>
                <c:pt idx="355">
                  <c:v>11.298080000000001</c:v>
                </c:pt>
                <c:pt idx="356">
                  <c:v>21.034500000000001</c:v>
                </c:pt>
                <c:pt idx="357">
                  <c:v>16.561060000000001</c:v>
                </c:pt>
                <c:pt idx="358">
                  <c:v>13.71016</c:v>
                </c:pt>
                <c:pt idx="359">
                  <c:v>9.5937800000000006</c:v>
                </c:pt>
                <c:pt idx="360">
                  <c:v>6.95688</c:v>
                </c:pt>
                <c:pt idx="361">
                  <c:v>17.21951</c:v>
                </c:pt>
                <c:pt idx="362">
                  <c:v>13.26</c:v>
                </c:pt>
                <c:pt idx="363">
                  <c:v>11.8141</c:v>
                </c:pt>
                <c:pt idx="364">
                  <c:v>6.2207999999999997</c:v>
                </c:pt>
                <c:pt idx="365">
                  <c:v>25.380030000000001</c:v>
                </c:pt>
                <c:pt idx="366">
                  <c:v>29.839880000000001</c:v>
                </c:pt>
                <c:pt idx="367">
                  <c:v>40.915680000000002</c:v>
                </c:pt>
                <c:pt idx="368">
                  <c:v>65.758399999999995</c:v>
                </c:pt>
                <c:pt idx="369">
                  <c:v>35.757449999999999</c:v>
                </c:pt>
                <c:pt idx="370">
                  <c:v>35.511839999999999</c:v>
                </c:pt>
                <c:pt idx="371">
                  <c:v>22.54984</c:v>
                </c:pt>
                <c:pt idx="372">
                  <c:v>32.124929999999999</c:v>
                </c:pt>
                <c:pt idx="373">
                  <c:v>31.851699999999997</c:v>
                </c:pt>
                <c:pt idx="374">
                  <c:v>5.1891400000000001</c:v>
                </c:pt>
                <c:pt idx="375">
                  <c:v>10.29504</c:v>
                </c:pt>
                <c:pt idx="376">
                  <c:v>12.958</c:v>
                </c:pt>
                <c:pt idx="377">
                  <c:v>17.55528</c:v>
                </c:pt>
                <c:pt idx="378">
                  <c:v>18.3675</c:v>
                </c:pt>
                <c:pt idx="379">
                  <c:v>7.3344000000000014</c:v>
                </c:pt>
                <c:pt idx="380">
                  <c:v>3.7754500000000002</c:v>
                </c:pt>
                <c:pt idx="381">
                  <c:v>2.13808</c:v>
                </c:pt>
                <c:pt idx="382">
                  <c:v>2.7528000000000001</c:v>
                </c:pt>
                <c:pt idx="383">
                  <c:v>10.13796</c:v>
                </c:pt>
                <c:pt idx="384">
                  <c:v>2.0231199999999996</c:v>
                </c:pt>
                <c:pt idx="385">
                  <c:v>3.98868</c:v>
                </c:pt>
                <c:pt idx="386">
                  <c:v>12.450900000000001</c:v>
                </c:pt>
                <c:pt idx="387">
                  <c:v>16.38494</c:v>
                </c:pt>
                <c:pt idx="388">
                  <c:v>21.558019999999999</c:v>
                </c:pt>
                <c:pt idx="389">
                  <c:v>25.354759999999999</c:v>
                </c:pt>
                <c:pt idx="390">
                  <c:v>18.878440000000001</c:v>
                </c:pt>
                <c:pt idx="391">
                  <c:v>42.542499999999997</c:v>
                </c:pt>
                <c:pt idx="392">
                  <c:v>31.983939999999997</c:v>
                </c:pt>
                <c:pt idx="393">
                  <c:v>7.032960000000001</c:v>
                </c:pt>
                <c:pt idx="394">
                  <c:v>76.671629999999993</c:v>
                </c:pt>
                <c:pt idx="395">
                  <c:v>41.73312</c:v>
                </c:pt>
                <c:pt idx="396">
                  <c:v>29.949149999999999</c:v>
                </c:pt>
                <c:pt idx="397">
                  <c:v>60.374140000000004</c:v>
                </c:pt>
                <c:pt idx="398">
                  <c:v>16.04204</c:v>
                </c:pt>
                <c:pt idx="399">
                  <c:v>8.35989</c:v>
                </c:pt>
                <c:pt idx="400">
                  <c:v>56.680349999999997</c:v>
                </c:pt>
                <c:pt idx="401">
                  <c:v>34.470559999999999</c:v>
                </c:pt>
                <c:pt idx="402">
                  <c:v>15.619989999999998</c:v>
                </c:pt>
                <c:pt idx="403">
                  <c:v>18.375</c:v>
                </c:pt>
                <c:pt idx="404">
                  <c:v>338.62432000000001</c:v>
                </c:pt>
                <c:pt idx="405">
                  <c:v>52.968940000000003</c:v>
                </c:pt>
                <c:pt idx="406">
                  <c:v>21.233599999999999</c:v>
                </c:pt>
                <c:pt idx="407">
                  <c:v>44.244160000000001</c:v>
                </c:pt>
                <c:pt idx="408">
                  <c:v>29.5152</c:v>
                </c:pt>
                <c:pt idx="409">
                  <c:v>44.268839999999997</c:v>
                </c:pt>
                <c:pt idx="410">
                  <c:v>40.257359999999998</c:v>
                </c:pt>
                <c:pt idx="411">
                  <c:v>45.971609999999998</c:v>
                </c:pt>
                <c:pt idx="412">
                  <c:v>92.73048</c:v>
                </c:pt>
                <c:pt idx="413">
                  <c:v>67.119119999999995</c:v>
                </c:pt>
                <c:pt idx="414">
                  <c:v>58.180909999999997</c:v>
                </c:pt>
                <c:pt idx="415">
                  <c:v>33.501019999999997</c:v>
                </c:pt>
                <c:pt idx="416">
                  <c:v>46.628399999999999</c:v>
                </c:pt>
                <c:pt idx="417">
                  <c:v>75.806160000000006</c:v>
                </c:pt>
                <c:pt idx="418">
                  <c:v>76.349440000000001</c:v>
                </c:pt>
                <c:pt idx="419">
                  <c:v>43.882800000000003</c:v>
                </c:pt>
                <c:pt idx="420">
                  <c:v>61.229939999999999</c:v>
                </c:pt>
                <c:pt idx="421">
                  <c:v>28.710329999999999</c:v>
                </c:pt>
                <c:pt idx="422">
                  <c:v>54.510120000000001</c:v>
                </c:pt>
                <c:pt idx="423">
                  <c:v>30.57912</c:v>
                </c:pt>
                <c:pt idx="424">
                  <c:v>55.337040000000002</c:v>
                </c:pt>
                <c:pt idx="425">
                  <c:v>38.40746</c:v>
                </c:pt>
                <c:pt idx="426">
                  <c:v>41.112960000000001</c:v>
                </c:pt>
                <c:pt idx="427">
                  <c:v>15.558400000000002</c:v>
                </c:pt>
                <c:pt idx="428">
                  <c:v>22.015699999999999</c:v>
                </c:pt>
                <c:pt idx="429">
                  <c:v>23.338619999999999</c:v>
                </c:pt>
                <c:pt idx="430">
                  <c:v>50.692459999999997</c:v>
                </c:pt>
                <c:pt idx="431">
                  <c:v>28.020150000000001</c:v>
                </c:pt>
                <c:pt idx="432">
                  <c:v>110.56140000000001</c:v>
                </c:pt>
                <c:pt idx="433">
                  <c:v>47.242600000000003</c:v>
                </c:pt>
                <c:pt idx="434">
                  <c:v>16.9664</c:v>
                </c:pt>
                <c:pt idx="435">
                  <c:v>32.245139999999999</c:v>
                </c:pt>
                <c:pt idx="436">
                  <c:v>37.043999999999997</c:v>
                </c:pt>
                <c:pt idx="437">
                  <c:v>41.124659999999999</c:v>
                </c:pt>
                <c:pt idx="438">
                  <c:v>5.7108999999999996</c:v>
                </c:pt>
                <c:pt idx="439">
                  <c:v>10.083449999999999</c:v>
                </c:pt>
                <c:pt idx="440">
                  <c:v>9.9395100000000003</c:v>
                </c:pt>
                <c:pt idx="441">
                  <c:v>9.1560699999999997</c:v>
                </c:pt>
                <c:pt idx="442">
                  <c:v>16.556290000000001</c:v>
                </c:pt>
                <c:pt idx="443">
                  <c:v>25.548100000000002</c:v>
                </c:pt>
                <c:pt idx="444">
                  <c:v>28.374600000000001</c:v>
                </c:pt>
                <c:pt idx="445">
                  <c:v>27.199369999999998</c:v>
                </c:pt>
                <c:pt idx="446">
                  <c:v>12.86505</c:v>
                </c:pt>
                <c:pt idx="447">
                  <c:v>2.2770000000000001</c:v>
                </c:pt>
                <c:pt idx="448">
                  <c:v>27.469519999999999</c:v>
                </c:pt>
                <c:pt idx="449">
                  <c:v>15.9817</c:v>
                </c:pt>
                <c:pt idx="450">
                  <c:v>5.90747</c:v>
                </c:pt>
                <c:pt idx="451">
                  <c:v>16.997900000000001</c:v>
                </c:pt>
                <c:pt idx="452">
                  <c:v>43.016500000000001</c:v>
                </c:pt>
                <c:pt idx="453">
                  <c:v>23.28942</c:v>
                </c:pt>
                <c:pt idx="454">
                  <c:v>31.178940000000001</c:v>
                </c:pt>
                <c:pt idx="455">
                  <c:v>20.632760000000001</c:v>
                </c:pt>
                <c:pt idx="456">
                  <c:v>56.149799999999999</c:v>
                </c:pt>
                <c:pt idx="457">
                  <c:v>7.92</c:v>
                </c:pt>
                <c:pt idx="458">
                  <c:v>27.578119999999998</c:v>
                </c:pt>
                <c:pt idx="459">
                  <c:v>36.201599999999999</c:v>
                </c:pt>
                <c:pt idx="460">
                  <c:v>24.57048</c:v>
                </c:pt>
                <c:pt idx="461">
                  <c:v>8.5138200000000008</c:v>
                </c:pt>
                <c:pt idx="462">
                  <c:v>15.07572</c:v>
                </c:pt>
                <c:pt idx="463">
                  <c:v>4.9797799999999999</c:v>
                </c:pt>
                <c:pt idx="464">
                  <c:v>2.8035600000000001</c:v>
                </c:pt>
                <c:pt idx="465">
                  <c:v>1.0043</c:v>
                </c:pt>
                <c:pt idx="466">
                  <c:v>4.2084000000000001</c:v>
                </c:pt>
                <c:pt idx="467">
                  <c:v>2.6597200000000001</c:v>
                </c:pt>
                <c:pt idx="468">
                  <c:v>6.3536400000000004</c:v>
                </c:pt>
                <c:pt idx="469">
                  <c:v>13.808859999999997</c:v>
                </c:pt>
                <c:pt idx="470">
                  <c:v>15.220639999999998</c:v>
                </c:pt>
                <c:pt idx="471">
                  <c:v>8.6219000000000001</c:v>
                </c:pt>
                <c:pt idx="472">
                  <c:v>21.122499999999999</c:v>
                </c:pt>
                <c:pt idx="473">
                  <c:v>30.160319999999999</c:v>
                </c:pt>
                <c:pt idx="474">
                  <c:v>9.5805500000000006</c:v>
                </c:pt>
                <c:pt idx="475">
                  <c:v>30.60134</c:v>
                </c:pt>
                <c:pt idx="476">
                  <c:v>36.886279999999999</c:v>
                </c:pt>
                <c:pt idx="477">
                  <c:v>28.0608</c:v>
                </c:pt>
                <c:pt idx="478">
                  <c:v>55.52216</c:v>
                </c:pt>
                <c:pt idx="479">
                  <c:v>24.246279999999999</c:v>
                </c:pt>
                <c:pt idx="480">
                  <c:v>11.288679999999999</c:v>
                </c:pt>
                <c:pt idx="481">
                  <c:v>33.672960000000003</c:v>
                </c:pt>
                <c:pt idx="482">
                  <c:v>24.774509999999999</c:v>
                </c:pt>
                <c:pt idx="483">
                  <c:v>10.667199999999999</c:v>
                </c:pt>
                <c:pt idx="484">
                  <c:v>10.26675</c:v>
                </c:pt>
                <c:pt idx="485">
                  <c:v>12.35684</c:v>
                </c:pt>
                <c:pt idx="486">
                  <c:v>16.626000000000001</c:v>
                </c:pt>
                <c:pt idx="487">
                  <c:v>23.301600000000001</c:v>
                </c:pt>
                <c:pt idx="488">
                  <c:v>12.443099999999999</c:v>
                </c:pt>
                <c:pt idx="489">
                  <c:v>22.2075</c:v>
                </c:pt>
                <c:pt idx="490">
                  <c:v>9.4184999999999999</c:v>
                </c:pt>
                <c:pt idx="491">
                  <c:v>15.9057</c:v>
                </c:pt>
                <c:pt idx="492">
                  <c:v>27.216000000000001</c:v>
                </c:pt>
                <c:pt idx="493">
                  <c:v>32.200299999999999</c:v>
                </c:pt>
                <c:pt idx="494">
                  <c:v>28.714500000000001</c:v>
                </c:pt>
                <c:pt idx="495">
                  <c:v>35.735700000000001</c:v>
                </c:pt>
                <c:pt idx="496">
                  <c:v>31.818800000000003</c:v>
                </c:pt>
                <c:pt idx="497">
                  <c:v>45.635199999999998</c:v>
                </c:pt>
                <c:pt idx="498">
                  <c:v>9.0665999999999993</c:v>
                </c:pt>
                <c:pt idx="499">
                  <c:v>21.319199999999999</c:v>
                </c:pt>
                <c:pt idx="500">
                  <c:v>29.471150000000002</c:v>
                </c:pt>
                <c:pt idx="501">
                  <c:v>11.231999999999999</c:v>
                </c:pt>
                <c:pt idx="502">
                  <c:v>16.11</c:v>
                </c:pt>
                <c:pt idx="503">
                  <c:v>21.620899999999999</c:v>
                </c:pt>
                <c:pt idx="504">
                  <c:v>26.9985</c:v>
                </c:pt>
                <c:pt idx="505">
                  <c:v>21.32225</c:v>
                </c:pt>
                <c:pt idx="506">
                  <c:v>24.806249999999999</c:v>
                </c:pt>
                <c:pt idx="507">
                  <c:v>22.345099999999999</c:v>
                </c:pt>
                <c:pt idx="508">
                  <c:v>18.83445</c:v>
                </c:pt>
                <c:pt idx="509">
                  <c:v>20.996549999999999</c:v>
                </c:pt>
                <c:pt idx="510">
                  <c:v>26.769600000000001</c:v>
                </c:pt>
                <c:pt idx="511">
                  <c:v>24.447500000000002</c:v>
                </c:pt>
                <c:pt idx="512">
                  <c:v>22.91385</c:v>
                </c:pt>
                <c:pt idx="513">
                  <c:v>19.531500000000001</c:v>
                </c:pt>
                <c:pt idx="514">
                  <c:v>22.214400000000001</c:v>
                </c:pt>
                <c:pt idx="515">
                  <c:v>19.0944</c:v>
                </c:pt>
                <c:pt idx="516">
                  <c:v>26.139600000000002</c:v>
                </c:pt>
                <c:pt idx="517">
                  <c:v>3.9541499999999998</c:v>
                </c:pt>
                <c:pt idx="518">
                  <c:v>8.7417999999999996</c:v>
                </c:pt>
                <c:pt idx="519">
                  <c:v>15.874599999999999</c:v>
                </c:pt>
                <c:pt idx="520">
                  <c:v>13.11525</c:v>
                </c:pt>
                <c:pt idx="521">
                  <c:v>15.207299999999998</c:v>
                </c:pt>
                <c:pt idx="522">
                  <c:v>19.869150000000001</c:v>
                </c:pt>
                <c:pt idx="523">
                  <c:v>17.618500000000001</c:v>
                </c:pt>
                <c:pt idx="524">
                  <c:v>16.857749999999999</c:v>
                </c:pt>
                <c:pt idx="525">
                  <c:v>17.201750000000001</c:v>
                </c:pt>
                <c:pt idx="526">
                  <c:v>12.5395</c:v>
                </c:pt>
                <c:pt idx="527">
                  <c:v>9.7344000000000008</c:v>
                </c:pt>
                <c:pt idx="528">
                  <c:v>24.139399999999998</c:v>
                </c:pt>
                <c:pt idx="529">
                  <c:v>39.247349999999997</c:v>
                </c:pt>
                <c:pt idx="530">
                  <c:v>23.701000000000001</c:v>
                </c:pt>
                <c:pt idx="531">
                  <c:v>36.082500000000003</c:v>
                </c:pt>
                <c:pt idx="532">
                  <c:v>33.7744</c:v>
                </c:pt>
                <c:pt idx="533">
                  <c:v>25.332149999999999</c:v>
                </c:pt>
                <c:pt idx="534">
                  <c:v>18.253499999999999</c:v>
                </c:pt>
                <c:pt idx="535">
                  <c:v>56.507999999999996</c:v>
                </c:pt>
                <c:pt idx="536">
                  <c:v>39.3414</c:v>
                </c:pt>
                <c:pt idx="537">
                  <c:v>4.9770000000000003</c:v>
                </c:pt>
                <c:pt idx="538">
                  <c:v>10.692</c:v>
                </c:pt>
                <c:pt idx="539">
                  <c:v>26.267599999999995</c:v>
                </c:pt>
                <c:pt idx="540">
                  <c:v>23.212499999999999</c:v>
                </c:pt>
                <c:pt idx="541">
                  <c:v>15.64955</c:v>
                </c:pt>
                <c:pt idx="542">
                  <c:v>19.163399999999999</c:v>
                </c:pt>
                <c:pt idx="543">
                  <c:v>7.8688500000000001</c:v>
                </c:pt>
                <c:pt idx="544">
                  <c:v>14.497049999999998</c:v>
                </c:pt>
                <c:pt idx="545">
                  <c:v>6.3579999999999997</c:v>
                </c:pt>
                <c:pt idx="546">
                  <c:v>9.8643000000000001</c:v>
                </c:pt>
                <c:pt idx="547">
                  <c:v>7.5362000000000009</c:v>
                </c:pt>
                <c:pt idx="548">
                  <c:v>16.290050000000001</c:v>
                </c:pt>
                <c:pt idx="549">
                  <c:v>14.569900000000002</c:v>
                </c:pt>
                <c:pt idx="550">
                  <c:v>13.023999999999999</c:v>
                </c:pt>
                <c:pt idx="551">
                  <c:v>8.3333999999999993</c:v>
                </c:pt>
                <c:pt idx="552">
                  <c:v>14.004250000000001</c:v>
                </c:pt>
                <c:pt idx="553">
                  <c:v>10.022399999999999</c:v>
                </c:pt>
                <c:pt idx="554">
                  <c:v>34.002800000000001</c:v>
                </c:pt>
                <c:pt idx="555">
                  <c:v>27.900549999999999</c:v>
                </c:pt>
                <c:pt idx="556">
                  <c:v>36.637599999999999</c:v>
                </c:pt>
                <c:pt idx="557">
                  <c:v>10.494</c:v>
                </c:pt>
                <c:pt idx="558">
                  <c:v>22.009499999999999</c:v>
                </c:pt>
                <c:pt idx="559">
                  <c:v>25.387499999999999</c:v>
                </c:pt>
                <c:pt idx="560">
                  <c:v>38.772500000000001</c:v>
                </c:pt>
                <c:pt idx="561">
                  <c:v>7.9016000000000011</c:v>
                </c:pt>
                <c:pt idx="562">
                  <c:v>12.989000000000001</c:v>
                </c:pt>
                <c:pt idx="563">
                  <c:v>9.6408000000000005</c:v>
                </c:pt>
                <c:pt idx="564">
                  <c:v>34.288800000000002</c:v>
                </c:pt>
                <c:pt idx="565">
                  <c:v>41.456699999999998</c:v>
                </c:pt>
                <c:pt idx="566">
                  <c:v>16.491949999999999</c:v>
                </c:pt>
                <c:pt idx="567">
                  <c:v>21.76</c:v>
                </c:pt>
                <c:pt idx="568">
                  <c:v>32.867100000000001</c:v>
                </c:pt>
                <c:pt idx="569">
                  <c:v>13.543200000000001</c:v>
                </c:pt>
                <c:pt idx="570">
                  <c:v>11.654999999999999</c:v>
                </c:pt>
                <c:pt idx="571">
                  <c:v>37.576500000000003</c:v>
                </c:pt>
                <c:pt idx="572">
                  <c:v>41.570999999999998</c:v>
                </c:pt>
                <c:pt idx="573">
                  <c:v>27.034199999999998</c:v>
                </c:pt>
                <c:pt idx="574">
                  <c:v>13.899749999999999</c:v>
                </c:pt>
                <c:pt idx="575">
                  <c:v>19.8996</c:v>
                </c:pt>
                <c:pt idx="576">
                  <c:v>17.664000000000001</c:v>
                </c:pt>
                <c:pt idx="577">
                  <c:v>21.293600000000001</c:v>
                </c:pt>
                <c:pt idx="578">
                  <c:v>32.385599999999997</c:v>
                </c:pt>
                <c:pt idx="579">
                  <c:v>59.731200000000001</c:v>
                </c:pt>
                <c:pt idx="580">
                  <c:v>4.9363999999999999</c:v>
                </c:pt>
                <c:pt idx="581">
                  <c:v>5.1626000000000003</c:v>
                </c:pt>
                <c:pt idx="582">
                  <c:v>27.732600000000001</c:v>
                </c:pt>
                <c:pt idx="583">
                  <c:v>16.884599999999999</c:v>
                </c:pt>
                <c:pt idx="584">
                  <c:v>21.307649999999999</c:v>
                </c:pt>
                <c:pt idx="585">
                  <c:v>24.072649999999999</c:v>
                </c:pt>
                <c:pt idx="586">
                  <c:v>21.2226</c:v>
                </c:pt>
                <c:pt idx="587">
                  <c:v>10.255850000000001</c:v>
                </c:pt>
                <c:pt idx="588">
                  <c:v>13.543200000000001</c:v>
                </c:pt>
                <c:pt idx="589">
                  <c:v>30.643249999999998</c:v>
                </c:pt>
                <c:pt idx="590">
                  <c:v>26.984400000000001</c:v>
                </c:pt>
                <c:pt idx="591">
                  <c:v>15.748799999999999</c:v>
                </c:pt>
                <c:pt idx="592">
                  <c:v>26.1495</c:v>
                </c:pt>
                <c:pt idx="593">
                  <c:v>14.5124</c:v>
                </c:pt>
                <c:pt idx="594">
                  <c:v>25.991199999999999</c:v>
                </c:pt>
                <c:pt idx="595">
                  <c:v>41.2224</c:v>
                </c:pt>
                <c:pt idx="596">
                  <c:v>29.342849999999999</c:v>
                </c:pt>
                <c:pt idx="597">
                  <c:v>37.206000000000003</c:v>
                </c:pt>
                <c:pt idx="598">
                  <c:v>23.463249999999999</c:v>
                </c:pt>
                <c:pt idx="599">
                  <c:v>16.4223</c:v>
                </c:pt>
                <c:pt idx="600">
                  <c:v>58.150399999999998</c:v>
                </c:pt>
                <c:pt idx="601">
                  <c:v>48.732750000000003</c:v>
                </c:pt>
                <c:pt idx="602">
                  <c:v>123.37649999999999</c:v>
                </c:pt>
                <c:pt idx="603">
                  <c:v>112.52865</c:v>
                </c:pt>
                <c:pt idx="604">
                  <c:v>7.4414999999999996</c:v>
                </c:pt>
                <c:pt idx="605">
                  <c:v>9.9246499999999997</c:v>
                </c:pt>
                <c:pt idx="606">
                  <c:v>9.3626500000000004</c:v>
                </c:pt>
                <c:pt idx="607">
                  <c:v>30.397200000000002</c:v>
                </c:pt>
                <c:pt idx="608">
                  <c:v>20.39865</c:v>
                </c:pt>
                <c:pt idx="609">
                  <c:v>18.528949999999998</c:v>
                </c:pt>
                <c:pt idx="610">
                  <c:v>39.458849999999998</c:v>
                </c:pt>
                <c:pt idx="611">
                  <c:v>40.327350000000003</c:v>
                </c:pt>
                <c:pt idx="612">
                  <c:v>41.07835</c:v>
                </c:pt>
                <c:pt idx="613">
                  <c:v>42.514299999999999</c:v>
                </c:pt>
                <c:pt idx="614">
                  <c:v>27.2943</c:v>
                </c:pt>
                <c:pt idx="615">
                  <c:v>45.017699999999998</c:v>
                </c:pt>
                <c:pt idx="616">
                  <c:v>41.630549999999999</c:v>
                </c:pt>
                <c:pt idx="617">
                  <c:v>48.1218</c:v>
                </c:pt>
                <c:pt idx="618">
                  <c:v>58.131599999999999</c:v>
                </c:pt>
                <c:pt idx="619">
                  <c:v>49.704599999999999</c:v>
                </c:pt>
                <c:pt idx="620">
                  <c:v>63.0002</c:v>
                </c:pt>
                <c:pt idx="621">
                  <c:v>68.096599999999995</c:v>
                </c:pt>
                <c:pt idx="622">
                  <c:v>66.055499999999995</c:v>
                </c:pt>
                <c:pt idx="623">
                  <c:v>145.42179999999999</c:v>
                </c:pt>
                <c:pt idx="624">
                  <c:v>11.2117</c:v>
                </c:pt>
                <c:pt idx="625">
                  <c:v>25.16235</c:v>
                </c:pt>
                <c:pt idx="626">
                  <c:v>23.1569</c:v>
                </c:pt>
                <c:pt idx="627">
                  <c:v>26.60905</c:v>
                </c:pt>
                <c:pt idx="628">
                  <c:v>48.220199999999998</c:v>
                </c:pt>
                <c:pt idx="629">
                  <c:v>52.5</c:v>
                </c:pt>
                <c:pt idx="630">
                  <c:v>34.683999999999997</c:v>
                </c:pt>
                <c:pt idx="631">
                  <c:v>68.093299999999999</c:v>
                </c:pt>
                <c:pt idx="632">
                  <c:v>46.694400000000002</c:v>
                </c:pt>
                <c:pt idx="633">
                  <c:v>68.304500000000004</c:v>
                </c:pt>
                <c:pt idx="634">
                  <c:v>39.771999999999998</c:v>
                </c:pt>
                <c:pt idx="635">
                  <c:v>46.920200000000001</c:v>
                </c:pt>
                <c:pt idx="636">
                  <c:v>72.369</c:v>
                </c:pt>
                <c:pt idx="637">
                  <c:v>93.248400000000004</c:v>
                </c:pt>
                <c:pt idx="638">
                  <c:v>59.28125</c:v>
                </c:pt>
                <c:pt idx="639">
                  <c:v>73.354050000000001</c:v>
                </c:pt>
                <c:pt idx="640">
                  <c:v>96.272049999999993</c:v>
                </c:pt>
                <c:pt idx="641">
                  <c:v>91.462800000000001</c:v>
                </c:pt>
                <c:pt idx="642">
                  <c:v>230.47845000000001</c:v>
                </c:pt>
                <c:pt idx="643">
                  <c:v>35.494199999999999</c:v>
                </c:pt>
                <c:pt idx="644">
                  <c:v>38.167200000000001</c:v>
                </c:pt>
                <c:pt idx="645">
                  <c:v>32.726700000000001</c:v>
                </c:pt>
                <c:pt idx="646">
                  <c:v>34.590150000000001</c:v>
                </c:pt>
                <c:pt idx="647">
                  <c:v>64.130250000000004</c:v>
                </c:pt>
                <c:pt idx="648">
                  <c:v>33.311250000000001</c:v>
                </c:pt>
                <c:pt idx="649">
                  <c:v>66.171999999999997</c:v>
                </c:pt>
                <c:pt idx="650">
                  <c:v>49.087499999999999</c:v>
                </c:pt>
                <c:pt idx="651">
                  <c:v>67.053299999999993</c:v>
                </c:pt>
                <c:pt idx="652">
                  <c:v>76.465500000000006</c:v>
                </c:pt>
                <c:pt idx="653">
                  <c:v>37.800199999999997</c:v>
                </c:pt>
                <c:pt idx="654">
                  <c:v>28.31335</c:v>
                </c:pt>
                <c:pt idx="655">
                  <c:v>40.828099999999999</c:v>
                </c:pt>
                <c:pt idx="656">
                  <c:v>72.390500000000003</c:v>
                </c:pt>
                <c:pt idx="657">
                  <c:v>88.003749999999997</c:v>
                </c:pt>
                <c:pt idx="658">
                  <c:v>77.616</c:v>
                </c:pt>
                <c:pt idx="659">
                  <c:v>55.201250000000002</c:v>
                </c:pt>
                <c:pt idx="660">
                  <c:v>82.322550000000007</c:v>
                </c:pt>
                <c:pt idx="661">
                  <c:v>63.534050000000001</c:v>
                </c:pt>
                <c:pt idx="662">
                  <c:v>90.671599999999998</c:v>
                </c:pt>
                <c:pt idx="663">
                  <c:v>80.507000000000005</c:v>
                </c:pt>
                <c:pt idx="664">
                  <c:v>91.206500000000005</c:v>
                </c:pt>
                <c:pt idx="665">
                  <c:v>93.107200000000006</c:v>
                </c:pt>
                <c:pt idx="666">
                  <c:v>83.616799999999998</c:v>
                </c:pt>
                <c:pt idx="667">
                  <c:v>64.565700000000007</c:v>
                </c:pt>
                <c:pt idx="668">
                  <c:v>20.996300000000002</c:v>
                </c:pt>
                <c:pt idx="669">
                  <c:v>16.530850000000001</c:v>
                </c:pt>
                <c:pt idx="670">
                  <c:v>20.1845</c:v>
                </c:pt>
                <c:pt idx="671">
                  <c:v>61.662599999999998</c:v>
                </c:pt>
                <c:pt idx="672">
                  <c:v>60.064300000000003</c:v>
                </c:pt>
                <c:pt idx="673">
                  <c:v>54.437550000000002</c:v>
                </c:pt>
                <c:pt idx="674">
                  <c:v>68.533950000000004</c:v>
                </c:pt>
                <c:pt idx="675">
                  <c:v>65.7624</c:v>
                </c:pt>
                <c:pt idx="676">
                  <c:v>129.5504</c:v>
                </c:pt>
                <c:pt idx="677">
                  <c:v>102.426</c:v>
                </c:pt>
                <c:pt idx="678">
                  <c:v>116.3954</c:v>
                </c:pt>
                <c:pt idx="679">
                  <c:v>137.69</c:v>
                </c:pt>
                <c:pt idx="680">
                  <c:v>72.872500000000002</c:v>
                </c:pt>
                <c:pt idx="681">
                  <c:v>81.120599999999996</c:v>
                </c:pt>
                <c:pt idx="682">
                  <c:v>85.810249999999996</c:v>
                </c:pt>
                <c:pt idx="683">
                  <c:v>82.922399999999996</c:v>
                </c:pt>
                <c:pt idx="684">
                  <c:v>110.35680000000001</c:v>
                </c:pt>
                <c:pt idx="685">
                  <c:v>106.70010000000001</c:v>
                </c:pt>
                <c:pt idx="686">
                  <c:v>110.08154999999999</c:v>
                </c:pt>
                <c:pt idx="687">
                  <c:v>148.995</c:v>
                </c:pt>
                <c:pt idx="688">
                  <c:v>16.964099999999998</c:v>
                </c:pt>
                <c:pt idx="689">
                  <c:v>23.138999999999999</c:v>
                </c:pt>
                <c:pt idx="690">
                  <c:v>13.82255</c:v>
                </c:pt>
                <c:pt idx="691">
                  <c:v>62.829000000000001</c:v>
                </c:pt>
                <c:pt idx="692">
                  <c:v>81.150499999999994</c:v>
                </c:pt>
                <c:pt idx="693">
                  <c:v>86.697000000000003</c:v>
                </c:pt>
                <c:pt idx="694">
                  <c:v>72.045599999999993</c:v>
                </c:pt>
                <c:pt idx="695">
                  <c:v>99.849649999999997</c:v>
                </c:pt>
                <c:pt idx="696">
                  <c:v>95.898600000000002</c:v>
                </c:pt>
                <c:pt idx="697">
                  <c:v>90.708150000000003</c:v>
                </c:pt>
                <c:pt idx="698">
                  <c:v>82.020150000000001</c:v>
                </c:pt>
                <c:pt idx="699">
                  <c:v>70.142099999999999</c:v>
                </c:pt>
                <c:pt idx="700">
                  <c:v>216.2286</c:v>
                </c:pt>
                <c:pt idx="701">
                  <c:v>77.524850000000001</c:v>
                </c:pt>
                <c:pt idx="702">
                  <c:v>106.56125</c:v>
                </c:pt>
                <c:pt idx="703">
                  <c:v>109.6705</c:v>
                </c:pt>
                <c:pt idx="704">
                  <c:v>72.136349999999993</c:v>
                </c:pt>
                <c:pt idx="705">
                  <c:v>69.85445</c:v>
                </c:pt>
                <c:pt idx="706">
                  <c:v>90.071100000000001</c:v>
                </c:pt>
                <c:pt idx="707">
                  <c:v>17.7744</c:v>
                </c:pt>
                <c:pt idx="708">
                  <c:v>9.7624999999999993</c:v>
                </c:pt>
                <c:pt idx="709">
                  <c:v>21.654</c:v>
                </c:pt>
                <c:pt idx="710">
                  <c:v>31.481999999999999</c:v>
                </c:pt>
                <c:pt idx="711">
                  <c:v>25.225249999999999</c:v>
                </c:pt>
                <c:pt idx="712">
                  <c:v>11.9856</c:v>
                </c:pt>
                <c:pt idx="713">
                  <c:v>23.8032</c:v>
                </c:pt>
                <c:pt idx="714">
                  <c:v>19.979600000000001</c:v>
                </c:pt>
                <c:pt idx="715">
                  <c:v>14.168100000000001</c:v>
                </c:pt>
                <c:pt idx="716">
                  <c:v>7.0042499999999999</c:v>
                </c:pt>
                <c:pt idx="717">
                  <c:v>22.35755</c:v>
                </c:pt>
                <c:pt idx="718">
                  <c:v>10.5435</c:v>
                </c:pt>
                <c:pt idx="719">
                  <c:v>68.461650000000006</c:v>
                </c:pt>
                <c:pt idx="720">
                  <c:v>61.661999999999999</c:v>
                </c:pt>
                <c:pt idx="721">
                  <c:v>77.979299999999995</c:v>
                </c:pt>
                <c:pt idx="722">
                  <c:v>47.3352</c:v>
                </c:pt>
                <c:pt idx="723">
                  <c:v>46.110900000000001</c:v>
                </c:pt>
                <c:pt idx="724">
                  <c:v>40.744</c:v>
                </c:pt>
                <c:pt idx="725">
                  <c:v>46.227499999999999</c:v>
                </c:pt>
                <c:pt idx="726">
                  <c:v>78.987499999999997</c:v>
                </c:pt>
                <c:pt idx="727">
                  <c:v>129.32159999999999</c:v>
                </c:pt>
                <c:pt idx="728">
                  <c:v>108.09</c:v>
                </c:pt>
                <c:pt idx="729">
                  <c:v>81.245999999999995</c:v>
                </c:pt>
                <c:pt idx="730">
                  <c:v>15.966900000000001</c:v>
                </c:pt>
                <c:pt idx="731">
                  <c:v>24.09225</c:v>
                </c:pt>
                <c:pt idx="732">
                  <c:v>30.481900000000003</c:v>
                </c:pt>
                <c:pt idx="733">
                  <c:v>64.612100000000012</c:v>
                </c:pt>
                <c:pt idx="734">
                  <c:v>75.550600000000003</c:v>
                </c:pt>
                <c:pt idx="735">
                  <c:v>40.843150000000001</c:v>
                </c:pt>
                <c:pt idx="736">
                  <c:v>115.84869999999999</c:v>
                </c:pt>
                <c:pt idx="737">
                  <c:v>65.726699999999994</c:v>
                </c:pt>
                <c:pt idx="738">
                  <c:v>122.4333</c:v>
                </c:pt>
                <c:pt idx="739">
                  <c:v>53.741999999999997</c:v>
                </c:pt>
                <c:pt idx="740">
                  <c:v>58.345500000000001</c:v>
                </c:pt>
                <c:pt idx="741">
                  <c:v>48.00215</c:v>
                </c:pt>
                <c:pt idx="742">
                  <c:v>41.3538</c:v>
                </c:pt>
                <c:pt idx="743">
                  <c:v>79.130250000000004</c:v>
                </c:pt>
                <c:pt idx="744">
                  <c:v>217.78625</c:v>
                </c:pt>
                <c:pt idx="745">
                  <c:v>96.101600000000005</c:v>
                </c:pt>
                <c:pt idx="746">
                  <c:v>107.24265</c:v>
                </c:pt>
                <c:pt idx="747">
                  <c:v>67.400899999999993</c:v>
                </c:pt>
                <c:pt idx="748">
                  <c:v>79.46575</c:v>
                </c:pt>
                <c:pt idx="749">
                  <c:v>15.84605</c:v>
                </c:pt>
                <c:pt idx="750">
                  <c:v>23.3368</c:v>
                </c:pt>
                <c:pt idx="751">
                  <c:v>34.802300000000002</c:v>
                </c:pt>
                <c:pt idx="752">
                  <c:v>72.227699999999999</c:v>
                </c:pt>
                <c:pt idx="753">
                  <c:v>23.273399999999999</c:v>
                </c:pt>
                <c:pt idx="754">
                  <c:v>50.70825</c:v>
                </c:pt>
                <c:pt idx="755">
                  <c:v>91.082899999999995</c:v>
                </c:pt>
                <c:pt idx="756">
                  <c:v>47.678400000000003</c:v>
                </c:pt>
                <c:pt idx="757">
                  <c:v>65.90625</c:v>
                </c:pt>
                <c:pt idx="758">
                  <c:v>84.412000000000006</c:v>
                </c:pt>
                <c:pt idx="759">
                  <c:v>100.33665000000001</c:v>
                </c:pt>
                <c:pt idx="760">
                  <c:v>126.654</c:v>
                </c:pt>
                <c:pt idx="761">
                  <c:v>72.093999999999994</c:v>
                </c:pt>
                <c:pt idx="762">
                  <c:v>83.497500000000002</c:v>
                </c:pt>
                <c:pt idx="763">
                  <c:v>103.5288</c:v>
                </c:pt>
                <c:pt idx="764">
                  <c:v>77.413749999999993</c:v>
                </c:pt>
                <c:pt idx="765">
                  <c:v>75.628749999999997</c:v>
                </c:pt>
                <c:pt idx="766">
                  <c:v>130.005</c:v>
                </c:pt>
                <c:pt idx="767">
                  <c:v>91.908000000000001</c:v>
                </c:pt>
                <c:pt idx="768">
                  <c:v>6.0609000000000002</c:v>
                </c:pt>
                <c:pt idx="769">
                  <c:v>6.2837500000000004</c:v>
                </c:pt>
                <c:pt idx="770">
                  <c:v>28.9008</c:v>
                </c:pt>
                <c:pt idx="771">
                  <c:v>54.636000000000003</c:v>
                </c:pt>
                <c:pt idx="772">
                  <c:v>41.677349999999997</c:v>
                </c:pt>
                <c:pt idx="773">
                  <c:v>31.0961</c:v>
                </c:pt>
                <c:pt idx="774">
                  <c:v>43.451549999999997</c:v>
                </c:pt>
                <c:pt idx="775">
                  <c:v>18.296949999999999</c:v>
                </c:pt>
                <c:pt idx="776">
                  <c:v>37.324599999999997</c:v>
                </c:pt>
                <c:pt idx="777">
                  <c:v>24.1889</c:v>
                </c:pt>
                <c:pt idx="778">
                  <c:v>44.723700000000001</c:v>
                </c:pt>
                <c:pt idx="779">
                  <c:v>23.821249999999999</c:v>
                </c:pt>
                <c:pt idx="780">
                  <c:v>44.540999999999997</c:v>
                </c:pt>
                <c:pt idx="781">
                  <c:v>43.932000000000002</c:v>
                </c:pt>
                <c:pt idx="782">
                  <c:v>72.159400000000005</c:v>
                </c:pt>
                <c:pt idx="783">
                  <c:v>35.958449999999999</c:v>
                </c:pt>
                <c:pt idx="784">
                  <c:v>84.461749999999995</c:v>
                </c:pt>
                <c:pt idx="785">
                  <c:v>112.94190000000002</c:v>
                </c:pt>
                <c:pt idx="786">
                  <c:v>96.312200000000004</c:v>
                </c:pt>
                <c:pt idx="787">
                  <c:v>92.237099999999998</c:v>
                </c:pt>
                <c:pt idx="788">
                  <c:v>59.107199999999992</c:v>
                </c:pt>
                <c:pt idx="789">
                  <c:v>42.383499999999998</c:v>
                </c:pt>
                <c:pt idx="790">
                  <c:v>92.466300000000004</c:v>
                </c:pt>
                <c:pt idx="791">
                  <c:v>81.233699999999999</c:v>
                </c:pt>
                <c:pt idx="792">
                  <c:v>12.93435</c:v>
                </c:pt>
                <c:pt idx="793">
                  <c:v>29.736000000000001</c:v>
                </c:pt>
                <c:pt idx="794">
                  <c:v>30.225100000000001</c:v>
                </c:pt>
                <c:pt idx="795">
                  <c:v>43.326000000000001</c:v>
                </c:pt>
                <c:pt idx="796">
                  <c:v>64.262749999999997</c:v>
                </c:pt>
                <c:pt idx="797">
                  <c:v>33.448999999999998</c:v>
                </c:pt>
                <c:pt idx="798">
                  <c:v>37.165300000000002</c:v>
                </c:pt>
                <c:pt idx="799">
                  <c:v>129.47199999999998</c:v>
                </c:pt>
                <c:pt idx="800">
                  <c:v>85.292400000000001</c:v>
                </c:pt>
                <c:pt idx="801">
                  <c:v>56.095149999999997</c:v>
                </c:pt>
                <c:pt idx="802">
                  <c:v>87.17</c:v>
                </c:pt>
                <c:pt idx="803">
                  <c:v>79.958799999999997</c:v>
                </c:pt>
                <c:pt idx="804">
                  <c:v>150.7587</c:v>
                </c:pt>
                <c:pt idx="805">
                  <c:v>159.5206</c:v>
                </c:pt>
                <c:pt idx="806">
                  <c:v>341.19749999999999</c:v>
                </c:pt>
                <c:pt idx="807">
                  <c:v>557.90470000000005</c:v>
                </c:pt>
                <c:pt idx="808">
                  <c:v>334.87900000000002</c:v>
                </c:pt>
                <c:pt idx="809">
                  <c:v>151.34475</c:v>
                </c:pt>
                <c:pt idx="810">
                  <c:v>125.001</c:v>
                </c:pt>
                <c:pt idx="811">
                  <c:v>118.6152</c:v>
                </c:pt>
                <c:pt idx="812">
                  <c:v>39.387500000000003</c:v>
                </c:pt>
                <c:pt idx="813">
                  <c:v>35.04</c:v>
                </c:pt>
                <c:pt idx="814">
                  <c:v>44.1252</c:v>
                </c:pt>
                <c:pt idx="815">
                  <c:v>132.75109999999998</c:v>
                </c:pt>
                <c:pt idx="816">
                  <c:v>217.48440000000002</c:v>
                </c:pt>
                <c:pt idx="817">
                  <c:v>169.6464</c:v>
                </c:pt>
                <c:pt idx="818">
                  <c:v>162.26730000000001</c:v>
                </c:pt>
                <c:pt idx="819">
                  <c:v>234.608</c:v>
                </c:pt>
                <c:pt idx="820">
                  <c:v>138.7944</c:v>
                </c:pt>
                <c:pt idx="821">
                  <c:v>160.84715</c:v>
                </c:pt>
                <c:pt idx="822">
                  <c:v>125.01220000000001</c:v>
                </c:pt>
                <c:pt idx="823">
                  <c:v>94.293199999999999</c:v>
                </c:pt>
                <c:pt idx="824">
                  <c:v>100.44</c:v>
                </c:pt>
                <c:pt idx="825">
                  <c:v>84.332899999999995</c:v>
                </c:pt>
                <c:pt idx="826">
                  <c:v>126.24719999999998</c:v>
                </c:pt>
                <c:pt idx="827">
                  <c:v>125.4539</c:v>
                </c:pt>
                <c:pt idx="828">
                  <c:v>140.76240000000001</c:v>
                </c:pt>
                <c:pt idx="829">
                  <c:v>145.50604999999999</c:v>
                </c:pt>
                <c:pt idx="830">
                  <c:v>144.59365</c:v>
                </c:pt>
                <c:pt idx="831">
                  <c:v>16.755199999999999</c:v>
                </c:pt>
                <c:pt idx="832">
                  <c:v>32.505200000000002</c:v>
                </c:pt>
                <c:pt idx="833">
                  <c:v>22.279599999999999</c:v>
                </c:pt>
                <c:pt idx="834">
                  <c:v>51.820500000000003</c:v>
                </c:pt>
                <c:pt idx="835">
                  <c:v>45.702800000000003</c:v>
                </c:pt>
                <c:pt idx="836">
                  <c:v>68.656000000000006</c:v>
                </c:pt>
                <c:pt idx="837">
                  <c:v>38.847000000000001</c:v>
                </c:pt>
                <c:pt idx="838">
                  <c:v>64.206000000000003</c:v>
                </c:pt>
                <c:pt idx="839">
                  <c:v>57.297449999999998</c:v>
                </c:pt>
                <c:pt idx="840">
                  <c:v>72.38</c:v>
                </c:pt>
                <c:pt idx="841">
                  <c:v>66.891400000000004</c:v>
                </c:pt>
                <c:pt idx="842">
                  <c:v>55.051650000000002</c:v>
                </c:pt>
                <c:pt idx="843">
                  <c:v>177.61950000000002</c:v>
                </c:pt>
                <c:pt idx="844">
                  <c:v>118.80785</c:v>
                </c:pt>
                <c:pt idx="845">
                  <c:v>165.0128</c:v>
                </c:pt>
                <c:pt idx="846">
                  <c:v>107.5814</c:v>
                </c:pt>
                <c:pt idx="847">
                  <c:v>144.88980000000001</c:v>
                </c:pt>
                <c:pt idx="848">
                  <c:v>133.27175</c:v>
                </c:pt>
                <c:pt idx="849">
                  <c:v>121.6285</c:v>
                </c:pt>
                <c:pt idx="850">
                  <c:v>81.34</c:v>
                </c:pt>
                <c:pt idx="851">
                  <c:v>248.40270000000001</c:v>
                </c:pt>
                <c:pt idx="852">
                  <c:v>110.48875</c:v>
                </c:pt>
                <c:pt idx="853">
                  <c:v>137.65725</c:v>
                </c:pt>
                <c:pt idx="854">
                  <c:v>138.3253</c:v>
                </c:pt>
                <c:pt idx="855">
                  <c:v>57.23599999999999</c:v>
                </c:pt>
                <c:pt idx="856">
                  <c:v>40.332500000000003</c:v>
                </c:pt>
                <c:pt idx="857">
                  <c:v>42.088799999999999</c:v>
                </c:pt>
                <c:pt idx="858">
                  <c:v>102.49554999999999</c:v>
                </c:pt>
                <c:pt idx="859">
                  <c:v>231.42259999999999</c:v>
                </c:pt>
                <c:pt idx="860">
                  <c:v>90.487200000000001</c:v>
                </c:pt>
                <c:pt idx="861">
                  <c:v>65.262500000000003</c:v>
                </c:pt>
                <c:pt idx="862">
                  <c:v>120.7987</c:v>
                </c:pt>
                <c:pt idx="863">
                  <c:v>127.29600000000001</c:v>
                </c:pt>
                <c:pt idx="864">
                  <c:v>120.86499999999999</c:v>
                </c:pt>
                <c:pt idx="865">
                  <c:v>86.343400000000003</c:v>
                </c:pt>
                <c:pt idx="866">
                  <c:v>91.685550000000006</c:v>
                </c:pt>
                <c:pt idx="867">
                  <c:v>93.032499999999999</c:v>
                </c:pt>
                <c:pt idx="868">
                  <c:v>103.51975</c:v>
                </c:pt>
                <c:pt idx="869">
                  <c:v>133.96424999999999</c:v>
                </c:pt>
                <c:pt idx="870">
                  <c:v>123.62625</c:v>
                </c:pt>
                <c:pt idx="871">
                  <c:v>125.218</c:v>
                </c:pt>
                <c:pt idx="872">
                  <c:v>195.16419999999999</c:v>
                </c:pt>
                <c:pt idx="873">
                  <c:v>149.6576</c:v>
                </c:pt>
                <c:pt idx="874">
                  <c:v>144.4804</c:v>
                </c:pt>
                <c:pt idx="875">
                  <c:v>50.784799999999997</c:v>
                </c:pt>
                <c:pt idx="876">
                  <c:v>68.066400000000002</c:v>
                </c:pt>
                <c:pt idx="877">
                  <c:v>62.673749999999998</c:v>
                </c:pt>
                <c:pt idx="878">
                  <c:v>73.427099999999996</c:v>
                </c:pt>
                <c:pt idx="879">
                  <c:v>88.251750000000001</c:v>
                </c:pt>
                <c:pt idx="880">
                  <c:v>129.90299999999999</c:v>
                </c:pt>
                <c:pt idx="881">
                  <c:v>105.1305</c:v>
                </c:pt>
                <c:pt idx="882">
                  <c:v>172.2654</c:v>
                </c:pt>
                <c:pt idx="883">
                  <c:v>144.2841</c:v>
                </c:pt>
                <c:pt idx="884">
                  <c:v>265.6875</c:v>
                </c:pt>
                <c:pt idx="885">
                  <c:v>142.04730000000001</c:v>
                </c:pt>
                <c:pt idx="886">
                  <c:v>116.93525</c:v>
                </c:pt>
                <c:pt idx="887">
                  <c:v>148.59375</c:v>
                </c:pt>
                <c:pt idx="888">
                  <c:v>173.97800000000001</c:v>
                </c:pt>
                <c:pt idx="889">
                  <c:v>144.99209999999999</c:v>
                </c:pt>
                <c:pt idx="890">
                  <c:v>206.22925000000001</c:v>
                </c:pt>
                <c:pt idx="891">
                  <c:v>166.595</c:v>
                </c:pt>
                <c:pt idx="892">
                  <c:v>89.760549999999995</c:v>
                </c:pt>
                <c:pt idx="893">
                  <c:v>210.12385</c:v>
                </c:pt>
                <c:pt idx="894">
                  <c:v>73.316400000000002</c:v>
                </c:pt>
                <c:pt idx="895">
                  <c:v>54.790199999999999</c:v>
                </c:pt>
                <c:pt idx="896">
                  <c:v>53.268000000000001</c:v>
                </c:pt>
                <c:pt idx="897">
                  <c:v>82.102950000000007</c:v>
                </c:pt>
                <c:pt idx="898">
                  <c:v>74.658000000000001</c:v>
                </c:pt>
                <c:pt idx="899">
                  <c:v>101.2754</c:v>
                </c:pt>
                <c:pt idx="900">
                  <c:v>124.08695</c:v>
                </c:pt>
                <c:pt idx="901">
                  <c:v>135.7396</c:v>
                </c:pt>
                <c:pt idx="902">
                  <c:v>152.10265000000001</c:v>
                </c:pt>
                <c:pt idx="903">
                  <c:v>127.125</c:v>
                </c:pt>
                <c:pt idx="904">
                  <c:v>123.5424</c:v>
                </c:pt>
                <c:pt idx="905">
                  <c:v>108.346</c:v>
                </c:pt>
                <c:pt idx="906">
                  <c:v>165.51650000000001</c:v>
                </c:pt>
                <c:pt idx="907">
                  <c:v>137.50344999999999</c:v>
                </c:pt>
                <c:pt idx="908">
                  <c:v>141.31020000000001</c:v>
                </c:pt>
                <c:pt idx="909">
                  <c:v>99.006749999999997</c:v>
                </c:pt>
                <c:pt idx="910">
                  <c:v>90.804000000000002</c:v>
                </c:pt>
                <c:pt idx="911">
                  <c:v>187.10485</c:v>
                </c:pt>
                <c:pt idx="912">
                  <c:v>171.25200000000001</c:v>
                </c:pt>
                <c:pt idx="913">
                  <c:v>144.90090000000001</c:v>
                </c:pt>
                <c:pt idx="914">
                  <c:v>194.0607</c:v>
                </c:pt>
                <c:pt idx="915">
                  <c:v>123.34139999999999</c:v>
                </c:pt>
                <c:pt idx="916">
                  <c:v>209.59275</c:v>
                </c:pt>
                <c:pt idx="917">
                  <c:v>232.90950000000001</c:v>
                </c:pt>
                <c:pt idx="918">
                  <c:v>164.41480000000001</c:v>
                </c:pt>
                <c:pt idx="919">
                  <c:v>56.734200000000001</c:v>
                </c:pt>
                <c:pt idx="920">
                  <c:v>52.045250000000003</c:v>
                </c:pt>
                <c:pt idx="921">
                  <c:v>95.231399999999994</c:v>
                </c:pt>
                <c:pt idx="922">
                  <c:v>155.53545</c:v>
                </c:pt>
                <c:pt idx="923">
                  <c:v>177.75115</c:v>
                </c:pt>
                <c:pt idx="924">
                  <c:v>180.6788</c:v>
                </c:pt>
                <c:pt idx="925">
                  <c:v>155.32980000000001</c:v>
                </c:pt>
                <c:pt idx="926">
                  <c:v>239.19120000000001</c:v>
                </c:pt>
                <c:pt idx="927">
                  <c:v>157.20320000000001</c:v>
                </c:pt>
                <c:pt idx="928">
                  <c:v>156.56489999999999</c:v>
                </c:pt>
                <c:pt idx="929">
                  <c:v>139.583</c:v>
                </c:pt>
                <c:pt idx="930">
                  <c:v>220.29259999999999</c:v>
                </c:pt>
                <c:pt idx="931">
                  <c:v>118.7975</c:v>
                </c:pt>
                <c:pt idx="932">
                  <c:v>277.8999</c:v>
                </c:pt>
                <c:pt idx="933">
                  <c:v>179.10900000000001</c:v>
                </c:pt>
                <c:pt idx="934">
                  <c:v>149.85534999999999</c:v>
                </c:pt>
                <c:pt idx="935">
                  <c:v>170.39975000000001</c:v>
                </c:pt>
                <c:pt idx="936">
                  <c:v>295.29450000000003</c:v>
                </c:pt>
                <c:pt idx="937">
                  <c:v>333.29230000000001</c:v>
                </c:pt>
                <c:pt idx="938">
                  <c:v>216.1414</c:v>
                </c:pt>
                <c:pt idx="939">
                  <c:v>114.00375</c:v>
                </c:pt>
                <c:pt idx="940">
                  <c:v>124.49850000000001</c:v>
                </c:pt>
                <c:pt idx="941">
                  <c:v>150.08510000000001</c:v>
                </c:pt>
                <c:pt idx="942">
                  <c:v>204.64779999999999</c:v>
                </c:pt>
                <c:pt idx="943">
                  <c:v>258.11720000000003</c:v>
                </c:pt>
                <c:pt idx="944">
                  <c:v>233.00110000000001</c:v>
                </c:pt>
                <c:pt idx="945">
                  <c:v>233.56950000000001</c:v>
                </c:pt>
                <c:pt idx="946">
                  <c:v>283.9221</c:v>
                </c:pt>
                <c:pt idx="947">
                  <c:v>120.39109999999999</c:v>
                </c:pt>
                <c:pt idx="948">
                  <c:v>121.37125</c:v>
                </c:pt>
                <c:pt idx="949">
                  <c:v>257.81349999999998</c:v>
                </c:pt>
                <c:pt idx="950">
                  <c:v>326.52480000000003</c:v>
                </c:pt>
                <c:pt idx="951">
                  <c:v>217.97325000000001</c:v>
                </c:pt>
                <c:pt idx="952">
                  <c:v>229.839</c:v>
                </c:pt>
                <c:pt idx="953">
                  <c:v>240.61544999999998</c:v>
                </c:pt>
                <c:pt idx="954">
                  <c:v>162.756</c:v>
                </c:pt>
                <c:pt idx="955">
                  <c:v>193.88655</c:v>
                </c:pt>
                <c:pt idx="956">
                  <c:v>191.9511</c:v>
                </c:pt>
                <c:pt idx="957">
                  <c:v>183.71899999999999</c:v>
                </c:pt>
                <c:pt idx="958">
                  <c:v>151.97900000000001</c:v>
                </c:pt>
                <c:pt idx="959">
                  <c:v>198.53399999999999</c:v>
                </c:pt>
                <c:pt idx="960">
                  <c:v>150.59379999999999</c:v>
                </c:pt>
                <c:pt idx="961">
                  <c:v>257.06720000000001</c:v>
                </c:pt>
                <c:pt idx="962">
                  <c:v>335.09300000000002</c:v>
                </c:pt>
                <c:pt idx="963">
                  <c:v>105.4278</c:v>
                </c:pt>
                <c:pt idx="964">
                  <c:v>90.371250000000003</c:v>
                </c:pt>
                <c:pt idx="965">
                  <c:v>101.58580000000001</c:v>
                </c:pt>
                <c:pt idx="966">
                  <c:v>75.636300000000006</c:v>
                </c:pt>
                <c:pt idx="967">
                  <c:v>91.415099999999995</c:v>
                </c:pt>
                <c:pt idx="968">
                  <c:v>136.26374999999999</c:v>
                </c:pt>
                <c:pt idx="969">
                  <c:v>93.009299999999996</c:v>
                </c:pt>
                <c:pt idx="970">
                  <c:v>95.571899999999999</c:v>
                </c:pt>
                <c:pt idx="971">
                  <c:v>123.8419</c:v>
                </c:pt>
                <c:pt idx="972">
                  <c:v>121.30560000000001</c:v>
                </c:pt>
                <c:pt idx="973">
                  <c:v>152.67384999999999</c:v>
                </c:pt>
                <c:pt idx="974">
                  <c:v>184.20240000000001</c:v>
                </c:pt>
                <c:pt idx="975">
                  <c:v>187.90055000000001</c:v>
                </c:pt>
                <c:pt idx="976">
                  <c:v>180.7432</c:v>
                </c:pt>
                <c:pt idx="977">
                  <c:v>238.58099999999999</c:v>
                </c:pt>
                <c:pt idx="978">
                  <c:v>244.33500000000001</c:v>
                </c:pt>
                <c:pt idx="979">
                  <c:v>235.49759999999998</c:v>
                </c:pt>
                <c:pt idx="980">
                  <c:v>315.65404999999998</c:v>
                </c:pt>
                <c:pt idx="981">
                  <c:v>229.84370000000001</c:v>
                </c:pt>
                <c:pt idx="982">
                  <c:v>160.48050000000001</c:v>
                </c:pt>
                <c:pt idx="983">
                  <c:v>175.8289</c:v>
                </c:pt>
                <c:pt idx="984">
                  <c:v>196.5436</c:v>
                </c:pt>
                <c:pt idx="985">
                  <c:v>275.32425000000001</c:v>
                </c:pt>
                <c:pt idx="986">
                  <c:v>222.62100000000001</c:v>
                </c:pt>
                <c:pt idx="987">
                  <c:v>180.03854999999999</c:v>
                </c:pt>
                <c:pt idx="988">
                  <c:v>215.05880000000002</c:v>
                </c:pt>
                <c:pt idx="989">
                  <c:v>186.89425</c:v>
                </c:pt>
                <c:pt idx="990">
                  <c:v>165.11340000000001</c:v>
                </c:pt>
                <c:pt idx="991">
                  <c:v>331.20535000000001</c:v>
                </c:pt>
                <c:pt idx="992">
                  <c:v>275.82960000000003</c:v>
                </c:pt>
                <c:pt idx="993">
                  <c:v>242.74600000000004</c:v>
                </c:pt>
                <c:pt idx="994">
                  <c:v>198.86259999999999</c:v>
                </c:pt>
                <c:pt idx="995">
                  <c:v>172.25370000000001</c:v>
                </c:pt>
                <c:pt idx="996">
                  <c:v>213.94750000000002</c:v>
                </c:pt>
                <c:pt idx="997">
                  <c:v>245.8278</c:v>
                </c:pt>
                <c:pt idx="998">
                  <c:v>222.44040000000001</c:v>
                </c:pt>
                <c:pt idx="999">
                  <c:v>262.23424999999997</c:v>
                </c:pt>
                <c:pt idx="1000">
                  <c:v>272.12099999999998</c:v>
                </c:pt>
                <c:pt idx="1001">
                  <c:v>108.71454999999999</c:v>
                </c:pt>
                <c:pt idx="1002">
                  <c:v>88.913399999999996</c:v>
                </c:pt>
                <c:pt idx="1003">
                  <c:v>139.40299999999999</c:v>
                </c:pt>
                <c:pt idx="1004">
                  <c:v>150.93</c:v>
                </c:pt>
                <c:pt idx="1005">
                  <c:v>214.69589999999997</c:v>
                </c:pt>
                <c:pt idx="1006">
                  <c:v>134.28360000000001</c:v>
                </c:pt>
                <c:pt idx="1007">
                  <c:v>320.78160000000003</c:v>
                </c:pt>
                <c:pt idx="1008">
                  <c:v>350.04365000000001</c:v>
                </c:pt>
                <c:pt idx="1009">
                  <c:v>279.28559999999999</c:v>
                </c:pt>
                <c:pt idx="1010">
                  <c:v>251.34659999999997</c:v>
                </c:pt>
                <c:pt idx="1011">
                  <c:v>228.15170000000001</c:v>
                </c:pt>
                <c:pt idx="1012">
                  <c:v>288.39299999999997</c:v>
                </c:pt>
                <c:pt idx="1013">
                  <c:v>239.17680000000004</c:v>
                </c:pt>
                <c:pt idx="1014">
                  <c:v>342.99900000000002</c:v>
                </c:pt>
                <c:pt idx="1015">
                  <c:v>269.89515</c:v>
                </c:pt>
                <c:pt idx="1016">
                  <c:v>312.69920000000002</c:v>
                </c:pt>
                <c:pt idx="1017">
                  <c:v>308.3954</c:v>
                </c:pt>
                <c:pt idx="1018">
                  <c:v>291.92380000000003</c:v>
                </c:pt>
                <c:pt idx="1019">
                  <c:v>473.93060000000003</c:v>
                </c:pt>
                <c:pt idx="1020">
                  <c:v>143.19370000000001</c:v>
                </c:pt>
                <c:pt idx="1021">
                  <c:v>142.0419</c:v>
                </c:pt>
                <c:pt idx="1022">
                  <c:v>234.24625</c:v>
                </c:pt>
                <c:pt idx="1023">
                  <c:v>391.53519999999997</c:v>
                </c:pt>
                <c:pt idx="1024">
                  <c:v>217.03800000000001</c:v>
                </c:pt>
                <c:pt idx="1025">
                  <c:v>162.85390000000001</c:v>
                </c:pt>
                <c:pt idx="1026">
                  <c:v>148.9863</c:v>
                </c:pt>
                <c:pt idx="1027">
                  <c:v>133.78925000000001</c:v>
                </c:pt>
                <c:pt idx="1028">
                  <c:v>195.11279999999999</c:v>
                </c:pt>
                <c:pt idx="1029">
                  <c:v>274.38675000000001</c:v>
                </c:pt>
                <c:pt idx="1030">
                  <c:v>177.5778</c:v>
                </c:pt>
                <c:pt idx="1031">
                  <c:v>121.30495000000001</c:v>
                </c:pt>
                <c:pt idx="1032">
                  <c:v>135.756</c:v>
                </c:pt>
                <c:pt idx="1033">
                  <c:v>124.92449999999999</c:v>
                </c:pt>
                <c:pt idx="1034">
                  <c:v>142.56319999999999</c:v>
                </c:pt>
                <c:pt idx="1035">
                  <c:v>195.18389999999999</c:v>
                </c:pt>
                <c:pt idx="1036">
                  <c:v>119.5155</c:v>
                </c:pt>
                <c:pt idx="1037">
                  <c:v>170.26750000000001</c:v>
                </c:pt>
                <c:pt idx="1038">
                  <c:v>160.93805</c:v>
                </c:pt>
                <c:pt idx="1039">
                  <c:v>211.45685</c:v>
                </c:pt>
                <c:pt idx="1040">
                  <c:v>241.70824999999996</c:v>
                </c:pt>
                <c:pt idx="1041">
                  <c:v>200.3691</c:v>
                </c:pt>
                <c:pt idx="1042">
                  <c:v>334.6155</c:v>
                </c:pt>
                <c:pt idx="1043">
                  <c:v>255.31110000000004</c:v>
                </c:pt>
                <c:pt idx="1044">
                  <c:v>235.13034999999996</c:v>
                </c:pt>
                <c:pt idx="1045">
                  <c:v>175.84110000000001</c:v>
                </c:pt>
                <c:pt idx="1046">
                  <c:v>181.10820000000001</c:v>
                </c:pt>
                <c:pt idx="1047">
                  <c:v>180.35640000000001</c:v>
                </c:pt>
                <c:pt idx="1048">
                  <c:v>244.95295000000004</c:v>
                </c:pt>
                <c:pt idx="1049">
                  <c:v>185.2</c:v>
                </c:pt>
                <c:pt idx="1050">
                  <c:v>122.67640000000002</c:v>
                </c:pt>
                <c:pt idx="1051">
                  <c:v>175.4496</c:v>
                </c:pt>
                <c:pt idx="1052">
                  <c:v>176.34375</c:v>
                </c:pt>
                <c:pt idx="1053">
                  <c:v>172.04</c:v>
                </c:pt>
                <c:pt idx="1054">
                  <c:v>132.06495000000001</c:v>
                </c:pt>
                <c:pt idx="1055">
                  <c:v>182.9804</c:v>
                </c:pt>
                <c:pt idx="1056">
                  <c:v>203.87160000000003</c:v>
                </c:pt>
                <c:pt idx="1057">
                  <c:v>222.6354</c:v>
                </c:pt>
                <c:pt idx="1058">
                  <c:v>347.60879999999997</c:v>
                </c:pt>
                <c:pt idx="1059">
                  <c:v>322.26220000000001</c:v>
                </c:pt>
                <c:pt idx="1060">
                  <c:v>196.68090000000001</c:v>
                </c:pt>
                <c:pt idx="1061">
                  <c:v>480.60739999999998</c:v>
                </c:pt>
                <c:pt idx="1062">
                  <c:v>308.62020000000001</c:v>
                </c:pt>
                <c:pt idx="1063">
                  <c:v>341.69535000000002</c:v>
                </c:pt>
                <c:pt idx="1064">
                  <c:v>126.09675</c:v>
                </c:pt>
                <c:pt idx="1065">
                  <c:v>104.98050000000001</c:v>
                </c:pt>
                <c:pt idx="1066">
                  <c:v>114.10980000000001</c:v>
                </c:pt>
                <c:pt idx="1067">
                  <c:v>165.68275</c:v>
                </c:pt>
                <c:pt idx="1068">
                  <c:v>164.60079999999999</c:v>
                </c:pt>
                <c:pt idx="1069">
                  <c:v>143.36000000000001</c:v>
                </c:pt>
                <c:pt idx="1070">
                  <c:v>229.41030000000001</c:v>
                </c:pt>
                <c:pt idx="1071">
                  <c:v>165.00835000000001</c:v>
                </c:pt>
                <c:pt idx="1072">
                  <c:v>160.9512</c:v>
                </c:pt>
                <c:pt idx="1073">
                  <c:v>158.90219999999999</c:v>
                </c:pt>
                <c:pt idx="1074">
                  <c:v>178.99379999999999</c:v>
                </c:pt>
                <c:pt idx="1075">
                  <c:v>178.85910000000001</c:v>
                </c:pt>
                <c:pt idx="1076">
                  <c:v>289.61369999999999</c:v>
                </c:pt>
                <c:pt idx="1077">
                  <c:v>231.00030000000004</c:v>
                </c:pt>
                <c:pt idx="1078">
                  <c:v>294.95925</c:v>
                </c:pt>
                <c:pt idx="1079">
                  <c:v>245.56604999999996</c:v>
                </c:pt>
                <c:pt idx="1080">
                  <c:v>316.74015000000003</c:v>
                </c:pt>
                <c:pt idx="1081">
                  <c:v>406.52269999999999</c:v>
                </c:pt>
                <c:pt idx="1082">
                  <c:v>268.22300000000001</c:v>
                </c:pt>
                <c:pt idx="1083">
                  <c:v>136.63249999999999</c:v>
                </c:pt>
                <c:pt idx="1084">
                  <c:v>120.10039999999998</c:v>
                </c:pt>
                <c:pt idx="1085">
                  <c:v>142.2834</c:v>
                </c:pt>
                <c:pt idx="1086">
                  <c:v>521.17750000000001</c:v>
                </c:pt>
                <c:pt idx="1087">
                  <c:v>560.19830000000002</c:v>
                </c:pt>
                <c:pt idx="1088">
                  <c:v>267.16800000000001</c:v>
                </c:pt>
                <c:pt idx="1089">
                  <c:v>251.85419999999996</c:v>
                </c:pt>
                <c:pt idx="1090">
                  <c:v>223.1216</c:v>
                </c:pt>
                <c:pt idx="1091">
                  <c:v>256.28060000000005</c:v>
                </c:pt>
                <c:pt idx="1092">
                  <c:v>342.6592</c:v>
                </c:pt>
                <c:pt idx="1093">
                  <c:v>246.07945000000001</c:v>
                </c:pt>
                <c:pt idx="1094">
                  <c:v>168.37799999999999</c:v>
                </c:pt>
                <c:pt idx="1095">
                  <c:v>182.0626</c:v>
                </c:pt>
                <c:pt idx="1096">
                  <c:v>304.91730000000001</c:v>
                </c:pt>
                <c:pt idx="1097">
                  <c:v>314.28750000000002</c:v>
                </c:pt>
                <c:pt idx="1098">
                  <c:v>280.55849999999998</c:v>
                </c:pt>
                <c:pt idx="1099">
                  <c:v>215.46240000000003</c:v>
                </c:pt>
                <c:pt idx="1100">
                  <c:v>227.06290000000004</c:v>
                </c:pt>
                <c:pt idx="1101">
                  <c:v>228.51570000000004</c:v>
                </c:pt>
                <c:pt idx="1102">
                  <c:v>230.47925000000001</c:v>
                </c:pt>
                <c:pt idx="1103">
                  <c:v>562.24559999999997</c:v>
                </c:pt>
                <c:pt idx="1104">
                  <c:v>555</c:v>
                </c:pt>
                <c:pt idx="1105">
                  <c:v>337.6019</c:v>
                </c:pt>
                <c:pt idx="1106">
                  <c:v>839.62900000000002</c:v>
                </c:pt>
                <c:pt idx="1107">
                  <c:v>232.13520000000003</c:v>
                </c:pt>
                <c:pt idx="1108">
                  <c:v>179.41499999999999</c:v>
                </c:pt>
                <c:pt idx="1109">
                  <c:v>162.51900000000001</c:v>
                </c:pt>
                <c:pt idx="1110">
                  <c:v>158.04599999999999</c:v>
                </c:pt>
                <c:pt idx="1111">
                  <c:v>214.21420000000001</c:v>
                </c:pt>
                <c:pt idx="1112">
                  <c:v>203.4974</c:v>
                </c:pt>
                <c:pt idx="1113">
                  <c:v>183.28870000000001</c:v>
                </c:pt>
                <c:pt idx="1114">
                  <c:v>235.50389999999999</c:v>
                </c:pt>
                <c:pt idx="1115">
                  <c:v>337.86450000000002</c:v>
                </c:pt>
                <c:pt idx="1116">
                  <c:v>299.74209999999999</c:v>
                </c:pt>
                <c:pt idx="1117">
                  <c:v>395.35070000000002</c:v>
                </c:pt>
                <c:pt idx="1118">
                  <c:v>424.33940000000001</c:v>
                </c:pt>
                <c:pt idx="1119">
                  <c:v>422.46600000000001</c:v>
                </c:pt>
                <c:pt idx="1120">
                  <c:v>508.68985000000004</c:v>
                </c:pt>
                <c:pt idx="1121">
                  <c:v>1018.4657</c:v>
                </c:pt>
                <c:pt idx="1122">
                  <c:v>1190.0039999999999</c:v>
                </c:pt>
                <c:pt idx="1123">
                  <c:v>1321.9143999999999</c:v>
                </c:pt>
                <c:pt idx="1124">
                  <c:v>1094.1304</c:v>
                </c:pt>
                <c:pt idx="1125">
                  <c:v>1160.8387499999999</c:v>
                </c:pt>
                <c:pt idx="1126">
                  <c:v>1009.3356</c:v>
                </c:pt>
                <c:pt idx="1127">
                  <c:v>202.1266</c:v>
                </c:pt>
                <c:pt idx="1128">
                  <c:v>112.49325</c:v>
                </c:pt>
                <c:pt idx="1129">
                  <c:v>174.37875</c:v>
                </c:pt>
                <c:pt idx="1130">
                  <c:v>200.78559999999999</c:v>
                </c:pt>
                <c:pt idx="1131">
                  <c:v>453.03019999999998</c:v>
                </c:pt>
                <c:pt idx="1132">
                  <c:v>474.91640000000001</c:v>
                </c:pt>
                <c:pt idx="1133">
                  <c:v>401.52969999999999</c:v>
                </c:pt>
                <c:pt idx="1134">
                  <c:v>667.16274999999996</c:v>
                </c:pt>
                <c:pt idx="1135">
                  <c:v>446.84160000000003</c:v>
                </c:pt>
                <c:pt idx="1136">
                  <c:v>496.15724999999998</c:v>
                </c:pt>
                <c:pt idx="1137">
                  <c:v>494.97699999999998</c:v>
                </c:pt>
                <c:pt idx="1138">
                  <c:v>230.9769</c:v>
                </c:pt>
                <c:pt idx="1139">
                  <c:v>288.78915000000001</c:v>
                </c:pt>
                <c:pt idx="1140">
                  <c:v>312.8116</c:v>
                </c:pt>
                <c:pt idx="1141">
                  <c:v>442.32560000000001</c:v>
                </c:pt>
                <c:pt idx="1142">
                  <c:v>354.66529999999995</c:v>
                </c:pt>
                <c:pt idx="1143">
                  <c:v>361.61279999999999</c:v>
                </c:pt>
                <c:pt idx="1144">
                  <c:v>261.12240000000003</c:v>
                </c:pt>
                <c:pt idx="1145">
                  <c:v>292.66145</c:v>
                </c:pt>
                <c:pt idx="1146">
                  <c:v>534.55759999999998</c:v>
                </c:pt>
                <c:pt idx="1147">
                  <c:v>659.53584999999998</c:v>
                </c:pt>
                <c:pt idx="1148">
                  <c:v>546.16070000000002</c:v>
                </c:pt>
                <c:pt idx="1149">
                  <c:v>590.95299999999997</c:v>
                </c:pt>
                <c:pt idx="1150">
                  <c:v>417.29099999999994</c:v>
                </c:pt>
                <c:pt idx="1151">
                  <c:v>188.3125</c:v>
                </c:pt>
                <c:pt idx="1152">
                  <c:v>218.20205000000001</c:v>
                </c:pt>
                <c:pt idx="1153">
                  <c:v>120.29745</c:v>
                </c:pt>
                <c:pt idx="1154">
                  <c:v>264.22874999999999</c:v>
                </c:pt>
                <c:pt idx="1155">
                  <c:v>444.90875</c:v>
                </c:pt>
                <c:pt idx="1156">
                  <c:v>328.1619</c:v>
                </c:pt>
                <c:pt idx="1157">
                  <c:v>217.04850000000002</c:v>
                </c:pt>
                <c:pt idx="1158">
                  <c:v>220.99489999999997</c:v>
                </c:pt>
                <c:pt idx="1159">
                  <c:v>296.54730000000001</c:v>
                </c:pt>
                <c:pt idx="1160">
                  <c:v>297.75549999999998</c:v>
                </c:pt>
                <c:pt idx="1161">
                  <c:v>388.74950000000001</c:v>
                </c:pt>
                <c:pt idx="1162">
                  <c:v>570.41684999999995</c:v>
                </c:pt>
                <c:pt idx="1163">
                  <c:v>657.56790000000001</c:v>
                </c:pt>
                <c:pt idx="1164">
                  <c:v>481.88249999999994</c:v>
                </c:pt>
                <c:pt idx="1165">
                  <c:v>321.05369999999999</c:v>
                </c:pt>
                <c:pt idx="1166">
                  <c:v>437.43960000000004</c:v>
                </c:pt>
                <c:pt idx="1167">
                  <c:v>326.90974999999997</c:v>
                </c:pt>
                <c:pt idx="1168">
                  <c:v>481.89749999999998</c:v>
                </c:pt>
                <c:pt idx="1169">
                  <c:v>489.95954999999998</c:v>
                </c:pt>
                <c:pt idx="1170">
                  <c:v>449.87279999999998</c:v>
                </c:pt>
                <c:pt idx="1171">
                  <c:v>197.58930000000001</c:v>
                </c:pt>
                <c:pt idx="1172">
                  <c:v>287.83499999999998</c:v>
                </c:pt>
                <c:pt idx="1173">
                  <c:v>194.61510000000001</c:v>
                </c:pt>
                <c:pt idx="1174">
                  <c:v>284.99115</c:v>
                </c:pt>
                <c:pt idx="1175">
                  <c:v>295.18180000000001</c:v>
                </c:pt>
                <c:pt idx="1176">
                  <c:v>176.31</c:v>
                </c:pt>
                <c:pt idx="1177">
                  <c:v>221.16409999999999</c:v>
                </c:pt>
                <c:pt idx="1178">
                  <c:v>228.78075000000001</c:v>
                </c:pt>
                <c:pt idx="1179">
                  <c:v>240.49119999999999</c:v>
                </c:pt>
                <c:pt idx="1180">
                  <c:v>422.39760000000001</c:v>
                </c:pt>
                <c:pt idx="1181">
                  <c:v>192.4426</c:v>
                </c:pt>
                <c:pt idx="1182">
                  <c:v>309.83339999999998</c:v>
                </c:pt>
                <c:pt idx="1183">
                  <c:v>808.4375</c:v>
                </c:pt>
                <c:pt idx="1184">
                  <c:v>257.64</c:v>
                </c:pt>
                <c:pt idx="1185">
                  <c:v>348.89400000000001</c:v>
                </c:pt>
                <c:pt idx="1186">
                  <c:v>230.53155000000001</c:v>
                </c:pt>
                <c:pt idx="1187">
                  <c:v>232.4665</c:v>
                </c:pt>
                <c:pt idx="1188">
                  <c:v>566.91494999999998</c:v>
                </c:pt>
                <c:pt idx="1189">
                  <c:v>789.58725000000015</c:v>
                </c:pt>
                <c:pt idx="1190">
                  <c:v>687.83399999999995</c:v>
                </c:pt>
                <c:pt idx="1191">
                  <c:v>63.912750000000003</c:v>
                </c:pt>
                <c:pt idx="1192">
                  <c:v>174.88079999999999</c:v>
                </c:pt>
                <c:pt idx="1193">
                  <c:v>142.22739999999999</c:v>
                </c:pt>
                <c:pt idx="1194">
                  <c:v>186.98400000000001</c:v>
                </c:pt>
                <c:pt idx="1195">
                  <c:v>336.20895000000002</c:v>
                </c:pt>
                <c:pt idx="1196">
                  <c:v>242.29124999999999</c:v>
                </c:pt>
                <c:pt idx="1197">
                  <c:v>237.87375</c:v>
                </c:pt>
                <c:pt idx="1198">
                  <c:v>225.00094999999999</c:v>
                </c:pt>
                <c:pt idx="1199">
                  <c:v>249.62609999999998</c:v>
                </c:pt>
                <c:pt idx="1200">
                  <c:v>135.06639999999999</c:v>
                </c:pt>
                <c:pt idx="1201">
                  <c:v>241.25830000000002</c:v>
                </c:pt>
                <c:pt idx="1202">
                  <c:v>214.63800000000003</c:v>
                </c:pt>
                <c:pt idx="1203">
                  <c:v>328.03440000000001</c:v>
                </c:pt>
                <c:pt idx="1204">
                  <c:v>331.19774999999998</c:v>
                </c:pt>
                <c:pt idx="1205">
                  <c:v>311.58789999999999</c:v>
                </c:pt>
                <c:pt idx="1206">
                  <c:v>227.7396</c:v>
                </c:pt>
                <c:pt idx="1207">
                  <c:v>189.31395000000001</c:v>
                </c:pt>
                <c:pt idx="1208">
                  <c:v>350.24759999999998</c:v>
                </c:pt>
                <c:pt idx="1209">
                  <c:v>384.07650000000001</c:v>
                </c:pt>
                <c:pt idx="1210">
                  <c:v>326.67525000000001</c:v>
                </c:pt>
                <c:pt idx="1211">
                  <c:v>236.9171</c:v>
                </c:pt>
                <c:pt idx="1212">
                  <c:v>695.98230000000001</c:v>
                </c:pt>
                <c:pt idx="1213">
                  <c:v>340.1902</c:v>
                </c:pt>
                <c:pt idx="1214">
                  <c:v>337.46530000000001</c:v>
                </c:pt>
                <c:pt idx="1215">
                  <c:v>139.69800000000001</c:v>
                </c:pt>
                <c:pt idx="1216">
                  <c:v>160.857</c:v>
                </c:pt>
                <c:pt idx="1217">
                  <c:v>106.3419</c:v>
                </c:pt>
                <c:pt idx="1218">
                  <c:v>196.69264999999999</c:v>
                </c:pt>
                <c:pt idx="1219">
                  <c:v>203.97</c:v>
                </c:pt>
                <c:pt idx="1220">
                  <c:v>137.80799999999999</c:v>
                </c:pt>
                <c:pt idx="1221">
                  <c:v>87.010199999999998</c:v>
                </c:pt>
                <c:pt idx="1222">
                  <c:v>139.9444</c:v>
                </c:pt>
                <c:pt idx="1223">
                  <c:v>110.39490000000001</c:v>
                </c:pt>
                <c:pt idx="1224">
                  <c:v>95.296499999999995</c:v>
                </c:pt>
                <c:pt idx="1225">
                  <c:v>209.4444</c:v>
                </c:pt>
                <c:pt idx="1226">
                  <c:v>198.22550000000001</c:v>
                </c:pt>
                <c:pt idx="1227">
                  <c:v>245.3646</c:v>
                </c:pt>
                <c:pt idx="1228">
                  <c:v>261.42159999999996</c:v>
                </c:pt>
                <c:pt idx="1229">
                  <c:v>211.14345</c:v>
                </c:pt>
                <c:pt idx="1230">
                  <c:v>468.48284999999998</c:v>
                </c:pt>
                <c:pt idx="1231">
                  <c:v>256.20734999999996</c:v>
                </c:pt>
                <c:pt idx="1232">
                  <c:v>380.8075</c:v>
                </c:pt>
                <c:pt idx="1233">
                  <c:v>132.20009999999999</c:v>
                </c:pt>
                <c:pt idx="1234">
                  <c:v>250.4922</c:v>
                </c:pt>
                <c:pt idx="1235">
                  <c:v>194.26070000000001</c:v>
                </c:pt>
                <c:pt idx="1236">
                  <c:v>210.084</c:v>
                </c:pt>
                <c:pt idx="1237">
                  <c:v>189.4075</c:v>
                </c:pt>
                <c:pt idx="1238">
                  <c:v>210.09</c:v>
                </c:pt>
                <c:pt idx="1239">
                  <c:v>201.60075000000001</c:v>
                </c:pt>
                <c:pt idx="1240">
                  <c:v>270.99</c:v>
                </c:pt>
                <c:pt idx="1241">
                  <c:v>318.33834999999999</c:v>
                </c:pt>
                <c:pt idx="1242">
                  <c:v>259.96199999999999</c:v>
                </c:pt>
                <c:pt idx="1243">
                  <c:v>275.33550000000002</c:v>
                </c:pt>
                <c:pt idx="1244">
                  <c:v>227.59100000000001</c:v>
                </c:pt>
                <c:pt idx="1245">
                  <c:v>278.27100000000002</c:v>
                </c:pt>
                <c:pt idx="1246">
                  <c:v>300.75745000000001</c:v>
                </c:pt>
                <c:pt idx="1247">
                  <c:v>545.91075000000001</c:v>
                </c:pt>
                <c:pt idx="1248">
                  <c:v>269.91239999999999</c:v>
                </c:pt>
                <c:pt idx="1249">
                  <c:v>360.774</c:v>
                </c:pt>
                <c:pt idx="1250">
                  <c:v>445.34699999999998</c:v>
                </c:pt>
                <c:pt idx="1251">
                  <c:v>527.48045000000002</c:v>
                </c:pt>
                <c:pt idx="1252">
                  <c:v>281.27575000000002</c:v>
                </c:pt>
                <c:pt idx="1253">
                  <c:v>267.26864999999998</c:v>
                </c:pt>
                <c:pt idx="1254">
                  <c:v>237.39240000000001</c:v>
                </c:pt>
                <c:pt idx="1255">
                  <c:v>299.16160000000002</c:v>
                </c:pt>
                <c:pt idx="1256">
                  <c:v>325.52789999999999</c:v>
                </c:pt>
                <c:pt idx="1257">
                  <c:v>276.7432</c:v>
                </c:pt>
                <c:pt idx="1258">
                  <c:v>397.94844999999998</c:v>
                </c:pt>
                <c:pt idx="1259">
                  <c:v>372.12889999999999</c:v>
                </c:pt>
                <c:pt idx="1260">
                  <c:v>464.85180000000003</c:v>
                </c:pt>
                <c:pt idx="1261">
                  <c:v>441.04500000000002</c:v>
                </c:pt>
                <c:pt idx="1262">
                  <c:v>381.7525</c:v>
                </c:pt>
                <c:pt idx="1263">
                  <c:v>311.76015000000001</c:v>
                </c:pt>
                <c:pt idx="1264">
                  <c:v>811.68</c:v>
                </c:pt>
                <c:pt idx="1265">
                  <c:v>378.2056</c:v>
                </c:pt>
                <c:pt idx="1266">
                  <c:v>434.51580000000001</c:v>
                </c:pt>
                <c:pt idx="1267">
                  <c:v>396.11385000000001</c:v>
                </c:pt>
                <c:pt idx="1268">
                  <c:v>684.76980000000003</c:v>
                </c:pt>
                <c:pt idx="1269">
                  <c:v>422.35825</c:v>
                </c:pt>
                <c:pt idx="1270">
                  <c:v>481.50749999999999</c:v>
                </c:pt>
                <c:pt idx="1271">
                  <c:v>628.96924999999999</c:v>
                </c:pt>
                <c:pt idx="1272">
                  <c:v>810.62249999999995</c:v>
                </c:pt>
                <c:pt idx="1273">
                  <c:v>827.4</c:v>
                </c:pt>
                <c:pt idx="1274">
                  <c:v>1074.6787999999999</c:v>
                </c:pt>
                <c:pt idx="1275">
                  <c:v>808.88250000000005</c:v>
                </c:pt>
                <c:pt idx="1276">
                  <c:v>177.38140000000001</c:v>
                </c:pt>
                <c:pt idx="1277">
                  <c:v>261.98899999999998</c:v>
                </c:pt>
                <c:pt idx="1278">
                  <c:v>278.39370000000002</c:v>
                </c:pt>
                <c:pt idx="1279">
                  <c:v>513.40039999999999</c:v>
                </c:pt>
                <c:pt idx="1280">
                  <c:v>493.94880000000006</c:v>
                </c:pt>
                <c:pt idx="1281">
                  <c:v>588.91079999999999</c:v>
                </c:pt>
                <c:pt idx="1282">
                  <c:v>641.39670000000001</c:v>
                </c:pt>
                <c:pt idx="1283">
                  <c:v>639.01130000000001</c:v>
                </c:pt>
                <c:pt idx="1284">
                  <c:v>558.90869999999995</c:v>
                </c:pt>
                <c:pt idx="1285">
                  <c:v>426.15089999999998</c:v>
                </c:pt>
                <c:pt idx="1286">
                  <c:v>433.75099999999998</c:v>
                </c:pt>
                <c:pt idx="1287">
                  <c:v>394.54935</c:v>
                </c:pt>
                <c:pt idx="1288">
                  <c:v>395.59210000000002</c:v>
                </c:pt>
                <c:pt idx="1289">
                  <c:v>612.14390000000003</c:v>
                </c:pt>
                <c:pt idx="1290">
                  <c:v>494.41964999999999</c:v>
                </c:pt>
                <c:pt idx="1291">
                  <c:v>563.44860000000006</c:v>
                </c:pt>
                <c:pt idx="1292">
                  <c:v>943.77520000000004</c:v>
                </c:pt>
                <c:pt idx="1293">
                  <c:v>597.90719999999999</c:v>
                </c:pt>
                <c:pt idx="1294">
                  <c:v>862.88</c:v>
                </c:pt>
                <c:pt idx="1295">
                  <c:v>194.39189999999999</c:v>
                </c:pt>
                <c:pt idx="1296">
                  <c:v>289.65195</c:v>
                </c:pt>
                <c:pt idx="1297">
                  <c:v>318.73599999999999</c:v>
                </c:pt>
                <c:pt idx="1298">
                  <c:v>462.73939999999999</c:v>
                </c:pt>
                <c:pt idx="1299">
                  <c:v>470.52954999999997</c:v>
                </c:pt>
                <c:pt idx="1300">
                  <c:v>364.85399999999998</c:v>
                </c:pt>
                <c:pt idx="1301">
                  <c:v>489.06439999999998</c:v>
                </c:pt>
                <c:pt idx="1302">
                  <c:v>376.3116</c:v>
                </c:pt>
                <c:pt idx="1303">
                  <c:v>458.16160000000002</c:v>
                </c:pt>
                <c:pt idx="1304">
                  <c:v>420.43329999999997</c:v>
                </c:pt>
                <c:pt idx="1305">
                  <c:v>409.9316</c:v>
                </c:pt>
                <c:pt idx="1306">
                  <c:v>402.18950000000001</c:v>
                </c:pt>
                <c:pt idx="1307">
                  <c:v>408.81950000000001</c:v>
                </c:pt>
                <c:pt idx="1308">
                  <c:v>456.57569999999998</c:v>
                </c:pt>
                <c:pt idx="1309">
                  <c:v>476.82164999999998</c:v>
                </c:pt>
                <c:pt idx="1310">
                  <c:v>669.15419999999995</c:v>
                </c:pt>
                <c:pt idx="1311">
                  <c:v>539.45204999999999</c:v>
                </c:pt>
                <c:pt idx="1312">
                  <c:v>757.89</c:v>
                </c:pt>
                <c:pt idx="1313">
                  <c:v>786.84034999999994</c:v>
                </c:pt>
                <c:pt idx="1314">
                  <c:v>658.15110000000004</c:v>
                </c:pt>
                <c:pt idx="1315">
                  <c:v>222.66300000000001</c:v>
                </c:pt>
                <c:pt idx="1316">
                  <c:v>280.6927</c:v>
                </c:pt>
                <c:pt idx="1317">
                  <c:v>349.81650000000002</c:v>
                </c:pt>
                <c:pt idx="1318">
                  <c:v>597.59145000000001</c:v>
                </c:pt>
                <c:pt idx="1319">
                  <c:v>719.96550000000002</c:v>
                </c:pt>
                <c:pt idx="1320">
                  <c:v>877.99850000000004</c:v>
                </c:pt>
                <c:pt idx="1321">
                  <c:v>820.53070000000002</c:v>
                </c:pt>
                <c:pt idx="1322">
                  <c:v>539.48699999999997</c:v>
                </c:pt>
                <c:pt idx="1323">
                  <c:v>544.3383</c:v>
                </c:pt>
                <c:pt idx="1324">
                  <c:v>528.03399999999999</c:v>
                </c:pt>
                <c:pt idx="1325">
                  <c:v>363.99059999999997</c:v>
                </c:pt>
                <c:pt idx="1326">
                  <c:v>507.48239999999998</c:v>
                </c:pt>
                <c:pt idx="1327">
                  <c:v>592.58010000000002</c:v>
                </c:pt>
                <c:pt idx="1328">
                  <c:v>706.97014999999999</c:v>
                </c:pt>
                <c:pt idx="1329">
                  <c:v>929.50604999999996</c:v>
                </c:pt>
                <c:pt idx="1330">
                  <c:v>785.07775000000004</c:v>
                </c:pt>
                <c:pt idx="1331">
                  <c:v>531.60194999999999</c:v>
                </c:pt>
                <c:pt idx="1332">
                  <c:v>733.125</c:v>
                </c:pt>
                <c:pt idx="1333">
                  <c:v>881.12310000000002</c:v>
                </c:pt>
                <c:pt idx="1334">
                  <c:v>651.53430000000003</c:v>
                </c:pt>
                <c:pt idx="1335">
                  <c:v>967.79759999999999</c:v>
                </c:pt>
                <c:pt idx="1336">
                  <c:v>882.72694999999999</c:v>
                </c:pt>
                <c:pt idx="1337">
                  <c:v>949.49125000000004</c:v>
                </c:pt>
                <c:pt idx="1338">
                  <c:v>907.84190000000001</c:v>
                </c:pt>
                <c:pt idx="1339">
                  <c:v>184.80475000000001</c:v>
                </c:pt>
                <c:pt idx="1340">
                  <c:v>344.47070000000002</c:v>
                </c:pt>
                <c:pt idx="1341">
                  <c:v>320.53840000000002</c:v>
                </c:pt>
                <c:pt idx="1342">
                  <c:v>539.35199999999998</c:v>
                </c:pt>
                <c:pt idx="1343">
                  <c:v>835.90650000000005</c:v>
                </c:pt>
                <c:pt idx="1344">
                  <c:v>623.83780000000002</c:v>
                </c:pt>
                <c:pt idx="1345">
                  <c:v>588.37774999999999</c:v>
                </c:pt>
                <c:pt idx="1346">
                  <c:v>467.62470000000002</c:v>
                </c:pt>
                <c:pt idx="1347">
                  <c:v>425.53444999999999</c:v>
                </c:pt>
                <c:pt idx="1348">
                  <c:v>570.85</c:v>
                </c:pt>
                <c:pt idx="1349">
                  <c:v>633.14774999999997</c:v>
                </c:pt>
                <c:pt idx="1350">
                  <c:v>716.18330000000003</c:v>
                </c:pt>
                <c:pt idx="1351">
                  <c:v>399.29340000000002</c:v>
                </c:pt>
                <c:pt idx="1352">
                  <c:v>637.17830000000004</c:v>
                </c:pt>
                <c:pt idx="1353">
                  <c:v>495.80080000000004</c:v>
                </c:pt>
                <c:pt idx="1354">
                  <c:v>527.54700000000003</c:v>
                </c:pt>
                <c:pt idx="1355">
                  <c:v>662.81799999999998</c:v>
                </c:pt>
                <c:pt idx="1356">
                  <c:v>748.42909999999995</c:v>
                </c:pt>
                <c:pt idx="1357">
                  <c:v>732.4742</c:v>
                </c:pt>
                <c:pt idx="1358">
                  <c:v>242.4708</c:v>
                </c:pt>
                <c:pt idx="1359">
                  <c:v>287.2518</c:v>
                </c:pt>
                <c:pt idx="1360">
                  <c:v>375.34575000000001</c:v>
                </c:pt>
                <c:pt idx="1361">
                  <c:v>423.24759999999998</c:v>
                </c:pt>
                <c:pt idx="1362">
                  <c:v>398.62745000000001</c:v>
                </c:pt>
                <c:pt idx="1363">
                  <c:v>498.40050000000002</c:v>
                </c:pt>
                <c:pt idx="1364">
                  <c:v>543.89700000000005</c:v>
                </c:pt>
                <c:pt idx="1365">
                  <c:v>627.62959999999998</c:v>
                </c:pt>
                <c:pt idx="1366">
                  <c:v>469.38459999999998</c:v>
                </c:pt>
                <c:pt idx="1367">
                  <c:v>492.21589999999992</c:v>
                </c:pt>
                <c:pt idx="1368">
                  <c:v>441.12529999999992</c:v>
                </c:pt>
                <c:pt idx="1369">
                  <c:v>439.72624999999999</c:v>
                </c:pt>
                <c:pt idx="1370">
                  <c:v>405.50450000000001</c:v>
                </c:pt>
                <c:pt idx="1371">
                  <c:v>428.45179999999999</c:v>
                </c:pt>
                <c:pt idx="1372">
                  <c:v>545.94179999999994</c:v>
                </c:pt>
                <c:pt idx="1373">
                  <c:v>513.94479999999999</c:v>
                </c:pt>
                <c:pt idx="1374">
                  <c:v>438.34899999999999</c:v>
                </c:pt>
                <c:pt idx="1375">
                  <c:v>519.01620000000003</c:v>
                </c:pt>
                <c:pt idx="1376">
                  <c:v>448.49699999999996</c:v>
                </c:pt>
                <c:pt idx="1377">
                  <c:v>416.82749999999993</c:v>
                </c:pt>
                <c:pt idx="1378">
                  <c:v>376.80615</c:v>
                </c:pt>
                <c:pt idx="1379">
                  <c:v>509.15674999999999</c:v>
                </c:pt>
                <c:pt idx="1380">
                  <c:v>624.20699999999999</c:v>
                </c:pt>
                <c:pt idx="1381">
                  <c:v>386.84</c:v>
                </c:pt>
                <c:pt idx="1382">
                  <c:v>547.51874999999995</c:v>
                </c:pt>
                <c:pt idx="1383">
                  <c:v>233.4297</c:v>
                </c:pt>
                <c:pt idx="1384">
                  <c:v>184.8485</c:v>
                </c:pt>
                <c:pt idx="1385">
                  <c:v>295.04835000000003</c:v>
                </c:pt>
                <c:pt idx="1386">
                  <c:v>606.09249999999997</c:v>
                </c:pt>
                <c:pt idx="1387">
                  <c:v>527.58000000000004</c:v>
                </c:pt>
                <c:pt idx="1388">
                  <c:v>465.82760000000002</c:v>
                </c:pt>
                <c:pt idx="1389">
                  <c:v>486.36419999999998</c:v>
                </c:pt>
                <c:pt idx="1390">
                  <c:v>520.26975000000004</c:v>
                </c:pt>
                <c:pt idx="1391">
                  <c:v>510.01510000000002</c:v>
                </c:pt>
                <c:pt idx="1392">
                  <c:v>571.73599999999999</c:v>
                </c:pt>
                <c:pt idx="1393">
                  <c:v>559.97680000000003</c:v>
                </c:pt>
                <c:pt idx="1394">
                  <c:v>629.61725000000001</c:v>
                </c:pt>
                <c:pt idx="1395">
                  <c:v>612.12800000000004</c:v>
                </c:pt>
                <c:pt idx="1396">
                  <c:v>756.22784999999999</c:v>
                </c:pt>
                <c:pt idx="1397">
                  <c:v>703.1232</c:v>
                </c:pt>
                <c:pt idx="1398">
                  <c:v>756.71015</c:v>
                </c:pt>
                <c:pt idx="1399">
                  <c:v>836.35630000000015</c:v>
                </c:pt>
                <c:pt idx="1400">
                  <c:v>793.98880000000008</c:v>
                </c:pt>
                <c:pt idx="1401">
                  <c:v>1026.75965</c:v>
                </c:pt>
                <c:pt idx="1402">
                  <c:v>348.75360000000001</c:v>
                </c:pt>
                <c:pt idx="1403">
                  <c:v>309.8485</c:v>
                </c:pt>
                <c:pt idx="1404">
                  <c:v>358.26600000000002</c:v>
                </c:pt>
                <c:pt idx="1405">
                  <c:v>516.69839999999999</c:v>
                </c:pt>
                <c:pt idx="1406">
                  <c:v>499.58789999999999</c:v>
                </c:pt>
                <c:pt idx="1407">
                  <c:v>486.43249999999995</c:v>
                </c:pt>
                <c:pt idx="1408">
                  <c:v>442.88640000000004</c:v>
                </c:pt>
                <c:pt idx="1409">
                  <c:v>660.36144999999999</c:v>
                </c:pt>
                <c:pt idx="1410">
                  <c:v>717.16049999999996</c:v>
                </c:pt>
                <c:pt idx="1411">
                  <c:v>694.85924999999997</c:v>
                </c:pt>
                <c:pt idx="1412">
                  <c:v>552.58270000000005</c:v>
                </c:pt>
                <c:pt idx="1413">
                  <c:v>629.09910000000002</c:v>
                </c:pt>
                <c:pt idx="1414">
                  <c:v>620.58534999999995</c:v>
                </c:pt>
                <c:pt idx="1415">
                  <c:v>526.30949999999996</c:v>
                </c:pt>
                <c:pt idx="1416">
                  <c:v>473.61059999999992</c:v>
                </c:pt>
                <c:pt idx="1417">
                  <c:v>734.14274999999998</c:v>
                </c:pt>
                <c:pt idx="1418">
                  <c:v>421.70639999999992</c:v>
                </c:pt>
                <c:pt idx="1419">
                  <c:v>624.80074999999999</c:v>
                </c:pt>
                <c:pt idx="1420">
                  <c:v>817.07669999999985</c:v>
                </c:pt>
                <c:pt idx="1421">
                  <c:v>616.37355000000002</c:v>
                </c:pt>
                <c:pt idx="1422">
                  <c:v>357.16615000000002</c:v>
                </c:pt>
                <c:pt idx="1423">
                  <c:v>322.89645000000002</c:v>
                </c:pt>
                <c:pt idx="1424">
                  <c:v>243.67589999999996</c:v>
                </c:pt>
                <c:pt idx="1425">
                  <c:v>402.57</c:v>
                </c:pt>
                <c:pt idx="1426">
                  <c:v>437.94080000000008</c:v>
                </c:pt>
                <c:pt idx="1427">
                  <c:v>586.34100000000001</c:v>
                </c:pt>
                <c:pt idx="1428">
                  <c:v>483.43315000000001</c:v>
                </c:pt>
                <c:pt idx="1429">
                  <c:v>786.16560000000004</c:v>
                </c:pt>
                <c:pt idx="1430">
                  <c:v>565.95209999999997</c:v>
                </c:pt>
                <c:pt idx="1431">
                  <c:v>506.48219999999992</c:v>
                </c:pt>
                <c:pt idx="1432">
                  <c:v>416.61269999999996</c:v>
                </c:pt>
                <c:pt idx="1433">
                  <c:v>904.89750000000004</c:v>
                </c:pt>
                <c:pt idx="1434">
                  <c:v>726.90110000000004</c:v>
                </c:pt>
                <c:pt idx="1435">
                  <c:v>792.21120000000008</c:v>
                </c:pt>
                <c:pt idx="1436">
                  <c:v>531.7704</c:v>
                </c:pt>
                <c:pt idx="1437">
                  <c:v>644.34190000000001</c:v>
                </c:pt>
                <c:pt idx="1438">
                  <c:v>1105.4355</c:v>
                </c:pt>
                <c:pt idx="1439">
                  <c:v>902.81539999999995</c:v>
                </c:pt>
                <c:pt idx="1440">
                  <c:v>734.31399999999996</c:v>
                </c:pt>
                <c:pt idx="1441">
                  <c:v>754.51530000000002</c:v>
                </c:pt>
                <c:pt idx="1442">
                  <c:v>973.57259999999997</c:v>
                </c:pt>
                <c:pt idx="1443">
                  <c:v>1041.922</c:v>
                </c:pt>
                <c:pt idx="1444">
                  <c:v>1140.4591</c:v>
                </c:pt>
                <c:pt idx="1445">
                  <c:v>469.65989999999994</c:v>
                </c:pt>
                <c:pt idx="1446">
                  <c:v>391.81784999999996</c:v>
                </c:pt>
                <c:pt idx="1447">
                  <c:v>400.02409999999998</c:v>
                </c:pt>
                <c:pt idx="1448">
                  <c:v>412.52635000000004</c:v>
                </c:pt>
                <c:pt idx="1449">
                  <c:v>368.63260000000002</c:v>
                </c:pt>
                <c:pt idx="1450">
                  <c:v>506.25940000000003</c:v>
                </c:pt>
                <c:pt idx="1451">
                  <c:v>518.4606</c:v>
                </c:pt>
                <c:pt idx="1452">
                  <c:v>520.22829999999999</c:v>
                </c:pt>
                <c:pt idx="1453">
                  <c:v>449.24200000000002</c:v>
                </c:pt>
                <c:pt idx="1454">
                  <c:v>518.2558499999999</c:v>
                </c:pt>
                <c:pt idx="1455">
                  <c:v>510.75119999999998</c:v>
                </c:pt>
                <c:pt idx="1456">
                  <c:v>591.46969999999999</c:v>
                </c:pt>
                <c:pt idx="1457">
                  <c:v>574.61464999999998</c:v>
                </c:pt>
                <c:pt idx="1458">
                  <c:v>481.08604999999994</c:v>
                </c:pt>
                <c:pt idx="1459">
                  <c:v>604.09500000000003</c:v>
                </c:pt>
                <c:pt idx="1460">
                  <c:v>419.65165000000002</c:v>
                </c:pt>
                <c:pt idx="1461">
                  <c:v>619.12950000000001</c:v>
                </c:pt>
                <c:pt idx="1462">
                  <c:v>677.7337</c:v>
                </c:pt>
                <c:pt idx="1463">
                  <c:v>722.88774999999998</c:v>
                </c:pt>
                <c:pt idx="1464">
                  <c:v>272.29000000000002</c:v>
                </c:pt>
                <c:pt idx="1465">
                  <c:v>307.73925000000003</c:v>
                </c:pt>
                <c:pt idx="1466">
                  <c:v>355.03019999999998</c:v>
                </c:pt>
                <c:pt idx="1467">
                  <c:v>560.10889999999995</c:v>
                </c:pt>
                <c:pt idx="1468">
                  <c:v>557.98545000000001</c:v>
                </c:pt>
                <c:pt idx="1469">
                  <c:v>793.45770000000005</c:v>
                </c:pt>
                <c:pt idx="1470">
                  <c:v>301.34289999999999</c:v>
                </c:pt>
                <c:pt idx="1471">
                  <c:v>503.74484999999999</c:v>
                </c:pt>
                <c:pt idx="1472">
                  <c:v>808.63080000000002</c:v>
                </c:pt>
                <c:pt idx="1473">
                  <c:v>952.84950000000003</c:v>
                </c:pt>
                <c:pt idx="1474">
                  <c:v>1005.9745</c:v>
                </c:pt>
                <c:pt idx="1475">
                  <c:v>1046.69075</c:v>
                </c:pt>
                <c:pt idx="1476">
                  <c:v>844.33034999999995</c:v>
                </c:pt>
                <c:pt idx="1477">
                  <c:v>760.43449999999996</c:v>
                </c:pt>
                <c:pt idx="1478">
                  <c:v>729.83714999999995</c:v>
                </c:pt>
                <c:pt idx="1479">
                  <c:v>923.78264999999999</c:v>
                </c:pt>
                <c:pt idx="1480">
                  <c:v>770.22599999999989</c:v>
                </c:pt>
                <c:pt idx="1481">
                  <c:v>745.9774000000001</c:v>
                </c:pt>
                <c:pt idx="1482">
                  <c:v>291.59564999999998</c:v>
                </c:pt>
                <c:pt idx="1483">
                  <c:v>300.24175000000002</c:v>
                </c:pt>
                <c:pt idx="1484">
                  <c:v>234.91050000000001</c:v>
                </c:pt>
                <c:pt idx="1485">
                  <c:v>368.71020000000004</c:v>
                </c:pt>
                <c:pt idx="1486">
                  <c:v>473.55200000000002</c:v>
                </c:pt>
                <c:pt idx="1487">
                  <c:v>679.36770000000001</c:v>
                </c:pt>
                <c:pt idx="1488">
                  <c:v>632.15459999999996</c:v>
                </c:pt>
                <c:pt idx="1489">
                  <c:v>596.98834999999997</c:v>
                </c:pt>
                <c:pt idx="1490">
                  <c:v>797.47630000000004</c:v>
                </c:pt>
                <c:pt idx="1491">
                  <c:v>545.29395</c:v>
                </c:pt>
                <c:pt idx="1492">
                  <c:v>487.94580000000002</c:v>
                </c:pt>
                <c:pt idx="1493">
                  <c:v>611.05134999999996</c:v>
                </c:pt>
                <c:pt idx="1494">
                  <c:v>835.25120000000004</c:v>
                </c:pt>
                <c:pt idx="1495">
                  <c:v>542.66624999999999</c:v>
                </c:pt>
                <c:pt idx="1496">
                  <c:v>974.41959999999995</c:v>
                </c:pt>
                <c:pt idx="1497">
                  <c:v>797.27369999999996</c:v>
                </c:pt>
                <c:pt idx="1498">
                  <c:v>681.34559999999999</c:v>
                </c:pt>
                <c:pt idx="1499">
                  <c:v>629.59559999999999</c:v>
                </c:pt>
                <c:pt idx="1500">
                  <c:v>949.25935000000004</c:v>
                </c:pt>
                <c:pt idx="1501">
                  <c:v>219.55570000000003</c:v>
                </c:pt>
                <c:pt idx="1502">
                  <c:v>227.24144999999999</c:v>
                </c:pt>
                <c:pt idx="1503">
                  <c:v>273.84559999999999</c:v>
                </c:pt>
                <c:pt idx="1504">
                  <c:v>391.60595000000001</c:v>
                </c:pt>
                <c:pt idx="1505">
                  <c:v>382.2525</c:v>
                </c:pt>
                <c:pt idx="1506">
                  <c:v>427.35455000000002</c:v>
                </c:pt>
                <c:pt idx="1507">
                  <c:v>490.01614999999998</c:v>
                </c:pt>
                <c:pt idx="1508">
                  <c:v>625.904</c:v>
                </c:pt>
                <c:pt idx="1509">
                  <c:v>734.42124999999987</c:v>
                </c:pt>
                <c:pt idx="1510">
                  <c:v>476.73050000000001</c:v>
                </c:pt>
                <c:pt idx="1511">
                  <c:v>1279.53</c:v>
                </c:pt>
                <c:pt idx="1512">
                  <c:v>1429.9176</c:v>
                </c:pt>
                <c:pt idx="1513">
                  <c:v>933.91270000000009</c:v>
                </c:pt>
                <c:pt idx="1514">
                  <c:v>718.11670000000004</c:v>
                </c:pt>
                <c:pt idx="1515">
                  <c:v>828.65160000000003</c:v>
                </c:pt>
                <c:pt idx="1516">
                  <c:v>693.89715000000001</c:v>
                </c:pt>
                <c:pt idx="1517">
                  <c:v>689.4248</c:v>
                </c:pt>
                <c:pt idx="1518">
                  <c:v>720.61810000000003</c:v>
                </c:pt>
                <c:pt idx="1519">
                  <c:v>569.43499999999995</c:v>
                </c:pt>
                <c:pt idx="1520">
                  <c:v>865.15449999999998</c:v>
                </c:pt>
                <c:pt idx="1521">
                  <c:v>955.49180000000001</c:v>
                </c:pt>
                <c:pt idx="1522">
                  <c:v>950.05640000000005</c:v>
                </c:pt>
                <c:pt idx="1523">
                  <c:v>733.11839999999995</c:v>
                </c:pt>
                <c:pt idx="1524">
                  <c:v>843.15</c:v>
                </c:pt>
                <c:pt idx="1525">
                  <c:v>345.03865000000002</c:v>
                </c:pt>
                <c:pt idx="1526">
                  <c:v>348.51660000000004</c:v>
                </c:pt>
                <c:pt idx="1527">
                  <c:v>511.20875000000001</c:v>
                </c:pt>
                <c:pt idx="1528">
                  <c:v>614.50564999999995</c:v>
                </c:pt>
                <c:pt idx="1529">
                  <c:v>896.48649999999986</c:v>
                </c:pt>
                <c:pt idx="1530">
                  <c:v>578.54399999999998</c:v>
                </c:pt>
                <c:pt idx="1531">
                  <c:v>879.90200000000004</c:v>
                </c:pt>
                <c:pt idx="1532">
                  <c:v>590.41319999999996</c:v>
                </c:pt>
                <c:pt idx="1533">
                  <c:v>644.23379999999997</c:v>
                </c:pt>
                <c:pt idx="1534">
                  <c:v>447.73559999999998</c:v>
                </c:pt>
                <c:pt idx="1535">
                  <c:v>606.21749999999997</c:v>
                </c:pt>
                <c:pt idx="1536">
                  <c:v>665.38800000000003</c:v>
                </c:pt>
                <c:pt idx="1537">
                  <c:v>947.01599999999996</c:v>
                </c:pt>
                <c:pt idx="1538">
                  <c:v>831.2097</c:v>
                </c:pt>
                <c:pt idx="1539">
                  <c:v>901.5575</c:v>
                </c:pt>
                <c:pt idx="1540">
                  <c:v>862.51199999999994</c:v>
                </c:pt>
                <c:pt idx="1541">
                  <c:v>927.65189999999996</c:v>
                </c:pt>
                <c:pt idx="1542">
                  <c:v>941.64449999999999</c:v>
                </c:pt>
                <c:pt idx="1543">
                  <c:v>728.11749999999995</c:v>
                </c:pt>
                <c:pt idx="1544">
                  <c:v>366.41969999999998</c:v>
                </c:pt>
                <c:pt idx="1545">
                  <c:v>1137.8131000000001</c:v>
                </c:pt>
                <c:pt idx="1546">
                  <c:v>583.36490000000003</c:v>
                </c:pt>
                <c:pt idx="1547">
                  <c:v>1122.33375</c:v>
                </c:pt>
                <c:pt idx="1548">
                  <c:v>1017.8</c:v>
                </c:pt>
                <c:pt idx="1549">
                  <c:v>629.56320000000005</c:v>
                </c:pt>
                <c:pt idx="1550">
                  <c:v>716.64320000000009</c:v>
                </c:pt>
                <c:pt idx="1551">
                  <c:v>653.00620000000004</c:v>
                </c:pt>
                <c:pt idx="1552">
                  <c:v>528.28160000000003</c:v>
                </c:pt>
                <c:pt idx="1553">
                  <c:v>473.23050000000001</c:v>
                </c:pt>
                <c:pt idx="1554">
                  <c:v>520.05719999999997</c:v>
                </c:pt>
                <c:pt idx="1555">
                  <c:v>579.82839999999999</c:v>
                </c:pt>
                <c:pt idx="1556">
                  <c:v>480.72640000000001</c:v>
                </c:pt>
                <c:pt idx="1557">
                  <c:v>651.20659999999998</c:v>
                </c:pt>
                <c:pt idx="1558">
                  <c:v>601.75649999999996</c:v>
                </c:pt>
                <c:pt idx="1559">
                  <c:v>627.33924999999999</c:v>
                </c:pt>
                <c:pt idx="1560">
                  <c:v>477.15915000000001</c:v>
                </c:pt>
                <c:pt idx="1561">
                  <c:v>565.61890000000005</c:v>
                </c:pt>
                <c:pt idx="1562">
                  <c:v>512.41849999999999</c:v>
                </c:pt>
                <c:pt idx="1563">
                  <c:v>707.20519999999999</c:v>
                </c:pt>
                <c:pt idx="1564">
                  <c:v>766.46090000000004</c:v>
                </c:pt>
                <c:pt idx="1565">
                  <c:v>585.86490000000003</c:v>
                </c:pt>
                <c:pt idx="1566">
                  <c:v>691.11104999999998</c:v>
                </c:pt>
                <c:pt idx="1567">
                  <c:v>781.27035000000001</c:v>
                </c:pt>
                <c:pt idx="1568">
                  <c:v>849.74530000000004</c:v>
                </c:pt>
                <c:pt idx="1569">
                  <c:v>286.71095000000003</c:v>
                </c:pt>
                <c:pt idx="1570">
                  <c:v>315.72125</c:v>
                </c:pt>
                <c:pt idx="1571">
                  <c:v>324.80250000000001</c:v>
                </c:pt>
                <c:pt idx="1572">
                  <c:v>840.8771999999999</c:v>
                </c:pt>
                <c:pt idx="1573">
                  <c:v>814.30965000000003</c:v>
                </c:pt>
                <c:pt idx="1574">
                  <c:v>521.51549999999997</c:v>
                </c:pt>
                <c:pt idx="1575">
                  <c:v>649.87980000000005</c:v>
                </c:pt>
                <c:pt idx="1576">
                  <c:v>858.94999999999993</c:v>
                </c:pt>
                <c:pt idx="1577">
                  <c:v>784.00660000000005</c:v>
                </c:pt>
                <c:pt idx="1578">
                  <c:v>932.18824999999993</c:v>
                </c:pt>
                <c:pt idx="1579">
                  <c:v>1034.4670000000001</c:v>
                </c:pt>
                <c:pt idx="1580">
                  <c:v>717.48180000000002</c:v>
                </c:pt>
                <c:pt idx="1581">
                  <c:v>1164.2706000000001</c:v>
                </c:pt>
                <c:pt idx="1582">
                  <c:v>1520.0355</c:v>
                </c:pt>
                <c:pt idx="1583">
                  <c:v>1169.4293</c:v>
                </c:pt>
                <c:pt idx="1584">
                  <c:v>751.86739999999998</c:v>
                </c:pt>
                <c:pt idx="1585">
                  <c:v>1326.3535999999999</c:v>
                </c:pt>
                <c:pt idx="1586">
                  <c:v>1841.0875000000001</c:v>
                </c:pt>
                <c:pt idx="1587">
                  <c:v>1501.5087000000001</c:v>
                </c:pt>
                <c:pt idx="1588">
                  <c:v>602.87220000000002</c:v>
                </c:pt>
                <c:pt idx="1589">
                  <c:v>520.03070000000002</c:v>
                </c:pt>
                <c:pt idx="1590">
                  <c:v>449.04285000000004</c:v>
                </c:pt>
                <c:pt idx="1591">
                  <c:v>906.76525000000015</c:v>
                </c:pt>
                <c:pt idx="1592">
                  <c:v>1585.0582999999999</c:v>
                </c:pt>
                <c:pt idx="1593">
                  <c:v>1151.3706</c:v>
                </c:pt>
                <c:pt idx="1594">
                  <c:v>965.93489999999997</c:v>
                </c:pt>
                <c:pt idx="1595">
                  <c:v>879.73514999999998</c:v>
                </c:pt>
                <c:pt idx="1596">
                  <c:v>772.18119999999999</c:v>
                </c:pt>
                <c:pt idx="1597">
                  <c:v>737.65409999999997</c:v>
                </c:pt>
                <c:pt idx="1598">
                  <c:v>871.91369999999984</c:v>
                </c:pt>
                <c:pt idx="1599">
                  <c:v>942.42600000000004</c:v>
                </c:pt>
                <c:pt idx="1600">
                  <c:v>795.12120000000004</c:v>
                </c:pt>
                <c:pt idx="1601">
                  <c:v>558.04184999999995</c:v>
                </c:pt>
                <c:pt idx="1602">
                  <c:v>992.27679999999998</c:v>
                </c:pt>
                <c:pt idx="1603">
                  <c:v>1093.373</c:v>
                </c:pt>
                <c:pt idx="1604">
                  <c:v>1076.6556</c:v>
                </c:pt>
                <c:pt idx="1605">
                  <c:v>882.37680000000012</c:v>
                </c:pt>
                <c:pt idx="1606">
                  <c:v>841.59780000000001</c:v>
                </c:pt>
                <c:pt idx="1607">
                  <c:v>281.45370000000003</c:v>
                </c:pt>
                <c:pt idx="1608">
                  <c:v>346.83089999999999</c:v>
                </c:pt>
                <c:pt idx="1609">
                  <c:v>479.19445000000002</c:v>
                </c:pt>
                <c:pt idx="1610">
                  <c:v>585.50385000000006</c:v>
                </c:pt>
                <c:pt idx="1611">
                  <c:v>415.14849999999996</c:v>
                </c:pt>
                <c:pt idx="1612">
                  <c:v>428.93400000000003</c:v>
                </c:pt>
                <c:pt idx="1613">
                  <c:v>423.51659999999998</c:v>
                </c:pt>
                <c:pt idx="1614">
                  <c:v>528.04039999999998</c:v>
                </c:pt>
                <c:pt idx="1615">
                  <c:v>513.16740000000004</c:v>
                </c:pt>
                <c:pt idx="1616">
                  <c:v>469.27260000000001</c:v>
                </c:pt>
                <c:pt idx="1617">
                  <c:v>437.03205000000003</c:v>
                </c:pt>
                <c:pt idx="1618">
                  <c:v>435.99324999999999</c:v>
                </c:pt>
                <c:pt idx="1619">
                  <c:v>497.14049999999997</c:v>
                </c:pt>
                <c:pt idx="1620">
                  <c:v>683.529</c:v>
                </c:pt>
                <c:pt idx="1621">
                  <c:v>595.51345000000003</c:v>
                </c:pt>
                <c:pt idx="1622">
                  <c:v>479.20150000000001</c:v>
                </c:pt>
                <c:pt idx="1623">
                  <c:v>512.36810000000003</c:v>
                </c:pt>
                <c:pt idx="1624">
                  <c:v>769.60125000000005</c:v>
                </c:pt>
                <c:pt idx="1625">
                  <c:v>678.00250000000005</c:v>
                </c:pt>
                <c:pt idx="1626">
                  <c:v>466.51274999999998</c:v>
                </c:pt>
                <c:pt idx="1627">
                  <c:v>622.39440000000002</c:v>
                </c:pt>
                <c:pt idx="1628">
                  <c:v>537.52499999999998</c:v>
                </c:pt>
                <c:pt idx="1629">
                  <c:v>694.1463</c:v>
                </c:pt>
                <c:pt idx="1630">
                  <c:v>641.52674999999999</c:v>
                </c:pt>
                <c:pt idx="1631">
                  <c:v>1287.7357500000001</c:v>
                </c:pt>
                <c:pt idx="1632">
                  <c:v>556.21019999999999</c:v>
                </c:pt>
                <c:pt idx="1633">
                  <c:v>369.46779999999995</c:v>
                </c:pt>
                <c:pt idx="1634">
                  <c:v>529.5403</c:v>
                </c:pt>
                <c:pt idx="1635">
                  <c:v>887.3664</c:v>
                </c:pt>
                <c:pt idx="1636">
                  <c:v>545.71</c:v>
                </c:pt>
                <c:pt idx="1637">
                  <c:v>391.69</c:v>
                </c:pt>
                <c:pt idx="1638">
                  <c:v>526.90170000000001</c:v>
                </c:pt>
                <c:pt idx="1639">
                  <c:v>1049.8707999999999</c:v>
                </c:pt>
                <c:pt idx="1640">
                  <c:v>879.26279999999997</c:v>
                </c:pt>
                <c:pt idx="1641">
                  <c:v>682.87184999999999</c:v>
                </c:pt>
                <c:pt idx="1642">
                  <c:v>697.39559999999994</c:v>
                </c:pt>
                <c:pt idx="1643">
                  <c:v>787.33119999999985</c:v>
                </c:pt>
                <c:pt idx="1644">
                  <c:v>685.90665000000001</c:v>
                </c:pt>
                <c:pt idx="1645">
                  <c:v>540.73979999999995</c:v>
                </c:pt>
                <c:pt idx="1646">
                  <c:v>966.82249999999999</c:v>
                </c:pt>
                <c:pt idx="1647">
                  <c:v>760.93920000000003</c:v>
                </c:pt>
                <c:pt idx="1648">
                  <c:v>798.33780000000013</c:v>
                </c:pt>
                <c:pt idx="1649">
                  <c:v>795.95775000000003</c:v>
                </c:pt>
                <c:pt idx="1650">
                  <c:v>763.94579999999996</c:v>
                </c:pt>
                <c:pt idx="1651">
                  <c:v>353.89574999999996</c:v>
                </c:pt>
                <c:pt idx="1652">
                  <c:v>318.71875</c:v>
                </c:pt>
                <c:pt idx="1653">
                  <c:v>214.63839999999999</c:v>
                </c:pt>
                <c:pt idx="1654">
                  <c:v>653.60130000000004</c:v>
                </c:pt>
                <c:pt idx="1655">
                  <c:v>549.63120000000004</c:v>
                </c:pt>
                <c:pt idx="1656">
                  <c:v>624.95654999999999</c:v>
                </c:pt>
                <c:pt idx="1657">
                  <c:v>576.21400000000006</c:v>
                </c:pt>
                <c:pt idx="1658">
                  <c:v>472.98874999999998</c:v>
                </c:pt>
                <c:pt idx="1659">
                  <c:v>588.10860000000002</c:v>
                </c:pt>
                <c:pt idx="1660">
                  <c:v>600.15065000000004</c:v>
                </c:pt>
                <c:pt idx="1661">
                  <c:v>700.31955000000016</c:v>
                </c:pt>
                <c:pt idx="1662">
                  <c:v>977.02279999999985</c:v>
                </c:pt>
                <c:pt idx="1663">
                  <c:v>744.20124999999996</c:v>
                </c:pt>
                <c:pt idx="1664">
                  <c:v>864.28289999999993</c:v>
                </c:pt>
                <c:pt idx="1665">
                  <c:v>1515.3405499999999</c:v>
                </c:pt>
                <c:pt idx="1666">
                  <c:v>847.31399999999996</c:v>
                </c:pt>
                <c:pt idx="1667">
                  <c:v>1358.4321500000001</c:v>
                </c:pt>
                <c:pt idx="1668">
                  <c:v>2176.4832000000001</c:v>
                </c:pt>
                <c:pt idx="1669">
                  <c:v>1967.5579</c:v>
                </c:pt>
                <c:pt idx="1670">
                  <c:v>1536.7874000000002</c:v>
                </c:pt>
                <c:pt idx="1671">
                  <c:v>474.73559999999998</c:v>
                </c:pt>
                <c:pt idx="1672">
                  <c:v>643.02200000000005</c:v>
                </c:pt>
                <c:pt idx="1673">
                  <c:v>688.98540000000003</c:v>
                </c:pt>
                <c:pt idx="1674">
                  <c:v>937.83884999999998</c:v>
                </c:pt>
                <c:pt idx="1675">
                  <c:v>837.798</c:v>
                </c:pt>
                <c:pt idx="1676">
                  <c:v>711.16849999999999</c:v>
                </c:pt>
                <c:pt idx="1677">
                  <c:v>515.62300000000005</c:v>
                </c:pt>
                <c:pt idx="1678">
                  <c:v>634.17565000000002</c:v>
                </c:pt>
                <c:pt idx="1679">
                  <c:v>497.00909999999999</c:v>
                </c:pt>
                <c:pt idx="1680">
                  <c:v>292.79295000000002</c:v>
                </c:pt>
                <c:pt idx="1681">
                  <c:v>302.66849999999999</c:v>
                </c:pt>
                <c:pt idx="1682">
                  <c:v>329.62299999999999</c:v>
                </c:pt>
                <c:pt idx="1683">
                  <c:v>381.39299999999997</c:v>
                </c:pt>
                <c:pt idx="1684">
                  <c:v>595.36284999999998</c:v>
                </c:pt>
                <c:pt idx="1685">
                  <c:v>384.50850000000003</c:v>
                </c:pt>
                <c:pt idx="1686">
                  <c:v>422.214</c:v>
                </c:pt>
                <c:pt idx="1687">
                  <c:v>388.70420000000001</c:v>
                </c:pt>
                <c:pt idx="1688">
                  <c:v>387.29599999999999</c:v>
                </c:pt>
                <c:pt idx="1689">
                  <c:v>432.24934999999999</c:v>
                </c:pt>
                <c:pt idx="1690">
                  <c:v>723.41499999999996</c:v>
                </c:pt>
                <c:pt idx="1691">
                  <c:v>617.84910000000002</c:v>
                </c:pt>
                <c:pt idx="1692">
                  <c:v>434.72674999999998</c:v>
                </c:pt>
                <c:pt idx="1693">
                  <c:v>479.25360000000001</c:v>
                </c:pt>
                <c:pt idx="1694">
                  <c:v>737.42240000000004</c:v>
                </c:pt>
                <c:pt idx="1695">
                  <c:v>562.91759999999999</c:v>
                </c:pt>
                <c:pt idx="1696">
                  <c:v>436.66070000000002</c:v>
                </c:pt>
                <c:pt idx="1697">
                  <c:v>408.17509999999993</c:v>
                </c:pt>
                <c:pt idx="1698">
                  <c:v>419.90559999999994</c:v>
                </c:pt>
                <c:pt idx="1699">
                  <c:v>728.70399999999995</c:v>
                </c:pt>
                <c:pt idx="1700">
                  <c:v>458.98599999999999</c:v>
                </c:pt>
                <c:pt idx="1701">
                  <c:v>369.16239999999999</c:v>
                </c:pt>
                <c:pt idx="1702">
                  <c:v>482.77390000000003</c:v>
                </c:pt>
                <c:pt idx="1703">
                  <c:v>407.59500000000003</c:v>
                </c:pt>
                <c:pt idx="1704">
                  <c:v>332.71339999999998</c:v>
                </c:pt>
                <c:pt idx="1705">
                  <c:v>269.33670000000001</c:v>
                </c:pt>
                <c:pt idx="1706">
                  <c:v>567.47680000000003</c:v>
                </c:pt>
                <c:pt idx="1707">
                  <c:v>755.98149999999998</c:v>
                </c:pt>
                <c:pt idx="1708">
                  <c:v>739.75440000000003</c:v>
                </c:pt>
                <c:pt idx="1709">
                  <c:v>611.27350000000001</c:v>
                </c:pt>
                <c:pt idx="1710">
                  <c:v>482.88</c:v>
                </c:pt>
                <c:pt idx="1711">
                  <c:v>430.20639999999997</c:v>
                </c:pt>
                <c:pt idx="1712">
                  <c:v>441.56150000000002</c:v>
                </c:pt>
                <c:pt idx="1713">
                  <c:v>942.09465</c:v>
                </c:pt>
                <c:pt idx="1714">
                  <c:v>1248.742</c:v>
                </c:pt>
                <c:pt idx="1715">
                  <c:v>338.1345</c:v>
                </c:pt>
                <c:pt idx="1716">
                  <c:v>431.94860000000006</c:v>
                </c:pt>
                <c:pt idx="1717">
                  <c:v>349.92679999999996</c:v>
                </c:pt>
                <c:pt idx="1718">
                  <c:v>968.60950000000003</c:v>
                </c:pt>
                <c:pt idx="1719">
                  <c:v>476.84519999999998</c:v>
                </c:pt>
                <c:pt idx="1720">
                  <c:v>411.40260000000001</c:v>
                </c:pt>
                <c:pt idx="1721">
                  <c:v>300.85500000000002</c:v>
                </c:pt>
                <c:pt idx="1722">
                  <c:v>276.29039999999998</c:v>
                </c:pt>
                <c:pt idx="1723">
                  <c:v>471.94600000000003</c:v>
                </c:pt>
                <c:pt idx="1724">
                  <c:v>449.33015</c:v>
                </c:pt>
                <c:pt idx="1725">
                  <c:v>344.43090000000001</c:v>
                </c:pt>
                <c:pt idx="1726">
                  <c:v>418.02974999999998</c:v>
                </c:pt>
                <c:pt idx="1727">
                  <c:v>604.75414999999998</c:v>
                </c:pt>
                <c:pt idx="1728">
                  <c:v>509.65449999999998</c:v>
                </c:pt>
                <c:pt idx="1729">
                  <c:v>516.94325000000003</c:v>
                </c:pt>
                <c:pt idx="1730">
                  <c:v>594.41520000000003</c:v>
                </c:pt>
                <c:pt idx="1731">
                  <c:v>499.57985000000002</c:v>
                </c:pt>
                <c:pt idx="1732">
                  <c:v>703.95809999999994</c:v>
                </c:pt>
                <c:pt idx="1733">
                  <c:v>673.71590000000003</c:v>
                </c:pt>
                <c:pt idx="1734">
                  <c:v>1218.95535</c:v>
                </c:pt>
                <c:pt idx="1735">
                  <c:v>920.87099999999998</c:v>
                </c:pt>
                <c:pt idx="1736">
                  <c:v>740.31385</c:v>
                </c:pt>
                <c:pt idx="1737">
                  <c:v>803.27390000000003</c:v>
                </c:pt>
                <c:pt idx="1738">
                  <c:v>345.51990000000001</c:v>
                </c:pt>
                <c:pt idx="1739">
                  <c:v>414.14769999999999</c:v>
                </c:pt>
                <c:pt idx="1740">
                  <c:v>433.31439999999998</c:v>
                </c:pt>
                <c:pt idx="1741">
                  <c:v>899.45180000000005</c:v>
                </c:pt>
                <c:pt idx="1742">
                  <c:v>1395.2898</c:v>
                </c:pt>
                <c:pt idx="1743">
                  <c:v>1347.20625</c:v>
                </c:pt>
                <c:pt idx="1744">
                  <c:v>715.75094999999999</c:v>
                </c:pt>
                <c:pt idx="1745">
                  <c:v>1353.1276499999999</c:v>
                </c:pt>
                <c:pt idx="1746">
                  <c:v>1044.057</c:v>
                </c:pt>
                <c:pt idx="1747">
                  <c:v>1464.3573500000002</c:v>
                </c:pt>
                <c:pt idx="1748">
                  <c:v>1716.2964000000002</c:v>
                </c:pt>
                <c:pt idx="1749">
                  <c:v>1380.04845</c:v>
                </c:pt>
                <c:pt idx="1750">
                  <c:v>1625.9437499999999</c:v>
                </c:pt>
                <c:pt idx="1751">
                  <c:v>1322.9570000000001</c:v>
                </c:pt>
                <c:pt idx="1752">
                  <c:v>1398.3414</c:v>
                </c:pt>
                <c:pt idx="1753">
                  <c:v>1037.3190999999999</c:v>
                </c:pt>
                <c:pt idx="1754">
                  <c:v>1262.1123</c:v>
                </c:pt>
                <c:pt idx="1755">
                  <c:v>1190.3399999999999</c:v>
                </c:pt>
                <c:pt idx="1756">
                  <c:v>1493.1461999999999</c:v>
                </c:pt>
                <c:pt idx="1757">
                  <c:v>498.55605000000003</c:v>
                </c:pt>
                <c:pt idx="1758">
                  <c:v>450.9162</c:v>
                </c:pt>
                <c:pt idx="1759">
                  <c:v>845.88459999999998</c:v>
                </c:pt>
                <c:pt idx="1760">
                  <c:v>444.02820000000003</c:v>
                </c:pt>
                <c:pt idx="1761">
                  <c:v>571.18650000000002</c:v>
                </c:pt>
                <c:pt idx="1762">
                  <c:v>520.78179999999998</c:v>
                </c:pt>
                <c:pt idx="1763">
                  <c:v>558.83249999999998</c:v>
                </c:pt>
                <c:pt idx="1764">
                  <c:v>647.22140000000002</c:v>
                </c:pt>
                <c:pt idx="1765">
                  <c:v>590.49570000000006</c:v>
                </c:pt>
                <c:pt idx="1766">
                  <c:v>808.11040000000003</c:v>
                </c:pt>
                <c:pt idx="1767">
                  <c:v>1193.4386999999999</c:v>
                </c:pt>
                <c:pt idx="1768">
                  <c:v>945.21960000000001</c:v>
                </c:pt>
                <c:pt idx="1769">
                  <c:v>770.01599999999996</c:v>
                </c:pt>
                <c:pt idx="1770">
                  <c:v>599.06375000000003</c:v>
                </c:pt>
                <c:pt idx="1771">
                  <c:v>961.12815000000001</c:v>
                </c:pt>
                <c:pt idx="1772">
                  <c:v>790.64340000000004</c:v>
                </c:pt>
                <c:pt idx="1773">
                  <c:v>958.99650000000008</c:v>
                </c:pt>
                <c:pt idx="1774">
                  <c:v>880.99824999999998</c:v>
                </c:pt>
                <c:pt idx="1775">
                  <c:v>648.58199999999999</c:v>
                </c:pt>
                <c:pt idx="1776">
                  <c:v>904.27949999999998</c:v>
                </c:pt>
                <c:pt idx="1777">
                  <c:v>545.35979999999995</c:v>
                </c:pt>
                <c:pt idx="1778">
                  <c:v>662.20375000000001</c:v>
                </c:pt>
                <c:pt idx="1779">
                  <c:v>689.74950000000001</c:v>
                </c:pt>
                <c:pt idx="1780">
                  <c:v>508.77719999999999</c:v>
                </c:pt>
                <c:pt idx="1781">
                  <c:v>666.32370000000003</c:v>
                </c:pt>
                <c:pt idx="1782">
                  <c:v>538.47429999999997</c:v>
                </c:pt>
                <c:pt idx="1783">
                  <c:v>644.3125</c:v>
                </c:pt>
                <c:pt idx="1784">
                  <c:v>687.04560000000004</c:v>
                </c:pt>
                <c:pt idx="1785">
                  <c:v>646.01239999999996</c:v>
                </c:pt>
                <c:pt idx="1786">
                  <c:v>575.02250000000004</c:v>
                </c:pt>
                <c:pt idx="1787">
                  <c:v>515.58465000000001</c:v>
                </c:pt>
                <c:pt idx="1788">
                  <c:v>645.60915</c:v>
                </c:pt>
                <c:pt idx="1789">
                  <c:v>638.77845000000002</c:v>
                </c:pt>
                <c:pt idx="1790">
                  <c:v>390.65179999999998</c:v>
                </c:pt>
                <c:pt idx="1791">
                  <c:v>877.57425000000001</c:v>
                </c:pt>
                <c:pt idx="1792">
                  <c:v>1037.472</c:v>
                </c:pt>
                <c:pt idx="1793">
                  <c:v>776.01824999999997</c:v>
                </c:pt>
                <c:pt idx="1794">
                  <c:v>882.6585</c:v>
                </c:pt>
                <c:pt idx="1795">
                  <c:v>1474.28125</c:v>
                </c:pt>
                <c:pt idx="1796">
                  <c:v>648.20264999999995</c:v>
                </c:pt>
                <c:pt idx="1797">
                  <c:v>597.04605000000004</c:v>
                </c:pt>
                <c:pt idx="1798">
                  <c:v>800.2322999999999</c:v>
                </c:pt>
                <c:pt idx="1799">
                  <c:v>743.49990000000014</c:v>
                </c:pt>
                <c:pt idx="1800">
                  <c:v>446.06660000000005</c:v>
                </c:pt>
                <c:pt idx="1801">
                  <c:v>472.09469999999999</c:v>
                </c:pt>
                <c:pt idx="1802">
                  <c:v>592.88509999999997</c:v>
                </c:pt>
                <c:pt idx="1803">
                  <c:v>491.22199999999998</c:v>
                </c:pt>
                <c:pt idx="1804">
                  <c:v>627.34635000000003</c:v>
                </c:pt>
                <c:pt idx="1805">
                  <c:v>546.79859999999996</c:v>
                </c:pt>
                <c:pt idx="1806">
                  <c:v>497.3202</c:v>
                </c:pt>
                <c:pt idx="1807">
                  <c:v>395.5772</c:v>
                </c:pt>
                <c:pt idx="1808">
                  <c:v>532.44449999999995</c:v>
                </c:pt>
                <c:pt idx="1809">
                  <c:v>354.98925000000003</c:v>
                </c:pt>
                <c:pt idx="1810">
                  <c:v>506.83544999999998</c:v>
                </c:pt>
                <c:pt idx="1811">
                  <c:v>504.39479999999998</c:v>
                </c:pt>
                <c:pt idx="1812">
                  <c:v>613.13480000000004</c:v>
                </c:pt>
                <c:pt idx="1813">
                  <c:v>734.13765000000001</c:v>
                </c:pt>
                <c:pt idx="1814">
                  <c:v>695.31179999999995</c:v>
                </c:pt>
                <c:pt idx="1815">
                  <c:v>585.06320000000005</c:v>
                </c:pt>
                <c:pt idx="1816">
                  <c:v>586.9828</c:v>
                </c:pt>
                <c:pt idx="1817">
                  <c:v>411.9984</c:v>
                </c:pt>
                <c:pt idx="1818">
                  <c:v>716.87950000000001</c:v>
                </c:pt>
                <c:pt idx="1819">
                  <c:v>1305.1804</c:v>
                </c:pt>
                <c:pt idx="1820">
                  <c:v>281.4042</c:v>
                </c:pt>
                <c:pt idx="1821">
                  <c:v>314.78969999999998</c:v>
                </c:pt>
                <c:pt idx="1822">
                  <c:v>461.60534999999999</c:v>
                </c:pt>
                <c:pt idx="1823">
                  <c:v>486.06984999999997</c:v>
                </c:pt>
                <c:pt idx="1824">
                  <c:v>395.39350000000002</c:v>
                </c:pt>
                <c:pt idx="1825">
                  <c:v>194.2955</c:v>
                </c:pt>
                <c:pt idx="1826">
                  <c:v>404.19349999999997</c:v>
                </c:pt>
                <c:pt idx="1827">
                  <c:v>432.21924999999999</c:v>
                </c:pt>
                <c:pt idx="1828">
                  <c:v>385.77210000000002</c:v>
                </c:pt>
                <c:pt idx="1829">
                  <c:v>380.22680000000003</c:v>
                </c:pt>
                <c:pt idx="1830">
                  <c:v>464.50700000000001</c:v>
                </c:pt>
                <c:pt idx="1831">
                  <c:v>482.64949999999999</c:v>
                </c:pt>
                <c:pt idx="1832">
                  <c:v>540.2124</c:v>
                </c:pt>
                <c:pt idx="1833">
                  <c:v>874.62654999999995</c:v>
                </c:pt>
                <c:pt idx="1834">
                  <c:v>1037.2802999999999</c:v>
                </c:pt>
                <c:pt idx="1835">
                  <c:v>578.41724999999997</c:v>
                </c:pt>
                <c:pt idx="1836">
                  <c:v>500.12124999999997</c:v>
                </c:pt>
                <c:pt idx="1837">
                  <c:v>717.01199999999994</c:v>
                </c:pt>
                <c:pt idx="1838">
                  <c:v>1344.7452499999999</c:v>
                </c:pt>
                <c:pt idx="1839">
                  <c:v>332.9384</c:v>
                </c:pt>
                <c:pt idx="1840">
                  <c:v>333.28250000000003</c:v>
                </c:pt>
                <c:pt idx="1841">
                  <c:v>426.46890000000002</c:v>
                </c:pt>
                <c:pt idx="1842">
                  <c:v>489.0489</c:v>
                </c:pt>
                <c:pt idx="1843">
                  <c:v>459.02940000000001</c:v>
                </c:pt>
                <c:pt idx="1844">
                  <c:v>414.9289</c:v>
                </c:pt>
                <c:pt idx="1845">
                  <c:v>428.87849999999997</c:v>
                </c:pt>
                <c:pt idx="1846">
                  <c:v>626.35500000000002</c:v>
                </c:pt>
                <c:pt idx="1847">
                  <c:v>579.19680000000005</c:v>
                </c:pt>
                <c:pt idx="1848">
                  <c:v>489.50479999999999</c:v>
                </c:pt>
                <c:pt idx="1849">
                  <c:v>341.928</c:v>
                </c:pt>
                <c:pt idx="1850">
                  <c:v>490.38555000000002</c:v>
                </c:pt>
                <c:pt idx="1851">
                  <c:v>505.63529999999997</c:v>
                </c:pt>
                <c:pt idx="1852">
                  <c:v>405.48570000000001</c:v>
                </c:pt>
                <c:pt idx="1853">
                  <c:v>351.11680000000001</c:v>
                </c:pt>
                <c:pt idx="1854">
                  <c:v>378.58049999999997</c:v>
                </c:pt>
                <c:pt idx="1855">
                  <c:v>788.39729999999997</c:v>
                </c:pt>
                <c:pt idx="1856">
                  <c:v>922.97694999999999</c:v>
                </c:pt>
                <c:pt idx="1857">
                  <c:v>1064.6758500000001</c:v>
                </c:pt>
                <c:pt idx="1858">
                  <c:v>360.85789999999997</c:v>
                </c:pt>
                <c:pt idx="1859">
                  <c:v>304.69630000000001</c:v>
                </c:pt>
                <c:pt idx="1860">
                  <c:v>370.77494999999999</c:v>
                </c:pt>
                <c:pt idx="1861">
                  <c:v>616.36559999999997</c:v>
                </c:pt>
                <c:pt idx="1862">
                  <c:v>917.17274999999995</c:v>
                </c:pt>
                <c:pt idx="1863">
                  <c:v>596.37469999999996</c:v>
                </c:pt>
                <c:pt idx="1864">
                  <c:v>436.00725</c:v>
                </c:pt>
                <c:pt idx="1865">
                  <c:v>374.73610000000002</c:v>
                </c:pt>
                <c:pt idx="1866">
                  <c:v>401.28989999999999</c:v>
                </c:pt>
                <c:pt idx="1867">
                  <c:v>462.18880000000001</c:v>
                </c:pt>
                <c:pt idx="1868">
                  <c:v>438.45229999999998</c:v>
                </c:pt>
                <c:pt idx="1869">
                  <c:v>437.39064999999999</c:v>
                </c:pt>
                <c:pt idx="1870">
                  <c:v>522.75879999999995</c:v>
                </c:pt>
                <c:pt idx="1871">
                  <c:v>591.84839999999997</c:v>
                </c:pt>
                <c:pt idx="1872">
                  <c:v>1333.3254999999999</c:v>
                </c:pt>
                <c:pt idx="1873">
                  <c:v>2157.1424000000002</c:v>
                </c:pt>
                <c:pt idx="1874">
                  <c:v>1044.5368000000001</c:v>
                </c:pt>
                <c:pt idx="1875">
                  <c:v>1560.0924</c:v>
                </c:pt>
                <c:pt idx="1876">
                  <c:v>1037.6579999999999</c:v>
                </c:pt>
                <c:pt idx="1877">
                  <c:v>1389.25935</c:v>
                </c:pt>
                <c:pt idx="1878">
                  <c:v>1041.675</c:v>
                </c:pt>
                <c:pt idx="1879">
                  <c:v>1084.8770999999999</c:v>
                </c:pt>
                <c:pt idx="1880">
                  <c:v>887.75969999999995</c:v>
                </c:pt>
                <c:pt idx="1881">
                  <c:v>891.30240000000003</c:v>
                </c:pt>
                <c:pt idx="1882">
                  <c:v>834.01390000000004</c:v>
                </c:pt>
                <c:pt idx="1883">
                  <c:v>508.23149999999998</c:v>
                </c:pt>
                <c:pt idx="1884">
                  <c:v>353.79244999999997</c:v>
                </c:pt>
                <c:pt idx="1885">
                  <c:v>393.108</c:v>
                </c:pt>
                <c:pt idx="1886">
                  <c:v>503.745</c:v>
                </c:pt>
                <c:pt idx="1887">
                  <c:v>373.82884999999999</c:v>
                </c:pt>
                <c:pt idx="1888">
                  <c:v>449.70150000000001</c:v>
                </c:pt>
                <c:pt idx="1889">
                  <c:v>308.75299999999999</c:v>
                </c:pt>
                <c:pt idx="1890">
                  <c:v>361.14645000000002</c:v>
                </c:pt>
                <c:pt idx="1891">
                  <c:v>286.18225000000001</c:v>
                </c:pt>
                <c:pt idx="1892">
                  <c:v>411.73829999999998</c:v>
                </c:pt>
                <c:pt idx="1893">
                  <c:v>341.67765000000003</c:v>
                </c:pt>
                <c:pt idx="1894">
                  <c:v>413.83319999999998</c:v>
                </c:pt>
                <c:pt idx="1895">
                  <c:v>436.31950000000001</c:v>
                </c:pt>
                <c:pt idx="1896">
                  <c:v>589.77674999999999</c:v>
                </c:pt>
                <c:pt idx="1897">
                  <c:v>503.91539999999998</c:v>
                </c:pt>
                <c:pt idx="1898">
                  <c:v>405.327</c:v>
                </c:pt>
                <c:pt idx="1899">
                  <c:v>648.43529999999998</c:v>
                </c:pt>
                <c:pt idx="1900">
                  <c:v>631.85199999999998</c:v>
                </c:pt>
                <c:pt idx="1901">
                  <c:v>672.97400000000005</c:v>
                </c:pt>
                <c:pt idx="1902">
                  <c:v>406.15325000000001</c:v>
                </c:pt>
                <c:pt idx="1903">
                  <c:v>329.64359999999999</c:v>
                </c:pt>
                <c:pt idx="1904">
                  <c:v>418.83920000000001</c:v>
                </c:pt>
                <c:pt idx="1905">
                  <c:v>584.0068</c:v>
                </c:pt>
                <c:pt idx="1906">
                  <c:v>311.762</c:v>
                </c:pt>
                <c:pt idx="1907">
                  <c:v>518.25670000000002</c:v>
                </c:pt>
                <c:pt idx="1908">
                  <c:v>500.31734999999998</c:v>
                </c:pt>
                <c:pt idx="1909">
                  <c:v>654.2373</c:v>
                </c:pt>
                <c:pt idx="1910">
                  <c:v>626.29534999999998</c:v>
                </c:pt>
                <c:pt idx="1911">
                  <c:v>1192.2211</c:v>
                </c:pt>
                <c:pt idx="1912">
                  <c:v>810.88599999999997</c:v>
                </c:pt>
                <c:pt idx="1913">
                  <c:v>963.07759999999996</c:v>
                </c:pt>
                <c:pt idx="1914">
                  <c:v>753.42914999999994</c:v>
                </c:pt>
                <c:pt idx="1915">
                  <c:v>1155.8877</c:v>
                </c:pt>
                <c:pt idx="1916">
                  <c:v>1023.456</c:v>
                </c:pt>
                <c:pt idx="1917">
                  <c:v>973.72239999999999</c:v>
                </c:pt>
                <c:pt idx="1918">
                  <c:v>773.66340000000002</c:v>
                </c:pt>
                <c:pt idx="1919">
                  <c:v>1209.7447999999999</c:v>
                </c:pt>
                <c:pt idx="1920">
                  <c:v>1397.1744000000001</c:v>
                </c:pt>
                <c:pt idx="1921">
                  <c:v>2344.4189999999999</c:v>
                </c:pt>
                <c:pt idx="1922">
                  <c:v>2977.34195</c:v>
                </c:pt>
                <c:pt idx="1923">
                  <c:v>3200.5583999999999</c:v>
                </c:pt>
                <c:pt idx="1924">
                  <c:v>4155.3999999999996</c:v>
                </c:pt>
                <c:pt idx="1925">
                  <c:v>5604.3168999999998</c:v>
                </c:pt>
                <c:pt idx="1926">
                  <c:v>3957.0421500000002</c:v>
                </c:pt>
                <c:pt idx="1927">
                  <c:v>832.04229999999995</c:v>
                </c:pt>
                <c:pt idx="1928">
                  <c:v>741.56020000000001</c:v>
                </c:pt>
                <c:pt idx="1929">
                  <c:v>859.65599999999995</c:v>
                </c:pt>
                <c:pt idx="1930">
                  <c:v>949.71879999999999</c:v>
                </c:pt>
                <c:pt idx="1931">
                  <c:v>883.80510000000004</c:v>
                </c:pt>
                <c:pt idx="1932">
                  <c:v>737.85580000000004</c:v>
                </c:pt>
                <c:pt idx="1933">
                  <c:v>685.62649999999996</c:v>
                </c:pt>
                <c:pt idx="1934">
                  <c:v>720.76289999999995</c:v>
                </c:pt>
                <c:pt idx="1935">
                  <c:v>862.25369999999998</c:v>
                </c:pt>
                <c:pt idx="1936">
                  <c:v>642.95349999999996</c:v>
                </c:pt>
                <c:pt idx="1937">
                  <c:v>518.68785000000003</c:v>
                </c:pt>
                <c:pt idx="1938">
                  <c:v>459.92374999999998</c:v>
                </c:pt>
                <c:pt idx="1939">
                  <c:v>649.88625000000002</c:v>
                </c:pt>
                <c:pt idx="1940">
                  <c:v>593.76959999999997</c:v>
                </c:pt>
                <c:pt idx="1941">
                  <c:v>783.56219999999996</c:v>
                </c:pt>
                <c:pt idx="1942">
                  <c:v>774.92250000000001</c:v>
                </c:pt>
                <c:pt idx="1943">
                  <c:v>750.80394999999999</c:v>
                </c:pt>
                <c:pt idx="1944">
                  <c:v>589.41134999999997</c:v>
                </c:pt>
                <c:pt idx="1945">
                  <c:v>761.88480000000004</c:v>
                </c:pt>
                <c:pt idx="1946">
                  <c:v>998.76094999999998</c:v>
                </c:pt>
                <c:pt idx="1947">
                  <c:v>839.23559999999998</c:v>
                </c:pt>
                <c:pt idx="1948">
                  <c:v>291.85599999999999</c:v>
                </c:pt>
                <c:pt idx="1949">
                  <c:v>314.57600000000002</c:v>
                </c:pt>
                <c:pt idx="1950">
                  <c:v>563.1925</c:v>
                </c:pt>
                <c:pt idx="1951">
                  <c:v>390.73725000000002</c:v>
                </c:pt>
                <c:pt idx="1952">
                  <c:v>493.44119999999998</c:v>
                </c:pt>
                <c:pt idx="1953">
                  <c:v>377.03980000000001</c:v>
                </c:pt>
                <c:pt idx="1954">
                  <c:v>380.43239999999997</c:v>
                </c:pt>
                <c:pt idx="1955">
                  <c:v>383.26850000000002</c:v>
                </c:pt>
                <c:pt idx="1956">
                  <c:v>381.53994999999998</c:v>
                </c:pt>
                <c:pt idx="1957">
                  <c:v>747.36854999999991</c:v>
                </c:pt>
                <c:pt idx="1958">
                  <c:v>809.19090000000006</c:v>
                </c:pt>
                <c:pt idx="1959">
                  <c:v>633.88760000000002</c:v>
                </c:pt>
                <c:pt idx="1960">
                  <c:v>590.15909999999997</c:v>
                </c:pt>
                <c:pt idx="1961">
                  <c:v>497.30930000000001</c:v>
                </c:pt>
                <c:pt idx="1962">
                  <c:v>855.22324999999989</c:v>
                </c:pt>
                <c:pt idx="1963">
                  <c:v>1250.8659500000001</c:v>
                </c:pt>
                <c:pt idx="1964">
                  <c:v>2020.3405</c:v>
                </c:pt>
                <c:pt idx="1965">
                  <c:v>2846.62835</c:v>
                </c:pt>
                <c:pt idx="1966">
                  <c:v>3900.6826499999997</c:v>
                </c:pt>
                <c:pt idx="1967">
                  <c:v>959.41499999999985</c:v>
                </c:pt>
                <c:pt idx="1968">
                  <c:v>1331.1024</c:v>
                </c:pt>
                <c:pt idx="1969">
                  <c:v>1304.05935</c:v>
                </c:pt>
                <c:pt idx="1970">
                  <c:v>851.27680000000009</c:v>
                </c:pt>
                <c:pt idx="1971">
                  <c:v>771.81859999999983</c:v>
                </c:pt>
                <c:pt idx="1972">
                  <c:v>467.11492499999991</c:v>
                </c:pt>
                <c:pt idx="1973">
                  <c:v>492.28365000000008</c:v>
                </c:pt>
                <c:pt idx="1974">
                  <c:v>211.6302</c:v>
                </c:pt>
                <c:pt idx="1975">
                  <c:v>302.58927499999999</c:v>
                </c:pt>
                <c:pt idx="1976">
                  <c:v>302.10367500000001</c:v>
                </c:pt>
                <c:pt idx="1977">
                  <c:v>439.58549999999997</c:v>
                </c:pt>
                <c:pt idx="1978">
                  <c:v>723.24090000000001</c:v>
                </c:pt>
                <c:pt idx="1979">
                  <c:v>989.94555000000014</c:v>
                </c:pt>
                <c:pt idx="1980">
                  <c:v>1241.8751999999999</c:v>
                </c:pt>
                <c:pt idx="1981">
                  <c:v>1766.1460500000001</c:v>
                </c:pt>
                <c:pt idx="1982">
                  <c:v>1134.54775</c:v>
                </c:pt>
                <c:pt idx="1983">
                  <c:v>1049.5781999999999</c:v>
                </c:pt>
                <c:pt idx="1984">
                  <c:v>1300.358925</c:v>
                </c:pt>
                <c:pt idx="1985">
                  <c:v>1128.8843750000001</c:v>
                </c:pt>
                <c:pt idx="1986">
                  <c:v>1741.9936500000003</c:v>
                </c:pt>
                <c:pt idx="1987">
                  <c:v>1800.138375</c:v>
                </c:pt>
                <c:pt idx="1988">
                  <c:v>1625.3529000000001</c:v>
                </c:pt>
                <c:pt idx="1989">
                  <c:v>1497.6421250000001</c:v>
                </c:pt>
                <c:pt idx="1990">
                  <c:v>650.57219999999995</c:v>
                </c:pt>
                <c:pt idx="1991">
                  <c:v>697.98919999999998</c:v>
                </c:pt>
                <c:pt idx="1992">
                  <c:v>620.56375000000003</c:v>
                </c:pt>
                <c:pt idx="1993">
                  <c:v>458.32702499999994</c:v>
                </c:pt>
                <c:pt idx="1994">
                  <c:v>566.203125</c:v>
                </c:pt>
                <c:pt idx="1995">
                  <c:v>752.98642500000005</c:v>
                </c:pt>
                <c:pt idx="1996">
                  <c:v>954.04575</c:v>
                </c:pt>
                <c:pt idx="1997">
                  <c:v>882.40625</c:v>
                </c:pt>
                <c:pt idx="1998">
                  <c:v>1139.913</c:v>
                </c:pt>
                <c:pt idx="1999">
                  <c:v>1015.27975</c:v>
                </c:pt>
                <c:pt idx="2000">
                  <c:v>819.17587500000002</c:v>
                </c:pt>
                <c:pt idx="2001">
                  <c:v>878.64400000000001</c:v>
                </c:pt>
                <c:pt idx="2002">
                  <c:v>784.07787499999995</c:v>
                </c:pt>
                <c:pt idx="2003">
                  <c:v>1366.6818499999999</c:v>
                </c:pt>
                <c:pt idx="2004">
                  <c:v>685.22074999999995</c:v>
                </c:pt>
                <c:pt idx="2005">
                  <c:v>771.93650000000002</c:v>
                </c:pt>
                <c:pt idx="2006">
                  <c:v>880.90257499999996</c:v>
                </c:pt>
                <c:pt idx="2007">
                  <c:v>1379.7054000000001</c:v>
                </c:pt>
                <c:pt idx="2008">
                  <c:v>1373.0838000000001</c:v>
                </c:pt>
                <c:pt idx="2009">
                  <c:v>412.28705000000008</c:v>
                </c:pt>
                <c:pt idx="2010">
                  <c:v>492.52800000000008</c:v>
                </c:pt>
                <c:pt idx="2011">
                  <c:v>451.63949999999994</c:v>
                </c:pt>
                <c:pt idx="2012">
                  <c:v>644.17079999999999</c:v>
                </c:pt>
                <c:pt idx="2013">
                  <c:v>257.29415</c:v>
                </c:pt>
                <c:pt idx="2014">
                  <c:v>543.64117499999998</c:v>
                </c:pt>
                <c:pt idx="2015">
                  <c:v>745.77895000000001</c:v>
                </c:pt>
                <c:pt idx="2016">
                  <c:v>565.87545</c:v>
                </c:pt>
                <c:pt idx="2017">
                  <c:v>547.43412499999999</c:v>
                </c:pt>
                <c:pt idx="2018">
                  <c:v>533.23567500000001</c:v>
                </c:pt>
                <c:pt idx="2019">
                  <c:v>662.31742499999996</c:v>
                </c:pt>
                <c:pt idx="2020">
                  <c:v>698.00692500000002</c:v>
                </c:pt>
                <c:pt idx="2021">
                  <c:v>587.00435000000004</c:v>
                </c:pt>
                <c:pt idx="2022">
                  <c:v>1096.308675</c:v>
                </c:pt>
                <c:pt idx="2023">
                  <c:v>639.87059999999997</c:v>
                </c:pt>
                <c:pt idx="2024">
                  <c:v>1195.9001249999999</c:v>
                </c:pt>
                <c:pt idx="2025">
                  <c:v>956.27902499999993</c:v>
                </c:pt>
                <c:pt idx="2026">
                  <c:v>1030.1659999999999</c:v>
                </c:pt>
                <c:pt idx="2027">
                  <c:v>1137.6365000000001</c:v>
                </c:pt>
                <c:pt idx="2028">
                  <c:v>312.87795</c:v>
                </c:pt>
                <c:pt idx="2029">
                  <c:v>312.41482500000001</c:v>
                </c:pt>
                <c:pt idx="2030">
                  <c:v>736.15185000000008</c:v>
                </c:pt>
                <c:pt idx="2031">
                  <c:v>616.69842500000004</c:v>
                </c:pt>
                <c:pt idx="2032">
                  <c:v>988.145625</c:v>
                </c:pt>
                <c:pt idx="2033">
                  <c:v>422.52412500000003</c:v>
                </c:pt>
                <c:pt idx="2034">
                  <c:v>645.95155</c:v>
                </c:pt>
                <c:pt idx="2035">
                  <c:v>814.477575</c:v>
                </c:pt>
                <c:pt idx="2036">
                  <c:v>922.44375000000002</c:v>
                </c:pt>
                <c:pt idx="2037">
                  <c:v>488.39465000000007</c:v>
                </c:pt>
                <c:pt idx="2038">
                  <c:v>600.56687499999998</c:v>
                </c:pt>
                <c:pt idx="2039">
                  <c:v>634.94432500000005</c:v>
                </c:pt>
                <c:pt idx="2040">
                  <c:v>831.41432499999996</c:v>
                </c:pt>
                <c:pt idx="2041">
                  <c:v>708.94327499999997</c:v>
                </c:pt>
                <c:pt idx="2042">
                  <c:v>587.11350000000004</c:v>
                </c:pt>
                <c:pt idx="2043">
                  <c:v>669.37414999999999</c:v>
                </c:pt>
                <c:pt idx="2044">
                  <c:v>794.93925000000013</c:v>
                </c:pt>
                <c:pt idx="2045">
                  <c:v>808.28092500000002</c:v>
                </c:pt>
                <c:pt idx="2046">
                  <c:v>1014.5176750000001</c:v>
                </c:pt>
                <c:pt idx="2047">
                  <c:v>549.32865000000004</c:v>
                </c:pt>
                <c:pt idx="2048">
                  <c:v>380.52409999999992</c:v>
                </c:pt>
                <c:pt idx="2049">
                  <c:v>518.53229999999996</c:v>
                </c:pt>
                <c:pt idx="2050">
                  <c:v>467.57697500000006</c:v>
                </c:pt>
                <c:pt idx="2051">
                  <c:v>738.46687499999996</c:v>
                </c:pt>
                <c:pt idx="2052">
                  <c:v>500.216925</c:v>
                </c:pt>
                <c:pt idx="2053">
                  <c:v>371.81249999999994</c:v>
                </c:pt>
                <c:pt idx="2054">
                  <c:v>439.14249999999998</c:v>
                </c:pt>
                <c:pt idx="2055">
                  <c:v>437.71167500000001</c:v>
                </c:pt>
                <c:pt idx="2056">
                  <c:v>328.27162499999997</c:v>
                </c:pt>
                <c:pt idx="2057">
                  <c:v>507.57827500000008</c:v>
                </c:pt>
                <c:pt idx="2058">
                  <c:v>653.31359999999995</c:v>
                </c:pt>
                <c:pt idx="2059">
                  <c:v>830.04345000000012</c:v>
                </c:pt>
                <c:pt idx="2060">
                  <c:v>818.46537499999999</c:v>
                </c:pt>
                <c:pt idx="2061">
                  <c:v>626.93887500000005</c:v>
                </c:pt>
                <c:pt idx="2062">
                  <c:v>456.94889999999998</c:v>
                </c:pt>
                <c:pt idx="2063">
                  <c:v>898.26594999999986</c:v>
                </c:pt>
                <c:pt idx="2064">
                  <c:v>1004.46865</c:v>
                </c:pt>
                <c:pt idx="2065">
                  <c:v>800.00952500000017</c:v>
                </c:pt>
                <c:pt idx="2066">
                  <c:v>1068.5862</c:v>
                </c:pt>
                <c:pt idx="2067">
                  <c:v>723.97149999999999</c:v>
                </c:pt>
                <c:pt idx="2068">
                  <c:v>874.74900000000002</c:v>
                </c:pt>
                <c:pt idx="2069">
                  <c:v>846.85964999999999</c:v>
                </c:pt>
                <c:pt idx="2070">
                  <c:v>692.34375</c:v>
                </c:pt>
                <c:pt idx="2071">
                  <c:v>1018.113975</c:v>
                </c:pt>
                <c:pt idx="2072">
                  <c:v>397.08347499999996</c:v>
                </c:pt>
                <c:pt idx="2073">
                  <c:v>376.99950000000001</c:v>
                </c:pt>
                <c:pt idx="2074">
                  <c:v>543.96472500000004</c:v>
                </c:pt>
                <c:pt idx="2075">
                  <c:v>505.95974999999999</c:v>
                </c:pt>
                <c:pt idx="2076">
                  <c:v>495.573375</c:v>
                </c:pt>
                <c:pt idx="2077">
                  <c:v>849.40672500000005</c:v>
                </c:pt>
                <c:pt idx="2078">
                  <c:v>471.92722500000002</c:v>
                </c:pt>
                <c:pt idx="2079">
                  <c:v>503.18427500000001</c:v>
                </c:pt>
                <c:pt idx="2080">
                  <c:v>707.37750000000005</c:v>
                </c:pt>
                <c:pt idx="2081">
                  <c:v>597.08375000000001</c:v>
                </c:pt>
                <c:pt idx="2082">
                  <c:v>768.11029999999982</c:v>
                </c:pt>
                <c:pt idx="2083">
                  <c:v>814.88054999999997</c:v>
                </c:pt>
                <c:pt idx="2084">
                  <c:v>1038.0591999999999</c:v>
                </c:pt>
                <c:pt idx="2085">
                  <c:v>724.21064999999999</c:v>
                </c:pt>
                <c:pt idx="2086">
                  <c:v>531.83444999999995</c:v>
                </c:pt>
                <c:pt idx="2087">
                  <c:v>789.70815000000005</c:v>
                </c:pt>
                <c:pt idx="2088">
                  <c:v>968.70542499999999</c:v>
                </c:pt>
                <c:pt idx="2089">
                  <c:v>900.224875</c:v>
                </c:pt>
                <c:pt idx="2090">
                  <c:v>1270.1133749999999</c:v>
                </c:pt>
                <c:pt idx="2091">
                  <c:v>720.05115000000001</c:v>
                </c:pt>
                <c:pt idx="2092">
                  <c:v>513.22535000000005</c:v>
                </c:pt>
                <c:pt idx="2093">
                  <c:v>680.79062499999998</c:v>
                </c:pt>
                <c:pt idx="2094">
                  <c:v>729.34907499999997</c:v>
                </c:pt>
                <c:pt idx="2095">
                  <c:v>547.72007499999995</c:v>
                </c:pt>
                <c:pt idx="2096">
                  <c:v>677.34117500000002</c:v>
                </c:pt>
                <c:pt idx="2097">
                  <c:v>437.46072500000002</c:v>
                </c:pt>
                <c:pt idx="2098">
                  <c:v>591.1875</c:v>
                </c:pt>
                <c:pt idx="2099">
                  <c:v>549.734375</c:v>
                </c:pt>
                <c:pt idx="2100">
                  <c:v>624.23054999999999</c:v>
                </c:pt>
                <c:pt idx="2101">
                  <c:v>1848.1477749999999</c:v>
                </c:pt>
                <c:pt idx="2102">
                  <c:v>1696.078</c:v>
                </c:pt>
                <c:pt idx="2103">
                  <c:v>1056.211325</c:v>
                </c:pt>
                <c:pt idx="2104">
                  <c:v>1200.63705</c:v>
                </c:pt>
                <c:pt idx="2105">
                  <c:v>1240.7139999999999</c:v>
                </c:pt>
                <c:pt idx="2106">
                  <c:v>1524.6119249999999</c:v>
                </c:pt>
                <c:pt idx="2107">
                  <c:v>1693.8009500000001</c:v>
                </c:pt>
                <c:pt idx="2108">
                  <c:v>1354.068225</c:v>
                </c:pt>
                <c:pt idx="2109">
                  <c:v>1264.9215750000001</c:v>
                </c:pt>
                <c:pt idx="2110">
                  <c:v>1165.8043250000001</c:v>
                </c:pt>
                <c:pt idx="2111">
                  <c:v>1130.1220000000001</c:v>
                </c:pt>
                <c:pt idx="2112">
                  <c:v>1098.6148499999999</c:v>
                </c:pt>
                <c:pt idx="2113">
                  <c:v>1282.9482</c:v>
                </c:pt>
                <c:pt idx="2114">
                  <c:v>835.39502500000003</c:v>
                </c:pt>
                <c:pt idx="2115">
                  <c:v>349.35680000000002</c:v>
                </c:pt>
                <c:pt idx="2116">
                  <c:v>281.78429999999997</c:v>
                </c:pt>
                <c:pt idx="2117">
                  <c:v>490.61455000000001</c:v>
                </c:pt>
                <c:pt idx="2118">
                  <c:v>657.42892500000005</c:v>
                </c:pt>
                <c:pt idx="2119">
                  <c:v>735.71119999999996</c:v>
                </c:pt>
                <c:pt idx="2120">
                  <c:v>721.30380000000002</c:v>
                </c:pt>
                <c:pt idx="2121">
                  <c:v>732.38532499999997</c:v>
                </c:pt>
                <c:pt idx="2122">
                  <c:v>649.56299999999999</c:v>
                </c:pt>
                <c:pt idx="2123">
                  <c:v>513.6327</c:v>
                </c:pt>
                <c:pt idx="2124">
                  <c:v>428.73219999999998</c:v>
                </c:pt>
                <c:pt idx="2125">
                  <c:v>706.53412500000002</c:v>
                </c:pt>
                <c:pt idx="2126">
                  <c:v>622.55025000000001</c:v>
                </c:pt>
                <c:pt idx="2127">
                  <c:v>682.38940000000002</c:v>
                </c:pt>
                <c:pt idx="2128">
                  <c:v>972.20690000000002</c:v>
                </c:pt>
                <c:pt idx="2129">
                  <c:v>829.16872499999999</c:v>
                </c:pt>
                <c:pt idx="2130">
                  <c:v>695.79300000000001</c:v>
                </c:pt>
                <c:pt idx="2131">
                  <c:v>1180.0770749999999</c:v>
                </c:pt>
                <c:pt idx="2132">
                  <c:v>1787.801275</c:v>
                </c:pt>
                <c:pt idx="2133">
                  <c:v>1086.1085250000001</c:v>
                </c:pt>
                <c:pt idx="2134">
                  <c:v>916.92287499999998</c:v>
                </c:pt>
                <c:pt idx="2135">
                  <c:v>340.72930000000002</c:v>
                </c:pt>
                <c:pt idx="2136">
                  <c:v>397.61229999999995</c:v>
                </c:pt>
                <c:pt idx="2137">
                  <c:v>741.10602500000005</c:v>
                </c:pt>
                <c:pt idx="2138">
                  <c:v>1004.971275</c:v>
                </c:pt>
                <c:pt idx="2139">
                  <c:v>2169.5517500000001</c:v>
                </c:pt>
                <c:pt idx="2140">
                  <c:v>4278.1724999999997</c:v>
                </c:pt>
                <c:pt idx="2141">
                  <c:v>2464.8051999999998</c:v>
                </c:pt>
                <c:pt idx="2142">
                  <c:v>2240.1431499999999</c:v>
                </c:pt>
                <c:pt idx="2143">
                  <c:v>1888.1032499999999</c:v>
                </c:pt>
                <c:pt idx="2144">
                  <c:v>1628.1781249999999</c:v>
                </c:pt>
                <c:pt idx="2145">
                  <c:v>1296.456625</c:v>
                </c:pt>
                <c:pt idx="2146">
                  <c:v>2326.7292000000002</c:v>
                </c:pt>
                <c:pt idx="2147">
                  <c:v>2074.3555000000001</c:v>
                </c:pt>
                <c:pt idx="2148">
                  <c:v>1927.6436249999999</c:v>
                </c:pt>
                <c:pt idx="2149">
                  <c:v>1968.3594250000001</c:v>
                </c:pt>
                <c:pt idx="2150">
                  <c:v>1092.9369999999999</c:v>
                </c:pt>
                <c:pt idx="2151">
                  <c:v>1302.4329</c:v>
                </c:pt>
                <c:pt idx="2152">
                  <c:v>1327.0688749999999</c:v>
                </c:pt>
                <c:pt idx="2153">
                  <c:v>917.89407500000004</c:v>
                </c:pt>
                <c:pt idx="2154">
                  <c:v>342.32447500000001</c:v>
                </c:pt>
                <c:pt idx="2155">
                  <c:v>714.49</c:v>
                </c:pt>
                <c:pt idx="2156">
                  <c:v>964.59825000000001</c:v>
                </c:pt>
                <c:pt idx="2157">
                  <c:v>1417.9173249999999</c:v>
                </c:pt>
                <c:pt idx="2158">
                  <c:v>1141.186825</c:v>
                </c:pt>
                <c:pt idx="2159">
                  <c:v>846.983475</c:v>
                </c:pt>
                <c:pt idx="2160">
                  <c:v>1059.6933750000001</c:v>
                </c:pt>
                <c:pt idx="2161">
                  <c:v>678.05730000000005</c:v>
                </c:pt>
                <c:pt idx="2162">
                  <c:v>1059.4699499999999</c:v>
                </c:pt>
                <c:pt idx="2163">
                  <c:v>965.59957499999996</c:v>
                </c:pt>
                <c:pt idx="2164">
                  <c:v>1251.533925</c:v>
                </c:pt>
                <c:pt idx="2165">
                  <c:v>993.36907499999995</c:v>
                </c:pt>
                <c:pt idx="2166">
                  <c:v>829.53262500000005</c:v>
                </c:pt>
                <c:pt idx="2167">
                  <c:v>857.83557499999995</c:v>
                </c:pt>
                <c:pt idx="2168">
                  <c:v>1096.0677000000001</c:v>
                </c:pt>
                <c:pt idx="2169">
                  <c:v>1027.130975</c:v>
                </c:pt>
                <c:pt idx="2170">
                  <c:v>845.49744999999996</c:v>
                </c:pt>
                <c:pt idx="2171">
                  <c:v>820.19145000000003</c:v>
                </c:pt>
                <c:pt idx="2172">
                  <c:v>991.7173499999999</c:v>
                </c:pt>
                <c:pt idx="2173">
                  <c:v>835.10699999999997</c:v>
                </c:pt>
                <c:pt idx="2174">
                  <c:v>1037.318475</c:v>
                </c:pt>
                <c:pt idx="2175">
                  <c:v>1381.1843249999999</c:v>
                </c:pt>
                <c:pt idx="2176">
                  <c:v>1172.091375</c:v>
                </c:pt>
                <c:pt idx="2177">
                  <c:v>1251.0098250000001</c:v>
                </c:pt>
                <c:pt idx="2178">
                  <c:v>1346.84185</c:v>
                </c:pt>
                <c:pt idx="2179">
                  <c:v>387.36829999999992</c:v>
                </c:pt>
                <c:pt idx="2180">
                  <c:v>549.93525</c:v>
                </c:pt>
                <c:pt idx="2181">
                  <c:v>618.36862499999995</c:v>
                </c:pt>
                <c:pt idx="2182">
                  <c:v>701.72027500000002</c:v>
                </c:pt>
                <c:pt idx="2183">
                  <c:v>774.50490000000013</c:v>
                </c:pt>
                <c:pt idx="2184">
                  <c:v>429.78309999999993</c:v>
                </c:pt>
                <c:pt idx="2185">
                  <c:v>561.03854999999999</c:v>
                </c:pt>
                <c:pt idx="2186">
                  <c:v>805.37909999999999</c:v>
                </c:pt>
                <c:pt idx="2187">
                  <c:v>442.55522500000006</c:v>
                </c:pt>
                <c:pt idx="2188">
                  <c:v>524.77425000000005</c:v>
                </c:pt>
                <c:pt idx="2189">
                  <c:v>640.16224999999997</c:v>
                </c:pt>
                <c:pt idx="2190">
                  <c:v>540.77067499999998</c:v>
                </c:pt>
                <c:pt idx="2191">
                  <c:v>832.20057499999996</c:v>
                </c:pt>
                <c:pt idx="2192">
                  <c:v>682.65755000000001</c:v>
                </c:pt>
                <c:pt idx="2193">
                  <c:v>1033.7238750000001</c:v>
                </c:pt>
                <c:pt idx="2194">
                  <c:v>1089.2342249999999</c:v>
                </c:pt>
                <c:pt idx="2195">
                  <c:v>799.33389999999997</c:v>
                </c:pt>
                <c:pt idx="2196">
                  <c:v>685.80862500000001</c:v>
                </c:pt>
                <c:pt idx="2197">
                  <c:v>1661.7126750000002</c:v>
                </c:pt>
                <c:pt idx="2198">
                  <c:v>1918.13625</c:v>
                </c:pt>
                <c:pt idx="2199">
                  <c:v>461.98585000000008</c:v>
                </c:pt>
                <c:pt idx="2200">
                  <c:v>621.921875</c:v>
                </c:pt>
                <c:pt idx="2201">
                  <c:v>592.26400000000001</c:v>
                </c:pt>
                <c:pt idx="2202">
                  <c:v>488.52757500000001</c:v>
                </c:pt>
                <c:pt idx="2203">
                  <c:v>474.96724999999992</c:v>
                </c:pt>
                <c:pt idx="2204">
                  <c:v>462.05964999999998</c:v>
                </c:pt>
                <c:pt idx="2205">
                  <c:v>682.14812500000005</c:v>
                </c:pt>
                <c:pt idx="2206">
                  <c:v>544.430475</c:v>
                </c:pt>
                <c:pt idx="2207">
                  <c:v>341.71794999999997</c:v>
                </c:pt>
                <c:pt idx="2208">
                  <c:v>561.83219999999994</c:v>
                </c:pt>
                <c:pt idx="2209">
                  <c:v>809.55012499999998</c:v>
                </c:pt>
                <c:pt idx="2210">
                  <c:v>1006.6784249999999</c:v>
                </c:pt>
                <c:pt idx="2211">
                  <c:v>1609.4890499999997</c:v>
                </c:pt>
                <c:pt idx="2212">
                  <c:v>1266.1283249999999</c:v>
                </c:pt>
                <c:pt idx="2213">
                  <c:v>863.03614999999991</c:v>
                </c:pt>
                <c:pt idx="2214">
                  <c:v>1202.7797</c:v>
                </c:pt>
                <c:pt idx="2215">
                  <c:v>1674.7517249999999</c:v>
                </c:pt>
                <c:pt idx="2216">
                  <c:v>1263.2827500000001</c:v>
                </c:pt>
                <c:pt idx="2217">
                  <c:v>3501.0717</c:v>
                </c:pt>
                <c:pt idx="2218">
                  <c:v>773.1327</c:v>
                </c:pt>
                <c:pt idx="2219">
                  <c:v>393.09435000000002</c:v>
                </c:pt>
                <c:pt idx="2220">
                  <c:v>739.77277500000002</c:v>
                </c:pt>
                <c:pt idx="2221">
                  <c:v>775.05255</c:v>
                </c:pt>
                <c:pt idx="2222">
                  <c:v>803.53605000000005</c:v>
                </c:pt>
                <c:pt idx="2223">
                  <c:v>483.41699999999992</c:v>
                </c:pt>
                <c:pt idx="2224">
                  <c:v>610.469425</c:v>
                </c:pt>
                <c:pt idx="2225">
                  <c:v>515.95777499999997</c:v>
                </c:pt>
                <c:pt idx="2226">
                  <c:v>184.29675</c:v>
                </c:pt>
                <c:pt idx="2227">
                  <c:v>454.05685</c:v>
                </c:pt>
                <c:pt idx="2228">
                  <c:v>476.94502499999999</c:v>
                </c:pt>
                <c:pt idx="2229">
                  <c:v>461.26419999999996</c:v>
                </c:pt>
                <c:pt idx="2230">
                  <c:v>508.05837500000001</c:v>
                </c:pt>
                <c:pt idx="2231">
                  <c:v>1484.7786249999999</c:v>
                </c:pt>
                <c:pt idx="2232">
                  <c:v>999.83279999999991</c:v>
                </c:pt>
                <c:pt idx="2233">
                  <c:v>1106.1160500000001</c:v>
                </c:pt>
                <c:pt idx="2234">
                  <c:v>2579.226975</c:v>
                </c:pt>
                <c:pt idx="2235">
                  <c:v>2315.0224499999999</c:v>
                </c:pt>
                <c:pt idx="2236">
                  <c:v>2981.78775</c:v>
                </c:pt>
                <c:pt idx="2237">
                  <c:v>1858.7307000000001</c:v>
                </c:pt>
                <c:pt idx="2238">
                  <c:v>2521.6656250000001</c:v>
                </c:pt>
                <c:pt idx="2239">
                  <c:v>2485.5781499999998</c:v>
                </c:pt>
                <c:pt idx="2240">
                  <c:v>3763.1707500000002</c:v>
                </c:pt>
                <c:pt idx="2241">
                  <c:v>1085.877</c:v>
                </c:pt>
                <c:pt idx="2242">
                  <c:v>1503.949425</c:v>
                </c:pt>
                <c:pt idx="2243">
                  <c:v>1016.711325</c:v>
                </c:pt>
                <c:pt idx="2244">
                  <c:v>943.76800000000003</c:v>
                </c:pt>
                <c:pt idx="2245">
                  <c:v>745.099425</c:v>
                </c:pt>
                <c:pt idx="2246">
                  <c:v>876.50954999999999</c:v>
                </c:pt>
                <c:pt idx="2247">
                  <c:v>1025.779125</c:v>
                </c:pt>
                <c:pt idx="2248">
                  <c:v>950.49022500000012</c:v>
                </c:pt>
                <c:pt idx="2249">
                  <c:v>910.70545000000004</c:v>
                </c:pt>
                <c:pt idx="2250">
                  <c:v>902.23230000000012</c:v>
                </c:pt>
                <c:pt idx="2251">
                  <c:v>1142.73315</c:v>
                </c:pt>
                <c:pt idx="2252">
                  <c:v>1744.9285749999999</c:v>
                </c:pt>
                <c:pt idx="2253">
                  <c:v>1328.40735</c:v>
                </c:pt>
                <c:pt idx="2254">
                  <c:v>2022.15345</c:v>
                </c:pt>
                <c:pt idx="2255">
                  <c:v>2141.9744500000002</c:v>
                </c:pt>
                <c:pt idx="2256">
                  <c:v>2267.02135</c:v>
                </c:pt>
                <c:pt idx="2257">
                  <c:v>2374.6133749999999</c:v>
                </c:pt>
                <c:pt idx="2258">
                  <c:v>3982.1086249999998</c:v>
                </c:pt>
                <c:pt idx="2259">
                  <c:v>2275.3953750000001</c:v>
                </c:pt>
                <c:pt idx="2260">
                  <c:v>701.13712499999997</c:v>
                </c:pt>
                <c:pt idx="2261">
                  <c:v>969.21922500000005</c:v>
                </c:pt>
                <c:pt idx="2262">
                  <c:v>1009.526175</c:v>
                </c:pt>
                <c:pt idx="2263">
                  <c:v>868.29925000000003</c:v>
                </c:pt>
                <c:pt idx="2264">
                  <c:v>823.73950000000002</c:v>
                </c:pt>
                <c:pt idx="2265">
                  <c:v>988.23932499999989</c:v>
                </c:pt>
                <c:pt idx="2266">
                  <c:v>983.23500000000001</c:v>
                </c:pt>
                <c:pt idx="2267">
                  <c:v>662.82522500000005</c:v>
                </c:pt>
                <c:pt idx="2268">
                  <c:v>793.66612499999997</c:v>
                </c:pt>
                <c:pt idx="2269">
                  <c:v>696.78285000000005</c:v>
                </c:pt>
                <c:pt idx="2270">
                  <c:v>995.96564999999998</c:v>
                </c:pt>
                <c:pt idx="2271">
                  <c:v>884.94292499999983</c:v>
                </c:pt>
                <c:pt idx="2272">
                  <c:v>1051.9874749999999</c:v>
                </c:pt>
                <c:pt idx="2273">
                  <c:v>1138.6815750000001</c:v>
                </c:pt>
                <c:pt idx="2274">
                  <c:v>749.82114999999999</c:v>
                </c:pt>
                <c:pt idx="2275">
                  <c:v>1229.0667249999999</c:v>
                </c:pt>
                <c:pt idx="2276">
                  <c:v>838.68925000000002</c:v>
                </c:pt>
                <c:pt idx="2277">
                  <c:v>1613.925</c:v>
                </c:pt>
                <c:pt idx="2278">
                  <c:v>1431.4685999999999</c:v>
                </c:pt>
                <c:pt idx="2279">
                  <c:v>307.75734999999997</c:v>
                </c:pt>
                <c:pt idx="2280">
                  <c:v>455.83352499999995</c:v>
                </c:pt>
                <c:pt idx="2281">
                  <c:v>867.266075</c:v>
                </c:pt>
                <c:pt idx="2282">
                  <c:v>765.51862500000004</c:v>
                </c:pt>
                <c:pt idx="2283">
                  <c:v>568.43949999999995</c:v>
                </c:pt>
                <c:pt idx="2284">
                  <c:v>541.29075</c:v>
                </c:pt>
                <c:pt idx="2285">
                  <c:v>727.24575000000004</c:v>
                </c:pt>
                <c:pt idx="2286">
                  <c:v>747.42954999999995</c:v>
                </c:pt>
                <c:pt idx="2287">
                  <c:v>760.08152500000006</c:v>
                </c:pt>
                <c:pt idx="2288">
                  <c:v>697.56635000000006</c:v>
                </c:pt>
                <c:pt idx="2289">
                  <c:v>1032.5131249999999</c:v>
                </c:pt>
                <c:pt idx="2290">
                  <c:v>1323.6963000000001</c:v>
                </c:pt>
                <c:pt idx="2291">
                  <c:v>937.98487499999999</c:v>
                </c:pt>
                <c:pt idx="2292">
                  <c:v>1155.7572749999999</c:v>
                </c:pt>
                <c:pt idx="2293">
                  <c:v>828.81562499999995</c:v>
                </c:pt>
                <c:pt idx="2294">
                  <c:v>1315.6739749999999</c:v>
                </c:pt>
                <c:pt idx="2295">
                  <c:v>1098.733375</c:v>
                </c:pt>
                <c:pt idx="2296">
                  <c:v>1486.3496250000001</c:v>
                </c:pt>
                <c:pt idx="2297">
                  <c:v>1186.4521500000001</c:v>
                </c:pt>
                <c:pt idx="2298">
                  <c:v>1151.1076250000001</c:v>
                </c:pt>
                <c:pt idx="2299">
                  <c:v>1403.7941249999999</c:v>
                </c:pt>
                <c:pt idx="2300">
                  <c:v>1278.8379749999999</c:v>
                </c:pt>
                <c:pt idx="2301">
                  <c:v>1257.6891000000001</c:v>
                </c:pt>
                <c:pt idx="2302">
                  <c:v>1479.326775</c:v>
                </c:pt>
                <c:pt idx="2303">
                  <c:v>830.33449999999993</c:v>
                </c:pt>
                <c:pt idx="2304">
                  <c:v>621.04647499999999</c:v>
                </c:pt>
                <c:pt idx="2305">
                  <c:v>684.3048</c:v>
                </c:pt>
                <c:pt idx="2306">
                  <c:v>825.44452500000011</c:v>
                </c:pt>
                <c:pt idx="2307">
                  <c:v>721.09012499999994</c:v>
                </c:pt>
                <c:pt idx="2308">
                  <c:v>691.7405</c:v>
                </c:pt>
                <c:pt idx="2309">
                  <c:v>711.69910000000004</c:v>
                </c:pt>
                <c:pt idx="2310">
                  <c:v>773.89612499999998</c:v>
                </c:pt>
                <c:pt idx="2311">
                  <c:v>1073.711575</c:v>
                </c:pt>
                <c:pt idx="2312">
                  <c:v>1589.137275</c:v>
                </c:pt>
                <c:pt idx="2313">
                  <c:v>1073.7426499999999</c:v>
                </c:pt>
                <c:pt idx="2314">
                  <c:v>1167.5021750000001</c:v>
                </c:pt>
                <c:pt idx="2315">
                  <c:v>1046.588025</c:v>
                </c:pt>
                <c:pt idx="2316">
                  <c:v>883.05804999999998</c:v>
                </c:pt>
                <c:pt idx="2317">
                  <c:v>1112.5840499999999</c:v>
                </c:pt>
                <c:pt idx="2318">
                  <c:v>1235.884125</c:v>
                </c:pt>
                <c:pt idx="2319">
                  <c:v>1560.46425</c:v>
                </c:pt>
                <c:pt idx="2320">
                  <c:v>1547.2700250000003</c:v>
                </c:pt>
                <c:pt idx="2321">
                  <c:v>1479.0665250000002</c:v>
                </c:pt>
                <c:pt idx="2322">
                  <c:v>1621.9782</c:v>
                </c:pt>
                <c:pt idx="2323">
                  <c:v>647.29324999999994</c:v>
                </c:pt>
                <c:pt idx="2324">
                  <c:v>820.84870000000001</c:v>
                </c:pt>
                <c:pt idx="2325">
                  <c:v>1280.8068000000001</c:v>
                </c:pt>
              </c:numCache>
            </c:numRef>
          </c:val>
          <c:smooth val="0"/>
          <c:extLst xmlns:c16r2="http://schemas.microsoft.com/office/drawing/2015/06/chart">
            <c:ext xmlns:c16="http://schemas.microsoft.com/office/drawing/2014/chart" uri="{C3380CC4-5D6E-409C-BE32-E72D297353CC}">
              <c16:uniqueId val="{00000001-D32F-411E-8D19-FB25DBF8795E}"/>
            </c:ext>
          </c:extLst>
        </c:ser>
        <c:ser>
          <c:idx val="2"/>
          <c:order val="2"/>
          <c:tx>
            <c:strRef>
              <c:f>'Vix futures volumes'!$AL$4</c:f>
              <c:strCache>
                <c:ptCount val="1"/>
                <c:pt idx="0">
                  <c:v>3rd Nearby future</c:v>
                </c:pt>
              </c:strCache>
            </c:strRef>
          </c:tx>
          <c:marker>
            <c:symbol val="none"/>
          </c:marker>
          <c:cat>
            <c:numRef>
              <c:f>'Vix futures volumes'!$AI$5:$AI$2330</c:f>
              <c:numCache>
                <c:formatCode>m/d/yyyy</c:formatCode>
                <c:ptCount val="2326"/>
                <c:pt idx="0">
                  <c:v>39085</c:v>
                </c:pt>
                <c:pt idx="1">
                  <c:v>39086</c:v>
                </c:pt>
                <c:pt idx="2">
                  <c:v>39087</c:v>
                </c:pt>
                <c:pt idx="3">
                  <c:v>39090</c:v>
                </c:pt>
                <c:pt idx="4">
                  <c:v>39091</c:v>
                </c:pt>
                <c:pt idx="5">
                  <c:v>39092</c:v>
                </c:pt>
                <c:pt idx="6">
                  <c:v>39093</c:v>
                </c:pt>
                <c:pt idx="7">
                  <c:v>39094</c:v>
                </c:pt>
                <c:pt idx="8">
                  <c:v>39098</c:v>
                </c:pt>
                <c:pt idx="9">
                  <c:v>39099</c:v>
                </c:pt>
                <c:pt idx="10">
                  <c:v>39100</c:v>
                </c:pt>
                <c:pt idx="11">
                  <c:v>39101</c:v>
                </c:pt>
                <c:pt idx="12">
                  <c:v>39105</c:v>
                </c:pt>
                <c:pt idx="13">
                  <c:v>39106</c:v>
                </c:pt>
                <c:pt idx="14">
                  <c:v>39107</c:v>
                </c:pt>
                <c:pt idx="15">
                  <c:v>39114</c:v>
                </c:pt>
                <c:pt idx="16">
                  <c:v>39119</c:v>
                </c:pt>
                <c:pt idx="17">
                  <c:v>39121</c:v>
                </c:pt>
                <c:pt idx="18">
                  <c:v>39122</c:v>
                </c:pt>
                <c:pt idx="19">
                  <c:v>39125</c:v>
                </c:pt>
                <c:pt idx="20">
                  <c:v>39127</c:v>
                </c:pt>
                <c:pt idx="21">
                  <c:v>39128</c:v>
                </c:pt>
                <c:pt idx="22">
                  <c:v>39133</c:v>
                </c:pt>
                <c:pt idx="23">
                  <c:v>39134</c:v>
                </c:pt>
                <c:pt idx="24">
                  <c:v>39135</c:v>
                </c:pt>
                <c:pt idx="25">
                  <c:v>39136</c:v>
                </c:pt>
                <c:pt idx="26">
                  <c:v>39140</c:v>
                </c:pt>
                <c:pt idx="27">
                  <c:v>39141</c:v>
                </c:pt>
                <c:pt idx="28">
                  <c:v>39142</c:v>
                </c:pt>
                <c:pt idx="29">
                  <c:v>39143</c:v>
                </c:pt>
                <c:pt idx="30">
                  <c:v>39146</c:v>
                </c:pt>
                <c:pt idx="31">
                  <c:v>39147</c:v>
                </c:pt>
                <c:pt idx="32">
                  <c:v>39154</c:v>
                </c:pt>
                <c:pt idx="33">
                  <c:v>39155</c:v>
                </c:pt>
                <c:pt idx="34">
                  <c:v>39157</c:v>
                </c:pt>
                <c:pt idx="35">
                  <c:v>39160</c:v>
                </c:pt>
                <c:pt idx="36">
                  <c:v>39162</c:v>
                </c:pt>
                <c:pt idx="37">
                  <c:v>39163</c:v>
                </c:pt>
                <c:pt idx="38">
                  <c:v>39164</c:v>
                </c:pt>
                <c:pt idx="39">
                  <c:v>39167</c:v>
                </c:pt>
                <c:pt idx="40">
                  <c:v>39168</c:v>
                </c:pt>
                <c:pt idx="41">
                  <c:v>39169</c:v>
                </c:pt>
                <c:pt idx="42">
                  <c:v>39170</c:v>
                </c:pt>
                <c:pt idx="43">
                  <c:v>39171</c:v>
                </c:pt>
                <c:pt idx="44">
                  <c:v>39174</c:v>
                </c:pt>
                <c:pt idx="45">
                  <c:v>39175</c:v>
                </c:pt>
                <c:pt idx="46">
                  <c:v>39176</c:v>
                </c:pt>
                <c:pt idx="47">
                  <c:v>39177</c:v>
                </c:pt>
                <c:pt idx="48">
                  <c:v>39181</c:v>
                </c:pt>
                <c:pt idx="49">
                  <c:v>39182</c:v>
                </c:pt>
                <c:pt idx="50">
                  <c:v>39183</c:v>
                </c:pt>
                <c:pt idx="51">
                  <c:v>39184</c:v>
                </c:pt>
                <c:pt idx="52">
                  <c:v>39189</c:v>
                </c:pt>
                <c:pt idx="53">
                  <c:v>39192</c:v>
                </c:pt>
                <c:pt idx="54">
                  <c:v>39195</c:v>
                </c:pt>
                <c:pt idx="55">
                  <c:v>39196</c:v>
                </c:pt>
                <c:pt idx="56">
                  <c:v>39198</c:v>
                </c:pt>
                <c:pt idx="57">
                  <c:v>39199</c:v>
                </c:pt>
                <c:pt idx="58">
                  <c:v>39202</c:v>
                </c:pt>
                <c:pt idx="59">
                  <c:v>39203</c:v>
                </c:pt>
                <c:pt idx="60">
                  <c:v>39205</c:v>
                </c:pt>
                <c:pt idx="61">
                  <c:v>39206</c:v>
                </c:pt>
                <c:pt idx="62">
                  <c:v>39209</c:v>
                </c:pt>
                <c:pt idx="63">
                  <c:v>39210</c:v>
                </c:pt>
                <c:pt idx="64">
                  <c:v>39211</c:v>
                </c:pt>
                <c:pt idx="65">
                  <c:v>39212</c:v>
                </c:pt>
                <c:pt idx="66">
                  <c:v>39213</c:v>
                </c:pt>
                <c:pt idx="67">
                  <c:v>39216</c:v>
                </c:pt>
                <c:pt idx="68">
                  <c:v>39217</c:v>
                </c:pt>
                <c:pt idx="69">
                  <c:v>39218</c:v>
                </c:pt>
                <c:pt idx="70">
                  <c:v>39219</c:v>
                </c:pt>
                <c:pt idx="71">
                  <c:v>39223</c:v>
                </c:pt>
                <c:pt idx="72">
                  <c:v>39224</c:v>
                </c:pt>
                <c:pt idx="73">
                  <c:v>39225</c:v>
                </c:pt>
                <c:pt idx="74">
                  <c:v>39226</c:v>
                </c:pt>
                <c:pt idx="75">
                  <c:v>39227</c:v>
                </c:pt>
                <c:pt idx="76">
                  <c:v>39231</c:v>
                </c:pt>
                <c:pt idx="77">
                  <c:v>39232</c:v>
                </c:pt>
                <c:pt idx="78">
                  <c:v>39233</c:v>
                </c:pt>
                <c:pt idx="79">
                  <c:v>39234</c:v>
                </c:pt>
                <c:pt idx="80">
                  <c:v>39237</c:v>
                </c:pt>
                <c:pt idx="81">
                  <c:v>39238</c:v>
                </c:pt>
                <c:pt idx="82">
                  <c:v>39239</c:v>
                </c:pt>
                <c:pt idx="83">
                  <c:v>39240</c:v>
                </c:pt>
                <c:pt idx="84">
                  <c:v>39241</c:v>
                </c:pt>
                <c:pt idx="85">
                  <c:v>39244</c:v>
                </c:pt>
                <c:pt idx="86">
                  <c:v>39245</c:v>
                </c:pt>
                <c:pt idx="87">
                  <c:v>39246</c:v>
                </c:pt>
                <c:pt idx="88">
                  <c:v>39247</c:v>
                </c:pt>
                <c:pt idx="89">
                  <c:v>39248</c:v>
                </c:pt>
                <c:pt idx="90">
                  <c:v>39251</c:v>
                </c:pt>
                <c:pt idx="91">
                  <c:v>39252</c:v>
                </c:pt>
                <c:pt idx="92">
                  <c:v>39253</c:v>
                </c:pt>
                <c:pt idx="93">
                  <c:v>39254</c:v>
                </c:pt>
                <c:pt idx="94">
                  <c:v>39255</c:v>
                </c:pt>
                <c:pt idx="95">
                  <c:v>39258</c:v>
                </c:pt>
                <c:pt idx="96">
                  <c:v>39259</c:v>
                </c:pt>
                <c:pt idx="97">
                  <c:v>39260</c:v>
                </c:pt>
                <c:pt idx="98">
                  <c:v>39261</c:v>
                </c:pt>
                <c:pt idx="99">
                  <c:v>39262</c:v>
                </c:pt>
                <c:pt idx="100">
                  <c:v>39265</c:v>
                </c:pt>
                <c:pt idx="101">
                  <c:v>39266</c:v>
                </c:pt>
                <c:pt idx="102">
                  <c:v>39268</c:v>
                </c:pt>
                <c:pt idx="103">
                  <c:v>39269</c:v>
                </c:pt>
                <c:pt idx="104">
                  <c:v>39272</c:v>
                </c:pt>
                <c:pt idx="105">
                  <c:v>39273</c:v>
                </c:pt>
                <c:pt idx="106">
                  <c:v>39274</c:v>
                </c:pt>
                <c:pt idx="107">
                  <c:v>39275</c:v>
                </c:pt>
                <c:pt idx="108">
                  <c:v>39276</c:v>
                </c:pt>
                <c:pt idx="109">
                  <c:v>39279</c:v>
                </c:pt>
                <c:pt idx="110">
                  <c:v>39280</c:v>
                </c:pt>
                <c:pt idx="111">
                  <c:v>39281</c:v>
                </c:pt>
                <c:pt idx="112">
                  <c:v>39282</c:v>
                </c:pt>
                <c:pt idx="113">
                  <c:v>39283</c:v>
                </c:pt>
                <c:pt idx="114">
                  <c:v>39286</c:v>
                </c:pt>
                <c:pt idx="115">
                  <c:v>39287</c:v>
                </c:pt>
                <c:pt idx="116">
                  <c:v>39288</c:v>
                </c:pt>
                <c:pt idx="117">
                  <c:v>39289</c:v>
                </c:pt>
                <c:pt idx="118">
                  <c:v>39290</c:v>
                </c:pt>
                <c:pt idx="119">
                  <c:v>39293</c:v>
                </c:pt>
                <c:pt idx="120">
                  <c:v>39294</c:v>
                </c:pt>
                <c:pt idx="121">
                  <c:v>39295</c:v>
                </c:pt>
                <c:pt idx="122">
                  <c:v>39296</c:v>
                </c:pt>
                <c:pt idx="123">
                  <c:v>39297</c:v>
                </c:pt>
                <c:pt idx="124">
                  <c:v>39300</c:v>
                </c:pt>
                <c:pt idx="125">
                  <c:v>39301</c:v>
                </c:pt>
                <c:pt idx="126">
                  <c:v>39302</c:v>
                </c:pt>
                <c:pt idx="127">
                  <c:v>39303</c:v>
                </c:pt>
                <c:pt idx="128">
                  <c:v>39304</c:v>
                </c:pt>
                <c:pt idx="129">
                  <c:v>39307</c:v>
                </c:pt>
                <c:pt idx="130">
                  <c:v>39308</c:v>
                </c:pt>
                <c:pt idx="131">
                  <c:v>39309</c:v>
                </c:pt>
                <c:pt idx="132">
                  <c:v>39310</c:v>
                </c:pt>
                <c:pt idx="133">
                  <c:v>39311</c:v>
                </c:pt>
                <c:pt idx="134">
                  <c:v>39314</c:v>
                </c:pt>
                <c:pt idx="135">
                  <c:v>39315</c:v>
                </c:pt>
                <c:pt idx="136">
                  <c:v>39316</c:v>
                </c:pt>
                <c:pt idx="137">
                  <c:v>39317</c:v>
                </c:pt>
                <c:pt idx="138">
                  <c:v>39318</c:v>
                </c:pt>
                <c:pt idx="139">
                  <c:v>39322</c:v>
                </c:pt>
                <c:pt idx="140">
                  <c:v>39323</c:v>
                </c:pt>
                <c:pt idx="141">
                  <c:v>39329</c:v>
                </c:pt>
                <c:pt idx="142">
                  <c:v>39330</c:v>
                </c:pt>
                <c:pt idx="143">
                  <c:v>39331</c:v>
                </c:pt>
                <c:pt idx="144">
                  <c:v>39332</c:v>
                </c:pt>
                <c:pt idx="145">
                  <c:v>39335</c:v>
                </c:pt>
                <c:pt idx="146">
                  <c:v>39338</c:v>
                </c:pt>
                <c:pt idx="147">
                  <c:v>39339</c:v>
                </c:pt>
                <c:pt idx="148">
                  <c:v>39342</c:v>
                </c:pt>
                <c:pt idx="149">
                  <c:v>39343</c:v>
                </c:pt>
                <c:pt idx="150">
                  <c:v>39344</c:v>
                </c:pt>
                <c:pt idx="151">
                  <c:v>39345</c:v>
                </c:pt>
                <c:pt idx="152">
                  <c:v>39346</c:v>
                </c:pt>
                <c:pt idx="153">
                  <c:v>39349</c:v>
                </c:pt>
                <c:pt idx="154">
                  <c:v>39350</c:v>
                </c:pt>
                <c:pt idx="155">
                  <c:v>39351</c:v>
                </c:pt>
                <c:pt idx="156">
                  <c:v>39352</c:v>
                </c:pt>
                <c:pt idx="157">
                  <c:v>39353</c:v>
                </c:pt>
                <c:pt idx="158">
                  <c:v>39356</c:v>
                </c:pt>
                <c:pt idx="159">
                  <c:v>39357</c:v>
                </c:pt>
                <c:pt idx="160">
                  <c:v>39358</c:v>
                </c:pt>
                <c:pt idx="161">
                  <c:v>39359</c:v>
                </c:pt>
                <c:pt idx="162">
                  <c:v>39360</c:v>
                </c:pt>
                <c:pt idx="163">
                  <c:v>39363</c:v>
                </c:pt>
                <c:pt idx="164">
                  <c:v>39364</c:v>
                </c:pt>
                <c:pt idx="165">
                  <c:v>39365</c:v>
                </c:pt>
                <c:pt idx="166">
                  <c:v>39366</c:v>
                </c:pt>
                <c:pt idx="167">
                  <c:v>39367</c:v>
                </c:pt>
                <c:pt idx="168">
                  <c:v>39370</c:v>
                </c:pt>
                <c:pt idx="169">
                  <c:v>39371</c:v>
                </c:pt>
                <c:pt idx="170">
                  <c:v>39372</c:v>
                </c:pt>
                <c:pt idx="171">
                  <c:v>39374</c:v>
                </c:pt>
                <c:pt idx="172">
                  <c:v>39377</c:v>
                </c:pt>
                <c:pt idx="173">
                  <c:v>39379</c:v>
                </c:pt>
                <c:pt idx="174">
                  <c:v>39380</c:v>
                </c:pt>
                <c:pt idx="175">
                  <c:v>39381</c:v>
                </c:pt>
                <c:pt idx="176">
                  <c:v>39384</c:v>
                </c:pt>
                <c:pt idx="177">
                  <c:v>39385</c:v>
                </c:pt>
                <c:pt idx="178">
                  <c:v>39386</c:v>
                </c:pt>
                <c:pt idx="179">
                  <c:v>39387</c:v>
                </c:pt>
                <c:pt idx="180">
                  <c:v>39388</c:v>
                </c:pt>
                <c:pt idx="181">
                  <c:v>39391</c:v>
                </c:pt>
                <c:pt idx="182">
                  <c:v>39392</c:v>
                </c:pt>
                <c:pt idx="183">
                  <c:v>39393</c:v>
                </c:pt>
                <c:pt idx="184">
                  <c:v>39394</c:v>
                </c:pt>
                <c:pt idx="185">
                  <c:v>39395</c:v>
                </c:pt>
                <c:pt idx="186">
                  <c:v>39398</c:v>
                </c:pt>
                <c:pt idx="187">
                  <c:v>39399</c:v>
                </c:pt>
                <c:pt idx="188">
                  <c:v>39400</c:v>
                </c:pt>
                <c:pt idx="189">
                  <c:v>39401</c:v>
                </c:pt>
                <c:pt idx="190">
                  <c:v>39402</c:v>
                </c:pt>
                <c:pt idx="191">
                  <c:v>39405</c:v>
                </c:pt>
                <c:pt idx="192">
                  <c:v>39406</c:v>
                </c:pt>
                <c:pt idx="193">
                  <c:v>39407</c:v>
                </c:pt>
                <c:pt idx="194">
                  <c:v>39409</c:v>
                </c:pt>
                <c:pt idx="195">
                  <c:v>39412</c:v>
                </c:pt>
                <c:pt idx="196">
                  <c:v>39413</c:v>
                </c:pt>
                <c:pt idx="197">
                  <c:v>39414</c:v>
                </c:pt>
                <c:pt idx="198">
                  <c:v>39415</c:v>
                </c:pt>
                <c:pt idx="199">
                  <c:v>39416</c:v>
                </c:pt>
                <c:pt idx="200">
                  <c:v>39420</c:v>
                </c:pt>
                <c:pt idx="201">
                  <c:v>39421</c:v>
                </c:pt>
                <c:pt idx="202">
                  <c:v>39422</c:v>
                </c:pt>
                <c:pt idx="203">
                  <c:v>39423</c:v>
                </c:pt>
                <c:pt idx="204">
                  <c:v>39426</c:v>
                </c:pt>
                <c:pt idx="205">
                  <c:v>39427</c:v>
                </c:pt>
                <c:pt idx="206">
                  <c:v>39428</c:v>
                </c:pt>
                <c:pt idx="207">
                  <c:v>39429</c:v>
                </c:pt>
                <c:pt idx="208">
                  <c:v>39430</c:v>
                </c:pt>
                <c:pt idx="209">
                  <c:v>39433</c:v>
                </c:pt>
                <c:pt idx="210">
                  <c:v>39434</c:v>
                </c:pt>
                <c:pt idx="211">
                  <c:v>39435</c:v>
                </c:pt>
                <c:pt idx="212">
                  <c:v>39436</c:v>
                </c:pt>
                <c:pt idx="213">
                  <c:v>39437</c:v>
                </c:pt>
                <c:pt idx="214">
                  <c:v>39440</c:v>
                </c:pt>
                <c:pt idx="215">
                  <c:v>39442</c:v>
                </c:pt>
                <c:pt idx="216">
                  <c:v>39443</c:v>
                </c:pt>
                <c:pt idx="217">
                  <c:v>39444</c:v>
                </c:pt>
                <c:pt idx="218">
                  <c:v>39447</c:v>
                </c:pt>
                <c:pt idx="219">
                  <c:v>39449</c:v>
                </c:pt>
                <c:pt idx="220">
                  <c:v>39450</c:v>
                </c:pt>
                <c:pt idx="221">
                  <c:v>39451</c:v>
                </c:pt>
                <c:pt idx="222">
                  <c:v>39454</c:v>
                </c:pt>
                <c:pt idx="223">
                  <c:v>39455</c:v>
                </c:pt>
                <c:pt idx="224">
                  <c:v>39456</c:v>
                </c:pt>
                <c:pt idx="225">
                  <c:v>39457</c:v>
                </c:pt>
                <c:pt idx="226">
                  <c:v>39458</c:v>
                </c:pt>
                <c:pt idx="227">
                  <c:v>39461</c:v>
                </c:pt>
                <c:pt idx="228">
                  <c:v>39462</c:v>
                </c:pt>
                <c:pt idx="229">
                  <c:v>39463</c:v>
                </c:pt>
                <c:pt idx="230">
                  <c:v>39464</c:v>
                </c:pt>
                <c:pt idx="231">
                  <c:v>39465</c:v>
                </c:pt>
                <c:pt idx="232">
                  <c:v>39469</c:v>
                </c:pt>
                <c:pt idx="233">
                  <c:v>39470</c:v>
                </c:pt>
                <c:pt idx="234">
                  <c:v>39471</c:v>
                </c:pt>
                <c:pt idx="235">
                  <c:v>39472</c:v>
                </c:pt>
                <c:pt idx="236">
                  <c:v>39475</c:v>
                </c:pt>
                <c:pt idx="237">
                  <c:v>39476</c:v>
                </c:pt>
                <c:pt idx="238">
                  <c:v>39477</c:v>
                </c:pt>
                <c:pt idx="239">
                  <c:v>39478</c:v>
                </c:pt>
                <c:pt idx="240">
                  <c:v>39479</c:v>
                </c:pt>
                <c:pt idx="241">
                  <c:v>39482</c:v>
                </c:pt>
                <c:pt idx="242">
                  <c:v>39483</c:v>
                </c:pt>
                <c:pt idx="243">
                  <c:v>39484</c:v>
                </c:pt>
                <c:pt idx="244">
                  <c:v>39485</c:v>
                </c:pt>
                <c:pt idx="245">
                  <c:v>39486</c:v>
                </c:pt>
                <c:pt idx="246">
                  <c:v>39489</c:v>
                </c:pt>
                <c:pt idx="247">
                  <c:v>39490</c:v>
                </c:pt>
                <c:pt idx="248">
                  <c:v>39491</c:v>
                </c:pt>
                <c:pt idx="249">
                  <c:v>39492</c:v>
                </c:pt>
                <c:pt idx="250">
                  <c:v>39493</c:v>
                </c:pt>
                <c:pt idx="251">
                  <c:v>39497</c:v>
                </c:pt>
                <c:pt idx="252">
                  <c:v>39498</c:v>
                </c:pt>
                <c:pt idx="253">
                  <c:v>39499</c:v>
                </c:pt>
                <c:pt idx="254">
                  <c:v>39500</c:v>
                </c:pt>
                <c:pt idx="255">
                  <c:v>39503</c:v>
                </c:pt>
                <c:pt idx="256">
                  <c:v>39504</c:v>
                </c:pt>
                <c:pt idx="257">
                  <c:v>39505</c:v>
                </c:pt>
                <c:pt idx="258">
                  <c:v>39506</c:v>
                </c:pt>
                <c:pt idx="259">
                  <c:v>39507</c:v>
                </c:pt>
                <c:pt idx="260">
                  <c:v>39510</c:v>
                </c:pt>
                <c:pt idx="261">
                  <c:v>39511</c:v>
                </c:pt>
                <c:pt idx="262">
                  <c:v>39512</c:v>
                </c:pt>
                <c:pt idx="263">
                  <c:v>39513</c:v>
                </c:pt>
                <c:pt idx="264">
                  <c:v>39514</c:v>
                </c:pt>
                <c:pt idx="265">
                  <c:v>39518</c:v>
                </c:pt>
                <c:pt idx="266">
                  <c:v>39519</c:v>
                </c:pt>
                <c:pt idx="267">
                  <c:v>39520</c:v>
                </c:pt>
                <c:pt idx="268">
                  <c:v>39521</c:v>
                </c:pt>
                <c:pt idx="269">
                  <c:v>39524</c:v>
                </c:pt>
                <c:pt idx="270">
                  <c:v>39525</c:v>
                </c:pt>
                <c:pt idx="271">
                  <c:v>39526</c:v>
                </c:pt>
                <c:pt idx="272">
                  <c:v>39527</c:v>
                </c:pt>
                <c:pt idx="273">
                  <c:v>39531</c:v>
                </c:pt>
                <c:pt idx="274">
                  <c:v>39532</c:v>
                </c:pt>
                <c:pt idx="275">
                  <c:v>39533</c:v>
                </c:pt>
                <c:pt idx="276">
                  <c:v>39534</c:v>
                </c:pt>
                <c:pt idx="277">
                  <c:v>39535</c:v>
                </c:pt>
                <c:pt idx="278">
                  <c:v>39538</c:v>
                </c:pt>
                <c:pt idx="279">
                  <c:v>39539</c:v>
                </c:pt>
                <c:pt idx="280">
                  <c:v>39540</c:v>
                </c:pt>
                <c:pt idx="281">
                  <c:v>39541</c:v>
                </c:pt>
                <c:pt idx="282">
                  <c:v>39542</c:v>
                </c:pt>
                <c:pt idx="283">
                  <c:v>39545</c:v>
                </c:pt>
                <c:pt idx="284">
                  <c:v>39546</c:v>
                </c:pt>
                <c:pt idx="285">
                  <c:v>39547</c:v>
                </c:pt>
                <c:pt idx="286">
                  <c:v>39548</c:v>
                </c:pt>
                <c:pt idx="287">
                  <c:v>39549</c:v>
                </c:pt>
                <c:pt idx="288">
                  <c:v>39552</c:v>
                </c:pt>
                <c:pt idx="289">
                  <c:v>39553</c:v>
                </c:pt>
                <c:pt idx="290">
                  <c:v>39555</c:v>
                </c:pt>
                <c:pt idx="291">
                  <c:v>39556</c:v>
                </c:pt>
                <c:pt idx="292">
                  <c:v>39559</c:v>
                </c:pt>
                <c:pt idx="293">
                  <c:v>39560</c:v>
                </c:pt>
                <c:pt idx="294">
                  <c:v>39561</c:v>
                </c:pt>
                <c:pt idx="295">
                  <c:v>39562</c:v>
                </c:pt>
                <c:pt idx="296">
                  <c:v>39563</c:v>
                </c:pt>
                <c:pt idx="297">
                  <c:v>39566</c:v>
                </c:pt>
                <c:pt idx="298">
                  <c:v>39567</c:v>
                </c:pt>
                <c:pt idx="299">
                  <c:v>39568</c:v>
                </c:pt>
                <c:pt idx="300">
                  <c:v>39569</c:v>
                </c:pt>
                <c:pt idx="301">
                  <c:v>39570</c:v>
                </c:pt>
                <c:pt idx="302">
                  <c:v>39573</c:v>
                </c:pt>
                <c:pt idx="303">
                  <c:v>39574</c:v>
                </c:pt>
                <c:pt idx="304">
                  <c:v>39575</c:v>
                </c:pt>
                <c:pt idx="305">
                  <c:v>39576</c:v>
                </c:pt>
                <c:pt idx="306">
                  <c:v>39577</c:v>
                </c:pt>
                <c:pt idx="307">
                  <c:v>39580</c:v>
                </c:pt>
                <c:pt idx="308">
                  <c:v>39581</c:v>
                </c:pt>
                <c:pt idx="309">
                  <c:v>39582</c:v>
                </c:pt>
                <c:pt idx="310">
                  <c:v>39583</c:v>
                </c:pt>
                <c:pt idx="311">
                  <c:v>39584</c:v>
                </c:pt>
                <c:pt idx="312">
                  <c:v>39587</c:v>
                </c:pt>
                <c:pt idx="313">
                  <c:v>39588</c:v>
                </c:pt>
                <c:pt idx="314">
                  <c:v>39589</c:v>
                </c:pt>
                <c:pt idx="315">
                  <c:v>39590</c:v>
                </c:pt>
                <c:pt idx="316">
                  <c:v>39591</c:v>
                </c:pt>
                <c:pt idx="317">
                  <c:v>39595</c:v>
                </c:pt>
                <c:pt idx="318">
                  <c:v>39596</c:v>
                </c:pt>
                <c:pt idx="319">
                  <c:v>39597</c:v>
                </c:pt>
                <c:pt idx="320">
                  <c:v>39598</c:v>
                </c:pt>
                <c:pt idx="321">
                  <c:v>39601</c:v>
                </c:pt>
                <c:pt idx="322">
                  <c:v>39602</c:v>
                </c:pt>
                <c:pt idx="323">
                  <c:v>39603</c:v>
                </c:pt>
                <c:pt idx="324">
                  <c:v>39604</c:v>
                </c:pt>
                <c:pt idx="325">
                  <c:v>39605</c:v>
                </c:pt>
                <c:pt idx="326">
                  <c:v>39608</c:v>
                </c:pt>
                <c:pt idx="327">
                  <c:v>39609</c:v>
                </c:pt>
                <c:pt idx="328">
                  <c:v>39610</c:v>
                </c:pt>
                <c:pt idx="329">
                  <c:v>39611</c:v>
                </c:pt>
                <c:pt idx="330">
                  <c:v>39612</c:v>
                </c:pt>
                <c:pt idx="331">
                  <c:v>39615</c:v>
                </c:pt>
                <c:pt idx="332">
                  <c:v>39616</c:v>
                </c:pt>
                <c:pt idx="333">
                  <c:v>39617</c:v>
                </c:pt>
                <c:pt idx="334">
                  <c:v>39618</c:v>
                </c:pt>
                <c:pt idx="335">
                  <c:v>39619</c:v>
                </c:pt>
                <c:pt idx="336">
                  <c:v>39622</c:v>
                </c:pt>
                <c:pt idx="337">
                  <c:v>39623</c:v>
                </c:pt>
                <c:pt idx="338">
                  <c:v>39624</c:v>
                </c:pt>
                <c:pt idx="339">
                  <c:v>39625</c:v>
                </c:pt>
                <c:pt idx="340">
                  <c:v>39626</c:v>
                </c:pt>
                <c:pt idx="341">
                  <c:v>39629</c:v>
                </c:pt>
                <c:pt idx="342">
                  <c:v>39630</c:v>
                </c:pt>
                <c:pt idx="343">
                  <c:v>39631</c:v>
                </c:pt>
                <c:pt idx="344">
                  <c:v>39632</c:v>
                </c:pt>
                <c:pt idx="345">
                  <c:v>39636</c:v>
                </c:pt>
                <c:pt idx="346">
                  <c:v>39637</c:v>
                </c:pt>
                <c:pt idx="347">
                  <c:v>39638</c:v>
                </c:pt>
                <c:pt idx="348">
                  <c:v>39639</c:v>
                </c:pt>
                <c:pt idx="349">
                  <c:v>39640</c:v>
                </c:pt>
                <c:pt idx="350">
                  <c:v>39643</c:v>
                </c:pt>
                <c:pt idx="351">
                  <c:v>39644</c:v>
                </c:pt>
                <c:pt idx="352">
                  <c:v>39645</c:v>
                </c:pt>
                <c:pt idx="353">
                  <c:v>39646</c:v>
                </c:pt>
                <c:pt idx="354">
                  <c:v>39647</c:v>
                </c:pt>
                <c:pt idx="355">
                  <c:v>39650</c:v>
                </c:pt>
                <c:pt idx="356">
                  <c:v>39651</c:v>
                </c:pt>
                <c:pt idx="357">
                  <c:v>39652</c:v>
                </c:pt>
                <c:pt idx="358">
                  <c:v>39653</c:v>
                </c:pt>
                <c:pt idx="359">
                  <c:v>39654</c:v>
                </c:pt>
                <c:pt idx="360">
                  <c:v>39657</c:v>
                </c:pt>
                <c:pt idx="361">
                  <c:v>39658</c:v>
                </c:pt>
                <c:pt idx="362">
                  <c:v>39659</c:v>
                </c:pt>
                <c:pt idx="363">
                  <c:v>39660</c:v>
                </c:pt>
                <c:pt idx="364">
                  <c:v>39661</c:v>
                </c:pt>
                <c:pt idx="365">
                  <c:v>39664</c:v>
                </c:pt>
                <c:pt idx="366">
                  <c:v>39665</c:v>
                </c:pt>
                <c:pt idx="367">
                  <c:v>39666</c:v>
                </c:pt>
                <c:pt idx="368">
                  <c:v>39667</c:v>
                </c:pt>
                <c:pt idx="369">
                  <c:v>39668</c:v>
                </c:pt>
                <c:pt idx="370">
                  <c:v>39671</c:v>
                </c:pt>
                <c:pt idx="371">
                  <c:v>39672</c:v>
                </c:pt>
                <c:pt idx="372">
                  <c:v>39673</c:v>
                </c:pt>
                <c:pt idx="373">
                  <c:v>39674</c:v>
                </c:pt>
                <c:pt idx="374">
                  <c:v>39675</c:v>
                </c:pt>
                <c:pt idx="375">
                  <c:v>39678</c:v>
                </c:pt>
                <c:pt idx="376">
                  <c:v>39679</c:v>
                </c:pt>
                <c:pt idx="377">
                  <c:v>39680</c:v>
                </c:pt>
                <c:pt idx="378">
                  <c:v>39681</c:v>
                </c:pt>
                <c:pt idx="379">
                  <c:v>39682</c:v>
                </c:pt>
                <c:pt idx="380">
                  <c:v>39685</c:v>
                </c:pt>
                <c:pt idx="381">
                  <c:v>39686</c:v>
                </c:pt>
                <c:pt idx="382">
                  <c:v>39687</c:v>
                </c:pt>
                <c:pt idx="383">
                  <c:v>39688</c:v>
                </c:pt>
                <c:pt idx="384">
                  <c:v>39689</c:v>
                </c:pt>
                <c:pt idx="385">
                  <c:v>39693</c:v>
                </c:pt>
                <c:pt idx="386">
                  <c:v>39694</c:v>
                </c:pt>
                <c:pt idx="387">
                  <c:v>39695</c:v>
                </c:pt>
                <c:pt idx="388">
                  <c:v>39696</c:v>
                </c:pt>
                <c:pt idx="389">
                  <c:v>39699</c:v>
                </c:pt>
                <c:pt idx="390">
                  <c:v>39700</c:v>
                </c:pt>
                <c:pt idx="391">
                  <c:v>39701</c:v>
                </c:pt>
                <c:pt idx="392">
                  <c:v>39702</c:v>
                </c:pt>
                <c:pt idx="393">
                  <c:v>39703</c:v>
                </c:pt>
                <c:pt idx="394">
                  <c:v>39706</c:v>
                </c:pt>
                <c:pt idx="395">
                  <c:v>39707</c:v>
                </c:pt>
                <c:pt idx="396">
                  <c:v>39708</c:v>
                </c:pt>
                <c:pt idx="397">
                  <c:v>39709</c:v>
                </c:pt>
                <c:pt idx="398">
                  <c:v>39710</c:v>
                </c:pt>
                <c:pt idx="399">
                  <c:v>39713</c:v>
                </c:pt>
                <c:pt idx="400">
                  <c:v>39714</c:v>
                </c:pt>
                <c:pt idx="401">
                  <c:v>39715</c:v>
                </c:pt>
                <c:pt idx="402">
                  <c:v>39716</c:v>
                </c:pt>
                <c:pt idx="403">
                  <c:v>39717</c:v>
                </c:pt>
                <c:pt idx="404">
                  <c:v>39720</c:v>
                </c:pt>
                <c:pt idx="405">
                  <c:v>39721</c:v>
                </c:pt>
                <c:pt idx="406">
                  <c:v>39722</c:v>
                </c:pt>
                <c:pt idx="407">
                  <c:v>39723</c:v>
                </c:pt>
                <c:pt idx="408">
                  <c:v>39724</c:v>
                </c:pt>
                <c:pt idx="409">
                  <c:v>39727</c:v>
                </c:pt>
                <c:pt idx="410">
                  <c:v>39728</c:v>
                </c:pt>
                <c:pt idx="411">
                  <c:v>39729</c:v>
                </c:pt>
                <c:pt idx="412">
                  <c:v>39730</c:v>
                </c:pt>
                <c:pt idx="413">
                  <c:v>39731</c:v>
                </c:pt>
                <c:pt idx="414">
                  <c:v>39734</c:v>
                </c:pt>
                <c:pt idx="415">
                  <c:v>39735</c:v>
                </c:pt>
                <c:pt idx="416">
                  <c:v>39736</c:v>
                </c:pt>
                <c:pt idx="417">
                  <c:v>39737</c:v>
                </c:pt>
                <c:pt idx="418">
                  <c:v>39738</c:v>
                </c:pt>
                <c:pt idx="419">
                  <c:v>39741</c:v>
                </c:pt>
                <c:pt idx="420">
                  <c:v>39742</c:v>
                </c:pt>
                <c:pt idx="421">
                  <c:v>39743</c:v>
                </c:pt>
                <c:pt idx="422">
                  <c:v>39744</c:v>
                </c:pt>
                <c:pt idx="423">
                  <c:v>39745</c:v>
                </c:pt>
                <c:pt idx="424">
                  <c:v>39748</c:v>
                </c:pt>
                <c:pt idx="425">
                  <c:v>39749</c:v>
                </c:pt>
                <c:pt idx="426">
                  <c:v>39750</c:v>
                </c:pt>
                <c:pt idx="427">
                  <c:v>39751</c:v>
                </c:pt>
                <c:pt idx="428">
                  <c:v>39752</c:v>
                </c:pt>
                <c:pt idx="429">
                  <c:v>39755</c:v>
                </c:pt>
                <c:pt idx="430">
                  <c:v>39756</c:v>
                </c:pt>
                <c:pt idx="431">
                  <c:v>39757</c:v>
                </c:pt>
                <c:pt idx="432">
                  <c:v>39758</c:v>
                </c:pt>
                <c:pt idx="433">
                  <c:v>39759</c:v>
                </c:pt>
                <c:pt idx="434">
                  <c:v>39762</c:v>
                </c:pt>
                <c:pt idx="435">
                  <c:v>39763</c:v>
                </c:pt>
                <c:pt idx="436">
                  <c:v>39764</c:v>
                </c:pt>
                <c:pt idx="437">
                  <c:v>39765</c:v>
                </c:pt>
                <c:pt idx="438">
                  <c:v>39766</c:v>
                </c:pt>
                <c:pt idx="439">
                  <c:v>39769</c:v>
                </c:pt>
                <c:pt idx="440">
                  <c:v>39770</c:v>
                </c:pt>
                <c:pt idx="441">
                  <c:v>39771</c:v>
                </c:pt>
                <c:pt idx="442">
                  <c:v>39772</c:v>
                </c:pt>
                <c:pt idx="443">
                  <c:v>39773</c:v>
                </c:pt>
                <c:pt idx="444">
                  <c:v>39776</c:v>
                </c:pt>
                <c:pt idx="445">
                  <c:v>39777</c:v>
                </c:pt>
                <c:pt idx="446">
                  <c:v>39778</c:v>
                </c:pt>
                <c:pt idx="447">
                  <c:v>39780</c:v>
                </c:pt>
                <c:pt idx="448">
                  <c:v>39783</c:v>
                </c:pt>
                <c:pt idx="449">
                  <c:v>39784</c:v>
                </c:pt>
                <c:pt idx="450">
                  <c:v>39785</c:v>
                </c:pt>
                <c:pt idx="451">
                  <c:v>39786</c:v>
                </c:pt>
                <c:pt idx="452">
                  <c:v>39787</c:v>
                </c:pt>
                <c:pt idx="453">
                  <c:v>39790</c:v>
                </c:pt>
                <c:pt idx="454">
                  <c:v>39791</c:v>
                </c:pt>
                <c:pt idx="455">
                  <c:v>39792</c:v>
                </c:pt>
                <c:pt idx="456">
                  <c:v>39793</c:v>
                </c:pt>
                <c:pt idx="457">
                  <c:v>39794</c:v>
                </c:pt>
                <c:pt idx="458">
                  <c:v>39797</c:v>
                </c:pt>
                <c:pt idx="459">
                  <c:v>39798</c:v>
                </c:pt>
                <c:pt idx="460">
                  <c:v>39799</c:v>
                </c:pt>
                <c:pt idx="461">
                  <c:v>39800</c:v>
                </c:pt>
                <c:pt idx="462">
                  <c:v>39801</c:v>
                </c:pt>
                <c:pt idx="463">
                  <c:v>39805</c:v>
                </c:pt>
                <c:pt idx="464">
                  <c:v>39806</c:v>
                </c:pt>
                <c:pt idx="465">
                  <c:v>39808</c:v>
                </c:pt>
                <c:pt idx="466">
                  <c:v>39811</c:v>
                </c:pt>
                <c:pt idx="467">
                  <c:v>39812</c:v>
                </c:pt>
                <c:pt idx="468">
                  <c:v>39813</c:v>
                </c:pt>
                <c:pt idx="469">
                  <c:v>39815</c:v>
                </c:pt>
                <c:pt idx="470">
                  <c:v>39818</c:v>
                </c:pt>
                <c:pt idx="471">
                  <c:v>39819</c:v>
                </c:pt>
                <c:pt idx="472">
                  <c:v>39820</c:v>
                </c:pt>
                <c:pt idx="473">
                  <c:v>39821</c:v>
                </c:pt>
                <c:pt idx="474">
                  <c:v>39822</c:v>
                </c:pt>
                <c:pt idx="475">
                  <c:v>39825</c:v>
                </c:pt>
                <c:pt idx="476">
                  <c:v>39826</c:v>
                </c:pt>
                <c:pt idx="477">
                  <c:v>39827</c:v>
                </c:pt>
                <c:pt idx="478">
                  <c:v>39828</c:v>
                </c:pt>
                <c:pt idx="479">
                  <c:v>39829</c:v>
                </c:pt>
                <c:pt idx="480">
                  <c:v>39833</c:v>
                </c:pt>
                <c:pt idx="481">
                  <c:v>39834</c:v>
                </c:pt>
                <c:pt idx="482">
                  <c:v>39835</c:v>
                </c:pt>
                <c:pt idx="483">
                  <c:v>39836</c:v>
                </c:pt>
                <c:pt idx="484">
                  <c:v>39839</c:v>
                </c:pt>
                <c:pt idx="485">
                  <c:v>39840</c:v>
                </c:pt>
                <c:pt idx="486">
                  <c:v>39841</c:v>
                </c:pt>
                <c:pt idx="487">
                  <c:v>39842</c:v>
                </c:pt>
                <c:pt idx="488">
                  <c:v>39843</c:v>
                </c:pt>
                <c:pt idx="489">
                  <c:v>39846</c:v>
                </c:pt>
                <c:pt idx="490">
                  <c:v>39847</c:v>
                </c:pt>
                <c:pt idx="491">
                  <c:v>39848</c:v>
                </c:pt>
                <c:pt idx="492">
                  <c:v>39849</c:v>
                </c:pt>
                <c:pt idx="493">
                  <c:v>39850</c:v>
                </c:pt>
                <c:pt idx="494">
                  <c:v>39853</c:v>
                </c:pt>
                <c:pt idx="495">
                  <c:v>39854</c:v>
                </c:pt>
                <c:pt idx="496">
                  <c:v>39855</c:v>
                </c:pt>
                <c:pt idx="497">
                  <c:v>39856</c:v>
                </c:pt>
                <c:pt idx="498">
                  <c:v>39857</c:v>
                </c:pt>
                <c:pt idx="499">
                  <c:v>39861</c:v>
                </c:pt>
                <c:pt idx="500">
                  <c:v>39862</c:v>
                </c:pt>
                <c:pt idx="501">
                  <c:v>39863</c:v>
                </c:pt>
                <c:pt idx="502">
                  <c:v>39864</c:v>
                </c:pt>
                <c:pt idx="503">
                  <c:v>39867</c:v>
                </c:pt>
                <c:pt idx="504">
                  <c:v>39868</c:v>
                </c:pt>
                <c:pt idx="505">
                  <c:v>39869</c:v>
                </c:pt>
                <c:pt idx="506">
                  <c:v>39870</c:v>
                </c:pt>
                <c:pt idx="507">
                  <c:v>39871</c:v>
                </c:pt>
                <c:pt idx="508">
                  <c:v>39874</c:v>
                </c:pt>
                <c:pt idx="509">
                  <c:v>39875</c:v>
                </c:pt>
                <c:pt idx="510">
                  <c:v>39876</c:v>
                </c:pt>
                <c:pt idx="511">
                  <c:v>39877</c:v>
                </c:pt>
                <c:pt idx="512">
                  <c:v>39878</c:v>
                </c:pt>
                <c:pt idx="513">
                  <c:v>39881</c:v>
                </c:pt>
                <c:pt idx="514">
                  <c:v>39882</c:v>
                </c:pt>
                <c:pt idx="515">
                  <c:v>39883</c:v>
                </c:pt>
                <c:pt idx="516">
                  <c:v>39884</c:v>
                </c:pt>
                <c:pt idx="517">
                  <c:v>39885</c:v>
                </c:pt>
                <c:pt idx="518">
                  <c:v>39888</c:v>
                </c:pt>
                <c:pt idx="519">
                  <c:v>39889</c:v>
                </c:pt>
                <c:pt idx="520">
                  <c:v>39890</c:v>
                </c:pt>
                <c:pt idx="521">
                  <c:v>39891</c:v>
                </c:pt>
                <c:pt idx="522">
                  <c:v>39892</c:v>
                </c:pt>
                <c:pt idx="523">
                  <c:v>39895</c:v>
                </c:pt>
                <c:pt idx="524">
                  <c:v>39896</c:v>
                </c:pt>
                <c:pt idx="525">
                  <c:v>39897</c:v>
                </c:pt>
                <c:pt idx="526">
                  <c:v>39898</c:v>
                </c:pt>
                <c:pt idx="527">
                  <c:v>39899</c:v>
                </c:pt>
                <c:pt idx="528">
                  <c:v>39902</c:v>
                </c:pt>
                <c:pt idx="529">
                  <c:v>39903</c:v>
                </c:pt>
                <c:pt idx="530">
                  <c:v>39904</c:v>
                </c:pt>
                <c:pt idx="531">
                  <c:v>39905</c:v>
                </c:pt>
                <c:pt idx="532">
                  <c:v>39906</c:v>
                </c:pt>
                <c:pt idx="533">
                  <c:v>39909</c:v>
                </c:pt>
                <c:pt idx="534">
                  <c:v>39910</c:v>
                </c:pt>
                <c:pt idx="535">
                  <c:v>39911</c:v>
                </c:pt>
                <c:pt idx="536">
                  <c:v>39912</c:v>
                </c:pt>
                <c:pt idx="537">
                  <c:v>39916</c:v>
                </c:pt>
                <c:pt idx="538">
                  <c:v>39917</c:v>
                </c:pt>
                <c:pt idx="539">
                  <c:v>39918</c:v>
                </c:pt>
                <c:pt idx="540">
                  <c:v>39919</c:v>
                </c:pt>
                <c:pt idx="541">
                  <c:v>39920</c:v>
                </c:pt>
                <c:pt idx="542">
                  <c:v>39923</c:v>
                </c:pt>
                <c:pt idx="543">
                  <c:v>39924</c:v>
                </c:pt>
                <c:pt idx="544">
                  <c:v>39925</c:v>
                </c:pt>
                <c:pt idx="545">
                  <c:v>39926</c:v>
                </c:pt>
                <c:pt idx="546">
                  <c:v>39927</c:v>
                </c:pt>
                <c:pt idx="547">
                  <c:v>39930</c:v>
                </c:pt>
                <c:pt idx="548">
                  <c:v>39931</c:v>
                </c:pt>
                <c:pt idx="549">
                  <c:v>39932</c:v>
                </c:pt>
                <c:pt idx="550">
                  <c:v>39933</c:v>
                </c:pt>
                <c:pt idx="551">
                  <c:v>39934</c:v>
                </c:pt>
                <c:pt idx="552">
                  <c:v>39937</c:v>
                </c:pt>
                <c:pt idx="553">
                  <c:v>39938</c:v>
                </c:pt>
                <c:pt idx="554">
                  <c:v>39939</c:v>
                </c:pt>
                <c:pt idx="555">
                  <c:v>39940</c:v>
                </c:pt>
                <c:pt idx="556">
                  <c:v>39941</c:v>
                </c:pt>
                <c:pt idx="557">
                  <c:v>39944</c:v>
                </c:pt>
                <c:pt idx="558">
                  <c:v>39945</c:v>
                </c:pt>
                <c:pt idx="559">
                  <c:v>39946</c:v>
                </c:pt>
                <c:pt idx="560">
                  <c:v>39947</c:v>
                </c:pt>
                <c:pt idx="561">
                  <c:v>39948</c:v>
                </c:pt>
                <c:pt idx="562">
                  <c:v>39951</c:v>
                </c:pt>
                <c:pt idx="563">
                  <c:v>39952</c:v>
                </c:pt>
                <c:pt idx="564">
                  <c:v>39953</c:v>
                </c:pt>
                <c:pt idx="565">
                  <c:v>39954</c:v>
                </c:pt>
                <c:pt idx="566">
                  <c:v>39955</c:v>
                </c:pt>
                <c:pt idx="567">
                  <c:v>39959</c:v>
                </c:pt>
                <c:pt idx="568">
                  <c:v>39960</c:v>
                </c:pt>
                <c:pt idx="569">
                  <c:v>39961</c:v>
                </c:pt>
                <c:pt idx="570">
                  <c:v>39962</c:v>
                </c:pt>
                <c:pt idx="571">
                  <c:v>39965</c:v>
                </c:pt>
                <c:pt idx="572">
                  <c:v>39966</c:v>
                </c:pt>
                <c:pt idx="573">
                  <c:v>39967</c:v>
                </c:pt>
                <c:pt idx="574">
                  <c:v>39968</c:v>
                </c:pt>
                <c:pt idx="575">
                  <c:v>39969</c:v>
                </c:pt>
                <c:pt idx="576">
                  <c:v>39972</c:v>
                </c:pt>
                <c:pt idx="577">
                  <c:v>39973</c:v>
                </c:pt>
                <c:pt idx="578">
                  <c:v>39974</c:v>
                </c:pt>
                <c:pt idx="579">
                  <c:v>39975</c:v>
                </c:pt>
                <c:pt idx="580">
                  <c:v>39976</c:v>
                </c:pt>
                <c:pt idx="581">
                  <c:v>39979</c:v>
                </c:pt>
                <c:pt idx="582">
                  <c:v>39980</c:v>
                </c:pt>
                <c:pt idx="583">
                  <c:v>39981</c:v>
                </c:pt>
                <c:pt idx="584">
                  <c:v>39982</c:v>
                </c:pt>
                <c:pt idx="585">
                  <c:v>39983</c:v>
                </c:pt>
                <c:pt idx="586">
                  <c:v>39986</c:v>
                </c:pt>
                <c:pt idx="587">
                  <c:v>39987</c:v>
                </c:pt>
                <c:pt idx="588">
                  <c:v>39988</c:v>
                </c:pt>
                <c:pt idx="589">
                  <c:v>39989</c:v>
                </c:pt>
                <c:pt idx="590">
                  <c:v>39990</c:v>
                </c:pt>
                <c:pt idx="591">
                  <c:v>39993</c:v>
                </c:pt>
                <c:pt idx="592">
                  <c:v>39994</c:v>
                </c:pt>
                <c:pt idx="593">
                  <c:v>39995</c:v>
                </c:pt>
                <c:pt idx="594">
                  <c:v>39996</c:v>
                </c:pt>
                <c:pt idx="595">
                  <c:v>40000</c:v>
                </c:pt>
                <c:pt idx="596">
                  <c:v>40001</c:v>
                </c:pt>
                <c:pt idx="597">
                  <c:v>40002</c:v>
                </c:pt>
                <c:pt idx="598">
                  <c:v>40003</c:v>
                </c:pt>
                <c:pt idx="599">
                  <c:v>40004</c:v>
                </c:pt>
                <c:pt idx="600">
                  <c:v>40007</c:v>
                </c:pt>
                <c:pt idx="601">
                  <c:v>40008</c:v>
                </c:pt>
                <c:pt idx="602">
                  <c:v>40009</c:v>
                </c:pt>
                <c:pt idx="603">
                  <c:v>40010</c:v>
                </c:pt>
                <c:pt idx="604">
                  <c:v>40011</c:v>
                </c:pt>
                <c:pt idx="605">
                  <c:v>40014</c:v>
                </c:pt>
                <c:pt idx="606">
                  <c:v>40015</c:v>
                </c:pt>
                <c:pt idx="607">
                  <c:v>40016</c:v>
                </c:pt>
                <c:pt idx="608">
                  <c:v>40017</c:v>
                </c:pt>
                <c:pt idx="609">
                  <c:v>40018</c:v>
                </c:pt>
                <c:pt idx="610">
                  <c:v>40021</c:v>
                </c:pt>
                <c:pt idx="611">
                  <c:v>40022</c:v>
                </c:pt>
                <c:pt idx="612">
                  <c:v>40023</c:v>
                </c:pt>
                <c:pt idx="613">
                  <c:v>40024</c:v>
                </c:pt>
                <c:pt idx="614">
                  <c:v>40025</c:v>
                </c:pt>
                <c:pt idx="615">
                  <c:v>40028</c:v>
                </c:pt>
                <c:pt idx="616">
                  <c:v>40029</c:v>
                </c:pt>
                <c:pt idx="617">
                  <c:v>40030</c:v>
                </c:pt>
                <c:pt idx="618">
                  <c:v>40031</c:v>
                </c:pt>
                <c:pt idx="619">
                  <c:v>40032</c:v>
                </c:pt>
                <c:pt idx="620">
                  <c:v>40035</c:v>
                </c:pt>
                <c:pt idx="621">
                  <c:v>40036</c:v>
                </c:pt>
                <c:pt idx="622">
                  <c:v>40037</c:v>
                </c:pt>
                <c:pt idx="623">
                  <c:v>40038</c:v>
                </c:pt>
                <c:pt idx="624">
                  <c:v>40039</c:v>
                </c:pt>
                <c:pt idx="625">
                  <c:v>40042</c:v>
                </c:pt>
                <c:pt idx="626">
                  <c:v>40043</c:v>
                </c:pt>
                <c:pt idx="627">
                  <c:v>40044</c:v>
                </c:pt>
                <c:pt idx="628">
                  <c:v>40045</c:v>
                </c:pt>
                <c:pt idx="629">
                  <c:v>40046</c:v>
                </c:pt>
                <c:pt idx="630">
                  <c:v>40049</c:v>
                </c:pt>
                <c:pt idx="631">
                  <c:v>40050</c:v>
                </c:pt>
                <c:pt idx="632">
                  <c:v>40051</c:v>
                </c:pt>
                <c:pt idx="633">
                  <c:v>40052</c:v>
                </c:pt>
                <c:pt idx="634">
                  <c:v>40053</c:v>
                </c:pt>
                <c:pt idx="635">
                  <c:v>40056</c:v>
                </c:pt>
                <c:pt idx="636">
                  <c:v>40057</c:v>
                </c:pt>
                <c:pt idx="637">
                  <c:v>40058</c:v>
                </c:pt>
                <c:pt idx="638">
                  <c:v>40059</c:v>
                </c:pt>
                <c:pt idx="639">
                  <c:v>40060</c:v>
                </c:pt>
                <c:pt idx="640">
                  <c:v>40064</c:v>
                </c:pt>
                <c:pt idx="641">
                  <c:v>40065</c:v>
                </c:pt>
                <c:pt idx="642">
                  <c:v>40066</c:v>
                </c:pt>
                <c:pt idx="643">
                  <c:v>40067</c:v>
                </c:pt>
                <c:pt idx="644">
                  <c:v>40070</c:v>
                </c:pt>
                <c:pt idx="645">
                  <c:v>40071</c:v>
                </c:pt>
                <c:pt idx="646">
                  <c:v>40072</c:v>
                </c:pt>
                <c:pt idx="647">
                  <c:v>40073</c:v>
                </c:pt>
                <c:pt idx="648">
                  <c:v>40074</c:v>
                </c:pt>
                <c:pt idx="649">
                  <c:v>40077</c:v>
                </c:pt>
                <c:pt idx="650">
                  <c:v>40078</c:v>
                </c:pt>
                <c:pt idx="651">
                  <c:v>40079</c:v>
                </c:pt>
                <c:pt idx="652">
                  <c:v>40080</c:v>
                </c:pt>
                <c:pt idx="653">
                  <c:v>40081</c:v>
                </c:pt>
                <c:pt idx="654">
                  <c:v>40084</c:v>
                </c:pt>
                <c:pt idx="655">
                  <c:v>40085</c:v>
                </c:pt>
                <c:pt idx="656">
                  <c:v>40086</c:v>
                </c:pt>
                <c:pt idx="657">
                  <c:v>40087</c:v>
                </c:pt>
                <c:pt idx="658">
                  <c:v>40088</c:v>
                </c:pt>
                <c:pt idx="659">
                  <c:v>40091</c:v>
                </c:pt>
                <c:pt idx="660">
                  <c:v>40092</c:v>
                </c:pt>
                <c:pt idx="661">
                  <c:v>40093</c:v>
                </c:pt>
                <c:pt idx="662">
                  <c:v>40094</c:v>
                </c:pt>
                <c:pt idx="663">
                  <c:v>40095</c:v>
                </c:pt>
                <c:pt idx="664">
                  <c:v>40098</c:v>
                </c:pt>
                <c:pt idx="665">
                  <c:v>40099</c:v>
                </c:pt>
                <c:pt idx="666">
                  <c:v>40100</c:v>
                </c:pt>
                <c:pt idx="667">
                  <c:v>40101</c:v>
                </c:pt>
                <c:pt idx="668">
                  <c:v>40102</c:v>
                </c:pt>
                <c:pt idx="669">
                  <c:v>40105</c:v>
                </c:pt>
                <c:pt idx="670">
                  <c:v>40106</c:v>
                </c:pt>
                <c:pt idx="671">
                  <c:v>40107</c:v>
                </c:pt>
                <c:pt idx="672">
                  <c:v>40108</c:v>
                </c:pt>
                <c:pt idx="673">
                  <c:v>40109</c:v>
                </c:pt>
                <c:pt idx="674">
                  <c:v>40112</c:v>
                </c:pt>
                <c:pt idx="675">
                  <c:v>40113</c:v>
                </c:pt>
                <c:pt idx="676">
                  <c:v>40114</c:v>
                </c:pt>
                <c:pt idx="677">
                  <c:v>40115</c:v>
                </c:pt>
                <c:pt idx="678">
                  <c:v>40116</c:v>
                </c:pt>
                <c:pt idx="679">
                  <c:v>40119</c:v>
                </c:pt>
                <c:pt idx="680">
                  <c:v>40120</c:v>
                </c:pt>
                <c:pt idx="681">
                  <c:v>40121</c:v>
                </c:pt>
                <c:pt idx="682">
                  <c:v>40122</c:v>
                </c:pt>
                <c:pt idx="683">
                  <c:v>40123</c:v>
                </c:pt>
                <c:pt idx="684">
                  <c:v>40126</c:v>
                </c:pt>
                <c:pt idx="685">
                  <c:v>40127</c:v>
                </c:pt>
                <c:pt idx="686">
                  <c:v>40128</c:v>
                </c:pt>
                <c:pt idx="687">
                  <c:v>40129</c:v>
                </c:pt>
                <c:pt idx="688">
                  <c:v>40130</c:v>
                </c:pt>
                <c:pt idx="689">
                  <c:v>40133</c:v>
                </c:pt>
                <c:pt idx="690">
                  <c:v>40134</c:v>
                </c:pt>
                <c:pt idx="691">
                  <c:v>40135</c:v>
                </c:pt>
                <c:pt idx="692">
                  <c:v>40136</c:v>
                </c:pt>
                <c:pt idx="693">
                  <c:v>40137</c:v>
                </c:pt>
                <c:pt idx="694">
                  <c:v>40140</c:v>
                </c:pt>
                <c:pt idx="695">
                  <c:v>40141</c:v>
                </c:pt>
                <c:pt idx="696">
                  <c:v>40142</c:v>
                </c:pt>
                <c:pt idx="697">
                  <c:v>40144</c:v>
                </c:pt>
                <c:pt idx="698">
                  <c:v>40147</c:v>
                </c:pt>
                <c:pt idx="699">
                  <c:v>40148</c:v>
                </c:pt>
                <c:pt idx="700">
                  <c:v>40149</c:v>
                </c:pt>
                <c:pt idx="701">
                  <c:v>40150</c:v>
                </c:pt>
                <c:pt idx="702">
                  <c:v>40151</c:v>
                </c:pt>
                <c:pt idx="703">
                  <c:v>40154</c:v>
                </c:pt>
                <c:pt idx="704">
                  <c:v>40155</c:v>
                </c:pt>
                <c:pt idx="705">
                  <c:v>40156</c:v>
                </c:pt>
                <c:pt idx="706">
                  <c:v>40157</c:v>
                </c:pt>
                <c:pt idx="707">
                  <c:v>40158</c:v>
                </c:pt>
                <c:pt idx="708">
                  <c:v>40161</c:v>
                </c:pt>
                <c:pt idx="709">
                  <c:v>40162</c:v>
                </c:pt>
                <c:pt idx="710">
                  <c:v>40163</c:v>
                </c:pt>
                <c:pt idx="711">
                  <c:v>40164</c:v>
                </c:pt>
                <c:pt idx="712">
                  <c:v>40165</c:v>
                </c:pt>
                <c:pt idx="713">
                  <c:v>40168</c:v>
                </c:pt>
                <c:pt idx="714">
                  <c:v>40169</c:v>
                </c:pt>
                <c:pt idx="715">
                  <c:v>40170</c:v>
                </c:pt>
                <c:pt idx="716">
                  <c:v>40171</c:v>
                </c:pt>
                <c:pt idx="717">
                  <c:v>40175</c:v>
                </c:pt>
                <c:pt idx="718">
                  <c:v>40176</c:v>
                </c:pt>
                <c:pt idx="719">
                  <c:v>40177</c:v>
                </c:pt>
                <c:pt idx="720">
                  <c:v>40178</c:v>
                </c:pt>
                <c:pt idx="721">
                  <c:v>40182</c:v>
                </c:pt>
                <c:pt idx="722">
                  <c:v>40183</c:v>
                </c:pt>
                <c:pt idx="723">
                  <c:v>40184</c:v>
                </c:pt>
                <c:pt idx="724">
                  <c:v>40185</c:v>
                </c:pt>
                <c:pt idx="725">
                  <c:v>40186</c:v>
                </c:pt>
                <c:pt idx="726">
                  <c:v>40189</c:v>
                </c:pt>
                <c:pt idx="727">
                  <c:v>40190</c:v>
                </c:pt>
                <c:pt idx="728">
                  <c:v>40191</c:v>
                </c:pt>
                <c:pt idx="729">
                  <c:v>40192</c:v>
                </c:pt>
                <c:pt idx="730">
                  <c:v>40193</c:v>
                </c:pt>
                <c:pt idx="731">
                  <c:v>40197</c:v>
                </c:pt>
                <c:pt idx="732">
                  <c:v>40198</c:v>
                </c:pt>
                <c:pt idx="733">
                  <c:v>40199</c:v>
                </c:pt>
                <c:pt idx="734">
                  <c:v>40200</c:v>
                </c:pt>
                <c:pt idx="735">
                  <c:v>40203</c:v>
                </c:pt>
                <c:pt idx="736">
                  <c:v>40204</c:v>
                </c:pt>
                <c:pt idx="737">
                  <c:v>40205</c:v>
                </c:pt>
                <c:pt idx="738">
                  <c:v>40206</c:v>
                </c:pt>
                <c:pt idx="739">
                  <c:v>40207</c:v>
                </c:pt>
                <c:pt idx="740">
                  <c:v>40210</c:v>
                </c:pt>
                <c:pt idx="741">
                  <c:v>40211</c:v>
                </c:pt>
                <c:pt idx="742">
                  <c:v>40212</c:v>
                </c:pt>
                <c:pt idx="743">
                  <c:v>40213</c:v>
                </c:pt>
                <c:pt idx="744">
                  <c:v>40214</c:v>
                </c:pt>
                <c:pt idx="745">
                  <c:v>40217</c:v>
                </c:pt>
                <c:pt idx="746">
                  <c:v>40218</c:v>
                </c:pt>
                <c:pt idx="747">
                  <c:v>40219</c:v>
                </c:pt>
                <c:pt idx="748">
                  <c:v>40220</c:v>
                </c:pt>
                <c:pt idx="749">
                  <c:v>40221</c:v>
                </c:pt>
                <c:pt idx="750">
                  <c:v>40225</c:v>
                </c:pt>
                <c:pt idx="751">
                  <c:v>40226</c:v>
                </c:pt>
                <c:pt idx="752">
                  <c:v>40227</c:v>
                </c:pt>
                <c:pt idx="753">
                  <c:v>40228</c:v>
                </c:pt>
                <c:pt idx="754">
                  <c:v>40231</c:v>
                </c:pt>
                <c:pt idx="755">
                  <c:v>40232</c:v>
                </c:pt>
                <c:pt idx="756">
                  <c:v>40233</c:v>
                </c:pt>
                <c:pt idx="757">
                  <c:v>40234</c:v>
                </c:pt>
                <c:pt idx="758">
                  <c:v>40235</c:v>
                </c:pt>
                <c:pt idx="759">
                  <c:v>40238</c:v>
                </c:pt>
                <c:pt idx="760">
                  <c:v>40239</c:v>
                </c:pt>
                <c:pt idx="761">
                  <c:v>40240</c:v>
                </c:pt>
                <c:pt idx="762">
                  <c:v>40241</c:v>
                </c:pt>
                <c:pt idx="763">
                  <c:v>40242</c:v>
                </c:pt>
                <c:pt idx="764">
                  <c:v>40245</c:v>
                </c:pt>
                <c:pt idx="765">
                  <c:v>40246</c:v>
                </c:pt>
                <c:pt idx="766">
                  <c:v>40247</c:v>
                </c:pt>
                <c:pt idx="767">
                  <c:v>40248</c:v>
                </c:pt>
                <c:pt idx="768">
                  <c:v>40249</c:v>
                </c:pt>
                <c:pt idx="769">
                  <c:v>40252</c:v>
                </c:pt>
                <c:pt idx="770">
                  <c:v>40253</c:v>
                </c:pt>
                <c:pt idx="771">
                  <c:v>40254</c:v>
                </c:pt>
                <c:pt idx="772">
                  <c:v>40255</c:v>
                </c:pt>
                <c:pt idx="773">
                  <c:v>40256</c:v>
                </c:pt>
                <c:pt idx="774">
                  <c:v>40259</c:v>
                </c:pt>
                <c:pt idx="775">
                  <c:v>40260</c:v>
                </c:pt>
                <c:pt idx="776">
                  <c:v>40261</c:v>
                </c:pt>
                <c:pt idx="777">
                  <c:v>40262</c:v>
                </c:pt>
                <c:pt idx="778">
                  <c:v>40263</c:v>
                </c:pt>
                <c:pt idx="779">
                  <c:v>40266</c:v>
                </c:pt>
                <c:pt idx="780">
                  <c:v>40267</c:v>
                </c:pt>
                <c:pt idx="781">
                  <c:v>40268</c:v>
                </c:pt>
                <c:pt idx="782">
                  <c:v>40269</c:v>
                </c:pt>
                <c:pt idx="783">
                  <c:v>40273</c:v>
                </c:pt>
                <c:pt idx="784">
                  <c:v>40274</c:v>
                </c:pt>
                <c:pt idx="785">
                  <c:v>40275</c:v>
                </c:pt>
                <c:pt idx="786">
                  <c:v>40276</c:v>
                </c:pt>
                <c:pt idx="787">
                  <c:v>40277</c:v>
                </c:pt>
                <c:pt idx="788">
                  <c:v>40280</c:v>
                </c:pt>
                <c:pt idx="789">
                  <c:v>40281</c:v>
                </c:pt>
                <c:pt idx="790">
                  <c:v>40282</c:v>
                </c:pt>
                <c:pt idx="791">
                  <c:v>40283</c:v>
                </c:pt>
                <c:pt idx="792">
                  <c:v>40284</c:v>
                </c:pt>
                <c:pt idx="793">
                  <c:v>40287</c:v>
                </c:pt>
                <c:pt idx="794">
                  <c:v>40288</c:v>
                </c:pt>
                <c:pt idx="795">
                  <c:v>40289</c:v>
                </c:pt>
                <c:pt idx="796">
                  <c:v>40290</c:v>
                </c:pt>
                <c:pt idx="797">
                  <c:v>40291</c:v>
                </c:pt>
                <c:pt idx="798">
                  <c:v>40294</c:v>
                </c:pt>
                <c:pt idx="799">
                  <c:v>40295</c:v>
                </c:pt>
                <c:pt idx="800">
                  <c:v>40296</c:v>
                </c:pt>
                <c:pt idx="801">
                  <c:v>40297</c:v>
                </c:pt>
                <c:pt idx="802">
                  <c:v>40298</c:v>
                </c:pt>
                <c:pt idx="803">
                  <c:v>40301</c:v>
                </c:pt>
                <c:pt idx="804">
                  <c:v>40302</c:v>
                </c:pt>
                <c:pt idx="805">
                  <c:v>40303</c:v>
                </c:pt>
                <c:pt idx="806">
                  <c:v>40304</c:v>
                </c:pt>
                <c:pt idx="807">
                  <c:v>40305</c:v>
                </c:pt>
                <c:pt idx="808">
                  <c:v>40308</c:v>
                </c:pt>
                <c:pt idx="809">
                  <c:v>40309</c:v>
                </c:pt>
                <c:pt idx="810">
                  <c:v>40310</c:v>
                </c:pt>
                <c:pt idx="811">
                  <c:v>40311</c:v>
                </c:pt>
                <c:pt idx="812">
                  <c:v>40312</c:v>
                </c:pt>
                <c:pt idx="813">
                  <c:v>40315</c:v>
                </c:pt>
                <c:pt idx="814">
                  <c:v>40316</c:v>
                </c:pt>
                <c:pt idx="815">
                  <c:v>40317</c:v>
                </c:pt>
                <c:pt idx="816">
                  <c:v>40318</c:v>
                </c:pt>
                <c:pt idx="817">
                  <c:v>40319</c:v>
                </c:pt>
                <c:pt idx="818">
                  <c:v>40322</c:v>
                </c:pt>
                <c:pt idx="819">
                  <c:v>40323</c:v>
                </c:pt>
                <c:pt idx="820">
                  <c:v>40324</c:v>
                </c:pt>
                <c:pt idx="821">
                  <c:v>40325</c:v>
                </c:pt>
                <c:pt idx="822">
                  <c:v>40326</c:v>
                </c:pt>
                <c:pt idx="823">
                  <c:v>40330</c:v>
                </c:pt>
                <c:pt idx="824">
                  <c:v>40331</c:v>
                </c:pt>
                <c:pt idx="825">
                  <c:v>40332</c:v>
                </c:pt>
                <c:pt idx="826">
                  <c:v>40333</c:v>
                </c:pt>
                <c:pt idx="827">
                  <c:v>40336</c:v>
                </c:pt>
                <c:pt idx="828">
                  <c:v>40337</c:v>
                </c:pt>
                <c:pt idx="829">
                  <c:v>40338</c:v>
                </c:pt>
                <c:pt idx="830">
                  <c:v>40339</c:v>
                </c:pt>
                <c:pt idx="831">
                  <c:v>40340</c:v>
                </c:pt>
                <c:pt idx="832">
                  <c:v>40343</c:v>
                </c:pt>
                <c:pt idx="833">
                  <c:v>40344</c:v>
                </c:pt>
                <c:pt idx="834">
                  <c:v>40345</c:v>
                </c:pt>
                <c:pt idx="835">
                  <c:v>40346</c:v>
                </c:pt>
                <c:pt idx="836">
                  <c:v>40347</c:v>
                </c:pt>
                <c:pt idx="837">
                  <c:v>40350</c:v>
                </c:pt>
                <c:pt idx="838">
                  <c:v>40351</c:v>
                </c:pt>
                <c:pt idx="839">
                  <c:v>40352</c:v>
                </c:pt>
                <c:pt idx="840">
                  <c:v>40353</c:v>
                </c:pt>
                <c:pt idx="841">
                  <c:v>40354</c:v>
                </c:pt>
                <c:pt idx="842">
                  <c:v>40357</c:v>
                </c:pt>
                <c:pt idx="843">
                  <c:v>40358</c:v>
                </c:pt>
                <c:pt idx="844">
                  <c:v>40359</c:v>
                </c:pt>
                <c:pt idx="845">
                  <c:v>40360</c:v>
                </c:pt>
                <c:pt idx="846">
                  <c:v>40361</c:v>
                </c:pt>
                <c:pt idx="847">
                  <c:v>40365</c:v>
                </c:pt>
                <c:pt idx="848">
                  <c:v>40366</c:v>
                </c:pt>
                <c:pt idx="849">
                  <c:v>40367</c:v>
                </c:pt>
                <c:pt idx="850">
                  <c:v>40368</c:v>
                </c:pt>
                <c:pt idx="851">
                  <c:v>40371</c:v>
                </c:pt>
                <c:pt idx="852">
                  <c:v>40372</c:v>
                </c:pt>
                <c:pt idx="853">
                  <c:v>40373</c:v>
                </c:pt>
                <c:pt idx="854">
                  <c:v>40374</c:v>
                </c:pt>
                <c:pt idx="855">
                  <c:v>40375</c:v>
                </c:pt>
                <c:pt idx="856">
                  <c:v>40378</c:v>
                </c:pt>
                <c:pt idx="857">
                  <c:v>40379</c:v>
                </c:pt>
                <c:pt idx="858">
                  <c:v>40380</c:v>
                </c:pt>
                <c:pt idx="859">
                  <c:v>40381</c:v>
                </c:pt>
                <c:pt idx="860">
                  <c:v>40382</c:v>
                </c:pt>
                <c:pt idx="861">
                  <c:v>40385</c:v>
                </c:pt>
                <c:pt idx="862">
                  <c:v>40386</c:v>
                </c:pt>
                <c:pt idx="863">
                  <c:v>40387</c:v>
                </c:pt>
                <c:pt idx="864">
                  <c:v>40388</c:v>
                </c:pt>
                <c:pt idx="865">
                  <c:v>40389</c:v>
                </c:pt>
                <c:pt idx="866">
                  <c:v>40392</c:v>
                </c:pt>
                <c:pt idx="867">
                  <c:v>40393</c:v>
                </c:pt>
                <c:pt idx="868">
                  <c:v>40394</c:v>
                </c:pt>
                <c:pt idx="869">
                  <c:v>40395</c:v>
                </c:pt>
                <c:pt idx="870">
                  <c:v>40396</c:v>
                </c:pt>
                <c:pt idx="871">
                  <c:v>40399</c:v>
                </c:pt>
                <c:pt idx="872">
                  <c:v>40400</c:v>
                </c:pt>
                <c:pt idx="873">
                  <c:v>40401</c:v>
                </c:pt>
                <c:pt idx="874">
                  <c:v>40402</c:v>
                </c:pt>
                <c:pt idx="875">
                  <c:v>40403</c:v>
                </c:pt>
                <c:pt idx="876">
                  <c:v>40406</c:v>
                </c:pt>
                <c:pt idx="877">
                  <c:v>40407</c:v>
                </c:pt>
                <c:pt idx="878">
                  <c:v>40408</c:v>
                </c:pt>
                <c:pt idx="879">
                  <c:v>40409</c:v>
                </c:pt>
                <c:pt idx="880">
                  <c:v>40410</c:v>
                </c:pt>
                <c:pt idx="881">
                  <c:v>40413</c:v>
                </c:pt>
                <c:pt idx="882">
                  <c:v>40414</c:v>
                </c:pt>
                <c:pt idx="883">
                  <c:v>40415</c:v>
                </c:pt>
                <c:pt idx="884">
                  <c:v>40416</c:v>
                </c:pt>
                <c:pt idx="885">
                  <c:v>40417</c:v>
                </c:pt>
                <c:pt idx="886">
                  <c:v>40420</c:v>
                </c:pt>
                <c:pt idx="887">
                  <c:v>40421</c:v>
                </c:pt>
                <c:pt idx="888">
                  <c:v>40422</c:v>
                </c:pt>
                <c:pt idx="889">
                  <c:v>40423</c:v>
                </c:pt>
                <c:pt idx="890">
                  <c:v>40424</c:v>
                </c:pt>
                <c:pt idx="891">
                  <c:v>40428</c:v>
                </c:pt>
                <c:pt idx="892">
                  <c:v>40429</c:v>
                </c:pt>
                <c:pt idx="893">
                  <c:v>40430</c:v>
                </c:pt>
                <c:pt idx="894">
                  <c:v>40431</c:v>
                </c:pt>
                <c:pt idx="895">
                  <c:v>40434</c:v>
                </c:pt>
                <c:pt idx="896">
                  <c:v>40435</c:v>
                </c:pt>
                <c:pt idx="897">
                  <c:v>40436</c:v>
                </c:pt>
                <c:pt idx="898">
                  <c:v>40437</c:v>
                </c:pt>
                <c:pt idx="899">
                  <c:v>40438</c:v>
                </c:pt>
                <c:pt idx="900">
                  <c:v>40441</c:v>
                </c:pt>
                <c:pt idx="901">
                  <c:v>40442</c:v>
                </c:pt>
                <c:pt idx="902">
                  <c:v>40443</c:v>
                </c:pt>
                <c:pt idx="903">
                  <c:v>40444</c:v>
                </c:pt>
                <c:pt idx="904">
                  <c:v>40445</c:v>
                </c:pt>
                <c:pt idx="905">
                  <c:v>40448</c:v>
                </c:pt>
                <c:pt idx="906">
                  <c:v>40449</c:v>
                </c:pt>
                <c:pt idx="907">
                  <c:v>40450</c:v>
                </c:pt>
                <c:pt idx="908">
                  <c:v>40451</c:v>
                </c:pt>
                <c:pt idx="909">
                  <c:v>40452</c:v>
                </c:pt>
                <c:pt idx="910">
                  <c:v>40455</c:v>
                </c:pt>
                <c:pt idx="911">
                  <c:v>40456</c:v>
                </c:pt>
                <c:pt idx="912">
                  <c:v>40457</c:v>
                </c:pt>
                <c:pt idx="913">
                  <c:v>40458</c:v>
                </c:pt>
                <c:pt idx="914">
                  <c:v>40459</c:v>
                </c:pt>
                <c:pt idx="915">
                  <c:v>40462</c:v>
                </c:pt>
                <c:pt idx="916">
                  <c:v>40463</c:v>
                </c:pt>
                <c:pt idx="917">
                  <c:v>40464</c:v>
                </c:pt>
                <c:pt idx="918">
                  <c:v>40465</c:v>
                </c:pt>
                <c:pt idx="919">
                  <c:v>40466</c:v>
                </c:pt>
                <c:pt idx="920">
                  <c:v>40469</c:v>
                </c:pt>
                <c:pt idx="921">
                  <c:v>40470</c:v>
                </c:pt>
                <c:pt idx="922">
                  <c:v>40471</c:v>
                </c:pt>
                <c:pt idx="923">
                  <c:v>40472</c:v>
                </c:pt>
                <c:pt idx="924">
                  <c:v>40473</c:v>
                </c:pt>
                <c:pt idx="925">
                  <c:v>40476</c:v>
                </c:pt>
                <c:pt idx="926">
                  <c:v>40477</c:v>
                </c:pt>
                <c:pt idx="927">
                  <c:v>40478</c:v>
                </c:pt>
                <c:pt idx="928">
                  <c:v>40479</c:v>
                </c:pt>
                <c:pt idx="929">
                  <c:v>40480</c:v>
                </c:pt>
                <c:pt idx="930">
                  <c:v>40483</c:v>
                </c:pt>
                <c:pt idx="931">
                  <c:v>40484</c:v>
                </c:pt>
                <c:pt idx="932">
                  <c:v>40485</c:v>
                </c:pt>
                <c:pt idx="933">
                  <c:v>40486</c:v>
                </c:pt>
                <c:pt idx="934">
                  <c:v>40487</c:v>
                </c:pt>
                <c:pt idx="935">
                  <c:v>40490</c:v>
                </c:pt>
                <c:pt idx="936">
                  <c:v>40491</c:v>
                </c:pt>
                <c:pt idx="937">
                  <c:v>40492</c:v>
                </c:pt>
                <c:pt idx="938">
                  <c:v>40493</c:v>
                </c:pt>
                <c:pt idx="939">
                  <c:v>40494</c:v>
                </c:pt>
                <c:pt idx="940">
                  <c:v>40497</c:v>
                </c:pt>
                <c:pt idx="941">
                  <c:v>40498</c:v>
                </c:pt>
                <c:pt idx="942">
                  <c:v>40499</c:v>
                </c:pt>
                <c:pt idx="943">
                  <c:v>40500</c:v>
                </c:pt>
                <c:pt idx="944">
                  <c:v>40501</c:v>
                </c:pt>
                <c:pt idx="945">
                  <c:v>40504</c:v>
                </c:pt>
                <c:pt idx="946">
                  <c:v>40505</c:v>
                </c:pt>
                <c:pt idx="947">
                  <c:v>40506</c:v>
                </c:pt>
                <c:pt idx="948">
                  <c:v>40508</c:v>
                </c:pt>
                <c:pt idx="949">
                  <c:v>40511</c:v>
                </c:pt>
                <c:pt idx="950">
                  <c:v>40512</c:v>
                </c:pt>
                <c:pt idx="951">
                  <c:v>40513</c:v>
                </c:pt>
                <c:pt idx="952">
                  <c:v>40514</c:v>
                </c:pt>
                <c:pt idx="953">
                  <c:v>40515</c:v>
                </c:pt>
                <c:pt idx="954">
                  <c:v>40518</c:v>
                </c:pt>
                <c:pt idx="955">
                  <c:v>40519</c:v>
                </c:pt>
                <c:pt idx="956">
                  <c:v>40520</c:v>
                </c:pt>
                <c:pt idx="957">
                  <c:v>40521</c:v>
                </c:pt>
                <c:pt idx="958">
                  <c:v>40522</c:v>
                </c:pt>
                <c:pt idx="959">
                  <c:v>40525</c:v>
                </c:pt>
                <c:pt idx="960">
                  <c:v>40526</c:v>
                </c:pt>
                <c:pt idx="961">
                  <c:v>40527</c:v>
                </c:pt>
                <c:pt idx="962">
                  <c:v>40528</c:v>
                </c:pt>
                <c:pt idx="963">
                  <c:v>40529</c:v>
                </c:pt>
                <c:pt idx="964">
                  <c:v>40532</c:v>
                </c:pt>
                <c:pt idx="965">
                  <c:v>40533</c:v>
                </c:pt>
                <c:pt idx="966">
                  <c:v>40534</c:v>
                </c:pt>
                <c:pt idx="967">
                  <c:v>40535</c:v>
                </c:pt>
                <c:pt idx="968">
                  <c:v>40539</c:v>
                </c:pt>
                <c:pt idx="969">
                  <c:v>40540</c:v>
                </c:pt>
                <c:pt idx="970">
                  <c:v>40541</c:v>
                </c:pt>
                <c:pt idx="971">
                  <c:v>40542</c:v>
                </c:pt>
                <c:pt idx="972">
                  <c:v>40543</c:v>
                </c:pt>
                <c:pt idx="973">
                  <c:v>40546</c:v>
                </c:pt>
                <c:pt idx="974">
                  <c:v>40547</c:v>
                </c:pt>
                <c:pt idx="975">
                  <c:v>40548</c:v>
                </c:pt>
                <c:pt idx="976">
                  <c:v>40549</c:v>
                </c:pt>
                <c:pt idx="977">
                  <c:v>40550</c:v>
                </c:pt>
                <c:pt idx="978">
                  <c:v>40553</c:v>
                </c:pt>
                <c:pt idx="979">
                  <c:v>40554</c:v>
                </c:pt>
                <c:pt idx="980">
                  <c:v>40555</c:v>
                </c:pt>
                <c:pt idx="981">
                  <c:v>40556</c:v>
                </c:pt>
                <c:pt idx="982">
                  <c:v>40557</c:v>
                </c:pt>
                <c:pt idx="983">
                  <c:v>40561</c:v>
                </c:pt>
                <c:pt idx="984">
                  <c:v>40562</c:v>
                </c:pt>
                <c:pt idx="985">
                  <c:v>40563</c:v>
                </c:pt>
                <c:pt idx="986">
                  <c:v>40564</c:v>
                </c:pt>
                <c:pt idx="987">
                  <c:v>40567</c:v>
                </c:pt>
                <c:pt idx="988">
                  <c:v>40568</c:v>
                </c:pt>
                <c:pt idx="989">
                  <c:v>40569</c:v>
                </c:pt>
                <c:pt idx="990">
                  <c:v>40570</c:v>
                </c:pt>
                <c:pt idx="991">
                  <c:v>40571</c:v>
                </c:pt>
                <c:pt idx="992">
                  <c:v>40574</c:v>
                </c:pt>
                <c:pt idx="993">
                  <c:v>40575</c:v>
                </c:pt>
                <c:pt idx="994">
                  <c:v>40576</c:v>
                </c:pt>
                <c:pt idx="995">
                  <c:v>40577</c:v>
                </c:pt>
                <c:pt idx="996">
                  <c:v>40578</c:v>
                </c:pt>
                <c:pt idx="997">
                  <c:v>40581</c:v>
                </c:pt>
                <c:pt idx="998">
                  <c:v>40582</c:v>
                </c:pt>
                <c:pt idx="999">
                  <c:v>40583</c:v>
                </c:pt>
                <c:pt idx="1000">
                  <c:v>40584</c:v>
                </c:pt>
                <c:pt idx="1001">
                  <c:v>40585</c:v>
                </c:pt>
                <c:pt idx="1002">
                  <c:v>40588</c:v>
                </c:pt>
                <c:pt idx="1003">
                  <c:v>40589</c:v>
                </c:pt>
                <c:pt idx="1004">
                  <c:v>40590</c:v>
                </c:pt>
                <c:pt idx="1005">
                  <c:v>40591</c:v>
                </c:pt>
                <c:pt idx="1006">
                  <c:v>40592</c:v>
                </c:pt>
                <c:pt idx="1007">
                  <c:v>40596</c:v>
                </c:pt>
                <c:pt idx="1008">
                  <c:v>40597</c:v>
                </c:pt>
                <c:pt idx="1009">
                  <c:v>40598</c:v>
                </c:pt>
                <c:pt idx="1010">
                  <c:v>40599</c:v>
                </c:pt>
                <c:pt idx="1011">
                  <c:v>40602</c:v>
                </c:pt>
                <c:pt idx="1012">
                  <c:v>40603</c:v>
                </c:pt>
                <c:pt idx="1013">
                  <c:v>40604</c:v>
                </c:pt>
                <c:pt idx="1014">
                  <c:v>40605</c:v>
                </c:pt>
                <c:pt idx="1015">
                  <c:v>40606</c:v>
                </c:pt>
                <c:pt idx="1016">
                  <c:v>40609</c:v>
                </c:pt>
                <c:pt idx="1017">
                  <c:v>40610</c:v>
                </c:pt>
                <c:pt idx="1018">
                  <c:v>40611</c:v>
                </c:pt>
                <c:pt idx="1019">
                  <c:v>40612</c:v>
                </c:pt>
                <c:pt idx="1020">
                  <c:v>40613</c:v>
                </c:pt>
                <c:pt idx="1021">
                  <c:v>40616</c:v>
                </c:pt>
                <c:pt idx="1022">
                  <c:v>40617</c:v>
                </c:pt>
                <c:pt idx="1023">
                  <c:v>40618</c:v>
                </c:pt>
                <c:pt idx="1024">
                  <c:v>40619</c:v>
                </c:pt>
                <c:pt idx="1025">
                  <c:v>40620</c:v>
                </c:pt>
                <c:pt idx="1026">
                  <c:v>40623</c:v>
                </c:pt>
                <c:pt idx="1027">
                  <c:v>40624</c:v>
                </c:pt>
                <c:pt idx="1028">
                  <c:v>40625</c:v>
                </c:pt>
                <c:pt idx="1029">
                  <c:v>40626</c:v>
                </c:pt>
                <c:pt idx="1030">
                  <c:v>40627</c:v>
                </c:pt>
                <c:pt idx="1031">
                  <c:v>40630</c:v>
                </c:pt>
                <c:pt idx="1032">
                  <c:v>40631</c:v>
                </c:pt>
                <c:pt idx="1033">
                  <c:v>40632</c:v>
                </c:pt>
                <c:pt idx="1034">
                  <c:v>40633</c:v>
                </c:pt>
                <c:pt idx="1035">
                  <c:v>40634</c:v>
                </c:pt>
                <c:pt idx="1036">
                  <c:v>40637</c:v>
                </c:pt>
                <c:pt idx="1037">
                  <c:v>40638</c:v>
                </c:pt>
                <c:pt idx="1038">
                  <c:v>40639</c:v>
                </c:pt>
                <c:pt idx="1039">
                  <c:v>40640</c:v>
                </c:pt>
                <c:pt idx="1040">
                  <c:v>40641</c:v>
                </c:pt>
                <c:pt idx="1041">
                  <c:v>40644</c:v>
                </c:pt>
                <c:pt idx="1042">
                  <c:v>40645</c:v>
                </c:pt>
                <c:pt idx="1043">
                  <c:v>40646</c:v>
                </c:pt>
                <c:pt idx="1044">
                  <c:v>40647</c:v>
                </c:pt>
                <c:pt idx="1045">
                  <c:v>40648</c:v>
                </c:pt>
                <c:pt idx="1046">
                  <c:v>40651</c:v>
                </c:pt>
                <c:pt idx="1047">
                  <c:v>40652</c:v>
                </c:pt>
                <c:pt idx="1048">
                  <c:v>40653</c:v>
                </c:pt>
                <c:pt idx="1049">
                  <c:v>40654</c:v>
                </c:pt>
                <c:pt idx="1050">
                  <c:v>40658</c:v>
                </c:pt>
                <c:pt idx="1051">
                  <c:v>40659</c:v>
                </c:pt>
                <c:pt idx="1052">
                  <c:v>40660</c:v>
                </c:pt>
                <c:pt idx="1053">
                  <c:v>40661</c:v>
                </c:pt>
                <c:pt idx="1054">
                  <c:v>40662</c:v>
                </c:pt>
                <c:pt idx="1055">
                  <c:v>40665</c:v>
                </c:pt>
                <c:pt idx="1056">
                  <c:v>40666</c:v>
                </c:pt>
                <c:pt idx="1057">
                  <c:v>40667</c:v>
                </c:pt>
                <c:pt idx="1058">
                  <c:v>40668</c:v>
                </c:pt>
                <c:pt idx="1059">
                  <c:v>40669</c:v>
                </c:pt>
                <c:pt idx="1060">
                  <c:v>40672</c:v>
                </c:pt>
                <c:pt idx="1061">
                  <c:v>40673</c:v>
                </c:pt>
                <c:pt idx="1062">
                  <c:v>40674</c:v>
                </c:pt>
                <c:pt idx="1063">
                  <c:v>40675</c:v>
                </c:pt>
                <c:pt idx="1064">
                  <c:v>40676</c:v>
                </c:pt>
                <c:pt idx="1065">
                  <c:v>40679</c:v>
                </c:pt>
                <c:pt idx="1066">
                  <c:v>40680</c:v>
                </c:pt>
                <c:pt idx="1067">
                  <c:v>40681</c:v>
                </c:pt>
                <c:pt idx="1068">
                  <c:v>40682</c:v>
                </c:pt>
                <c:pt idx="1069">
                  <c:v>40683</c:v>
                </c:pt>
                <c:pt idx="1070">
                  <c:v>40686</c:v>
                </c:pt>
                <c:pt idx="1071">
                  <c:v>40687</c:v>
                </c:pt>
                <c:pt idx="1072">
                  <c:v>40688</c:v>
                </c:pt>
                <c:pt idx="1073">
                  <c:v>40689</c:v>
                </c:pt>
                <c:pt idx="1074">
                  <c:v>40690</c:v>
                </c:pt>
                <c:pt idx="1075">
                  <c:v>40694</c:v>
                </c:pt>
                <c:pt idx="1076">
                  <c:v>40695</c:v>
                </c:pt>
                <c:pt idx="1077">
                  <c:v>40696</c:v>
                </c:pt>
                <c:pt idx="1078">
                  <c:v>40697</c:v>
                </c:pt>
                <c:pt idx="1079">
                  <c:v>40700</c:v>
                </c:pt>
                <c:pt idx="1080">
                  <c:v>40701</c:v>
                </c:pt>
                <c:pt idx="1081">
                  <c:v>40702</c:v>
                </c:pt>
                <c:pt idx="1082">
                  <c:v>40703</c:v>
                </c:pt>
                <c:pt idx="1083">
                  <c:v>40704</c:v>
                </c:pt>
                <c:pt idx="1084">
                  <c:v>40707</c:v>
                </c:pt>
                <c:pt idx="1085">
                  <c:v>40708</c:v>
                </c:pt>
                <c:pt idx="1086">
                  <c:v>40709</c:v>
                </c:pt>
                <c:pt idx="1087">
                  <c:v>40710</c:v>
                </c:pt>
                <c:pt idx="1088">
                  <c:v>40711</c:v>
                </c:pt>
                <c:pt idx="1089">
                  <c:v>40714</c:v>
                </c:pt>
                <c:pt idx="1090">
                  <c:v>40715</c:v>
                </c:pt>
                <c:pt idx="1091">
                  <c:v>40716</c:v>
                </c:pt>
                <c:pt idx="1092">
                  <c:v>40717</c:v>
                </c:pt>
                <c:pt idx="1093">
                  <c:v>40718</c:v>
                </c:pt>
                <c:pt idx="1094">
                  <c:v>40721</c:v>
                </c:pt>
                <c:pt idx="1095">
                  <c:v>40722</c:v>
                </c:pt>
                <c:pt idx="1096">
                  <c:v>40723</c:v>
                </c:pt>
                <c:pt idx="1097">
                  <c:v>40724</c:v>
                </c:pt>
                <c:pt idx="1098">
                  <c:v>40725</c:v>
                </c:pt>
                <c:pt idx="1099">
                  <c:v>40729</c:v>
                </c:pt>
                <c:pt idx="1100">
                  <c:v>40730</c:v>
                </c:pt>
                <c:pt idx="1101">
                  <c:v>40731</c:v>
                </c:pt>
                <c:pt idx="1102">
                  <c:v>40732</c:v>
                </c:pt>
                <c:pt idx="1103">
                  <c:v>40735</c:v>
                </c:pt>
                <c:pt idx="1104">
                  <c:v>40736</c:v>
                </c:pt>
                <c:pt idx="1105">
                  <c:v>40737</c:v>
                </c:pt>
                <c:pt idx="1106">
                  <c:v>40738</c:v>
                </c:pt>
                <c:pt idx="1107">
                  <c:v>40739</c:v>
                </c:pt>
                <c:pt idx="1108">
                  <c:v>40742</c:v>
                </c:pt>
                <c:pt idx="1109">
                  <c:v>40743</c:v>
                </c:pt>
                <c:pt idx="1110">
                  <c:v>40744</c:v>
                </c:pt>
                <c:pt idx="1111">
                  <c:v>40745</c:v>
                </c:pt>
                <c:pt idx="1112">
                  <c:v>40746</c:v>
                </c:pt>
                <c:pt idx="1113">
                  <c:v>40749</c:v>
                </c:pt>
                <c:pt idx="1114">
                  <c:v>40750</c:v>
                </c:pt>
                <c:pt idx="1115">
                  <c:v>40751</c:v>
                </c:pt>
                <c:pt idx="1116">
                  <c:v>40752</c:v>
                </c:pt>
                <c:pt idx="1117">
                  <c:v>40753</c:v>
                </c:pt>
                <c:pt idx="1118">
                  <c:v>40756</c:v>
                </c:pt>
                <c:pt idx="1119">
                  <c:v>40757</c:v>
                </c:pt>
                <c:pt idx="1120">
                  <c:v>40758</c:v>
                </c:pt>
                <c:pt idx="1121">
                  <c:v>40759</c:v>
                </c:pt>
                <c:pt idx="1122">
                  <c:v>40760</c:v>
                </c:pt>
                <c:pt idx="1123">
                  <c:v>40763</c:v>
                </c:pt>
                <c:pt idx="1124">
                  <c:v>40764</c:v>
                </c:pt>
                <c:pt idx="1125">
                  <c:v>40765</c:v>
                </c:pt>
                <c:pt idx="1126">
                  <c:v>40766</c:v>
                </c:pt>
                <c:pt idx="1127">
                  <c:v>40767</c:v>
                </c:pt>
                <c:pt idx="1128">
                  <c:v>40770</c:v>
                </c:pt>
                <c:pt idx="1129">
                  <c:v>40771</c:v>
                </c:pt>
                <c:pt idx="1130">
                  <c:v>40772</c:v>
                </c:pt>
                <c:pt idx="1131">
                  <c:v>40773</c:v>
                </c:pt>
                <c:pt idx="1132">
                  <c:v>40774</c:v>
                </c:pt>
                <c:pt idx="1133">
                  <c:v>40777</c:v>
                </c:pt>
                <c:pt idx="1134">
                  <c:v>40778</c:v>
                </c:pt>
                <c:pt idx="1135">
                  <c:v>40779</c:v>
                </c:pt>
                <c:pt idx="1136">
                  <c:v>40780</c:v>
                </c:pt>
                <c:pt idx="1137">
                  <c:v>40781</c:v>
                </c:pt>
                <c:pt idx="1138">
                  <c:v>40784</c:v>
                </c:pt>
                <c:pt idx="1139">
                  <c:v>40785</c:v>
                </c:pt>
                <c:pt idx="1140">
                  <c:v>40786</c:v>
                </c:pt>
                <c:pt idx="1141">
                  <c:v>40787</c:v>
                </c:pt>
                <c:pt idx="1142">
                  <c:v>40788</c:v>
                </c:pt>
                <c:pt idx="1143">
                  <c:v>40792</c:v>
                </c:pt>
                <c:pt idx="1144">
                  <c:v>40793</c:v>
                </c:pt>
                <c:pt idx="1145">
                  <c:v>40794</c:v>
                </c:pt>
                <c:pt idx="1146">
                  <c:v>40795</c:v>
                </c:pt>
                <c:pt idx="1147">
                  <c:v>40798</c:v>
                </c:pt>
                <c:pt idx="1148">
                  <c:v>40799</c:v>
                </c:pt>
                <c:pt idx="1149">
                  <c:v>40800</c:v>
                </c:pt>
                <c:pt idx="1150">
                  <c:v>40801</c:v>
                </c:pt>
                <c:pt idx="1151">
                  <c:v>40802</c:v>
                </c:pt>
                <c:pt idx="1152">
                  <c:v>40805</c:v>
                </c:pt>
                <c:pt idx="1153">
                  <c:v>40806</c:v>
                </c:pt>
                <c:pt idx="1154">
                  <c:v>40807</c:v>
                </c:pt>
                <c:pt idx="1155">
                  <c:v>40808</c:v>
                </c:pt>
                <c:pt idx="1156">
                  <c:v>40809</c:v>
                </c:pt>
                <c:pt idx="1157">
                  <c:v>40812</c:v>
                </c:pt>
                <c:pt idx="1158">
                  <c:v>40813</c:v>
                </c:pt>
                <c:pt idx="1159">
                  <c:v>40814</c:v>
                </c:pt>
                <c:pt idx="1160">
                  <c:v>40815</c:v>
                </c:pt>
                <c:pt idx="1161">
                  <c:v>40816</c:v>
                </c:pt>
                <c:pt idx="1162">
                  <c:v>40819</c:v>
                </c:pt>
                <c:pt idx="1163">
                  <c:v>40820</c:v>
                </c:pt>
                <c:pt idx="1164">
                  <c:v>40821</c:v>
                </c:pt>
                <c:pt idx="1165">
                  <c:v>40822</c:v>
                </c:pt>
                <c:pt idx="1166">
                  <c:v>40823</c:v>
                </c:pt>
                <c:pt idx="1167">
                  <c:v>40826</c:v>
                </c:pt>
                <c:pt idx="1168">
                  <c:v>40827</c:v>
                </c:pt>
                <c:pt idx="1169">
                  <c:v>40828</c:v>
                </c:pt>
                <c:pt idx="1170">
                  <c:v>40829</c:v>
                </c:pt>
                <c:pt idx="1171">
                  <c:v>40830</c:v>
                </c:pt>
                <c:pt idx="1172">
                  <c:v>40833</c:v>
                </c:pt>
                <c:pt idx="1173">
                  <c:v>40834</c:v>
                </c:pt>
                <c:pt idx="1174">
                  <c:v>40835</c:v>
                </c:pt>
                <c:pt idx="1175">
                  <c:v>40836</c:v>
                </c:pt>
                <c:pt idx="1176">
                  <c:v>40837</c:v>
                </c:pt>
                <c:pt idx="1177">
                  <c:v>40840</c:v>
                </c:pt>
                <c:pt idx="1178">
                  <c:v>40841</c:v>
                </c:pt>
                <c:pt idx="1179">
                  <c:v>40842</c:v>
                </c:pt>
                <c:pt idx="1180">
                  <c:v>40843</c:v>
                </c:pt>
                <c:pt idx="1181">
                  <c:v>40844</c:v>
                </c:pt>
                <c:pt idx="1182">
                  <c:v>40847</c:v>
                </c:pt>
                <c:pt idx="1183">
                  <c:v>40848</c:v>
                </c:pt>
                <c:pt idx="1184">
                  <c:v>40849</c:v>
                </c:pt>
                <c:pt idx="1185">
                  <c:v>40850</c:v>
                </c:pt>
                <c:pt idx="1186">
                  <c:v>40851</c:v>
                </c:pt>
                <c:pt idx="1187">
                  <c:v>40854</c:v>
                </c:pt>
                <c:pt idx="1188">
                  <c:v>40855</c:v>
                </c:pt>
                <c:pt idx="1189">
                  <c:v>40856</c:v>
                </c:pt>
                <c:pt idx="1190">
                  <c:v>40857</c:v>
                </c:pt>
                <c:pt idx="1191">
                  <c:v>40858</c:v>
                </c:pt>
                <c:pt idx="1192">
                  <c:v>40861</c:v>
                </c:pt>
                <c:pt idx="1193">
                  <c:v>40862</c:v>
                </c:pt>
                <c:pt idx="1194">
                  <c:v>40863</c:v>
                </c:pt>
                <c:pt idx="1195">
                  <c:v>40864</c:v>
                </c:pt>
                <c:pt idx="1196">
                  <c:v>40865</c:v>
                </c:pt>
                <c:pt idx="1197">
                  <c:v>40868</c:v>
                </c:pt>
                <c:pt idx="1198">
                  <c:v>40869</c:v>
                </c:pt>
                <c:pt idx="1199">
                  <c:v>40870</c:v>
                </c:pt>
                <c:pt idx="1200">
                  <c:v>40872</c:v>
                </c:pt>
                <c:pt idx="1201">
                  <c:v>40875</c:v>
                </c:pt>
                <c:pt idx="1202">
                  <c:v>40876</c:v>
                </c:pt>
                <c:pt idx="1203">
                  <c:v>40877</c:v>
                </c:pt>
                <c:pt idx="1204">
                  <c:v>40878</c:v>
                </c:pt>
                <c:pt idx="1205">
                  <c:v>40879</c:v>
                </c:pt>
                <c:pt idx="1206">
                  <c:v>40882</c:v>
                </c:pt>
                <c:pt idx="1207">
                  <c:v>40883</c:v>
                </c:pt>
                <c:pt idx="1208">
                  <c:v>40884</c:v>
                </c:pt>
                <c:pt idx="1209">
                  <c:v>40885</c:v>
                </c:pt>
                <c:pt idx="1210">
                  <c:v>40886</c:v>
                </c:pt>
                <c:pt idx="1211">
                  <c:v>40889</c:v>
                </c:pt>
                <c:pt idx="1212">
                  <c:v>40890</c:v>
                </c:pt>
                <c:pt idx="1213">
                  <c:v>40891</c:v>
                </c:pt>
                <c:pt idx="1214">
                  <c:v>40892</c:v>
                </c:pt>
                <c:pt idx="1215">
                  <c:v>40893</c:v>
                </c:pt>
                <c:pt idx="1216">
                  <c:v>40896</c:v>
                </c:pt>
                <c:pt idx="1217">
                  <c:v>40897</c:v>
                </c:pt>
                <c:pt idx="1218">
                  <c:v>40898</c:v>
                </c:pt>
                <c:pt idx="1219">
                  <c:v>40899</c:v>
                </c:pt>
                <c:pt idx="1220">
                  <c:v>40900</c:v>
                </c:pt>
                <c:pt idx="1221">
                  <c:v>40904</c:v>
                </c:pt>
                <c:pt idx="1222">
                  <c:v>40905</c:v>
                </c:pt>
                <c:pt idx="1223">
                  <c:v>40906</c:v>
                </c:pt>
                <c:pt idx="1224">
                  <c:v>40907</c:v>
                </c:pt>
                <c:pt idx="1225">
                  <c:v>40911</c:v>
                </c:pt>
                <c:pt idx="1226">
                  <c:v>40912</c:v>
                </c:pt>
                <c:pt idx="1227">
                  <c:v>40913</c:v>
                </c:pt>
                <c:pt idx="1228">
                  <c:v>40914</c:v>
                </c:pt>
                <c:pt idx="1229">
                  <c:v>40917</c:v>
                </c:pt>
                <c:pt idx="1230">
                  <c:v>40918</c:v>
                </c:pt>
                <c:pt idx="1231">
                  <c:v>40919</c:v>
                </c:pt>
                <c:pt idx="1232">
                  <c:v>40920</c:v>
                </c:pt>
                <c:pt idx="1233">
                  <c:v>40921</c:v>
                </c:pt>
                <c:pt idx="1234">
                  <c:v>40925</c:v>
                </c:pt>
                <c:pt idx="1235">
                  <c:v>40926</c:v>
                </c:pt>
                <c:pt idx="1236">
                  <c:v>40927</c:v>
                </c:pt>
                <c:pt idx="1237">
                  <c:v>40928</c:v>
                </c:pt>
                <c:pt idx="1238">
                  <c:v>40931</c:v>
                </c:pt>
                <c:pt idx="1239">
                  <c:v>40932</c:v>
                </c:pt>
                <c:pt idx="1240">
                  <c:v>40933</c:v>
                </c:pt>
                <c:pt idx="1241">
                  <c:v>40934</c:v>
                </c:pt>
                <c:pt idx="1242">
                  <c:v>40935</c:v>
                </c:pt>
                <c:pt idx="1243">
                  <c:v>40938</c:v>
                </c:pt>
                <c:pt idx="1244">
                  <c:v>40939</c:v>
                </c:pt>
                <c:pt idx="1245">
                  <c:v>40940</c:v>
                </c:pt>
                <c:pt idx="1246">
                  <c:v>40941</c:v>
                </c:pt>
                <c:pt idx="1247">
                  <c:v>40942</c:v>
                </c:pt>
                <c:pt idx="1248">
                  <c:v>40945</c:v>
                </c:pt>
                <c:pt idx="1249">
                  <c:v>40946</c:v>
                </c:pt>
                <c:pt idx="1250">
                  <c:v>40947</c:v>
                </c:pt>
                <c:pt idx="1251">
                  <c:v>40948</c:v>
                </c:pt>
                <c:pt idx="1252">
                  <c:v>40949</c:v>
                </c:pt>
                <c:pt idx="1253">
                  <c:v>40952</c:v>
                </c:pt>
                <c:pt idx="1254">
                  <c:v>40953</c:v>
                </c:pt>
                <c:pt idx="1255">
                  <c:v>40954</c:v>
                </c:pt>
                <c:pt idx="1256">
                  <c:v>40955</c:v>
                </c:pt>
                <c:pt idx="1257">
                  <c:v>40956</c:v>
                </c:pt>
                <c:pt idx="1258">
                  <c:v>40960</c:v>
                </c:pt>
                <c:pt idx="1259">
                  <c:v>40961</c:v>
                </c:pt>
                <c:pt idx="1260">
                  <c:v>40962</c:v>
                </c:pt>
                <c:pt idx="1261">
                  <c:v>40963</c:v>
                </c:pt>
                <c:pt idx="1262">
                  <c:v>40966</c:v>
                </c:pt>
                <c:pt idx="1263">
                  <c:v>40967</c:v>
                </c:pt>
                <c:pt idx="1264">
                  <c:v>40968</c:v>
                </c:pt>
                <c:pt idx="1265">
                  <c:v>40969</c:v>
                </c:pt>
                <c:pt idx="1266">
                  <c:v>40970</c:v>
                </c:pt>
                <c:pt idx="1267">
                  <c:v>40973</c:v>
                </c:pt>
                <c:pt idx="1268">
                  <c:v>40974</c:v>
                </c:pt>
                <c:pt idx="1269">
                  <c:v>40975</c:v>
                </c:pt>
                <c:pt idx="1270">
                  <c:v>40976</c:v>
                </c:pt>
                <c:pt idx="1271">
                  <c:v>40977</c:v>
                </c:pt>
                <c:pt idx="1272">
                  <c:v>40980</c:v>
                </c:pt>
                <c:pt idx="1273">
                  <c:v>40981</c:v>
                </c:pt>
                <c:pt idx="1274">
                  <c:v>40982</c:v>
                </c:pt>
                <c:pt idx="1275">
                  <c:v>40983</c:v>
                </c:pt>
                <c:pt idx="1276">
                  <c:v>40984</c:v>
                </c:pt>
                <c:pt idx="1277">
                  <c:v>40987</c:v>
                </c:pt>
                <c:pt idx="1278">
                  <c:v>40988</c:v>
                </c:pt>
                <c:pt idx="1279">
                  <c:v>40989</c:v>
                </c:pt>
                <c:pt idx="1280">
                  <c:v>40990</c:v>
                </c:pt>
                <c:pt idx="1281">
                  <c:v>40991</c:v>
                </c:pt>
                <c:pt idx="1282">
                  <c:v>40994</c:v>
                </c:pt>
                <c:pt idx="1283">
                  <c:v>40995</c:v>
                </c:pt>
                <c:pt idx="1284">
                  <c:v>40996</c:v>
                </c:pt>
                <c:pt idx="1285">
                  <c:v>40997</c:v>
                </c:pt>
                <c:pt idx="1286">
                  <c:v>40998</c:v>
                </c:pt>
                <c:pt idx="1287">
                  <c:v>41001</c:v>
                </c:pt>
                <c:pt idx="1288">
                  <c:v>41002</c:v>
                </c:pt>
                <c:pt idx="1289">
                  <c:v>41003</c:v>
                </c:pt>
                <c:pt idx="1290">
                  <c:v>41004</c:v>
                </c:pt>
                <c:pt idx="1291">
                  <c:v>41008</c:v>
                </c:pt>
                <c:pt idx="1292">
                  <c:v>41009</c:v>
                </c:pt>
                <c:pt idx="1293">
                  <c:v>41010</c:v>
                </c:pt>
                <c:pt idx="1294">
                  <c:v>41011</c:v>
                </c:pt>
                <c:pt idx="1295">
                  <c:v>41012</c:v>
                </c:pt>
                <c:pt idx="1296">
                  <c:v>41015</c:v>
                </c:pt>
                <c:pt idx="1297">
                  <c:v>41016</c:v>
                </c:pt>
                <c:pt idx="1298">
                  <c:v>41017</c:v>
                </c:pt>
                <c:pt idx="1299">
                  <c:v>41018</c:v>
                </c:pt>
                <c:pt idx="1300">
                  <c:v>41019</c:v>
                </c:pt>
                <c:pt idx="1301">
                  <c:v>41022</c:v>
                </c:pt>
                <c:pt idx="1302">
                  <c:v>41023</c:v>
                </c:pt>
                <c:pt idx="1303">
                  <c:v>41024</c:v>
                </c:pt>
                <c:pt idx="1304">
                  <c:v>41025</c:v>
                </c:pt>
                <c:pt idx="1305">
                  <c:v>41026</c:v>
                </c:pt>
                <c:pt idx="1306">
                  <c:v>41029</c:v>
                </c:pt>
                <c:pt idx="1307">
                  <c:v>41030</c:v>
                </c:pt>
                <c:pt idx="1308">
                  <c:v>41031</c:v>
                </c:pt>
                <c:pt idx="1309">
                  <c:v>41032</c:v>
                </c:pt>
                <c:pt idx="1310">
                  <c:v>41033</c:v>
                </c:pt>
                <c:pt idx="1311">
                  <c:v>41036</c:v>
                </c:pt>
                <c:pt idx="1312">
                  <c:v>41037</c:v>
                </c:pt>
                <c:pt idx="1313">
                  <c:v>41038</c:v>
                </c:pt>
                <c:pt idx="1314">
                  <c:v>41039</c:v>
                </c:pt>
                <c:pt idx="1315">
                  <c:v>41040</c:v>
                </c:pt>
                <c:pt idx="1316">
                  <c:v>41043</c:v>
                </c:pt>
                <c:pt idx="1317">
                  <c:v>41044</c:v>
                </c:pt>
                <c:pt idx="1318">
                  <c:v>41045</c:v>
                </c:pt>
                <c:pt idx="1319">
                  <c:v>41046</c:v>
                </c:pt>
                <c:pt idx="1320">
                  <c:v>41047</c:v>
                </c:pt>
                <c:pt idx="1321">
                  <c:v>41050</c:v>
                </c:pt>
                <c:pt idx="1322">
                  <c:v>41051</c:v>
                </c:pt>
                <c:pt idx="1323">
                  <c:v>41052</c:v>
                </c:pt>
                <c:pt idx="1324">
                  <c:v>41053</c:v>
                </c:pt>
                <c:pt idx="1325">
                  <c:v>41054</c:v>
                </c:pt>
                <c:pt idx="1326">
                  <c:v>41058</c:v>
                </c:pt>
                <c:pt idx="1327">
                  <c:v>41059</c:v>
                </c:pt>
                <c:pt idx="1328">
                  <c:v>41060</c:v>
                </c:pt>
                <c:pt idx="1329">
                  <c:v>41061</c:v>
                </c:pt>
                <c:pt idx="1330">
                  <c:v>41064</c:v>
                </c:pt>
                <c:pt idx="1331">
                  <c:v>41065</c:v>
                </c:pt>
                <c:pt idx="1332">
                  <c:v>41066</c:v>
                </c:pt>
                <c:pt idx="1333">
                  <c:v>41067</c:v>
                </c:pt>
                <c:pt idx="1334">
                  <c:v>41068</c:v>
                </c:pt>
                <c:pt idx="1335">
                  <c:v>41071</c:v>
                </c:pt>
                <c:pt idx="1336">
                  <c:v>41072</c:v>
                </c:pt>
                <c:pt idx="1337">
                  <c:v>41073</c:v>
                </c:pt>
                <c:pt idx="1338">
                  <c:v>41074</c:v>
                </c:pt>
                <c:pt idx="1339">
                  <c:v>41075</c:v>
                </c:pt>
                <c:pt idx="1340">
                  <c:v>41078</c:v>
                </c:pt>
                <c:pt idx="1341">
                  <c:v>41079</c:v>
                </c:pt>
                <c:pt idx="1342">
                  <c:v>41080</c:v>
                </c:pt>
                <c:pt idx="1343">
                  <c:v>41081</c:v>
                </c:pt>
                <c:pt idx="1344">
                  <c:v>41082</c:v>
                </c:pt>
                <c:pt idx="1345">
                  <c:v>41085</c:v>
                </c:pt>
                <c:pt idx="1346">
                  <c:v>41086</c:v>
                </c:pt>
                <c:pt idx="1347">
                  <c:v>41087</c:v>
                </c:pt>
                <c:pt idx="1348">
                  <c:v>41088</c:v>
                </c:pt>
                <c:pt idx="1349">
                  <c:v>41089</c:v>
                </c:pt>
                <c:pt idx="1350">
                  <c:v>41092</c:v>
                </c:pt>
                <c:pt idx="1351">
                  <c:v>41093</c:v>
                </c:pt>
                <c:pt idx="1352">
                  <c:v>41095</c:v>
                </c:pt>
                <c:pt idx="1353">
                  <c:v>41096</c:v>
                </c:pt>
                <c:pt idx="1354">
                  <c:v>41099</c:v>
                </c:pt>
                <c:pt idx="1355">
                  <c:v>41100</c:v>
                </c:pt>
                <c:pt idx="1356">
                  <c:v>41101</c:v>
                </c:pt>
                <c:pt idx="1357">
                  <c:v>41102</c:v>
                </c:pt>
                <c:pt idx="1358">
                  <c:v>41103</c:v>
                </c:pt>
                <c:pt idx="1359">
                  <c:v>41106</c:v>
                </c:pt>
                <c:pt idx="1360">
                  <c:v>41107</c:v>
                </c:pt>
                <c:pt idx="1361">
                  <c:v>41108</c:v>
                </c:pt>
                <c:pt idx="1362">
                  <c:v>41109</c:v>
                </c:pt>
                <c:pt idx="1363">
                  <c:v>41110</c:v>
                </c:pt>
                <c:pt idx="1364">
                  <c:v>41113</c:v>
                </c:pt>
                <c:pt idx="1365">
                  <c:v>41114</c:v>
                </c:pt>
                <c:pt idx="1366">
                  <c:v>41115</c:v>
                </c:pt>
                <c:pt idx="1367">
                  <c:v>41116</c:v>
                </c:pt>
                <c:pt idx="1368">
                  <c:v>41117</c:v>
                </c:pt>
                <c:pt idx="1369">
                  <c:v>41120</c:v>
                </c:pt>
                <c:pt idx="1370">
                  <c:v>41121</c:v>
                </c:pt>
                <c:pt idx="1371">
                  <c:v>41122</c:v>
                </c:pt>
                <c:pt idx="1372">
                  <c:v>41123</c:v>
                </c:pt>
                <c:pt idx="1373">
                  <c:v>41124</c:v>
                </c:pt>
                <c:pt idx="1374">
                  <c:v>41127</c:v>
                </c:pt>
                <c:pt idx="1375">
                  <c:v>41128</c:v>
                </c:pt>
                <c:pt idx="1376">
                  <c:v>41129</c:v>
                </c:pt>
                <c:pt idx="1377">
                  <c:v>41130</c:v>
                </c:pt>
                <c:pt idx="1378">
                  <c:v>41131</c:v>
                </c:pt>
                <c:pt idx="1379">
                  <c:v>41134</c:v>
                </c:pt>
                <c:pt idx="1380">
                  <c:v>41135</c:v>
                </c:pt>
                <c:pt idx="1381">
                  <c:v>41136</c:v>
                </c:pt>
                <c:pt idx="1382">
                  <c:v>41137</c:v>
                </c:pt>
                <c:pt idx="1383">
                  <c:v>41138</c:v>
                </c:pt>
                <c:pt idx="1384">
                  <c:v>41141</c:v>
                </c:pt>
                <c:pt idx="1385">
                  <c:v>41142</c:v>
                </c:pt>
                <c:pt idx="1386">
                  <c:v>41143</c:v>
                </c:pt>
                <c:pt idx="1387">
                  <c:v>41144</c:v>
                </c:pt>
                <c:pt idx="1388">
                  <c:v>41145</c:v>
                </c:pt>
                <c:pt idx="1389">
                  <c:v>41148</c:v>
                </c:pt>
                <c:pt idx="1390">
                  <c:v>41149</c:v>
                </c:pt>
                <c:pt idx="1391">
                  <c:v>41150</c:v>
                </c:pt>
                <c:pt idx="1392">
                  <c:v>41151</c:v>
                </c:pt>
                <c:pt idx="1393">
                  <c:v>41152</c:v>
                </c:pt>
                <c:pt idx="1394">
                  <c:v>41156</c:v>
                </c:pt>
                <c:pt idx="1395">
                  <c:v>41157</c:v>
                </c:pt>
                <c:pt idx="1396">
                  <c:v>41158</c:v>
                </c:pt>
                <c:pt idx="1397">
                  <c:v>41159</c:v>
                </c:pt>
                <c:pt idx="1398">
                  <c:v>41162</c:v>
                </c:pt>
                <c:pt idx="1399">
                  <c:v>41163</c:v>
                </c:pt>
                <c:pt idx="1400">
                  <c:v>41164</c:v>
                </c:pt>
                <c:pt idx="1401">
                  <c:v>41165</c:v>
                </c:pt>
                <c:pt idx="1402">
                  <c:v>41166</c:v>
                </c:pt>
                <c:pt idx="1403">
                  <c:v>41169</c:v>
                </c:pt>
                <c:pt idx="1404">
                  <c:v>41170</c:v>
                </c:pt>
                <c:pt idx="1405">
                  <c:v>41171</c:v>
                </c:pt>
                <c:pt idx="1406">
                  <c:v>41172</c:v>
                </c:pt>
                <c:pt idx="1407">
                  <c:v>41173</c:v>
                </c:pt>
                <c:pt idx="1408">
                  <c:v>41176</c:v>
                </c:pt>
                <c:pt idx="1409">
                  <c:v>41177</c:v>
                </c:pt>
                <c:pt idx="1410">
                  <c:v>41178</c:v>
                </c:pt>
                <c:pt idx="1411">
                  <c:v>41179</c:v>
                </c:pt>
                <c:pt idx="1412">
                  <c:v>41180</c:v>
                </c:pt>
                <c:pt idx="1413">
                  <c:v>41183</c:v>
                </c:pt>
                <c:pt idx="1414">
                  <c:v>41184</c:v>
                </c:pt>
                <c:pt idx="1415">
                  <c:v>41185</c:v>
                </c:pt>
                <c:pt idx="1416">
                  <c:v>41186</c:v>
                </c:pt>
                <c:pt idx="1417">
                  <c:v>41187</c:v>
                </c:pt>
                <c:pt idx="1418">
                  <c:v>41190</c:v>
                </c:pt>
                <c:pt idx="1419">
                  <c:v>41191</c:v>
                </c:pt>
                <c:pt idx="1420">
                  <c:v>41192</c:v>
                </c:pt>
                <c:pt idx="1421">
                  <c:v>41193</c:v>
                </c:pt>
                <c:pt idx="1422">
                  <c:v>41194</c:v>
                </c:pt>
                <c:pt idx="1423">
                  <c:v>41197</c:v>
                </c:pt>
                <c:pt idx="1424">
                  <c:v>41198</c:v>
                </c:pt>
                <c:pt idx="1425">
                  <c:v>41199</c:v>
                </c:pt>
                <c:pt idx="1426">
                  <c:v>41200</c:v>
                </c:pt>
                <c:pt idx="1427">
                  <c:v>41201</c:v>
                </c:pt>
                <c:pt idx="1428">
                  <c:v>41204</c:v>
                </c:pt>
                <c:pt idx="1429">
                  <c:v>41205</c:v>
                </c:pt>
                <c:pt idx="1430">
                  <c:v>41206</c:v>
                </c:pt>
                <c:pt idx="1431">
                  <c:v>41207</c:v>
                </c:pt>
                <c:pt idx="1432">
                  <c:v>41208</c:v>
                </c:pt>
                <c:pt idx="1433">
                  <c:v>41213</c:v>
                </c:pt>
                <c:pt idx="1434">
                  <c:v>41214</c:v>
                </c:pt>
                <c:pt idx="1435">
                  <c:v>41215</c:v>
                </c:pt>
                <c:pt idx="1436">
                  <c:v>41218</c:v>
                </c:pt>
                <c:pt idx="1437">
                  <c:v>41219</c:v>
                </c:pt>
                <c:pt idx="1438">
                  <c:v>41220</c:v>
                </c:pt>
                <c:pt idx="1439">
                  <c:v>41221</c:v>
                </c:pt>
                <c:pt idx="1440">
                  <c:v>41222</c:v>
                </c:pt>
                <c:pt idx="1441">
                  <c:v>41225</c:v>
                </c:pt>
                <c:pt idx="1442">
                  <c:v>41226</c:v>
                </c:pt>
                <c:pt idx="1443">
                  <c:v>41227</c:v>
                </c:pt>
                <c:pt idx="1444">
                  <c:v>41228</c:v>
                </c:pt>
                <c:pt idx="1445">
                  <c:v>41229</c:v>
                </c:pt>
                <c:pt idx="1446">
                  <c:v>41232</c:v>
                </c:pt>
                <c:pt idx="1447">
                  <c:v>41233</c:v>
                </c:pt>
                <c:pt idx="1448">
                  <c:v>41234</c:v>
                </c:pt>
                <c:pt idx="1449">
                  <c:v>41236</c:v>
                </c:pt>
                <c:pt idx="1450">
                  <c:v>41239</c:v>
                </c:pt>
                <c:pt idx="1451">
                  <c:v>41240</c:v>
                </c:pt>
                <c:pt idx="1452">
                  <c:v>41241</c:v>
                </c:pt>
                <c:pt idx="1453">
                  <c:v>41242</c:v>
                </c:pt>
                <c:pt idx="1454">
                  <c:v>41243</c:v>
                </c:pt>
                <c:pt idx="1455">
                  <c:v>41246</c:v>
                </c:pt>
                <c:pt idx="1456">
                  <c:v>41247</c:v>
                </c:pt>
                <c:pt idx="1457">
                  <c:v>41248</c:v>
                </c:pt>
                <c:pt idx="1458">
                  <c:v>41249</c:v>
                </c:pt>
                <c:pt idx="1459">
                  <c:v>41250</c:v>
                </c:pt>
                <c:pt idx="1460">
                  <c:v>41253</c:v>
                </c:pt>
                <c:pt idx="1461">
                  <c:v>41254</c:v>
                </c:pt>
                <c:pt idx="1462">
                  <c:v>41255</c:v>
                </c:pt>
                <c:pt idx="1463">
                  <c:v>41256</c:v>
                </c:pt>
                <c:pt idx="1464">
                  <c:v>41257</c:v>
                </c:pt>
                <c:pt idx="1465">
                  <c:v>41260</c:v>
                </c:pt>
                <c:pt idx="1466">
                  <c:v>41261</c:v>
                </c:pt>
                <c:pt idx="1467">
                  <c:v>41262</c:v>
                </c:pt>
                <c:pt idx="1468">
                  <c:v>41263</c:v>
                </c:pt>
                <c:pt idx="1469">
                  <c:v>41264</c:v>
                </c:pt>
                <c:pt idx="1470">
                  <c:v>41267</c:v>
                </c:pt>
                <c:pt idx="1471">
                  <c:v>41269</c:v>
                </c:pt>
                <c:pt idx="1472">
                  <c:v>41270</c:v>
                </c:pt>
                <c:pt idx="1473">
                  <c:v>41271</c:v>
                </c:pt>
                <c:pt idx="1474">
                  <c:v>41274</c:v>
                </c:pt>
                <c:pt idx="1475">
                  <c:v>41276</c:v>
                </c:pt>
                <c:pt idx="1476">
                  <c:v>41277</c:v>
                </c:pt>
                <c:pt idx="1477">
                  <c:v>41278</c:v>
                </c:pt>
                <c:pt idx="1478">
                  <c:v>41281</c:v>
                </c:pt>
                <c:pt idx="1479">
                  <c:v>41282</c:v>
                </c:pt>
                <c:pt idx="1480">
                  <c:v>41283</c:v>
                </c:pt>
                <c:pt idx="1481">
                  <c:v>41284</c:v>
                </c:pt>
                <c:pt idx="1482">
                  <c:v>41285</c:v>
                </c:pt>
                <c:pt idx="1483">
                  <c:v>41288</c:v>
                </c:pt>
                <c:pt idx="1484">
                  <c:v>41289</c:v>
                </c:pt>
                <c:pt idx="1485">
                  <c:v>41290</c:v>
                </c:pt>
                <c:pt idx="1486">
                  <c:v>41291</c:v>
                </c:pt>
                <c:pt idx="1487">
                  <c:v>41292</c:v>
                </c:pt>
                <c:pt idx="1488">
                  <c:v>41296</c:v>
                </c:pt>
                <c:pt idx="1489">
                  <c:v>41297</c:v>
                </c:pt>
                <c:pt idx="1490">
                  <c:v>41298</c:v>
                </c:pt>
                <c:pt idx="1491">
                  <c:v>41299</c:v>
                </c:pt>
                <c:pt idx="1492">
                  <c:v>41302</c:v>
                </c:pt>
                <c:pt idx="1493">
                  <c:v>41303</c:v>
                </c:pt>
                <c:pt idx="1494">
                  <c:v>41304</c:v>
                </c:pt>
                <c:pt idx="1495">
                  <c:v>41305</c:v>
                </c:pt>
                <c:pt idx="1496">
                  <c:v>41306</c:v>
                </c:pt>
                <c:pt idx="1497">
                  <c:v>41309</c:v>
                </c:pt>
                <c:pt idx="1498">
                  <c:v>41310</c:v>
                </c:pt>
                <c:pt idx="1499">
                  <c:v>41311</c:v>
                </c:pt>
                <c:pt idx="1500">
                  <c:v>41312</c:v>
                </c:pt>
                <c:pt idx="1501">
                  <c:v>41313</c:v>
                </c:pt>
                <c:pt idx="1502">
                  <c:v>41316</c:v>
                </c:pt>
                <c:pt idx="1503">
                  <c:v>41317</c:v>
                </c:pt>
                <c:pt idx="1504">
                  <c:v>41318</c:v>
                </c:pt>
                <c:pt idx="1505">
                  <c:v>41319</c:v>
                </c:pt>
                <c:pt idx="1506">
                  <c:v>41320</c:v>
                </c:pt>
                <c:pt idx="1507">
                  <c:v>41324</c:v>
                </c:pt>
                <c:pt idx="1508">
                  <c:v>41325</c:v>
                </c:pt>
                <c:pt idx="1509">
                  <c:v>41326</c:v>
                </c:pt>
                <c:pt idx="1510">
                  <c:v>41327</c:v>
                </c:pt>
                <c:pt idx="1511">
                  <c:v>41330</c:v>
                </c:pt>
                <c:pt idx="1512">
                  <c:v>41331</c:v>
                </c:pt>
                <c:pt idx="1513">
                  <c:v>41332</c:v>
                </c:pt>
                <c:pt idx="1514">
                  <c:v>41333</c:v>
                </c:pt>
                <c:pt idx="1515">
                  <c:v>41334</c:v>
                </c:pt>
                <c:pt idx="1516">
                  <c:v>41337</c:v>
                </c:pt>
                <c:pt idx="1517">
                  <c:v>41338</c:v>
                </c:pt>
                <c:pt idx="1518">
                  <c:v>41339</c:v>
                </c:pt>
                <c:pt idx="1519">
                  <c:v>41340</c:v>
                </c:pt>
                <c:pt idx="1520">
                  <c:v>41341</c:v>
                </c:pt>
                <c:pt idx="1521">
                  <c:v>41344</c:v>
                </c:pt>
                <c:pt idx="1522">
                  <c:v>41345</c:v>
                </c:pt>
                <c:pt idx="1523">
                  <c:v>41346</c:v>
                </c:pt>
                <c:pt idx="1524">
                  <c:v>41347</c:v>
                </c:pt>
                <c:pt idx="1525">
                  <c:v>41348</c:v>
                </c:pt>
                <c:pt idx="1526">
                  <c:v>41351</c:v>
                </c:pt>
                <c:pt idx="1527">
                  <c:v>41352</c:v>
                </c:pt>
                <c:pt idx="1528">
                  <c:v>41353</c:v>
                </c:pt>
                <c:pt idx="1529">
                  <c:v>41354</c:v>
                </c:pt>
                <c:pt idx="1530">
                  <c:v>41355</c:v>
                </c:pt>
                <c:pt idx="1531">
                  <c:v>41358</c:v>
                </c:pt>
                <c:pt idx="1532">
                  <c:v>41359</c:v>
                </c:pt>
                <c:pt idx="1533">
                  <c:v>41360</c:v>
                </c:pt>
                <c:pt idx="1534">
                  <c:v>41361</c:v>
                </c:pt>
                <c:pt idx="1535">
                  <c:v>41365</c:v>
                </c:pt>
                <c:pt idx="1536">
                  <c:v>41366</c:v>
                </c:pt>
                <c:pt idx="1537">
                  <c:v>41367</c:v>
                </c:pt>
                <c:pt idx="1538">
                  <c:v>41368</c:v>
                </c:pt>
                <c:pt idx="1539">
                  <c:v>41369</c:v>
                </c:pt>
                <c:pt idx="1540">
                  <c:v>41372</c:v>
                </c:pt>
                <c:pt idx="1541">
                  <c:v>41373</c:v>
                </c:pt>
                <c:pt idx="1542">
                  <c:v>41374</c:v>
                </c:pt>
                <c:pt idx="1543">
                  <c:v>41375</c:v>
                </c:pt>
                <c:pt idx="1544">
                  <c:v>41376</c:v>
                </c:pt>
                <c:pt idx="1545">
                  <c:v>41379</c:v>
                </c:pt>
                <c:pt idx="1546">
                  <c:v>41380</c:v>
                </c:pt>
                <c:pt idx="1547">
                  <c:v>41381</c:v>
                </c:pt>
                <c:pt idx="1548">
                  <c:v>41382</c:v>
                </c:pt>
                <c:pt idx="1549">
                  <c:v>41383</c:v>
                </c:pt>
                <c:pt idx="1550">
                  <c:v>41386</c:v>
                </c:pt>
                <c:pt idx="1551">
                  <c:v>41387</c:v>
                </c:pt>
                <c:pt idx="1552">
                  <c:v>41388</c:v>
                </c:pt>
                <c:pt idx="1553">
                  <c:v>41389</c:v>
                </c:pt>
                <c:pt idx="1554">
                  <c:v>41390</c:v>
                </c:pt>
                <c:pt idx="1555">
                  <c:v>41393</c:v>
                </c:pt>
                <c:pt idx="1556">
                  <c:v>41394</c:v>
                </c:pt>
                <c:pt idx="1557">
                  <c:v>41395</c:v>
                </c:pt>
                <c:pt idx="1558">
                  <c:v>41396</c:v>
                </c:pt>
                <c:pt idx="1559">
                  <c:v>41397</c:v>
                </c:pt>
                <c:pt idx="1560">
                  <c:v>41400</c:v>
                </c:pt>
                <c:pt idx="1561">
                  <c:v>41401</c:v>
                </c:pt>
                <c:pt idx="1562">
                  <c:v>41402</c:v>
                </c:pt>
                <c:pt idx="1563">
                  <c:v>41403</c:v>
                </c:pt>
                <c:pt idx="1564">
                  <c:v>41404</c:v>
                </c:pt>
                <c:pt idx="1565">
                  <c:v>41407</c:v>
                </c:pt>
                <c:pt idx="1566">
                  <c:v>41408</c:v>
                </c:pt>
                <c:pt idx="1567">
                  <c:v>41409</c:v>
                </c:pt>
                <c:pt idx="1568">
                  <c:v>41410</c:v>
                </c:pt>
                <c:pt idx="1569">
                  <c:v>41411</c:v>
                </c:pt>
                <c:pt idx="1570">
                  <c:v>41414</c:v>
                </c:pt>
                <c:pt idx="1571">
                  <c:v>41415</c:v>
                </c:pt>
                <c:pt idx="1572">
                  <c:v>41416</c:v>
                </c:pt>
                <c:pt idx="1573">
                  <c:v>41417</c:v>
                </c:pt>
                <c:pt idx="1574">
                  <c:v>41418</c:v>
                </c:pt>
                <c:pt idx="1575">
                  <c:v>41422</c:v>
                </c:pt>
                <c:pt idx="1576">
                  <c:v>41423</c:v>
                </c:pt>
                <c:pt idx="1577">
                  <c:v>41424</c:v>
                </c:pt>
                <c:pt idx="1578">
                  <c:v>41425</c:v>
                </c:pt>
                <c:pt idx="1579">
                  <c:v>41428</c:v>
                </c:pt>
                <c:pt idx="1580">
                  <c:v>41429</c:v>
                </c:pt>
                <c:pt idx="1581">
                  <c:v>41430</c:v>
                </c:pt>
                <c:pt idx="1582">
                  <c:v>41431</c:v>
                </c:pt>
                <c:pt idx="1583">
                  <c:v>41432</c:v>
                </c:pt>
                <c:pt idx="1584">
                  <c:v>41435</c:v>
                </c:pt>
                <c:pt idx="1585">
                  <c:v>41436</c:v>
                </c:pt>
                <c:pt idx="1586">
                  <c:v>41437</c:v>
                </c:pt>
                <c:pt idx="1587">
                  <c:v>41438</c:v>
                </c:pt>
                <c:pt idx="1588">
                  <c:v>41439</c:v>
                </c:pt>
                <c:pt idx="1589">
                  <c:v>41442</c:v>
                </c:pt>
                <c:pt idx="1590">
                  <c:v>41443</c:v>
                </c:pt>
                <c:pt idx="1591">
                  <c:v>41444</c:v>
                </c:pt>
                <c:pt idx="1592">
                  <c:v>41445</c:v>
                </c:pt>
                <c:pt idx="1593">
                  <c:v>41446</c:v>
                </c:pt>
                <c:pt idx="1594">
                  <c:v>41449</c:v>
                </c:pt>
                <c:pt idx="1595">
                  <c:v>41450</c:v>
                </c:pt>
                <c:pt idx="1596">
                  <c:v>41451</c:v>
                </c:pt>
                <c:pt idx="1597">
                  <c:v>41452</c:v>
                </c:pt>
                <c:pt idx="1598">
                  <c:v>41453</c:v>
                </c:pt>
                <c:pt idx="1599">
                  <c:v>41456</c:v>
                </c:pt>
                <c:pt idx="1600">
                  <c:v>41457</c:v>
                </c:pt>
                <c:pt idx="1601">
                  <c:v>41458</c:v>
                </c:pt>
                <c:pt idx="1602">
                  <c:v>41460</c:v>
                </c:pt>
                <c:pt idx="1603">
                  <c:v>41463</c:v>
                </c:pt>
                <c:pt idx="1604">
                  <c:v>41464</c:v>
                </c:pt>
                <c:pt idx="1605">
                  <c:v>41465</c:v>
                </c:pt>
                <c:pt idx="1606">
                  <c:v>41466</c:v>
                </c:pt>
                <c:pt idx="1607">
                  <c:v>41467</c:v>
                </c:pt>
                <c:pt idx="1608">
                  <c:v>41470</c:v>
                </c:pt>
                <c:pt idx="1609">
                  <c:v>41471</c:v>
                </c:pt>
                <c:pt idx="1610">
                  <c:v>41472</c:v>
                </c:pt>
                <c:pt idx="1611">
                  <c:v>41473</c:v>
                </c:pt>
                <c:pt idx="1612">
                  <c:v>41474</c:v>
                </c:pt>
                <c:pt idx="1613">
                  <c:v>41477</c:v>
                </c:pt>
                <c:pt idx="1614">
                  <c:v>41478</c:v>
                </c:pt>
                <c:pt idx="1615">
                  <c:v>41479</c:v>
                </c:pt>
                <c:pt idx="1616">
                  <c:v>41480</c:v>
                </c:pt>
                <c:pt idx="1617">
                  <c:v>41481</c:v>
                </c:pt>
                <c:pt idx="1618">
                  <c:v>41484</c:v>
                </c:pt>
                <c:pt idx="1619">
                  <c:v>41485</c:v>
                </c:pt>
                <c:pt idx="1620">
                  <c:v>41486</c:v>
                </c:pt>
                <c:pt idx="1621">
                  <c:v>41487</c:v>
                </c:pt>
                <c:pt idx="1622">
                  <c:v>41488</c:v>
                </c:pt>
                <c:pt idx="1623">
                  <c:v>41491</c:v>
                </c:pt>
                <c:pt idx="1624">
                  <c:v>41492</c:v>
                </c:pt>
                <c:pt idx="1625">
                  <c:v>41493</c:v>
                </c:pt>
                <c:pt idx="1626">
                  <c:v>41494</c:v>
                </c:pt>
                <c:pt idx="1627">
                  <c:v>41495</c:v>
                </c:pt>
                <c:pt idx="1628">
                  <c:v>41498</c:v>
                </c:pt>
                <c:pt idx="1629">
                  <c:v>41499</c:v>
                </c:pt>
                <c:pt idx="1630">
                  <c:v>41500</c:v>
                </c:pt>
                <c:pt idx="1631">
                  <c:v>41501</c:v>
                </c:pt>
                <c:pt idx="1632">
                  <c:v>41502</c:v>
                </c:pt>
                <c:pt idx="1633">
                  <c:v>41505</c:v>
                </c:pt>
                <c:pt idx="1634">
                  <c:v>41506</c:v>
                </c:pt>
                <c:pt idx="1635">
                  <c:v>41507</c:v>
                </c:pt>
                <c:pt idx="1636">
                  <c:v>41508</c:v>
                </c:pt>
                <c:pt idx="1637">
                  <c:v>41509</c:v>
                </c:pt>
                <c:pt idx="1638">
                  <c:v>41512</c:v>
                </c:pt>
                <c:pt idx="1639">
                  <c:v>41513</c:v>
                </c:pt>
                <c:pt idx="1640">
                  <c:v>41514</c:v>
                </c:pt>
                <c:pt idx="1641">
                  <c:v>41515</c:v>
                </c:pt>
                <c:pt idx="1642">
                  <c:v>41516</c:v>
                </c:pt>
                <c:pt idx="1643">
                  <c:v>41520</c:v>
                </c:pt>
                <c:pt idx="1644">
                  <c:v>41521</c:v>
                </c:pt>
                <c:pt idx="1645">
                  <c:v>41522</c:v>
                </c:pt>
                <c:pt idx="1646">
                  <c:v>41523</c:v>
                </c:pt>
                <c:pt idx="1647">
                  <c:v>41526</c:v>
                </c:pt>
                <c:pt idx="1648">
                  <c:v>41527</c:v>
                </c:pt>
                <c:pt idx="1649">
                  <c:v>41528</c:v>
                </c:pt>
                <c:pt idx="1650">
                  <c:v>41529</c:v>
                </c:pt>
                <c:pt idx="1651">
                  <c:v>41530</c:v>
                </c:pt>
                <c:pt idx="1652">
                  <c:v>41533</c:v>
                </c:pt>
                <c:pt idx="1653">
                  <c:v>41534</c:v>
                </c:pt>
                <c:pt idx="1654">
                  <c:v>41535</c:v>
                </c:pt>
                <c:pt idx="1655">
                  <c:v>41536</c:v>
                </c:pt>
                <c:pt idx="1656">
                  <c:v>41537</c:v>
                </c:pt>
                <c:pt idx="1657">
                  <c:v>41540</c:v>
                </c:pt>
                <c:pt idx="1658">
                  <c:v>41541</c:v>
                </c:pt>
                <c:pt idx="1659">
                  <c:v>41542</c:v>
                </c:pt>
                <c:pt idx="1660">
                  <c:v>41543</c:v>
                </c:pt>
                <c:pt idx="1661">
                  <c:v>41544</c:v>
                </c:pt>
                <c:pt idx="1662">
                  <c:v>41547</c:v>
                </c:pt>
                <c:pt idx="1663">
                  <c:v>41548</c:v>
                </c:pt>
                <c:pt idx="1664">
                  <c:v>41549</c:v>
                </c:pt>
                <c:pt idx="1665">
                  <c:v>41550</c:v>
                </c:pt>
                <c:pt idx="1666">
                  <c:v>41551</c:v>
                </c:pt>
                <c:pt idx="1667">
                  <c:v>41554</c:v>
                </c:pt>
                <c:pt idx="1668">
                  <c:v>41555</c:v>
                </c:pt>
                <c:pt idx="1669">
                  <c:v>41556</c:v>
                </c:pt>
                <c:pt idx="1670">
                  <c:v>41557</c:v>
                </c:pt>
                <c:pt idx="1671">
                  <c:v>41558</c:v>
                </c:pt>
                <c:pt idx="1672">
                  <c:v>41561</c:v>
                </c:pt>
                <c:pt idx="1673">
                  <c:v>41562</c:v>
                </c:pt>
                <c:pt idx="1674">
                  <c:v>41563</c:v>
                </c:pt>
                <c:pt idx="1675">
                  <c:v>41564</c:v>
                </c:pt>
                <c:pt idx="1676">
                  <c:v>41565</c:v>
                </c:pt>
                <c:pt idx="1677">
                  <c:v>41568</c:v>
                </c:pt>
                <c:pt idx="1678">
                  <c:v>41569</c:v>
                </c:pt>
                <c:pt idx="1679">
                  <c:v>41570</c:v>
                </c:pt>
                <c:pt idx="1680">
                  <c:v>41571</c:v>
                </c:pt>
                <c:pt idx="1681">
                  <c:v>41572</c:v>
                </c:pt>
                <c:pt idx="1682">
                  <c:v>41575</c:v>
                </c:pt>
                <c:pt idx="1683">
                  <c:v>41576</c:v>
                </c:pt>
                <c:pt idx="1684">
                  <c:v>41577</c:v>
                </c:pt>
                <c:pt idx="1685">
                  <c:v>41578</c:v>
                </c:pt>
                <c:pt idx="1686">
                  <c:v>41579</c:v>
                </c:pt>
                <c:pt idx="1687">
                  <c:v>41582</c:v>
                </c:pt>
                <c:pt idx="1688">
                  <c:v>41583</c:v>
                </c:pt>
                <c:pt idx="1689">
                  <c:v>41584</c:v>
                </c:pt>
                <c:pt idx="1690">
                  <c:v>41585</c:v>
                </c:pt>
                <c:pt idx="1691">
                  <c:v>41586</c:v>
                </c:pt>
                <c:pt idx="1692">
                  <c:v>41589</c:v>
                </c:pt>
                <c:pt idx="1693">
                  <c:v>41590</c:v>
                </c:pt>
                <c:pt idx="1694">
                  <c:v>41591</c:v>
                </c:pt>
                <c:pt idx="1695">
                  <c:v>41592</c:v>
                </c:pt>
                <c:pt idx="1696">
                  <c:v>41593</c:v>
                </c:pt>
                <c:pt idx="1697">
                  <c:v>41596</c:v>
                </c:pt>
                <c:pt idx="1698">
                  <c:v>41597</c:v>
                </c:pt>
                <c:pt idx="1699">
                  <c:v>41598</c:v>
                </c:pt>
                <c:pt idx="1700">
                  <c:v>41599</c:v>
                </c:pt>
                <c:pt idx="1701">
                  <c:v>41600</c:v>
                </c:pt>
                <c:pt idx="1702">
                  <c:v>41603</c:v>
                </c:pt>
                <c:pt idx="1703">
                  <c:v>41604</c:v>
                </c:pt>
                <c:pt idx="1704">
                  <c:v>41605</c:v>
                </c:pt>
                <c:pt idx="1705">
                  <c:v>41607</c:v>
                </c:pt>
                <c:pt idx="1706">
                  <c:v>41610</c:v>
                </c:pt>
                <c:pt idx="1707">
                  <c:v>41611</c:v>
                </c:pt>
                <c:pt idx="1708">
                  <c:v>41612</c:v>
                </c:pt>
                <c:pt idx="1709">
                  <c:v>41613</c:v>
                </c:pt>
                <c:pt idx="1710">
                  <c:v>41614</c:v>
                </c:pt>
                <c:pt idx="1711">
                  <c:v>41617</c:v>
                </c:pt>
                <c:pt idx="1712">
                  <c:v>41618</c:v>
                </c:pt>
                <c:pt idx="1713">
                  <c:v>41619</c:v>
                </c:pt>
                <c:pt idx="1714">
                  <c:v>41620</c:v>
                </c:pt>
                <c:pt idx="1715">
                  <c:v>41621</c:v>
                </c:pt>
                <c:pt idx="1716">
                  <c:v>41624</c:v>
                </c:pt>
                <c:pt idx="1717">
                  <c:v>41625</c:v>
                </c:pt>
                <c:pt idx="1718">
                  <c:v>41626</c:v>
                </c:pt>
                <c:pt idx="1719">
                  <c:v>41627</c:v>
                </c:pt>
                <c:pt idx="1720">
                  <c:v>41628</c:v>
                </c:pt>
                <c:pt idx="1721">
                  <c:v>41631</c:v>
                </c:pt>
                <c:pt idx="1722">
                  <c:v>41632</c:v>
                </c:pt>
                <c:pt idx="1723">
                  <c:v>41634</c:v>
                </c:pt>
                <c:pt idx="1724">
                  <c:v>41635</c:v>
                </c:pt>
                <c:pt idx="1725">
                  <c:v>41638</c:v>
                </c:pt>
                <c:pt idx="1726">
                  <c:v>41639</c:v>
                </c:pt>
                <c:pt idx="1727">
                  <c:v>41641</c:v>
                </c:pt>
                <c:pt idx="1728">
                  <c:v>41642</c:v>
                </c:pt>
                <c:pt idx="1729">
                  <c:v>41645</c:v>
                </c:pt>
                <c:pt idx="1730">
                  <c:v>41646</c:v>
                </c:pt>
                <c:pt idx="1731">
                  <c:v>41647</c:v>
                </c:pt>
                <c:pt idx="1732">
                  <c:v>41648</c:v>
                </c:pt>
                <c:pt idx="1733">
                  <c:v>41649</c:v>
                </c:pt>
                <c:pt idx="1734">
                  <c:v>41652</c:v>
                </c:pt>
                <c:pt idx="1735">
                  <c:v>41653</c:v>
                </c:pt>
                <c:pt idx="1736">
                  <c:v>41654</c:v>
                </c:pt>
                <c:pt idx="1737">
                  <c:v>41655</c:v>
                </c:pt>
                <c:pt idx="1738">
                  <c:v>41656</c:v>
                </c:pt>
                <c:pt idx="1739">
                  <c:v>41660</c:v>
                </c:pt>
                <c:pt idx="1740">
                  <c:v>41661</c:v>
                </c:pt>
                <c:pt idx="1741">
                  <c:v>41662</c:v>
                </c:pt>
                <c:pt idx="1742">
                  <c:v>41663</c:v>
                </c:pt>
                <c:pt idx="1743">
                  <c:v>41666</c:v>
                </c:pt>
                <c:pt idx="1744">
                  <c:v>41667</c:v>
                </c:pt>
                <c:pt idx="1745">
                  <c:v>41668</c:v>
                </c:pt>
                <c:pt idx="1746">
                  <c:v>41669</c:v>
                </c:pt>
                <c:pt idx="1747">
                  <c:v>41670</c:v>
                </c:pt>
                <c:pt idx="1748">
                  <c:v>41673</c:v>
                </c:pt>
                <c:pt idx="1749">
                  <c:v>41674</c:v>
                </c:pt>
                <c:pt idx="1750">
                  <c:v>41675</c:v>
                </c:pt>
                <c:pt idx="1751">
                  <c:v>41676</c:v>
                </c:pt>
                <c:pt idx="1752">
                  <c:v>41677</c:v>
                </c:pt>
                <c:pt idx="1753">
                  <c:v>41680</c:v>
                </c:pt>
                <c:pt idx="1754">
                  <c:v>41681</c:v>
                </c:pt>
                <c:pt idx="1755">
                  <c:v>41682</c:v>
                </c:pt>
                <c:pt idx="1756">
                  <c:v>41683</c:v>
                </c:pt>
                <c:pt idx="1757">
                  <c:v>41684</c:v>
                </c:pt>
                <c:pt idx="1758">
                  <c:v>41688</c:v>
                </c:pt>
                <c:pt idx="1759">
                  <c:v>41689</c:v>
                </c:pt>
                <c:pt idx="1760">
                  <c:v>41690</c:v>
                </c:pt>
                <c:pt idx="1761">
                  <c:v>41691</c:v>
                </c:pt>
                <c:pt idx="1762">
                  <c:v>41694</c:v>
                </c:pt>
                <c:pt idx="1763">
                  <c:v>41695</c:v>
                </c:pt>
                <c:pt idx="1764">
                  <c:v>41696</c:v>
                </c:pt>
                <c:pt idx="1765">
                  <c:v>41697</c:v>
                </c:pt>
                <c:pt idx="1766">
                  <c:v>41698</c:v>
                </c:pt>
                <c:pt idx="1767">
                  <c:v>41701</c:v>
                </c:pt>
                <c:pt idx="1768">
                  <c:v>41702</c:v>
                </c:pt>
                <c:pt idx="1769">
                  <c:v>41703</c:v>
                </c:pt>
                <c:pt idx="1770">
                  <c:v>41704</c:v>
                </c:pt>
                <c:pt idx="1771">
                  <c:v>41705</c:v>
                </c:pt>
                <c:pt idx="1772">
                  <c:v>41708</c:v>
                </c:pt>
                <c:pt idx="1773">
                  <c:v>41709</c:v>
                </c:pt>
                <c:pt idx="1774">
                  <c:v>41710</c:v>
                </c:pt>
                <c:pt idx="1775">
                  <c:v>41711</c:v>
                </c:pt>
                <c:pt idx="1776">
                  <c:v>41712</c:v>
                </c:pt>
                <c:pt idx="1777">
                  <c:v>41715</c:v>
                </c:pt>
                <c:pt idx="1778">
                  <c:v>41716</c:v>
                </c:pt>
                <c:pt idx="1779">
                  <c:v>41717</c:v>
                </c:pt>
                <c:pt idx="1780">
                  <c:v>41718</c:v>
                </c:pt>
                <c:pt idx="1781">
                  <c:v>41719</c:v>
                </c:pt>
                <c:pt idx="1782">
                  <c:v>41722</c:v>
                </c:pt>
                <c:pt idx="1783">
                  <c:v>41723</c:v>
                </c:pt>
                <c:pt idx="1784">
                  <c:v>41724</c:v>
                </c:pt>
                <c:pt idx="1785">
                  <c:v>41725</c:v>
                </c:pt>
                <c:pt idx="1786">
                  <c:v>41726</c:v>
                </c:pt>
                <c:pt idx="1787">
                  <c:v>41729</c:v>
                </c:pt>
                <c:pt idx="1788">
                  <c:v>41730</c:v>
                </c:pt>
                <c:pt idx="1789">
                  <c:v>41731</c:v>
                </c:pt>
                <c:pt idx="1790">
                  <c:v>41732</c:v>
                </c:pt>
                <c:pt idx="1791">
                  <c:v>41733</c:v>
                </c:pt>
                <c:pt idx="1792">
                  <c:v>41736</c:v>
                </c:pt>
                <c:pt idx="1793">
                  <c:v>41737</c:v>
                </c:pt>
                <c:pt idx="1794">
                  <c:v>41738</c:v>
                </c:pt>
                <c:pt idx="1795">
                  <c:v>41739</c:v>
                </c:pt>
                <c:pt idx="1796">
                  <c:v>41740</c:v>
                </c:pt>
                <c:pt idx="1797">
                  <c:v>41743</c:v>
                </c:pt>
                <c:pt idx="1798">
                  <c:v>41744</c:v>
                </c:pt>
                <c:pt idx="1799">
                  <c:v>41745</c:v>
                </c:pt>
                <c:pt idx="1800">
                  <c:v>41746</c:v>
                </c:pt>
                <c:pt idx="1801">
                  <c:v>41750</c:v>
                </c:pt>
                <c:pt idx="1802">
                  <c:v>41751</c:v>
                </c:pt>
                <c:pt idx="1803">
                  <c:v>41752</c:v>
                </c:pt>
                <c:pt idx="1804">
                  <c:v>41753</c:v>
                </c:pt>
                <c:pt idx="1805">
                  <c:v>41754</c:v>
                </c:pt>
                <c:pt idx="1806">
                  <c:v>41757</c:v>
                </c:pt>
                <c:pt idx="1807">
                  <c:v>41758</c:v>
                </c:pt>
                <c:pt idx="1808">
                  <c:v>41759</c:v>
                </c:pt>
                <c:pt idx="1809">
                  <c:v>41760</c:v>
                </c:pt>
                <c:pt idx="1810">
                  <c:v>41761</c:v>
                </c:pt>
                <c:pt idx="1811">
                  <c:v>41764</c:v>
                </c:pt>
                <c:pt idx="1812">
                  <c:v>41765</c:v>
                </c:pt>
                <c:pt idx="1813">
                  <c:v>41766</c:v>
                </c:pt>
                <c:pt idx="1814">
                  <c:v>41767</c:v>
                </c:pt>
                <c:pt idx="1815">
                  <c:v>41768</c:v>
                </c:pt>
                <c:pt idx="1816">
                  <c:v>41771</c:v>
                </c:pt>
                <c:pt idx="1817">
                  <c:v>41772</c:v>
                </c:pt>
                <c:pt idx="1818">
                  <c:v>41773</c:v>
                </c:pt>
                <c:pt idx="1819">
                  <c:v>41774</c:v>
                </c:pt>
                <c:pt idx="1820">
                  <c:v>41775</c:v>
                </c:pt>
                <c:pt idx="1821">
                  <c:v>41778</c:v>
                </c:pt>
                <c:pt idx="1822">
                  <c:v>41779</c:v>
                </c:pt>
                <c:pt idx="1823">
                  <c:v>41780</c:v>
                </c:pt>
                <c:pt idx="1824">
                  <c:v>41781</c:v>
                </c:pt>
                <c:pt idx="1825">
                  <c:v>41782</c:v>
                </c:pt>
                <c:pt idx="1826">
                  <c:v>41786</c:v>
                </c:pt>
                <c:pt idx="1827">
                  <c:v>41787</c:v>
                </c:pt>
                <c:pt idx="1828">
                  <c:v>41788</c:v>
                </c:pt>
                <c:pt idx="1829">
                  <c:v>41789</c:v>
                </c:pt>
                <c:pt idx="1830">
                  <c:v>41792</c:v>
                </c:pt>
                <c:pt idx="1831">
                  <c:v>41793</c:v>
                </c:pt>
                <c:pt idx="1832">
                  <c:v>41794</c:v>
                </c:pt>
                <c:pt idx="1833">
                  <c:v>41795</c:v>
                </c:pt>
                <c:pt idx="1834">
                  <c:v>41796</c:v>
                </c:pt>
                <c:pt idx="1835">
                  <c:v>41799</c:v>
                </c:pt>
                <c:pt idx="1836">
                  <c:v>41800</c:v>
                </c:pt>
                <c:pt idx="1837">
                  <c:v>41801</c:v>
                </c:pt>
                <c:pt idx="1838">
                  <c:v>41802</c:v>
                </c:pt>
                <c:pt idx="1839">
                  <c:v>41803</c:v>
                </c:pt>
                <c:pt idx="1840">
                  <c:v>41806</c:v>
                </c:pt>
                <c:pt idx="1841">
                  <c:v>41807</c:v>
                </c:pt>
                <c:pt idx="1842">
                  <c:v>41808</c:v>
                </c:pt>
                <c:pt idx="1843">
                  <c:v>41809</c:v>
                </c:pt>
                <c:pt idx="1844">
                  <c:v>41810</c:v>
                </c:pt>
                <c:pt idx="1845">
                  <c:v>41813</c:v>
                </c:pt>
                <c:pt idx="1846">
                  <c:v>41814</c:v>
                </c:pt>
                <c:pt idx="1847">
                  <c:v>41815</c:v>
                </c:pt>
                <c:pt idx="1848">
                  <c:v>41816</c:v>
                </c:pt>
                <c:pt idx="1849">
                  <c:v>41817</c:v>
                </c:pt>
                <c:pt idx="1850">
                  <c:v>41820</c:v>
                </c:pt>
                <c:pt idx="1851">
                  <c:v>41821</c:v>
                </c:pt>
                <c:pt idx="1852">
                  <c:v>41822</c:v>
                </c:pt>
                <c:pt idx="1853">
                  <c:v>41823</c:v>
                </c:pt>
                <c:pt idx="1854">
                  <c:v>41827</c:v>
                </c:pt>
                <c:pt idx="1855">
                  <c:v>41828</c:v>
                </c:pt>
                <c:pt idx="1856">
                  <c:v>41829</c:v>
                </c:pt>
                <c:pt idx="1857">
                  <c:v>41830</c:v>
                </c:pt>
                <c:pt idx="1858">
                  <c:v>41831</c:v>
                </c:pt>
                <c:pt idx="1859">
                  <c:v>41834</c:v>
                </c:pt>
                <c:pt idx="1860">
                  <c:v>41835</c:v>
                </c:pt>
                <c:pt idx="1861">
                  <c:v>41836</c:v>
                </c:pt>
                <c:pt idx="1862">
                  <c:v>41837</c:v>
                </c:pt>
                <c:pt idx="1863">
                  <c:v>41838</c:v>
                </c:pt>
                <c:pt idx="1864">
                  <c:v>41841</c:v>
                </c:pt>
                <c:pt idx="1865">
                  <c:v>41842</c:v>
                </c:pt>
                <c:pt idx="1866">
                  <c:v>41843</c:v>
                </c:pt>
                <c:pt idx="1867">
                  <c:v>41844</c:v>
                </c:pt>
                <c:pt idx="1868">
                  <c:v>41845</c:v>
                </c:pt>
                <c:pt idx="1869">
                  <c:v>41848</c:v>
                </c:pt>
                <c:pt idx="1870">
                  <c:v>41849</c:v>
                </c:pt>
                <c:pt idx="1871">
                  <c:v>41850</c:v>
                </c:pt>
                <c:pt idx="1872">
                  <c:v>41851</c:v>
                </c:pt>
                <c:pt idx="1873">
                  <c:v>41852</c:v>
                </c:pt>
                <c:pt idx="1874">
                  <c:v>41855</c:v>
                </c:pt>
                <c:pt idx="1875">
                  <c:v>41856</c:v>
                </c:pt>
                <c:pt idx="1876">
                  <c:v>41857</c:v>
                </c:pt>
                <c:pt idx="1877">
                  <c:v>41858</c:v>
                </c:pt>
                <c:pt idx="1878">
                  <c:v>41859</c:v>
                </c:pt>
                <c:pt idx="1879">
                  <c:v>41862</c:v>
                </c:pt>
                <c:pt idx="1880">
                  <c:v>41863</c:v>
                </c:pt>
                <c:pt idx="1881">
                  <c:v>41864</c:v>
                </c:pt>
                <c:pt idx="1882">
                  <c:v>41865</c:v>
                </c:pt>
                <c:pt idx="1883">
                  <c:v>41866</c:v>
                </c:pt>
                <c:pt idx="1884">
                  <c:v>41869</c:v>
                </c:pt>
                <c:pt idx="1885">
                  <c:v>41870</c:v>
                </c:pt>
                <c:pt idx="1886">
                  <c:v>41871</c:v>
                </c:pt>
                <c:pt idx="1887">
                  <c:v>41872</c:v>
                </c:pt>
                <c:pt idx="1888">
                  <c:v>41873</c:v>
                </c:pt>
                <c:pt idx="1889">
                  <c:v>41876</c:v>
                </c:pt>
                <c:pt idx="1890">
                  <c:v>41877</c:v>
                </c:pt>
                <c:pt idx="1891">
                  <c:v>41878</c:v>
                </c:pt>
                <c:pt idx="1892">
                  <c:v>41879</c:v>
                </c:pt>
                <c:pt idx="1893">
                  <c:v>41880</c:v>
                </c:pt>
                <c:pt idx="1894">
                  <c:v>41884</c:v>
                </c:pt>
                <c:pt idx="1895">
                  <c:v>41885</c:v>
                </c:pt>
                <c:pt idx="1896">
                  <c:v>41886</c:v>
                </c:pt>
                <c:pt idx="1897">
                  <c:v>41887</c:v>
                </c:pt>
                <c:pt idx="1898">
                  <c:v>41890</c:v>
                </c:pt>
                <c:pt idx="1899">
                  <c:v>41891</c:v>
                </c:pt>
                <c:pt idx="1900">
                  <c:v>41892</c:v>
                </c:pt>
                <c:pt idx="1901">
                  <c:v>41893</c:v>
                </c:pt>
                <c:pt idx="1902">
                  <c:v>41894</c:v>
                </c:pt>
                <c:pt idx="1903">
                  <c:v>41897</c:v>
                </c:pt>
                <c:pt idx="1904">
                  <c:v>41898</c:v>
                </c:pt>
                <c:pt idx="1905">
                  <c:v>41899</c:v>
                </c:pt>
                <c:pt idx="1906">
                  <c:v>41900</c:v>
                </c:pt>
                <c:pt idx="1907">
                  <c:v>41901</c:v>
                </c:pt>
                <c:pt idx="1908">
                  <c:v>41904</c:v>
                </c:pt>
                <c:pt idx="1909">
                  <c:v>41905</c:v>
                </c:pt>
                <c:pt idx="1910">
                  <c:v>41906</c:v>
                </c:pt>
                <c:pt idx="1911">
                  <c:v>41907</c:v>
                </c:pt>
                <c:pt idx="1912">
                  <c:v>41908</c:v>
                </c:pt>
                <c:pt idx="1913">
                  <c:v>41911</c:v>
                </c:pt>
                <c:pt idx="1914">
                  <c:v>41912</c:v>
                </c:pt>
                <c:pt idx="1915">
                  <c:v>41913</c:v>
                </c:pt>
                <c:pt idx="1916">
                  <c:v>41914</c:v>
                </c:pt>
                <c:pt idx="1917">
                  <c:v>41915</c:v>
                </c:pt>
                <c:pt idx="1918">
                  <c:v>41918</c:v>
                </c:pt>
                <c:pt idx="1919">
                  <c:v>41919</c:v>
                </c:pt>
                <c:pt idx="1920">
                  <c:v>41920</c:v>
                </c:pt>
                <c:pt idx="1921">
                  <c:v>41921</c:v>
                </c:pt>
                <c:pt idx="1922">
                  <c:v>41922</c:v>
                </c:pt>
                <c:pt idx="1923">
                  <c:v>41925</c:v>
                </c:pt>
                <c:pt idx="1924">
                  <c:v>41926</c:v>
                </c:pt>
                <c:pt idx="1925">
                  <c:v>41927</c:v>
                </c:pt>
                <c:pt idx="1926">
                  <c:v>41928</c:v>
                </c:pt>
                <c:pt idx="1927">
                  <c:v>41929</c:v>
                </c:pt>
                <c:pt idx="1928">
                  <c:v>41932</c:v>
                </c:pt>
                <c:pt idx="1929">
                  <c:v>41933</c:v>
                </c:pt>
                <c:pt idx="1930">
                  <c:v>41934</c:v>
                </c:pt>
                <c:pt idx="1931">
                  <c:v>41935</c:v>
                </c:pt>
                <c:pt idx="1932">
                  <c:v>41936</c:v>
                </c:pt>
                <c:pt idx="1933">
                  <c:v>41939</c:v>
                </c:pt>
                <c:pt idx="1934">
                  <c:v>41940</c:v>
                </c:pt>
                <c:pt idx="1935">
                  <c:v>41941</c:v>
                </c:pt>
                <c:pt idx="1936">
                  <c:v>41942</c:v>
                </c:pt>
                <c:pt idx="1937">
                  <c:v>41943</c:v>
                </c:pt>
                <c:pt idx="1938">
                  <c:v>41946</c:v>
                </c:pt>
                <c:pt idx="1939">
                  <c:v>41947</c:v>
                </c:pt>
                <c:pt idx="1940">
                  <c:v>41948</c:v>
                </c:pt>
                <c:pt idx="1941">
                  <c:v>41949</c:v>
                </c:pt>
                <c:pt idx="1942">
                  <c:v>41950</c:v>
                </c:pt>
                <c:pt idx="1943">
                  <c:v>41953</c:v>
                </c:pt>
                <c:pt idx="1944">
                  <c:v>41954</c:v>
                </c:pt>
                <c:pt idx="1945">
                  <c:v>41955</c:v>
                </c:pt>
                <c:pt idx="1946">
                  <c:v>41956</c:v>
                </c:pt>
                <c:pt idx="1947">
                  <c:v>41957</c:v>
                </c:pt>
                <c:pt idx="1948">
                  <c:v>41960</c:v>
                </c:pt>
                <c:pt idx="1949">
                  <c:v>41961</c:v>
                </c:pt>
                <c:pt idx="1950">
                  <c:v>41962</c:v>
                </c:pt>
                <c:pt idx="1951">
                  <c:v>41963</c:v>
                </c:pt>
                <c:pt idx="1952">
                  <c:v>41964</c:v>
                </c:pt>
                <c:pt idx="1953">
                  <c:v>41967</c:v>
                </c:pt>
                <c:pt idx="1954">
                  <c:v>41968</c:v>
                </c:pt>
                <c:pt idx="1955">
                  <c:v>41969</c:v>
                </c:pt>
                <c:pt idx="1956">
                  <c:v>41971</c:v>
                </c:pt>
                <c:pt idx="1957">
                  <c:v>41974</c:v>
                </c:pt>
                <c:pt idx="1958">
                  <c:v>41975</c:v>
                </c:pt>
                <c:pt idx="1959">
                  <c:v>41976</c:v>
                </c:pt>
                <c:pt idx="1960">
                  <c:v>41977</c:v>
                </c:pt>
                <c:pt idx="1961">
                  <c:v>41978</c:v>
                </c:pt>
                <c:pt idx="1962">
                  <c:v>41981</c:v>
                </c:pt>
                <c:pt idx="1963">
                  <c:v>41982</c:v>
                </c:pt>
                <c:pt idx="1964">
                  <c:v>41983</c:v>
                </c:pt>
                <c:pt idx="1965">
                  <c:v>41984</c:v>
                </c:pt>
                <c:pt idx="1966">
                  <c:v>41985</c:v>
                </c:pt>
                <c:pt idx="1967">
                  <c:v>41988</c:v>
                </c:pt>
                <c:pt idx="1968">
                  <c:v>41989</c:v>
                </c:pt>
                <c:pt idx="1969">
                  <c:v>41990</c:v>
                </c:pt>
                <c:pt idx="1970">
                  <c:v>41991</c:v>
                </c:pt>
                <c:pt idx="1971">
                  <c:v>41992</c:v>
                </c:pt>
                <c:pt idx="1972">
                  <c:v>41995</c:v>
                </c:pt>
                <c:pt idx="1973">
                  <c:v>41996</c:v>
                </c:pt>
                <c:pt idx="1974">
                  <c:v>41997</c:v>
                </c:pt>
                <c:pt idx="1975">
                  <c:v>41999</c:v>
                </c:pt>
                <c:pt idx="1976">
                  <c:v>42002</c:v>
                </c:pt>
                <c:pt idx="1977">
                  <c:v>42003</c:v>
                </c:pt>
                <c:pt idx="1978">
                  <c:v>42004</c:v>
                </c:pt>
                <c:pt idx="1979">
                  <c:v>42006</c:v>
                </c:pt>
                <c:pt idx="1980">
                  <c:v>42009</c:v>
                </c:pt>
                <c:pt idx="1981">
                  <c:v>42010</c:v>
                </c:pt>
                <c:pt idx="1982">
                  <c:v>42011</c:v>
                </c:pt>
                <c:pt idx="1983">
                  <c:v>42012</c:v>
                </c:pt>
                <c:pt idx="1984">
                  <c:v>42013</c:v>
                </c:pt>
                <c:pt idx="1985">
                  <c:v>42016</c:v>
                </c:pt>
                <c:pt idx="1986">
                  <c:v>42017</c:v>
                </c:pt>
                <c:pt idx="1987">
                  <c:v>42018</c:v>
                </c:pt>
                <c:pt idx="1988">
                  <c:v>42019</c:v>
                </c:pt>
                <c:pt idx="1989">
                  <c:v>42020</c:v>
                </c:pt>
                <c:pt idx="1990">
                  <c:v>42024</c:v>
                </c:pt>
                <c:pt idx="1991">
                  <c:v>42025</c:v>
                </c:pt>
                <c:pt idx="1992">
                  <c:v>42026</c:v>
                </c:pt>
                <c:pt idx="1993">
                  <c:v>42027</c:v>
                </c:pt>
                <c:pt idx="1994">
                  <c:v>42030</c:v>
                </c:pt>
                <c:pt idx="1995">
                  <c:v>42031</c:v>
                </c:pt>
                <c:pt idx="1996">
                  <c:v>42032</c:v>
                </c:pt>
                <c:pt idx="1997">
                  <c:v>42033</c:v>
                </c:pt>
                <c:pt idx="1998">
                  <c:v>42034</c:v>
                </c:pt>
                <c:pt idx="1999">
                  <c:v>42037</c:v>
                </c:pt>
                <c:pt idx="2000">
                  <c:v>42038</c:v>
                </c:pt>
                <c:pt idx="2001">
                  <c:v>42039</c:v>
                </c:pt>
                <c:pt idx="2002">
                  <c:v>42040</c:v>
                </c:pt>
                <c:pt idx="2003">
                  <c:v>42041</c:v>
                </c:pt>
                <c:pt idx="2004">
                  <c:v>42044</c:v>
                </c:pt>
                <c:pt idx="2005">
                  <c:v>42045</c:v>
                </c:pt>
                <c:pt idx="2006">
                  <c:v>42046</c:v>
                </c:pt>
                <c:pt idx="2007">
                  <c:v>42047</c:v>
                </c:pt>
                <c:pt idx="2008">
                  <c:v>42048</c:v>
                </c:pt>
                <c:pt idx="2009">
                  <c:v>42052</c:v>
                </c:pt>
                <c:pt idx="2010">
                  <c:v>42053</c:v>
                </c:pt>
                <c:pt idx="2011">
                  <c:v>42054</c:v>
                </c:pt>
                <c:pt idx="2012">
                  <c:v>42055</c:v>
                </c:pt>
                <c:pt idx="2013">
                  <c:v>42058</c:v>
                </c:pt>
                <c:pt idx="2014">
                  <c:v>42059</c:v>
                </c:pt>
                <c:pt idx="2015">
                  <c:v>42060</c:v>
                </c:pt>
                <c:pt idx="2016">
                  <c:v>42061</c:v>
                </c:pt>
                <c:pt idx="2017">
                  <c:v>42062</c:v>
                </c:pt>
                <c:pt idx="2018">
                  <c:v>42065</c:v>
                </c:pt>
                <c:pt idx="2019">
                  <c:v>42066</c:v>
                </c:pt>
                <c:pt idx="2020">
                  <c:v>42067</c:v>
                </c:pt>
                <c:pt idx="2021">
                  <c:v>42068</c:v>
                </c:pt>
                <c:pt idx="2022">
                  <c:v>42069</c:v>
                </c:pt>
                <c:pt idx="2023">
                  <c:v>42072</c:v>
                </c:pt>
                <c:pt idx="2024">
                  <c:v>42073</c:v>
                </c:pt>
                <c:pt idx="2025">
                  <c:v>42074</c:v>
                </c:pt>
                <c:pt idx="2026">
                  <c:v>42075</c:v>
                </c:pt>
                <c:pt idx="2027">
                  <c:v>42076</c:v>
                </c:pt>
                <c:pt idx="2028">
                  <c:v>42079</c:v>
                </c:pt>
                <c:pt idx="2029">
                  <c:v>42080</c:v>
                </c:pt>
                <c:pt idx="2030">
                  <c:v>42081</c:v>
                </c:pt>
                <c:pt idx="2031">
                  <c:v>42082</c:v>
                </c:pt>
                <c:pt idx="2032">
                  <c:v>42083</c:v>
                </c:pt>
                <c:pt idx="2033">
                  <c:v>42086</c:v>
                </c:pt>
                <c:pt idx="2034">
                  <c:v>42087</c:v>
                </c:pt>
                <c:pt idx="2035">
                  <c:v>42088</c:v>
                </c:pt>
                <c:pt idx="2036">
                  <c:v>42089</c:v>
                </c:pt>
                <c:pt idx="2037">
                  <c:v>42090</c:v>
                </c:pt>
                <c:pt idx="2038">
                  <c:v>42093</c:v>
                </c:pt>
                <c:pt idx="2039">
                  <c:v>42094</c:v>
                </c:pt>
                <c:pt idx="2040">
                  <c:v>42095</c:v>
                </c:pt>
                <c:pt idx="2041">
                  <c:v>42096</c:v>
                </c:pt>
                <c:pt idx="2042">
                  <c:v>42100</c:v>
                </c:pt>
                <c:pt idx="2043">
                  <c:v>42101</c:v>
                </c:pt>
                <c:pt idx="2044">
                  <c:v>42102</c:v>
                </c:pt>
                <c:pt idx="2045">
                  <c:v>42103</c:v>
                </c:pt>
                <c:pt idx="2046">
                  <c:v>42104</c:v>
                </c:pt>
                <c:pt idx="2047">
                  <c:v>42107</c:v>
                </c:pt>
                <c:pt idx="2048">
                  <c:v>42108</c:v>
                </c:pt>
                <c:pt idx="2049">
                  <c:v>42109</c:v>
                </c:pt>
                <c:pt idx="2050">
                  <c:v>42110</c:v>
                </c:pt>
                <c:pt idx="2051">
                  <c:v>42111</c:v>
                </c:pt>
                <c:pt idx="2052">
                  <c:v>42114</c:v>
                </c:pt>
                <c:pt idx="2053">
                  <c:v>42115</c:v>
                </c:pt>
                <c:pt idx="2054">
                  <c:v>42116</c:v>
                </c:pt>
                <c:pt idx="2055">
                  <c:v>42117</c:v>
                </c:pt>
                <c:pt idx="2056">
                  <c:v>42118</c:v>
                </c:pt>
                <c:pt idx="2057">
                  <c:v>42121</c:v>
                </c:pt>
                <c:pt idx="2058">
                  <c:v>42122</c:v>
                </c:pt>
                <c:pt idx="2059">
                  <c:v>42123</c:v>
                </c:pt>
                <c:pt idx="2060">
                  <c:v>42124</c:v>
                </c:pt>
                <c:pt idx="2061">
                  <c:v>42125</c:v>
                </c:pt>
                <c:pt idx="2062">
                  <c:v>42128</c:v>
                </c:pt>
                <c:pt idx="2063">
                  <c:v>42129</c:v>
                </c:pt>
                <c:pt idx="2064">
                  <c:v>42130</c:v>
                </c:pt>
                <c:pt idx="2065">
                  <c:v>42131</c:v>
                </c:pt>
                <c:pt idx="2066">
                  <c:v>42132</c:v>
                </c:pt>
                <c:pt idx="2067">
                  <c:v>42135</c:v>
                </c:pt>
                <c:pt idx="2068">
                  <c:v>42136</c:v>
                </c:pt>
                <c:pt idx="2069">
                  <c:v>42137</c:v>
                </c:pt>
                <c:pt idx="2070">
                  <c:v>42138</c:v>
                </c:pt>
                <c:pt idx="2071">
                  <c:v>42139</c:v>
                </c:pt>
                <c:pt idx="2072">
                  <c:v>42142</c:v>
                </c:pt>
                <c:pt idx="2073">
                  <c:v>42143</c:v>
                </c:pt>
                <c:pt idx="2074">
                  <c:v>42144</c:v>
                </c:pt>
                <c:pt idx="2075">
                  <c:v>42145</c:v>
                </c:pt>
                <c:pt idx="2076">
                  <c:v>42146</c:v>
                </c:pt>
                <c:pt idx="2077">
                  <c:v>42150</c:v>
                </c:pt>
                <c:pt idx="2078">
                  <c:v>42151</c:v>
                </c:pt>
                <c:pt idx="2079">
                  <c:v>42152</c:v>
                </c:pt>
                <c:pt idx="2080">
                  <c:v>42153</c:v>
                </c:pt>
                <c:pt idx="2081">
                  <c:v>42156</c:v>
                </c:pt>
                <c:pt idx="2082">
                  <c:v>42157</c:v>
                </c:pt>
                <c:pt idx="2083">
                  <c:v>42158</c:v>
                </c:pt>
                <c:pt idx="2084">
                  <c:v>42159</c:v>
                </c:pt>
                <c:pt idx="2085">
                  <c:v>42160</c:v>
                </c:pt>
                <c:pt idx="2086">
                  <c:v>42163</c:v>
                </c:pt>
                <c:pt idx="2087">
                  <c:v>42164</c:v>
                </c:pt>
                <c:pt idx="2088">
                  <c:v>42165</c:v>
                </c:pt>
                <c:pt idx="2089">
                  <c:v>42166</c:v>
                </c:pt>
                <c:pt idx="2090">
                  <c:v>42167</c:v>
                </c:pt>
                <c:pt idx="2091">
                  <c:v>42170</c:v>
                </c:pt>
                <c:pt idx="2092">
                  <c:v>42171</c:v>
                </c:pt>
                <c:pt idx="2093">
                  <c:v>42172</c:v>
                </c:pt>
                <c:pt idx="2094">
                  <c:v>42173</c:v>
                </c:pt>
                <c:pt idx="2095">
                  <c:v>42174</c:v>
                </c:pt>
                <c:pt idx="2096">
                  <c:v>42177</c:v>
                </c:pt>
                <c:pt idx="2097">
                  <c:v>42178</c:v>
                </c:pt>
                <c:pt idx="2098">
                  <c:v>42179</c:v>
                </c:pt>
                <c:pt idx="2099">
                  <c:v>42180</c:v>
                </c:pt>
                <c:pt idx="2100">
                  <c:v>42181</c:v>
                </c:pt>
                <c:pt idx="2101">
                  <c:v>42184</c:v>
                </c:pt>
                <c:pt idx="2102">
                  <c:v>42185</c:v>
                </c:pt>
                <c:pt idx="2103">
                  <c:v>42186</c:v>
                </c:pt>
                <c:pt idx="2104">
                  <c:v>42187</c:v>
                </c:pt>
                <c:pt idx="2105">
                  <c:v>42191</c:v>
                </c:pt>
                <c:pt idx="2106">
                  <c:v>42192</c:v>
                </c:pt>
                <c:pt idx="2107">
                  <c:v>42193</c:v>
                </c:pt>
                <c:pt idx="2108">
                  <c:v>42194</c:v>
                </c:pt>
                <c:pt idx="2109">
                  <c:v>42195</c:v>
                </c:pt>
                <c:pt idx="2110">
                  <c:v>42198</c:v>
                </c:pt>
                <c:pt idx="2111">
                  <c:v>42199</c:v>
                </c:pt>
                <c:pt idx="2112">
                  <c:v>42200</c:v>
                </c:pt>
                <c:pt idx="2113">
                  <c:v>42201</c:v>
                </c:pt>
                <c:pt idx="2114">
                  <c:v>42202</c:v>
                </c:pt>
                <c:pt idx="2115">
                  <c:v>42205</c:v>
                </c:pt>
                <c:pt idx="2116">
                  <c:v>42206</c:v>
                </c:pt>
                <c:pt idx="2117">
                  <c:v>42207</c:v>
                </c:pt>
                <c:pt idx="2118">
                  <c:v>42208</c:v>
                </c:pt>
                <c:pt idx="2119">
                  <c:v>42209</c:v>
                </c:pt>
                <c:pt idx="2120">
                  <c:v>42212</c:v>
                </c:pt>
                <c:pt idx="2121">
                  <c:v>42213</c:v>
                </c:pt>
                <c:pt idx="2122">
                  <c:v>42214</c:v>
                </c:pt>
                <c:pt idx="2123">
                  <c:v>42215</c:v>
                </c:pt>
                <c:pt idx="2124">
                  <c:v>42216</c:v>
                </c:pt>
                <c:pt idx="2125">
                  <c:v>42219</c:v>
                </c:pt>
                <c:pt idx="2126">
                  <c:v>42220</c:v>
                </c:pt>
                <c:pt idx="2127">
                  <c:v>42221</c:v>
                </c:pt>
                <c:pt idx="2128">
                  <c:v>42222</c:v>
                </c:pt>
                <c:pt idx="2129">
                  <c:v>42223</c:v>
                </c:pt>
                <c:pt idx="2130">
                  <c:v>42226</c:v>
                </c:pt>
                <c:pt idx="2131">
                  <c:v>42227</c:v>
                </c:pt>
                <c:pt idx="2132">
                  <c:v>42228</c:v>
                </c:pt>
                <c:pt idx="2133">
                  <c:v>42229</c:v>
                </c:pt>
                <c:pt idx="2134">
                  <c:v>42230</c:v>
                </c:pt>
                <c:pt idx="2135">
                  <c:v>42233</c:v>
                </c:pt>
                <c:pt idx="2136">
                  <c:v>42234</c:v>
                </c:pt>
                <c:pt idx="2137">
                  <c:v>42235</c:v>
                </c:pt>
                <c:pt idx="2138">
                  <c:v>42236</c:v>
                </c:pt>
                <c:pt idx="2139">
                  <c:v>42237</c:v>
                </c:pt>
                <c:pt idx="2140">
                  <c:v>42240</c:v>
                </c:pt>
                <c:pt idx="2141">
                  <c:v>42241</c:v>
                </c:pt>
                <c:pt idx="2142">
                  <c:v>42242</c:v>
                </c:pt>
                <c:pt idx="2143">
                  <c:v>42243</c:v>
                </c:pt>
                <c:pt idx="2144">
                  <c:v>42244</c:v>
                </c:pt>
                <c:pt idx="2145">
                  <c:v>42247</c:v>
                </c:pt>
                <c:pt idx="2146">
                  <c:v>42248</c:v>
                </c:pt>
                <c:pt idx="2147">
                  <c:v>42249</c:v>
                </c:pt>
                <c:pt idx="2148">
                  <c:v>42250</c:v>
                </c:pt>
                <c:pt idx="2149">
                  <c:v>42251</c:v>
                </c:pt>
                <c:pt idx="2150">
                  <c:v>42255</c:v>
                </c:pt>
                <c:pt idx="2151">
                  <c:v>42256</c:v>
                </c:pt>
                <c:pt idx="2152">
                  <c:v>42257</c:v>
                </c:pt>
                <c:pt idx="2153">
                  <c:v>42258</c:v>
                </c:pt>
                <c:pt idx="2154">
                  <c:v>42261</c:v>
                </c:pt>
                <c:pt idx="2155">
                  <c:v>42262</c:v>
                </c:pt>
                <c:pt idx="2156">
                  <c:v>42263</c:v>
                </c:pt>
                <c:pt idx="2157">
                  <c:v>42264</c:v>
                </c:pt>
                <c:pt idx="2158">
                  <c:v>42265</c:v>
                </c:pt>
                <c:pt idx="2159">
                  <c:v>42268</c:v>
                </c:pt>
                <c:pt idx="2160">
                  <c:v>42269</c:v>
                </c:pt>
                <c:pt idx="2161">
                  <c:v>42270</c:v>
                </c:pt>
                <c:pt idx="2162">
                  <c:v>42271</c:v>
                </c:pt>
                <c:pt idx="2163">
                  <c:v>42272</c:v>
                </c:pt>
                <c:pt idx="2164">
                  <c:v>42275</c:v>
                </c:pt>
                <c:pt idx="2165">
                  <c:v>42276</c:v>
                </c:pt>
                <c:pt idx="2166">
                  <c:v>42277</c:v>
                </c:pt>
                <c:pt idx="2167">
                  <c:v>42278</c:v>
                </c:pt>
                <c:pt idx="2168">
                  <c:v>42279</c:v>
                </c:pt>
                <c:pt idx="2169">
                  <c:v>42282</c:v>
                </c:pt>
                <c:pt idx="2170">
                  <c:v>42283</c:v>
                </c:pt>
                <c:pt idx="2171">
                  <c:v>42284</c:v>
                </c:pt>
                <c:pt idx="2172">
                  <c:v>42285</c:v>
                </c:pt>
                <c:pt idx="2173">
                  <c:v>42286</c:v>
                </c:pt>
                <c:pt idx="2174">
                  <c:v>42289</c:v>
                </c:pt>
                <c:pt idx="2175">
                  <c:v>42290</c:v>
                </c:pt>
                <c:pt idx="2176">
                  <c:v>42291</c:v>
                </c:pt>
                <c:pt idx="2177">
                  <c:v>42292</c:v>
                </c:pt>
                <c:pt idx="2178">
                  <c:v>42293</c:v>
                </c:pt>
                <c:pt idx="2179">
                  <c:v>42296</c:v>
                </c:pt>
                <c:pt idx="2180">
                  <c:v>42297</c:v>
                </c:pt>
                <c:pt idx="2181">
                  <c:v>42298</c:v>
                </c:pt>
                <c:pt idx="2182">
                  <c:v>42299</c:v>
                </c:pt>
                <c:pt idx="2183">
                  <c:v>42300</c:v>
                </c:pt>
                <c:pt idx="2184">
                  <c:v>42303</c:v>
                </c:pt>
                <c:pt idx="2185">
                  <c:v>42304</c:v>
                </c:pt>
                <c:pt idx="2186">
                  <c:v>42305</c:v>
                </c:pt>
                <c:pt idx="2187">
                  <c:v>42306</c:v>
                </c:pt>
                <c:pt idx="2188">
                  <c:v>42307</c:v>
                </c:pt>
                <c:pt idx="2189">
                  <c:v>42310</c:v>
                </c:pt>
                <c:pt idx="2190">
                  <c:v>42311</c:v>
                </c:pt>
                <c:pt idx="2191">
                  <c:v>42312</c:v>
                </c:pt>
                <c:pt idx="2192">
                  <c:v>42313</c:v>
                </c:pt>
                <c:pt idx="2193">
                  <c:v>42314</c:v>
                </c:pt>
                <c:pt idx="2194">
                  <c:v>42317</c:v>
                </c:pt>
                <c:pt idx="2195">
                  <c:v>42318</c:v>
                </c:pt>
                <c:pt idx="2196">
                  <c:v>42319</c:v>
                </c:pt>
                <c:pt idx="2197">
                  <c:v>42320</c:v>
                </c:pt>
                <c:pt idx="2198">
                  <c:v>42321</c:v>
                </c:pt>
                <c:pt idx="2199">
                  <c:v>42324</c:v>
                </c:pt>
                <c:pt idx="2200">
                  <c:v>42325</c:v>
                </c:pt>
                <c:pt idx="2201">
                  <c:v>42326</c:v>
                </c:pt>
                <c:pt idx="2202">
                  <c:v>42327</c:v>
                </c:pt>
                <c:pt idx="2203">
                  <c:v>42328</c:v>
                </c:pt>
                <c:pt idx="2204">
                  <c:v>42331</c:v>
                </c:pt>
                <c:pt idx="2205">
                  <c:v>42332</c:v>
                </c:pt>
                <c:pt idx="2206">
                  <c:v>42333</c:v>
                </c:pt>
                <c:pt idx="2207">
                  <c:v>42335</c:v>
                </c:pt>
                <c:pt idx="2208">
                  <c:v>42338</c:v>
                </c:pt>
                <c:pt idx="2209">
                  <c:v>42339</c:v>
                </c:pt>
                <c:pt idx="2210">
                  <c:v>42340</c:v>
                </c:pt>
                <c:pt idx="2211">
                  <c:v>42341</c:v>
                </c:pt>
                <c:pt idx="2212">
                  <c:v>42342</c:v>
                </c:pt>
                <c:pt idx="2213">
                  <c:v>42345</c:v>
                </c:pt>
                <c:pt idx="2214">
                  <c:v>42346</c:v>
                </c:pt>
                <c:pt idx="2215">
                  <c:v>42347</c:v>
                </c:pt>
                <c:pt idx="2216">
                  <c:v>42348</c:v>
                </c:pt>
                <c:pt idx="2217">
                  <c:v>42349</c:v>
                </c:pt>
                <c:pt idx="2218">
                  <c:v>42352</c:v>
                </c:pt>
                <c:pt idx="2219">
                  <c:v>42353</c:v>
                </c:pt>
                <c:pt idx="2220">
                  <c:v>42354</c:v>
                </c:pt>
                <c:pt idx="2221">
                  <c:v>42355</c:v>
                </c:pt>
                <c:pt idx="2222">
                  <c:v>42356</c:v>
                </c:pt>
                <c:pt idx="2223">
                  <c:v>42359</c:v>
                </c:pt>
                <c:pt idx="2224">
                  <c:v>42360</c:v>
                </c:pt>
                <c:pt idx="2225">
                  <c:v>42361</c:v>
                </c:pt>
                <c:pt idx="2226">
                  <c:v>42362</c:v>
                </c:pt>
                <c:pt idx="2227">
                  <c:v>42366</c:v>
                </c:pt>
                <c:pt idx="2228">
                  <c:v>42367</c:v>
                </c:pt>
                <c:pt idx="2229">
                  <c:v>42368</c:v>
                </c:pt>
                <c:pt idx="2230">
                  <c:v>42369</c:v>
                </c:pt>
                <c:pt idx="2231">
                  <c:v>42373</c:v>
                </c:pt>
                <c:pt idx="2232">
                  <c:v>42374</c:v>
                </c:pt>
                <c:pt idx="2233">
                  <c:v>42375</c:v>
                </c:pt>
                <c:pt idx="2234">
                  <c:v>42376</c:v>
                </c:pt>
                <c:pt idx="2235">
                  <c:v>42377</c:v>
                </c:pt>
                <c:pt idx="2236">
                  <c:v>42380</c:v>
                </c:pt>
                <c:pt idx="2237">
                  <c:v>42381</c:v>
                </c:pt>
                <c:pt idx="2238">
                  <c:v>42382</c:v>
                </c:pt>
                <c:pt idx="2239">
                  <c:v>42383</c:v>
                </c:pt>
                <c:pt idx="2240">
                  <c:v>42384</c:v>
                </c:pt>
                <c:pt idx="2241">
                  <c:v>42388</c:v>
                </c:pt>
                <c:pt idx="2242">
                  <c:v>42389</c:v>
                </c:pt>
                <c:pt idx="2243">
                  <c:v>42390</c:v>
                </c:pt>
                <c:pt idx="2244">
                  <c:v>42391</c:v>
                </c:pt>
                <c:pt idx="2245">
                  <c:v>42394</c:v>
                </c:pt>
                <c:pt idx="2246">
                  <c:v>42395</c:v>
                </c:pt>
                <c:pt idx="2247">
                  <c:v>42396</c:v>
                </c:pt>
                <c:pt idx="2248">
                  <c:v>42397</c:v>
                </c:pt>
                <c:pt idx="2249">
                  <c:v>42398</c:v>
                </c:pt>
                <c:pt idx="2250">
                  <c:v>42401</c:v>
                </c:pt>
                <c:pt idx="2251">
                  <c:v>42402</c:v>
                </c:pt>
                <c:pt idx="2252">
                  <c:v>42403</c:v>
                </c:pt>
                <c:pt idx="2253">
                  <c:v>42404</c:v>
                </c:pt>
                <c:pt idx="2254">
                  <c:v>42405</c:v>
                </c:pt>
                <c:pt idx="2255">
                  <c:v>42408</c:v>
                </c:pt>
                <c:pt idx="2256">
                  <c:v>42409</c:v>
                </c:pt>
                <c:pt idx="2257">
                  <c:v>42410</c:v>
                </c:pt>
                <c:pt idx="2258">
                  <c:v>42411</c:v>
                </c:pt>
                <c:pt idx="2259">
                  <c:v>42412</c:v>
                </c:pt>
                <c:pt idx="2260">
                  <c:v>42416</c:v>
                </c:pt>
                <c:pt idx="2261">
                  <c:v>42417</c:v>
                </c:pt>
                <c:pt idx="2262">
                  <c:v>42418</c:v>
                </c:pt>
                <c:pt idx="2263">
                  <c:v>42419</c:v>
                </c:pt>
                <c:pt idx="2264">
                  <c:v>42422</c:v>
                </c:pt>
                <c:pt idx="2265">
                  <c:v>42423</c:v>
                </c:pt>
                <c:pt idx="2266">
                  <c:v>42424</c:v>
                </c:pt>
                <c:pt idx="2267">
                  <c:v>42425</c:v>
                </c:pt>
                <c:pt idx="2268">
                  <c:v>42426</c:v>
                </c:pt>
                <c:pt idx="2269">
                  <c:v>42429</c:v>
                </c:pt>
                <c:pt idx="2270">
                  <c:v>42430</c:v>
                </c:pt>
                <c:pt idx="2271">
                  <c:v>42431</c:v>
                </c:pt>
                <c:pt idx="2272">
                  <c:v>42432</c:v>
                </c:pt>
                <c:pt idx="2273">
                  <c:v>42433</c:v>
                </c:pt>
                <c:pt idx="2274">
                  <c:v>42436</c:v>
                </c:pt>
                <c:pt idx="2275">
                  <c:v>42437</c:v>
                </c:pt>
                <c:pt idx="2276">
                  <c:v>42438</c:v>
                </c:pt>
                <c:pt idx="2277">
                  <c:v>42439</c:v>
                </c:pt>
                <c:pt idx="2278">
                  <c:v>42440</c:v>
                </c:pt>
                <c:pt idx="2279">
                  <c:v>42443</c:v>
                </c:pt>
                <c:pt idx="2280">
                  <c:v>42444</c:v>
                </c:pt>
                <c:pt idx="2281">
                  <c:v>42445</c:v>
                </c:pt>
                <c:pt idx="2282">
                  <c:v>42446</c:v>
                </c:pt>
                <c:pt idx="2283">
                  <c:v>42447</c:v>
                </c:pt>
                <c:pt idx="2284">
                  <c:v>42450</c:v>
                </c:pt>
                <c:pt idx="2285">
                  <c:v>42451</c:v>
                </c:pt>
                <c:pt idx="2286">
                  <c:v>42452</c:v>
                </c:pt>
                <c:pt idx="2287">
                  <c:v>42453</c:v>
                </c:pt>
                <c:pt idx="2288">
                  <c:v>42457</c:v>
                </c:pt>
                <c:pt idx="2289">
                  <c:v>42458</c:v>
                </c:pt>
                <c:pt idx="2290">
                  <c:v>42459</c:v>
                </c:pt>
                <c:pt idx="2291">
                  <c:v>42460</c:v>
                </c:pt>
                <c:pt idx="2292">
                  <c:v>42461</c:v>
                </c:pt>
                <c:pt idx="2293">
                  <c:v>42464</c:v>
                </c:pt>
                <c:pt idx="2294">
                  <c:v>42465</c:v>
                </c:pt>
                <c:pt idx="2295">
                  <c:v>42466</c:v>
                </c:pt>
                <c:pt idx="2296">
                  <c:v>42467</c:v>
                </c:pt>
                <c:pt idx="2297">
                  <c:v>42468</c:v>
                </c:pt>
                <c:pt idx="2298">
                  <c:v>42471</c:v>
                </c:pt>
                <c:pt idx="2299">
                  <c:v>42472</c:v>
                </c:pt>
                <c:pt idx="2300">
                  <c:v>42473</c:v>
                </c:pt>
                <c:pt idx="2301">
                  <c:v>42474</c:v>
                </c:pt>
                <c:pt idx="2302">
                  <c:v>42475</c:v>
                </c:pt>
                <c:pt idx="2303">
                  <c:v>42478</c:v>
                </c:pt>
                <c:pt idx="2304">
                  <c:v>42479</c:v>
                </c:pt>
                <c:pt idx="2305">
                  <c:v>42480</c:v>
                </c:pt>
                <c:pt idx="2306">
                  <c:v>42481</c:v>
                </c:pt>
                <c:pt idx="2307">
                  <c:v>42482</c:v>
                </c:pt>
                <c:pt idx="2308">
                  <c:v>42485</c:v>
                </c:pt>
                <c:pt idx="2309">
                  <c:v>42486</c:v>
                </c:pt>
                <c:pt idx="2310">
                  <c:v>42487</c:v>
                </c:pt>
                <c:pt idx="2311">
                  <c:v>42488</c:v>
                </c:pt>
                <c:pt idx="2312">
                  <c:v>42489</c:v>
                </c:pt>
                <c:pt idx="2313">
                  <c:v>42492</c:v>
                </c:pt>
                <c:pt idx="2314">
                  <c:v>42493</c:v>
                </c:pt>
                <c:pt idx="2315">
                  <c:v>42494</c:v>
                </c:pt>
                <c:pt idx="2316">
                  <c:v>42495</c:v>
                </c:pt>
                <c:pt idx="2317">
                  <c:v>42496</c:v>
                </c:pt>
                <c:pt idx="2318">
                  <c:v>42499</c:v>
                </c:pt>
                <c:pt idx="2319">
                  <c:v>42500</c:v>
                </c:pt>
                <c:pt idx="2320">
                  <c:v>42501</c:v>
                </c:pt>
                <c:pt idx="2321">
                  <c:v>42502</c:v>
                </c:pt>
                <c:pt idx="2322">
                  <c:v>42503</c:v>
                </c:pt>
                <c:pt idx="2323">
                  <c:v>42506</c:v>
                </c:pt>
                <c:pt idx="2324">
                  <c:v>42507</c:v>
                </c:pt>
                <c:pt idx="2325">
                  <c:v>42508</c:v>
                </c:pt>
              </c:numCache>
            </c:numRef>
          </c:cat>
          <c:val>
            <c:numRef>
              <c:f>'Vix futures volumes'!$AL$5:$AL$2330</c:f>
              <c:numCache>
                <c:formatCode>_(* #,##0.00_);_(* \(#,##0.00\);_(* "-"??_);_(@_)</c:formatCode>
                <c:ptCount val="2326"/>
                <c:pt idx="0">
                  <c:v>0.1953</c:v>
                </c:pt>
                <c:pt idx="1">
                  <c:v>1.4752799999999999</c:v>
                </c:pt>
                <c:pt idx="2">
                  <c:v>0.62234999999999996</c:v>
                </c:pt>
                <c:pt idx="3">
                  <c:v>4.2904400000000003</c:v>
                </c:pt>
                <c:pt idx="4">
                  <c:v>7.7227600000000001</c:v>
                </c:pt>
                <c:pt idx="5">
                  <c:v>4.1700000000000001E-2</c:v>
                </c:pt>
                <c:pt idx="6">
                  <c:v>1.0483199999999999</c:v>
                </c:pt>
                <c:pt idx="7">
                  <c:v>0.15201999999999999</c:v>
                </c:pt>
                <c:pt idx="8">
                  <c:v>1.4519899999999999</c:v>
                </c:pt>
                <c:pt idx="9">
                  <c:v>1.4519899999999999</c:v>
                </c:pt>
                <c:pt idx="10">
                  <c:v>0.26939999999999997</c:v>
                </c:pt>
                <c:pt idx="11">
                  <c:v>0.59940000000000004</c:v>
                </c:pt>
                <c:pt idx="12">
                  <c:v>0.10664</c:v>
                </c:pt>
                <c:pt idx="13">
                  <c:v>1.40768</c:v>
                </c:pt>
                <c:pt idx="14">
                  <c:v>0.1076</c:v>
                </c:pt>
                <c:pt idx="15">
                  <c:v>0.71940000000000004</c:v>
                </c:pt>
                <c:pt idx="16">
                  <c:v>0.24376999999999999</c:v>
                </c:pt>
                <c:pt idx="17">
                  <c:v>1.0905499999999999</c:v>
                </c:pt>
                <c:pt idx="18">
                  <c:v>11.01948</c:v>
                </c:pt>
                <c:pt idx="19">
                  <c:v>9.1511999999999993</c:v>
                </c:pt>
                <c:pt idx="20">
                  <c:v>9.1057400000000008</c:v>
                </c:pt>
                <c:pt idx="21">
                  <c:v>0.84357000000000004</c:v>
                </c:pt>
                <c:pt idx="22">
                  <c:v>2.1120000000000001</c:v>
                </c:pt>
                <c:pt idx="23">
                  <c:v>3.84416</c:v>
                </c:pt>
                <c:pt idx="24">
                  <c:v>2.7598799999999999</c:v>
                </c:pt>
                <c:pt idx="25">
                  <c:v>1.5623199999999999</c:v>
                </c:pt>
                <c:pt idx="26">
                  <c:v>12.74728</c:v>
                </c:pt>
                <c:pt idx="27">
                  <c:v>28.218039999999998</c:v>
                </c:pt>
                <c:pt idx="28">
                  <c:v>21.116160000000001</c:v>
                </c:pt>
                <c:pt idx="29">
                  <c:v>5.9788300000000003</c:v>
                </c:pt>
                <c:pt idx="30">
                  <c:v>9.2118099999999998</c:v>
                </c:pt>
                <c:pt idx="31">
                  <c:v>7.7267999999999999</c:v>
                </c:pt>
                <c:pt idx="32">
                  <c:v>9.2880900000000004</c:v>
                </c:pt>
                <c:pt idx="33">
                  <c:v>10.1517</c:v>
                </c:pt>
                <c:pt idx="34">
                  <c:v>7.8487499999999999</c:v>
                </c:pt>
                <c:pt idx="35">
                  <c:v>11.72133</c:v>
                </c:pt>
                <c:pt idx="36">
                  <c:v>2.0991200000000001</c:v>
                </c:pt>
                <c:pt idx="37">
                  <c:v>2.1052</c:v>
                </c:pt>
                <c:pt idx="38">
                  <c:v>5.5480000000000002E-2</c:v>
                </c:pt>
                <c:pt idx="39">
                  <c:v>5.5440000000000003E-2</c:v>
                </c:pt>
                <c:pt idx="40">
                  <c:v>9.7860000000000003E-2</c:v>
                </c:pt>
                <c:pt idx="41">
                  <c:v>0.69072</c:v>
                </c:pt>
                <c:pt idx="42">
                  <c:v>0.94120000000000004</c:v>
                </c:pt>
                <c:pt idx="43">
                  <c:v>0.1305</c:v>
                </c:pt>
                <c:pt idx="44">
                  <c:v>2.9219999999999999E-2</c:v>
                </c:pt>
                <c:pt idx="45">
                  <c:v>0.1421</c:v>
                </c:pt>
                <c:pt idx="46">
                  <c:v>0.25884000000000001</c:v>
                </c:pt>
                <c:pt idx="47">
                  <c:v>9.9820000000000006E-2</c:v>
                </c:pt>
                <c:pt idx="48">
                  <c:v>1.46363</c:v>
                </c:pt>
                <c:pt idx="49">
                  <c:v>7.77461</c:v>
                </c:pt>
                <c:pt idx="50">
                  <c:v>0.82535999999999998</c:v>
                </c:pt>
                <c:pt idx="51">
                  <c:v>0.71399999999999997</c:v>
                </c:pt>
                <c:pt idx="52">
                  <c:v>3.3624999999999998</c:v>
                </c:pt>
                <c:pt idx="53">
                  <c:v>0.1371</c:v>
                </c:pt>
                <c:pt idx="54">
                  <c:v>0.70940999999999999</c:v>
                </c:pt>
                <c:pt idx="55">
                  <c:v>5.5879999999999999E-2</c:v>
                </c:pt>
                <c:pt idx="56">
                  <c:v>4.4340999999999999</c:v>
                </c:pt>
                <c:pt idx="57">
                  <c:v>0.13750000000000001</c:v>
                </c:pt>
                <c:pt idx="58">
                  <c:v>0.67632000000000003</c:v>
                </c:pt>
                <c:pt idx="59">
                  <c:v>0.85338999999999998</c:v>
                </c:pt>
                <c:pt idx="60">
                  <c:v>4.5478399999999999</c:v>
                </c:pt>
                <c:pt idx="61">
                  <c:v>5.6400600000000001</c:v>
                </c:pt>
                <c:pt idx="62">
                  <c:v>9.2090700000000005</c:v>
                </c:pt>
                <c:pt idx="63">
                  <c:v>2.8580399999999999</c:v>
                </c:pt>
                <c:pt idx="64">
                  <c:v>4.3256300000000003</c:v>
                </c:pt>
                <c:pt idx="65">
                  <c:v>3.2498800000000001</c:v>
                </c:pt>
                <c:pt idx="66">
                  <c:v>18.55218</c:v>
                </c:pt>
                <c:pt idx="67">
                  <c:v>26.87904</c:v>
                </c:pt>
                <c:pt idx="68">
                  <c:v>13.784280000000001</c:v>
                </c:pt>
                <c:pt idx="69">
                  <c:v>8.1878600000000006</c:v>
                </c:pt>
                <c:pt idx="70">
                  <c:v>6.3173399999999997</c:v>
                </c:pt>
                <c:pt idx="71">
                  <c:v>23.67792</c:v>
                </c:pt>
                <c:pt idx="72">
                  <c:v>9.13096</c:v>
                </c:pt>
                <c:pt idx="73">
                  <c:v>2.1915</c:v>
                </c:pt>
                <c:pt idx="74">
                  <c:v>2.4550800000000002</c:v>
                </c:pt>
                <c:pt idx="75">
                  <c:v>1.37547</c:v>
                </c:pt>
                <c:pt idx="76">
                  <c:v>2.1021000000000001</c:v>
                </c:pt>
                <c:pt idx="77">
                  <c:v>2.2046000000000001</c:v>
                </c:pt>
                <c:pt idx="78">
                  <c:v>2.42692</c:v>
                </c:pt>
                <c:pt idx="79">
                  <c:v>1.27542</c:v>
                </c:pt>
                <c:pt idx="80">
                  <c:v>1.1907000000000001</c:v>
                </c:pt>
                <c:pt idx="81">
                  <c:v>3.16092</c:v>
                </c:pt>
                <c:pt idx="82">
                  <c:v>16.22748</c:v>
                </c:pt>
                <c:pt idx="83">
                  <c:v>21.5867</c:v>
                </c:pt>
                <c:pt idx="84">
                  <c:v>15.305400000000001</c:v>
                </c:pt>
                <c:pt idx="85">
                  <c:v>3.1532800000000001</c:v>
                </c:pt>
                <c:pt idx="86">
                  <c:v>3.6509200000000002</c:v>
                </c:pt>
                <c:pt idx="87">
                  <c:v>2.1693099999999998</c:v>
                </c:pt>
                <c:pt idx="88">
                  <c:v>11.55</c:v>
                </c:pt>
                <c:pt idx="89">
                  <c:v>0.43239</c:v>
                </c:pt>
                <c:pt idx="90">
                  <c:v>0.25466</c:v>
                </c:pt>
                <c:pt idx="91">
                  <c:v>0.26694000000000001</c:v>
                </c:pt>
                <c:pt idx="92">
                  <c:v>2.0209199999999998</c:v>
                </c:pt>
                <c:pt idx="93">
                  <c:v>3.8439999999999999</c:v>
                </c:pt>
                <c:pt idx="94">
                  <c:v>0.87065000000000003</c:v>
                </c:pt>
                <c:pt idx="95">
                  <c:v>1.1753</c:v>
                </c:pt>
                <c:pt idx="96">
                  <c:v>2.7787199999999999</c:v>
                </c:pt>
                <c:pt idx="97">
                  <c:v>3.82118</c:v>
                </c:pt>
                <c:pt idx="98">
                  <c:v>0.7268</c:v>
                </c:pt>
                <c:pt idx="99">
                  <c:v>6.7321799999999996</c:v>
                </c:pt>
                <c:pt idx="100">
                  <c:v>0.86399999999999999</c:v>
                </c:pt>
                <c:pt idx="101">
                  <c:v>1.1361600000000001</c:v>
                </c:pt>
                <c:pt idx="102">
                  <c:v>2.7250999999999999</c:v>
                </c:pt>
                <c:pt idx="103">
                  <c:v>3.476</c:v>
                </c:pt>
                <c:pt idx="104">
                  <c:v>4.30077</c:v>
                </c:pt>
                <c:pt idx="105">
                  <c:v>5.7114000000000003</c:v>
                </c:pt>
                <c:pt idx="106">
                  <c:v>5.6547400000000003</c:v>
                </c:pt>
                <c:pt idx="107">
                  <c:v>12.09075</c:v>
                </c:pt>
                <c:pt idx="108">
                  <c:v>2.4215</c:v>
                </c:pt>
                <c:pt idx="109">
                  <c:v>1.61215</c:v>
                </c:pt>
                <c:pt idx="110">
                  <c:v>3.82816</c:v>
                </c:pt>
                <c:pt idx="111">
                  <c:v>7.5907499999999999</c:v>
                </c:pt>
                <c:pt idx="112">
                  <c:v>19.622019999999999</c:v>
                </c:pt>
                <c:pt idx="113">
                  <c:v>10.6029</c:v>
                </c:pt>
                <c:pt idx="114">
                  <c:v>6.5025600000000008</c:v>
                </c:pt>
                <c:pt idx="115">
                  <c:v>5.1493200000000003</c:v>
                </c:pt>
                <c:pt idx="116">
                  <c:v>3.3616799999999998</c:v>
                </c:pt>
                <c:pt idx="117">
                  <c:v>19.38937</c:v>
                </c:pt>
                <c:pt idx="118">
                  <c:v>22.59085</c:v>
                </c:pt>
                <c:pt idx="119">
                  <c:v>11.97146</c:v>
                </c:pt>
                <c:pt idx="120">
                  <c:v>11.288500000000001</c:v>
                </c:pt>
                <c:pt idx="121">
                  <c:v>84.745800000000003</c:v>
                </c:pt>
                <c:pt idx="122">
                  <c:v>11.627699999999997</c:v>
                </c:pt>
                <c:pt idx="123">
                  <c:v>22.175999999999998</c:v>
                </c:pt>
                <c:pt idx="124">
                  <c:v>61.1736</c:v>
                </c:pt>
                <c:pt idx="125">
                  <c:v>31.342220000000005</c:v>
                </c:pt>
                <c:pt idx="126">
                  <c:v>20.532599999999999</c:v>
                </c:pt>
                <c:pt idx="127">
                  <c:v>9.2004000000000001</c:v>
                </c:pt>
                <c:pt idx="128">
                  <c:v>21.788460000000001</c:v>
                </c:pt>
                <c:pt idx="129">
                  <c:v>2.4315199999999999</c:v>
                </c:pt>
                <c:pt idx="130">
                  <c:v>15.365769999999999</c:v>
                </c:pt>
                <c:pt idx="131">
                  <c:v>4.2882800000000003</c:v>
                </c:pt>
                <c:pt idx="132">
                  <c:v>4.8174999999999999</c:v>
                </c:pt>
                <c:pt idx="133">
                  <c:v>10.780200000000001</c:v>
                </c:pt>
                <c:pt idx="134">
                  <c:v>41.203319999999998</c:v>
                </c:pt>
                <c:pt idx="135">
                  <c:v>7.056659999999999</c:v>
                </c:pt>
                <c:pt idx="136">
                  <c:v>11.889119999999998</c:v>
                </c:pt>
                <c:pt idx="137">
                  <c:v>17.315919999999998</c:v>
                </c:pt>
                <c:pt idx="138">
                  <c:v>5.9800500000000003</c:v>
                </c:pt>
                <c:pt idx="139">
                  <c:v>8.1493500000000001</c:v>
                </c:pt>
                <c:pt idx="140">
                  <c:v>17.72016</c:v>
                </c:pt>
                <c:pt idx="141">
                  <c:v>5.4417</c:v>
                </c:pt>
                <c:pt idx="142">
                  <c:v>6.1264000000000003</c:v>
                </c:pt>
                <c:pt idx="143">
                  <c:v>1.3249200000000001</c:v>
                </c:pt>
                <c:pt idx="144">
                  <c:v>12.96576</c:v>
                </c:pt>
                <c:pt idx="145">
                  <c:v>26.805599999999998</c:v>
                </c:pt>
                <c:pt idx="146">
                  <c:v>4.9318799999999996</c:v>
                </c:pt>
                <c:pt idx="147">
                  <c:v>6.8982899999999994</c:v>
                </c:pt>
                <c:pt idx="148">
                  <c:v>9.2399400000000007</c:v>
                </c:pt>
                <c:pt idx="149">
                  <c:v>9.4412800000000008</c:v>
                </c:pt>
                <c:pt idx="150">
                  <c:v>20.927199999999999</c:v>
                </c:pt>
                <c:pt idx="151">
                  <c:v>8.1519999999999992</c:v>
                </c:pt>
                <c:pt idx="152">
                  <c:v>11.889720000000001</c:v>
                </c:pt>
                <c:pt idx="153">
                  <c:v>5.6723999999999997</c:v>
                </c:pt>
                <c:pt idx="154">
                  <c:v>8.4389800000000008</c:v>
                </c:pt>
                <c:pt idx="155">
                  <c:v>6.53592</c:v>
                </c:pt>
                <c:pt idx="156">
                  <c:v>1.5686599999999999</c:v>
                </c:pt>
                <c:pt idx="157">
                  <c:v>24.905759999999997</c:v>
                </c:pt>
                <c:pt idx="158">
                  <c:v>8.5779300000000003</c:v>
                </c:pt>
                <c:pt idx="159">
                  <c:v>10.2232</c:v>
                </c:pt>
                <c:pt idx="160">
                  <c:v>7.31358</c:v>
                </c:pt>
                <c:pt idx="161">
                  <c:v>6.7427099999999998</c:v>
                </c:pt>
                <c:pt idx="162">
                  <c:v>14.717249999999998</c:v>
                </c:pt>
                <c:pt idx="163">
                  <c:v>13.725720000000003</c:v>
                </c:pt>
                <c:pt idx="164">
                  <c:v>22.790880000000001</c:v>
                </c:pt>
                <c:pt idx="165">
                  <c:v>4.6786399999999997</c:v>
                </c:pt>
                <c:pt idx="166">
                  <c:v>27.88965</c:v>
                </c:pt>
                <c:pt idx="167">
                  <c:v>0.31280000000000002</c:v>
                </c:pt>
                <c:pt idx="168">
                  <c:v>4.2494399999999999</c:v>
                </c:pt>
                <c:pt idx="169">
                  <c:v>128.92527999999999</c:v>
                </c:pt>
                <c:pt idx="170">
                  <c:v>10.58216</c:v>
                </c:pt>
                <c:pt idx="171">
                  <c:v>1.2823800000000001</c:v>
                </c:pt>
                <c:pt idx="172">
                  <c:v>1.6146799999999999</c:v>
                </c:pt>
                <c:pt idx="173">
                  <c:v>3.0540600000000002</c:v>
                </c:pt>
                <c:pt idx="174">
                  <c:v>4.2453500000000002</c:v>
                </c:pt>
                <c:pt idx="175">
                  <c:v>8.9167799999999993</c:v>
                </c:pt>
                <c:pt idx="176">
                  <c:v>1.7293799999999999</c:v>
                </c:pt>
                <c:pt idx="177">
                  <c:v>3.5729600000000006</c:v>
                </c:pt>
                <c:pt idx="178">
                  <c:v>4.9504000000000001</c:v>
                </c:pt>
                <c:pt idx="179">
                  <c:v>7.8005599999999999</c:v>
                </c:pt>
                <c:pt idx="180">
                  <c:v>4.8299899999999996</c:v>
                </c:pt>
                <c:pt idx="181">
                  <c:v>16.2044</c:v>
                </c:pt>
                <c:pt idx="182">
                  <c:v>22.202400000000001</c:v>
                </c:pt>
                <c:pt idx="183">
                  <c:v>63.403230000000008</c:v>
                </c:pt>
                <c:pt idx="184">
                  <c:v>22.062899999999999</c:v>
                </c:pt>
                <c:pt idx="185">
                  <c:v>23.611450000000001</c:v>
                </c:pt>
                <c:pt idx="186">
                  <c:v>57.771999999999998</c:v>
                </c:pt>
                <c:pt idx="187">
                  <c:v>22.98912</c:v>
                </c:pt>
                <c:pt idx="188">
                  <c:v>18.321960000000001</c:v>
                </c:pt>
                <c:pt idx="189">
                  <c:v>8.6526399999999999</c:v>
                </c:pt>
                <c:pt idx="190">
                  <c:v>9.9763199999999994</c:v>
                </c:pt>
                <c:pt idx="191">
                  <c:v>25.163460000000001</c:v>
                </c:pt>
                <c:pt idx="192">
                  <c:v>67.119119999999995</c:v>
                </c:pt>
                <c:pt idx="193">
                  <c:v>10.6533</c:v>
                </c:pt>
                <c:pt idx="194">
                  <c:v>9.5112000000000005</c:v>
                </c:pt>
                <c:pt idx="195">
                  <c:v>3.7071300000000003</c:v>
                </c:pt>
                <c:pt idx="196">
                  <c:v>14.32977</c:v>
                </c:pt>
                <c:pt idx="197">
                  <c:v>2.9157799999999998</c:v>
                </c:pt>
                <c:pt idx="198">
                  <c:v>0.39600000000000002</c:v>
                </c:pt>
                <c:pt idx="199">
                  <c:v>7.6440000000000001</c:v>
                </c:pt>
                <c:pt idx="200">
                  <c:v>2.7334999999999998</c:v>
                </c:pt>
                <c:pt idx="201">
                  <c:v>8.6313800000000001</c:v>
                </c:pt>
                <c:pt idx="202">
                  <c:v>6.970159999999999</c:v>
                </c:pt>
                <c:pt idx="203">
                  <c:v>2.5729000000000002</c:v>
                </c:pt>
                <c:pt idx="204">
                  <c:v>3.7239300000000002</c:v>
                </c:pt>
                <c:pt idx="205">
                  <c:v>7.2209899999999987</c:v>
                </c:pt>
                <c:pt idx="206">
                  <c:v>10.43754</c:v>
                </c:pt>
                <c:pt idx="207">
                  <c:v>11.86158</c:v>
                </c:pt>
                <c:pt idx="208">
                  <c:v>26.089559999999999</c:v>
                </c:pt>
                <c:pt idx="209">
                  <c:v>3.4624199999999998</c:v>
                </c:pt>
                <c:pt idx="210">
                  <c:v>4.5253800000000002</c:v>
                </c:pt>
                <c:pt idx="211">
                  <c:v>2.1375199999999999</c:v>
                </c:pt>
                <c:pt idx="212">
                  <c:v>5.4230299999999998</c:v>
                </c:pt>
                <c:pt idx="213">
                  <c:v>8.2182499999999994</c:v>
                </c:pt>
                <c:pt idx="214">
                  <c:v>2.0291999999999999</c:v>
                </c:pt>
                <c:pt idx="215">
                  <c:v>1.6079000000000001</c:v>
                </c:pt>
                <c:pt idx="216">
                  <c:v>8.5685599999999997</c:v>
                </c:pt>
                <c:pt idx="217">
                  <c:v>3.4422999999999999</c:v>
                </c:pt>
                <c:pt idx="218">
                  <c:v>9.1921999999999997</c:v>
                </c:pt>
                <c:pt idx="219">
                  <c:v>3.1155200000000001</c:v>
                </c:pt>
                <c:pt idx="220">
                  <c:v>7.6819600000000001</c:v>
                </c:pt>
                <c:pt idx="221">
                  <c:v>10.90436</c:v>
                </c:pt>
                <c:pt idx="222">
                  <c:v>6.5521799999999999</c:v>
                </c:pt>
                <c:pt idx="223">
                  <c:v>3.5728</c:v>
                </c:pt>
                <c:pt idx="224">
                  <c:v>16.785920000000001</c:v>
                </c:pt>
                <c:pt idx="225">
                  <c:v>4.6569000000000003</c:v>
                </c:pt>
                <c:pt idx="226">
                  <c:v>17.133120000000002</c:v>
                </c:pt>
                <c:pt idx="227">
                  <c:v>0.85238000000000003</c:v>
                </c:pt>
                <c:pt idx="228">
                  <c:v>5.7729999999999997</c:v>
                </c:pt>
                <c:pt idx="229">
                  <c:v>3.6897000000000002</c:v>
                </c:pt>
                <c:pt idx="230">
                  <c:v>7.32402</c:v>
                </c:pt>
                <c:pt idx="231">
                  <c:v>6.9744400000000004</c:v>
                </c:pt>
                <c:pt idx="232">
                  <c:v>33.723750000000003</c:v>
                </c:pt>
                <c:pt idx="233">
                  <c:v>9.8414099999999998</c:v>
                </c:pt>
                <c:pt idx="234">
                  <c:v>5.0077400000000001</c:v>
                </c:pt>
                <c:pt idx="235">
                  <c:v>1.1068199999999999</c:v>
                </c:pt>
                <c:pt idx="236">
                  <c:v>2.87622</c:v>
                </c:pt>
                <c:pt idx="237">
                  <c:v>4.8240999999999996</c:v>
                </c:pt>
                <c:pt idx="238">
                  <c:v>4.3434999999999997</c:v>
                </c:pt>
                <c:pt idx="239">
                  <c:v>3.0682999999999998</c:v>
                </c:pt>
                <c:pt idx="240">
                  <c:v>8.2250999999999994</c:v>
                </c:pt>
                <c:pt idx="241">
                  <c:v>2.8190400000000002</c:v>
                </c:pt>
                <c:pt idx="242">
                  <c:v>5.4325200000000002</c:v>
                </c:pt>
                <c:pt idx="243">
                  <c:v>7.5814899999999996</c:v>
                </c:pt>
                <c:pt idx="244">
                  <c:v>17.7822</c:v>
                </c:pt>
                <c:pt idx="245">
                  <c:v>12.37444</c:v>
                </c:pt>
                <c:pt idx="246">
                  <c:v>3.9592200000000002</c:v>
                </c:pt>
                <c:pt idx="247">
                  <c:v>5.4131</c:v>
                </c:pt>
                <c:pt idx="248">
                  <c:v>13.04495</c:v>
                </c:pt>
                <c:pt idx="249">
                  <c:v>5.8710000000000004</c:v>
                </c:pt>
                <c:pt idx="250">
                  <c:v>5.2275</c:v>
                </c:pt>
                <c:pt idx="251">
                  <c:v>3.1637499999999998</c:v>
                </c:pt>
                <c:pt idx="252">
                  <c:v>10.50006</c:v>
                </c:pt>
                <c:pt idx="253">
                  <c:v>11.866680000000001</c:v>
                </c:pt>
                <c:pt idx="254">
                  <c:v>11.812139999999999</c:v>
                </c:pt>
                <c:pt idx="255">
                  <c:v>5.2115999999999998</c:v>
                </c:pt>
                <c:pt idx="256">
                  <c:v>11.447100000000001</c:v>
                </c:pt>
                <c:pt idx="257">
                  <c:v>13.281779999999999</c:v>
                </c:pt>
                <c:pt idx="258">
                  <c:v>9.8892699999999998</c:v>
                </c:pt>
                <c:pt idx="259">
                  <c:v>6.4459499999999998</c:v>
                </c:pt>
                <c:pt idx="260">
                  <c:v>10.47011</c:v>
                </c:pt>
                <c:pt idx="261">
                  <c:v>4.9363200000000003</c:v>
                </c:pt>
                <c:pt idx="262">
                  <c:v>10.717700000000001</c:v>
                </c:pt>
                <c:pt idx="263">
                  <c:v>3.7629999999999999</c:v>
                </c:pt>
                <c:pt idx="264">
                  <c:v>12.99372</c:v>
                </c:pt>
                <c:pt idx="265">
                  <c:v>14.44716</c:v>
                </c:pt>
                <c:pt idx="266">
                  <c:v>12.062049999999999</c:v>
                </c:pt>
                <c:pt idx="267">
                  <c:v>9.9414400000000001</c:v>
                </c:pt>
                <c:pt idx="268">
                  <c:v>2.26092</c:v>
                </c:pt>
                <c:pt idx="269">
                  <c:v>10.4877</c:v>
                </c:pt>
                <c:pt idx="270">
                  <c:v>3.5182000000000002</c:v>
                </c:pt>
                <c:pt idx="271">
                  <c:v>3.6694</c:v>
                </c:pt>
                <c:pt idx="272">
                  <c:v>1.4740200000000001</c:v>
                </c:pt>
                <c:pt idx="273">
                  <c:v>1.6516500000000001</c:v>
                </c:pt>
                <c:pt idx="274">
                  <c:v>9.4537800000000001</c:v>
                </c:pt>
                <c:pt idx="275">
                  <c:v>1.0198499999999999</c:v>
                </c:pt>
                <c:pt idx="276">
                  <c:v>10.042260000000001</c:v>
                </c:pt>
                <c:pt idx="277">
                  <c:v>5.2843200000000001</c:v>
                </c:pt>
                <c:pt idx="278">
                  <c:v>6.7910399999999997</c:v>
                </c:pt>
                <c:pt idx="279">
                  <c:v>17.581849999999999</c:v>
                </c:pt>
                <c:pt idx="280">
                  <c:v>9.9427500000000002</c:v>
                </c:pt>
                <c:pt idx="281">
                  <c:v>10.4023</c:v>
                </c:pt>
                <c:pt idx="282">
                  <c:v>10.80264</c:v>
                </c:pt>
                <c:pt idx="283">
                  <c:v>19.1754</c:v>
                </c:pt>
                <c:pt idx="284">
                  <c:v>11.18988</c:v>
                </c:pt>
                <c:pt idx="285">
                  <c:v>10.085760000000001</c:v>
                </c:pt>
                <c:pt idx="286">
                  <c:v>7.4382000000000001</c:v>
                </c:pt>
                <c:pt idx="287">
                  <c:v>11.84094</c:v>
                </c:pt>
                <c:pt idx="288">
                  <c:v>2.79888</c:v>
                </c:pt>
                <c:pt idx="289">
                  <c:v>0.41803000000000001</c:v>
                </c:pt>
                <c:pt idx="290">
                  <c:v>3.0693000000000001</c:v>
                </c:pt>
                <c:pt idx="291">
                  <c:v>1.2726999999999999</c:v>
                </c:pt>
                <c:pt idx="292">
                  <c:v>1.2317400000000001</c:v>
                </c:pt>
                <c:pt idx="293">
                  <c:v>4.4447999999999999</c:v>
                </c:pt>
                <c:pt idx="294">
                  <c:v>7.55016</c:v>
                </c:pt>
                <c:pt idx="295">
                  <c:v>17.823</c:v>
                </c:pt>
                <c:pt idx="296">
                  <c:v>1.6077599999999999</c:v>
                </c:pt>
                <c:pt idx="297">
                  <c:v>19.404</c:v>
                </c:pt>
                <c:pt idx="298">
                  <c:v>7.1360000000000001</c:v>
                </c:pt>
                <c:pt idx="299">
                  <c:v>17.13738</c:v>
                </c:pt>
                <c:pt idx="300">
                  <c:v>4.7519999999999998</c:v>
                </c:pt>
                <c:pt idx="301">
                  <c:v>15.443820000000002</c:v>
                </c:pt>
                <c:pt idx="302">
                  <c:v>6.2684100000000003</c:v>
                </c:pt>
                <c:pt idx="303">
                  <c:v>11.870760000000001</c:v>
                </c:pt>
                <c:pt idx="304">
                  <c:v>8.0996900000000007</c:v>
                </c:pt>
                <c:pt idx="305">
                  <c:v>8.4062199999999994</c:v>
                </c:pt>
                <c:pt idx="306">
                  <c:v>2.7169400000000001</c:v>
                </c:pt>
                <c:pt idx="307">
                  <c:v>29.830680000000001</c:v>
                </c:pt>
                <c:pt idx="308">
                  <c:v>16.781960000000002</c:v>
                </c:pt>
                <c:pt idx="309">
                  <c:v>9.1071899999999992</c:v>
                </c:pt>
                <c:pt idx="310">
                  <c:v>7.3312499999999998</c:v>
                </c:pt>
                <c:pt idx="311">
                  <c:v>30.19248</c:v>
                </c:pt>
                <c:pt idx="312">
                  <c:v>24.272410000000001</c:v>
                </c:pt>
                <c:pt idx="313">
                  <c:v>15.445080000000001</c:v>
                </c:pt>
                <c:pt idx="314">
                  <c:v>10.203519999999999</c:v>
                </c:pt>
                <c:pt idx="315">
                  <c:v>15.13336</c:v>
                </c:pt>
                <c:pt idx="316">
                  <c:v>4.88436</c:v>
                </c:pt>
                <c:pt idx="317">
                  <c:v>2.5974699999999999</c:v>
                </c:pt>
                <c:pt idx="318">
                  <c:v>3.79155</c:v>
                </c:pt>
                <c:pt idx="319">
                  <c:v>7.0925799999999999</c:v>
                </c:pt>
                <c:pt idx="320">
                  <c:v>5.2049000000000003</c:v>
                </c:pt>
                <c:pt idx="321">
                  <c:v>6.2542499999999999</c:v>
                </c:pt>
                <c:pt idx="322">
                  <c:v>3.8940000000000006</c:v>
                </c:pt>
                <c:pt idx="323">
                  <c:v>12.5404</c:v>
                </c:pt>
                <c:pt idx="324">
                  <c:v>12.931620000000001</c:v>
                </c:pt>
                <c:pt idx="325">
                  <c:v>12.404339999999999</c:v>
                </c:pt>
                <c:pt idx="326">
                  <c:v>7.6175100000000002</c:v>
                </c:pt>
                <c:pt idx="327">
                  <c:v>12.881209999999999</c:v>
                </c:pt>
                <c:pt idx="328">
                  <c:v>4.6841100000000004</c:v>
                </c:pt>
                <c:pt idx="329">
                  <c:v>5.1056100000000004</c:v>
                </c:pt>
                <c:pt idx="330">
                  <c:v>8.2420500000000008</c:v>
                </c:pt>
                <c:pt idx="331">
                  <c:v>4.9927200000000003</c:v>
                </c:pt>
                <c:pt idx="332">
                  <c:v>4.61571</c:v>
                </c:pt>
                <c:pt idx="333">
                  <c:v>4.8564499999999997</c:v>
                </c:pt>
                <c:pt idx="334">
                  <c:v>5.0675499999999998</c:v>
                </c:pt>
                <c:pt idx="335">
                  <c:v>7.2285000000000004</c:v>
                </c:pt>
                <c:pt idx="336">
                  <c:v>3.98671</c:v>
                </c:pt>
                <c:pt idx="337">
                  <c:v>3.7366999999999999</c:v>
                </c:pt>
                <c:pt idx="338">
                  <c:v>5.36599</c:v>
                </c:pt>
                <c:pt idx="339">
                  <c:v>8.64114</c:v>
                </c:pt>
                <c:pt idx="340">
                  <c:v>7.6246799999999997</c:v>
                </c:pt>
                <c:pt idx="341">
                  <c:v>8.1250699999999991</c:v>
                </c:pt>
                <c:pt idx="342">
                  <c:v>6.0149999999999997</c:v>
                </c:pt>
                <c:pt idx="343">
                  <c:v>4.8568800000000003</c:v>
                </c:pt>
                <c:pt idx="344">
                  <c:v>4.6002000000000001</c:v>
                </c:pt>
                <c:pt idx="345">
                  <c:v>13.7196</c:v>
                </c:pt>
                <c:pt idx="346">
                  <c:v>9.9724799999999991</c:v>
                </c:pt>
                <c:pt idx="347">
                  <c:v>6.5820800000000004</c:v>
                </c:pt>
                <c:pt idx="348">
                  <c:v>4.3472</c:v>
                </c:pt>
                <c:pt idx="349">
                  <c:v>6.0215399999999999</c:v>
                </c:pt>
                <c:pt idx="350">
                  <c:v>3.0414599999999998</c:v>
                </c:pt>
                <c:pt idx="351">
                  <c:v>4.1745000000000001</c:v>
                </c:pt>
                <c:pt idx="352">
                  <c:v>3.2319</c:v>
                </c:pt>
                <c:pt idx="353">
                  <c:v>9.2193000000000005</c:v>
                </c:pt>
                <c:pt idx="354">
                  <c:v>2.47485</c:v>
                </c:pt>
                <c:pt idx="355">
                  <c:v>1.0010399999999999</c:v>
                </c:pt>
                <c:pt idx="356">
                  <c:v>3.6838799999999994</c:v>
                </c:pt>
                <c:pt idx="357">
                  <c:v>10.94994</c:v>
                </c:pt>
                <c:pt idx="358">
                  <c:v>2.55837</c:v>
                </c:pt>
                <c:pt idx="359">
                  <c:v>6.9883800000000003</c:v>
                </c:pt>
                <c:pt idx="360">
                  <c:v>3.0861000000000001</c:v>
                </c:pt>
                <c:pt idx="361">
                  <c:v>6.2434900000000004</c:v>
                </c:pt>
                <c:pt idx="362">
                  <c:v>7.4342600000000001</c:v>
                </c:pt>
                <c:pt idx="363">
                  <c:v>1.2200599999999999</c:v>
                </c:pt>
                <c:pt idx="364">
                  <c:v>2.1770399999999999</c:v>
                </c:pt>
                <c:pt idx="365">
                  <c:v>5.3731200000000001</c:v>
                </c:pt>
                <c:pt idx="366">
                  <c:v>7.3252199999999998</c:v>
                </c:pt>
                <c:pt idx="367">
                  <c:v>14.367039999999998</c:v>
                </c:pt>
                <c:pt idx="368">
                  <c:v>6.81318</c:v>
                </c:pt>
                <c:pt idx="369">
                  <c:v>17.982900000000001</c:v>
                </c:pt>
                <c:pt idx="370">
                  <c:v>9.2619000000000007</c:v>
                </c:pt>
                <c:pt idx="371">
                  <c:v>14.02092</c:v>
                </c:pt>
                <c:pt idx="372">
                  <c:v>9.3040000000000003</c:v>
                </c:pt>
                <c:pt idx="373">
                  <c:v>13.874040000000003</c:v>
                </c:pt>
                <c:pt idx="374">
                  <c:v>16.623719999999999</c:v>
                </c:pt>
                <c:pt idx="375">
                  <c:v>3.7966500000000005</c:v>
                </c:pt>
                <c:pt idx="376">
                  <c:v>23.882950000000001</c:v>
                </c:pt>
                <c:pt idx="377">
                  <c:v>22.891960000000001</c:v>
                </c:pt>
                <c:pt idx="378">
                  <c:v>17.120509999999999</c:v>
                </c:pt>
                <c:pt idx="379">
                  <c:v>64.07007999999999</c:v>
                </c:pt>
                <c:pt idx="380">
                  <c:v>2.7658800000000001</c:v>
                </c:pt>
                <c:pt idx="381">
                  <c:v>2.9028399999999999</c:v>
                </c:pt>
                <c:pt idx="382">
                  <c:v>4.5738000000000003</c:v>
                </c:pt>
                <c:pt idx="383">
                  <c:v>6.9875499999999997</c:v>
                </c:pt>
                <c:pt idx="384">
                  <c:v>2.2377600000000002</c:v>
                </c:pt>
                <c:pt idx="385">
                  <c:v>5.0587200000000001</c:v>
                </c:pt>
                <c:pt idx="386">
                  <c:v>9.8363999999999994</c:v>
                </c:pt>
                <c:pt idx="387">
                  <c:v>25.75638</c:v>
                </c:pt>
                <c:pt idx="388">
                  <c:v>20.244</c:v>
                </c:pt>
                <c:pt idx="389">
                  <c:v>17.0136</c:v>
                </c:pt>
                <c:pt idx="390">
                  <c:v>8.8661600000000007</c:v>
                </c:pt>
                <c:pt idx="391">
                  <c:v>7.0538400000000001</c:v>
                </c:pt>
                <c:pt idx="392">
                  <c:v>13.926500000000001</c:v>
                </c:pt>
                <c:pt idx="393">
                  <c:v>19.295850000000002</c:v>
                </c:pt>
                <c:pt idx="394">
                  <c:v>19.48724</c:v>
                </c:pt>
                <c:pt idx="395">
                  <c:v>20.400169999999999</c:v>
                </c:pt>
                <c:pt idx="396">
                  <c:v>44.21472</c:v>
                </c:pt>
                <c:pt idx="397">
                  <c:v>38.108899999999998</c:v>
                </c:pt>
                <c:pt idx="398">
                  <c:v>14.4232</c:v>
                </c:pt>
                <c:pt idx="399">
                  <c:v>39.774239999999999</c:v>
                </c:pt>
                <c:pt idx="400">
                  <c:v>47.236739999999998</c:v>
                </c:pt>
                <c:pt idx="401">
                  <c:v>49.888280000000002</c:v>
                </c:pt>
                <c:pt idx="402">
                  <c:v>37.906080000000003</c:v>
                </c:pt>
                <c:pt idx="403">
                  <c:v>18.600629999999999</c:v>
                </c:pt>
                <c:pt idx="404">
                  <c:v>194.33198999999999</c:v>
                </c:pt>
                <c:pt idx="405">
                  <c:v>39.886600000000001</c:v>
                </c:pt>
                <c:pt idx="406">
                  <c:v>14.439360000000001</c:v>
                </c:pt>
                <c:pt idx="407">
                  <c:v>24.879439999999999</c:v>
                </c:pt>
                <c:pt idx="408">
                  <c:v>19.220880000000001</c:v>
                </c:pt>
                <c:pt idx="409">
                  <c:v>27.150320000000001</c:v>
                </c:pt>
                <c:pt idx="410">
                  <c:v>8.0943799999999992</c:v>
                </c:pt>
                <c:pt idx="411">
                  <c:v>29.36861</c:v>
                </c:pt>
                <c:pt idx="412">
                  <c:v>62.28708000000001</c:v>
                </c:pt>
                <c:pt idx="413">
                  <c:v>53.658520000000003</c:v>
                </c:pt>
                <c:pt idx="414">
                  <c:v>22.055319999999998</c:v>
                </c:pt>
                <c:pt idx="415">
                  <c:v>16.53912</c:v>
                </c:pt>
                <c:pt idx="416">
                  <c:v>46.03725</c:v>
                </c:pt>
                <c:pt idx="417">
                  <c:v>47.565269999999998</c:v>
                </c:pt>
                <c:pt idx="418">
                  <c:v>9.0560799999999997</c:v>
                </c:pt>
                <c:pt idx="419">
                  <c:v>13.072039999999999</c:v>
                </c:pt>
                <c:pt idx="420">
                  <c:v>19.851600000000001</c:v>
                </c:pt>
                <c:pt idx="421">
                  <c:v>6.4344999999999999</c:v>
                </c:pt>
                <c:pt idx="422">
                  <c:v>16.31108</c:v>
                </c:pt>
                <c:pt idx="423">
                  <c:v>20.060169999999999</c:v>
                </c:pt>
                <c:pt idx="424">
                  <c:v>13.536720000000001</c:v>
                </c:pt>
                <c:pt idx="425">
                  <c:v>16.581600000000002</c:v>
                </c:pt>
                <c:pt idx="426">
                  <c:v>16.635840000000002</c:v>
                </c:pt>
                <c:pt idx="427">
                  <c:v>7.9074</c:v>
                </c:pt>
                <c:pt idx="428">
                  <c:v>4.9944300000000004</c:v>
                </c:pt>
                <c:pt idx="429">
                  <c:v>4.7211400000000001</c:v>
                </c:pt>
                <c:pt idx="430">
                  <c:v>9.6835500000000003</c:v>
                </c:pt>
                <c:pt idx="431">
                  <c:v>8.7796800000000008</c:v>
                </c:pt>
                <c:pt idx="432">
                  <c:v>5.2041000000000004</c:v>
                </c:pt>
                <c:pt idx="433">
                  <c:v>11.455399999999999</c:v>
                </c:pt>
                <c:pt idx="434">
                  <c:v>4.3660800000000002</c:v>
                </c:pt>
                <c:pt idx="435">
                  <c:v>6.8997599999999997</c:v>
                </c:pt>
                <c:pt idx="436">
                  <c:v>1.8164</c:v>
                </c:pt>
                <c:pt idx="437">
                  <c:v>10.883599999999999</c:v>
                </c:pt>
                <c:pt idx="438">
                  <c:v>18.297730000000001</c:v>
                </c:pt>
                <c:pt idx="439">
                  <c:v>2.2292100000000001</c:v>
                </c:pt>
                <c:pt idx="440">
                  <c:v>4.6646400000000003</c:v>
                </c:pt>
                <c:pt idx="441">
                  <c:v>25.39836</c:v>
                </c:pt>
                <c:pt idx="442">
                  <c:v>20.009219999999999</c:v>
                </c:pt>
                <c:pt idx="443">
                  <c:v>4.0894700000000004</c:v>
                </c:pt>
                <c:pt idx="444">
                  <c:v>12.73349</c:v>
                </c:pt>
                <c:pt idx="445">
                  <c:v>21.8004</c:v>
                </c:pt>
                <c:pt idx="446">
                  <c:v>11.382429999999999</c:v>
                </c:pt>
                <c:pt idx="447">
                  <c:v>1.60378</c:v>
                </c:pt>
                <c:pt idx="448">
                  <c:v>5.9177400000000002</c:v>
                </c:pt>
                <c:pt idx="449">
                  <c:v>8.0259</c:v>
                </c:pt>
                <c:pt idx="450">
                  <c:v>5.01858</c:v>
                </c:pt>
                <c:pt idx="451">
                  <c:v>7.7134200000000002</c:v>
                </c:pt>
                <c:pt idx="452">
                  <c:v>10.662419999999999</c:v>
                </c:pt>
                <c:pt idx="453">
                  <c:v>5.3247200000000001</c:v>
                </c:pt>
                <c:pt idx="454">
                  <c:v>4.1597400000000002</c:v>
                </c:pt>
                <c:pt idx="455">
                  <c:v>7.70296</c:v>
                </c:pt>
                <c:pt idx="456">
                  <c:v>7.3130600000000001</c:v>
                </c:pt>
                <c:pt idx="457">
                  <c:v>7.1412599999999999</c:v>
                </c:pt>
                <c:pt idx="458">
                  <c:v>3.8417699999999999</c:v>
                </c:pt>
                <c:pt idx="459">
                  <c:v>7.3864999999999998</c:v>
                </c:pt>
                <c:pt idx="460">
                  <c:v>7.2040800000000003</c:v>
                </c:pt>
                <c:pt idx="461">
                  <c:v>5.1995399999999998</c:v>
                </c:pt>
                <c:pt idx="462">
                  <c:v>4.8362699999999998</c:v>
                </c:pt>
                <c:pt idx="463">
                  <c:v>2.7335699999999998</c:v>
                </c:pt>
                <c:pt idx="464">
                  <c:v>0.68688000000000005</c:v>
                </c:pt>
                <c:pt idx="465">
                  <c:v>3.4247999999999998</c:v>
                </c:pt>
                <c:pt idx="466">
                  <c:v>1.2612099999999999</c:v>
                </c:pt>
                <c:pt idx="467">
                  <c:v>0.7157</c:v>
                </c:pt>
                <c:pt idx="468">
                  <c:v>2.9095199999999997</c:v>
                </c:pt>
                <c:pt idx="469">
                  <c:v>3.9197599999999997</c:v>
                </c:pt>
                <c:pt idx="470">
                  <c:v>8.2469400000000004</c:v>
                </c:pt>
                <c:pt idx="471">
                  <c:v>2.625</c:v>
                </c:pt>
                <c:pt idx="472">
                  <c:v>3.8085500000000003</c:v>
                </c:pt>
                <c:pt idx="473">
                  <c:v>7.3084800000000003</c:v>
                </c:pt>
                <c:pt idx="474">
                  <c:v>4.0131000000000006</c:v>
                </c:pt>
                <c:pt idx="475">
                  <c:v>15.540779999999998</c:v>
                </c:pt>
                <c:pt idx="476">
                  <c:v>10.68378</c:v>
                </c:pt>
                <c:pt idx="477">
                  <c:v>8.4161599999999996</c:v>
                </c:pt>
                <c:pt idx="478">
                  <c:v>18.68308</c:v>
                </c:pt>
                <c:pt idx="479">
                  <c:v>6.6897599999999997</c:v>
                </c:pt>
                <c:pt idx="480">
                  <c:v>9.65062</c:v>
                </c:pt>
                <c:pt idx="481">
                  <c:v>5.55</c:v>
                </c:pt>
                <c:pt idx="482">
                  <c:v>13.16775</c:v>
                </c:pt>
                <c:pt idx="483">
                  <c:v>5.23508</c:v>
                </c:pt>
                <c:pt idx="484">
                  <c:v>4.1670199999999999</c:v>
                </c:pt>
                <c:pt idx="485">
                  <c:v>6.5296000000000003</c:v>
                </c:pt>
                <c:pt idx="486">
                  <c:v>4.4721900000000003</c:v>
                </c:pt>
                <c:pt idx="487">
                  <c:v>4.1558400000000004</c:v>
                </c:pt>
                <c:pt idx="488">
                  <c:v>4.4798999999999998</c:v>
                </c:pt>
                <c:pt idx="489">
                  <c:v>3.3534000000000002</c:v>
                </c:pt>
                <c:pt idx="490">
                  <c:v>4.1105999999999998</c:v>
                </c:pt>
                <c:pt idx="491">
                  <c:v>8.1402999999999999</c:v>
                </c:pt>
                <c:pt idx="492">
                  <c:v>4.7855499999999997</c:v>
                </c:pt>
                <c:pt idx="493">
                  <c:v>6.1465500000000004</c:v>
                </c:pt>
                <c:pt idx="494">
                  <c:v>7.3352500000000003</c:v>
                </c:pt>
                <c:pt idx="495">
                  <c:v>9.5335000000000001</c:v>
                </c:pt>
                <c:pt idx="496">
                  <c:v>6.5853000000000002</c:v>
                </c:pt>
                <c:pt idx="497">
                  <c:v>30.647100000000005</c:v>
                </c:pt>
                <c:pt idx="498">
                  <c:v>3.8857499999999998</c:v>
                </c:pt>
                <c:pt idx="499">
                  <c:v>5.5545</c:v>
                </c:pt>
                <c:pt idx="500">
                  <c:v>3.9382000000000001</c:v>
                </c:pt>
                <c:pt idx="501">
                  <c:v>4.4798999999999998</c:v>
                </c:pt>
                <c:pt idx="502">
                  <c:v>18.374099999999999</c:v>
                </c:pt>
                <c:pt idx="503">
                  <c:v>11.166650000000001</c:v>
                </c:pt>
                <c:pt idx="504">
                  <c:v>7.6220000000000008</c:v>
                </c:pt>
                <c:pt idx="505">
                  <c:v>6.9615000000000009</c:v>
                </c:pt>
                <c:pt idx="506">
                  <c:v>5.7476500000000001</c:v>
                </c:pt>
                <c:pt idx="507">
                  <c:v>9.0071999999999992</c:v>
                </c:pt>
                <c:pt idx="508">
                  <c:v>12.2546</c:v>
                </c:pt>
                <c:pt idx="509">
                  <c:v>10.269500000000001</c:v>
                </c:pt>
                <c:pt idx="510">
                  <c:v>19.382899999999999</c:v>
                </c:pt>
                <c:pt idx="511">
                  <c:v>11.022</c:v>
                </c:pt>
                <c:pt idx="512">
                  <c:v>5.9202000000000004</c:v>
                </c:pt>
                <c:pt idx="513">
                  <c:v>6.7298</c:v>
                </c:pt>
                <c:pt idx="514">
                  <c:v>7.205750000000001</c:v>
                </c:pt>
                <c:pt idx="515">
                  <c:v>5.0765000000000002</c:v>
                </c:pt>
                <c:pt idx="516">
                  <c:v>5.2496</c:v>
                </c:pt>
                <c:pt idx="517">
                  <c:v>1.9864000000000002</c:v>
                </c:pt>
                <c:pt idx="518">
                  <c:v>3.0186000000000002</c:v>
                </c:pt>
                <c:pt idx="519">
                  <c:v>6.3030000000000008</c:v>
                </c:pt>
                <c:pt idx="520">
                  <c:v>6.5365000000000011</c:v>
                </c:pt>
                <c:pt idx="521">
                  <c:v>5.0651999999999999</c:v>
                </c:pt>
                <c:pt idx="522">
                  <c:v>26.094999999999999</c:v>
                </c:pt>
                <c:pt idx="523">
                  <c:v>8.6776999999999997</c:v>
                </c:pt>
                <c:pt idx="524">
                  <c:v>14.987700000000002</c:v>
                </c:pt>
                <c:pt idx="525">
                  <c:v>8.5860000000000003</c:v>
                </c:pt>
                <c:pt idx="526">
                  <c:v>3.8605999999999994</c:v>
                </c:pt>
                <c:pt idx="527">
                  <c:v>4.0799999999999992</c:v>
                </c:pt>
                <c:pt idx="528">
                  <c:v>7.3444000000000011</c:v>
                </c:pt>
                <c:pt idx="529">
                  <c:v>7.7805</c:v>
                </c:pt>
                <c:pt idx="530">
                  <c:v>13.272</c:v>
                </c:pt>
                <c:pt idx="531">
                  <c:v>13.0572</c:v>
                </c:pt>
                <c:pt idx="532">
                  <c:v>4.2487500000000002</c:v>
                </c:pt>
                <c:pt idx="533">
                  <c:v>1.1245499999999999</c:v>
                </c:pt>
                <c:pt idx="534">
                  <c:v>6.1740000000000004</c:v>
                </c:pt>
                <c:pt idx="535">
                  <c:v>16.254249999999999</c:v>
                </c:pt>
                <c:pt idx="536">
                  <c:v>22.470199999999998</c:v>
                </c:pt>
                <c:pt idx="537">
                  <c:v>2.4979499999999999</c:v>
                </c:pt>
                <c:pt idx="538">
                  <c:v>22.136399999999998</c:v>
                </c:pt>
                <c:pt idx="539">
                  <c:v>14.042899999999999</c:v>
                </c:pt>
                <c:pt idx="540">
                  <c:v>24.66075</c:v>
                </c:pt>
                <c:pt idx="541">
                  <c:v>14.9611</c:v>
                </c:pt>
                <c:pt idx="542">
                  <c:v>11.58625</c:v>
                </c:pt>
                <c:pt idx="543">
                  <c:v>5.5419</c:v>
                </c:pt>
                <c:pt idx="544">
                  <c:v>14.725349999999999</c:v>
                </c:pt>
                <c:pt idx="545">
                  <c:v>4.1569500000000001</c:v>
                </c:pt>
                <c:pt idx="546">
                  <c:v>2.2589999999999999</c:v>
                </c:pt>
                <c:pt idx="547">
                  <c:v>5.5679999999999996</c:v>
                </c:pt>
                <c:pt idx="548">
                  <c:v>4.7562499999999996</c:v>
                </c:pt>
                <c:pt idx="549">
                  <c:v>8.3309000000000015</c:v>
                </c:pt>
                <c:pt idx="550">
                  <c:v>3.145</c:v>
                </c:pt>
                <c:pt idx="551">
                  <c:v>1.8954000000000002</c:v>
                </c:pt>
                <c:pt idx="552">
                  <c:v>21.02375</c:v>
                </c:pt>
                <c:pt idx="553">
                  <c:v>9.2617499999999993</c:v>
                </c:pt>
                <c:pt idx="554">
                  <c:v>25.687999999999995</c:v>
                </c:pt>
                <c:pt idx="555">
                  <c:v>12.121799999999999</c:v>
                </c:pt>
                <c:pt idx="556">
                  <c:v>19.944749999999999</c:v>
                </c:pt>
                <c:pt idx="557">
                  <c:v>15.703600000000002</c:v>
                </c:pt>
                <c:pt idx="558">
                  <c:v>5.5110000000000001</c:v>
                </c:pt>
                <c:pt idx="559">
                  <c:v>7.8085000000000013</c:v>
                </c:pt>
                <c:pt idx="560">
                  <c:v>8.1374999999999993</c:v>
                </c:pt>
                <c:pt idx="561">
                  <c:v>4.7144000000000004</c:v>
                </c:pt>
                <c:pt idx="562">
                  <c:v>7.9901499999999999</c:v>
                </c:pt>
                <c:pt idx="563">
                  <c:v>6.0872999999999999</c:v>
                </c:pt>
                <c:pt idx="564">
                  <c:v>11.0489</c:v>
                </c:pt>
                <c:pt idx="565">
                  <c:v>13.845800000000001</c:v>
                </c:pt>
                <c:pt idx="566">
                  <c:v>8.6831999999999994</c:v>
                </c:pt>
                <c:pt idx="567">
                  <c:v>8.3209999999999997</c:v>
                </c:pt>
                <c:pt idx="568">
                  <c:v>7.6077000000000004</c:v>
                </c:pt>
                <c:pt idx="569">
                  <c:v>14.175000000000001</c:v>
                </c:pt>
                <c:pt idx="570">
                  <c:v>4.2606999999999999</c:v>
                </c:pt>
                <c:pt idx="571">
                  <c:v>26.660799999999998</c:v>
                </c:pt>
                <c:pt idx="572">
                  <c:v>4.6665000000000001</c:v>
                </c:pt>
                <c:pt idx="573">
                  <c:v>11.7576</c:v>
                </c:pt>
                <c:pt idx="574">
                  <c:v>10.922000000000001</c:v>
                </c:pt>
                <c:pt idx="575">
                  <c:v>5.6742999999999997</c:v>
                </c:pt>
                <c:pt idx="576">
                  <c:v>6.6253000000000002</c:v>
                </c:pt>
                <c:pt idx="577">
                  <c:v>6.5613999999999999</c:v>
                </c:pt>
                <c:pt idx="578">
                  <c:v>7.2302999999999997</c:v>
                </c:pt>
                <c:pt idx="579">
                  <c:v>5.2582500000000003</c:v>
                </c:pt>
                <c:pt idx="580">
                  <c:v>7.8560999999999996</c:v>
                </c:pt>
                <c:pt idx="581">
                  <c:v>4.78125</c:v>
                </c:pt>
                <c:pt idx="582">
                  <c:v>10.095750000000001</c:v>
                </c:pt>
                <c:pt idx="583">
                  <c:v>11.04</c:v>
                </c:pt>
                <c:pt idx="584">
                  <c:v>2.7753000000000001</c:v>
                </c:pt>
                <c:pt idx="585">
                  <c:v>20.953700000000001</c:v>
                </c:pt>
                <c:pt idx="586">
                  <c:v>5.7375999999999996</c:v>
                </c:pt>
                <c:pt idx="587">
                  <c:v>11.143499999999998</c:v>
                </c:pt>
                <c:pt idx="588">
                  <c:v>7.8684000000000003</c:v>
                </c:pt>
                <c:pt idx="589">
                  <c:v>10.76665</c:v>
                </c:pt>
                <c:pt idx="590">
                  <c:v>7.9909999999999997</c:v>
                </c:pt>
                <c:pt idx="591">
                  <c:v>4.3956</c:v>
                </c:pt>
                <c:pt idx="592">
                  <c:v>5.85</c:v>
                </c:pt>
                <c:pt idx="593">
                  <c:v>4.5594000000000001</c:v>
                </c:pt>
                <c:pt idx="594">
                  <c:v>5.5358000000000001</c:v>
                </c:pt>
                <c:pt idx="595">
                  <c:v>12.978899999999999</c:v>
                </c:pt>
                <c:pt idx="596">
                  <c:v>3.9556</c:v>
                </c:pt>
                <c:pt idx="597">
                  <c:v>15.568599999999998</c:v>
                </c:pt>
                <c:pt idx="598">
                  <c:v>63.371250000000003</c:v>
                </c:pt>
                <c:pt idx="599">
                  <c:v>6.1749999999999998</c:v>
                </c:pt>
                <c:pt idx="600">
                  <c:v>11.0633</c:v>
                </c:pt>
                <c:pt idx="601">
                  <c:v>9.36</c:v>
                </c:pt>
                <c:pt idx="602">
                  <c:v>10.4823</c:v>
                </c:pt>
                <c:pt idx="603">
                  <c:v>16.431750000000001</c:v>
                </c:pt>
                <c:pt idx="604">
                  <c:v>5.016</c:v>
                </c:pt>
                <c:pt idx="605">
                  <c:v>1.8648</c:v>
                </c:pt>
                <c:pt idx="606">
                  <c:v>1.97315</c:v>
                </c:pt>
                <c:pt idx="607">
                  <c:v>16.7303</c:v>
                </c:pt>
                <c:pt idx="608">
                  <c:v>7.5140000000000002</c:v>
                </c:pt>
                <c:pt idx="609">
                  <c:v>6.4960000000000004</c:v>
                </c:pt>
                <c:pt idx="610">
                  <c:v>5.86</c:v>
                </c:pt>
                <c:pt idx="611">
                  <c:v>26.55</c:v>
                </c:pt>
                <c:pt idx="612">
                  <c:v>8.1641499999999994</c:v>
                </c:pt>
                <c:pt idx="613">
                  <c:v>7.2656999999999998</c:v>
                </c:pt>
                <c:pt idx="614">
                  <c:v>10.29</c:v>
                </c:pt>
                <c:pt idx="615">
                  <c:v>9.4719999999999995</c:v>
                </c:pt>
                <c:pt idx="616">
                  <c:v>13.186500000000001</c:v>
                </c:pt>
                <c:pt idx="617">
                  <c:v>5.8212000000000002</c:v>
                </c:pt>
                <c:pt idx="618">
                  <c:v>13.9293</c:v>
                </c:pt>
                <c:pt idx="619">
                  <c:v>16.878050000000002</c:v>
                </c:pt>
                <c:pt idx="620">
                  <c:v>4.0449000000000002</c:v>
                </c:pt>
                <c:pt idx="621">
                  <c:v>4.72</c:v>
                </c:pt>
                <c:pt idx="622">
                  <c:v>15.849</c:v>
                </c:pt>
                <c:pt idx="623">
                  <c:v>13.227600000000001</c:v>
                </c:pt>
                <c:pt idx="624">
                  <c:v>4.7641999999999998</c:v>
                </c:pt>
                <c:pt idx="625">
                  <c:v>6.9008000000000003</c:v>
                </c:pt>
                <c:pt idx="626">
                  <c:v>5.3578000000000001</c:v>
                </c:pt>
                <c:pt idx="627">
                  <c:v>6.2504</c:v>
                </c:pt>
                <c:pt idx="628">
                  <c:v>3.6890000000000001</c:v>
                </c:pt>
                <c:pt idx="629">
                  <c:v>12.097200000000001</c:v>
                </c:pt>
                <c:pt idx="630">
                  <c:v>18.4983</c:v>
                </c:pt>
                <c:pt idx="631">
                  <c:v>9.4466000000000001</c:v>
                </c:pt>
                <c:pt idx="632">
                  <c:v>8.4139999999999997</c:v>
                </c:pt>
                <c:pt idx="633">
                  <c:v>10.09315</c:v>
                </c:pt>
                <c:pt idx="634">
                  <c:v>3.7926000000000002</c:v>
                </c:pt>
                <c:pt idx="635">
                  <c:v>7.8045</c:v>
                </c:pt>
                <c:pt idx="636">
                  <c:v>15.8184</c:v>
                </c:pt>
                <c:pt idx="637">
                  <c:v>22.411899999999999</c:v>
                </c:pt>
                <c:pt idx="638">
                  <c:v>12.413500000000001</c:v>
                </c:pt>
                <c:pt idx="639">
                  <c:v>5.7408000000000001</c:v>
                </c:pt>
                <c:pt idx="640">
                  <c:v>7.1955</c:v>
                </c:pt>
                <c:pt idx="641">
                  <c:v>9.7631999999999994</c:v>
                </c:pt>
                <c:pt idx="642">
                  <c:v>29.200050000000001</c:v>
                </c:pt>
                <c:pt idx="643">
                  <c:v>14.17065</c:v>
                </c:pt>
                <c:pt idx="644">
                  <c:v>8.4789999999999992</c:v>
                </c:pt>
                <c:pt idx="645">
                  <c:v>4.0031999999999996</c:v>
                </c:pt>
                <c:pt idx="646">
                  <c:v>13.675000000000001</c:v>
                </c:pt>
                <c:pt idx="647">
                  <c:v>22.385000000000002</c:v>
                </c:pt>
                <c:pt idx="648">
                  <c:v>8.4129500000000004</c:v>
                </c:pt>
                <c:pt idx="649">
                  <c:v>32.061149999999998</c:v>
                </c:pt>
                <c:pt idx="650">
                  <c:v>16.735600000000002</c:v>
                </c:pt>
                <c:pt idx="651">
                  <c:v>9.0791000000000004</c:v>
                </c:pt>
                <c:pt idx="652">
                  <c:v>10.064249999999999</c:v>
                </c:pt>
                <c:pt idx="653">
                  <c:v>6.3503999999999996</c:v>
                </c:pt>
                <c:pt idx="654">
                  <c:v>5.56</c:v>
                </c:pt>
                <c:pt idx="655">
                  <c:v>5.6257000000000001</c:v>
                </c:pt>
                <c:pt idx="656">
                  <c:v>26.357800000000001</c:v>
                </c:pt>
                <c:pt idx="657">
                  <c:v>26.801649999999999</c:v>
                </c:pt>
                <c:pt idx="658">
                  <c:v>9.657</c:v>
                </c:pt>
                <c:pt idx="659">
                  <c:v>7.6828500000000002</c:v>
                </c:pt>
                <c:pt idx="660">
                  <c:v>15.17925</c:v>
                </c:pt>
                <c:pt idx="661">
                  <c:v>10.617599999999999</c:v>
                </c:pt>
                <c:pt idx="662">
                  <c:v>18.345600000000001</c:v>
                </c:pt>
                <c:pt idx="663">
                  <c:v>18.258749999999999</c:v>
                </c:pt>
                <c:pt idx="664">
                  <c:v>12.027150000000001</c:v>
                </c:pt>
                <c:pt idx="665">
                  <c:v>7.524</c:v>
                </c:pt>
                <c:pt idx="666">
                  <c:v>12.628399999999999</c:v>
                </c:pt>
                <c:pt idx="667">
                  <c:v>11.30425</c:v>
                </c:pt>
                <c:pt idx="668">
                  <c:v>7.1824000000000003</c:v>
                </c:pt>
                <c:pt idx="669">
                  <c:v>3.4584000000000001</c:v>
                </c:pt>
                <c:pt idx="670">
                  <c:v>5.5704000000000002</c:v>
                </c:pt>
                <c:pt idx="671">
                  <c:v>5.0065</c:v>
                </c:pt>
                <c:pt idx="672">
                  <c:v>5.2159500000000003</c:v>
                </c:pt>
                <c:pt idx="673">
                  <c:v>18.252700000000001</c:v>
                </c:pt>
                <c:pt idx="674">
                  <c:v>9.7721999999999998</c:v>
                </c:pt>
                <c:pt idx="675">
                  <c:v>5.7190000000000003</c:v>
                </c:pt>
                <c:pt idx="676">
                  <c:v>16.642800000000001</c:v>
                </c:pt>
                <c:pt idx="677">
                  <c:v>9.5494000000000003</c:v>
                </c:pt>
                <c:pt idx="678">
                  <c:v>16.63025</c:v>
                </c:pt>
                <c:pt idx="679">
                  <c:v>11.843999999999999</c:v>
                </c:pt>
                <c:pt idx="680">
                  <c:v>7.4539</c:v>
                </c:pt>
                <c:pt idx="681">
                  <c:v>15.96045</c:v>
                </c:pt>
                <c:pt idx="682">
                  <c:v>8.3903999999999996</c:v>
                </c:pt>
                <c:pt idx="683">
                  <c:v>23.625</c:v>
                </c:pt>
                <c:pt idx="684">
                  <c:v>22.61975</c:v>
                </c:pt>
                <c:pt idx="685">
                  <c:v>24.7775</c:v>
                </c:pt>
                <c:pt idx="686">
                  <c:v>30.712800000000001</c:v>
                </c:pt>
                <c:pt idx="687">
                  <c:v>48.918199999999999</c:v>
                </c:pt>
                <c:pt idx="688">
                  <c:v>10.897600000000001</c:v>
                </c:pt>
                <c:pt idx="689">
                  <c:v>2.1252</c:v>
                </c:pt>
                <c:pt idx="690">
                  <c:v>5.2076000000000002</c:v>
                </c:pt>
                <c:pt idx="691">
                  <c:v>4.5622499999999997</c:v>
                </c:pt>
                <c:pt idx="692">
                  <c:v>6.4960000000000004</c:v>
                </c:pt>
                <c:pt idx="693">
                  <c:v>6.9222000000000001</c:v>
                </c:pt>
                <c:pt idx="694">
                  <c:v>3.536</c:v>
                </c:pt>
                <c:pt idx="695">
                  <c:v>5.83725</c:v>
                </c:pt>
                <c:pt idx="696">
                  <c:v>1.917</c:v>
                </c:pt>
                <c:pt idx="697">
                  <c:v>5.64</c:v>
                </c:pt>
                <c:pt idx="698">
                  <c:v>13.0616</c:v>
                </c:pt>
                <c:pt idx="699">
                  <c:v>6.5136000000000003</c:v>
                </c:pt>
                <c:pt idx="700">
                  <c:v>10.082800000000001</c:v>
                </c:pt>
                <c:pt idx="701">
                  <c:v>26.148800000000001</c:v>
                </c:pt>
                <c:pt idx="702">
                  <c:v>30.525400000000001</c:v>
                </c:pt>
                <c:pt idx="703">
                  <c:v>10.617599999999999</c:v>
                </c:pt>
                <c:pt idx="704">
                  <c:v>15.90475</c:v>
                </c:pt>
                <c:pt idx="705">
                  <c:v>7.952</c:v>
                </c:pt>
                <c:pt idx="706">
                  <c:v>18.497699999999998</c:v>
                </c:pt>
                <c:pt idx="707">
                  <c:v>12.790800000000001</c:v>
                </c:pt>
                <c:pt idx="708">
                  <c:v>5.2919999999999998</c:v>
                </c:pt>
                <c:pt idx="709">
                  <c:v>15.2075</c:v>
                </c:pt>
                <c:pt idx="710">
                  <c:v>6.1471999999999998</c:v>
                </c:pt>
                <c:pt idx="711">
                  <c:v>7.3024500000000003</c:v>
                </c:pt>
                <c:pt idx="712">
                  <c:v>6.7770000000000001</c:v>
                </c:pt>
                <c:pt idx="713">
                  <c:v>5.0566000000000004</c:v>
                </c:pt>
                <c:pt idx="714">
                  <c:v>4.6592000000000002</c:v>
                </c:pt>
                <c:pt idx="715">
                  <c:v>5.6753499999999999</c:v>
                </c:pt>
                <c:pt idx="716">
                  <c:v>0.90900000000000003</c:v>
                </c:pt>
                <c:pt idx="717">
                  <c:v>4.9797000000000002</c:v>
                </c:pt>
                <c:pt idx="718">
                  <c:v>7.7111999999999998</c:v>
                </c:pt>
                <c:pt idx="719">
                  <c:v>11.391999999999999</c:v>
                </c:pt>
                <c:pt idx="720">
                  <c:v>13.728</c:v>
                </c:pt>
                <c:pt idx="721">
                  <c:v>24.038</c:v>
                </c:pt>
                <c:pt idx="722">
                  <c:v>7.4798499999999999</c:v>
                </c:pt>
                <c:pt idx="723">
                  <c:v>17.8596</c:v>
                </c:pt>
                <c:pt idx="724">
                  <c:v>9.2299500000000005</c:v>
                </c:pt>
                <c:pt idx="725">
                  <c:v>12.285</c:v>
                </c:pt>
                <c:pt idx="726">
                  <c:v>20.181000000000001</c:v>
                </c:pt>
                <c:pt idx="727">
                  <c:v>27.126550000000002</c:v>
                </c:pt>
                <c:pt idx="728">
                  <c:v>15.477</c:v>
                </c:pt>
                <c:pt idx="729">
                  <c:v>15.202999999999999</c:v>
                </c:pt>
                <c:pt idx="730">
                  <c:v>16.113499999999998</c:v>
                </c:pt>
                <c:pt idx="731">
                  <c:v>10.833</c:v>
                </c:pt>
                <c:pt idx="732">
                  <c:v>15.2456</c:v>
                </c:pt>
                <c:pt idx="733">
                  <c:v>22.635100000000001</c:v>
                </c:pt>
                <c:pt idx="734">
                  <c:v>37.518000000000001</c:v>
                </c:pt>
                <c:pt idx="735">
                  <c:v>9.4438499999999994</c:v>
                </c:pt>
                <c:pt idx="736">
                  <c:v>19.0366</c:v>
                </c:pt>
                <c:pt idx="737">
                  <c:v>15.531000000000001</c:v>
                </c:pt>
                <c:pt idx="738">
                  <c:v>9.1797500000000003</c:v>
                </c:pt>
                <c:pt idx="739">
                  <c:v>13.821</c:v>
                </c:pt>
                <c:pt idx="740">
                  <c:v>13.398149999999999</c:v>
                </c:pt>
                <c:pt idx="741">
                  <c:v>15.4696</c:v>
                </c:pt>
                <c:pt idx="742">
                  <c:v>8.6308500000000006</c:v>
                </c:pt>
                <c:pt idx="743">
                  <c:v>29.795999999999999</c:v>
                </c:pt>
                <c:pt idx="744">
                  <c:v>30.334</c:v>
                </c:pt>
                <c:pt idx="745">
                  <c:v>11.835000000000001</c:v>
                </c:pt>
                <c:pt idx="746">
                  <c:v>19.0686</c:v>
                </c:pt>
                <c:pt idx="747">
                  <c:v>12.792</c:v>
                </c:pt>
                <c:pt idx="748">
                  <c:v>10.516500000000001</c:v>
                </c:pt>
                <c:pt idx="749">
                  <c:v>17.082000000000001</c:v>
                </c:pt>
                <c:pt idx="750">
                  <c:v>12.046849999999999</c:v>
                </c:pt>
                <c:pt idx="751">
                  <c:v>10.01455</c:v>
                </c:pt>
                <c:pt idx="752">
                  <c:v>17.542000000000002</c:v>
                </c:pt>
                <c:pt idx="753">
                  <c:v>6.0731999999999999</c:v>
                </c:pt>
                <c:pt idx="754">
                  <c:v>8.0037500000000001</c:v>
                </c:pt>
                <c:pt idx="755">
                  <c:v>20.491250000000001</c:v>
                </c:pt>
                <c:pt idx="756">
                  <c:v>17.064599999999999</c:v>
                </c:pt>
                <c:pt idx="757">
                  <c:v>11.496</c:v>
                </c:pt>
                <c:pt idx="758">
                  <c:v>16.088799999999999</c:v>
                </c:pt>
                <c:pt idx="759">
                  <c:v>9.3890499999999992</c:v>
                </c:pt>
                <c:pt idx="760">
                  <c:v>12.73335</c:v>
                </c:pt>
                <c:pt idx="761">
                  <c:v>16.3215</c:v>
                </c:pt>
                <c:pt idx="762">
                  <c:v>12.066750000000001</c:v>
                </c:pt>
                <c:pt idx="763">
                  <c:v>16.8596</c:v>
                </c:pt>
                <c:pt idx="764">
                  <c:v>6.4656000000000002</c:v>
                </c:pt>
                <c:pt idx="765">
                  <c:v>7.4983000000000004</c:v>
                </c:pt>
                <c:pt idx="766">
                  <c:v>7.5877499999999989</c:v>
                </c:pt>
                <c:pt idx="767">
                  <c:v>13.041600000000001</c:v>
                </c:pt>
                <c:pt idx="768">
                  <c:v>7.3005000000000004</c:v>
                </c:pt>
                <c:pt idx="769">
                  <c:v>4.92685</c:v>
                </c:pt>
                <c:pt idx="770">
                  <c:v>9.2460000000000004</c:v>
                </c:pt>
                <c:pt idx="771">
                  <c:v>7.8821999999999992</c:v>
                </c:pt>
                <c:pt idx="772">
                  <c:v>11.8536</c:v>
                </c:pt>
                <c:pt idx="773">
                  <c:v>7.4455999999999998</c:v>
                </c:pt>
                <c:pt idx="774">
                  <c:v>3.7433000000000001</c:v>
                </c:pt>
                <c:pt idx="775">
                  <c:v>7.5543000000000013</c:v>
                </c:pt>
                <c:pt idx="776">
                  <c:v>4.181</c:v>
                </c:pt>
                <c:pt idx="777">
                  <c:v>8.6104000000000003</c:v>
                </c:pt>
                <c:pt idx="778">
                  <c:v>12.7347</c:v>
                </c:pt>
                <c:pt idx="779">
                  <c:v>6.3921000000000001</c:v>
                </c:pt>
                <c:pt idx="780">
                  <c:v>8.9042999999999992</c:v>
                </c:pt>
                <c:pt idx="781">
                  <c:v>4.7507999999999999</c:v>
                </c:pt>
                <c:pt idx="782">
                  <c:v>13.2165</c:v>
                </c:pt>
                <c:pt idx="783">
                  <c:v>7.128000000000001</c:v>
                </c:pt>
                <c:pt idx="784">
                  <c:v>14.1828</c:v>
                </c:pt>
                <c:pt idx="785">
                  <c:v>12.433400000000001</c:v>
                </c:pt>
                <c:pt idx="786">
                  <c:v>11.0664</c:v>
                </c:pt>
                <c:pt idx="787">
                  <c:v>8.7984000000000009</c:v>
                </c:pt>
                <c:pt idx="788">
                  <c:v>7.42</c:v>
                </c:pt>
                <c:pt idx="789">
                  <c:v>14.875</c:v>
                </c:pt>
                <c:pt idx="790">
                  <c:v>14.76975</c:v>
                </c:pt>
                <c:pt idx="791">
                  <c:v>15.02115</c:v>
                </c:pt>
                <c:pt idx="792">
                  <c:v>10.801450000000001</c:v>
                </c:pt>
                <c:pt idx="793">
                  <c:v>19.376000000000001</c:v>
                </c:pt>
                <c:pt idx="794">
                  <c:v>70.518000000000001</c:v>
                </c:pt>
                <c:pt idx="795">
                  <c:v>21.06465</c:v>
                </c:pt>
                <c:pt idx="796">
                  <c:v>13.35</c:v>
                </c:pt>
                <c:pt idx="797">
                  <c:v>8.0767500000000005</c:v>
                </c:pt>
                <c:pt idx="798">
                  <c:v>5.9492500000000001</c:v>
                </c:pt>
                <c:pt idx="799">
                  <c:v>24.075700000000001</c:v>
                </c:pt>
                <c:pt idx="800">
                  <c:v>23.359000000000002</c:v>
                </c:pt>
                <c:pt idx="801">
                  <c:v>15.996700000000001</c:v>
                </c:pt>
                <c:pt idx="802">
                  <c:v>25.714700000000001</c:v>
                </c:pt>
                <c:pt idx="803">
                  <c:v>16.921199999999999</c:v>
                </c:pt>
                <c:pt idx="804">
                  <c:v>37.836799999999997</c:v>
                </c:pt>
                <c:pt idx="805">
                  <c:v>84.400800000000004</c:v>
                </c:pt>
                <c:pt idx="806">
                  <c:v>75.0959</c:v>
                </c:pt>
                <c:pt idx="807">
                  <c:v>84.295199999999994</c:v>
                </c:pt>
                <c:pt idx="808">
                  <c:v>42.248449999999998</c:v>
                </c:pt>
                <c:pt idx="809">
                  <c:v>30.139199999999999</c:v>
                </c:pt>
                <c:pt idx="810">
                  <c:v>43.269599999999997</c:v>
                </c:pt>
                <c:pt idx="811">
                  <c:v>29.0505</c:v>
                </c:pt>
                <c:pt idx="812">
                  <c:v>35.5</c:v>
                </c:pt>
                <c:pt idx="813">
                  <c:v>24.622800000000002</c:v>
                </c:pt>
                <c:pt idx="814">
                  <c:v>35.413350000000001</c:v>
                </c:pt>
                <c:pt idx="815">
                  <c:v>49.372750000000003</c:v>
                </c:pt>
                <c:pt idx="816">
                  <c:v>64.668000000000006</c:v>
                </c:pt>
                <c:pt idx="817">
                  <c:v>50.331600000000002</c:v>
                </c:pt>
                <c:pt idx="818">
                  <c:v>36.543900000000001</c:v>
                </c:pt>
                <c:pt idx="819">
                  <c:v>70.141499999999994</c:v>
                </c:pt>
                <c:pt idx="820">
                  <c:v>63.367649999999998</c:v>
                </c:pt>
                <c:pt idx="821">
                  <c:v>62.460299999999997</c:v>
                </c:pt>
                <c:pt idx="822">
                  <c:v>26.517399999999999</c:v>
                </c:pt>
                <c:pt idx="823">
                  <c:v>29.319600000000001</c:v>
                </c:pt>
                <c:pt idx="824">
                  <c:v>29.712599999999998</c:v>
                </c:pt>
                <c:pt idx="825">
                  <c:v>28.74145</c:v>
                </c:pt>
                <c:pt idx="826">
                  <c:v>24.348749999999999</c:v>
                </c:pt>
                <c:pt idx="827">
                  <c:v>21.64695</c:v>
                </c:pt>
                <c:pt idx="828">
                  <c:v>19.963999999999999</c:v>
                </c:pt>
                <c:pt idx="829">
                  <c:v>34.282499999999999</c:v>
                </c:pt>
                <c:pt idx="830">
                  <c:v>15.7439</c:v>
                </c:pt>
                <c:pt idx="831">
                  <c:v>16.3889</c:v>
                </c:pt>
                <c:pt idx="832">
                  <c:v>15.7</c:v>
                </c:pt>
                <c:pt idx="833">
                  <c:v>21.689250000000001</c:v>
                </c:pt>
                <c:pt idx="834">
                  <c:v>9.39</c:v>
                </c:pt>
                <c:pt idx="835">
                  <c:v>18.206099999999999</c:v>
                </c:pt>
                <c:pt idx="836">
                  <c:v>22.4145</c:v>
                </c:pt>
                <c:pt idx="837">
                  <c:v>16.962499999999999</c:v>
                </c:pt>
                <c:pt idx="838">
                  <c:v>16.574100000000001</c:v>
                </c:pt>
                <c:pt idx="839">
                  <c:v>11.205500000000001</c:v>
                </c:pt>
                <c:pt idx="840">
                  <c:v>22.454249999999998</c:v>
                </c:pt>
                <c:pt idx="841">
                  <c:v>23.114000000000001</c:v>
                </c:pt>
                <c:pt idx="842">
                  <c:v>17.717700000000001</c:v>
                </c:pt>
                <c:pt idx="843">
                  <c:v>48.511000000000003</c:v>
                </c:pt>
                <c:pt idx="844">
                  <c:v>38.489249999999998</c:v>
                </c:pt>
                <c:pt idx="845">
                  <c:v>65.093199999999996</c:v>
                </c:pt>
                <c:pt idx="846">
                  <c:v>33.272400000000005</c:v>
                </c:pt>
                <c:pt idx="847">
                  <c:v>45.763199999999991</c:v>
                </c:pt>
                <c:pt idx="848">
                  <c:v>24.585999999999999</c:v>
                </c:pt>
                <c:pt idx="849">
                  <c:v>52.565399999999997</c:v>
                </c:pt>
                <c:pt idx="850">
                  <c:v>34.32</c:v>
                </c:pt>
                <c:pt idx="851">
                  <c:v>55.929000000000002</c:v>
                </c:pt>
                <c:pt idx="852">
                  <c:v>31.059000000000001</c:v>
                </c:pt>
                <c:pt idx="853">
                  <c:v>52.1858</c:v>
                </c:pt>
                <c:pt idx="854">
                  <c:v>36.670699999999997</c:v>
                </c:pt>
                <c:pt idx="855">
                  <c:v>25.481249999999999</c:v>
                </c:pt>
                <c:pt idx="856">
                  <c:v>28.0395</c:v>
                </c:pt>
                <c:pt idx="857">
                  <c:v>15.9084</c:v>
                </c:pt>
                <c:pt idx="858">
                  <c:v>22.947749999999996</c:v>
                </c:pt>
                <c:pt idx="859">
                  <c:v>27.161000000000001</c:v>
                </c:pt>
                <c:pt idx="860">
                  <c:v>26.815000000000001</c:v>
                </c:pt>
                <c:pt idx="861">
                  <c:v>17.878399999999999</c:v>
                </c:pt>
                <c:pt idx="862">
                  <c:v>19.2257</c:v>
                </c:pt>
                <c:pt idx="863">
                  <c:v>28.786799999999999</c:v>
                </c:pt>
                <c:pt idx="864">
                  <c:v>38.570999999999998</c:v>
                </c:pt>
                <c:pt idx="865">
                  <c:v>12.22725</c:v>
                </c:pt>
                <c:pt idx="866">
                  <c:v>26.8568</c:v>
                </c:pt>
                <c:pt idx="867">
                  <c:v>21.85</c:v>
                </c:pt>
                <c:pt idx="868">
                  <c:v>25.53</c:v>
                </c:pt>
                <c:pt idx="869">
                  <c:v>31.719000000000001</c:v>
                </c:pt>
                <c:pt idx="870">
                  <c:v>33.375599999999999</c:v>
                </c:pt>
                <c:pt idx="871">
                  <c:v>28.739000000000001</c:v>
                </c:pt>
                <c:pt idx="872">
                  <c:v>31.556100000000001</c:v>
                </c:pt>
                <c:pt idx="873">
                  <c:v>45.904800000000002</c:v>
                </c:pt>
                <c:pt idx="874">
                  <c:v>41.09375</c:v>
                </c:pt>
                <c:pt idx="875">
                  <c:v>23.913599999999999</c:v>
                </c:pt>
                <c:pt idx="876">
                  <c:v>24.451250000000002</c:v>
                </c:pt>
                <c:pt idx="877">
                  <c:v>14.741400000000001</c:v>
                </c:pt>
                <c:pt idx="878">
                  <c:v>25.738350000000001</c:v>
                </c:pt>
                <c:pt idx="879">
                  <c:v>32.940600000000003</c:v>
                </c:pt>
                <c:pt idx="880">
                  <c:v>24.09075</c:v>
                </c:pt>
                <c:pt idx="881">
                  <c:v>65.200199999999995</c:v>
                </c:pt>
                <c:pt idx="882">
                  <c:v>35.717799999999997</c:v>
                </c:pt>
                <c:pt idx="883">
                  <c:v>36.523150000000001</c:v>
                </c:pt>
                <c:pt idx="884">
                  <c:v>46.930750000000003</c:v>
                </c:pt>
                <c:pt idx="885">
                  <c:v>43.037500000000001</c:v>
                </c:pt>
                <c:pt idx="886">
                  <c:v>31.571300000000001</c:v>
                </c:pt>
                <c:pt idx="887">
                  <c:v>63.234649999999995</c:v>
                </c:pt>
                <c:pt idx="888">
                  <c:v>38.683500000000002</c:v>
                </c:pt>
                <c:pt idx="889">
                  <c:v>23.529150000000001</c:v>
                </c:pt>
                <c:pt idx="890">
                  <c:v>53.161499999999997</c:v>
                </c:pt>
                <c:pt idx="891">
                  <c:v>41.499200000000002</c:v>
                </c:pt>
                <c:pt idx="892">
                  <c:v>51.565199999999997</c:v>
                </c:pt>
                <c:pt idx="893">
                  <c:v>90.733249999999998</c:v>
                </c:pt>
                <c:pt idx="894">
                  <c:v>36.0672</c:v>
                </c:pt>
                <c:pt idx="895">
                  <c:v>46.188749999999999</c:v>
                </c:pt>
                <c:pt idx="896">
                  <c:v>29.82</c:v>
                </c:pt>
                <c:pt idx="897">
                  <c:v>25.611499999999999</c:v>
                </c:pt>
                <c:pt idx="898">
                  <c:v>20.05725</c:v>
                </c:pt>
                <c:pt idx="899">
                  <c:v>43.250900000000001</c:v>
                </c:pt>
                <c:pt idx="900">
                  <c:v>59.128799999999998</c:v>
                </c:pt>
                <c:pt idx="901">
                  <c:v>35.897599999999997</c:v>
                </c:pt>
                <c:pt idx="902">
                  <c:v>31.168199999999999</c:v>
                </c:pt>
                <c:pt idx="903">
                  <c:v>66.510999999999996</c:v>
                </c:pt>
                <c:pt idx="904">
                  <c:v>61.406100000000002</c:v>
                </c:pt>
                <c:pt idx="905">
                  <c:v>53.7134</c:v>
                </c:pt>
                <c:pt idx="906">
                  <c:v>37.101300000000002</c:v>
                </c:pt>
                <c:pt idx="907">
                  <c:v>36.161999999999999</c:v>
                </c:pt>
                <c:pt idx="908">
                  <c:v>93.525599999999997</c:v>
                </c:pt>
                <c:pt idx="909">
                  <c:v>50.692</c:v>
                </c:pt>
                <c:pt idx="910">
                  <c:v>35.221200000000003</c:v>
                </c:pt>
                <c:pt idx="911">
                  <c:v>45.087000000000003</c:v>
                </c:pt>
                <c:pt idx="912">
                  <c:v>38.368400000000001</c:v>
                </c:pt>
                <c:pt idx="913">
                  <c:v>32.85765</c:v>
                </c:pt>
                <c:pt idx="914">
                  <c:v>35.181350000000002</c:v>
                </c:pt>
                <c:pt idx="915">
                  <c:v>19.286650000000002</c:v>
                </c:pt>
                <c:pt idx="916">
                  <c:v>70.799599999999998</c:v>
                </c:pt>
                <c:pt idx="917">
                  <c:v>64.025599999999997</c:v>
                </c:pt>
                <c:pt idx="918">
                  <c:v>53.765999999999998</c:v>
                </c:pt>
                <c:pt idx="919">
                  <c:v>52.72495</c:v>
                </c:pt>
                <c:pt idx="920">
                  <c:v>32.6372</c:v>
                </c:pt>
                <c:pt idx="921">
                  <c:v>78.591499999999996</c:v>
                </c:pt>
                <c:pt idx="922">
                  <c:v>61.622599999999998</c:v>
                </c:pt>
                <c:pt idx="923">
                  <c:v>55.89</c:v>
                </c:pt>
                <c:pt idx="924">
                  <c:v>45.123750000000001</c:v>
                </c:pt>
                <c:pt idx="925">
                  <c:v>62.082299999999996</c:v>
                </c:pt>
                <c:pt idx="926">
                  <c:v>67.964399999999998</c:v>
                </c:pt>
                <c:pt idx="927">
                  <c:v>54.914400000000001</c:v>
                </c:pt>
                <c:pt idx="928">
                  <c:v>68.293899999999994</c:v>
                </c:pt>
                <c:pt idx="929">
                  <c:v>51.770400000000002</c:v>
                </c:pt>
                <c:pt idx="930">
                  <c:v>117.5454</c:v>
                </c:pt>
                <c:pt idx="931">
                  <c:v>115.17585</c:v>
                </c:pt>
                <c:pt idx="932">
                  <c:v>211.41900000000001</c:v>
                </c:pt>
                <c:pt idx="933">
                  <c:v>185.75620000000001</c:v>
                </c:pt>
                <c:pt idx="934">
                  <c:v>112.02875</c:v>
                </c:pt>
                <c:pt idx="935">
                  <c:v>63.93249999999999</c:v>
                </c:pt>
                <c:pt idx="936">
                  <c:v>90.447299999999998</c:v>
                </c:pt>
                <c:pt idx="937">
                  <c:v>108.264</c:v>
                </c:pt>
                <c:pt idx="938">
                  <c:v>76.204800000000006</c:v>
                </c:pt>
                <c:pt idx="939">
                  <c:v>57.754800000000003</c:v>
                </c:pt>
                <c:pt idx="940">
                  <c:v>44.485999999999997</c:v>
                </c:pt>
                <c:pt idx="941">
                  <c:v>78.925200000000004</c:v>
                </c:pt>
                <c:pt idx="942">
                  <c:v>59.069800000000001</c:v>
                </c:pt>
                <c:pt idx="943">
                  <c:v>63.265500000000003</c:v>
                </c:pt>
                <c:pt idx="944">
                  <c:v>74.782499999999999</c:v>
                </c:pt>
                <c:pt idx="945">
                  <c:v>57.766500000000001</c:v>
                </c:pt>
                <c:pt idx="946">
                  <c:v>79.920400000000001</c:v>
                </c:pt>
                <c:pt idx="947">
                  <c:v>67.234200000000001</c:v>
                </c:pt>
                <c:pt idx="948">
                  <c:v>38.068649999999998</c:v>
                </c:pt>
                <c:pt idx="949">
                  <c:v>112.09950000000001</c:v>
                </c:pt>
                <c:pt idx="950">
                  <c:v>108.17295</c:v>
                </c:pt>
                <c:pt idx="951">
                  <c:v>102.1326</c:v>
                </c:pt>
                <c:pt idx="952">
                  <c:v>123.1816</c:v>
                </c:pt>
                <c:pt idx="953">
                  <c:v>98.111099999999993</c:v>
                </c:pt>
                <c:pt idx="954">
                  <c:v>96.980400000000003</c:v>
                </c:pt>
                <c:pt idx="955">
                  <c:v>102.30119999999999</c:v>
                </c:pt>
                <c:pt idx="956">
                  <c:v>89.401600000000002</c:v>
                </c:pt>
                <c:pt idx="957">
                  <c:v>117.10175</c:v>
                </c:pt>
                <c:pt idx="958">
                  <c:v>81.388499999999993</c:v>
                </c:pt>
                <c:pt idx="959">
                  <c:v>99.426000000000002</c:v>
                </c:pt>
                <c:pt idx="960">
                  <c:v>72.275450000000006</c:v>
                </c:pt>
                <c:pt idx="961">
                  <c:v>83.775999999999996</c:v>
                </c:pt>
                <c:pt idx="962">
                  <c:v>77.480699999999999</c:v>
                </c:pt>
                <c:pt idx="963">
                  <c:v>32.103050000000003</c:v>
                </c:pt>
                <c:pt idx="964">
                  <c:v>35.72045</c:v>
                </c:pt>
                <c:pt idx="965">
                  <c:v>66.532049999999998</c:v>
                </c:pt>
                <c:pt idx="966">
                  <c:v>26.690850000000001</c:v>
                </c:pt>
                <c:pt idx="967">
                  <c:v>32.108249999999998</c:v>
                </c:pt>
                <c:pt idx="968">
                  <c:v>57.2866</c:v>
                </c:pt>
                <c:pt idx="969">
                  <c:v>52.675600000000003</c:v>
                </c:pt>
                <c:pt idx="970">
                  <c:v>46.1006</c:v>
                </c:pt>
                <c:pt idx="971">
                  <c:v>57.2166</c:v>
                </c:pt>
                <c:pt idx="972">
                  <c:v>58.472499999999997</c:v>
                </c:pt>
                <c:pt idx="973">
                  <c:v>132.09385</c:v>
                </c:pt>
                <c:pt idx="974">
                  <c:v>86.140100000000004</c:v>
                </c:pt>
                <c:pt idx="975">
                  <c:v>112.1478</c:v>
                </c:pt>
                <c:pt idx="976">
                  <c:v>96.010800000000003</c:v>
                </c:pt>
                <c:pt idx="977">
                  <c:v>105.8869</c:v>
                </c:pt>
                <c:pt idx="978">
                  <c:v>120.77160000000001</c:v>
                </c:pt>
                <c:pt idx="979">
                  <c:v>128.464</c:v>
                </c:pt>
                <c:pt idx="980">
                  <c:v>123.0607</c:v>
                </c:pt>
                <c:pt idx="981">
                  <c:v>119.78944999999999</c:v>
                </c:pt>
                <c:pt idx="982">
                  <c:v>121.81399999999999</c:v>
                </c:pt>
                <c:pt idx="983">
                  <c:v>74.067350000000005</c:v>
                </c:pt>
                <c:pt idx="984">
                  <c:v>107.13720000000001</c:v>
                </c:pt>
                <c:pt idx="985">
                  <c:v>76.819599999999994</c:v>
                </c:pt>
                <c:pt idx="986">
                  <c:v>95.038200000000003</c:v>
                </c:pt>
                <c:pt idx="987">
                  <c:v>73.765600000000006</c:v>
                </c:pt>
                <c:pt idx="988">
                  <c:v>127.61280000000002</c:v>
                </c:pt>
                <c:pt idx="989">
                  <c:v>96.789000000000001</c:v>
                </c:pt>
                <c:pt idx="990">
                  <c:v>87.623099999999994</c:v>
                </c:pt>
                <c:pt idx="991">
                  <c:v>165.21299999999999</c:v>
                </c:pt>
                <c:pt idx="992">
                  <c:v>135.29949999999999</c:v>
                </c:pt>
                <c:pt idx="993">
                  <c:v>113.07340000000002</c:v>
                </c:pt>
                <c:pt idx="994">
                  <c:v>87.440250000000006</c:v>
                </c:pt>
                <c:pt idx="995">
                  <c:v>75.849050000000005</c:v>
                </c:pt>
                <c:pt idx="996">
                  <c:v>105.10209999999999</c:v>
                </c:pt>
                <c:pt idx="997">
                  <c:v>91.061599999999999</c:v>
                </c:pt>
                <c:pt idx="998">
                  <c:v>58.28220000000001</c:v>
                </c:pt>
                <c:pt idx="999">
                  <c:v>82.449600000000004</c:v>
                </c:pt>
                <c:pt idx="1000">
                  <c:v>76.9298</c:v>
                </c:pt>
                <c:pt idx="1001">
                  <c:v>53.336950000000009</c:v>
                </c:pt>
                <c:pt idx="1002">
                  <c:v>28.479500000000002</c:v>
                </c:pt>
                <c:pt idx="1003">
                  <c:v>72.4559</c:v>
                </c:pt>
                <c:pt idx="1004">
                  <c:v>65.024049999999988</c:v>
                </c:pt>
                <c:pt idx="1005">
                  <c:v>129.191</c:v>
                </c:pt>
                <c:pt idx="1006">
                  <c:v>63.419199999999996</c:v>
                </c:pt>
                <c:pt idx="1007">
                  <c:v>135.4948</c:v>
                </c:pt>
                <c:pt idx="1008">
                  <c:v>126.26460000000002</c:v>
                </c:pt>
                <c:pt idx="1009">
                  <c:v>126.63800000000001</c:v>
                </c:pt>
                <c:pt idx="1010">
                  <c:v>128.41919999999999</c:v>
                </c:pt>
                <c:pt idx="1011">
                  <c:v>121.85745</c:v>
                </c:pt>
                <c:pt idx="1012">
                  <c:v>125.97750000000001</c:v>
                </c:pt>
                <c:pt idx="1013">
                  <c:v>111.5296</c:v>
                </c:pt>
                <c:pt idx="1014">
                  <c:v>108.74795</c:v>
                </c:pt>
                <c:pt idx="1015">
                  <c:v>117.76904999999999</c:v>
                </c:pt>
                <c:pt idx="1016">
                  <c:v>106.15219999999999</c:v>
                </c:pt>
                <c:pt idx="1017">
                  <c:v>141.97120000000001</c:v>
                </c:pt>
                <c:pt idx="1018">
                  <c:v>101.0643</c:v>
                </c:pt>
                <c:pt idx="1019">
                  <c:v>140.94059999999999</c:v>
                </c:pt>
                <c:pt idx="1020">
                  <c:v>143.64449999999999</c:v>
                </c:pt>
                <c:pt idx="1021">
                  <c:v>116.85509999999999</c:v>
                </c:pt>
                <c:pt idx="1022">
                  <c:v>172.76910000000001</c:v>
                </c:pt>
                <c:pt idx="1023">
                  <c:v>170.15039999999999</c:v>
                </c:pt>
                <c:pt idx="1024">
                  <c:v>81.376800000000003</c:v>
                </c:pt>
                <c:pt idx="1025">
                  <c:v>107.789</c:v>
                </c:pt>
                <c:pt idx="1026">
                  <c:v>75.734750000000005</c:v>
                </c:pt>
                <c:pt idx="1027">
                  <c:v>61.491599999999998</c:v>
                </c:pt>
                <c:pt idx="1028">
                  <c:v>82.091549999999998</c:v>
                </c:pt>
                <c:pt idx="1029">
                  <c:v>91.695300000000003</c:v>
                </c:pt>
                <c:pt idx="1030">
                  <c:v>75.774000000000001</c:v>
                </c:pt>
                <c:pt idx="1031">
                  <c:v>60.539400000000001</c:v>
                </c:pt>
                <c:pt idx="1032">
                  <c:v>53.309249999999999</c:v>
                </c:pt>
                <c:pt idx="1033">
                  <c:v>44.809049999999999</c:v>
                </c:pt>
                <c:pt idx="1034">
                  <c:v>54.825000000000003</c:v>
                </c:pt>
                <c:pt idx="1035">
                  <c:v>100.5586</c:v>
                </c:pt>
                <c:pt idx="1036">
                  <c:v>53.298000000000002</c:v>
                </c:pt>
                <c:pt idx="1037">
                  <c:v>65.578800000000001</c:v>
                </c:pt>
                <c:pt idx="1038">
                  <c:v>83.619299999999996</c:v>
                </c:pt>
                <c:pt idx="1039">
                  <c:v>69.991799999999998</c:v>
                </c:pt>
                <c:pt idx="1040">
                  <c:v>66.63600000000001</c:v>
                </c:pt>
                <c:pt idx="1041">
                  <c:v>76.674899999999994</c:v>
                </c:pt>
                <c:pt idx="1042">
                  <c:v>130.851</c:v>
                </c:pt>
                <c:pt idx="1043">
                  <c:v>78.914550000000006</c:v>
                </c:pt>
                <c:pt idx="1044">
                  <c:v>97.669600000000003</c:v>
                </c:pt>
                <c:pt idx="1045">
                  <c:v>68.95035</c:v>
                </c:pt>
                <c:pt idx="1046">
                  <c:v>68.001050000000006</c:v>
                </c:pt>
                <c:pt idx="1047">
                  <c:v>94.673699999999997</c:v>
                </c:pt>
                <c:pt idx="1048">
                  <c:v>92.966700000000003</c:v>
                </c:pt>
                <c:pt idx="1049">
                  <c:v>82.240200000000002</c:v>
                </c:pt>
                <c:pt idx="1050">
                  <c:v>97.587000000000003</c:v>
                </c:pt>
                <c:pt idx="1051">
                  <c:v>132.34584999999998</c:v>
                </c:pt>
                <c:pt idx="1052">
                  <c:v>143.51175000000001</c:v>
                </c:pt>
                <c:pt idx="1053">
                  <c:v>114.78319999999998</c:v>
                </c:pt>
                <c:pt idx="1054">
                  <c:v>80.682900000000004</c:v>
                </c:pt>
                <c:pt idx="1055">
                  <c:v>109.47494999999998</c:v>
                </c:pt>
                <c:pt idx="1056">
                  <c:v>80.4636</c:v>
                </c:pt>
                <c:pt idx="1057">
                  <c:v>108.6384</c:v>
                </c:pt>
                <c:pt idx="1058">
                  <c:v>128.71680000000001</c:v>
                </c:pt>
                <c:pt idx="1059">
                  <c:v>132.17750000000001</c:v>
                </c:pt>
                <c:pt idx="1060">
                  <c:v>71.821399999999997</c:v>
                </c:pt>
                <c:pt idx="1061">
                  <c:v>112.5355</c:v>
                </c:pt>
                <c:pt idx="1062">
                  <c:v>91.808999999999997</c:v>
                </c:pt>
                <c:pt idx="1063">
                  <c:v>125.4</c:v>
                </c:pt>
                <c:pt idx="1064">
                  <c:v>123.41645</c:v>
                </c:pt>
                <c:pt idx="1065">
                  <c:v>67.84</c:v>
                </c:pt>
                <c:pt idx="1066">
                  <c:v>80.0261</c:v>
                </c:pt>
                <c:pt idx="1067">
                  <c:v>78.449349999999995</c:v>
                </c:pt>
                <c:pt idx="1068">
                  <c:v>121.74600000000001</c:v>
                </c:pt>
                <c:pt idx="1069">
                  <c:v>102.98909999999999</c:v>
                </c:pt>
                <c:pt idx="1070">
                  <c:v>102.6234</c:v>
                </c:pt>
                <c:pt idx="1071">
                  <c:v>121.94240000000001</c:v>
                </c:pt>
                <c:pt idx="1072">
                  <c:v>74.13</c:v>
                </c:pt>
                <c:pt idx="1073">
                  <c:v>67.321399999999997</c:v>
                </c:pt>
                <c:pt idx="1074">
                  <c:v>119.25330000000001</c:v>
                </c:pt>
                <c:pt idx="1075">
                  <c:v>71.285200000000003</c:v>
                </c:pt>
                <c:pt idx="1076">
                  <c:v>102.4896</c:v>
                </c:pt>
                <c:pt idx="1077">
                  <c:v>69.689899999999994</c:v>
                </c:pt>
                <c:pt idx="1078">
                  <c:v>90.535200000000003</c:v>
                </c:pt>
                <c:pt idx="1079">
                  <c:v>79.103999999999999</c:v>
                </c:pt>
                <c:pt idx="1080">
                  <c:v>102.43380000000001</c:v>
                </c:pt>
                <c:pt idx="1081">
                  <c:v>121.64700000000001</c:v>
                </c:pt>
                <c:pt idx="1082">
                  <c:v>92.069249999999997</c:v>
                </c:pt>
                <c:pt idx="1083">
                  <c:v>111.40349999999999</c:v>
                </c:pt>
                <c:pt idx="1084">
                  <c:v>71.361750000000001</c:v>
                </c:pt>
                <c:pt idx="1085">
                  <c:v>69.086100000000002</c:v>
                </c:pt>
                <c:pt idx="1086">
                  <c:v>142.02175</c:v>
                </c:pt>
                <c:pt idx="1087">
                  <c:v>304.46064999999999</c:v>
                </c:pt>
                <c:pt idx="1088">
                  <c:v>131.56720000000001</c:v>
                </c:pt>
                <c:pt idx="1089">
                  <c:v>100.7985</c:v>
                </c:pt>
                <c:pt idx="1090">
                  <c:v>76.807000000000002</c:v>
                </c:pt>
                <c:pt idx="1091">
                  <c:v>154.04159999999999</c:v>
                </c:pt>
                <c:pt idx="1092">
                  <c:v>141.38999999999999</c:v>
                </c:pt>
                <c:pt idx="1093">
                  <c:v>104.0655</c:v>
                </c:pt>
                <c:pt idx="1094">
                  <c:v>70.622699999999995</c:v>
                </c:pt>
                <c:pt idx="1095">
                  <c:v>81.924700000000001</c:v>
                </c:pt>
                <c:pt idx="1096">
                  <c:v>125.345</c:v>
                </c:pt>
                <c:pt idx="1097">
                  <c:v>191.04525000000001</c:v>
                </c:pt>
                <c:pt idx="1098">
                  <c:v>113.92749999999998</c:v>
                </c:pt>
                <c:pt idx="1099">
                  <c:v>122.54</c:v>
                </c:pt>
                <c:pt idx="1100">
                  <c:v>87.113399999999999</c:v>
                </c:pt>
                <c:pt idx="1101">
                  <c:v>125.5605</c:v>
                </c:pt>
                <c:pt idx="1102">
                  <c:v>93.652299999999997</c:v>
                </c:pt>
                <c:pt idx="1103">
                  <c:v>155.45920000000001</c:v>
                </c:pt>
                <c:pt idx="1104">
                  <c:v>139.03120000000001</c:v>
                </c:pt>
                <c:pt idx="1105">
                  <c:v>131.93895000000001</c:v>
                </c:pt>
                <c:pt idx="1106">
                  <c:v>262.47149999999999</c:v>
                </c:pt>
                <c:pt idx="1107">
                  <c:v>80.945499999999996</c:v>
                </c:pt>
                <c:pt idx="1108">
                  <c:v>132.88274999999999</c:v>
                </c:pt>
                <c:pt idx="1109">
                  <c:v>99.587149999999994</c:v>
                </c:pt>
                <c:pt idx="1110">
                  <c:v>64.418999999999997</c:v>
                </c:pt>
                <c:pt idx="1111">
                  <c:v>113.3475</c:v>
                </c:pt>
                <c:pt idx="1112">
                  <c:v>122.2163</c:v>
                </c:pt>
                <c:pt idx="1113">
                  <c:v>71.766999999999996</c:v>
                </c:pt>
                <c:pt idx="1114">
                  <c:v>137.4272</c:v>
                </c:pt>
                <c:pt idx="1115">
                  <c:v>113.6069</c:v>
                </c:pt>
                <c:pt idx="1116">
                  <c:v>87.155749999999998</c:v>
                </c:pt>
                <c:pt idx="1117">
                  <c:v>235.81919999999997</c:v>
                </c:pt>
                <c:pt idx="1118">
                  <c:v>201.56190000000001</c:v>
                </c:pt>
                <c:pt idx="1119">
                  <c:v>146.1825</c:v>
                </c:pt>
                <c:pt idx="1120">
                  <c:v>195.03225</c:v>
                </c:pt>
                <c:pt idx="1121">
                  <c:v>283.05270000000002</c:v>
                </c:pt>
                <c:pt idx="1122">
                  <c:v>298.7</c:v>
                </c:pt>
                <c:pt idx="1123">
                  <c:v>414.84960000000001</c:v>
                </c:pt>
                <c:pt idx="1124">
                  <c:v>318.60289999999998</c:v>
                </c:pt>
                <c:pt idx="1125">
                  <c:v>265.79360000000003</c:v>
                </c:pt>
                <c:pt idx="1126">
                  <c:v>277.66660000000002</c:v>
                </c:pt>
                <c:pt idx="1127">
                  <c:v>108.97920000000001</c:v>
                </c:pt>
                <c:pt idx="1128">
                  <c:v>109.944</c:v>
                </c:pt>
                <c:pt idx="1129">
                  <c:v>145.2816</c:v>
                </c:pt>
                <c:pt idx="1130">
                  <c:v>132.678</c:v>
                </c:pt>
                <c:pt idx="1131">
                  <c:v>359.83159999999998</c:v>
                </c:pt>
                <c:pt idx="1132">
                  <c:v>290.99579999999997</c:v>
                </c:pt>
                <c:pt idx="1133">
                  <c:v>233.58500000000001</c:v>
                </c:pt>
                <c:pt idx="1134">
                  <c:v>244.0044</c:v>
                </c:pt>
                <c:pt idx="1135">
                  <c:v>229.3776</c:v>
                </c:pt>
                <c:pt idx="1136">
                  <c:v>230.59424999999999</c:v>
                </c:pt>
                <c:pt idx="1137">
                  <c:v>167.6704</c:v>
                </c:pt>
                <c:pt idx="1138">
                  <c:v>99.297700000000006</c:v>
                </c:pt>
                <c:pt idx="1139">
                  <c:v>120.23005000000001</c:v>
                </c:pt>
                <c:pt idx="1140">
                  <c:v>140.541</c:v>
                </c:pt>
                <c:pt idx="1141">
                  <c:v>127.67685</c:v>
                </c:pt>
                <c:pt idx="1142">
                  <c:v>113.59050000000001</c:v>
                </c:pt>
                <c:pt idx="1143">
                  <c:v>166.15035</c:v>
                </c:pt>
                <c:pt idx="1144">
                  <c:v>106.24005</c:v>
                </c:pt>
                <c:pt idx="1145">
                  <c:v>134.8476</c:v>
                </c:pt>
                <c:pt idx="1146">
                  <c:v>157.61429999999999</c:v>
                </c:pt>
                <c:pt idx="1147">
                  <c:v>276.47375</c:v>
                </c:pt>
                <c:pt idx="1148">
                  <c:v>184.62559999999999</c:v>
                </c:pt>
                <c:pt idx="1149">
                  <c:v>147.768</c:v>
                </c:pt>
                <c:pt idx="1150">
                  <c:v>125.5637</c:v>
                </c:pt>
                <c:pt idx="1151">
                  <c:v>187.3476</c:v>
                </c:pt>
                <c:pt idx="1152">
                  <c:v>155.61760000000001</c:v>
                </c:pt>
                <c:pt idx="1153">
                  <c:v>106.54559999999999</c:v>
                </c:pt>
                <c:pt idx="1154">
                  <c:v>183.62100000000001</c:v>
                </c:pt>
                <c:pt idx="1155">
                  <c:v>253.29915</c:v>
                </c:pt>
                <c:pt idx="1156">
                  <c:v>192.21825000000001</c:v>
                </c:pt>
                <c:pt idx="1157">
                  <c:v>149.48935</c:v>
                </c:pt>
                <c:pt idx="1158">
                  <c:v>143.072</c:v>
                </c:pt>
                <c:pt idx="1159">
                  <c:v>135.40700000000001</c:v>
                </c:pt>
                <c:pt idx="1160">
                  <c:v>156.61134999999999</c:v>
                </c:pt>
                <c:pt idx="1161">
                  <c:v>172.1208</c:v>
                </c:pt>
                <c:pt idx="1162">
                  <c:v>236.78840000000002</c:v>
                </c:pt>
                <c:pt idx="1163">
                  <c:v>304.09280000000001</c:v>
                </c:pt>
                <c:pt idx="1164">
                  <c:v>165.726</c:v>
                </c:pt>
                <c:pt idx="1165">
                  <c:v>161.1225</c:v>
                </c:pt>
                <c:pt idx="1166">
                  <c:v>167.2867</c:v>
                </c:pt>
                <c:pt idx="1167">
                  <c:v>136.93860000000001</c:v>
                </c:pt>
                <c:pt idx="1168">
                  <c:v>157.17320000000001</c:v>
                </c:pt>
                <c:pt idx="1169">
                  <c:v>217.66874999999999</c:v>
                </c:pt>
                <c:pt idx="1170">
                  <c:v>129.35069999999999</c:v>
                </c:pt>
                <c:pt idx="1171">
                  <c:v>72.627549999999999</c:v>
                </c:pt>
                <c:pt idx="1172">
                  <c:v>159.96960000000001</c:v>
                </c:pt>
                <c:pt idx="1173">
                  <c:v>95.284800000000004</c:v>
                </c:pt>
                <c:pt idx="1174">
                  <c:v>143.4726</c:v>
                </c:pt>
                <c:pt idx="1175">
                  <c:v>128.73740000000001</c:v>
                </c:pt>
                <c:pt idx="1176">
                  <c:v>90.136799999999994</c:v>
                </c:pt>
                <c:pt idx="1177">
                  <c:v>120.33450000000001</c:v>
                </c:pt>
                <c:pt idx="1178">
                  <c:v>102.8978</c:v>
                </c:pt>
                <c:pt idx="1179">
                  <c:v>83.447999999999993</c:v>
                </c:pt>
                <c:pt idx="1180">
                  <c:v>165.79750000000001</c:v>
                </c:pt>
                <c:pt idx="1181">
                  <c:v>95.205349999999996</c:v>
                </c:pt>
                <c:pt idx="1182">
                  <c:v>140.358</c:v>
                </c:pt>
                <c:pt idx="1183">
                  <c:v>268.7097</c:v>
                </c:pt>
                <c:pt idx="1184">
                  <c:v>103.95725</c:v>
                </c:pt>
                <c:pt idx="1185">
                  <c:v>123.624</c:v>
                </c:pt>
                <c:pt idx="1186">
                  <c:v>87.92895</c:v>
                </c:pt>
                <c:pt idx="1187">
                  <c:v>76.291749999999993</c:v>
                </c:pt>
                <c:pt idx="1188">
                  <c:v>129.75</c:v>
                </c:pt>
                <c:pt idx="1189">
                  <c:v>214.24095</c:v>
                </c:pt>
                <c:pt idx="1190">
                  <c:v>125.8425</c:v>
                </c:pt>
                <c:pt idx="1191">
                  <c:v>28.90625</c:v>
                </c:pt>
                <c:pt idx="1192">
                  <c:v>134.8372</c:v>
                </c:pt>
                <c:pt idx="1193">
                  <c:v>76.365300000000005</c:v>
                </c:pt>
                <c:pt idx="1194">
                  <c:v>90.62639999999999</c:v>
                </c:pt>
                <c:pt idx="1195">
                  <c:v>161.733</c:v>
                </c:pt>
                <c:pt idx="1196">
                  <c:v>124.27559999999998</c:v>
                </c:pt>
                <c:pt idx="1197">
                  <c:v>118.90839999999999</c:v>
                </c:pt>
                <c:pt idx="1198">
                  <c:v>103.9074</c:v>
                </c:pt>
                <c:pt idx="1199">
                  <c:v>81.543149999999997</c:v>
                </c:pt>
                <c:pt idx="1200">
                  <c:v>68.978399999999993</c:v>
                </c:pt>
                <c:pt idx="1201">
                  <c:v>80.8857</c:v>
                </c:pt>
                <c:pt idx="1202">
                  <c:v>67.748999999999995</c:v>
                </c:pt>
                <c:pt idx="1203">
                  <c:v>104.88630000000001</c:v>
                </c:pt>
                <c:pt idx="1204">
                  <c:v>125.7354</c:v>
                </c:pt>
                <c:pt idx="1205">
                  <c:v>79.626750000000001</c:v>
                </c:pt>
                <c:pt idx="1206">
                  <c:v>66.460800000000006</c:v>
                </c:pt>
                <c:pt idx="1207">
                  <c:v>65.262200000000007</c:v>
                </c:pt>
                <c:pt idx="1208">
                  <c:v>121.0842</c:v>
                </c:pt>
                <c:pt idx="1209">
                  <c:v>97.853499999999997</c:v>
                </c:pt>
                <c:pt idx="1210">
                  <c:v>92.474249999999998</c:v>
                </c:pt>
                <c:pt idx="1211">
                  <c:v>78.632400000000004</c:v>
                </c:pt>
                <c:pt idx="1212">
                  <c:v>114.4515</c:v>
                </c:pt>
                <c:pt idx="1213">
                  <c:v>181.40629999999999</c:v>
                </c:pt>
                <c:pt idx="1214">
                  <c:v>64.778999999999996</c:v>
                </c:pt>
                <c:pt idx="1215">
                  <c:v>58.727249999999998</c:v>
                </c:pt>
                <c:pt idx="1216">
                  <c:v>68.483949999999993</c:v>
                </c:pt>
                <c:pt idx="1217">
                  <c:v>85.892700000000005</c:v>
                </c:pt>
                <c:pt idx="1218">
                  <c:v>85.450950000000006</c:v>
                </c:pt>
                <c:pt idx="1219">
                  <c:v>83.259200000000007</c:v>
                </c:pt>
                <c:pt idx="1220">
                  <c:v>61.817399999999999</c:v>
                </c:pt>
                <c:pt idx="1221">
                  <c:v>27.2</c:v>
                </c:pt>
                <c:pt idx="1222">
                  <c:v>47.954999999999998</c:v>
                </c:pt>
                <c:pt idx="1223">
                  <c:v>18.242450000000002</c:v>
                </c:pt>
                <c:pt idx="1224">
                  <c:v>19.952249999999999</c:v>
                </c:pt>
                <c:pt idx="1225">
                  <c:v>69.251199999999997</c:v>
                </c:pt>
                <c:pt idx="1226">
                  <c:v>61.395499999999998</c:v>
                </c:pt>
                <c:pt idx="1227">
                  <c:v>83.147999999999996</c:v>
                </c:pt>
                <c:pt idx="1228">
                  <c:v>77.799750000000003</c:v>
                </c:pt>
                <c:pt idx="1229">
                  <c:v>58.775599999999997</c:v>
                </c:pt>
                <c:pt idx="1230">
                  <c:v>67.393500000000003</c:v>
                </c:pt>
                <c:pt idx="1231">
                  <c:v>45.186599999999999</c:v>
                </c:pt>
                <c:pt idx="1232">
                  <c:v>125.87125</c:v>
                </c:pt>
                <c:pt idx="1233">
                  <c:v>84.082599999999999</c:v>
                </c:pt>
                <c:pt idx="1234">
                  <c:v>132.37860000000001</c:v>
                </c:pt>
                <c:pt idx="1235">
                  <c:v>80.725049999999996</c:v>
                </c:pt>
                <c:pt idx="1236">
                  <c:v>86.068799999999996</c:v>
                </c:pt>
                <c:pt idx="1237">
                  <c:v>50.271099999999997</c:v>
                </c:pt>
                <c:pt idx="1238">
                  <c:v>48.184150000000002</c:v>
                </c:pt>
                <c:pt idx="1239">
                  <c:v>51.00085</c:v>
                </c:pt>
                <c:pt idx="1240">
                  <c:v>78.84975</c:v>
                </c:pt>
                <c:pt idx="1241">
                  <c:v>86.192099999999996</c:v>
                </c:pt>
                <c:pt idx="1242">
                  <c:v>92.275649999999999</c:v>
                </c:pt>
                <c:pt idx="1243">
                  <c:v>61.768300000000004</c:v>
                </c:pt>
                <c:pt idx="1244">
                  <c:v>76.387500000000003</c:v>
                </c:pt>
                <c:pt idx="1245">
                  <c:v>71.036249999999995</c:v>
                </c:pt>
                <c:pt idx="1246">
                  <c:v>77.251549999999995</c:v>
                </c:pt>
                <c:pt idx="1247">
                  <c:v>119.7675</c:v>
                </c:pt>
                <c:pt idx="1248">
                  <c:v>72.452650000000006</c:v>
                </c:pt>
                <c:pt idx="1249">
                  <c:v>102.46635000000001</c:v>
                </c:pt>
                <c:pt idx="1250">
                  <c:v>127.3813</c:v>
                </c:pt>
                <c:pt idx="1251">
                  <c:v>152.5917</c:v>
                </c:pt>
                <c:pt idx="1252">
                  <c:v>129.6164</c:v>
                </c:pt>
                <c:pt idx="1253">
                  <c:v>135.74754999999999</c:v>
                </c:pt>
                <c:pt idx="1254">
                  <c:v>157.47739999999999</c:v>
                </c:pt>
                <c:pt idx="1255">
                  <c:v>134.7612</c:v>
                </c:pt>
                <c:pt idx="1256">
                  <c:v>131.9436</c:v>
                </c:pt>
                <c:pt idx="1257">
                  <c:v>72.022750000000002</c:v>
                </c:pt>
                <c:pt idx="1258">
                  <c:v>110.5902</c:v>
                </c:pt>
                <c:pt idx="1259">
                  <c:v>106.39619999999999</c:v>
                </c:pt>
                <c:pt idx="1260">
                  <c:v>189.47200000000001</c:v>
                </c:pt>
                <c:pt idx="1261">
                  <c:v>115.3002</c:v>
                </c:pt>
                <c:pt idx="1262">
                  <c:v>132.93879999999999</c:v>
                </c:pt>
                <c:pt idx="1263">
                  <c:v>105.78100000000001</c:v>
                </c:pt>
                <c:pt idx="1264">
                  <c:v>179.94239999999999</c:v>
                </c:pt>
                <c:pt idx="1265">
                  <c:v>123.875</c:v>
                </c:pt>
                <c:pt idx="1266">
                  <c:v>136.1575</c:v>
                </c:pt>
                <c:pt idx="1267">
                  <c:v>110.65705</c:v>
                </c:pt>
                <c:pt idx="1268">
                  <c:v>143.0016</c:v>
                </c:pt>
                <c:pt idx="1269">
                  <c:v>175.87200000000001</c:v>
                </c:pt>
                <c:pt idx="1270">
                  <c:v>129.72499999999999</c:v>
                </c:pt>
                <c:pt idx="1271">
                  <c:v>135.054</c:v>
                </c:pt>
                <c:pt idx="1272">
                  <c:v>159.77045000000001</c:v>
                </c:pt>
                <c:pt idx="1273">
                  <c:v>207.22239999999999</c:v>
                </c:pt>
                <c:pt idx="1274">
                  <c:v>263.64</c:v>
                </c:pt>
                <c:pt idx="1275">
                  <c:v>197.8596</c:v>
                </c:pt>
                <c:pt idx="1276">
                  <c:v>112.464</c:v>
                </c:pt>
                <c:pt idx="1277">
                  <c:v>138.62260000000001</c:v>
                </c:pt>
                <c:pt idx="1278">
                  <c:v>142.00120000000001</c:v>
                </c:pt>
                <c:pt idx="1279">
                  <c:v>177.61304999999999</c:v>
                </c:pt>
                <c:pt idx="1280">
                  <c:v>136.7011</c:v>
                </c:pt>
                <c:pt idx="1281">
                  <c:v>166.21695</c:v>
                </c:pt>
                <c:pt idx="1282">
                  <c:v>188.4076</c:v>
                </c:pt>
                <c:pt idx="1283">
                  <c:v>221.54894999999999</c:v>
                </c:pt>
                <c:pt idx="1284">
                  <c:v>179.88839999999999</c:v>
                </c:pt>
                <c:pt idx="1285">
                  <c:v>144.09450000000001</c:v>
                </c:pt>
                <c:pt idx="1286">
                  <c:v>163.03174999999999</c:v>
                </c:pt>
                <c:pt idx="1287">
                  <c:v>163.05240000000001</c:v>
                </c:pt>
                <c:pt idx="1288">
                  <c:v>183.1258</c:v>
                </c:pt>
                <c:pt idx="1289">
                  <c:v>150.81125</c:v>
                </c:pt>
                <c:pt idx="1290">
                  <c:v>169.88755</c:v>
                </c:pt>
                <c:pt idx="1291">
                  <c:v>149.9736</c:v>
                </c:pt>
                <c:pt idx="1292">
                  <c:v>206.465</c:v>
                </c:pt>
                <c:pt idx="1293">
                  <c:v>205.24199999999999</c:v>
                </c:pt>
                <c:pt idx="1294">
                  <c:v>293.47149999999999</c:v>
                </c:pt>
                <c:pt idx="1295">
                  <c:v>147.34184999999999</c:v>
                </c:pt>
                <c:pt idx="1296">
                  <c:v>173.23079999999999</c:v>
                </c:pt>
                <c:pt idx="1297">
                  <c:v>177.83924999999999</c:v>
                </c:pt>
                <c:pt idx="1298">
                  <c:v>209.34979999999999</c:v>
                </c:pt>
                <c:pt idx="1299">
                  <c:v>174.3725</c:v>
                </c:pt>
                <c:pt idx="1300">
                  <c:v>109.2304</c:v>
                </c:pt>
                <c:pt idx="1301">
                  <c:v>133.40979999999999</c:v>
                </c:pt>
                <c:pt idx="1302">
                  <c:v>130.38479999999998</c:v>
                </c:pt>
                <c:pt idx="1303">
                  <c:v>178.2439</c:v>
                </c:pt>
                <c:pt idx="1304">
                  <c:v>118.71989999999998</c:v>
                </c:pt>
                <c:pt idx="1305">
                  <c:v>110.9346</c:v>
                </c:pt>
                <c:pt idx="1306">
                  <c:v>104.8353</c:v>
                </c:pt>
                <c:pt idx="1307">
                  <c:v>85.171099999999996</c:v>
                </c:pt>
                <c:pt idx="1308">
                  <c:v>154.97999999999999</c:v>
                </c:pt>
                <c:pt idx="1309">
                  <c:v>161.50200000000001</c:v>
                </c:pt>
                <c:pt idx="1310">
                  <c:v>134.6337</c:v>
                </c:pt>
                <c:pt idx="1311">
                  <c:v>177.99860000000001</c:v>
                </c:pt>
                <c:pt idx="1312">
                  <c:v>168.0975</c:v>
                </c:pt>
                <c:pt idx="1313">
                  <c:v>193.18639999999999</c:v>
                </c:pt>
                <c:pt idx="1314">
                  <c:v>172.48335</c:v>
                </c:pt>
                <c:pt idx="1315">
                  <c:v>119.6525</c:v>
                </c:pt>
                <c:pt idx="1316">
                  <c:v>136.74955</c:v>
                </c:pt>
                <c:pt idx="1317">
                  <c:v>188.09909999999999</c:v>
                </c:pt>
                <c:pt idx="1318">
                  <c:v>265.86705000000001</c:v>
                </c:pt>
                <c:pt idx="1319">
                  <c:v>281.73554999999999</c:v>
                </c:pt>
                <c:pt idx="1320">
                  <c:v>290.95800000000003</c:v>
                </c:pt>
                <c:pt idx="1321">
                  <c:v>264.86279999999999</c:v>
                </c:pt>
                <c:pt idx="1322">
                  <c:v>261.00009999999997</c:v>
                </c:pt>
                <c:pt idx="1323">
                  <c:v>220.25720000000001</c:v>
                </c:pt>
                <c:pt idx="1324">
                  <c:v>170.53065000000001</c:v>
                </c:pt>
                <c:pt idx="1325">
                  <c:v>110.31525000000001</c:v>
                </c:pt>
                <c:pt idx="1326">
                  <c:v>136.2688</c:v>
                </c:pt>
                <c:pt idx="1327">
                  <c:v>137.02605</c:v>
                </c:pt>
                <c:pt idx="1328">
                  <c:v>219.27045000000001</c:v>
                </c:pt>
                <c:pt idx="1329">
                  <c:v>254.82839999999999</c:v>
                </c:pt>
                <c:pt idx="1330">
                  <c:v>216.92339999999999</c:v>
                </c:pt>
                <c:pt idx="1331">
                  <c:v>250.51455000000001</c:v>
                </c:pt>
                <c:pt idx="1332">
                  <c:v>197.31880000000001</c:v>
                </c:pt>
                <c:pt idx="1333">
                  <c:v>277.7817</c:v>
                </c:pt>
                <c:pt idx="1334">
                  <c:v>206.92439999999999</c:v>
                </c:pt>
                <c:pt idx="1335">
                  <c:v>222.11474999999999</c:v>
                </c:pt>
                <c:pt idx="1336">
                  <c:v>248.13300000000001</c:v>
                </c:pt>
                <c:pt idx="1337">
                  <c:v>236.5641</c:v>
                </c:pt>
                <c:pt idx="1338">
                  <c:v>251.90899999999999</c:v>
                </c:pt>
                <c:pt idx="1339">
                  <c:v>149.89920000000001</c:v>
                </c:pt>
                <c:pt idx="1340">
                  <c:v>197.77195</c:v>
                </c:pt>
                <c:pt idx="1341">
                  <c:v>196.209</c:v>
                </c:pt>
                <c:pt idx="1342">
                  <c:v>203.41990000000001</c:v>
                </c:pt>
                <c:pt idx="1343">
                  <c:v>282.09545000000003</c:v>
                </c:pt>
                <c:pt idx="1344">
                  <c:v>223.839</c:v>
                </c:pt>
                <c:pt idx="1345">
                  <c:v>189.8202</c:v>
                </c:pt>
                <c:pt idx="1346">
                  <c:v>156.81960000000001</c:v>
                </c:pt>
                <c:pt idx="1347">
                  <c:v>126.55419999999999</c:v>
                </c:pt>
                <c:pt idx="1348">
                  <c:v>173.39850000000001</c:v>
                </c:pt>
                <c:pt idx="1349">
                  <c:v>137.21729999999999</c:v>
                </c:pt>
                <c:pt idx="1350">
                  <c:v>219.5138</c:v>
                </c:pt>
                <c:pt idx="1351">
                  <c:v>156.06800000000001</c:v>
                </c:pt>
                <c:pt idx="1352">
                  <c:v>246.29499999999999</c:v>
                </c:pt>
                <c:pt idx="1353">
                  <c:v>126.99850000000001</c:v>
                </c:pt>
                <c:pt idx="1354">
                  <c:v>170.94</c:v>
                </c:pt>
                <c:pt idx="1355">
                  <c:v>189.93090000000001</c:v>
                </c:pt>
                <c:pt idx="1356">
                  <c:v>268.13475</c:v>
                </c:pt>
                <c:pt idx="1357">
                  <c:v>261.96904999999998</c:v>
                </c:pt>
                <c:pt idx="1358">
                  <c:v>181.86349999999999</c:v>
                </c:pt>
                <c:pt idx="1359">
                  <c:v>179.61125000000001</c:v>
                </c:pt>
                <c:pt idx="1360">
                  <c:v>263.49830000000003</c:v>
                </c:pt>
                <c:pt idx="1361">
                  <c:v>156.23949999999999</c:v>
                </c:pt>
                <c:pt idx="1362">
                  <c:v>146.56014999999999</c:v>
                </c:pt>
                <c:pt idx="1363">
                  <c:v>189.73904999999999</c:v>
                </c:pt>
                <c:pt idx="1364">
                  <c:v>219.78440000000001</c:v>
                </c:pt>
                <c:pt idx="1365">
                  <c:v>256.17200000000003</c:v>
                </c:pt>
                <c:pt idx="1366">
                  <c:v>162.2373</c:v>
                </c:pt>
                <c:pt idx="1367">
                  <c:v>203.46780000000001</c:v>
                </c:pt>
                <c:pt idx="1368">
                  <c:v>204.3399</c:v>
                </c:pt>
                <c:pt idx="1369">
                  <c:v>190.91730000000001</c:v>
                </c:pt>
                <c:pt idx="1370">
                  <c:v>142.66560000000001</c:v>
                </c:pt>
                <c:pt idx="1371">
                  <c:v>155.50299999999999</c:v>
                </c:pt>
                <c:pt idx="1372">
                  <c:v>210.40600000000001</c:v>
                </c:pt>
                <c:pt idx="1373">
                  <c:v>251.6943</c:v>
                </c:pt>
                <c:pt idx="1374">
                  <c:v>203.13249999999999</c:v>
                </c:pt>
                <c:pt idx="1375">
                  <c:v>249.959</c:v>
                </c:pt>
                <c:pt idx="1376">
                  <c:v>283.279</c:v>
                </c:pt>
                <c:pt idx="1377">
                  <c:v>118.86139999999999</c:v>
                </c:pt>
                <c:pt idx="1378">
                  <c:v>152.971</c:v>
                </c:pt>
                <c:pt idx="1379">
                  <c:v>137.08590000000001</c:v>
                </c:pt>
                <c:pt idx="1380">
                  <c:v>187.9836</c:v>
                </c:pt>
                <c:pt idx="1381">
                  <c:v>233.46680000000001</c:v>
                </c:pt>
                <c:pt idx="1382">
                  <c:v>263.90429999999998</c:v>
                </c:pt>
                <c:pt idx="1383">
                  <c:v>131.04150000000001</c:v>
                </c:pt>
                <c:pt idx="1384">
                  <c:v>132.1344</c:v>
                </c:pt>
                <c:pt idx="1385">
                  <c:v>194.81200000000001</c:v>
                </c:pt>
                <c:pt idx="1386">
                  <c:v>216.8964</c:v>
                </c:pt>
                <c:pt idx="1387">
                  <c:v>191.8408</c:v>
                </c:pt>
                <c:pt idx="1388">
                  <c:v>124.36605</c:v>
                </c:pt>
                <c:pt idx="1389">
                  <c:v>174.2003</c:v>
                </c:pt>
                <c:pt idx="1390">
                  <c:v>118.5723</c:v>
                </c:pt>
                <c:pt idx="1391">
                  <c:v>153.2175</c:v>
                </c:pt>
                <c:pt idx="1392">
                  <c:v>148.69470000000001</c:v>
                </c:pt>
                <c:pt idx="1393">
                  <c:v>145.02895000000001</c:v>
                </c:pt>
                <c:pt idx="1394">
                  <c:v>143.64349999999999</c:v>
                </c:pt>
                <c:pt idx="1395">
                  <c:v>177.68729999999999</c:v>
                </c:pt>
                <c:pt idx="1396">
                  <c:v>335.4092</c:v>
                </c:pt>
                <c:pt idx="1397">
                  <c:v>301.88279999999997</c:v>
                </c:pt>
                <c:pt idx="1398">
                  <c:v>308.28480000000002</c:v>
                </c:pt>
                <c:pt idx="1399">
                  <c:v>337.37445000000002</c:v>
                </c:pt>
                <c:pt idx="1400">
                  <c:v>380.10834999999997</c:v>
                </c:pt>
                <c:pt idx="1401">
                  <c:v>427.55104999999998</c:v>
                </c:pt>
                <c:pt idx="1402">
                  <c:v>284.44499999999999</c:v>
                </c:pt>
                <c:pt idx="1403">
                  <c:v>197.83865</c:v>
                </c:pt>
                <c:pt idx="1404">
                  <c:v>277.61565000000002</c:v>
                </c:pt>
                <c:pt idx="1405">
                  <c:v>251.19900000000001</c:v>
                </c:pt>
                <c:pt idx="1406">
                  <c:v>204.46080000000001</c:v>
                </c:pt>
                <c:pt idx="1407">
                  <c:v>175.88724999999999</c:v>
                </c:pt>
                <c:pt idx="1408">
                  <c:v>201.41900000000001</c:v>
                </c:pt>
                <c:pt idx="1409">
                  <c:v>306.267</c:v>
                </c:pt>
                <c:pt idx="1410">
                  <c:v>283.15035</c:v>
                </c:pt>
                <c:pt idx="1411">
                  <c:v>263.17759999999998</c:v>
                </c:pt>
                <c:pt idx="1412">
                  <c:v>227.65440000000001</c:v>
                </c:pt>
                <c:pt idx="1413">
                  <c:v>225.9648</c:v>
                </c:pt>
                <c:pt idx="1414">
                  <c:v>276.16500000000002</c:v>
                </c:pt>
                <c:pt idx="1415">
                  <c:v>245.4716</c:v>
                </c:pt>
                <c:pt idx="1416">
                  <c:v>199.80559999999997</c:v>
                </c:pt>
                <c:pt idx="1417">
                  <c:v>232.03049999999999</c:v>
                </c:pt>
                <c:pt idx="1418">
                  <c:v>143.62545</c:v>
                </c:pt>
                <c:pt idx="1419">
                  <c:v>250.48124999999999</c:v>
                </c:pt>
                <c:pt idx="1420">
                  <c:v>280.23099999999999</c:v>
                </c:pt>
                <c:pt idx="1421">
                  <c:v>239.20500000000001</c:v>
                </c:pt>
                <c:pt idx="1422">
                  <c:v>317.29124999999999</c:v>
                </c:pt>
                <c:pt idx="1423">
                  <c:v>219.5368</c:v>
                </c:pt>
                <c:pt idx="1424">
                  <c:v>165.2928</c:v>
                </c:pt>
                <c:pt idx="1425">
                  <c:v>185.554</c:v>
                </c:pt>
                <c:pt idx="1426">
                  <c:v>209.93279999999999</c:v>
                </c:pt>
                <c:pt idx="1427">
                  <c:v>257</c:v>
                </c:pt>
                <c:pt idx="1428">
                  <c:v>248.21440000000004</c:v>
                </c:pt>
                <c:pt idx="1429">
                  <c:v>336.58339999999998</c:v>
                </c:pt>
                <c:pt idx="1430">
                  <c:v>245.76695000000004</c:v>
                </c:pt>
                <c:pt idx="1431">
                  <c:v>238.67674999999997</c:v>
                </c:pt>
                <c:pt idx="1432">
                  <c:v>161.50225</c:v>
                </c:pt>
                <c:pt idx="1433">
                  <c:v>276.09050000000002</c:v>
                </c:pt>
                <c:pt idx="1434">
                  <c:v>299.05919999999998</c:v>
                </c:pt>
                <c:pt idx="1435">
                  <c:v>309.52</c:v>
                </c:pt>
                <c:pt idx="1436">
                  <c:v>195.43275</c:v>
                </c:pt>
                <c:pt idx="1437">
                  <c:v>272.20274999999998</c:v>
                </c:pt>
                <c:pt idx="1438">
                  <c:v>398.27954999999997</c:v>
                </c:pt>
                <c:pt idx="1439">
                  <c:v>389.42250000000001</c:v>
                </c:pt>
                <c:pt idx="1440">
                  <c:v>322.4452</c:v>
                </c:pt>
                <c:pt idx="1441">
                  <c:v>256.72000000000003</c:v>
                </c:pt>
                <c:pt idx="1442">
                  <c:v>383.45310000000001</c:v>
                </c:pt>
                <c:pt idx="1443">
                  <c:v>502.41399999999999</c:v>
                </c:pt>
                <c:pt idx="1444">
                  <c:v>464.30340000000007</c:v>
                </c:pt>
                <c:pt idx="1445">
                  <c:v>260.30250000000001</c:v>
                </c:pt>
                <c:pt idx="1446">
                  <c:v>224.32439999999997</c:v>
                </c:pt>
                <c:pt idx="1447">
                  <c:v>216.19200000000001</c:v>
                </c:pt>
                <c:pt idx="1448">
                  <c:v>162.78540000000001</c:v>
                </c:pt>
                <c:pt idx="1449">
                  <c:v>135.4288</c:v>
                </c:pt>
                <c:pt idx="1450">
                  <c:v>248.41874999999999</c:v>
                </c:pt>
                <c:pt idx="1451">
                  <c:v>193.34399999999999</c:v>
                </c:pt>
                <c:pt idx="1452">
                  <c:v>227.3117</c:v>
                </c:pt>
                <c:pt idx="1453">
                  <c:v>137.751</c:v>
                </c:pt>
                <c:pt idx="1454">
                  <c:v>202.60239999999996</c:v>
                </c:pt>
                <c:pt idx="1455">
                  <c:v>211.79860000000002</c:v>
                </c:pt>
                <c:pt idx="1456">
                  <c:v>222.60565</c:v>
                </c:pt>
                <c:pt idx="1457">
                  <c:v>254.18420000000003</c:v>
                </c:pt>
                <c:pt idx="1458">
                  <c:v>196.72274999999999</c:v>
                </c:pt>
                <c:pt idx="1459">
                  <c:v>232.8126</c:v>
                </c:pt>
                <c:pt idx="1460">
                  <c:v>141.95830000000001</c:v>
                </c:pt>
                <c:pt idx="1461">
                  <c:v>220.81914999999998</c:v>
                </c:pt>
                <c:pt idx="1462">
                  <c:v>201.54350000000002</c:v>
                </c:pt>
                <c:pt idx="1463">
                  <c:v>215.66639999999998</c:v>
                </c:pt>
                <c:pt idx="1464">
                  <c:v>202.7465</c:v>
                </c:pt>
                <c:pt idx="1465">
                  <c:v>216.48540000000003</c:v>
                </c:pt>
                <c:pt idx="1466">
                  <c:v>218.19929999999997</c:v>
                </c:pt>
                <c:pt idx="1467">
                  <c:v>229.61250000000001</c:v>
                </c:pt>
                <c:pt idx="1468">
                  <c:v>290.53154999999998</c:v>
                </c:pt>
                <c:pt idx="1469">
                  <c:v>337.7595</c:v>
                </c:pt>
                <c:pt idx="1470">
                  <c:v>82.936999999999998</c:v>
                </c:pt>
                <c:pt idx="1471">
                  <c:v>139.88499999999999</c:v>
                </c:pt>
                <c:pt idx="1472">
                  <c:v>275.4504</c:v>
                </c:pt>
                <c:pt idx="1473">
                  <c:v>283.27199999999999</c:v>
                </c:pt>
                <c:pt idx="1474">
                  <c:v>412.26640000000003</c:v>
                </c:pt>
                <c:pt idx="1475">
                  <c:v>458.11100000000005</c:v>
                </c:pt>
                <c:pt idx="1476">
                  <c:v>304.46625</c:v>
                </c:pt>
                <c:pt idx="1477">
                  <c:v>279.23349999999999</c:v>
                </c:pt>
                <c:pt idx="1478">
                  <c:v>253.90275</c:v>
                </c:pt>
                <c:pt idx="1479">
                  <c:v>427.34459999999996</c:v>
                </c:pt>
                <c:pt idx="1480">
                  <c:v>317.05085000000003</c:v>
                </c:pt>
                <c:pt idx="1481">
                  <c:v>292.46674999999999</c:v>
                </c:pt>
                <c:pt idx="1482">
                  <c:v>202.62070000000003</c:v>
                </c:pt>
                <c:pt idx="1483">
                  <c:v>186.732</c:v>
                </c:pt>
                <c:pt idx="1484">
                  <c:v>151.46174999999999</c:v>
                </c:pt>
                <c:pt idx="1485">
                  <c:v>123.62165</c:v>
                </c:pt>
                <c:pt idx="1486">
                  <c:v>173.9522</c:v>
                </c:pt>
                <c:pt idx="1487">
                  <c:v>267.16800000000001</c:v>
                </c:pt>
                <c:pt idx="1488">
                  <c:v>253.935</c:v>
                </c:pt>
                <c:pt idx="1489">
                  <c:v>331.28874999999999</c:v>
                </c:pt>
                <c:pt idx="1490">
                  <c:v>321.95024999999998</c:v>
                </c:pt>
                <c:pt idx="1491">
                  <c:v>221.31060000000002</c:v>
                </c:pt>
                <c:pt idx="1492">
                  <c:v>188.16720000000001</c:v>
                </c:pt>
                <c:pt idx="1493">
                  <c:v>244.624</c:v>
                </c:pt>
                <c:pt idx="1494">
                  <c:v>280.58980000000003</c:v>
                </c:pt>
                <c:pt idx="1495">
                  <c:v>265.04570000000001</c:v>
                </c:pt>
                <c:pt idx="1496">
                  <c:v>283.85235</c:v>
                </c:pt>
                <c:pt idx="1497">
                  <c:v>234.1985</c:v>
                </c:pt>
                <c:pt idx="1498">
                  <c:v>224.48180000000002</c:v>
                </c:pt>
                <c:pt idx="1499">
                  <c:v>206.1514</c:v>
                </c:pt>
                <c:pt idx="1500">
                  <c:v>270.16739999999999</c:v>
                </c:pt>
                <c:pt idx="1501">
                  <c:v>157.51439999999999</c:v>
                </c:pt>
                <c:pt idx="1502">
                  <c:v>123.76649999999999</c:v>
                </c:pt>
                <c:pt idx="1503">
                  <c:v>194.01130000000001</c:v>
                </c:pt>
                <c:pt idx="1504">
                  <c:v>220.47909999999999</c:v>
                </c:pt>
                <c:pt idx="1505">
                  <c:v>186.80619999999999</c:v>
                </c:pt>
                <c:pt idx="1506">
                  <c:v>160.0804</c:v>
                </c:pt>
                <c:pt idx="1507">
                  <c:v>201.06450000000001</c:v>
                </c:pt>
                <c:pt idx="1508">
                  <c:v>297.65174999999999</c:v>
                </c:pt>
                <c:pt idx="1509">
                  <c:v>338.16575</c:v>
                </c:pt>
                <c:pt idx="1510">
                  <c:v>213.07685000000001</c:v>
                </c:pt>
                <c:pt idx="1511">
                  <c:v>505.4751</c:v>
                </c:pt>
                <c:pt idx="1512">
                  <c:v>475.85120000000006</c:v>
                </c:pt>
                <c:pt idx="1513">
                  <c:v>290.09325000000001</c:v>
                </c:pt>
                <c:pt idx="1514">
                  <c:v>263.18380000000002</c:v>
                </c:pt>
                <c:pt idx="1515">
                  <c:v>285.0258</c:v>
                </c:pt>
                <c:pt idx="1516">
                  <c:v>231.369</c:v>
                </c:pt>
                <c:pt idx="1517">
                  <c:v>195.69315000000003</c:v>
                </c:pt>
                <c:pt idx="1518">
                  <c:v>253.85010000000003</c:v>
                </c:pt>
                <c:pt idx="1519">
                  <c:v>173.10720000000003</c:v>
                </c:pt>
                <c:pt idx="1520">
                  <c:v>260.10629999999998</c:v>
                </c:pt>
                <c:pt idx="1521">
                  <c:v>330.17315000000002</c:v>
                </c:pt>
                <c:pt idx="1522">
                  <c:v>222.2902</c:v>
                </c:pt>
                <c:pt idx="1523">
                  <c:v>200.6927</c:v>
                </c:pt>
                <c:pt idx="1524">
                  <c:v>288.74475000000001</c:v>
                </c:pt>
                <c:pt idx="1525">
                  <c:v>162.0711</c:v>
                </c:pt>
                <c:pt idx="1526">
                  <c:v>189.9417</c:v>
                </c:pt>
                <c:pt idx="1527">
                  <c:v>306.06799999999998</c:v>
                </c:pt>
                <c:pt idx="1528">
                  <c:v>197.53274999999999</c:v>
                </c:pt>
                <c:pt idx="1529">
                  <c:v>233.89304999999999</c:v>
                </c:pt>
                <c:pt idx="1530">
                  <c:v>202.56339999999997</c:v>
                </c:pt>
                <c:pt idx="1531">
                  <c:v>323.6961</c:v>
                </c:pt>
                <c:pt idx="1532">
                  <c:v>195.22380000000001</c:v>
                </c:pt>
                <c:pt idx="1533">
                  <c:v>202.38074999999998</c:v>
                </c:pt>
                <c:pt idx="1534">
                  <c:v>140.70160000000001</c:v>
                </c:pt>
                <c:pt idx="1535">
                  <c:v>195.49019999999999</c:v>
                </c:pt>
                <c:pt idx="1536">
                  <c:v>220.74135000000004</c:v>
                </c:pt>
                <c:pt idx="1537">
                  <c:v>414.94200000000001</c:v>
                </c:pt>
                <c:pt idx="1538">
                  <c:v>383.75700000000001</c:v>
                </c:pt>
                <c:pt idx="1539">
                  <c:v>318.32395000000002</c:v>
                </c:pt>
                <c:pt idx="1540">
                  <c:v>366.03629999999998</c:v>
                </c:pt>
                <c:pt idx="1541">
                  <c:v>287.16379999999998</c:v>
                </c:pt>
                <c:pt idx="1542">
                  <c:v>316.84679999999997</c:v>
                </c:pt>
                <c:pt idx="1543">
                  <c:v>361.02015</c:v>
                </c:pt>
                <c:pt idx="1544">
                  <c:v>180.54400000000001</c:v>
                </c:pt>
                <c:pt idx="1545">
                  <c:v>497.29680000000002</c:v>
                </c:pt>
                <c:pt idx="1546">
                  <c:v>286.66455000000002</c:v>
                </c:pt>
                <c:pt idx="1547">
                  <c:v>489.27234999999996</c:v>
                </c:pt>
                <c:pt idx="1548">
                  <c:v>433.25159999999994</c:v>
                </c:pt>
                <c:pt idx="1549">
                  <c:v>287.52165000000002</c:v>
                </c:pt>
                <c:pt idx="1550">
                  <c:v>275.35275000000001</c:v>
                </c:pt>
                <c:pt idx="1551">
                  <c:v>242.44119999999998</c:v>
                </c:pt>
                <c:pt idx="1552">
                  <c:v>162.90625</c:v>
                </c:pt>
                <c:pt idx="1553">
                  <c:v>157.29499999999999</c:v>
                </c:pt>
                <c:pt idx="1554">
                  <c:v>195.93079999999998</c:v>
                </c:pt>
                <c:pt idx="1555">
                  <c:v>219.28389999999999</c:v>
                </c:pt>
                <c:pt idx="1556">
                  <c:v>190.07624999999999</c:v>
                </c:pt>
                <c:pt idx="1557">
                  <c:v>214.47810000000001</c:v>
                </c:pt>
                <c:pt idx="1558">
                  <c:v>231.04319999999996</c:v>
                </c:pt>
                <c:pt idx="1559">
                  <c:v>238.6908</c:v>
                </c:pt>
                <c:pt idx="1560">
                  <c:v>198.4161</c:v>
                </c:pt>
                <c:pt idx="1561">
                  <c:v>201.41839999999999</c:v>
                </c:pt>
                <c:pt idx="1562">
                  <c:v>177.95415</c:v>
                </c:pt>
                <c:pt idx="1563">
                  <c:v>205.02625</c:v>
                </c:pt>
                <c:pt idx="1564">
                  <c:v>288.44099999999997</c:v>
                </c:pt>
                <c:pt idx="1565">
                  <c:v>237.29759999999999</c:v>
                </c:pt>
                <c:pt idx="1566">
                  <c:v>173.60630000000003</c:v>
                </c:pt>
                <c:pt idx="1567">
                  <c:v>224.315</c:v>
                </c:pt>
                <c:pt idx="1568">
                  <c:v>213.61275000000003</c:v>
                </c:pt>
                <c:pt idx="1569">
                  <c:v>204.13679999999999</c:v>
                </c:pt>
                <c:pt idx="1570">
                  <c:v>150.88890000000001</c:v>
                </c:pt>
                <c:pt idx="1571">
                  <c:v>155.91065</c:v>
                </c:pt>
                <c:pt idx="1572">
                  <c:v>260.81719999999996</c:v>
                </c:pt>
                <c:pt idx="1573">
                  <c:v>278.76375000000002</c:v>
                </c:pt>
                <c:pt idx="1574">
                  <c:v>204.83199999999999</c:v>
                </c:pt>
                <c:pt idx="1575">
                  <c:v>293.36320000000001</c:v>
                </c:pt>
                <c:pt idx="1576">
                  <c:v>392.25479999999993</c:v>
                </c:pt>
                <c:pt idx="1577">
                  <c:v>338.238</c:v>
                </c:pt>
                <c:pt idx="1578">
                  <c:v>365.89679999999998</c:v>
                </c:pt>
                <c:pt idx="1579">
                  <c:v>459.92025000000001</c:v>
                </c:pt>
                <c:pt idx="1580">
                  <c:v>293.02359999999999</c:v>
                </c:pt>
                <c:pt idx="1581">
                  <c:v>393.79849999999999</c:v>
                </c:pt>
                <c:pt idx="1582">
                  <c:v>553.32000000000005</c:v>
                </c:pt>
                <c:pt idx="1583">
                  <c:v>419.64929999999998</c:v>
                </c:pt>
                <c:pt idx="1584">
                  <c:v>327.47750000000002</c:v>
                </c:pt>
                <c:pt idx="1585">
                  <c:v>604.95764999999994</c:v>
                </c:pt>
                <c:pt idx="1586">
                  <c:v>540.80079999999998</c:v>
                </c:pt>
                <c:pt idx="1587">
                  <c:v>539.66250000000002</c:v>
                </c:pt>
                <c:pt idx="1588">
                  <c:v>268.5154</c:v>
                </c:pt>
                <c:pt idx="1589">
                  <c:v>215.79180000000002</c:v>
                </c:pt>
                <c:pt idx="1590">
                  <c:v>175.27500000000001</c:v>
                </c:pt>
                <c:pt idx="1591">
                  <c:v>369.72239999999999</c:v>
                </c:pt>
                <c:pt idx="1592">
                  <c:v>663.71514999999999</c:v>
                </c:pt>
                <c:pt idx="1593">
                  <c:v>576.12490000000003</c:v>
                </c:pt>
                <c:pt idx="1594">
                  <c:v>536.49135000000001</c:v>
                </c:pt>
                <c:pt idx="1595">
                  <c:v>346.47300000000001</c:v>
                </c:pt>
                <c:pt idx="1596">
                  <c:v>311.61</c:v>
                </c:pt>
                <c:pt idx="1597">
                  <c:v>351.13549999999998</c:v>
                </c:pt>
                <c:pt idx="1598">
                  <c:v>288.59915000000001</c:v>
                </c:pt>
                <c:pt idx="1599">
                  <c:v>266.24559999999997</c:v>
                </c:pt>
                <c:pt idx="1600">
                  <c:v>218.36099999999999</c:v>
                </c:pt>
                <c:pt idx="1601">
                  <c:v>281.89080000000001</c:v>
                </c:pt>
                <c:pt idx="1602">
                  <c:v>324.26249999999999</c:v>
                </c:pt>
                <c:pt idx="1603">
                  <c:v>480.70449999999994</c:v>
                </c:pt>
                <c:pt idx="1604">
                  <c:v>288.983</c:v>
                </c:pt>
                <c:pt idx="1605">
                  <c:v>274.68045000000001</c:v>
                </c:pt>
                <c:pt idx="1606">
                  <c:v>313.16039999999998</c:v>
                </c:pt>
                <c:pt idx="1607">
                  <c:v>140.6456</c:v>
                </c:pt>
                <c:pt idx="1608">
                  <c:v>148.54974999999999</c:v>
                </c:pt>
                <c:pt idx="1609">
                  <c:v>303.142</c:v>
                </c:pt>
                <c:pt idx="1610">
                  <c:v>202.04415000000003</c:v>
                </c:pt>
                <c:pt idx="1611">
                  <c:v>158.4366</c:v>
                </c:pt>
                <c:pt idx="1612">
                  <c:v>236.85480000000001</c:v>
                </c:pt>
                <c:pt idx="1613">
                  <c:v>259.55189999999999</c:v>
                </c:pt>
                <c:pt idx="1614">
                  <c:v>226.76480000000001</c:v>
                </c:pt>
                <c:pt idx="1615">
                  <c:v>220.179</c:v>
                </c:pt>
                <c:pt idx="1616">
                  <c:v>216.3837</c:v>
                </c:pt>
                <c:pt idx="1617">
                  <c:v>197.89899999999997</c:v>
                </c:pt>
                <c:pt idx="1618">
                  <c:v>170.18299999999999</c:v>
                </c:pt>
                <c:pt idx="1619">
                  <c:v>144.52180000000001</c:v>
                </c:pt>
                <c:pt idx="1620">
                  <c:v>272.22750000000002</c:v>
                </c:pt>
                <c:pt idx="1621">
                  <c:v>308.20814999999999</c:v>
                </c:pt>
                <c:pt idx="1622">
                  <c:v>192.6225</c:v>
                </c:pt>
                <c:pt idx="1623">
                  <c:v>252.10749999999999</c:v>
                </c:pt>
                <c:pt idx="1624">
                  <c:v>300.43049999999999</c:v>
                </c:pt>
                <c:pt idx="1625">
                  <c:v>304.27589999999998</c:v>
                </c:pt>
                <c:pt idx="1626">
                  <c:v>239.67660000000001</c:v>
                </c:pt>
                <c:pt idx="1627">
                  <c:v>230.27830000000003</c:v>
                </c:pt>
                <c:pt idx="1628">
                  <c:v>234.58680000000001</c:v>
                </c:pt>
                <c:pt idx="1629">
                  <c:v>318.67180000000002</c:v>
                </c:pt>
                <c:pt idx="1630">
                  <c:v>294.47985</c:v>
                </c:pt>
                <c:pt idx="1631">
                  <c:v>442.24510000000004</c:v>
                </c:pt>
                <c:pt idx="1632">
                  <c:v>282.58530000000002</c:v>
                </c:pt>
                <c:pt idx="1633">
                  <c:v>212.16990000000001</c:v>
                </c:pt>
                <c:pt idx="1634">
                  <c:v>258.55664999999999</c:v>
                </c:pt>
                <c:pt idx="1635">
                  <c:v>534.23019999999997</c:v>
                </c:pt>
                <c:pt idx="1636">
                  <c:v>297.74414999999999</c:v>
                </c:pt>
                <c:pt idx="1637">
                  <c:v>198.51840000000001</c:v>
                </c:pt>
                <c:pt idx="1638">
                  <c:v>329.70339999999999</c:v>
                </c:pt>
                <c:pt idx="1639">
                  <c:v>581.71600000000001</c:v>
                </c:pt>
                <c:pt idx="1640">
                  <c:v>341.33839999999998</c:v>
                </c:pt>
                <c:pt idx="1641">
                  <c:v>360.47609999999997</c:v>
                </c:pt>
                <c:pt idx="1642">
                  <c:v>389.82229999999998</c:v>
                </c:pt>
                <c:pt idx="1643">
                  <c:v>421.6576</c:v>
                </c:pt>
                <c:pt idx="1644">
                  <c:v>251.86150000000004</c:v>
                </c:pt>
                <c:pt idx="1645">
                  <c:v>306.63</c:v>
                </c:pt>
                <c:pt idx="1646">
                  <c:v>491.85500000000002</c:v>
                </c:pt>
                <c:pt idx="1647">
                  <c:v>302.43914999999998</c:v>
                </c:pt>
                <c:pt idx="1648">
                  <c:v>304.08665000000002</c:v>
                </c:pt>
                <c:pt idx="1649">
                  <c:v>328.95659999999998</c:v>
                </c:pt>
                <c:pt idx="1650">
                  <c:v>264.32760000000002</c:v>
                </c:pt>
                <c:pt idx="1651">
                  <c:v>223.29180000000002</c:v>
                </c:pt>
                <c:pt idx="1652">
                  <c:v>218.41559999999998</c:v>
                </c:pt>
                <c:pt idx="1653">
                  <c:v>172.65360000000001</c:v>
                </c:pt>
                <c:pt idx="1654">
                  <c:v>276.09399999999999</c:v>
                </c:pt>
                <c:pt idx="1655">
                  <c:v>292.58744999999999</c:v>
                </c:pt>
                <c:pt idx="1656">
                  <c:v>347.69279999999998</c:v>
                </c:pt>
                <c:pt idx="1657">
                  <c:v>293.90789999999998</c:v>
                </c:pt>
                <c:pt idx="1658">
                  <c:v>258.84970000000004</c:v>
                </c:pt>
                <c:pt idx="1659">
                  <c:v>245.03270000000003</c:v>
                </c:pt>
                <c:pt idx="1660">
                  <c:v>266.52120000000002</c:v>
                </c:pt>
                <c:pt idx="1661">
                  <c:v>442.15469999999993</c:v>
                </c:pt>
                <c:pt idx="1662">
                  <c:v>407.04835000000008</c:v>
                </c:pt>
                <c:pt idx="1663">
                  <c:v>316.94260000000003</c:v>
                </c:pt>
                <c:pt idx="1664">
                  <c:v>363.37124999999997</c:v>
                </c:pt>
                <c:pt idx="1665">
                  <c:v>569.54425000000003</c:v>
                </c:pt>
                <c:pt idx="1666">
                  <c:v>361.85160000000002</c:v>
                </c:pt>
                <c:pt idx="1667">
                  <c:v>539.42909999999995</c:v>
                </c:pt>
                <c:pt idx="1668">
                  <c:v>862.22500000000002</c:v>
                </c:pt>
                <c:pt idx="1669">
                  <c:v>962.66950000000008</c:v>
                </c:pt>
                <c:pt idx="1670">
                  <c:v>626.0711</c:v>
                </c:pt>
                <c:pt idx="1671">
                  <c:v>275.30579999999998</c:v>
                </c:pt>
                <c:pt idx="1672">
                  <c:v>349.81970000000001</c:v>
                </c:pt>
                <c:pt idx="1673">
                  <c:v>358.14929999999998</c:v>
                </c:pt>
                <c:pt idx="1674">
                  <c:v>429.09550000000002</c:v>
                </c:pt>
                <c:pt idx="1675">
                  <c:v>387.60149999999993</c:v>
                </c:pt>
                <c:pt idx="1676">
                  <c:v>341.65820000000002</c:v>
                </c:pt>
                <c:pt idx="1677">
                  <c:v>292.79025000000001</c:v>
                </c:pt>
                <c:pt idx="1678">
                  <c:v>288.83699999999999</c:v>
                </c:pt>
                <c:pt idx="1679">
                  <c:v>241.51105000000004</c:v>
                </c:pt>
                <c:pt idx="1680">
                  <c:v>193.9204</c:v>
                </c:pt>
                <c:pt idx="1681">
                  <c:v>138.91919999999999</c:v>
                </c:pt>
                <c:pt idx="1682">
                  <c:v>213.21990000000002</c:v>
                </c:pt>
                <c:pt idx="1683">
                  <c:v>173.20115000000001</c:v>
                </c:pt>
                <c:pt idx="1684">
                  <c:v>289.93639999999999</c:v>
                </c:pt>
                <c:pt idx="1685">
                  <c:v>194.55010000000004</c:v>
                </c:pt>
                <c:pt idx="1686">
                  <c:v>199.26789999999997</c:v>
                </c:pt>
                <c:pt idx="1687">
                  <c:v>216.315</c:v>
                </c:pt>
                <c:pt idx="1688">
                  <c:v>168.40700000000001</c:v>
                </c:pt>
                <c:pt idx="1689">
                  <c:v>181.53159999999997</c:v>
                </c:pt>
                <c:pt idx="1690">
                  <c:v>322.94</c:v>
                </c:pt>
                <c:pt idx="1691">
                  <c:v>282.51164999999997</c:v>
                </c:pt>
                <c:pt idx="1692">
                  <c:v>248.27985000000001</c:v>
                </c:pt>
                <c:pt idx="1693">
                  <c:v>231.38570000000001</c:v>
                </c:pt>
                <c:pt idx="1694">
                  <c:v>312.97770000000003</c:v>
                </c:pt>
                <c:pt idx="1695">
                  <c:v>225.86079999999998</c:v>
                </c:pt>
                <c:pt idx="1696">
                  <c:v>212.90745000000001</c:v>
                </c:pt>
                <c:pt idx="1697">
                  <c:v>197.83799999999997</c:v>
                </c:pt>
                <c:pt idx="1698">
                  <c:v>277.36020000000002</c:v>
                </c:pt>
                <c:pt idx="1699">
                  <c:v>394.63864999999993</c:v>
                </c:pt>
                <c:pt idx="1700">
                  <c:v>184.05070000000001</c:v>
                </c:pt>
                <c:pt idx="1701">
                  <c:v>208.28989999999999</c:v>
                </c:pt>
                <c:pt idx="1702">
                  <c:v>229.97669999999999</c:v>
                </c:pt>
                <c:pt idx="1703">
                  <c:v>242.15280000000001</c:v>
                </c:pt>
                <c:pt idx="1704">
                  <c:v>153.13849999999999</c:v>
                </c:pt>
                <c:pt idx="1705">
                  <c:v>84.235200000000006</c:v>
                </c:pt>
                <c:pt idx="1706">
                  <c:v>282.98430000000002</c:v>
                </c:pt>
                <c:pt idx="1707">
                  <c:v>363.51150000000001</c:v>
                </c:pt>
                <c:pt idx="1708">
                  <c:v>305.77260000000001</c:v>
                </c:pt>
                <c:pt idx="1709">
                  <c:v>278.82749999999999</c:v>
                </c:pt>
                <c:pt idx="1710">
                  <c:v>299.55720000000002</c:v>
                </c:pt>
                <c:pt idx="1711">
                  <c:v>223.2698</c:v>
                </c:pt>
                <c:pt idx="1712">
                  <c:v>230.94749999999999</c:v>
                </c:pt>
                <c:pt idx="1713">
                  <c:v>354.07599999999996</c:v>
                </c:pt>
                <c:pt idx="1714">
                  <c:v>564.0376</c:v>
                </c:pt>
                <c:pt idx="1715">
                  <c:v>198.1096</c:v>
                </c:pt>
                <c:pt idx="1716">
                  <c:v>274.29149999999998</c:v>
                </c:pt>
                <c:pt idx="1717">
                  <c:v>264.27499999999998</c:v>
                </c:pt>
                <c:pt idx="1718">
                  <c:v>436.67580000000004</c:v>
                </c:pt>
                <c:pt idx="1719">
                  <c:v>287.529</c:v>
                </c:pt>
                <c:pt idx="1720">
                  <c:v>261.58365000000003</c:v>
                </c:pt>
                <c:pt idx="1721">
                  <c:v>156.16645</c:v>
                </c:pt>
                <c:pt idx="1722">
                  <c:v>150.59995000000001</c:v>
                </c:pt>
                <c:pt idx="1723">
                  <c:v>189.38345000000001</c:v>
                </c:pt>
                <c:pt idx="1724">
                  <c:v>198.62979999999999</c:v>
                </c:pt>
                <c:pt idx="1725">
                  <c:v>186.01339999999999</c:v>
                </c:pt>
                <c:pt idx="1726">
                  <c:v>286.60320000000002</c:v>
                </c:pt>
                <c:pt idx="1727">
                  <c:v>266.42039999999997</c:v>
                </c:pt>
                <c:pt idx="1728">
                  <c:v>239.2278</c:v>
                </c:pt>
                <c:pt idx="1729">
                  <c:v>338.11919999999998</c:v>
                </c:pt>
                <c:pt idx="1730">
                  <c:v>310.1157</c:v>
                </c:pt>
                <c:pt idx="1731">
                  <c:v>233.63</c:v>
                </c:pt>
                <c:pt idx="1732">
                  <c:v>346.64904999999999</c:v>
                </c:pt>
                <c:pt idx="1733">
                  <c:v>308.77280000000002</c:v>
                </c:pt>
                <c:pt idx="1734">
                  <c:v>561.03740000000005</c:v>
                </c:pt>
                <c:pt idx="1735">
                  <c:v>339.04185000000001</c:v>
                </c:pt>
                <c:pt idx="1736">
                  <c:v>396.1422</c:v>
                </c:pt>
                <c:pt idx="1737">
                  <c:v>395.45839999999998</c:v>
                </c:pt>
                <c:pt idx="1738">
                  <c:v>205.52025</c:v>
                </c:pt>
                <c:pt idx="1739">
                  <c:v>289.79554999999999</c:v>
                </c:pt>
                <c:pt idx="1740">
                  <c:v>353.35820000000001</c:v>
                </c:pt>
                <c:pt idx="1741">
                  <c:v>400.10789999999997</c:v>
                </c:pt>
                <c:pt idx="1742">
                  <c:v>675.37675000000002</c:v>
                </c:pt>
                <c:pt idx="1743">
                  <c:v>655.69365000000005</c:v>
                </c:pt>
                <c:pt idx="1744">
                  <c:v>462.81060000000008</c:v>
                </c:pt>
                <c:pt idx="1745">
                  <c:v>538.10400000000004</c:v>
                </c:pt>
                <c:pt idx="1746">
                  <c:v>512.89809999999989</c:v>
                </c:pt>
                <c:pt idx="1747">
                  <c:v>586.51919999999996</c:v>
                </c:pt>
                <c:pt idx="1748">
                  <c:v>736.06275000000005</c:v>
                </c:pt>
                <c:pt idx="1749">
                  <c:v>620.10450000000003</c:v>
                </c:pt>
                <c:pt idx="1750">
                  <c:v>656.82825000000003</c:v>
                </c:pt>
                <c:pt idx="1751">
                  <c:v>711.83579999999995</c:v>
                </c:pt>
                <c:pt idx="1752">
                  <c:v>630.26700000000005</c:v>
                </c:pt>
                <c:pt idx="1753">
                  <c:v>490.11130000000003</c:v>
                </c:pt>
                <c:pt idx="1754">
                  <c:v>502.47284999999999</c:v>
                </c:pt>
                <c:pt idx="1755">
                  <c:v>379.63799999999998</c:v>
                </c:pt>
                <c:pt idx="1756">
                  <c:v>435.55515000000003</c:v>
                </c:pt>
                <c:pt idx="1757">
                  <c:v>281.71800000000002</c:v>
                </c:pt>
                <c:pt idx="1758">
                  <c:v>309.8433</c:v>
                </c:pt>
                <c:pt idx="1759">
                  <c:v>401.34710000000001</c:v>
                </c:pt>
                <c:pt idx="1760">
                  <c:v>227.47665000000001</c:v>
                </c:pt>
                <c:pt idx="1761">
                  <c:v>335.10539999999997</c:v>
                </c:pt>
                <c:pt idx="1762">
                  <c:v>221.12084999999999</c:v>
                </c:pt>
                <c:pt idx="1763">
                  <c:v>203.04349999999999</c:v>
                </c:pt>
                <c:pt idx="1764">
                  <c:v>341.89249999999998</c:v>
                </c:pt>
                <c:pt idx="1765">
                  <c:v>276.26625000000001</c:v>
                </c:pt>
                <c:pt idx="1766">
                  <c:v>349.36919999999992</c:v>
                </c:pt>
                <c:pt idx="1767">
                  <c:v>505.30799999999999</c:v>
                </c:pt>
                <c:pt idx="1768">
                  <c:v>401.21265000000005</c:v>
                </c:pt>
                <c:pt idx="1769">
                  <c:v>279.15989999999999</c:v>
                </c:pt>
                <c:pt idx="1770">
                  <c:v>234.92625000000001</c:v>
                </c:pt>
                <c:pt idx="1771">
                  <c:v>401.29775000000001</c:v>
                </c:pt>
                <c:pt idx="1772">
                  <c:v>329.57575000000003</c:v>
                </c:pt>
                <c:pt idx="1773">
                  <c:v>275.43310000000002</c:v>
                </c:pt>
                <c:pt idx="1774">
                  <c:v>367.49080000000004</c:v>
                </c:pt>
                <c:pt idx="1775">
                  <c:v>314.58</c:v>
                </c:pt>
                <c:pt idx="1776">
                  <c:v>441.51474999999994</c:v>
                </c:pt>
                <c:pt idx="1777">
                  <c:v>311.08300000000003</c:v>
                </c:pt>
                <c:pt idx="1778">
                  <c:v>312.8664</c:v>
                </c:pt>
                <c:pt idx="1779">
                  <c:v>297.5403</c:v>
                </c:pt>
                <c:pt idx="1780">
                  <c:v>182.48089999999999</c:v>
                </c:pt>
                <c:pt idx="1781">
                  <c:v>292.28579999999999</c:v>
                </c:pt>
                <c:pt idx="1782">
                  <c:v>189.24674999999999</c:v>
                </c:pt>
                <c:pt idx="1783">
                  <c:v>264.51130000000001</c:v>
                </c:pt>
                <c:pt idx="1784">
                  <c:v>254.95189999999997</c:v>
                </c:pt>
                <c:pt idx="1785">
                  <c:v>266.77605</c:v>
                </c:pt>
                <c:pt idx="1786">
                  <c:v>230.244</c:v>
                </c:pt>
                <c:pt idx="1787">
                  <c:v>247.06599999999997</c:v>
                </c:pt>
                <c:pt idx="1788">
                  <c:v>253.911</c:v>
                </c:pt>
                <c:pt idx="1789">
                  <c:v>177.21394999999998</c:v>
                </c:pt>
                <c:pt idx="1790">
                  <c:v>156.512</c:v>
                </c:pt>
                <c:pt idx="1791">
                  <c:v>284.27749999999997</c:v>
                </c:pt>
                <c:pt idx="1792">
                  <c:v>354.02679999999992</c:v>
                </c:pt>
                <c:pt idx="1793">
                  <c:v>362.505</c:v>
                </c:pt>
                <c:pt idx="1794">
                  <c:v>323.47199999999998</c:v>
                </c:pt>
                <c:pt idx="1795">
                  <c:v>589.97400000000005</c:v>
                </c:pt>
                <c:pt idx="1796">
                  <c:v>408.34519999999998</c:v>
                </c:pt>
                <c:pt idx="1797">
                  <c:v>252.83324999999999</c:v>
                </c:pt>
                <c:pt idx="1798">
                  <c:v>429.00724999999994</c:v>
                </c:pt>
                <c:pt idx="1799">
                  <c:v>242.49119999999999</c:v>
                </c:pt>
                <c:pt idx="1800">
                  <c:v>262.07310000000001</c:v>
                </c:pt>
                <c:pt idx="1801">
                  <c:v>186.03044999999997</c:v>
                </c:pt>
                <c:pt idx="1802">
                  <c:v>262.97699999999998</c:v>
                </c:pt>
                <c:pt idx="1803">
                  <c:v>187.1352</c:v>
                </c:pt>
                <c:pt idx="1804">
                  <c:v>215.49754999999999</c:v>
                </c:pt>
                <c:pt idx="1805">
                  <c:v>185.59754999999998</c:v>
                </c:pt>
                <c:pt idx="1806">
                  <c:v>163.72120000000001</c:v>
                </c:pt>
                <c:pt idx="1807">
                  <c:v>155.74680000000001</c:v>
                </c:pt>
                <c:pt idx="1808">
                  <c:v>215.02</c:v>
                </c:pt>
                <c:pt idx="1809">
                  <c:v>163.6848</c:v>
                </c:pt>
                <c:pt idx="1810">
                  <c:v>184.85830000000001</c:v>
                </c:pt>
                <c:pt idx="1811">
                  <c:v>208.22130000000004</c:v>
                </c:pt>
                <c:pt idx="1812">
                  <c:v>217.7028</c:v>
                </c:pt>
                <c:pt idx="1813">
                  <c:v>279.45600000000002</c:v>
                </c:pt>
                <c:pt idx="1814">
                  <c:v>256.76799999999997</c:v>
                </c:pt>
                <c:pt idx="1815">
                  <c:v>220.26374999999999</c:v>
                </c:pt>
                <c:pt idx="1816">
                  <c:v>206.08754999999999</c:v>
                </c:pt>
                <c:pt idx="1817">
                  <c:v>206.5685</c:v>
                </c:pt>
                <c:pt idx="1818">
                  <c:v>279.52140000000003</c:v>
                </c:pt>
                <c:pt idx="1819">
                  <c:v>503.3535</c:v>
                </c:pt>
                <c:pt idx="1820">
                  <c:v>176.27199999999999</c:v>
                </c:pt>
                <c:pt idx="1821">
                  <c:v>167.78475</c:v>
                </c:pt>
                <c:pt idx="1822">
                  <c:v>254.28155000000001</c:v>
                </c:pt>
                <c:pt idx="1823">
                  <c:v>349.26105000000001</c:v>
                </c:pt>
                <c:pt idx="1824">
                  <c:v>232.23439999999999</c:v>
                </c:pt>
                <c:pt idx="1825">
                  <c:v>132.44175000000001</c:v>
                </c:pt>
                <c:pt idx="1826">
                  <c:v>196.51939999999999</c:v>
                </c:pt>
                <c:pt idx="1827">
                  <c:v>165.32300000000001</c:v>
                </c:pt>
                <c:pt idx="1828">
                  <c:v>143.74700000000001</c:v>
                </c:pt>
                <c:pt idx="1829">
                  <c:v>168.12119999999999</c:v>
                </c:pt>
                <c:pt idx="1830">
                  <c:v>157.2012</c:v>
                </c:pt>
                <c:pt idx="1831">
                  <c:v>198.72550000000001</c:v>
                </c:pt>
                <c:pt idx="1832">
                  <c:v>203.10749999999999</c:v>
                </c:pt>
                <c:pt idx="1833">
                  <c:v>356.28879999999998</c:v>
                </c:pt>
                <c:pt idx="1834">
                  <c:v>401.42250000000001</c:v>
                </c:pt>
                <c:pt idx="1835">
                  <c:v>265.16160000000002</c:v>
                </c:pt>
                <c:pt idx="1836">
                  <c:v>282.53474999999997</c:v>
                </c:pt>
                <c:pt idx="1837">
                  <c:v>291.1968</c:v>
                </c:pt>
                <c:pt idx="1838">
                  <c:v>461.03579999999999</c:v>
                </c:pt>
                <c:pt idx="1839">
                  <c:v>253.48054999999999</c:v>
                </c:pt>
                <c:pt idx="1840">
                  <c:v>249.81880000000001</c:v>
                </c:pt>
                <c:pt idx="1841">
                  <c:v>219.80719999999999</c:v>
                </c:pt>
                <c:pt idx="1842">
                  <c:v>283.06725</c:v>
                </c:pt>
                <c:pt idx="1843">
                  <c:v>218.13775000000001</c:v>
                </c:pt>
                <c:pt idx="1844">
                  <c:v>260.50959999999998</c:v>
                </c:pt>
                <c:pt idx="1845">
                  <c:v>200.96899999999999</c:v>
                </c:pt>
                <c:pt idx="1846">
                  <c:v>314.02640000000002</c:v>
                </c:pt>
                <c:pt idx="1847">
                  <c:v>277.33884999999998</c:v>
                </c:pt>
                <c:pt idx="1848">
                  <c:v>219.53885</c:v>
                </c:pt>
                <c:pt idx="1849">
                  <c:v>185.19839999999999</c:v>
                </c:pt>
                <c:pt idx="1850">
                  <c:v>216.84819999999999</c:v>
                </c:pt>
                <c:pt idx="1851">
                  <c:v>290.38319999999999</c:v>
                </c:pt>
                <c:pt idx="1852">
                  <c:v>165.32400000000001</c:v>
                </c:pt>
                <c:pt idx="1853">
                  <c:v>180.6208</c:v>
                </c:pt>
                <c:pt idx="1854">
                  <c:v>188.09479999999999</c:v>
                </c:pt>
                <c:pt idx="1855">
                  <c:v>315.54899999999998</c:v>
                </c:pt>
                <c:pt idx="1856">
                  <c:v>437.03</c:v>
                </c:pt>
                <c:pt idx="1857">
                  <c:v>527.98495000000003</c:v>
                </c:pt>
                <c:pt idx="1858">
                  <c:v>161.9118</c:v>
                </c:pt>
                <c:pt idx="1859">
                  <c:v>205.7415</c:v>
                </c:pt>
                <c:pt idx="1860">
                  <c:v>259.92155000000002</c:v>
                </c:pt>
                <c:pt idx="1861">
                  <c:v>338.01119999999997</c:v>
                </c:pt>
                <c:pt idx="1862">
                  <c:v>484.75920000000002</c:v>
                </c:pt>
                <c:pt idx="1863">
                  <c:v>347.50080000000003</c:v>
                </c:pt>
                <c:pt idx="1864">
                  <c:v>286.62150000000003</c:v>
                </c:pt>
                <c:pt idx="1865">
                  <c:v>262.94940000000003</c:v>
                </c:pt>
                <c:pt idx="1866">
                  <c:v>219.965</c:v>
                </c:pt>
                <c:pt idx="1867">
                  <c:v>205.08535000000001</c:v>
                </c:pt>
                <c:pt idx="1868">
                  <c:v>252.56880000000001</c:v>
                </c:pt>
                <c:pt idx="1869">
                  <c:v>184.74375000000001</c:v>
                </c:pt>
                <c:pt idx="1870">
                  <c:v>237.0669</c:v>
                </c:pt>
                <c:pt idx="1871">
                  <c:v>343.27120000000002</c:v>
                </c:pt>
                <c:pt idx="1872">
                  <c:v>684.98325</c:v>
                </c:pt>
                <c:pt idx="1873">
                  <c:v>857.15499999999997</c:v>
                </c:pt>
                <c:pt idx="1874">
                  <c:v>430.02300000000002</c:v>
                </c:pt>
                <c:pt idx="1875">
                  <c:v>602.90895</c:v>
                </c:pt>
                <c:pt idx="1876">
                  <c:v>406.35214999999999</c:v>
                </c:pt>
                <c:pt idx="1877">
                  <c:v>583.04610000000002</c:v>
                </c:pt>
                <c:pt idx="1878">
                  <c:v>465.71595000000002</c:v>
                </c:pt>
                <c:pt idx="1879">
                  <c:v>405.39640000000003</c:v>
                </c:pt>
                <c:pt idx="1880">
                  <c:v>278.09410000000003</c:v>
                </c:pt>
                <c:pt idx="1881">
                  <c:v>285.13729999999998</c:v>
                </c:pt>
                <c:pt idx="1882">
                  <c:v>336.55919999999998</c:v>
                </c:pt>
                <c:pt idx="1883">
                  <c:v>424.93119999999999</c:v>
                </c:pt>
                <c:pt idx="1884">
                  <c:v>273.17840000000001</c:v>
                </c:pt>
                <c:pt idx="1885">
                  <c:v>229.49639999999999</c:v>
                </c:pt>
                <c:pt idx="1886">
                  <c:v>216.08</c:v>
                </c:pt>
                <c:pt idx="1887">
                  <c:v>147.5856</c:v>
                </c:pt>
                <c:pt idx="1888">
                  <c:v>181.5264</c:v>
                </c:pt>
                <c:pt idx="1889">
                  <c:v>130.69880000000001</c:v>
                </c:pt>
                <c:pt idx="1890">
                  <c:v>135.07325</c:v>
                </c:pt>
                <c:pt idx="1891">
                  <c:v>150.33445</c:v>
                </c:pt>
                <c:pt idx="1892">
                  <c:v>224.35579999999999</c:v>
                </c:pt>
                <c:pt idx="1893">
                  <c:v>219.51840000000001</c:v>
                </c:pt>
                <c:pt idx="1894">
                  <c:v>176.715</c:v>
                </c:pt>
                <c:pt idx="1895">
                  <c:v>204.91890000000001</c:v>
                </c:pt>
                <c:pt idx="1896">
                  <c:v>242.1738</c:v>
                </c:pt>
                <c:pt idx="1897">
                  <c:v>192.4633</c:v>
                </c:pt>
                <c:pt idx="1898">
                  <c:v>162.76759999999999</c:v>
                </c:pt>
                <c:pt idx="1899">
                  <c:v>235.33685</c:v>
                </c:pt>
                <c:pt idx="1900">
                  <c:v>233.04</c:v>
                </c:pt>
                <c:pt idx="1901">
                  <c:v>236.64619999999999</c:v>
                </c:pt>
                <c:pt idx="1902">
                  <c:v>248.18039999999999</c:v>
                </c:pt>
                <c:pt idx="1903">
                  <c:v>198.60939999999999</c:v>
                </c:pt>
                <c:pt idx="1904">
                  <c:v>331.50040000000001</c:v>
                </c:pt>
                <c:pt idx="1905">
                  <c:v>255.79400000000001</c:v>
                </c:pt>
                <c:pt idx="1906">
                  <c:v>138.29669999999999</c:v>
                </c:pt>
                <c:pt idx="1907">
                  <c:v>278.38580000000002</c:v>
                </c:pt>
                <c:pt idx="1908">
                  <c:v>289.233</c:v>
                </c:pt>
                <c:pt idx="1909">
                  <c:v>329.15159999999997</c:v>
                </c:pt>
                <c:pt idx="1910">
                  <c:v>301.63780000000003</c:v>
                </c:pt>
                <c:pt idx="1911">
                  <c:v>542.29679999999996</c:v>
                </c:pt>
                <c:pt idx="1912">
                  <c:v>305.86484999999999</c:v>
                </c:pt>
                <c:pt idx="1913">
                  <c:v>398.8175</c:v>
                </c:pt>
                <c:pt idx="1914">
                  <c:v>261.00479999999999</c:v>
                </c:pt>
                <c:pt idx="1915">
                  <c:v>393.58760000000001</c:v>
                </c:pt>
                <c:pt idx="1916">
                  <c:v>341.85250000000002</c:v>
                </c:pt>
                <c:pt idx="1917">
                  <c:v>408.78879999999992</c:v>
                </c:pt>
                <c:pt idx="1918">
                  <c:v>299.34300000000002</c:v>
                </c:pt>
                <c:pt idx="1919">
                  <c:v>430.21060000000006</c:v>
                </c:pt>
                <c:pt idx="1920">
                  <c:v>485.83350000000002</c:v>
                </c:pt>
                <c:pt idx="1921">
                  <c:v>641.52359999999999</c:v>
                </c:pt>
                <c:pt idx="1922">
                  <c:v>884.34540000000004</c:v>
                </c:pt>
                <c:pt idx="1923">
                  <c:v>1166.22</c:v>
                </c:pt>
                <c:pt idx="1924">
                  <c:v>1501.6664000000001</c:v>
                </c:pt>
                <c:pt idx="1925">
                  <c:v>1868.1875</c:v>
                </c:pt>
                <c:pt idx="1926">
                  <c:v>1253.0075999999999</c:v>
                </c:pt>
                <c:pt idx="1927">
                  <c:v>494.85519999999997</c:v>
                </c:pt>
                <c:pt idx="1928">
                  <c:v>397.5</c:v>
                </c:pt>
                <c:pt idx="1929">
                  <c:v>555.56230000000005</c:v>
                </c:pt>
                <c:pt idx="1930">
                  <c:v>542.61779999999999</c:v>
                </c:pt>
                <c:pt idx="1931">
                  <c:v>450.904</c:v>
                </c:pt>
                <c:pt idx="1932">
                  <c:v>317.81375000000003</c:v>
                </c:pt>
                <c:pt idx="1933">
                  <c:v>391.94749999999999</c:v>
                </c:pt>
                <c:pt idx="1934">
                  <c:v>317.43225000000001</c:v>
                </c:pt>
                <c:pt idx="1935">
                  <c:v>435.69299999999998</c:v>
                </c:pt>
                <c:pt idx="1936">
                  <c:v>309.85899999999998</c:v>
                </c:pt>
                <c:pt idx="1937">
                  <c:v>225.20400000000001</c:v>
                </c:pt>
                <c:pt idx="1938">
                  <c:v>292.19600000000003</c:v>
                </c:pt>
                <c:pt idx="1939">
                  <c:v>366.48975000000002</c:v>
                </c:pt>
                <c:pt idx="1940">
                  <c:v>195.7405</c:v>
                </c:pt>
                <c:pt idx="1941">
                  <c:v>253.09800000000004</c:v>
                </c:pt>
                <c:pt idx="1942">
                  <c:v>252.92079999999996</c:v>
                </c:pt>
                <c:pt idx="1943">
                  <c:v>255.83484999999999</c:v>
                </c:pt>
                <c:pt idx="1944">
                  <c:v>281.87779999999998</c:v>
                </c:pt>
                <c:pt idx="1945">
                  <c:v>243.4289</c:v>
                </c:pt>
                <c:pt idx="1946">
                  <c:v>307.19</c:v>
                </c:pt>
                <c:pt idx="1947">
                  <c:v>300.464</c:v>
                </c:pt>
                <c:pt idx="1948">
                  <c:v>130.06979999999999</c:v>
                </c:pt>
                <c:pt idx="1949">
                  <c:v>193.9872</c:v>
                </c:pt>
                <c:pt idx="1950">
                  <c:v>189.87149999999997</c:v>
                </c:pt>
                <c:pt idx="1951">
                  <c:v>183.19475</c:v>
                </c:pt>
                <c:pt idx="1952">
                  <c:v>238.8288</c:v>
                </c:pt>
                <c:pt idx="1953">
                  <c:v>158.1824</c:v>
                </c:pt>
                <c:pt idx="1954">
                  <c:v>169.20439999999999</c:v>
                </c:pt>
                <c:pt idx="1955">
                  <c:v>151.30009999999999</c:v>
                </c:pt>
                <c:pt idx="1956">
                  <c:v>178.15299999999999</c:v>
                </c:pt>
                <c:pt idx="1957">
                  <c:v>290.89010000000002</c:v>
                </c:pt>
                <c:pt idx="1958">
                  <c:v>306.69380000000001</c:v>
                </c:pt>
                <c:pt idx="1959">
                  <c:v>230.07599999999999</c:v>
                </c:pt>
                <c:pt idx="1960">
                  <c:v>209.62335000000002</c:v>
                </c:pt>
                <c:pt idx="1961">
                  <c:v>228.52600000000001</c:v>
                </c:pt>
                <c:pt idx="1962">
                  <c:v>278.34300000000002</c:v>
                </c:pt>
                <c:pt idx="1963">
                  <c:v>379.81585000000007</c:v>
                </c:pt>
                <c:pt idx="1964">
                  <c:v>595.85199999999998</c:v>
                </c:pt>
                <c:pt idx="1965">
                  <c:v>1038.499</c:v>
                </c:pt>
                <c:pt idx="1966">
                  <c:v>1325.18685</c:v>
                </c:pt>
                <c:pt idx="1967">
                  <c:v>515.4837</c:v>
                </c:pt>
                <c:pt idx="1968">
                  <c:v>642.22154999999998</c:v>
                </c:pt>
                <c:pt idx="1969">
                  <c:v>552.25739999999996</c:v>
                </c:pt>
                <c:pt idx="1970">
                  <c:v>396.95780000000002</c:v>
                </c:pt>
                <c:pt idx="1971">
                  <c:v>393.52364999999998</c:v>
                </c:pt>
                <c:pt idx="1972">
                  <c:v>186.12100000000001</c:v>
                </c:pt>
                <c:pt idx="1973">
                  <c:v>203.89682499999998</c:v>
                </c:pt>
                <c:pt idx="1974">
                  <c:v>110.730875</c:v>
                </c:pt>
                <c:pt idx="1975">
                  <c:v>129.2731</c:v>
                </c:pt>
                <c:pt idx="1976">
                  <c:v>113.418875</c:v>
                </c:pt>
                <c:pt idx="1977">
                  <c:v>218.369</c:v>
                </c:pt>
                <c:pt idx="1978">
                  <c:v>254.78774999999999</c:v>
                </c:pt>
                <c:pt idx="1979">
                  <c:v>379.531925</c:v>
                </c:pt>
                <c:pt idx="1980">
                  <c:v>440.62932499999999</c:v>
                </c:pt>
                <c:pt idx="1981">
                  <c:v>579.84024999999997</c:v>
                </c:pt>
                <c:pt idx="1982">
                  <c:v>387.06082500000002</c:v>
                </c:pt>
                <c:pt idx="1983">
                  <c:v>369.7817</c:v>
                </c:pt>
                <c:pt idx="1984">
                  <c:v>456.32825000000008</c:v>
                </c:pt>
                <c:pt idx="1985">
                  <c:v>492.24494999999996</c:v>
                </c:pt>
                <c:pt idx="1986">
                  <c:v>673.51037499999995</c:v>
                </c:pt>
                <c:pt idx="1987">
                  <c:v>742.25675000000001</c:v>
                </c:pt>
                <c:pt idx="1988">
                  <c:v>548.86175000000003</c:v>
                </c:pt>
                <c:pt idx="1989">
                  <c:v>513.90157499999998</c:v>
                </c:pt>
                <c:pt idx="1990">
                  <c:v>395.75812500000001</c:v>
                </c:pt>
                <c:pt idx="1991">
                  <c:v>366.07347499999997</c:v>
                </c:pt>
                <c:pt idx="1992">
                  <c:v>363.56847499999998</c:v>
                </c:pt>
                <c:pt idx="1993">
                  <c:v>225.02775</c:v>
                </c:pt>
                <c:pt idx="1994">
                  <c:v>266.22739999999999</c:v>
                </c:pt>
                <c:pt idx="1995">
                  <c:v>273.9477</c:v>
                </c:pt>
                <c:pt idx="1996">
                  <c:v>301.55007499999999</c:v>
                </c:pt>
                <c:pt idx="1997">
                  <c:v>340.58634999999998</c:v>
                </c:pt>
                <c:pt idx="1998">
                  <c:v>410.5675</c:v>
                </c:pt>
                <c:pt idx="1999">
                  <c:v>459.96649999999994</c:v>
                </c:pt>
                <c:pt idx="2000">
                  <c:v>370.14</c:v>
                </c:pt>
                <c:pt idx="2001">
                  <c:v>328.0095</c:v>
                </c:pt>
                <c:pt idx="2002">
                  <c:v>290.34547500000002</c:v>
                </c:pt>
                <c:pt idx="2003">
                  <c:v>483.95159999999998</c:v>
                </c:pt>
                <c:pt idx="2004">
                  <c:v>220.14959999999999</c:v>
                </c:pt>
                <c:pt idx="2005">
                  <c:v>234.52180000000001</c:v>
                </c:pt>
                <c:pt idx="2006">
                  <c:v>243.96332500000003</c:v>
                </c:pt>
                <c:pt idx="2007">
                  <c:v>409.53447500000004</c:v>
                </c:pt>
                <c:pt idx="2008">
                  <c:v>345.47272500000003</c:v>
                </c:pt>
                <c:pt idx="2009">
                  <c:v>240.93632500000001</c:v>
                </c:pt>
                <c:pt idx="2010">
                  <c:v>217.37760000000003</c:v>
                </c:pt>
                <c:pt idx="2011">
                  <c:v>171.13877500000001</c:v>
                </c:pt>
                <c:pt idx="2012">
                  <c:v>235.968975</c:v>
                </c:pt>
                <c:pt idx="2013">
                  <c:v>143.16120000000001</c:v>
                </c:pt>
                <c:pt idx="2014">
                  <c:v>243.47537500000001</c:v>
                </c:pt>
                <c:pt idx="2015">
                  <c:v>381.58562499999999</c:v>
                </c:pt>
                <c:pt idx="2016">
                  <c:v>228.27487500000001</c:v>
                </c:pt>
                <c:pt idx="2017">
                  <c:v>221.70734999999999</c:v>
                </c:pt>
                <c:pt idx="2018">
                  <c:v>243.11359999999999</c:v>
                </c:pt>
                <c:pt idx="2019">
                  <c:v>222.66145000000003</c:v>
                </c:pt>
                <c:pt idx="2020">
                  <c:v>289.60487499999999</c:v>
                </c:pt>
                <c:pt idx="2021">
                  <c:v>239.05800000000002</c:v>
                </c:pt>
                <c:pt idx="2022">
                  <c:v>322.86380000000003</c:v>
                </c:pt>
                <c:pt idx="2023">
                  <c:v>269.19749999999999</c:v>
                </c:pt>
                <c:pt idx="2024">
                  <c:v>382.37115</c:v>
                </c:pt>
                <c:pt idx="2025">
                  <c:v>326.79764999999998</c:v>
                </c:pt>
                <c:pt idx="2026">
                  <c:v>256.417125</c:v>
                </c:pt>
                <c:pt idx="2027">
                  <c:v>369.41084999999998</c:v>
                </c:pt>
                <c:pt idx="2028">
                  <c:v>165.975075</c:v>
                </c:pt>
                <c:pt idx="2029">
                  <c:v>161.76509999999999</c:v>
                </c:pt>
                <c:pt idx="2030">
                  <c:v>314.63527499999998</c:v>
                </c:pt>
                <c:pt idx="2031">
                  <c:v>240.18312499999996</c:v>
                </c:pt>
                <c:pt idx="2032">
                  <c:v>356.08387499999998</c:v>
                </c:pt>
                <c:pt idx="2033">
                  <c:v>186.468625</c:v>
                </c:pt>
                <c:pt idx="2034">
                  <c:v>259.23554999999999</c:v>
                </c:pt>
                <c:pt idx="2035">
                  <c:v>357.52820000000003</c:v>
                </c:pt>
                <c:pt idx="2036">
                  <c:v>431.72859999999991</c:v>
                </c:pt>
                <c:pt idx="2037">
                  <c:v>167.86429999999999</c:v>
                </c:pt>
                <c:pt idx="2038">
                  <c:v>255.14445000000001</c:v>
                </c:pt>
                <c:pt idx="2039">
                  <c:v>240.992075</c:v>
                </c:pt>
                <c:pt idx="2040">
                  <c:v>299.70999999999998</c:v>
                </c:pt>
                <c:pt idx="2041">
                  <c:v>243.328125</c:v>
                </c:pt>
                <c:pt idx="2042">
                  <c:v>246.30584999999999</c:v>
                </c:pt>
                <c:pt idx="2043">
                  <c:v>250.59194999999997</c:v>
                </c:pt>
                <c:pt idx="2044">
                  <c:v>316.98270000000002</c:v>
                </c:pt>
                <c:pt idx="2045">
                  <c:v>319.56962499999997</c:v>
                </c:pt>
                <c:pt idx="2046">
                  <c:v>467.29690000000005</c:v>
                </c:pt>
                <c:pt idx="2047">
                  <c:v>245.31184999999999</c:v>
                </c:pt>
                <c:pt idx="2048">
                  <c:v>219.18892500000004</c:v>
                </c:pt>
                <c:pt idx="2049">
                  <c:v>143.90145000000001</c:v>
                </c:pt>
                <c:pt idx="2050">
                  <c:v>200.7621</c:v>
                </c:pt>
                <c:pt idx="2051">
                  <c:v>325.48087500000003</c:v>
                </c:pt>
                <c:pt idx="2052">
                  <c:v>170.57037500000001</c:v>
                </c:pt>
                <c:pt idx="2053">
                  <c:v>145.87649999999999</c:v>
                </c:pt>
                <c:pt idx="2054">
                  <c:v>172.47135</c:v>
                </c:pt>
                <c:pt idx="2055">
                  <c:v>123.89092499999998</c:v>
                </c:pt>
                <c:pt idx="2056">
                  <c:v>103.97167499999999</c:v>
                </c:pt>
                <c:pt idx="2057">
                  <c:v>174.00694999999999</c:v>
                </c:pt>
                <c:pt idx="2058">
                  <c:v>215.49459999999999</c:v>
                </c:pt>
                <c:pt idx="2059">
                  <c:v>290.66915</c:v>
                </c:pt>
                <c:pt idx="2060">
                  <c:v>250.25212500000001</c:v>
                </c:pt>
                <c:pt idx="2061">
                  <c:v>236.408075</c:v>
                </c:pt>
                <c:pt idx="2062">
                  <c:v>161.325175</c:v>
                </c:pt>
                <c:pt idx="2063">
                  <c:v>296.58005000000003</c:v>
                </c:pt>
                <c:pt idx="2064">
                  <c:v>336.05302499999999</c:v>
                </c:pt>
                <c:pt idx="2065">
                  <c:v>245.966375</c:v>
                </c:pt>
                <c:pt idx="2066">
                  <c:v>439.89082499999995</c:v>
                </c:pt>
                <c:pt idx="2067">
                  <c:v>233.191125</c:v>
                </c:pt>
                <c:pt idx="2068">
                  <c:v>249.56645000000003</c:v>
                </c:pt>
                <c:pt idx="2069">
                  <c:v>216.48137499999996</c:v>
                </c:pt>
                <c:pt idx="2070">
                  <c:v>267.60337500000003</c:v>
                </c:pt>
                <c:pt idx="2071">
                  <c:v>436.41224999999997</c:v>
                </c:pt>
                <c:pt idx="2072">
                  <c:v>239.73249999999999</c:v>
                </c:pt>
                <c:pt idx="2073">
                  <c:v>178.24302500000002</c:v>
                </c:pt>
                <c:pt idx="2074">
                  <c:v>209.3244</c:v>
                </c:pt>
                <c:pt idx="2075">
                  <c:v>133.54079999999999</c:v>
                </c:pt>
                <c:pt idx="2076">
                  <c:v>161.76862499999999</c:v>
                </c:pt>
                <c:pt idx="2077">
                  <c:v>281.32159999999999</c:v>
                </c:pt>
                <c:pt idx="2078">
                  <c:v>172.016525</c:v>
                </c:pt>
                <c:pt idx="2079">
                  <c:v>132.47737499999999</c:v>
                </c:pt>
                <c:pt idx="2080">
                  <c:v>181.44697500000001</c:v>
                </c:pt>
                <c:pt idx="2081">
                  <c:v>174.39375000000001</c:v>
                </c:pt>
                <c:pt idx="2082">
                  <c:v>186.46600000000001</c:v>
                </c:pt>
                <c:pt idx="2083">
                  <c:v>219.50595000000001</c:v>
                </c:pt>
                <c:pt idx="2084">
                  <c:v>389.84480000000002</c:v>
                </c:pt>
                <c:pt idx="2085">
                  <c:v>300.846</c:v>
                </c:pt>
                <c:pt idx="2086">
                  <c:v>160.65</c:v>
                </c:pt>
                <c:pt idx="2087">
                  <c:v>218.57589999999999</c:v>
                </c:pt>
                <c:pt idx="2088">
                  <c:v>375.37322499999999</c:v>
                </c:pt>
                <c:pt idx="2089">
                  <c:v>315.64942500000001</c:v>
                </c:pt>
                <c:pt idx="2090">
                  <c:v>425.69815</c:v>
                </c:pt>
                <c:pt idx="2091">
                  <c:v>359.215125</c:v>
                </c:pt>
                <c:pt idx="2092">
                  <c:v>190.98572500000003</c:v>
                </c:pt>
                <c:pt idx="2093">
                  <c:v>228.73087499999997</c:v>
                </c:pt>
                <c:pt idx="2094">
                  <c:v>219.61625000000001</c:v>
                </c:pt>
                <c:pt idx="2095">
                  <c:v>175.17375000000001</c:v>
                </c:pt>
                <c:pt idx="2096">
                  <c:v>175.21622500000001</c:v>
                </c:pt>
                <c:pt idx="2097">
                  <c:v>133.51894999999999</c:v>
                </c:pt>
                <c:pt idx="2098">
                  <c:v>187.90312499999999</c:v>
                </c:pt>
                <c:pt idx="2099">
                  <c:v>193.58185</c:v>
                </c:pt>
                <c:pt idx="2100">
                  <c:v>195.84690000000001</c:v>
                </c:pt>
                <c:pt idx="2101">
                  <c:v>624.89962500000001</c:v>
                </c:pt>
                <c:pt idx="2102">
                  <c:v>562.81912499999999</c:v>
                </c:pt>
                <c:pt idx="2103">
                  <c:v>351.704925</c:v>
                </c:pt>
                <c:pt idx="2104">
                  <c:v>438.8664</c:v>
                </c:pt>
                <c:pt idx="2105">
                  <c:v>408.55762499999997</c:v>
                </c:pt>
                <c:pt idx="2106">
                  <c:v>479.75627500000002</c:v>
                </c:pt>
                <c:pt idx="2107">
                  <c:v>470.86824999999999</c:v>
                </c:pt>
                <c:pt idx="2108">
                  <c:v>360.20749999999998</c:v>
                </c:pt>
                <c:pt idx="2109">
                  <c:v>431.34322500000002</c:v>
                </c:pt>
                <c:pt idx="2110">
                  <c:v>375.88457500000004</c:v>
                </c:pt>
                <c:pt idx="2111">
                  <c:v>365.42257499999994</c:v>
                </c:pt>
                <c:pt idx="2112">
                  <c:v>386.60374999999999</c:v>
                </c:pt>
                <c:pt idx="2113">
                  <c:v>341.57119999999998</c:v>
                </c:pt>
                <c:pt idx="2114">
                  <c:v>220.60835</c:v>
                </c:pt>
                <c:pt idx="2115">
                  <c:v>148.99430000000001</c:v>
                </c:pt>
                <c:pt idx="2116">
                  <c:v>152.0181</c:v>
                </c:pt>
                <c:pt idx="2117">
                  <c:v>174.07617500000001</c:v>
                </c:pt>
                <c:pt idx="2118">
                  <c:v>265.38322499999998</c:v>
                </c:pt>
                <c:pt idx="2119">
                  <c:v>232.89060000000003</c:v>
                </c:pt>
                <c:pt idx="2120">
                  <c:v>274.724175</c:v>
                </c:pt>
                <c:pt idx="2121">
                  <c:v>248.5127</c:v>
                </c:pt>
                <c:pt idx="2122">
                  <c:v>226.35294999999999</c:v>
                </c:pt>
                <c:pt idx="2123">
                  <c:v>154.28784999999999</c:v>
                </c:pt>
                <c:pt idx="2124">
                  <c:v>198.57447500000001</c:v>
                </c:pt>
                <c:pt idx="2125">
                  <c:v>228.18725000000001</c:v>
                </c:pt>
                <c:pt idx="2126">
                  <c:v>223.36245</c:v>
                </c:pt>
                <c:pt idx="2127">
                  <c:v>299.15112499999998</c:v>
                </c:pt>
                <c:pt idx="2128">
                  <c:v>352.31577499999997</c:v>
                </c:pt>
                <c:pt idx="2129">
                  <c:v>268.59105</c:v>
                </c:pt>
                <c:pt idx="2130">
                  <c:v>267.62220000000002</c:v>
                </c:pt>
                <c:pt idx="2131">
                  <c:v>301.74712499999998</c:v>
                </c:pt>
                <c:pt idx="2132">
                  <c:v>500.82932499999993</c:v>
                </c:pt>
                <c:pt idx="2133">
                  <c:v>242.935125</c:v>
                </c:pt>
                <c:pt idx="2134">
                  <c:v>262.91654999999997</c:v>
                </c:pt>
                <c:pt idx="2135">
                  <c:v>166.971475</c:v>
                </c:pt>
                <c:pt idx="2136">
                  <c:v>111.43690000000001</c:v>
                </c:pt>
                <c:pt idx="2137">
                  <c:v>284.99400000000003</c:v>
                </c:pt>
                <c:pt idx="2138">
                  <c:v>379.80165000000005</c:v>
                </c:pt>
                <c:pt idx="2139">
                  <c:v>900.78369999999995</c:v>
                </c:pt>
                <c:pt idx="2140">
                  <c:v>1384.0185750000001</c:v>
                </c:pt>
                <c:pt idx="2141">
                  <c:v>1078.6347000000001</c:v>
                </c:pt>
                <c:pt idx="2142">
                  <c:v>775.88182500000005</c:v>
                </c:pt>
                <c:pt idx="2143">
                  <c:v>567.26350000000002</c:v>
                </c:pt>
                <c:pt idx="2144">
                  <c:v>526.46624999999995</c:v>
                </c:pt>
                <c:pt idx="2145">
                  <c:v>422.01479999999998</c:v>
                </c:pt>
                <c:pt idx="2146">
                  <c:v>645.22657500000003</c:v>
                </c:pt>
                <c:pt idx="2147">
                  <c:v>570.56857500000001</c:v>
                </c:pt>
                <c:pt idx="2148">
                  <c:v>601.695875</c:v>
                </c:pt>
                <c:pt idx="2149">
                  <c:v>515.36879999999996</c:v>
                </c:pt>
                <c:pt idx="2150">
                  <c:v>205.07675</c:v>
                </c:pt>
                <c:pt idx="2151">
                  <c:v>199.86750000000001</c:v>
                </c:pt>
                <c:pt idx="2152">
                  <c:v>273.928425</c:v>
                </c:pt>
                <c:pt idx="2153">
                  <c:v>234.59017499999999</c:v>
                </c:pt>
                <c:pt idx="2154">
                  <c:v>197.61600000000001</c:v>
                </c:pt>
                <c:pt idx="2155">
                  <c:v>452.86312500000003</c:v>
                </c:pt>
                <c:pt idx="2156">
                  <c:v>441.59024999999991</c:v>
                </c:pt>
                <c:pt idx="2157">
                  <c:v>591.04027499999995</c:v>
                </c:pt>
                <c:pt idx="2158">
                  <c:v>460.49119999999999</c:v>
                </c:pt>
                <c:pt idx="2159">
                  <c:v>336.40424999999999</c:v>
                </c:pt>
                <c:pt idx="2160">
                  <c:v>495.30112500000001</c:v>
                </c:pt>
                <c:pt idx="2161">
                  <c:v>324.70549999999997</c:v>
                </c:pt>
                <c:pt idx="2162">
                  <c:v>365.46300000000002</c:v>
                </c:pt>
                <c:pt idx="2163">
                  <c:v>293.5625</c:v>
                </c:pt>
                <c:pt idx="2164">
                  <c:v>385.60107499999998</c:v>
                </c:pt>
                <c:pt idx="2165">
                  <c:v>485.74960000000004</c:v>
                </c:pt>
                <c:pt idx="2166">
                  <c:v>333.02685000000002</c:v>
                </c:pt>
                <c:pt idx="2167">
                  <c:v>332.75375000000003</c:v>
                </c:pt>
                <c:pt idx="2168">
                  <c:v>310.04244999999997</c:v>
                </c:pt>
                <c:pt idx="2169">
                  <c:v>377.73065000000003</c:v>
                </c:pt>
                <c:pt idx="2170">
                  <c:v>249.24182500000001</c:v>
                </c:pt>
                <c:pt idx="2171">
                  <c:v>216.26202500000002</c:v>
                </c:pt>
                <c:pt idx="2172">
                  <c:v>296.43847499999998</c:v>
                </c:pt>
                <c:pt idx="2173">
                  <c:v>294.54424999999998</c:v>
                </c:pt>
                <c:pt idx="2174">
                  <c:v>298.95495</c:v>
                </c:pt>
                <c:pt idx="2175">
                  <c:v>443.65877499999999</c:v>
                </c:pt>
                <c:pt idx="2176">
                  <c:v>363.26024999999998</c:v>
                </c:pt>
                <c:pt idx="2177">
                  <c:v>427.8621</c:v>
                </c:pt>
                <c:pt idx="2178">
                  <c:v>400.69135000000006</c:v>
                </c:pt>
                <c:pt idx="2179">
                  <c:v>197.73022499999999</c:v>
                </c:pt>
                <c:pt idx="2180">
                  <c:v>196.48419999999999</c:v>
                </c:pt>
                <c:pt idx="2181">
                  <c:v>226.06677500000004</c:v>
                </c:pt>
                <c:pt idx="2182">
                  <c:v>209.67420000000001</c:v>
                </c:pt>
                <c:pt idx="2183">
                  <c:v>213.93872499999998</c:v>
                </c:pt>
                <c:pt idx="2184">
                  <c:v>163.71555000000001</c:v>
                </c:pt>
                <c:pt idx="2185">
                  <c:v>209.196</c:v>
                </c:pt>
                <c:pt idx="2186">
                  <c:v>232.16205000000002</c:v>
                </c:pt>
                <c:pt idx="2187">
                  <c:v>145.63024999999999</c:v>
                </c:pt>
                <c:pt idx="2188">
                  <c:v>183.803775</c:v>
                </c:pt>
                <c:pt idx="2189">
                  <c:v>171.62232499999999</c:v>
                </c:pt>
                <c:pt idx="2190">
                  <c:v>164.68537499999999</c:v>
                </c:pt>
                <c:pt idx="2191">
                  <c:v>204.94130000000001</c:v>
                </c:pt>
                <c:pt idx="2192">
                  <c:v>214.11494999999999</c:v>
                </c:pt>
                <c:pt idx="2193">
                  <c:v>363.6078</c:v>
                </c:pt>
                <c:pt idx="2194">
                  <c:v>381.65362499999998</c:v>
                </c:pt>
                <c:pt idx="2195">
                  <c:v>266.15015</c:v>
                </c:pt>
                <c:pt idx="2196">
                  <c:v>233.33347500000002</c:v>
                </c:pt>
                <c:pt idx="2197">
                  <c:v>379.13400000000001</c:v>
                </c:pt>
                <c:pt idx="2198">
                  <c:v>514.95849999999996</c:v>
                </c:pt>
                <c:pt idx="2199">
                  <c:v>209.70124999999999</c:v>
                </c:pt>
                <c:pt idx="2200">
                  <c:v>256.31222500000001</c:v>
                </c:pt>
                <c:pt idx="2201">
                  <c:v>264.50219999999996</c:v>
                </c:pt>
                <c:pt idx="2202">
                  <c:v>186.25432499999999</c:v>
                </c:pt>
                <c:pt idx="2203">
                  <c:v>216.89262500000001</c:v>
                </c:pt>
                <c:pt idx="2204">
                  <c:v>191.38252499999999</c:v>
                </c:pt>
                <c:pt idx="2205">
                  <c:v>278.292125</c:v>
                </c:pt>
                <c:pt idx="2206">
                  <c:v>156.94380000000001</c:v>
                </c:pt>
                <c:pt idx="2207">
                  <c:v>96.587100000000007</c:v>
                </c:pt>
                <c:pt idx="2208">
                  <c:v>149.62902500000001</c:v>
                </c:pt>
                <c:pt idx="2209">
                  <c:v>221.060125</c:v>
                </c:pt>
                <c:pt idx="2210">
                  <c:v>397.45080000000007</c:v>
                </c:pt>
                <c:pt idx="2211">
                  <c:v>379.187275</c:v>
                </c:pt>
                <c:pt idx="2212">
                  <c:v>322.485275</c:v>
                </c:pt>
                <c:pt idx="2213">
                  <c:v>194.33625000000001</c:v>
                </c:pt>
                <c:pt idx="2214">
                  <c:v>330.92815000000002</c:v>
                </c:pt>
                <c:pt idx="2215">
                  <c:v>391.89929999999998</c:v>
                </c:pt>
                <c:pt idx="2216">
                  <c:v>332.14612499999998</c:v>
                </c:pt>
                <c:pt idx="2217">
                  <c:v>840.23837500000002</c:v>
                </c:pt>
                <c:pt idx="2218">
                  <c:v>363.9735</c:v>
                </c:pt>
                <c:pt idx="2219">
                  <c:v>196.90812500000001</c:v>
                </c:pt>
                <c:pt idx="2220">
                  <c:v>322.70909999999998</c:v>
                </c:pt>
                <c:pt idx="2221">
                  <c:v>282.34365000000003</c:v>
                </c:pt>
                <c:pt idx="2222">
                  <c:v>259.53305</c:v>
                </c:pt>
                <c:pt idx="2223">
                  <c:v>165.53295</c:v>
                </c:pt>
                <c:pt idx="2224">
                  <c:v>211.0659</c:v>
                </c:pt>
                <c:pt idx="2225">
                  <c:v>153.98224999999999</c:v>
                </c:pt>
                <c:pt idx="2226">
                  <c:v>53.715200000000003</c:v>
                </c:pt>
                <c:pt idx="2227">
                  <c:v>134.65017499999999</c:v>
                </c:pt>
                <c:pt idx="2228">
                  <c:v>133.277725</c:v>
                </c:pt>
                <c:pt idx="2229">
                  <c:v>117.73242500000001</c:v>
                </c:pt>
                <c:pt idx="2230">
                  <c:v>144.0573</c:v>
                </c:pt>
                <c:pt idx="2231">
                  <c:v>417.91309999999993</c:v>
                </c:pt>
                <c:pt idx="2232">
                  <c:v>353.87457499999999</c:v>
                </c:pt>
                <c:pt idx="2233">
                  <c:v>423.64210000000003</c:v>
                </c:pt>
                <c:pt idx="2234">
                  <c:v>744.42830000000004</c:v>
                </c:pt>
                <c:pt idx="2235">
                  <c:v>566.52007500000002</c:v>
                </c:pt>
                <c:pt idx="2236">
                  <c:v>796.41954999999996</c:v>
                </c:pt>
                <c:pt idx="2237">
                  <c:v>545.75924999999995</c:v>
                </c:pt>
                <c:pt idx="2238">
                  <c:v>657.23445000000004</c:v>
                </c:pt>
                <c:pt idx="2239">
                  <c:v>669.24374999999998</c:v>
                </c:pt>
                <c:pt idx="2240">
                  <c:v>1211.1401499999999</c:v>
                </c:pt>
                <c:pt idx="2241">
                  <c:v>436.854375</c:v>
                </c:pt>
                <c:pt idx="2242">
                  <c:v>640.13197500000001</c:v>
                </c:pt>
                <c:pt idx="2243">
                  <c:v>491.82445000000001</c:v>
                </c:pt>
                <c:pt idx="2244">
                  <c:v>418.29917499999999</c:v>
                </c:pt>
                <c:pt idx="2245">
                  <c:v>319.52370000000002</c:v>
                </c:pt>
                <c:pt idx="2246">
                  <c:v>361.25700000000001</c:v>
                </c:pt>
                <c:pt idx="2247">
                  <c:v>326.92815000000002</c:v>
                </c:pt>
                <c:pt idx="2248">
                  <c:v>252.71899999999999</c:v>
                </c:pt>
                <c:pt idx="2249">
                  <c:v>298.01639999999998</c:v>
                </c:pt>
                <c:pt idx="2250">
                  <c:v>297.04387500000001</c:v>
                </c:pt>
                <c:pt idx="2251">
                  <c:v>320.81787500000002</c:v>
                </c:pt>
                <c:pt idx="2252">
                  <c:v>434.43599999999998</c:v>
                </c:pt>
                <c:pt idx="2253">
                  <c:v>364.01887499999998</c:v>
                </c:pt>
                <c:pt idx="2254">
                  <c:v>549.64882499999999</c:v>
                </c:pt>
                <c:pt idx="2255">
                  <c:v>482.521275</c:v>
                </c:pt>
                <c:pt idx="2256">
                  <c:v>562.81169999999997</c:v>
                </c:pt>
                <c:pt idx="2257">
                  <c:v>497.59269999999998</c:v>
                </c:pt>
                <c:pt idx="2258">
                  <c:v>984.75877500000001</c:v>
                </c:pt>
                <c:pt idx="2259">
                  <c:v>636.30909999999994</c:v>
                </c:pt>
                <c:pt idx="2260">
                  <c:v>303.01569999999998</c:v>
                </c:pt>
                <c:pt idx="2261">
                  <c:v>330.38785000000001</c:v>
                </c:pt>
                <c:pt idx="2262">
                  <c:v>372.36642499999999</c:v>
                </c:pt>
                <c:pt idx="2263">
                  <c:v>278.69324999999998</c:v>
                </c:pt>
                <c:pt idx="2264">
                  <c:v>248.38979999999998</c:v>
                </c:pt>
                <c:pt idx="2265">
                  <c:v>310.03320000000002</c:v>
                </c:pt>
                <c:pt idx="2266">
                  <c:v>354.57</c:v>
                </c:pt>
                <c:pt idx="2267">
                  <c:v>255.75825</c:v>
                </c:pt>
                <c:pt idx="2268">
                  <c:v>292.82487500000002</c:v>
                </c:pt>
                <c:pt idx="2269">
                  <c:v>256.32799999999997</c:v>
                </c:pt>
                <c:pt idx="2270">
                  <c:v>296.79790000000003</c:v>
                </c:pt>
                <c:pt idx="2271">
                  <c:v>279.95330000000001</c:v>
                </c:pt>
                <c:pt idx="2272">
                  <c:v>269.005</c:v>
                </c:pt>
                <c:pt idx="2273">
                  <c:v>277.53904999999997</c:v>
                </c:pt>
                <c:pt idx="2274">
                  <c:v>209.12392500000001</c:v>
                </c:pt>
                <c:pt idx="2275">
                  <c:v>332.02679999999998</c:v>
                </c:pt>
                <c:pt idx="2276">
                  <c:v>291.22219999999999</c:v>
                </c:pt>
                <c:pt idx="2277">
                  <c:v>483.72527500000001</c:v>
                </c:pt>
                <c:pt idx="2278">
                  <c:v>426.95549999999997</c:v>
                </c:pt>
                <c:pt idx="2279">
                  <c:v>130.61652500000002</c:v>
                </c:pt>
                <c:pt idx="2280">
                  <c:v>205.77029999999999</c:v>
                </c:pt>
                <c:pt idx="2281">
                  <c:v>307.60469999999998</c:v>
                </c:pt>
                <c:pt idx="2282">
                  <c:v>283.26870000000002</c:v>
                </c:pt>
                <c:pt idx="2283">
                  <c:v>197.39429999999999</c:v>
                </c:pt>
                <c:pt idx="2284">
                  <c:v>160.64814999999999</c:v>
                </c:pt>
                <c:pt idx="2285">
                  <c:v>220.761775</c:v>
                </c:pt>
                <c:pt idx="2286">
                  <c:v>201.77099999999999</c:v>
                </c:pt>
                <c:pt idx="2287">
                  <c:v>241.60727499999999</c:v>
                </c:pt>
                <c:pt idx="2288">
                  <c:v>172.514475</c:v>
                </c:pt>
                <c:pt idx="2289">
                  <c:v>275.89415000000002</c:v>
                </c:pt>
                <c:pt idx="2290">
                  <c:v>349.98862500000001</c:v>
                </c:pt>
                <c:pt idx="2291">
                  <c:v>266.64659999999998</c:v>
                </c:pt>
                <c:pt idx="2292">
                  <c:v>315.00490000000002</c:v>
                </c:pt>
                <c:pt idx="2293">
                  <c:v>277.79372499999999</c:v>
                </c:pt>
                <c:pt idx="2294">
                  <c:v>420.25274999999999</c:v>
                </c:pt>
                <c:pt idx="2295">
                  <c:v>387.51877500000001</c:v>
                </c:pt>
                <c:pt idx="2296">
                  <c:v>450.244575</c:v>
                </c:pt>
                <c:pt idx="2297">
                  <c:v>393.80484999999999</c:v>
                </c:pt>
                <c:pt idx="2298">
                  <c:v>334.6721</c:v>
                </c:pt>
                <c:pt idx="2299">
                  <c:v>501.23420000000004</c:v>
                </c:pt>
                <c:pt idx="2300">
                  <c:v>439.02850000000001</c:v>
                </c:pt>
                <c:pt idx="2301">
                  <c:v>370.42590000000001</c:v>
                </c:pt>
                <c:pt idx="2302">
                  <c:v>576.19830000000002</c:v>
                </c:pt>
                <c:pt idx="2303">
                  <c:v>305.64974999999998</c:v>
                </c:pt>
                <c:pt idx="2304">
                  <c:v>290.416425</c:v>
                </c:pt>
                <c:pt idx="2305">
                  <c:v>306.18270000000001</c:v>
                </c:pt>
                <c:pt idx="2306">
                  <c:v>370.32029999999997</c:v>
                </c:pt>
                <c:pt idx="2307">
                  <c:v>246.58012500000004</c:v>
                </c:pt>
                <c:pt idx="2308">
                  <c:v>266.96587499999998</c:v>
                </c:pt>
                <c:pt idx="2309">
                  <c:v>193.54499999999999</c:v>
                </c:pt>
                <c:pt idx="2310">
                  <c:v>234.15350000000001</c:v>
                </c:pt>
                <c:pt idx="2311">
                  <c:v>269.39</c:v>
                </c:pt>
                <c:pt idx="2312">
                  <c:v>537.70202500000005</c:v>
                </c:pt>
                <c:pt idx="2313">
                  <c:v>303.06087500000001</c:v>
                </c:pt>
                <c:pt idx="2314">
                  <c:v>352.46867500000002</c:v>
                </c:pt>
                <c:pt idx="2315">
                  <c:v>314.46642500000002</c:v>
                </c:pt>
                <c:pt idx="2316">
                  <c:v>297.08817499999998</c:v>
                </c:pt>
                <c:pt idx="2317">
                  <c:v>378.2045</c:v>
                </c:pt>
                <c:pt idx="2318">
                  <c:v>419.80949999999996</c:v>
                </c:pt>
                <c:pt idx="2319">
                  <c:v>429.98715000000004</c:v>
                </c:pt>
                <c:pt idx="2320">
                  <c:v>372.934575</c:v>
                </c:pt>
                <c:pt idx="2321">
                  <c:v>493.05027499999994</c:v>
                </c:pt>
                <c:pt idx="2322">
                  <c:v>529.51417500000002</c:v>
                </c:pt>
                <c:pt idx="2323">
                  <c:v>163.33035000000001</c:v>
                </c:pt>
                <c:pt idx="2324">
                  <c:v>251.53799999999998</c:v>
                </c:pt>
                <c:pt idx="2325">
                  <c:v>468.15562499999999</c:v>
                </c:pt>
              </c:numCache>
            </c:numRef>
          </c:val>
          <c:smooth val="0"/>
          <c:extLst xmlns:c16r2="http://schemas.microsoft.com/office/drawing/2015/06/chart">
            <c:ext xmlns:c16="http://schemas.microsoft.com/office/drawing/2014/chart" uri="{C3380CC4-5D6E-409C-BE32-E72D297353CC}">
              <c16:uniqueId val="{00000002-D32F-411E-8D19-FB25DBF8795E}"/>
            </c:ext>
          </c:extLst>
        </c:ser>
        <c:ser>
          <c:idx val="3"/>
          <c:order val="3"/>
          <c:tx>
            <c:strRef>
              <c:f>'Vix futures volumes'!$AM$4</c:f>
              <c:strCache>
                <c:ptCount val="1"/>
                <c:pt idx="0">
                  <c:v>4th Nearby future</c:v>
                </c:pt>
              </c:strCache>
            </c:strRef>
          </c:tx>
          <c:marker>
            <c:symbol val="none"/>
          </c:marker>
          <c:cat>
            <c:numRef>
              <c:f>'Vix futures volumes'!$AI$5:$AI$2330</c:f>
              <c:numCache>
                <c:formatCode>m/d/yyyy</c:formatCode>
                <c:ptCount val="2326"/>
                <c:pt idx="0">
                  <c:v>39085</c:v>
                </c:pt>
                <c:pt idx="1">
                  <c:v>39086</c:v>
                </c:pt>
                <c:pt idx="2">
                  <c:v>39087</c:v>
                </c:pt>
                <c:pt idx="3">
                  <c:v>39090</c:v>
                </c:pt>
                <c:pt idx="4">
                  <c:v>39091</c:v>
                </c:pt>
                <c:pt idx="5">
                  <c:v>39092</c:v>
                </c:pt>
                <c:pt idx="6">
                  <c:v>39093</c:v>
                </c:pt>
                <c:pt idx="7">
                  <c:v>39094</c:v>
                </c:pt>
                <c:pt idx="8">
                  <c:v>39098</c:v>
                </c:pt>
                <c:pt idx="9">
                  <c:v>39099</c:v>
                </c:pt>
                <c:pt idx="10">
                  <c:v>39100</c:v>
                </c:pt>
                <c:pt idx="11">
                  <c:v>39101</c:v>
                </c:pt>
                <c:pt idx="12">
                  <c:v>39105</c:v>
                </c:pt>
                <c:pt idx="13">
                  <c:v>39106</c:v>
                </c:pt>
                <c:pt idx="14">
                  <c:v>39107</c:v>
                </c:pt>
                <c:pt idx="15">
                  <c:v>39114</c:v>
                </c:pt>
                <c:pt idx="16">
                  <c:v>39119</c:v>
                </c:pt>
                <c:pt idx="17">
                  <c:v>39121</c:v>
                </c:pt>
                <c:pt idx="18">
                  <c:v>39122</c:v>
                </c:pt>
                <c:pt idx="19">
                  <c:v>39125</c:v>
                </c:pt>
                <c:pt idx="20">
                  <c:v>39127</c:v>
                </c:pt>
                <c:pt idx="21">
                  <c:v>39128</c:v>
                </c:pt>
                <c:pt idx="22">
                  <c:v>39133</c:v>
                </c:pt>
                <c:pt idx="23">
                  <c:v>39134</c:v>
                </c:pt>
                <c:pt idx="24">
                  <c:v>39135</c:v>
                </c:pt>
                <c:pt idx="25">
                  <c:v>39136</c:v>
                </c:pt>
                <c:pt idx="26">
                  <c:v>39140</c:v>
                </c:pt>
                <c:pt idx="27">
                  <c:v>39141</c:v>
                </c:pt>
                <c:pt idx="28">
                  <c:v>39142</c:v>
                </c:pt>
                <c:pt idx="29">
                  <c:v>39143</c:v>
                </c:pt>
                <c:pt idx="30">
                  <c:v>39146</c:v>
                </c:pt>
                <c:pt idx="31">
                  <c:v>39147</c:v>
                </c:pt>
                <c:pt idx="32">
                  <c:v>39154</c:v>
                </c:pt>
                <c:pt idx="33">
                  <c:v>39155</c:v>
                </c:pt>
                <c:pt idx="34">
                  <c:v>39157</c:v>
                </c:pt>
                <c:pt idx="35">
                  <c:v>39160</c:v>
                </c:pt>
                <c:pt idx="36">
                  <c:v>39162</c:v>
                </c:pt>
                <c:pt idx="37">
                  <c:v>39163</c:v>
                </c:pt>
                <c:pt idx="38">
                  <c:v>39164</c:v>
                </c:pt>
                <c:pt idx="39">
                  <c:v>39167</c:v>
                </c:pt>
                <c:pt idx="40">
                  <c:v>39168</c:v>
                </c:pt>
                <c:pt idx="41">
                  <c:v>39169</c:v>
                </c:pt>
                <c:pt idx="42">
                  <c:v>39170</c:v>
                </c:pt>
                <c:pt idx="43">
                  <c:v>39171</c:v>
                </c:pt>
                <c:pt idx="44">
                  <c:v>39174</c:v>
                </c:pt>
                <c:pt idx="45">
                  <c:v>39175</c:v>
                </c:pt>
                <c:pt idx="46">
                  <c:v>39176</c:v>
                </c:pt>
                <c:pt idx="47">
                  <c:v>39177</c:v>
                </c:pt>
                <c:pt idx="48">
                  <c:v>39181</c:v>
                </c:pt>
                <c:pt idx="49">
                  <c:v>39182</c:v>
                </c:pt>
                <c:pt idx="50">
                  <c:v>39183</c:v>
                </c:pt>
                <c:pt idx="51">
                  <c:v>39184</c:v>
                </c:pt>
                <c:pt idx="52">
                  <c:v>39189</c:v>
                </c:pt>
                <c:pt idx="53">
                  <c:v>39192</c:v>
                </c:pt>
                <c:pt idx="54">
                  <c:v>39195</c:v>
                </c:pt>
                <c:pt idx="55">
                  <c:v>39196</c:v>
                </c:pt>
                <c:pt idx="56">
                  <c:v>39198</c:v>
                </c:pt>
                <c:pt idx="57">
                  <c:v>39199</c:v>
                </c:pt>
                <c:pt idx="58">
                  <c:v>39202</c:v>
                </c:pt>
                <c:pt idx="59">
                  <c:v>39203</c:v>
                </c:pt>
                <c:pt idx="60">
                  <c:v>39205</c:v>
                </c:pt>
                <c:pt idx="61">
                  <c:v>39206</c:v>
                </c:pt>
                <c:pt idx="62">
                  <c:v>39209</c:v>
                </c:pt>
                <c:pt idx="63">
                  <c:v>39210</c:v>
                </c:pt>
                <c:pt idx="64">
                  <c:v>39211</c:v>
                </c:pt>
                <c:pt idx="65">
                  <c:v>39212</c:v>
                </c:pt>
                <c:pt idx="66">
                  <c:v>39213</c:v>
                </c:pt>
                <c:pt idx="67">
                  <c:v>39216</c:v>
                </c:pt>
                <c:pt idx="68">
                  <c:v>39217</c:v>
                </c:pt>
                <c:pt idx="69">
                  <c:v>39218</c:v>
                </c:pt>
                <c:pt idx="70">
                  <c:v>39219</c:v>
                </c:pt>
                <c:pt idx="71">
                  <c:v>39223</c:v>
                </c:pt>
                <c:pt idx="72">
                  <c:v>39224</c:v>
                </c:pt>
                <c:pt idx="73">
                  <c:v>39225</c:v>
                </c:pt>
                <c:pt idx="74">
                  <c:v>39226</c:v>
                </c:pt>
                <c:pt idx="75">
                  <c:v>39227</c:v>
                </c:pt>
                <c:pt idx="76">
                  <c:v>39231</c:v>
                </c:pt>
                <c:pt idx="77">
                  <c:v>39232</c:v>
                </c:pt>
                <c:pt idx="78">
                  <c:v>39233</c:v>
                </c:pt>
                <c:pt idx="79">
                  <c:v>39234</c:v>
                </c:pt>
                <c:pt idx="80">
                  <c:v>39237</c:v>
                </c:pt>
                <c:pt idx="81">
                  <c:v>39238</c:v>
                </c:pt>
                <c:pt idx="82">
                  <c:v>39239</c:v>
                </c:pt>
                <c:pt idx="83">
                  <c:v>39240</c:v>
                </c:pt>
                <c:pt idx="84">
                  <c:v>39241</c:v>
                </c:pt>
                <c:pt idx="85">
                  <c:v>39244</c:v>
                </c:pt>
                <c:pt idx="86">
                  <c:v>39245</c:v>
                </c:pt>
                <c:pt idx="87">
                  <c:v>39246</c:v>
                </c:pt>
                <c:pt idx="88">
                  <c:v>39247</c:v>
                </c:pt>
                <c:pt idx="89">
                  <c:v>39248</c:v>
                </c:pt>
                <c:pt idx="90">
                  <c:v>39251</c:v>
                </c:pt>
                <c:pt idx="91">
                  <c:v>39252</c:v>
                </c:pt>
                <c:pt idx="92">
                  <c:v>39253</c:v>
                </c:pt>
                <c:pt idx="93">
                  <c:v>39254</c:v>
                </c:pt>
                <c:pt idx="94">
                  <c:v>39255</c:v>
                </c:pt>
                <c:pt idx="95">
                  <c:v>39258</c:v>
                </c:pt>
                <c:pt idx="96">
                  <c:v>39259</c:v>
                </c:pt>
                <c:pt idx="97">
                  <c:v>39260</c:v>
                </c:pt>
                <c:pt idx="98">
                  <c:v>39261</c:v>
                </c:pt>
                <c:pt idx="99">
                  <c:v>39262</c:v>
                </c:pt>
                <c:pt idx="100">
                  <c:v>39265</c:v>
                </c:pt>
                <c:pt idx="101">
                  <c:v>39266</c:v>
                </c:pt>
                <c:pt idx="102">
                  <c:v>39268</c:v>
                </c:pt>
                <c:pt idx="103">
                  <c:v>39269</c:v>
                </c:pt>
                <c:pt idx="104">
                  <c:v>39272</c:v>
                </c:pt>
                <c:pt idx="105">
                  <c:v>39273</c:v>
                </c:pt>
                <c:pt idx="106">
                  <c:v>39274</c:v>
                </c:pt>
                <c:pt idx="107">
                  <c:v>39275</c:v>
                </c:pt>
                <c:pt idx="108">
                  <c:v>39276</c:v>
                </c:pt>
                <c:pt idx="109">
                  <c:v>39279</c:v>
                </c:pt>
                <c:pt idx="110">
                  <c:v>39280</c:v>
                </c:pt>
                <c:pt idx="111">
                  <c:v>39281</c:v>
                </c:pt>
                <c:pt idx="112">
                  <c:v>39282</c:v>
                </c:pt>
                <c:pt idx="113">
                  <c:v>39283</c:v>
                </c:pt>
                <c:pt idx="114">
                  <c:v>39286</c:v>
                </c:pt>
                <c:pt idx="115">
                  <c:v>39287</c:v>
                </c:pt>
                <c:pt idx="116">
                  <c:v>39288</c:v>
                </c:pt>
                <c:pt idx="117">
                  <c:v>39289</c:v>
                </c:pt>
                <c:pt idx="118">
                  <c:v>39290</c:v>
                </c:pt>
                <c:pt idx="119">
                  <c:v>39293</c:v>
                </c:pt>
                <c:pt idx="120">
                  <c:v>39294</c:v>
                </c:pt>
                <c:pt idx="121">
                  <c:v>39295</c:v>
                </c:pt>
                <c:pt idx="122">
                  <c:v>39296</c:v>
                </c:pt>
                <c:pt idx="123">
                  <c:v>39297</c:v>
                </c:pt>
                <c:pt idx="124">
                  <c:v>39300</c:v>
                </c:pt>
                <c:pt idx="125">
                  <c:v>39301</c:v>
                </c:pt>
                <c:pt idx="126">
                  <c:v>39302</c:v>
                </c:pt>
                <c:pt idx="127">
                  <c:v>39303</c:v>
                </c:pt>
                <c:pt idx="128">
                  <c:v>39304</c:v>
                </c:pt>
                <c:pt idx="129">
                  <c:v>39307</c:v>
                </c:pt>
                <c:pt idx="130">
                  <c:v>39308</c:v>
                </c:pt>
                <c:pt idx="131">
                  <c:v>39309</c:v>
                </c:pt>
                <c:pt idx="132">
                  <c:v>39310</c:v>
                </c:pt>
                <c:pt idx="133">
                  <c:v>39311</c:v>
                </c:pt>
                <c:pt idx="134">
                  <c:v>39314</c:v>
                </c:pt>
                <c:pt idx="135">
                  <c:v>39315</c:v>
                </c:pt>
                <c:pt idx="136">
                  <c:v>39316</c:v>
                </c:pt>
                <c:pt idx="137">
                  <c:v>39317</c:v>
                </c:pt>
                <c:pt idx="138">
                  <c:v>39318</c:v>
                </c:pt>
                <c:pt idx="139">
                  <c:v>39322</c:v>
                </c:pt>
                <c:pt idx="140">
                  <c:v>39323</c:v>
                </c:pt>
                <c:pt idx="141">
                  <c:v>39329</c:v>
                </c:pt>
                <c:pt idx="142">
                  <c:v>39330</c:v>
                </c:pt>
                <c:pt idx="143">
                  <c:v>39331</c:v>
                </c:pt>
                <c:pt idx="144">
                  <c:v>39332</c:v>
                </c:pt>
                <c:pt idx="145">
                  <c:v>39335</c:v>
                </c:pt>
                <c:pt idx="146">
                  <c:v>39338</c:v>
                </c:pt>
                <c:pt idx="147">
                  <c:v>39339</c:v>
                </c:pt>
                <c:pt idx="148">
                  <c:v>39342</c:v>
                </c:pt>
                <c:pt idx="149">
                  <c:v>39343</c:v>
                </c:pt>
                <c:pt idx="150">
                  <c:v>39344</c:v>
                </c:pt>
                <c:pt idx="151">
                  <c:v>39345</c:v>
                </c:pt>
                <c:pt idx="152">
                  <c:v>39346</c:v>
                </c:pt>
                <c:pt idx="153">
                  <c:v>39349</c:v>
                </c:pt>
                <c:pt idx="154">
                  <c:v>39350</c:v>
                </c:pt>
                <c:pt idx="155">
                  <c:v>39351</c:v>
                </c:pt>
                <c:pt idx="156">
                  <c:v>39352</c:v>
                </c:pt>
                <c:pt idx="157">
                  <c:v>39353</c:v>
                </c:pt>
                <c:pt idx="158">
                  <c:v>39356</c:v>
                </c:pt>
                <c:pt idx="159">
                  <c:v>39357</c:v>
                </c:pt>
                <c:pt idx="160">
                  <c:v>39358</c:v>
                </c:pt>
                <c:pt idx="161">
                  <c:v>39359</c:v>
                </c:pt>
                <c:pt idx="162">
                  <c:v>39360</c:v>
                </c:pt>
                <c:pt idx="163">
                  <c:v>39363</c:v>
                </c:pt>
                <c:pt idx="164">
                  <c:v>39364</c:v>
                </c:pt>
                <c:pt idx="165">
                  <c:v>39365</c:v>
                </c:pt>
                <c:pt idx="166">
                  <c:v>39366</c:v>
                </c:pt>
                <c:pt idx="167">
                  <c:v>39367</c:v>
                </c:pt>
                <c:pt idx="168">
                  <c:v>39370</c:v>
                </c:pt>
                <c:pt idx="169">
                  <c:v>39371</c:v>
                </c:pt>
                <c:pt idx="170">
                  <c:v>39372</c:v>
                </c:pt>
                <c:pt idx="171">
                  <c:v>39374</c:v>
                </c:pt>
                <c:pt idx="172">
                  <c:v>39377</c:v>
                </c:pt>
                <c:pt idx="173">
                  <c:v>39379</c:v>
                </c:pt>
                <c:pt idx="174">
                  <c:v>39380</c:v>
                </c:pt>
                <c:pt idx="175">
                  <c:v>39381</c:v>
                </c:pt>
                <c:pt idx="176">
                  <c:v>39384</c:v>
                </c:pt>
                <c:pt idx="177">
                  <c:v>39385</c:v>
                </c:pt>
                <c:pt idx="178">
                  <c:v>39386</c:v>
                </c:pt>
                <c:pt idx="179">
                  <c:v>39387</c:v>
                </c:pt>
                <c:pt idx="180">
                  <c:v>39388</c:v>
                </c:pt>
                <c:pt idx="181">
                  <c:v>39391</c:v>
                </c:pt>
                <c:pt idx="182">
                  <c:v>39392</c:v>
                </c:pt>
                <c:pt idx="183">
                  <c:v>39393</c:v>
                </c:pt>
                <c:pt idx="184">
                  <c:v>39394</c:v>
                </c:pt>
                <c:pt idx="185">
                  <c:v>39395</c:v>
                </c:pt>
                <c:pt idx="186">
                  <c:v>39398</c:v>
                </c:pt>
                <c:pt idx="187">
                  <c:v>39399</c:v>
                </c:pt>
                <c:pt idx="188">
                  <c:v>39400</c:v>
                </c:pt>
                <c:pt idx="189">
                  <c:v>39401</c:v>
                </c:pt>
                <c:pt idx="190">
                  <c:v>39402</c:v>
                </c:pt>
                <c:pt idx="191">
                  <c:v>39405</c:v>
                </c:pt>
                <c:pt idx="192">
                  <c:v>39406</c:v>
                </c:pt>
                <c:pt idx="193">
                  <c:v>39407</c:v>
                </c:pt>
                <c:pt idx="194">
                  <c:v>39409</c:v>
                </c:pt>
                <c:pt idx="195">
                  <c:v>39412</c:v>
                </c:pt>
                <c:pt idx="196">
                  <c:v>39413</c:v>
                </c:pt>
                <c:pt idx="197">
                  <c:v>39414</c:v>
                </c:pt>
                <c:pt idx="198">
                  <c:v>39415</c:v>
                </c:pt>
                <c:pt idx="199">
                  <c:v>39416</c:v>
                </c:pt>
                <c:pt idx="200">
                  <c:v>39420</c:v>
                </c:pt>
                <c:pt idx="201">
                  <c:v>39421</c:v>
                </c:pt>
                <c:pt idx="202">
                  <c:v>39422</c:v>
                </c:pt>
                <c:pt idx="203">
                  <c:v>39423</c:v>
                </c:pt>
                <c:pt idx="204">
                  <c:v>39426</c:v>
                </c:pt>
                <c:pt idx="205">
                  <c:v>39427</c:v>
                </c:pt>
                <c:pt idx="206">
                  <c:v>39428</c:v>
                </c:pt>
                <c:pt idx="207">
                  <c:v>39429</c:v>
                </c:pt>
                <c:pt idx="208">
                  <c:v>39430</c:v>
                </c:pt>
                <c:pt idx="209">
                  <c:v>39433</c:v>
                </c:pt>
                <c:pt idx="210">
                  <c:v>39434</c:v>
                </c:pt>
                <c:pt idx="211">
                  <c:v>39435</c:v>
                </c:pt>
                <c:pt idx="212">
                  <c:v>39436</c:v>
                </c:pt>
                <c:pt idx="213">
                  <c:v>39437</c:v>
                </c:pt>
                <c:pt idx="214">
                  <c:v>39440</c:v>
                </c:pt>
                <c:pt idx="215">
                  <c:v>39442</c:v>
                </c:pt>
                <c:pt idx="216">
                  <c:v>39443</c:v>
                </c:pt>
                <c:pt idx="217">
                  <c:v>39444</c:v>
                </c:pt>
                <c:pt idx="218">
                  <c:v>39447</c:v>
                </c:pt>
                <c:pt idx="219">
                  <c:v>39449</c:v>
                </c:pt>
                <c:pt idx="220">
                  <c:v>39450</c:v>
                </c:pt>
                <c:pt idx="221">
                  <c:v>39451</c:v>
                </c:pt>
                <c:pt idx="222">
                  <c:v>39454</c:v>
                </c:pt>
                <c:pt idx="223">
                  <c:v>39455</c:v>
                </c:pt>
                <c:pt idx="224">
                  <c:v>39456</c:v>
                </c:pt>
                <c:pt idx="225">
                  <c:v>39457</c:v>
                </c:pt>
                <c:pt idx="226">
                  <c:v>39458</c:v>
                </c:pt>
                <c:pt idx="227">
                  <c:v>39461</c:v>
                </c:pt>
                <c:pt idx="228">
                  <c:v>39462</c:v>
                </c:pt>
                <c:pt idx="229">
                  <c:v>39463</c:v>
                </c:pt>
                <c:pt idx="230">
                  <c:v>39464</c:v>
                </c:pt>
                <c:pt idx="231">
                  <c:v>39465</c:v>
                </c:pt>
                <c:pt idx="232">
                  <c:v>39469</c:v>
                </c:pt>
                <c:pt idx="233">
                  <c:v>39470</c:v>
                </c:pt>
                <c:pt idx="234">
                  <c:v>39471</c:v>
                </c:pt>
                <c:pt idx="235">
                  <c:v>39472</c:v>
                </c:pt>
                <c:pt idx="236">
                  <c:v>39475</c:v>
                </c:pt>
                <c:pt idx="237">
                  <c:v>39476</c:v>
                </c:pt>
                <c:pt idx="238">
                  <c:v>39477</c:v>
                </c:pt>
                <c:pt idx="239">
                  <c:v>39478</c:v>
                </c:pt>
                <c:pt idx="240">
                  <c:v>39479</c:v>
                </c:pt>
                <c:pt idx="241">
                  <c:v>39482</c:v>
                </c:pt>
                <c:pt idx="242">
                  <c:v>39483</c:v>
                </c:pt>
                <c:pt idx="243">
                  <c:v>39484</c:v>
                </c:pt>
                <c:pt idx="244">
                  <c:v>39485</c:v>
                </c:pt>
                <c:pt idx="245">
                  <c:v>39486</c:v>
                </c:pt>
                <c:pt idx="246">
                  <c:v>39489</c:v>
                </c:pt>
                <c:pt idx="247">
                  <c:v>39490</c:v>
                </c:pt>
                <c:pt idx="248">
                  <c:v>39491</c:v>
                </c:pt>
                <c:pt idx="249">
                  <c:v>39492</c:v>
                </c:pt>
                <c:pt idx="250">
                  <c:v>39493</c:v>
                </c:pt>
                <c:pt idx="251">
                  <c:v>39497</c:v>
                </c:pt>
                <c:pt idx="252">
                  <c:v>39498</c:v>
                </c:pt>
                <c:pt idx="253">
                  <c:v>39499</c:v>
                </c:pt>
                <c:pt idx="254">
                  <c:v>39500</c:v>
                </c:pt>
                <c:pt idx="255">
                  <c:v>39503</c:v>
                </c:pt>
                <c:pt idx="256">
                  <c:v>39504</c:v>
                </c:pt>
                <c:pt idx="257">
                  <c:v>39505</c:v>
                </c:pt>
                <c:pt idx="258">
                  <c:v>39506</c:v>
                </c:pt>
                <c:pt idx="259">
                  <c:v>39507</c:v>
                </c:pt>
                <c:pt idx="260">
                  <c:v>39510</c:v>
                </c:pt>
                <c:pt idx="261">
                  <c:v>39511</c:v>
                </c:pt>
                <c:pt idx="262">
                  <c:v>39512</c:v>
                </c:pt>
                <c:pt idx="263">
                  <c:v>39513</c:v>
                </c:pt>
                <c:pt idx="264">
                  <c:v>39514</c:v>
                </c:pt>
                <c:pt idx="265">
                  <c:v>39518</c:v>
                </c:pt>
                <c:pt idx="266">
                  <c:v>39519</c:v>
                </c:pt>
                <c:pt idx="267">
                  <c:v>39520</c:v>
                </c:pt>
                <c:pt idx="268">
                  <c:v>39521</c:v>
                </c:pt>
                <c:pt idx="269">
                  <c:v>39524</c:v>
                </c:pt>
                <c:pt idx="270">
                  <c:v>39525</c:v>
                </c:pt>
                <c:pt idx="271">
                  <c:v>39526</c:v>
                </c:pt>
                <c:pt idx="272">
                  <c:v>39527</c:v>
                </c:pt>
                <c:pt idx="273">
                  <c:v>39531</c:v>
                </c:pt>
                <c:pt idx="274">
                  <c:v>39532</c:v>
                </c:pt>
                <c:pt idx="275">
                  <c:v>39533</c:v>
                </c:pt>
                <c:pt idx="276">
                  <c:v>39534</c:v>
                </c:pt>
                <c:pt idx="277">
                  <c:v>39535</c:v>
                </c:pt>
                <c:pt idx="278">
                  <c:v>39538</c:v>
                </c:pt>
                <c:pt idx="279">
                  <c:v>39539</c:v>
                </c:pt>
                <c:pt idx="280">
                  <c:v>39540</c:v>
                </c:pt>
                <c:pt idx="281">
                  <c:v>39541</c:v>
                </c:pt>
                <c:pt idx="282">
                  <c:v>39542</c:v>
                </c:pt>
                <c:pt idx="283">
                  <c:v>39545</c:v>
                </c:pt>
                <c:pt idx="284">
                  <c:v>39546</c:v>
                </c:pt>
                <c:pt idx="285">
                  <c:v>39547</c:v>
                </c:pt>
                <c:pt idx="286">
                  <c:v>39548</c:v>
                </c:pt>
                <c:pt idx="287">
                  <c:v>39549</c:v>
                </c:pt>
                <c:pt idx="288">
                  <c:v>39552</c:v>
                </c:pt>
                <c:pt idx="289">
                  <c:v>39553</c:v>
                </c:pt>
                <c:pt idx="290">
                  <c:v>39555</c:v>
                </c:pt>
                <c:pt idx="291">
                  <c:v>39556</c:v>
                </c:pt>
                <c:pt idx="292">
                  <c:v>39559</c:v>
                </c:pt>
                <c:pt idx="293">
                  <c:v>39560</c:v>
                </c:pt>
                <c:pt idx="294">
                  <c:v>39561</c:v>
                </c:pt>
                <c:pt idx="295">
                  <c:v>39562</c:v>
                </c:pt>
                <c:pt idx="296">
                  <c:v>39563</c:v>
                </c:pt>
                <c:pt idx="297">
                  <c:v>39566</c:v>
                </c:pt>
                <c:pt idx="298">
                  <c:v>39567</c:v>
                </c:pt>
                <c:pt idx="299">
                  <c:v>39568</c:v>
                </c:pt>
                <c:pt idx="300">
                  <c:v>39569</c:v>
                </c:pt>
                <c:pt idx="301">
                  <c:v>39570</c:v>
                </c:pt>
                <c:pt idx="302">
                  <c:v>39573</c:v>
                </c:pt>
                <c:pt idx="303">
                  <c:v>39574</c:v>
                </c:pt>
                <c:pt idx="304">
                  <c:v>39575</c:v>
                </c:pt>
                <c:pt idx="305">
                  <c:v>39576</c:v>
                </c:pt>
                <c:pt idx="306">
                  <c:v>39577</c:v>
                </c:pt>
                <c:pt idx="307">
                  <c:v>39580</c:v>
                </c:pt>
                <c:pt idx="308">
                  <c:v>39581</c:v>
                </c:pt>
                <c:pt idx="309">
                  <c:v>39582</c:v>
                </c:pt>
                <c:pt idx="310">
                  <c:v>39583</c:v>
                </c:pt>
                <c:pt idx="311">
                  <c:v>39584</c:v>
                </c:pt>
                <c:pt idx="312">
                  <c:v>39587</c:v>
                </c:pt>
                <c:pt idx="313">
                  <c:v>39588</c:v>
                </c:pt>
                <c:pt idx="314">
                  <c:v>39589</c:v>
                </c:pt>
                <c:pt idx="315">
                  <c:v>39590</c:v>
                </c:pt>
                <c:pt idx="316">
                  <c:v>39591</c:v>
                </c:pt>
                <c:pt idx="317">
                  <c:v>39595</c:v>
                </c:pt>
                <c:pt idx="318">
                  <c:v>39596</c:v>
                </c:pt>
                <c:pt idx="319">
                  <c:v>39597</c:v>
                </c:pt>
                <c:pt idx="320">
                  <c:v>39598</c:v>
                </c:pt>
                <c:pt idx="321">
                  <c:v>39601</c:v>
                </c:pt>
                <c:pt idx="322">
                  <c:v>39602</c:v>
                </c:pt>
                <c:pt idx="323">
                  <c:v>39603</c:v>
                </c:pt>
                <c:pt idx="324">
                  <c:v>39604</c:v>
                </c:pt>
                <c:pt idx="325">
                  <c:v>39605</c:v>
                </c:pt>
                <c:pt idx="326">
                  <c:v>39608</c:v>
                </c:pt>
                <c:pt idx="327">
                  <c:v>39609</c:v>
                </c:pt>
                <c:pt idx="328">
                  <c:v>39610</c:v>
                </c:pt>
                <c:pt idx="329">
                  <c:v>39611</c:v>
                </c:pt>
                <c:pt idx="330">
                  <c:v>39612</c:v>
                </c:pt>
                <c:pt idx="331">
                  <c:v>39615</c:v>
                </c:pt>
                <c:pt idx="332">
                  <c:v>39616</c:v>
                </c:pt>
                <c:pt idx="333">
                  <c:v>39617</c:v>
                </c:pt>
                <c:pt idx="334">
                  <c:v>39618</c:v>
                </c:pt>
                <c:pt idx="335">
                  <c:v>39619</c:v>
                </c:pt>
                <c:pt idx="336">
                  <c:v>39622</c:v>
                </c:pt>
                <c:pt idx="337">
                  <c:v>39623</c:v>
                </c:pt>
                <c:pt idx="338">
                  <c:v>39624</c:v>
                </c:pt>
                <c:pt idx="339">
                  <c:v>39625</c:v>
                </c:pt>
                <c:pt idx="340">
                  <c:v>39626</c:v>
                </c:pt>
                <c:pt idx="341">
                  <c:v>39629</c:v>
                </c:pt>
                <c:pt idx="342">
                  <c:v>39630</c:v>
                </c:pt>
                <c:pt idx="343">
                  <c:v>39631</c:v>
                </c:pt>
                <c:pt idx="344">
                  <c:v>39632</c:v>
                </c:pt>
                <c:pt idx="345">
                  <c:v>39636</c:v>
                </c:pt>
                <c:pt idx="346">
                  <c:v>39637</c:v>
                </c:pt>
                <c:pt idx="347">
                  <c:v>39638</c:v>
                </c:pt>
                <c:pt idx="348">
                  <c:v>39639</c:v>
                </c:pt>
                <c:pt idx="349">
                  <c:v>39640</c:v>
                </c:pt>
                <c:pt idx="350">
                  <c:v>39643</c:v>
                </c:pt>
                <c:pt idx="351">
                  <c:v>39644</c:v>
                </c:pt>
                <c:pt idx="352">
                  <c:v>39645</c:v>
                </c:pt>
                <c:pt idx="353">
                  <c:v>39646</c:v>
                </c:pt>
                <c:pt idx="354">
                  <c:v>39647</c:v>
                </c:pt>
                <c:pt idx="355">
                  <c:v>39650</c:v>
                </c:pt>
                <c:pt idx="356">
                  <c:v>39651</c:v>
                </c:pt>
                <c:pt idx="357">
                  <c:v>39652</c:v>
                </c:pt>
                <c:pt idx="358">
                  <c:v>39653</c:v>
                </c:pt>
                <c:pt idx="359">
                  <c:v>39654</c:v>
                </c:pt>
                <c:pt idx="360">
                  <c:v>39657</c:v>
                </c:pt>
                <c:pt idx="361">
                  <c:v>39658</c:v>
                </c:pt>
                <c:pt idx="362">
                  <c:v>39659</c:v>
                </c:pt>
                <c:pt idx="363">
                  <c:v>39660</c:v>
                </c:pt>
                <c:pt idx="364">
                  <c:v>39661</c:v>
                </c:pt>
                <c:pt idx="365">
                  <c:v>39664</c:v>
                </c:pt>
                <c:pt idx="366">
                  <c:v>39665</c:v>
                </c:pt>
                <c:pt idx="367">
                  <c:v>39666</c:v>
                </c:pt>
                <c:pt idx="368">
                  <c:v>39667</c:v>
                </c:pt>
                <c:pt idx="369">
                  <c:v>39668</c:v>
                </c:pt>
                <c:pt idx="370">
                  <c:v>39671</c:v>
                </c:pt>
                <c:pt idx="371">
                  <c:v>39672</c:v>
                </c:pt>
                <c:pt idx="372">
                  <c:v>39673</c:v>
                </c:pt>
                <c:pt idx="373">
                  <c:v>39674</c:v>
                </c:pt>
                <c:pt idx="374">
                  <c:v>39675</c:v>
                </c:pt>
                <c:pt idx="375">
                  <c:v>39678</c:v>
                </c:pt>
                <c:pt idx="376">
                  <c:v>39679</c:v>
                </c:pt>
                <c:pt idx="377">
                  <c:v>39680</c:v>
                </c:pt>
                <c:pt idx="378">
                  <c:v>39681</c:v>
                </c:pt>
                <c:pt idx="379">
                  <c:v>39682</c:v>
                </c:pt>
                <c:pt idx="380">
                  <c:v>39685</c:v>
                </c:pt>
                <c:pt idx="381">
                  <c:v>39686</c:v>
                </c:pt>
                <c:pt idx="382">
                  <c:v>39687</c:v>
                </c:pt>
                <c:pt idx="383">
                  <c:v>39688</c:v>
                </c:pt>
                <c:pt idx="384">
                  <c:v>39689</c:v>
                </c:pt>
                <c:pt idx="385">
                  <c:v>39693</c:v>
                </c:pt>
                <c:pt idx="386">
                  <c:v>39694</c:v>
                </c:pt>
                <c:pt idx="387">
                  <c:v>39695</c:v>
                </c:pt>
                <c:pt idx="388">
                  <c:v>39696</c:v>
                </c:pt>
                <c:pt idx="389">
                  <c:v>39699</c:v>
                </c:pt>
                <c:pt idx="390">
                  <c:v>39700</c:v>
                </c:pt>
                <c:pt idx="391">
                  <c:v>39701</c:v>
                </c:pt>
                <c:pt idx="392">
                  <c:v>39702</c:v>
                </c:pt>
                <c:pt idx="393">
                  <c:v>39703</c:v>
                </c:pt>
                <c:pt idx="394">
                  <c:v>39706</c:v>
                </c:pt>
                <c:pt idx="395">
                  <c:v>39707</c:v>
                </c:pt>
                <c:pt idx="396">
                  <c:v>39708</c:v>
                </c:pt>
                <c:pt idx="397">
                  <c:v>39709</c:v>
                </c:pt>
                <c:pt idx="398">
                  <c:v>39710</c:v>
                </c:pt>
                <c:pt idx="399">
                  <c:v>39713</c:v>
                </c:pt>
                <c:pt idx="400">
                  <c:v>39714</c:v>
                </c:pt>
                <c:pt idx="401">
                  <c:v>39715</c:v>
                </c:pt>
                <c:pt idx="402">
                  <c:v>39716</c:v>
                </c:pt>
                <c:pt idx="403">
                  <c:v>39717</c:v>
                </c:pt>
                <c:pt idx="404">
                  <c:v>39720</c:v>
                </c:pt>
                <c:pt idx="405">
                  <c:v>39721</c:v>
                </c:pt>
                <c:pt idx="406">
                  <c:v>39722</c:v>
                </c:pt>
                <c:pt idx="407">
                  <c:v>39723</c:v>
                </c:pt>
                <c:pt idx="408">
                  <c:v>39724</c:v>
                </c:pt>
                <c:pt idx="409">
                  <c:v>39727</c:v>
                </c:pt>
                <c:pt idx="410">
                  <c:v>39728</c:v>
                </c:pt>
                <c:pt idx="411">
                  <c:v>39729</c:v>
                </c:pt>
                <c:pt idx="412">
                  <c:v>39730</c:v>
                </c:pt>
                <c:pt idx="413">
                  <c:v>39731</c:v>
                </c:pt>
                <c:pt idx="414">
                  <c:v>39734</c:v>
                </c:pt>
                <c:pt idx="415">
                  <c:v>39735</c:v>
                </c:pt>
                <c:pt idx="416">
                  <c:v>39736</c:v>
                </c:pt>
                <c:pt idx="417">
                  <c:v>39737</c:v>
                </c:pt>
                <c:pt idx="418">
                  <c:v>39738</c:v>
                </c:pt>
                <c:pt idx="419">
                  <c:v>39741</c:v>
                </c:pt>
                <c:pt idx="420">
                  <c:v>39742</c:v>
                </c:pt>
                <c:pt idx="421">
                  <c:v>39743</c:v>
                </c:pt>
                <c:pt idx="422">
                  <c:v>39744</c:v>
                </c:pt>
                <c:pt idx="423">
                  <c:v>39745</c:v>
                </c:pt>
                <c:pt idx="424">
                  <c:v>39748</c:v>
                </c:pt>
                <c:pt idx="425">
                  <c:v>39749</c:v>
                </c:pt>
                <c:pt idx="426">
                  <c:v>39750</c:v>
                </c:pt>
                <c:pt idx="427">
                  <c:v>39751</c:v>
                </c:pt>
                <c:pt idx="428">
                  <c:v>39752</c:v>
                </c:pt>
                <c:pt idx="429">
                  <c:v>39755</c:v>
                </c:pt>
                <c:pt idx="430">
                  <c:v>39756</c:v>
                </c:pt>
                <c:pt idx="431">
                  <c:v>39757</c:v>
                </c:pt>
                <c:pt idx="432">
                  <c:v>39758</c:v>
                </c:pt>
                <c:pt idx="433">
                  <c:v>39759</c:v>
                </c:pt>
                <c:pt idx="434">
                  <c:v>39762</c:v>
                </c:pt>
                <c:pt idx="435">
                  <c:v>39763</c:v>
                </c:pt>
                <c:pt idx="436">
                  <c:v>39764</c:v>
                </c:pt>
                <c:pt idx="437">
                  <c:v>39765</c:v>
                </c:pt>
                <c:pt idx="438">
                  <c:v>39766</c:v>
                </c:pt>
                <c:pt idx="439">
                  <c:v>39769</c:v>
                </c:pt>
                <c:pt idx="440">
                  <c:v>39770</c:v>
                </c:pt>
                <c:pt idx="441">
                  <c:v>39771</c:v>
                </c:pt>
                <c:pt idx="442">
                  <c:v>39772</c:v>
                </c:pt>
                <c:pt idx="443">
                  <c:v>39773</c:v>
                </c:pt>
                <c:pt idx="444">
                  <c:v>39776</c:v>
                </c:pt>
                <c:pt idx="445">
                  <c:v>39777</c:v>
                </c:pt>
                <c:pt idx="446">
                  <c:v>39778</c:v>
                </c:pt>
                <c:pt idx="447">
                  <c:v>39780</c:v>
                </c:pt>
                <c:pt idx="448">
                  <c:v>39783</c:v>
                </c:pt>
                <c:pt idx="449">
                  <c:v>39784</c:v>
                </c:pt>
                <c:pt idx="450">
                  <c:v>39785</c:v>
                </c:pt>
                <c:pt idx="451">
                  <c:v>39786</c:v>
                </c:pt>
                <c:pt idx="452">
                  <c:v>39787</c:v>
                </c:pt>
                <c:pt idx="453">
                  <c:v>39790</c:v>
                </c:pt>
                <c:pt idx="454">
                  <c:v>39791</c:v>
                </c:pt>
                <c:pt idx="455">
                  <c:v>39792</c:v>
                </c:pt>
                <c:pt idx="456">
                  <c:v>39793</c:v>
                </c:pt>
                <c:pt idx="457">
                  <c:v>39794</c:v>
                </c:pt>
                <c:pt idx="458">
                  <c:v>39797</c:v>
                </c:pt>
                <c:pt idx="459">
                  <c:v>39798</c:v>
                </c:pt>
                <c:pt idx="460">
                  <c:v>39799</c:v>
                </c:pt>
                <c:pt idx="461">
                  <c:v>39800</c:v>
                </c:pt>
                <c:pt idx="462">
                  <c:v>39801</c:v>
                </c:pt>
                <c:pt idx="463">
                  <c:v>39805</c:v>
                </c:pt>
                <c:pt idx="464">
                  <c:v>39806</c:v>
                </c:pt>
                <c:pt idx="465">
                  <c:v>39808</c:v>
                </c:pt>
                <c:pt idx="466">
                  <c:v>39811</c:v>
                </c:pt>
                <c:pt idx="467">
                  <c:v>39812</c:v>
                </c:pt>
                <c:pt idx="468">
                  <c:v>39813</c:v>
                </c:pt>
                <c:pt idx="469">
                  <c:v>39815</c:v>
                </c:pt>
                <c:pt idx="470">
                  <c:v>39818</c:v>
                </c:pt>
                <c:pt idx="471">
                  <c:v>39819</c:v>
                </c:pt>
                <c:pt idx="472">
                  <c:v>39820</c:v>
                </c:pt>
                <c:pt idx="473">
                  <c:v>39821</c:v>
                </c:pt>
                <c:pt idx="474">
                  <c:v>39822</c:v>
                </c:pt>
                <c:pt idx="475">
                  <c:v>39825</c:v>
                </c:pt>
                <c:pt idx="476">
                  <c:v>39826</c:v>
                </c:pt>
                <c:pt idx="477">
                  <c:v>39827</c:v>
                </c:pt>
                <c:pt idx="478">
                  <c:v>39828</c:v>
                </c:pt>
                <c:pt idx="479">
                  <c:v>39829</c:v>
                </c:pt>
                <c:pt idx="480">
                  <c:v>39833</c:v>
                </c:pt>
                <c:pt idx="481">
                  <c:v>39834</c:v>
                </c:pt>
                <c:pt idx="482">
                  <c:v>39835</c:v>
                </c:pt>
                <c:pt idx="483">
                  <c:v>39836</c:v>
                </c:pt>
                <c:pt idx="484">
                  <c:v>39839</c:v>
                </c:pt>
                <c:pt idx="485">
                  <c:v>39840</c:v>
                </c:pt>
                <c:pt idx="486">
                  <c:v>39841</c:v>
                </c:pt>
                <c:pt idx="487">
                  <c:v>39842</c:v>
                </c:pt>
                <c:pt idx="488">
                  <c:v>39843</c:v>
                </c:pt>
                <c:pt idx="489">
                  <c:v>39846</c:v>
                </c:pt>
                <c:pt idx="490">
                  <c:v>39847</c:v>
                </c:pt>
                <c:pt idx="491">
                  <c:v>39848</c:v>
                </c:pt>
                <c:pt idx="492">
                  <c:v>39849</c:v>
                </c:pt>
                <c:pt idx="493">
                  <c:v>39850</c:v>
                </c:pt>
                <c:pt idx="494">
                  <c:v>39853</c:v>
                </c:pt>
                <c:pt idx="495">
                  <c:v>39854</c:v>
                </c:pt>
                <c:pt idx="496">
                  <c:v>39855</c:v>
                </c:pt>
                <c:pt idx="497">
                  <c:v>39856</c:v>
                </c:pt>
                <c:pt idx="498">
                  <c:v>39857</c:v>
                </c:pt>
                <c:pt idx="499">
                  <c:v>39861</c:v>
                </c:pt>
                <c:pt idx="500">
                  <c:v>39862</c:v>
                </c:pt>
                <c:pt idx="501">
                  <c:v>39863</c:v>
                </c:pt>
                <c:pt idx="502">
                  <c:v>39864</c:v>
                </c:pt>
                <c:pt idx="503">
                  <c:v>39867</c:v>
                </c:pt>
                <c:pt idx="504">
                  <c:v>39868</c:v>
                </c:pt>
                <c:pt idx="505">
                  <c:v>39869</c:v>
                </c:pt>
                <c:pt idx="506">
                  <c:v>39870</c:v>
                </c:pt>
                <c:pt idx="507">
                  <c:v>39871</c:v>
                </c:pt>
                <c:pt idx="508">
                  <c:v>39874</c:v>
                </c:pt>
                <c:pt idx="509">
                  <c:v>39875</c:v>
                </c:pt>
                <c:pt idx="510">
                  <c:v>39876</c:v>
                </c:pt>
                <c:pt idx="511">
                  <c:v>39877</c:v>
                </c:pt>
                <c:pt idx="512">
                  <c:v>39878</c:v>
                </c:pt>
                <c:pt idx="513">
                  <c:v>39881</c:v>
                </c:pt>
                <c:pt idx="514">
                  <c:v>39882</c:v>
                </c:pt>
                <c:pt idx="515">
                  <c:v>39883</c:v>
                </c:pt>
                <c:pt idx="516">
                  <c:v>39884</c:v>
                </c:pt>
                <c:pt idx="517">
                  <c:v>39885</c:v>
                </c:pt>
                <c:pt idx="518">
                  <c:v>39888</c:v>
                </c:pt>
                <c:pt idx="519">
                  <c:v>39889</c:v>
                </c:pt>
                <c:pt idx="520">
                  <c:v>39890</c:v>
                </c:pt>
                <c:pt idx="521">
                  <c:v>39891</c:v>
                </c:pt>
                <c:pt idx="522">
                  <c:v>39892</c:v>
                </c:pt>
                <c:pt idx="523">
                  <c:v>39895</c:v>
                </c:pt>
                <c:pt idx="524">
                  <c:v>39896</c:v>
                </c:pt>
                <c:pt idx="525">
                  <c:v>39897</c:v>
                </c:pt>
                <c:pt idx="526">
                  <c:v>39898</c:v>
                </c:pt>
                <c:pt idx="527">
                  <c:v>39899</c:v>
                </c:pt>
                <c:pt idx="528">
                  <c:v>39902</c:v>
                </c:pt>
                <c:pt idx="529">
                  <c:v>39903</c:v>
                </c:pt>
                <c:pt idx="530">
                  <c:v>39904</c:v>
                </c:pt>
                <c:pt idx="531">
                  <c:v>39905</c:v>
                </c:pt>
                <c:pt idx="532">
                  <c:v>39906</c:v>
                </c:pt>
                <c:pt idx="533">
                  <c:v>39909</c:v>
                </c:pt>
                <c:pt idx="534">
                  <c:v>39910</c:v>
                </c:pt>
                <c:pt idx="535">
                  <c:v>39911</c:v>
                </c:pt>
                <c:pt idx="536">
                  <c:v>39912</c:v>
                </c:pt>
                <c:pt idx="537">
                  <c:v>39916</c:v>
                </c:pt>
                <c:pt idx="538">
                  <c:v>39917</c:v>
                </c:pt>
                <c:pt idx="539">
                  <c:v>39918</c:v>
                </c:pt>
                <c:pt idx="540">
                  <c:v>39919</c:v>
                </c:pt>
                <c:pt idx="541">
                  <c:v>39920</c:v>
                </c:pt>
                <c:pt idx="542">
                  <c:v>39923</c:v>
                </c:pt>
                <c:pt idx="543">
                  <c:v>39924</c:v>
                </c:pt>
                <c:pt idx="544">
                  <c:v>39925</c:v>
                </c:pt>
                <c:pt idx="545">
                  <c:v>39926</c:v>
                </c:pt>
                <c:pt idx="546">
                  <c:v>39927</c:v>
                </c:pt>
                <c:pt idx="547">
                  <c:v>39930</c:v>
                </c:pt>
                <c:pt idx="548">
                  <c:v>39931</c:v>
                </c:pt>
                <c:pt idx="549">
                  <c:v>39932</c:v>
                </c:pt>
                <c:pt idx="550">
                  <c:v>39933</c:v>
                </c:pt>
                <c:pt idx="551">
                  <c:v>39934</c:v>
                </c:pt>
                <c:pt idx="552">
                  <c:v>39937</c:v>
                </c:pt>
                <c:pt idx="553">
                  <c:v>39938</c:v>
                </c:pt>
                <c:pt idx="554">
                  <c:v>39939</c:v>
                </c:pt>
                <c:pt idx="555">
                  <c:v>39940</c:v>
                </c:pt>
                <c:pt idx="556">
                  <c:v>39941</c:v>
                </c:pt>
                <c:pt idx="557">
                  <c:v>39944</c:v>
                </c:pt>
                <c:pt idx="558">
                  <c:v>39945</c:v>
                </c:pt>
                <c:pt idx="559">
                  <c:v>39946</c:v>
                </c:pt>
                <c:pt idx="560">
                  <c:v>39947</c:v>
                </c:pt>
                <c:pt idx="561">
                  <c:v>39948</c:v>
                </c:pt>
                <c:pt idx="562">
                  <c:v>39951</c:v>
                </c:pt>
                <c:pt idx="563">
                  <c:v>39952</c:v>
                </c:pt>
                <c:pt idx="564">
                  <c:v>39953</c:v>
                </c:pt>
                <c:pt idx="565">
                  <c:v>39954</c:v>
                </c:pt>
                <c:pt idx="566">
                  <c:v>39955</c:v>
                </c:pt>
                <c:pt idx="567">
                  <c:v>39959</c:v>
                </c:pt>
                <c:pt idx="568">
                  <c:v>39960</c:v>
                </c:pt>
                <c:pt idx="569">
                  <c:v>39961</c:v>
                </c:pt>
                <c:pt idx="570">
                  <c:v>39962</c:v>
                </c:pt>
                <c:pt idx="571">
                  <c:v>39965</c:v>
                </c:pt>
                <c:pt idx="572">
                  <c:v>39966</c:v>
                </c:pt>
                <c:pt idx="573">
                  <c:v>39967</c:v>
                </c:pt>
                <c:pt idx="574">
                  <c:v>39968</c:v>
                </c:pt>
                <c:pt idx="575">
                  <c:v>39969</c:v>
                </c:pt>
                <c:pt idx="576">
                  <c:v>39972</c:v>
                </c:pt>
                <c:pt idx="577">
                  <c:v>39973</c:v>
                </c:pt>
                <c:pt idx="578">
                  <c:v>39974</c:v>
                </c:pt>
                <c:pt idx="579">
                  <c:v>39975</c:v>
                </c:pt>
                <c:pt idx="580">
                  <c:v>39976</c:v>
                </c:pt>
                <c:pt idx="581">
                  <c:v>39979</c:v>
                </c:pt>
                <c:pt idx="582">
                  <c:v>39980</c:v>
                </c:pt>
                <c:pt idx="583">
                  <c:v>39981</c:v>
                </c:pt>
                <c:pt idx="584">
                  <c:v>39982</c:v>
                </c:pt>
                <c:pt idx="585">
                  <c:v>39983</c:v>
                </c:pt>
                <c:pt idx="586">
                  <c:v>39986</c:v>
                </c:pt>
                <c:pt idx="587">
                  <c:v>39987</c:v>
                </c:pt>
                <c:pt idx="588">
                  <c:v>39988</c:v>
                </c:pt>
                <c:pt idx="589">
                  <c:v>39989</c:v>
                </c:pt>
                <c:pt idx="590">
                  <c:v>39990</c:v>
                </c:pt>
                <c:pt idx="591">
                  <c:v>39993</c:v>
                </c:pt>
                <c:pt idx="592">
                  <c:v>39994</c:v>
                </c:pt>
                <c:pt idx="593">
                  <c:v>39995</c:v>
                </c:pt>
                <c:pt idx="594">
                  <c:v>39996</c:v>
                </c:pt>
                <c:pt idx="595">
                  <c:v>40000</c:v>
                </c:pt>
                <c:pt idx="596">
                  <c:v>40001</c:v>
                </c:pt>
                <c:pt idx="597">
                  <c:v>40002</c:v>
                </c:pt>
                <c:pt idx="598">
                  <c:v>40003</c:v>
                </c:pt>
                <c:pt idx="599">
                  <c:v>40004</c:v>
                </c:pt>
                <c:pt idx="600">
                  <c:v>40007</c:v>
                </c:pt>
                <c:pt idx="601">
                  <c:v>40008</c:v>
                </c:pt>
                <c:pt idx="602">
                  <c:v>40009</c:v>
                </c:pt>
                <c:pt idx="603">
                  <c:v>40010</c:v>
                </c:pt>
                <c:pt idx="604">
                  <c:v>40011</c:v>
                </c:pt>
                <c:pt idx="605">
                  <c:v>40014</c:v>
                </c:pt>
                <c:pt idx="606">
                  <c:v>40015</c:v>
                </c:pt>
                <c:pt idx="607">
                  <c:v>40016</c:v>
                </c:pt>
                <c:pt idx="608">
                  <c:v>40017</c:v>
                </c:pt>
                <c:pt idx="609">
                  <c:v>40018</c:v>
                </c:pt>
                <c:pt idx="610">
                  <c:v>40021</c:v>
                </c:pt>
                <c:pt idx="611">
                  <c:v>40022</c:v>
                </c:pt>
                <c:pt idx="612">
                  <c:v>40023</c:v>
                </c:pt>
                <c:pt idx="613">
                  <c:v>40024</c:v>
                </c:pt>
                <c:pt idx="614">
                  <c:v>40025</c:v>
                </c:pt>
                <c:pt idx="615">
                  <c:v>40028</c:v>
                </c:pt>
                <c:pt idx="616">
                  <c:v>40029</c:v>
                </c:pt>
                <c:pt idx="617">
                  <c:v>40030</c:v>
                </c:pt>
                <c:pt idx="618">
                  <c:v>40031</c:v>
                </c:pt>
                <c:pt idx="619">
                  <c:v>40032</c:v>
                </c:pt>
                <c:pt idx="620">
                  <c:v>40035</c:v>
                </c:pt>
                <c:pt idx="621">
                  <c:v>40036</c:v>
                </c:pt>
                <c:pt idx="622">
                  <c:v>40037</c:v>
                </c:pt>
                <c:pt idx="623">
                  <c:v>40038</c:v>
                </c:pt>
                <c:pt idx="624">
                  <c:v>40039</c:v>
                </c:pt>
                <c:pt idx="625">
                  <c:v>40042</c:v>
                </c:pt>
                <c:pt idx="626">
                  <c:v>40043</c:v>
                </c:pt>
                <c:pt idx="627">
                  <c:v>40044</c:v>
                </c:pt>
                <c:pt idx="628">
                  <c:v>40045</c:v>
                </c:pt>
                <c:pt idx="629">
                  <c:v>40046</c:v>
                </c:pt>
                <c:pt idx="630">
                  <c:v>40049</c:v>
                </c:pt>
                <c:pt idx="631">
                  <c:v>40050</c:v>
                </c:pt>
                <c:pt idx="632">
                  <c:v>40051</c:v>
                </c:pt>
                <c:pt idx="633">
                  <c:v>40052</c:v>
                </c:pt>
                <c:pt idx="634">
                  <c:v>40053</c:v>
                </c:pt>
                <c:pt idx="635">
                  <c:v>40056</c:v>
                </c:pt>
                <c:pt idx="636">
                  <c:v>40057</c:v>
                </c:pt>
                <c:pt idx="637">
                  <c:v>40058</c:v>
                </c:pt>
                <c:pt idx="638">
                  <c:v>40059</c:v>
                </c:pt>
                <c:pt idx="639">
                  <c:v>40060</c:v>
                </c:pt>
                <c:pt idx="640">
                  <c:v>40064</c:v>
                </c:pt>
                <c:pt idx="641">
                  <c:v>40065</c:v>
                </c:pt>
                <c:pt idx="642">
                  <c:v>40066</c:v>
                </c:pt>
                <c:pt idx="643">
                  <c:v>40067</c:v>
                </c:pt>
                <c:pt idx="644">
                  <c:v>40070</c:v>
                </c:pt>
                <c:pt idx="645">
                  <c:v>40071</c:v>
                </c:pt>
                <c:pt idx="646">
                  <c:v>40072</c:v>
                </c:pt>
                <c:pt idx="647">
                  <c:v>40073</c:v>
                </c:pt>
                <c:pt idx="648">
                  <c:v>40074</c:v>
                </c:pt>
                <c:pt idx="649">
                  <c:v>40077</c:v>
                </c:pt>
                <c:pt idx="650">
                  <c:v>40078</c:v>
                </c:pt>
                <c:pt idx="651">
                  <c:v>40079</c:v>
                </c:pt>
                <c:pt idx="652">
                  <c:v>40080</c:v>
                </c:pt>
                <c:pt idx="653">
                  <c:v>40081</c:v>
                </c:pt>
                <c:pt idx="654">
                  <c:v>40084</c:v>
                </c:pt>
                <c:pt idx="655">
                  <c:v>40085</c:v>
                </c:pt>
                <c:pt idx="656">
                  <c:v>40086</c:v>
                </c:pt>
                <c:pt idx="657">
                  <c:v>40087</c:v>
                </c:pt>
                <c:pt idx="658">
                  <c:v>40088</c:v>
                </c:pt>
                <c:pt idx="659">
                  <c:v>40091</c:v>
                </c:pt>
                <c:pt idx="660">
                  <c:v>40092</c:v>
                </c:pt>
                <c:pt idx="661">
                  <c:v>40093</c:v>
                </c:pt>
                <c:pt idx="662">
                  <c:v>40094</c:v>
                </c:pt>
                <c:pt idx="663">
                  <c:v>40095</c:v>
                </c:pt>
                <c:pt idx="664">
                  <c:v>40098</c:v>
                </c:pt>
                <c:pt idx="665">
                  <c:v>40099</c:v>
                </c:pt>
                <c:pt idx="666">
                  <c:v>40100</c:v>
                </c:pt>
                <c:pt idx="667">
                  <c:v>40101</c:v>
                </c:pt>
                <c:pt idx="668">
                  <c:v>40102</c:v>
                </c:pt>
                <c:pt idx="669">
                  <c:v>40105</c:v>
                </c:pt>
                <c:pt idx="670">
                  <c:v>40106</c:v>
                </c:pt>
                <c:pt idx="671">
                  <c:v>40107</c:v>
                </c:pt>
                <c:pt idx="672">
                  <c:v>40108</c:v>
                </c:pt>
                <c:pt idx="673">
                  <c:v>40109</c:v>
                </c:pt>
                <c:pt idx="674">
                  <c:v>40112</c:v>
                </c:pt>
                <c:pt idx="675">
                  <c:v>40113</c:v>
                </c:pt>
                <c:pt idx="676">
                  <c:v>40114</c:v>
                </c:pt>
                <c:pt idx="677">
                  <c:v>40115</c:v>
                </c:pt>
                <c:pt idx="678">
                  <c:v>40116</c:v>
                </c:pt>
                <c:pt idx="679">
                  <c:v>40119</c:v>
                </c:pt>
                <c:pt idx="680">
                  <c:v>40120</c:v>
                </c:pt>
                <c:pt idx="681">
                  <c:v>40121</c:v>
                </c:pt>
                <c:pt idx="682">
                  <c:v>40122</c:v>
                </c:pt>
                <c:pt idx="683">
                  <c:v>40123</c:v>
                </c:pt>
                <c:pt idx="684">
                  <c:v>40126</c:v>
                </c:pt>
                <c:pt idx="685">
                  <c:v>40127</c:v>
                </c:pt>
                <c:pt idx="686">
                  <c:v>40128</c:v>
                </c:pt>
                <c:pt idx="687">
                  <c:v>40129</c:v>
                </c:pt>
                <c:pt idx="688">
                  <c:v>40130</c:v>
                </c:pt>
                <c:pt idx="689">
                  <c:v>40133</c:v>
                </c:pt>
                <c:pt idx="690">
                  <c:v>40134</c:v>
                </c:pt>
                <c:pt idx="691">
                  <c:v>40135</c:v>
                </c:pt>
                <c:pt idx="692">
                  <c:v>40136</c:v>
                </c:pt>
                <c:pt idx="693">
                  <c:v>40137</c:v>
                </c:pt>
                <c:pt idx="694">
                  <c:v>40140</c:v>
                </c:pt>
                <c:pt idx="695">
                  <c:v>40141</c:v>
                </c:pt>
                <c:pt idx="696">
                  <c:v>40142</c:v>
                </c:pt>
                <c:pt idx="697">
                  <c:v>40144</c:v>
                </c:pt>
                <c:pt idx="698">
                  <c:v>40147</c:v>
                </c:pt>
                <c:pt idx="699">
                  <c:v>40148</c:v>
                </c:pt>
                <c:pt idx="700">
                  <c:v>40149</c:v>
                </c:pt>
                <c:pt idx="701">
                  <c:v>40150</c:v>
                </c:pt>
                <c:pt idx="702">
                  <c:v>40151</c:v>
                </c:pt>
                <c:pt idx="703">
                  <c:v>40154</c:v>
                </c:pt>
                <c:pt idx="704">
                  <c:v>40155</c:v>
                </c:pt>
                <c:pt idx="705">
                  <c:v>40156</c:v>
                </c:pt>
                <c:pt idx="706">
                  <c:v>40157</c:v>
                </c:pt>
                <c:pt idx="707">
                  <c:v>40158</c:v>
                </c:pt>
                <c:pt idx="708">
                  <c:v>40161</c:v>
                </c:pt>
                <c:pt idx="709">
                  <c:v>40162</c:v>
                </c:pt>
                <c:pt idx="710">
                  <c:v>40163</c:v>
                </c:pt>
                <c:pt idx="711">
                  <c:v>40164</c:v>
                </c:pt>
                <c:pt idx="712">
                  <c:v>40165</c:v>
                </c:pt>
                <c:pt idx="713">
                  <c:v>40168</c:v>
                </c:pt>
                <c:pt idx="714">
                  <c:v>40169</c:v>
                </c:pt>
                <c:pt idx="715">
                  <c:v>40170</c:v>
                </c:pt>
                <c:pt idx="716">
                  <c:v>40171</c:v>
                </c:pt>
                <c:pt idx="717">
                  <c:v>40175</c:v>
                </c:pt>
                <c:pt idx="718">
                  <c:v>40176</c:v>
                </c:pt>
                <c:pt idx="719">
                  <c:v>40177</c:v>
                </c:pt>
                <c:pt idx="720">
                  <c:v>40178</c:v>
                </c:pt>
                <c:pt idx="721">
                  <c:v>40182</c:v>
                </c:pt>
                <c:pt idx="722">
                  <c:v>40183</c:v>
                </c:pt>
                <c:pt idx="723">
                  <c:v>40184</c:v>
                </c:pt>
                <c:pt idx="724">
                  <c:v>40185</c:v>
                </c:pt>
                <c:pt idx="725">
                  <c:v>40186</c:v>
                </c:pt>
                <c:pt idx="726">
                  <c:v>40189</c:v>
                </c:pt>
                <c:pt idx="727">
                  <c:v>40190</c:v>
                </c:pt>
                <c:pt idx="728">
                  <c:v>40191</c:v>
                </c:pt>
                <c:pt idx="729">
                  <c:v>40192</c:v>
                </c:pt>
                <c:pt idx="730">
                  <c:v>40193</c:v>
                </c:pt>
                <c:pt idx="731">
                  <c:v>40197</c:v>
                </c:pt>
                <c:pt idx="732">
                  <c:v>40198</c:v>
                </c:pt>
                <c:pt idx="733">
                  <c:v>40199</c:v>
                </c:pt>
                <c:pt idx="734">
                  <c:v>40200</c:v>
                </c:pt>
                <c:pt idx="735">
                  <c:v>40203</c:v>
                </c:pt>
                <c:pt idx="736">
                  <c:v>40204</c:v>
                </c:pt>
                <c:pt idx="737">
                  <c:v>40205</c:v>
                </c:pt>
                <c:pt idx="738">
                  <c:v>40206</c:v>
                </c:pt>
                <c:pt idx="739">
                  <c:v>40207</c:v>
                </c:pt>
                <c:pt idx="740">
                  <c:v>40210</c:v>
                </c:pt>
                <c:pt idx="741">
                  <c:v>40211</c:v>
                </c:pt>
                <c:pt idx="742">
                  <c:v>40212</c:v>
                </c:pt>
                <c:pt idx="743">
                  <c:v>40213</c:v>
                </c:pt>
                <c:pt idx="744">
                  <c:v>40214</c:v>
                </c:pt>
                <c:pt idx="745">
                  <c:v>40217</c:v>
                </c:pt>
                <c:pt idx="746">
                  <c:v>40218</c:v>
                </c:pt>
                <c:pt idx="747">
                  <c:v>40219</c:v>
                </c:pt>
                <c:pt idx="748">
                  <c:v>40220</c:v>
                </c:pt>
                <c:pt idx="749">
                  <c:v>40221</c:v>
                </c:pt>
                <c:pt idx="750">
                  <c:v>40225</c:v>
                </c:pt>
                <c:pt idx="751">
                  <c:v>40226</c:v>
                </c:pt>
                <c:pt idx="752">
                  <c:v>40227</c:v>
                </c:pt>
                <c:pt idx="753">
                  <c:v>40228</c:v>
                </c:pt>
                <c:pt idx="754">
                  <c:v>40231</c:v>
                </c:pt>
                <c:pt idx="755">
                  <c:v>40232</c:v>
                </c:pt>
                <c:pt idx="756">
                  <c:v>40233</c:v>
                </c:pt>
                <c:pt idx="757">
                  <c:v>40234</c:v>
                </c:pt>
                <c:pt idx="758">
                  <c:v>40235</c:v>
                </c:pt>
                <c:pt idx="759">
                  <c:v>40238</c:v>
                </c:pt>
                <c:pt idx="760">
                  <c:v>40239</c:v>
                </c:pt>
                <c:pt idx="761">
                  <c:v>40240</c:v>
                </c:pt>
                <c:pt idx="762">
                  <c:v>40241</c:v>
                </c:pt>
                <c:pt idx="763">
                  <c:v>40242</c:v>
                </c:pt>
                <c:pt idx="764">
                  <c:v>40245</c:v>
                </c:pt>
                <c:pt idx="765">
                  <c:v>40246</c:v>
                </c:pt>
                <c:pt idx="766">
                  <c:v>40247</c:v>
                </c:pt>
                <c:pt idx="767">
                  <c:v>40248</c:v>
                </c:pt>
                <c:pt idx="768">
                  <c:v>40249</c:v>
                </c:pt>
                <c:pt idx="769">
                  <c:v>40252</c:v>
                </c:pt>
                <c:pt idx="770">
                  <c:v>40253</c:v>
                </c:pt>
                <c:pt idx="771">
                  <c:v>40254</c:v>
                </c:pt>
                <c:pt idx="772">
                  <c:v>40255</c:v>
                </c:pt>
                <c:pt idx="773">
                  <c:v>40256</c:v>
                </c:pt>
                <c:pt idx="774">
                  <c:v>40259</c:v>
                </c:pt>
                <c:pt idx="775">
                  <c:v>40260</c:v>
                </c:pt>
                <c:pt idx="776">
                  <c:v>40261</c:v>
                </c:pt>
                <c:pt idx="777">
                  <c:v>40262</c:v>
                </c:pt>
                <c:pt idx="778">
                  <c:v>40263</c:v>
                </c:pt>
                <c:pt idx="779">
                  <c:v>40266</c:v>
                </c:pt>
                <c:pt idx="780">
                  <c:v>40267</c:v>
                </c:pt>
                <c:pt idx="781">
                  <c:v>40268</c:v>
                </c:pt>
                <c:pt idx="782">
                  <c:v>40269</c:v>
                </c:pt>
                <c:pt idx="783">
                  <c:v>40273</c:v>
                </c:pt>
                <c:pt idx="784">
                  <c:v>40274</c:v>
                </c:pt>
                <c:pt idx="785">
                  <c:v>40275</c:v>
                </c:pt>
                <c:pt idx="786">
                  <c:v>40276</c:v>
                </c:pt>
                <c:pt idx="787">
                  <c:v>40277</c:v>
                </c:pt>
                <c:pt idx="788">
                  <c:v>40280</c:v>
                </c:pt>
                <c:pt idx="789">
                  <c:v>40281</c:v>
                </c:pt>
                <c:pt idx="790">
                  <c:v>40282</c:v>
                </c:pt>
                <c:pt idx="791">
                  <c:v>40283</c:v>
                </c:pt>
                <c:pt idx="792">
                  <c:v>40284</c:v>
                </c:pt>
                <c:pt idx="793">
                  <c:v>40287</c:v>
                </c:pt>
                <c:pt idx="794">
                  <c:v>40288</c:v>
                </c:pt>
                <c:pt idx="795">
                  <c:v>40289</c:v>
                </c:pt>
                <c:pt idx="796">
                  <c:v>40290</c:v>
                </c:pt>
                <c:pt idx="797">
                  <c:v>40291</c:v>
                </c:pt>
                <c:pt idx="798">
                  <c:v>40294</c:v>
                </c:pt>
                <c:pt idx="799">
                  <c:v>40295</c:v>
                </c:pt>
                <c:pt idx="800">
                  <c:v>40296</c:v>
                </c:pt>
                <c:pt idx="801">
                  <c:v>40297</c:v>
                </c:pt>
                <c:pt idx="802">
                  <c:v>40298</c:v>
                </c:pt>
                <c:pt idx="803">
                  <c:v>40301</c:v>
                </c:pt>
                <c:pt idx="804">
                  <c:v>40302</c:v>
                </c:pt>
                <c:pt idx="805">
                  <c:v>40303</c:v>
                </c:pt>
                <c:pt idx="806">
                  <c:v>40304</c:v>
                </c:pt>
                <c:pt idx="807">
                  <c:v>40305</c:v>
                </c:pt>
                <c:pt idx="808">
                  <c:v>40308</c:v>
                </c:pt>
                <c:pt idx="809">
                  <c:v>40309</c:v>
                </c:pt>
                <c:pt idx="810">
                  <c:v>40310</c:v>
                </c:pt>
                <c:pt idx="811">
                  <c:v>40311</c:v>
                </c:pt>
                <c:pt idx="812">
                  <c:v>40312</c:v>
                </c:pt>
                <c:pt idx="813">
                  <c:v>40315</c:v>
                </c:pt>
                <c:pt idx="814">
                  <c:v>40316</c:v>
                </c:pt>
                <c:pt idx="815">
                  <c:v>40317</c:v>
                </c:pt>
                <c:pt idx="816">
                  <c:v>40318</c:v>
                </c:pt>
                <c:pt idx="817">
                  <c:v>40319</c:v>
                </c:pt>
                <c:pt idx="818">
                  <c:v>40322</c:v>
                </c:pt>
                <c:pt idx="819">
                  <c:v>40323</c:v>
                </c:pt>
                <c:pt idx="820">
                  <c:v>40324</c:v>
                </c:pt>
                <c:pt idx="821">
                  <c:v>40325</c:v>
                </c:pt>
                <c:pt idx="822">
                  <c:v>40326</c:v>
                </c:pt>
                <c:pt idx="823">
                  <c:v>40330</c:v>
                </c:pt>
                <c:pt idx="824">
                  <c:v>40331</c:v>
                </c:pt>
                <c:pt idx="825">
                  <c:v>40332</c:v>
                </c:pt>
                <c:pt idx="826">
                  <c:v>40333</c:v>
                </c:pt>
                <c:pt idx="827">
                  <c:v>40336</c:v>
                </c:pt>
                <c:pt idx="828">
                  <c:v>40337</c:v>
                </c:pt>
                <c:pt idx="829">
                  <c:v>40338</c:v>
                </c:pt>
                <c:pt idx="830">
                  <c:v>40339</c:v>
                </c:pt>
                <c:pt idx="831">
                  <c:v>40340</c:v>
                </c:pt>
                <c:pt idx="832">
                  <c:v>40343</c:v>
                </c:pt>
                <c:pt idx="833">
                  <c:v>40344</c:v>
                </c:pt>
                <c:pt idx="834">
                  <c:v>40345</c:v>
                </c:pt>
                <c:pt idx="835">
                  <c:v>40346</c:v>
                </c:pt>
                <c:pt idx="836">
                  <c:v>40347</c:v>
                </c:pt>
                <c:pt idx="837">
                  <c:v>40350</c:v>
                </c:pt>
                <c:pt idx="838">
                  <c:v>40351</c:v>
                </c:pt>
                <c:pt idx="839">
                  <c:v>40352</c:v>
                </c:pt>
                <c:pt idx="840">
                  <c:v>40353</c:v>
                </c:pt>
                <c:pt idx="841">
                  <c:v>40354</c:v>
                </c:pt>
                <c:pt idx="842">
                  <c:v>40357</c:v>
                </c:pt>
                <c:pt idx="843">
                  <c:v>40358</c:v>
                </c:pt>
                <c:pt idx="844">
                  <c:v>40359</c:v>
                </c:pt>
                <c:pt idx="845">
                  <c:v>40360</c:v>
                </c:pt>
                <c:pt idx="846">
                  <c:v>40361</c:v>
                </c:pt>
                <c:pt idx="847">
                  <c:v>40365</c:v>
                </c:pt>
                <c:pt idx="848">
                  <c:v>40366</c:v>
                </c:pt>
                <c:pt idx="849">
                  <c:v>40367</c:v>
                </c:pt>
                <c:pt idx="850">
                  <c:v>40368</c:v>
                </c:pt>
                <c:pt idx="851">
                  <c:v>40371</c:v>
                </c:pt>
                <c:pt idx="852">
                  <c:v>40372</c:v>
                </c:pt>
                <c:pt idx="853">
                  <c:v>40373</c:v>
                </c:pt>
                <c:pt idx="854">
                  <c:v>40374</c:v>
                </c:pt>
                <c:pt idx="855">
                  <c:v>40375</c:v>
                </c:pt>
                <c:pt idx="856">
                  <c:v>40378</c:v>
                </c:pt>
                <c:pt idx="857">
                  <c:v>40379</c:v>
                </c:pt>
                <c:pt idx="858">
                  <c:v>40380</c:v>
                </c:pt>
                <c:pt idx="859">
                  <c:v>40381</c:v>
                </c:pt>
                <c:pt idx="860">
                  <c:v>40382</c:v>
                </c:pt>
                <c:pt idx="861">
                  <c:v>40385</c:v>
                </c:pt>
                <c:pt idx="862">
                  <c:v>40386</c:v>
                </c:pt>
                <c:pt idx="863">
                  <c:v>40387</c:v>
                </c:pt>
                <c:pt idx="864">
                  <c:v>40388</c:v>
                </c:pt>
                <c:pt idx="865">
                  <c:v>40389</c:v>
                </c:pt>
                <c:pt idx="866">
                  <c:v>40392</c:v>
                </c:pt>
                <c:pt idx="867">
                  <c:v>40393</c:v>
                </c:pt>
                <c:pt idx="868">
                  <c:v>40394</c:v>
                </c:pt>
                <c:pt idx="869">
                  <c:v>40395</c:v>
                </c:pt>
                <c:pt idx="870">
                  <c:v>40396</c:v>
                </c:pt>
                <c:pt idx="871">
                  <c:v>40399</c:v>
                </c:pt>
                <c:pt idx="872">
                  <c:v>40400</c:v>
                </c:pt>
                <c:pt idx="873">
                  <c:v>40401</c:v>
                </c:pt>
                <c:pt idx="874">
                  <c:v>40402</c:v>
                </c:pt>
                <c:pt idx="875">
                  <c:v>40403</c:v>
                </c:pt>
                <c:pt idx="876">
                  <c:v>40406</c:v>
                </c:pt>
                <c:pt idx="877">
                  <c:v>40407</c:v>
                </c:pt>
                <c:pt idx="878">
                  <c:v>40408</c:v>
                </c:pt>
                <c:pt idx="879">
                  <c:v>40409</c:v>
                </c:pt>
                <c:pt idx="880">
                  <c:v>40410</c:v>
                </c:pt>
                <c:pt idx="881">
                  <c:v>40413</c:v>
                </c:pt>
                <c:pt idx="882">
                  <c:v>40414</c:v>
                </c:pt>
                <c:pt idx="883">
                  <c:v>40415</c:v>
                </c:pt>
                <c:pt idx="884">
                  <c:v>40416</c:v>
                </c:pt>
                <c:pt idx="885">
                  <c:v>40417</c:v>
                </c:pt>
                <c:pt idx="886">
                  <c:v>40420</c:v>
                </c:pt>
                <c:pt idx="887">
                  <c:v>40421</c:v>
                </c:pt>
                <c:pt idx="888">
                  <c:v>40422</c:v>
                </c:pt>
                <c:pt idx="889">
                  <c:v>40423</c:v>
                </c:pt>
                <c:pt idx="890">
                  <c:v>40424</c:v>
                </c:pt>
                <c:pt idx="891">
                  <c:v>40428</c:v>
                </c:pt>
                <c:pt idx="892">
                  <c:v>40429</c:v>
                </c:pt>
                <c:pt idx="893">
                  <c:v>40430</c:v>
                </c:pt>
                <c:pt idx="894">
                  <c:v>40431</c:v>
                </c:pt>
                <c:pt idx="895">
                  <c:v>40434</c:v>
                </c:pt>
                <c:pt idx="896">
                  <c:v>40435</c:v>
                </c:pt>
                <c:pt idx="897">
                  <c:v>40436</c:v>
                </c:pt>
                <c:pt idx="898">
                  <c:v>40437</c:v>
                </c:pt>
                <c:pt idx="899">
                  <c:v>40438</c:v>
                </c:pt>
                <c:pt idx="900">
                  <c:v>40441</c:v>
                </c:pt>
                <c:pt idx="901">
                  <c:v>40442</c:v>
                </c:pt>
                <c:pt idx="902">
                  <c:v>40443</c:v>
                </c:pt>
                <c:pt idx="903">
                  <c:v>40444</c:v>
                </c:pt>
                <c:pt idx="904">
                  <c:v>40445</c:v>
                </c:pt>
                <c:pt idx="905">
                  <c:v>40448</c:v>
                </c:pt>
                <c:pt idx="906">
                  <c:v>40449</c:v>
                </c:pt>
                <c:pt idx="907">
                  <c:v>40450</c:v>
                </c:pt>
                <c:pt idx="908">
                  <c:v>40451</c:v>
                </c:pt>
                <c:pt idx="909">
                  <c:v>40452</c:v>
                </c:pt>
                <c:pt idx="910">
                  <c:v>40455</c:v>
                </c:pt>
                <c:pt idx="911">
                  <c:v>40456</c:v>
                </c:pt>
                <c:pt idx="912">
                  <c:v>40457</c:v>
                </c:pt>
                <c:pt idx="913">
                  <c:v>40458</c:v>
                </c:pt>
                <c:pt idx="914">
                  <c:v>40459</c:v>
                </c:pt>
                <c:pt idx="915">
                  <c:v>40462</c:v>
                </c:pt>
                <c:pt idx="916">
                  <c:v>40463</c:v>
                </c:pt>
                <c:pt idx="917">
                  <c:v>40464</c:v>
                </c:pt>
                <c:pt idx="918">
                  <c:v>40465</c:v>
                </c:pt>
                <c:pt idx="919">
                  <c:v>40466</c:v>
                </c:pt>
                <c:pt idx="920">
                  <c:v>40469</c:v>
                </c:pt>
                <c:pt idx="921">
                  <c:v>40470</c:v>
                </c:pt>
                <c:pt idx="922">
                  <c:v>40471</c:v>
                </c:pt>
                <c:pt idx="923">
                  <c:v>40472</c:v>
                </c:pt>
                <c:pt idx="924">
                  <c:v>40473</c:v>
                </c:pt>
                <c:pt idx="925">
                  <c:v>40476</c:v>
                </c:pt>
                <c:pt idx="926">
                  <c:v>40477</c:v>
                </c:pt>
                <c:pt idx="927">
                  <c:v>40478</c:v>
                </c:pt>
                <c:pt idx="928">
                  <c:v>40479</c:v>
                </c:pt>
                <c:pt idx="929">
                  <c:v>40480</c:v>
                </c:pt>
                <c:pt idx="930">
                  <c:v>40483</c:v>
                </c:pt>
                <c:pt idx="931">
                  <c:v>40484</c:v>
                </c:pt>
                <c:pt idx="932">
                  <c:v>40485</c:v>
                </c:pt>
                <c:pt idx="933">
                  <c:v>40486</c:v>
                </c:pt>
                <c:pt idx="934">
                  <c:v>40487</c:v>
                </c:pt>
                <c:pt idx="935">
                  <c:v>40490</c:v>
                </c:pt>
                <c:pt idx="936">
                  <c:v>40491</c:v>
                </c:pt>
                <c:pt idx="937">
                  <c:v>40492</c:v>
                </c:pt>
                <c:pt idx="938">
                  <c:v>40493</c:v>
                </c:pt>
                <c:pt idx="939">
                  <c:v>40494</c:v>
                </c:pt>
                <c:pt idx="940">
                  <c:v>40497</c:v>
                </c:pt>
                <c:pt idx="941">
                  <c:v>40498</c:v>
                </c:pt>
                <c:pt idx="942">
                  <c:v>40499</c:v>
                </c:pt>
                <c:pt idx="943">
                  <c:v>40500</c:v>
                </c:pt>
                <c:pt idx="944">
                  <c:v>40501</c:v>
                </c:pt>
                <c:pt idx="945">
                  <c:v>40504</c:v>
                </c:pt>
                <c:pt idx="946">
                  <c:v>40505</c:v>
                </c:pt>
                <c:pt idx="947">
                  <c:v>40506</c:v>
                </c:pt>
                <c:pt idx="948">
                  <c:v>40508</c:v>
                </c:pt>
                <c:pt idx="949">
                  <c:v>40511</c:v>
                </c:pt>
                <c:pt idx="950">
                  <c:v>40512</c:v>
                </c:pt>
                <c:pt idx="951">
                  <c:v>40513</c:v>
                </c:pt>
                <c:pt idx="952">
                  <c:v>40514</c:v>
                </c:pt>
                <c:pt idx="953">
                  <c:v>40515</c:v>
                </c:pt>
                <c:pt idx="954">
                  <c:v>40518</c:v>
                </c:pt>
                <c:pt idx="955">
                  <c:v>40519</c:v>
                </c:pt>
                <c:pt idx="956">
                  <c:v>40520</c:v>
                </c:pt>
                <c:pt idx="957">
                  <c:v>40521</c:v>
                </c:pt>
                <c:pt idx="958">
                  <c:v>40522</c:v>
                </c:pt>
                <c:pt idx="959">
                  <c:v>40525</c:v>
                </c:pt>
                <c:pt idx="960">
                  <c:v>40526</c:v>
                </c:pt>
                <c:pt idx="961">
                  <c:v>40527</c:v>
                </c:pt>
                <c:pt idx="962">
                  <c:v>40528</c:v>
                </c:pt>
                <c:pt idx="963">
                  <c:v>40529</c:v>
                </c:pt>
                <c:pt idx="964">
                  <c:v>40532</c:v>
                </c:pt>
                <c:pt idx="965">
                  <c:v>40533</c:v>
                </c:pt>
                <c:pt idx="966">
                  <c:v>40534</c:v>
                </c:pt>
                <c:pt idx="967">
                  <c:v>40535</c:v>
                </c:pt>
                <c:pt idx="968">
                  <c:v>40539</c:v>
                </c:pt>
                <c:pt idx="969">
                  <c:v>40540</c:v>
                </c:pt>
                <c:pt idx="970">
                  <c:v>40541</c:v>
                </c:pt>
                <c:pt idx="971">
                  <c:v>40542</c:v>
                </c:pt>
                <c:pt idx="972">
                  <c:v>40543</c:v>
                </c:pt>
                <c:pt idx="973">
                  <c:v>40546</c:v>
                </c:pt>
                <c:pt idx="974">
                  <c:v>40547</c:v>
                </c:pt>
                <c:pt idx="975">
                  <c:v>40548</c:v>
                </c:pt>
                <c:pt idx="976">
                  <c:v>40549</c:v>
                </c:pt>
                <c:pt idx="977">
                  <c:v>40550</c:v>
                </c:pt>
                <c:pt idx="978">
                  <c:v>40553</c:v>
                </c:pt>
                <c:pt idx="979">
                  <c:v>40554</c:v>
                </c:pt>
                <c:pt idx="980">
                  <c:v>40555</c:v>
                </c:pt>
                <c:pt idx="981">
                  <c:v>40556</c:v>
                </c:pt>
                <c:pt idx="982">
                  <c:v>40557</c:v>
                </c:pt>
                <c:pt idx="983">
                  <c:v>40561</c:v>
                </c:pt>
                <c:pt idx="984">
                  <c:v>40562</c:v>
                </c:pt>
                <c:pt idx="985">
                  <c:v>40563</c:v>
                </c:pt>
                <c:pt idx="986">
                  <c:v>40564</c:v>
                </c:pt>
                <c:pt idx="987">
                  <c:v>40567</c:v>
                </c:pt>
                <c:pt idx="988">
                  <c:v>40568</c:v>
                </c:pt>
                <c:pt idx="989">
                  <c:v>40569</c:v>
                </c:pt>
                <c:pt idx="990">
                  <c:v>40570</c:v>
                </c:pt>
                <c:pt idx="991">
                  <c:v>40571</c:v>
                </c:pt>
                <c:pt idx="992">
                  <c:v>40574</c:v>
                </c:pt>
                <c:pt idx="993">
                  <c:v>40575</c:v>
                </c:pt>
                <c:pt idx="994">
                  <c:v>40576</c:v>
                </c:pt>
                <c:pt idx="995">
                  <c:v>40577</c:v>
                </c:pt>
                <c:pt idx="996">
                  <c:v>40578</c:v>
                </c:pt>
                <c:pt idx="997">
                  <c:v>40581</c:v>
                </c:pt>
                <c:pt idx="998">
                  <c:v>40582</c:v>
                </c:pt>
                <c:pt idx="999">
                  <c:v>40583</c:v>
                </c:pt>
                <c:pt idx="1000">
                  <c:v>40584</c:v>
                </c:pt>
                <c:pt idx="1001">
                  <c:v>40585</c:v>
                </c:pt>
                <c:pt idx="1002">
                  <c:v>40588</c:v>
                </c:pt>
                <c:pt idx="1003">
                  <c:v>40589</c:v>
                </c:pt>
                <c:pt idx="1004">
                  <c:v>40590</c:v>
                </c:pt>
                <c:pt idx="1005">
                  <c:v>40591</c:v>
                </c:pt>
                <c:pt idx="1006">
                  <c:v>40592</c:v>
                </c:pt>
                <c:pt idx="1007">
                  <c:v>40596</c:v>
                </c:pt>
                <c:pt idx="1008">
                  <c:v>40597</c:v>
                </c:pt>
                <c:pt idx="1009">
                  <c:v>40598</c:v>
                </c:pt>
                <c:pt idx="1010">
                  <c:v>40599</c:v>
                </c:pt>
                <c:pt idx="1011">
                  <c:v>40602</c:v>
                </c:pt>
                <c:pt idx="1012">
                  <c:v>40603</c:v>
                </c:pt>
                <c:pt idx="1013">
                  <c:v>40604</c:v>
                </c:pt>
                <c:pt idx="1014">
                  <c:v>40605</c:v>
                </c:pt>
                <c:pt idx="1015">
                  <c:v>40606</c:v>
                </c:pt>
                <c:pt idx="1016">
                  <c:v>40609</c:v>
                </c:pt>
                <c:pt idx="1017">
                  <c:v>40610</c:v>
                </c:pt>
                <c:pt idx="1018">
                  <c:v>40611</c:v>
                </c:pt>
                <c:pt idx="1019">
                  <c:v>40612</c:v>
                </c:pt>
                <c:pt idx="1020">
                  <c:v>40613</c:v>
                </c:pt>
                <c:pt idx="1021">
                  <c:v>40616</c:v>
                </c:pt>
                <c:pt idx="1022">
                  <c:v>40617</c:v>
                </c:pt>
                <c:pt idx="1023">
                  <c:v>40618</c:v>
                </c:pt>
                <c:pt idx="1024">
                  <c:v>40619</c:v>
                </c:pt>
                <c:pt idx="1025">
                  <c:v>40620</c:v>
                </c:pt>
                <c:pt idx="1026">
                  <c:v>40623</c:v>
                </c:pt>
                <c:pt idx="1027">
                  <c:v>40624</c:v>
                </c:pt>
                <c:pt idx="1028">
                  <c:v>40625</c:v>
                </c:pt>
                <c:pt idx="1029">
                  <c:v>40626</c:v>
                </c:pt>
                <c:pt idx="1030">
                  <c:v>40627</c:v>
                </c:pt>
                <c:pt idx="1031">
                  <c:v>40630</c:v>
                </c:pt>
                <c:pt idx="1032">
                  <c:v>40631</c:v>
                </c:pt>
                <c:pt idx="1033">
                  <c:v>40632</c:v>
                </c:pt>
                <c:pt idx="1034">
                  <c:v>40633</c:v>
                </c:pt>
                <c:pt idx="1035">
                  <c:v>40634</c:v>
                </c:pt>
                <c:pt idx="1036">
                  <c:v>40637</c:v>
                </c:pt>
                <c:pt idx="1037">
                  <c:v>40638</c:v>
                </c:pt>
                <c:pt idx="1038">
                  <c:v>40639</c:v>
                </c:pt>
                <c:pt idx="1039">
                  <c:v>40640</c:v>
                </c:pt>
                <c:pt idx="1040">
                  <c:v>40641</c:v>
                </c:pt>
                <c:pt idx="1041">
                  <c:v>40644</c:v>
                </c:pt>
                <c:pt idx="1042">
                  <c:v>40645</c:v>
                </c:pt>
                <c:pt idx="1043">
                  <c:v>40646</c:v>
                </c:pt>
                <c:pt idx="1044">
                  <c:v>40647</c:v>
                </c:pt>
                <c:pt idx="1045">
                  <c:v>40648</c:v>
                </c:pt>
                <c:pt idx="1046">
                  <c:v>40651</c:v>
                </c:pt>
                <c:pt idx="1047">
                  <c:v>40652</c:v>
                </c:pt>
                <c:pt idx="1048">
                  <c:v>40653</c:v>
                </c:pt>
                <c:pt idx="1049">
                  <c:v>40654</c:v>
                </c:pt>
                <c:pt idx="1050">
                  <c:v>40658</c:v>
                </c:pt>
                <c:pt idx="1051">
                  <c:v>40659</c:v>
                </c:pt>
                <c:pt idx="1052">
                  <c:v>40660</c:v>
                </c:pt>
                <c:pt idx="1053">
                  <c:v>40661</c:v>
                </c:pt>
                <c:pt idx="1054">
                  <c:v>40662</c:v>
                </c:pt>
                <c:pt idx="1055">
                  <c:v>40665</c:v>
                </c:pt>
                <c:pt idx="1056">
                  <c:v>40666</c:v>
                </c:pt>
                <c:pt idx="1057">
                  <c:v>40667</c:v>
                </c:pt>
                <c:pt idx="1058">
                  <c:v>40668</c:v>
                </c:pt>
                <c:pt idx="1059">
                  <c:v>40669</c:v>
                </c:pt>
                <c:pt idx="1060">
                  <c:v>40672</c:v>
                </c:pt>
                <c:pt idx="1061">
                  <c:v>40673</c:v>
                </c:pt>
                <c:pt idx="1062">
                  <c:v>40674</c:v>
                </c:pt>
                <c:pt idx="1063">
                  <c:v>40675</c:v>
                </c:pt>
                <c:pt idx="1064">
                  <c:v>40676</c:v>
                </c:pt>
                <c:pt idx="1065">
                  <c:v>40679</c:v>
                </c:pt>
                <c:pt idx="1066">
                  <c:v>40680</c:v>
                </c:pt>
                <c:pt idx="1067">
                  <c:v>40681</c:v>
                </c:pt>
                <c:pt idx="1068">
                  <c:v>40682</c:v>
                </c:pt>
                <c:pt idx="1069">
                  <c:v>40683</c:v>
                </c:pt>
                <c:pt idx="1070">
                  <c:v>40686</c:v>
                </c:pt>
                <c:pt idx="1071">
                  <c:v>40687</c:v>
                </c:pt>
                <c:pt idx="1072">
                  <c:v>40688</c:v>
                </c:pt>
                <c:pt idx="1073">
                  <c:v>40689</c:v>
                </c:pt>
                <c:pt idx="1074">
                  <c:v>40690</c:v>
                </c:pt>
                <c:pt idx="1075">
                  <c:v>40694</c:v>
                </c:pt>
                <c:pt idx="1076">
                  <c:v>40695</c:v>
                </c:pt>
                <c:pt idx="1077">
                  <c:v>40696</c:v>
                </c:pt>
                <c:pt idx="1078">
                  <c:v>40697</c:v>
                </c:pt>
                <c:pt idx="1079">
                  <c:v>40700</c:v>
                </c:pt>
                <c:pt idx="1080">
                  <c:v>40701</c:v>
                </c:pt>
                <c:pt idx="1081">
                  <c:v>40702</c:v>
                </c:pt>
                <c:pt idx="1082">
                  <c:v>40703</c:v>
                </c:pt>
                <c:pt idx="1083">
                  <c:v>40704</c:v>
                </c:pt>
                <c:pt idx="1084">
                  <c:v>40707</c:v>
                </c:pt>
                <c:pt idx="1085">
                  <c:v>40708</c:v>
                </c:pt>
                <c:pt idx="1086">
                  <c:v>40709</c:v>
                </c:pt>
                <c:pt idx="1087">
                  <c:v>40710</c:v>
                </c:pt>
                <c:pt idx="1088">
                  <c:v>40711</c:v>
                </c:pt>
                <c:pt idx="1089">
                  <c:v>40714</c:v>
                </c:pt>
                <c:pt idx="1090">
                  <c:v>40715</c:v>
                </c:pt>
                <c:pt idx="1091">
                  <c:v>40716</c:v>
                </c:pt>
                <c:pt idx="1092">
                  <c:v>40717</c:v>
                </c:pt>
                <c:pt idx="1093">
                  <c:v>40718</c:v>
                </c:pt>
                <c:pt idx="1094">
                  <c:v>40721</c:v>
                </c:pt>
                <c:pt idx="1095">
                  <c:v>40722</c:v>
                </c:pt>
                <c:pt idx="1096">
                  <c:v>40723</c:v>
                </c:pt>
                <c:pt idx="1097">
                  <c:v>40724</c:v>
                </c:pt>
                <c:pt idx="1098">
                  <c:v>40725</c:v>
                </c:pt>
                <c:pt idx="1099">
                  <c:v>40729</c:v>
                </c:pt>
                <c:pt idx="1100">
                  <c:v>40730</c:v>
                </c:pt>
                <c:pt idx="1101">
                  <c:v>40731</c:v>
                </c:pt>
                <c:pt idx="1102">
                  <c:v>40732</c:v>
                </c:pt>
                <c:pt idx="1103">
                  <c:v>40735</c:v>
                </c:pt>
                <c:pt idx="1104">
                  <c:v>40736</c:v>
                </c:pt>
                <c:pt idx="1105">
                  <c:v>40737</c:v>
                </c:pt>
                <c:pt idx="1106">
                  <c:v>40738</c:v>
                </c:pt>
                <c:pt idx="1107">
                  <c:v>40739</c:v>
                </c:pt>
                <c:pt idx="1108">
                  <c:v>40742</c:v>
                </c:pt>
                <c:pt idx="1109">
                  <c:v>40743</c:v>
                </c:pt>
                <c:pt idx="1110">
                  <c:v>40744</c:v>
                </c:pt>
                <c:pt idx="1111">
                  <c:v>40745</c:v>
                </c:pt>
                <c:pt idx="1112">
                  <c:v>40746</c:v>
                </c:pt>
                <c:pt idx="1113">
                  <c:v>40749</c:v>
                </c:pt>
                <c:pt idx="1114">
                  <c:v>40750</c:v>
                </c:pt>
                <c:pt idx="1115">
                  <c:v>40751</c:v>
                </c:pt>
                <c:pt idx="1116">
                  <c:v>40752</c:v>
                </c:pt>
                <c:pt idx="1117">
                  <c:v>40753</c:v>
                </c:pt>
                <c:pt idx="1118">
                  <c:v>40756</c:v>
                </c:pt>
                <c:pt idx="1119">
                  <c:v>40757</c:v>
                </c:pt>
                <c:pt idx="1120">
                  <c:v>40758</c:v>
                </c:pt>
                <c:pt idx="1121">
                  <c:v>40759</c:v>
                </c:pt>
                <c:pt idx="1122">
                  <c:v>40760</c:v>
                </c:pt>
                <c:pt idx="1123">
                  <c:v>40763</c:v>
                </c:pt>
                <c:pt idx="1124">
                  <c:v>40764</c:v>
                </c:pt>
                <c:pt idx="1125">
                  <c:v>40765</c:v>
                </c:pt>
                <c:pt idx="1126">
                  <c:v>40766</c:v>
                </c:pt>
                <c:pt idx="1127">
                  <c:v>40767</c:v>
                </c:pt>
                <c:pt idx="1128">
                  <c:v>40770</c:v>
                </c:pt>
                <c:pt idx="1129">
                  <c:v>40771</c:v>
                </c:pt>
                <c:pt idx="1130">
                  <c:v>40772</c:v>
                </c:pt>
                <c:pt idx="1131">
                  <c:v>40773</c:v>
                </c:pt>
                <c:pt idx="1132">
                  <c:v>40774</c:v>
                </c:pt>
                <c:pt idx="1133">
                  <c:v>40777</c:v>
                </c:pt>
                <c:pt idx="1134">
                  <c:v>40778</c:v>
                </c:pt>
                <c:pt idx="1135">
                  <c:v>40779</c:v>
                </c:pt>
                <c:pt idx="1136">
                  <c:v>40780</c:v>
                </c:pt>
                <c:pt idx="1137">
                  <c:v>40781</c:v>
                </c:pt>
                <c:pt idx="1138">
                  <c:v>40784</c:v>
                </c:pt>
                <c:pt idx="1139">
                  <c:v>40785</c:v>
                </c:pt>
                <c:pt idx="1140">
                  <c:v>40786</c:v>
                </c:pt>
                <c:pt idx="1141">
                  <c:v>40787</c:v>
                </c:pt>
                <c:pt idx="1142">
                  <c:v>40788</c:v>
                </c:pt>
                <c:pt idx="1143">
                  <c:v>40792</c:v>
                </c:pt>
                <c:pt idx="1144">
                  <c:v>40793</c:v>
                </c:pt>
                <c:pt idx="1145">
                  <c:v>40794</c:v>
                </c:pt>
                <c:pt idx="1146">
                  <c:v>40795</c:v>
                </c:pt>
                <c:pt idx="1147">
                  <c:v>40798</c:v>
                </c:pt>
                <c:pt idx="1148">
                  <c:v>40799</c:v>
                </c:pt>
                <c:pt idx="1149">
                  <c:v>40800</c:v>
                </c:pt>
                <c:pt idx="1150">
                  <c:v>40801</c:v>
                </c:pt>
                <c:pt idx="1151">
                  <c:v>40802</c:v>
                </c:pt>
                <c:pt idx="1152">
                  <c:v>40805</c:v>
                </c:pt>
                <c:pt idx="1153">
                  <c:v>40806</c:v>
                </c:pt>
                <c:pt idx="1154">
                  <c:v>40807</c:v>
                </c:pt>
                <c:pt idx="1155">
                  <c:v>40808</c:v>
                </c:pt>
                <c:pt idx="1156">
                  <c:v>40809</c:v>
                </c:pt>
                <c:pt idx="1157">
                  <c:v>40812</c:v>
                </c:pt>
                <c:pt idx="1158">
                  <c:v>40813</c:v>
                </c:pt>
                <c:pt idx="1159">
                  <c:v>40814</c:v>
                </c:pt>
                <c:pt idx="1160">
                  <c:v>40815</c:v>
                </c:pt>
                <c:pt idx="1161">
                  <c:v>40816</c:v>
                </c:pt>
                <c:pt idx="1162">
                  <c:v>40819</c:v>
                </c:pt>
                <c:pt idx="1163">
                  <c:v>40820</c:v>
                </c:pt>
                <c:pt idx="1164">
                  <c:v>40821</c:v>
                </c:pt>
                <c:pt idx="1165">
                  <c:v>40822</c:v>
                </c:pt>
                <c:pt idx="1166">
                  <c:v>40823</c:v>
                </c:pt>
                <c:pt idx="1167">
                  <c:v>40826</c:v>
                </c:pt>
                <c:pt idx="1168">
                  <c:v>40827</c:v>
                </c:pt>
                <c:pt idx="1169">
                  <c:v>40828</c:v>
                </c:pt>
                <c:pt idx="1170">
                  <c:v>40829</c:v>
                </c:pt>
                <c:pt idx="1171">
                  <c:v>40830</c:v>
                </c:pt>
                <c:pt idx="1172">
                  <c:v>40833</c:v>
                </c:pt>
                <c:pt idx="1173">
                  <c:v>40834</c:v>
                </c:pt>
                <c:pt idx="1174">
                  <c:v>40835</c:v>
                </c:pt>
                <c:pt idx="1175">
                  <c:v>40836</c:v>
                </c:pt>
                <c:pt idx="1176">
                  <c:v>40837</c:v>
                </c:pt>
                <c:pt idx="1177">
                  <c:v>40840</c:v>
                </c:pt>
                <c:pt idx="1178">
                  <c:v>40841</c:v>
                </c:pt>
                <c:pt idx="1179">
                  <c:v>40842</c:v>
                </c:pt>
                <c:pt idx="1180">
                  <c:v>40843</c:v>
                </c:pt>
                <c:pt idx="1181">
                  <c:v>40844</c:v>
                </c:pt>
                <c:pt idx="1182">
                  <c:v>40847</c:v>
                </c:pt>
                <c:pt idx="1183">
                  <c:v>40848</c:v>
                </c:pt>
                <c:pt idx="1184">
                  <c:v>40849</c:v>
                </c:pt>
                <c:pt idx="1185">
                  <c:v>40850</c:v>
                </c:pt>
                <c:pt idx="1186">
                  <c:v>40851</c:v>
                </c:pt>
                <c:pt idx="1187">
                  <c:v>40854</c:v>
                </c:pt>
                <c:pt idx="1188">
                  <c:v>40855</c:v>
                </c:pt>
                <c:pt idx="1189">
                  <c:v>40856</c:v>
                </c:pt>
                <c:pt idx="1190">
                  <c:v>40857</c:v>
                </c:pt>
                <c:pt idx="1191">
                  <c:v>40858</c:v>
                </c:pt>
                <c:pt idx="1192">
                  <c:v>40861</c:v>
                </c:pt>
                <c:pt idx="1193">
                  <c:v>40862</c:v>
                </c:pt>
                <c:pt idx="1194">
                  <c:v>40863</c:v>
                </c:pt>
                <c:pt idx="1195">
                  <c:v>40864</c:v>
                </c:pt>
                <c:pt idx="1196">
                  <c:v>40865</c:v>
                </c:pt>
                <c:pt idx="1197">
                  <c:v>40868</c:v>
                </c:pt>
                <c:pt idx="1198">
                  <c:v>40869</c:v>
                </c:pt>
                <c:pt idx="1199">
                  <c:v>40870</c:v>
                </c:pt>
                <c:pt idx="1200">
                  <c:v>40872</c:v>
                </c:pt>
                <c:pt idx="1201">
                  <c:v>40875</c:v>
                </c:pt>
                <c:pt idx="1202">
                  <c:v>40876</c:v>
                </c:pt>
                <c:pt idx="1203">
                  <c:v>40877</c:v>
                </c:pt>
                <c:pt idx="1204">
                  <c:v>40878</c:v>
                </c:pt>
                <c:pt idx="1205">
                  <c:v>40879</c:v>
                </c:pt>
                <c:pt idx="1206">
                  <c:v>40882</c:v>
                </c:pt>
                <c:pt idx="1207">
                  <c:v>40883</c:v>
                </c:pt>
                <c:pt idx="1208">
                  <c:v>40884</c:v>
                </c:pt>
                <c:pt idx="1209">
                  <c:v>40885</c:v>
                </c:pt>
                <c:pt idx="1210">
                  <c:v>40886</c:v>
                </c:pt>
                <c:pt idx="1211">
                  <c:v>40889</c:v>
                </c:pt>
                <c:pt idx="1212">
                  <c:v>40890</c:v>
                </c:pt>
                <c:pt idx="1213">
                  <c:v>40891</c:v>
                </c:pt>
                <c:pt idx="1214">
                  <c:v>40892</c:v>
                </c:pt>
                <c:pt idx="1215">
                  <c:v>40893</c:v>
                </c:pt>
                <c:pt idx="1216">
                  <c:v>40896</c:v>
                </c:pt>
                <c:pt idx="1217">
                  <c:v>40897</c:v>
                </c:pt>
                <c:pt idx="1218">
                  <c:v>40898</c:v>
                </c:pt>
                <c:pt idx="1219">
                  <c:v>40899</c:v>
                </c:pt>
                <c:pt idx="1220">
                  <c:v>40900</c:v>
                </c:pt>
                <c:pt idx="1221">
                  <c:v>40904</c:v>
                </c:pt>
                <c:pt idx="1222">
                  <c:v>40905</c:v>
                </c:pt>
                <c:pt idx="1223">
                  <c:v>40906</c:v>
                </c:pt>
                <c:pt idx="1224">
                  <c:v>40907</c:v>
                </c:pt>
                <c:pt idx="1225">
                  <c:v>40911</c:v>
                </c:pt>
                <c:pt idx="1226">
                  <c:v>40912</c:v>
                </c:pt>
                <c:pt idx="1227">
                  <c:v>40913</c:v>
                </c:pt>
                <c:pt idx="1228">
                  <c:v>40914</c:v>
                </c:pt>
                <c:pt idx="1229">
                  <c:v>40917</c:v>
                </c:pt>
                <c:pt idx="1230">
                  <c:v>40918</c:v>
                </c:pt>
                <c:pt idx="1231">
                  <c:v>40919</c:v>
                </c:pt>
                <c:pt idx="1232">
                  <c:v>40920</c:v>
                </c:pt>
                <c:pt idx="1233">
                  <c:v>40921</c:v>
                </c:pt>
                <c:pt idx="1234">
                  <c:v>40925</c:v>
                </c:pt>
                <c:pt idx="1235">
                  <c:v>40926</c:v>
                </c:pt>
                <c:pt idx="1236">
                  <c:v>40927</c:v>
                </c:pt>
                <c:pt idx="1237">
                  <c:v>40928</c:v>
                </c:pt>
                <c:pt idx="1238">
                  <c:v>40931</c:v>
                </c:pt>
                <c:pt idx="1239">
                  <c:v>40932</c:v>
                </c:pt>
                <c:pt idx="1240">
                  <c:v>40933</c:v>
                </c:pt>
                <c:pt idx="1241">
                  <c:v>40934</c:v>
                </c:pt>
                <c:pt idx="1242">
                  <c:v>40935</c:v>
                </c:pt>
                <c:pt idx="1243">
                  <c:v>40938</c:v>
                </c:pt>
                <c:pt idx="1244">
                  <c:v>40939</c:v>
                </c:pt>
                <c:pt idx="1245">
                  <c:v>40940</c:v>
                </c:pt>
                <c:pt idx="1246">
                  <c:v>40941</c:v>
                </c:pt>
                <c:pt idx="1247">
                  <c:v>40942</c:v>
                </c:pt>
                <c:pt idx="1248">
                  <c:v>40945</c:v>
                </c:pt>
                <c:pt idx="1249">
                  <c:v>40946</c:v>
                </c:pt>
                <c:pt idx="1250">
                  <c:v>40947</c:v>
                </c:pt>
                <c:pt idx="1251">
                  <c:v>40948</c:v>
                </c:pt>
                <c:pt idx="1252">
                  <c:v>40949</c:v>
                </c:pt>
                <c:pt idx="1253">
                  <c:v>40952</c:v>
                </c:pt>
                <c:pt idx="1254">
                  <c:v>40953</c:v>
                </c:pt>
                <c:pt idx="1255">
                  <c:v>40954</c:v>
                </c:pt>
                <c:pt idx="1256">
                  <c:v>40955</c:v>
                </c:pt>
                <c:pt idx="1257">
                  <c:v>40956</c:v>
                </c:pt>
                <c:pt idx="1258">
                  <c:v>40960</c:v>
                </c:pt>
                <c:pt idx="1259">
                  <c:v>40961</c:v>
                </c:pt>
                <c:pt idx="1260">
                  <c:v>40962</c:v>
                </c:pt>
                <c:pt idx="1261">
                  <c:v>40963</c:v>
                </c:pt>
                <c:pt idx="1262">
                  <c:v>40966</c:v>
                </c:pt>
                <c:pt idx="1263">
                  <c:v>40967</c:v>
                </c:pt>
                <c:pt idx="1264">
                  <c:v>40968</c:v>
                </c:pt>
                <c:pt idx="1265">
                  <c:v>40969</c:v>
                </c:pt>
                <c:pt idx="1266">
                  <c:v>40970</c:v>
                </c:pt>
                <c:pt idx="1267">
                  <c:v>40973</c:v>
                </c:pt>
                <c:pt idx="1268">
                  <c:v>40974</c:v>
                </c:pt>
                <c:pt idx="1269">
                  <c:v>40975</c:v>
                </c:pt>
                <c:pt idx="1270">
                  <c:v>40976</c:v>
                </c:pt>
                <c:pt idx="1271">
                  <c:v>40977</c:v>
                </c:pt>
                <c:pt idx="1272">
                  <c:v>40980</c:v>
                </c:pt>
                <c:pt idx="1273">
                  <c:v>40981</c:v>
                </c:pt>
                <c:pt idx="1274">
                  <c:v>40982</c:v>
                </c:pt>
                <c:pt idx="1275">
                  <c:v>40983</c:v>
                </c:pt>
                <c:pt idx="1276">
                  <c:v>40984</c:v>
                </c:pt>
                <c:pt idx="1277">
                  <c:v>40987</c:v>
                </c:pt>
                <c:pt idx="1278">
                  <c:v>40988</c:v>
                </c:pt>
                <c:pt idx="1279">
                  <c:v>40989</c:v>
                </c:pt>
                <c:pt idx="1280">
                  <c:v>40990</c:v>
                </c:pt>
                <c:pt idx="1281">
                  <c:v>40991</c:v>
                </c:pt>
                <c:pt idx="1282">
                  <c:v>40994</c:v>
                </c:pt>
                <c:pt idx="1283">
                  <c:v>40995</c:v>
                </c:pt>
                <c:pt idx="1284">
                  <c:v>40996</c:v>
                </c:pt>
                <c:pt idx="1285">
                  <c:v>40997</c:v>
                </c:pt>
                <c:pt idx="1286">
                  <c:v>40998</c:v>
                </c:pt>
                <c:pt idx="1287">
                  <c:v>41001</c:v>
                </c:pt>
                <c:pt idx="1288">
                  <c:v>41002</c:v>
                </c:pt>
                <c:pt idx="1289">
                  <c:v>41003</c:v>
                </c:pt>
                <c:pt idx="1290">
                  <c:v>41004</c:v>
                </c:pt>
                <c:pt idx="1291">
                  <c:v>41008</c:v>
                </c:pt>
                <c:pt idx="1292">
                  <c:v>41009</c:v>
                </c:pt>
                <c:pt idx="1293">
                  <c:v>41010</c:v>
                </c:pt>
                <c:pt idx="1294">
                  <c:v>41011</c:v>
                </c:pt>
                <c:pt idx="1295">
                  <c:v>41012</c:v>
                </c:pt>
                <c:pt idx="1296">
                  <c:v>41015</c:v>
                </c:pt>
                <c:pt idx="1297">
                  <c:v>41016</c:v>
                </c:pt>
                <c:pt idx="1298">
                  <c:v>41017</c:v>
                </c:pt>
                <c:pt idx="1299">
                  <c:v>41018</c:v>
                </c:pt>
                <c:pt idx="1300">
                  <c:v>41019</c:v>
                </c:pt>
                <c:pt idx="1301">
                  <c:v>41022</c:v>
                </c:pt>
                <c:pt idx="1302">
                  <c:v>41023</c:v>
                </c:pt>
                <c:pt idx="1303">
                  <c:v>41024</c:v>
                </c:pt>
                <c:pt idx="1304">
                  <c:v>41025</c:v>
                </c:pt>
                <c:pt idx="1305">
                  <c:v>41026</c:v>
                </c:pt>
                <c:pt idx="1306">
                  <c:v>41029</c:v>
                </c:pt>
                <c:pt idx="1307">
                  <c:v>41030</c:v>
                </c:pt>
                <c:pt idx="1308">
                  <c:v>41031</c:v>
                </c:pt>
                <c:pt idx="1309">
                  <c:v>41032</c:v>
                </c:pt>
                <c:pt idx="1310">
                  <c:v>41033</c:v>
                </c:pt>
                <c:pt idx="1311">
                  <c:v>41036</c:v>
                </c:pt>
                <c:pt idx="1312">
                  <c:v>41037</c:v>
                </c:pt>
                <c:pt idx="1313">
                  <c:v>41038</c:v>
                </c:pt>
                <c:pt idx="1314">
                  <c:v>41039</c:v>
                </c:pt>
                <c:pt idx="1315">
                  <c:v>41040</c:v>
                </c:pt>
                <c:pt idx="1316">
                  <c:v>41043</c:v>
                </c:pt>
                <c:pt idx="1317">
                  <c:v>41044</c:v>
                </c:pt>
                <c:pt idx="1318">
                  <c:v>41045</c:v>
                </c:pt>
                <c:pt idx="1319">
                  <c:v>41046</c:v>
                </c:pt>
                <c:pt idx="1320">
                  <c:v>41047</c:v>
                </c:pt>
                <c:pt idx="1321">
                  <c:v>41050</c:v>
                </c:pt>
                <c:pt idx="1322">
                  <c:v>41051</c:v>
                </c:pt>
                <c:pt idx="1323">
                  <c:v>41052</c:v>
                </c:pt>
                <c:pt idx="1324">
                  <c:v>41053</c:v>
                </c:pt>
                <c:pt idx="1325">
                  <c:v>41054</c:v>
                </c:pt>
                <c:pt idx="1326">
                  <c:v>41058</c:v>
                </c:pt>
                <c:pt idx="1327">
                  <c:v>41059</c:v>
                </c:pt>
                <c:pt idx="1328">
                  <c:v>41060</c:v>
                </c:pt>
                <c:pt idx="1329">
                  <c:v>41061</c:v>
                </c:pt>
                <c:pt idx="1330">
                  <c:v>41064</c:v>
                </c:pt>
                <c:pt idx="1331">
                  <c:v>41065</c:v>
                </c:pt>
                <c:pt idx="1332">
                  <c:v>41066</c:v>
                </c:pt>
                <c:pt idx="1333">
                  <c:v>41067</c:v>
                </c:pt>
                <c:pt idx="1334">
                  <c:v>41068</c:v>
                </c:pt>
                <c:pt idx="1335">
                  <c:v>41071</c:v>
                </c:pt>
                <c:pt idx="1336">
                  <c:v>41072</c:v>
                </c:pt>
                <c:pt idx="1337">
                  <c:v>41073</c:v>
                </c:pt>
                <c:pt idx="1338">
                  <c:v>41074</c:v>
                </c:pt>
                <c:pt idx="1339">
                  <c:v>41075</c:v>
                </c:pt>
                <c:pt idx="1340">
                  <c:v>41078</c:v>
                </c:pt>
                <c:pt idx="1341">
                  <c:v>41079</c:v>
                </c:pt>
                <c:pt idx="1342">
                  <c:v>41080</c:v>
                </c:pt>
                <c:pt idx="1343">
                  <c:v>41081</c:v>
                </c:pt>
                <c:pt idx="1344">
                  <c:v>41082</c:v>
                </c:pt>
                <c:pt idx="1345">
                  <c:v>41085</c:v>
                </c:pt>
                <c:pt idx="1346">
                  <c:v>41086</c:v>
                </c:pt>
                <c:pt idx="1347">
                  <c:v>41087</c:v>
                </c:pt>
                <c:pt idx="1348">
                  <c:v>41088</c:v>
                </c:pt>
                <c:pt idx="1349">
                  <c:v>41089</c:v>
                </c:pt>
                <c:pt idx="1350">
                  <c:v>41092</c:v>
                </c:pt>
                <c:pt idx="1351">
                  <c:v>41093</c:v>
                </c:pt>
                <c:pt idx="1352">
                  <c:v>41095</c:v>
                </c:pt>
                <c:pt idx="1353">
                  <c:v>41096</c:v>
                </c:pt>
                <c:pt idx="1354">
                  <c:v>41099</c:v>
                </c:pt>
                <c:pt idx="1355">
                  <c:v>41100</c:v>
                </c:pt>
                <c:pt idx="1356">
                  <c:v>41101</c:v>
                </c:pt>
                <c:pt idx="1357">
                  <c:v>41102</c:v>
                </c:pt>
                <c:pt idx="1358">
                  <c:v>41103</c:v>
                </c:pt>
                <c:pt idx="1359">
                  <c:v>41106</c:v>
                </c:pt>
                <c:pt idx="1360">
                  <c:v>41107</c:v>
                </c:pt>
                <c:pt idx="1361">
                  <c:v>41108</c:v>
                </c:pt>
                <c:pt idx="1362">
                  <c:v>41109</c:v>
                </c:pt>
                <c:pt idx="1363">
                  <c:v>41110</c:v>
                </c:pt>
                <c:pt idx="1364">
                  <c:v>41113</c:v>
                </c:pt>
                <c:pt idx="1365">
                  <c:v>41114</c:v>
                </c:pt>
                <c:pt idx="1366">
                  <c:v>41115</c:v>
                </c:pt>
                <c:pt idx="1367">
                  <c:v>41116</c:v>
                </c:pt>
                <c:pt idx="1368">
                  <c:v>41117</c:v>
                </c:pt>
                <c:pt idx="1369">
                  <c:v>41120</c:v>
                </c:pt>
                <c:pt idx="1370">
                  <c:v>41121</c:v>
                </c:pt>
                <c:pt idx="1371">
                  <c:v>41122</c:v>
                </c:pt>
                <c:pt idx="1372">
                  <c:v>41123</c:v>
                </c:pt>
                <c:pt idx="1373">
                  <c:v>41124</c:v>
                </c:pt>
                <c:pt idx="1374">
                  <c:v>41127</c:v>
                </c:pt>
                <c:pt idx="1375">
                  <c:v>41128</c:v>
                </c:pt>
                <c:pt idx="1376">
                  <c:v>41129</c:v>
                </c:pt>
                <c:pt idx="1377">
                  <c:v>41130</c:v>
                </c:pt>
                <c:pt idx="1378">
                  <c:v>41131</c:v>
                </c:pt>
                <c:pt idx="1379">
                  <c:v>41134</c:v>
                </c:pt>
                <c:pt idx="1380">
                  <c:v>41135</c:v>
                </c:pt>
                <c:pt idx="1381">
                  <c:v>41136</c:v>
                </c:pt>
                <c:pt idx="1382">
                  <c:v>41137</c:v>
                </c:pt>
                <c:pt idx="1383">
                  <c:v>41138</c:v>
                </c:pt>
                <c:pt idx="1384">
                  <c:v>41141</c:v>
                </c:pt>
                <c:pt idx="1385">
                  <c:v>41142</c:v>
                </c:pt>
                <c:pt idx="1386">
                  <c:v>41143</c:v>
                </c:pt>
                <c:pt idx="1387">
                  <c:v>41144</c:v>
                </c:pt>
                <c:pt idx="1388">
                  <c:v>41145</c:v>
                </c:pt>
                <c:pt idx="1389">
                  <c:v>41148</c:v>
                </c:pt>
                <c:pt idx="1390">
                  <c:v>41149</c:v>
                </c:pt>
                <c:pt idx="1391">
                  <c:v>41150</c:v>
                </c:pt>
                <c:pt idx="1392">
                  <c:v>41151</c:v>
                </c:pt>
                <c:pt idx="1393">
                  <c:v>41152</c:v>
                </c:pt>
                <c:pt idx="1394">
                  <c:v>41156</c:v>
                </c:pt>
                <c:pt idx="1395">
                  <c:v>41157</c:v>
                </c:pt>
                <c:pt idx="1396">
                  <c:v>41158</c:v>
                </c:pt>
                <c:pt idx="1397">
                  <c:v>41159</c:v>
                </c:pt>
                <c:pt idx="1398">
                  <c:v>41162</c:v>
                </c:pt>
                <c:pt idx="1399">
                  <c:v>41163</c:v>
                </c:pt>
                <c:pt idx="1400">
                  <c:v>41164</c:v>
                </c:pt>
                <c:pt idx="1401">
                  <c:v>41165</c:v>
                </c:pt>
                <c:pt idx="1402">
                  <c:v>41166</c:v>
                </c:pt>
                <c:pt idx="1403">
                  <c:v>41169</c:v>
                </c:pt>
                <c:pt idx="1404">
                  <c:v>41170</c:v>
                </c:pt>
                <c:pt idx="1405">
                  <c:v>41171</c:v>
                </c:pt>
                <c:pt idx="1406">
                  <c:v>41172</c:v>
                </c:pt>
                <c:pt idx="1407">
                  <c:v>41173</c:v>
                </c:pt>
                <c:pt idx="1408">
                  <c:v>41176</c:v>
                </c:pt>
                <c:pt idx="1409">
                  <c:v>41177</c:v>
                </c:pt>
                <c:pt idx="1410">
                  <c:v>41178</c:v>
                </c:pt>
                <c:pt idx="1411">
                  <c:v>41179</c:v>
                </c:pt>
                <c:pt idx="1412">
                  <c:v>41180</c:v>
                </c:pt>
                <c:pt idx="1413">
                  <c:v>41183</c:v>
                </c:pt>
                <c:pt idx="1414">
                  <c:v>41184</c:v>
                </c:pt>
                <c:pt idx="1415">
                  <c:v>41185</c:v>
                </c:pt>
                <c:pt idx="1416">
                  <c:v>41186</c:v>
                </c:pt>
                <c:pt idx="1417">
                  <c:v>41187</c:v>
                </c:pt>
                <c:pt idx="1418">
                  <c:v>41190</c:v>
                </c:pt>
                <c:pt idx="1419">
                  <c:v>41191</c:v>
                </c:pt>
                <c:pt idx="1420">
                  <c:v>41192</c:v>
                </c:pt>
                <c:pt idx="1421">
                  <c:v>41193</c:v>
                </c:pt>
                <c:pt idx="1422">
                  <c:v>41194</c:v>
                </c:pt>
                <c:pt idx="1423">
                  <c:v>41197</c:v>
                </c:pt>
                <c:pt idx="1424">
                  <c:v>41198</c:v>
                </c:pt>
                <c:pt idx="1425">
                  <c:v>41199</c:v>
                </c:pt>
                <c:pt idx="1426">
                  <c:v>41200</c:v>
                </c:pt>
                <c:pt idx="1427">
                  <c:v>41201</c:v>
                </c:pt>
                <c:pt idx="1428">
                  <c:v>41204</c:v>
                </c:pt>
                <c:pt idx="1429">
                  <c:v>41205</c:v>
                </c:pt>
                <c:pt idx="1430">
                  <c:v>41206</c:v>
                </c:pt>
                <c:pt idx="1431">
                  <c:v>41207</c:v>
                </c:pt>
                <c:pt idx="1432">
                  <c:v>41208</c:v>
                </c:pt>
                <c:pt idx="1433">
                  <c:v>41213</c:v>
                </c:pt>
                <c:pt idx="1434">
                  <c:v>41214</c:v>
                </c:pt>
                <c:pt idx="1435">
                  <c:v>41215</c:v>
                </c:pt>
                <c:pt idx="1436">
                  <c:v>41218</c:v>
                </c:pt>
                <c:pt idx="1437">
                  <c:v>41219</c:v>
                </c:pt>
                <c:pt idx="1438">
                  <c:v>41220</c:v>
                </c:pt>
                <c:pt idx="1439">
                  <c:v>41221</c:v>
                </c:pt>
                <c:pt idx="1440">
                  <c:v>41222</c:v>
                </c:pt>
                <c:pt idx="1441">
                  <c:v>41225</c:v>
                </c:pt>
                <c:pt idx="1442">
                  <c:v>41226</c:v>
                </c:pt>
                <c:pt idx="1443">
                  <c:v>41227</c:v>
                </c:pt>
                <c:pt idx="1444">
                  <c:v>41228</c:v>
                </c:pt>
                <c:pt idx="1445">
                  <c:v>41229</c:v>
                </c:pt>
                <c:pt idx="1446">
                  <c:v>41232</c:v>
                </c:pt>
                <c:pt idx="1447">
                  <c:v>41233</c:v>
                </c:pt>
                <c:pt idx="1448">
                  <c:v>41234</c:v>
                </c:pt>
                <c:pt idx="1449">
                  <c:v>41236</c:v>
                </c:pt>
                <c:pt idx="1450">
                  <c:v>41239</c:v>
                </c:pt>
                <c:pt idx="1451">
                  <c:v>41240</c:v>
                </c:pt>
                <c:pt idx="1452">
                  <c:v>41241</c:v>
                </c:pt>
                <c:pt idx="1453">
                  <c:v>41242</c:v>
                </c:pt>
                <c:pt idx="1454">
                  <c:v>41243</c:v>
                </c:pt>
                <c:pt idx="1455">
                  <c:v>41246</c:v>
                </c:pt>
                <c:pt idx="1456">
                  <c:v>41247</c:v>
                </c:pt>
                <c:pt idx="1457">
                  <c:v>41248</c:v>
                </c:pt>
                <c:pt idx="1458">
                  <c:v>41249</c:v>
                </c:pt>
                <c:pt idx="1459">
                  <c:v>41250</c:v>
                </c:pt>
                <c:pt idx="1460">
                  <c:v>41253</c:v>
                </c:pt>
                <c:pt idx="1461">
                  <c:v>41254</c:v>
                </c:pt>
                <c:pt idx="1462">
                  <c:v>41255</c:v>
                </c:pt>
                <c:pt idx="1463">
                  <c:v>41256</c:v>
                </c:pt>
                <c:pt idx="1464">
                  <c:v>41257</c:v>
                </c:pt>
                <c:pt idx="1465">
                  <c:v>41260</c:v>
                </c:pt>
                <c:pt idx="1466">
                  <c:v>41261</c:v>
                </c:pt>
                <c:pt idx="1467">
                  <c:v>41262</c:v>
                </c:pt>
                <c:pt idx="1468">
                  <c:v>41263</c:v>
                </c:pt>
                <c:pt idx="1469">
                  <c:v>41264</c:v>
                </c:pt>
                <c:pt idx="1470">
                  <c:v>41267</c:v>
                </c:pt>
                <c:pt idx="1471">
                  <c:v>41269</c:v>
                </c:pt>
                <c:pt idx="1472">
                  <c:v>41270</c:v>
                </c:pt>
                <c:pt idx="1473">
                  <c:v>41271</c:v>
                </c:pt>
                <c:pt idx="1474">
                  <c:v>41274</c:v>
                </c:pt>
                <c:pt idx="1475">
                  <c:v>41276</c:v>
                </c:pt>
                <c:pt idx="1476">
                  <c:v>41277</c:v>
                </c:pt>
                <c:pt idx="1477">
                  <c:v>41278</c:v>
                </c:pt>
                <c:pt idx="1478">
                  <c:v>41281</c:v>
                </c:pt>
                <c:pt idx="1479">
                  <c:v>41282</c:v>
                </c:pt>
                <c:pt idx="1480">
                  <c:v>41283</c:v>
                </c:pt>
                <c:pt idx="1481">
                  <c:v>41284</c:v>
                </c:pt>
                <c:pt idx="1482">
                  <c:v>41285</c:v>
                </c:pt>
                <c:pt idx="1483">
                  <c:v>41288</c:v>
                </c:pt>
                <c:pt idx="1484">
                  <c:v>41289</c:v>
                </c:pt>
                <c:pt idx="1485">
                  <c:v>41290</c:v>
                </c:pt>
                <c:pt idx="1486">
                  <c:v>41291</c:v>
                </c:pt>
                <c:pt idx="1487">
                  <c:v>41292</c:v>
                </c:pt>
                <c:pt idx="1488">
                  <c:v>41296</c:v>
                </c:pt>
                <c:pt idx="1489">
                  <c:v>41297</c:v>
                </c:pt>
                <c:pt idx="1490">
                  <c:v>41298</c:v>
                </c:pt>
                <c:pt idx="1491">
                  <c:v>41299</c:v>
                </c:pt>
                <c:pt idx="1492">
                  <c:v>41302</c:v>
                </c:pt>
                <c:pt idx="1493">
                  <c:v>41303</c:v>
                </c:pt>
                <c:pt idx="1494">
                  <c:v>41304</c:v>
                </c:pt>
                <c:pt idx="1495">
                  <c:v>41305</c:v>
                </c:pt>
                <c:pt idx="1496">
                  <c:v>41306</c:v>
                </c:pt>
                <c:pt idx="1497">
                  <c:v>41309</c:v>
                </c:pt>
                <c:pt idx="1498">
                  <c:v>41310</c:v>
                </c:pt>
                <c:pt idx="1499">
                  <c:v>41311</c:v>
                </c:pt>
                <c:pt idx="1500">
                  <c:v>41312</c:v>
                </c:pt>
                <c:pt idx="1501">
                  <c:v>41313</c:v>
                </c:pt>
                <c:pt idx="1502">
                  <c:v>41316</c:v>
                </c:pt>
                <c:pt idx="1503">
                  <c:v>41317</c:v>
                </c:pt>
                <c:pt idx="1504">
                  <c:v>41318</c:v>
                </c:pt>
                <c:pt idx="1505">
                  <c:v>41319</c:v>
                </c:pt>
                <c:pt idx="1506">
                  <c:v>41320</c:v>
                </c:pt>
                <c:pt idx="1507">
                  <c:v>41324</c:v>
                </c:pt>
                <c:pt idx="1508">
                  <c:v>41325</c:v>
                </c:pt>
                <c:pt idx="1509">
                  <c:v>41326</c:v>
                </c:pt>
                <c:pt idx="1510">
                  <c:v>41327</c:v>
                </c:pt>
                <c:pt idx="1511">
                  <c:v>41330</c:v>
                </c:pt>
                <c:pt idx="1512">
                  <c:v>41331</c:v>
                </c:pt>
                <c:pt idx="1513">
                  <c:v>41332</c:v>
                </c:pt>
                <c:pt idx="1514">
                  <c:v>41333</c:v>
                </c:pt>
                <c:pt idx="1515">
                  <c:v>41334</c:v>
                </c:pt>
                <c:pt idx="1516">
                  <c:v>41337</c:v>
                </c:pt>
                <c:pt idx="1517">
                  <c:v>41338</c:v>
                </c:pt>
                <c:pt idx="1518">
                  <c:v>41339</c:v>
                </c:pt>
                <c:pt idx="1519">
                  <c:v>41340</c:v>
                </c:pt>
                <c:pt idx="1520">
                  <c:v>41341</c:v>
                </c:pt>
                <c:pt idx="1521">
                  <c:v>41344</c:v>
                </c:pt>
                <c:pt idx="1522">
                  <c:v>41345</c:v>
                </c:pt>
                <c:pt idx="1523">
                  <c:v>41346</c:v>
                </c:pt>
                <c:pt idx="1524">
                  <c:v>41347</c:v>
                </c:pt>
                <c:pt idx="1525">
                  <c:v>41348</c:v>
                </c:pt>
                <c:pt idx="1526">
                  <c:v>41351</c:v>
                </c:pt>
                <c:pt idx="1527">
                  <c:v>41352</c:v>
                </c:pt>
                <c:pt idx="1528">
                  <c:v>41353</c:v>
                </c:pt>
                <c:pt idx="1529">
                  <c:v>41354</c:v>
                </c:pt>
                <c:pt idx="1530">
                  <c:v>41355</c:v>
                </c:pt>
                <c:pt idx="1531">
                  <c:v>41358</c:v>
                </c:pt>
                <c:pt idx="1532">
                  <c:v>41359</c:v>
                </c:pt>
                <c:pt idx="1533">
                  <c:v>41360</c:v>
                </c:pt>
                <c:pt idx="1534">
                  <c:v>41361</c:v>
                </c:pt>
                <c:pt idx="1535">
                  <c:v>41365</c:v>
                </c:pt>
                <c:pt idx="1536">
                  <c:v>41366</c:v>
                </c:pt>
                <c:pt idx="1537">
                  <c:v>41367</c:v>
                </c:pt>
                <c:pt idx="1538">
                  <c:v>41368</c:v>
                </c:pt>
                <c:pt idx="1539">
                  <c:v>41369</c:v>
                </c:pt>
                <c:pt idx="1540">
                  <c:v>41372</c:v>
                </c:pt>
                <c:pt idx="1541">
                  <c:v>41373</c:v>
                </c:pt>
                <c:pt idx="1542">
                  <c:v>41374</c:v>
                </c:pt>
                <c:pt idx="1543">
                  <c:v>41375</c:v>
                </c:pt>
                <c:pt idx="1544">
                  <c:v>41376</c:v>
                </c:pt>
                <c:pt idx="1545">
                  <c:v>41379</c:v>
                </c:pt>
                <c:pt idx="1546">
                  <c:v>41380</c:v>
                </c:pt>
                <c:pt idx="1547">
                  <c:v>41381</c:v>
                </c:pt>
                <c:pt idx="1548">
                  <c:v>41382</c:v>
                </c:pt>
                <c:pt idx="1549">
                  <c:v>41383</c:v>
                </c:pt>
                <c:pt idx="1550">
                  <c:v>41386</c:v>
                </c:pt>
                <c:pt idx="1551">
                  <c:v>41387</c:v>
                </c:pt>
                <c:pt idx="1552">
                  <c:v>41388</c:v>
                </c:pt>
                <c:pt idx="1553">
                  <c:v>41389</c:v>
                </c:pt>
                <c:pt idx="1554">
                  <c:v>41390</c:v>
                </c:pt>
                <c:pt idx="1555">
                  <c:v>41393</c:v>
                </c:pt>
                <c:pt idx="1556">
                  <c:v>41394</c:v>
                </c:pt>
                <c:pt idx="1557">
                  <c:v>41395</c:v>
                </c:pt>
                <c:pt idx="1558">
                  <c:v>41396</c:v>
                </c:pt>
                <c:pt idx="1559">
                  <c:v>41397</c:v>
                </c:pt>
                <c:pt idx="1560">
                  <c:v>41400</c:v>
                </c:pt>
                <c:pt idx="1561">
                  <c:v>41401</c:v>
                </c:pt>
                <c:pt idx="1562">
                  <c:v>41402</c:v>
                </c:pt>
                <c:pt idx="1563">
                  <c:v>41403</c:v>
                </c:pt>
                <c:pt idx="1564">
                  <c:v>41404</c:v>
                </c:pt>
                <c:pt idx="1565">
                  <c:v>41407</c:v>
                </c:pt>
                <c:pt idx="1566">
                  <c:v>41408</c:v>
                </c:pt>
                <c:pt idx="1567">
                  <c:v>41409</c:v>
                </c:pt>
                <c:pt idx="1568">
                  <c:v>41410</c:v>
                </c:pt>
                <c:pt idx="1569">
                  <c:v>41411</c:v>
                </c:pt>
                <c:pt idx="1570">
                  <c:v>41414</c:v>
                </c:pt>
                <c:pt idx="1571">
                  <c:v>41415</c:v>
                </c:pt>
                <c:pt idx="1572">
                  <c:v>41416</c:v>
                </c:pt>
                <c:pt idx="1573">
                  <c:v>41417</c:v>
                </c:pt>
                <c:pt idx="1574">
                  <c:v>41418</c:v>
                </c:pt>
                <c:pt idx="1575">
                  <c:v>41422</c:v>
                </c:pt>
                <c:pt idx="1576">
                  <c:v>41423</c:v>
                </c:pt>
                <c:pt idx="1577">
                  <c:v>41424</c:v>
                </c:pt>
                <c:pt idx="1578">
                  <c:v>41425</c:v>
                </c:pt>
                <c:pt idx="1579">
                  <c:v>41428</c:v>
                </c:pt>
                <c:pt idx="1580">
                  <c:v>41429</c:v>
                </c:pt>
                <c:pt idx="1581">
                  <c:v>41430</c:v>
                </c:pt>
                <c:pt idx="1582">
                  <c:v>41431</c:v>
                </c:pt>
                <c:pt idx="1583">
                  <c:v>41432</c:v>
                </c:pt>
                <c:pt idx="1584">
                  <c:v>41435</c:v>
                </c:pt>
                <c:pt idx="1585">
                  <c:v>41436</c:v>
                </c:pt>
                <c:pt idx="1586">
                  <c:v>41437</c:v>
                </c:pt>
                <c:pt idx="1587">
                  <c:v>41438</c:v>
                </c:pt>
                <c:pt idx="1588">
                  <c:v>41439</c:v>
                </c:pt>
                <c:pt idx="1589">
                  <c:v>41442</c:v>
                </c:pt>
                <c:pt idx="1590">
                  <c:v>41443</c:v>
                </c:pt>
                <c:pt idx="1591">
                  <c:v>41444</c:v>
                </c:pt>
                <c:pt idx="1592">
                  <c:v>41445</c:v>
                </c:pt>
                <c:pt idx="1593">
                  <c:v>41446</c:v>
                </c:pt>
                <c:pt idx="1594">
                  <c:v>41449</c:v>
                </c:pt>
                <c:pt idx="1595">
                  <c:v>41450</c:v>
                </c:pt>
                <c:pt idx="1596">
                  <c:v>41451</c:v>
                </c:pt>
                <c:pt idx="1597">
                  <c:v>41452</c:v>
                </c:pt>
                <c:pt idx="1598">
                  <c:v>41453</c:v>
                </c:pt>
                <c:pt idx="1599">
                  <c:v>41456</c:v>
                </c:pt>
                <c:pt idx="1600">
                  <c:v>41457</c:v>
                </c:pt>
                <c:pt idx="1601">
                  <c:v>41458</c:v>
                </c:pt>
                <c:pt idx="1602">
                  <c:v>41460</c:v>
                </c:pt>
                <c:pt idx="1603">
                  <c:v>41463</c:v>
                </c:pt>
                <c:pt idx="1604">
                  <c:v>41464</c:v>
                </c:pt>
                <c:pt idx="1605">
                  <c:v>41465</c:v>
                </c:pt>
                <c:pt idx="1606">
                  <c:v>41466</c:v>
                </c:pt>
                <c:pt idx="1607">
                  <c:v>41467</c:v>
                </c:pt>
                <c:pt idx="1608">
                  <c:v>41470</c:v>
                </c:pt>
                <c:pt idx="1609">
                  <c:v>41471</c:v>
                </c:pt>
                <c:pt idx="1610">
                  <c:v>41472</c:v>
                </c:pt>
                <c:pt idx="1611">
                  <c:v>41473</c:v>
                </c:pt>
                <c:pt idx="1612">
                  <c:v>41474</c:v>
                </c:pt>
                <c:pt idx="1613">
                  <c:v>41477</c:v>
                </c:pt>
                <c:pt idx="1614">
                  <c:v>41478</c:v>
                </c:pt>
                <c:pt idx="1615">
                  <c:v>41479</c:v>
                </c:pt>
                <c:pt idx="1616">
                  <c:v>41480</c:v>
                </c:pt>
                <c:pt idx="1617">
                  <c:v>41481</c:v>
                </c:pt>
                <c:pt idx="1618">
                  <c:v>41484</c:v>
                </c:pt>
                <c:pt idx="1619">
                  <c:v>41485</c:v>
                </c:pt>
                <c:pt idx="1620">
                  <c:v>41486</c:v>
                </c:pt>
                <c:pt idx="1621">
                  <c:v>41487</c:v>
                </c:pt>
                <c:pt idx="1622">
                  <c:v>41488</c:v>
                </c:pt>
                <c:pt idx="1623">
                  <c:v>41491</c:v>
                </c:pt>
                <c:pt idx="1624">
                  <c:v>41492</c:v>
                </c:pt>
                <c:pt idx="1625">
                  <c:v>41493</c:v>
                </c:pt>
                <c:pt idx="1626">
                  <c:v>41494</c:v>
                </c:pt>
                <c:pt idx="1627">
                  <c:v>41495</c:v>
                </c:pt>
                <c:pt idx="1628">
                  <c:v>41498</c:v>
                </c:pt>
                <c:pt idx="1629">
                  <c:v>41499</c:v>
                </c:pt>
                <c:pt idx="1630">
                  <c:v>41500</c:v>
                </c:pt>
                <c:pt idx="1631">
                  <c:v>41501</c:v>
                </c:pt>
                <c:pt idx="1632">
                  <c:v>41502</c:v>
                </c:pt>
                <c:pt idx="1633">
                  <c:v>41505</c:v>
                </c:pt>
                <c:pt idx="1634">
                  <c:v>41506</c:v>
                </c:pt>
                <c:pt idx="1635">
                  <c:v>41507</c:v>
                </c:pt>
                <c:pt idx="1636">
                  <c:v>41508</c:v>
                </c:pt>
                <c:pt idx="1637">
                  <c:v>41509</c:v>
                </c:pt>
                <c:pt idx="1638">
                  <c:v>41512</c:v>
                </c:pt>
                <c:pt idx="1639">
                  <c:v>41513</c:v>
                </c:pt>
                <c:pt idx="1640">
                  <c:v>41514</c:v>
                </c:pt>
                <c:pt idx="1641">
                  <c:v>41515</c:v>
                </c:pt>
                <c:pt idx="1642">
                  <c:v>41516</c:v>
                </c:pt>
                <c:pt idx="1643">
                  <c:v>41520</c:v>
                </c:pt>
                <c:pt idx="1644">
                  <c:v>41521</c:v>
                </c:pt>
                <c:pt idx="1645">
                  <c:v>41522</c:v>
                </c:pt>
                <c:pt idx="1646">
                  <c:v>41523</c:v>
                </c:pt>
                <c:pt idx="1647">
                  <c:v>41526</c:v>
                </c:pt>
                <c:pt idx="1648">
                  <c:v>41527</c:v>
                </c:pt>
                <c:pt idx="1649">
                  <c:v>41528</c:v>
                </c:pt>
                <c:pt idx="1650">
                  <c:v>41529</c:v>
                </c:pt>
                <c:pt idx="1651">
                  <c:v>41530</c:v>
                </c:pt>
                <c:pt idx="1652">
                  <c:v>41533</c:v>
                </c:pt>
                <c:pt idx="1653">
                  <c:v>41534</c:v>
                </c:pt>
                <c:pt idx="1654">
                  <c:v>41535</c:v>
                </c:pt>
                <c:pt idx="1655">
                  <c:v>41536</c:v>
                </c:pt>
                <c:pt idx="1656">
                  <c:v>41537</c:v>
                </c:pt>
                <c:pt idx="1657">
                  <c:v>41540</c:v>
                </c:pt>
                <c:pt idx="1658">
                  <c:v>41541</c:v>
                </c:pt>
                <c:pt idx="1659">
                  <c:v>41542</c:v>
                </c:pt>
                <c:pt idx="1660">
                  <c:v>41543</c:v>
                </c:pt>
                <c:pt idx="1661">
                  <c:v>41544</c:v>
                </c:pt>
                <c:pt idx="1662">
                  <c:v>41547</c:v>
                </c:pt>
                <c:pt idx="1663">
                  <c:v>41548</c:v>
                </c:pt>
                <c:pt idx="1664">
                  <c:v>41549</c:v>
                </c:pt>
                <c:pt idx="1665">
                  <c:v>41550</c:v>
                </c:pt>
                <c:pt idx="1666">
                  <c:v>41551</c:v>
                </c:pt>
                <c:pt idx="1667">
                  <c:v>41554</c:v>
                </c:pt>
                <c:pt idx="1668">
                  <c:v>41555</c:v>
                </c:pt>
                <c:pt idx="1669">
                  <c:v>41556</c:v>
                </c:pt>
                <c:pt idx="1670">
                  <c:v>41557</c:v>
                </c:pt>
                <c:pt idx="1671">
                  <c:v>41558</c:v>
                </c:pt>
                <c:pt idx="1672">
                  <c:v>41561</c:v>
                </c:pt>
                <c:pt idx="1673">
                  <c:v>41562</c:v>
                </c:pt>
                <c:pt idx="1674">
                  <c:v>41563</c:v>
                </c:pt>
                <c:pt idx="1675">
                  <c:v>41564</c:v>
                </c:pt>
                <c:pt idx="1676">
                  <c:v>41565</c:v>
                </c:pt>
                <c:pt idx="1677">
                  <c:v>41568</c:v>
                </c:pt>
                <c:pt idx="1678">
                  <c:v>41569</c:v>
                </c:pt>
                <c:pt idx="1679">
                  <c:v>41570</c:v>
                </c:pt>
                <c:pt idx="1680">
                  <c:v>41571</c:v>
                </c:pt>
                <c:pt idx="1681">
                  <c:v>41572</c:v>
                </c:pt>
                <c:pt idx="1682">
                  <c:v>41575</c:v>
                </c:pt>
                <c:pt idx="1683">
                  <c:v>41576</c:v>
                </c:pt>
                <c:pt idx="1684">
                  <c:v>41577</c:v>
                </c:pt>
                <c:pt idx="1685">
                  <c:v>41578</c:v>
                </c:pt>
                <c:pt idx="1686">
                  <c:v>41579</c:v>
                </c:pt>
                <c:pt idx="1687">
                  <c:v>41582</c:v>
                </c:pt>
                <c:pt idx="1688">
                  <c:v>41583</c:v>
                </c:pt>
                <c:pt idx="1689">
                  <c:v>41584</c:v>
                </c:pt>
                <c:pt idx="1690">
                  <c:v>41585</c:v>
                </c:pt>
                <c:pt idx="1691">
                  <c:v>41586</c:v>
                </c:pt>
                <c:pt idx="1692">
                  <c:v>41589</c:v>
                </c:pt>
                <c:pt idx="1693">
                  <c:v>41590</c:v>
                </c:pt>
                <c:pt idx="1694">
                  <c:v>41591</c:v>
                </c:pt>
                <c:pt idx="1695">
                  <c:v>41592</c:v>
                </c:pt>
                <c:pt idx="1696">
                  <c:v>41593</c:v>
                </c:pt>
                <c:pt idx="1697">
                  <c:v>41596</c:v>
                </c:pt>
                <c:pt idx="1698">
                  <c:v>41597</c:v>
                </c:pt>
                <c:pt idx="1699">
                  <c:v>41598</c:v>
                </c:pt>
                <c:pt idx="1700">
                  <c:v>41599</c:v>
                </c:pt>
                <c:pt idx="1701">
                  <c:v>41600</c:v>
                </c:pt>
                <c:pt idx="1702">
                  <c:v>41603</c:v>
                </c:pt>
                <c:pt idx="1703">
                  <c:v>41604</c:v>
                </c:pt>
                <c:pt idx="1704">
                  <c:v>41605</c:v>
                </c:pt>
                <c:pt idx="1705">
                  <c:v>41607</c:v>
                </c:pt>
                <c:pt idx="1706">
                  <c:v>41610</c:v>
                </c:pt>
                <c:pt idx="1707">
                  <c:v>41611</c:v>
                </c:pt>
                <c:pt idx="1708">
                  <c:v>41612</c:v>
                </c:pt>
                <c:pt idx="1709">
                  <c:v>41613</c:v>
                </c:pt>
                <c:pt idx="1710">
                  <c:v>41614</c:v>
                </c:pt>
                <c:pt idx="1711">
                  <c:v>41617</c:v>
                </c:pt>
                <c:pt idx="1712">
                  <c:v>41618</c:v>
                </c:pt>
                <c:pt idx="1713">
                  <c:v>41619</c:v>
                </c:pt>
                <c:pt idx="1714">
                  <c:v>41620</c:v>
                </c:pt>
                <c:pt idx="1715">
                  <c:v>41621</c:v>
                </c:pt>
                <c:pt idx="1716">
                  <c:v>41624</c:v>
                </c:pt>
                <c:pt idx="1717">
                  <c:v>41625</c:v>
                </c:pt>
                <c:pt idx="1718">
                  <c:v>41626</c:v>
                </c:pt>
                <c:pt idx="1719">
                  <c:v>41627</c:v>
                </c:pt>
                <c:pt idx="1720">
                  <c:v>41628</c:v>
                </c:pt>
                <c:pt idx="1721">
                  <c:v>41631</c:v>
                </c:pt>
                <c:pt idx="1722">
                  <c:v>41632</c:v>
                </c:pt>
                <c:pt idx="1723">
                  <c:v>41634</c:v>
                </c:pt>
                <c:pt idx="1724">
                  <c:v>41635</c:v>
                </c:pt>
                <c:pt idx="1725">
                  <c:v>41638</c:v>
                </c:pt>
                <c:pt idx="1726">
                  <c:v>41639</c:v>
                </c:pt>
                <c:pt idx="1727">
                  <c:v>41641</c:v>
                </c:pt>
                <c:pt idx="1728">
                  <c:v>41642</c:v>
                </c:pt>
                <c:pt idx="1729">
                  <c:v>41645</c:v>
                </c:pt>
                <c:pt idx="1730">
                  <c:v>41646</c:v>
                </c:pt>
                <c:pt idx="1731">
                  <c:v>41647</c:v>
                </c:pt>
                <c:pt idx="1732">
                  <c:v>41648</c:v>
                </c:pt>
                <c:pt idx="1733">
                  <c:v>41649</c:v>
                </c:pt>
                <c:pt idx="1734">
                  <c:v>41652</c:v>
                </c:pt>
                <c:pt idx="1735">
                  <c:v>41653</c:v>
                </c:pt>
                <c:pt idx="1736">
                  <c:v>41654</c:v>
                </c:pt>
                <c:pt idx="1737">
                  <c:v>41655</c:v>
                </c:pt>
                <c:pt idx="1738">
                  <c:v>41656</c:v>
                </c:pt>
                <c:pt idx="1739">
                  <c:v>41660</c:v>
                </c:pt>
                <c:pt idx="1740">
                  <c:v>41661</c:v>
                </c:pt>
                <c:pt idx="1741">
                  <c:v>41662</c:v>
                </c:pt>
                <c:pt idx="1742">
                  <c:v>41663</c:v>
                </c:pt>
                <c:pt idx="1743">
                  <c:v>41666</c:v>
                </c:pt>
                <c:pt idx="1744">
                  <c:v>41667</c:v>
                </c:pt>
                <c:pt idx="1745">
                  <c:v>41668</c:v>
                </c:pt>
                <c:pt idx="1746">
                  <c:v>41669</c:v>
                </c:pt>
                <c:pt idx="1747">
                  <c:v>41670</c:v>
                </c:pt>
                <c:pt idx="1748">
                  <c:v>41673</c:v>
                </c:pt>
                <c:pt idx="1749">
                  <c:v>41674</c:v>
                </c:pt>
                <c:pt idx="1750">
                  <c:v>41675</c:v>
                </c:pt>
                <c:pt idx="1751">
                  <c:v>41676</c:v>
                </c:pt>
                <c:pt idx="1752">
                  <c:v>41677</c:v>
                </c:pt>
                <c:pt idx="1753">
                  <c:v>41680</c:v>
                </c:pt>
                <c:pt idx="1754">
                  <c:v>41681</c:v>
                </c:pt>
                <c:pt idx="1755">
                  <c:v>41682</c:v>
                </c:pt>
                <c:pt idx="1756">
                  <c:v>41683</c:v>
                </c:pt>
                <c:pt idx="1757">
                  <c:v>41684</c:v>
                </c:pt>
                <c:pt idx="1758">
                  <c:v>41688</c:v>
                </c:pt>
                <c:pt idx="1759">
                  <c:v>41689</c:v>
                </c:pt>
                <c:pt idx="1760">
                  <c:v>41690</c:v>
                </c:pt>
                <c:pt idx="1761">
                  <c:v>41691</c:v>
                </c:pt>
                <c:pt idx="1762">
                  <c:v>41694</c:v>
                </c:pt>
                <c:pt idx="1763">
                  <c:v>41695</c:v>
                </c:pt>
                <c:pt idx="1764">
                  <c:v>41696</c:v>
                </c:pt>
                <c:pt idx="1765">
                  <c:v>41697</c:v>
                </c:pt>
                <c:pt idx="1766">
                  <c:v>41698</c:v>
                </c:pt>
                <c:pt idx="1767">
                  <c:v>41701</c:v>
                </c:pt>
                <c:pt idx="1768">
                  <c:v>41702</c:v>
                </c:pt>
                <c:pt idx="1769">
                  <c:v>41703</c:v>
                </c:pt>
                <c:pt idx="1770">
                  <c:v>41704</c:v>
                </c:pt>
                <c:pt idx="1771">
                  <c:v>41705</c:v>
                </c:pt>
                <c:pt idx="1772">
                  <c:v>41708</c:v>
                </c:pt>
                <c:pt idx="1773">
                  <c:v>41709</c:v>
                </c:pt>
                <c:pt idx="1774">
                  <c:v>41710</c:v>
                </c:pt>
                <c:pt idx="1775">
                  <c:v>41711</c:v>
                </c:pt>
                <c:pt idx="1776">
                  <c:v>41712</c:v>
                </c:pt>
                <c:pt idx="1777">
                  <c:v>41715</c:v>
                </c:pt>
                <c:pt idx="1778">
                  <c:v>41716</c:v>
                </c:pt>
                <c:pt idx="1779">
                  <c:v>41717</c:v>
                </c:pt>
                <c:pt idx="1780">
                  <c:v>41718</c:v>
                </c:pt>
                <c:pt idx="1781">
                  <c:v>41719</c:v>
                </c:pt>
                <c:pt idx="1782">
                  <c:v>41722</c:v>
                </c:pt>
                <c:pt idx="1783">
                  <c:v>41723</c:v>
                </c:pt>
                <c:pt idx="1784">
                  <c:v>41724</c:v>
                </c:pt>
                <c:pt idx="1785">
                  <c:v>41725</c:v>
                </c:pt>
                <c:pt idx="1786">
                  <c:v>41726</c:v>
                </c:pt>
                <c:pt idx="1787">
                  <c:v>41729</c:v>
                </c:pt>
                <c:pt idx="1788">
                  <c:v>41730</c:v>
                </c:pt>
                <c:pt idx="1789">
                  <c:v>41731</c:v>
                </c:pt>
                <c:pt idx="1790">
                  <c:v>41732</c:v>
                </c:pt>
                <c:pt idx="1791">
                  <c:v>41733</c:v>
                </c:pt>
                <c:pt idx="1792">
                  <c:v>41736</c:v>
                </c:pt>
                <c:pt idx="1793">
                  <c:v>41737</c:v>
                </c:pt>
                <c:pt idx="1794">
                  <c:v>41738</c:v>
                </c:pt>
                <c:pt idx="1795">
                  <c:v>41739</c:v>
                </c:pt>
                <c:pt idx="1796">
                  <c:v>41740</c:v>
                </c:pt>
                <c:pt idx="1797">
                  <c:v>41743</c:v>
                </c:pt>
                <c:pt idx="1798">
                  <c:v>41744</c:v>
                </c:pt>
                <c:pt idx="1799">
                  <c:v>41745</c:v>
                </c:pt>
                <c:pt idx="1800">
                  <c:v>41746</c:v>
                </c:pt>
                <c:pt idx="1801">
                  <c:v>41750</c:v>
                </c:pt>
                <c:pt idx="1802">
                  <c:v>41751</c:v>
                </c:pt>
                <c:pt idx="1803">
                  <c:v>41752</c:v>
                </c:pt>
                <c:pt idx="1804">
                  <c:v>41753</c:v>
                </c:pt>
                <c:pt idx="1805">
                  <c:v>41754</c:v>
                </c:pt>
                <c:pt idx="1806">
                  <c:v>41757</c:v>
                </c:pt>
                <c:pt idx="1807">
                  <c:v>41758</c:v>
                </c:pt>
                <c:pt idx="1808">
                  <c:v>41759</c:v>
                </c:pt>
                <c:pt idx="1809">
                  <c:v>41760</c:v>
                </c:pt>
                <c:pt idx="1810">
                  <c:v>41761</c:v>
                </c:pt>
                <c:pt idx="1811">
                  <c:v>41764</c:v>
                </c:pt>
                <c:pt idx="1812">
                  <c:v>41765</c:v>
                </c:pt>
                <c:pt idx="1813">
                  <c:v>41766</c:v>
                </c:pt>
                <c:pt idx="1814">
                  <c:v>41767</c:v>
                </c:pt>
                <c:pt idx="1815">
                  <c:v>41768</c:v>
                </c:pt>
                <c:pt idx="1816">
                  <c:v>41771</c:v>
                </c:pt>
                <c:pt idx="1817">
                  <c:v>41772</c:v>
                </c:pt>
                <c:pt idx="1818">
                  <c:v>41773</c:v>
                </c:pt>
                <c:pt idx="1819">
                  <c:v>41774</c:v>
                </c:pt>
                <c:pt idx="1820">
                  <c:v>41775</c:v>
                </c:pt>
                <c:pt idx="1821">
                  <c:v>41778</c:v>
                </c:pt>
                <c:pt idx="1822">
                  <c:v>41779</c:v>
                </c:pt>
                <c:pt idx="1823">
                  <c:v>41780</c:v>
                </c:pt>
                <c:pt idx="1824">
                  <c:v>41781</c:v>
                </c:pt>
                <c:pt idx="1825">
                  <c:v>41782</c:v>
                </c:pt>
                <c:pt idx="1826">
                  <c:v>41786</c:v>
                </c:pt>
                <c:pt idx="1827">
                  <c:v>41787</c:v>
                </c:pt>
                <c:pt idx="1828">
                  <c:v>41788</c:v>
                </c:pt>
                <c:pt idx="1829">
                  <c:v>41789</c:v>
                </c:pt>
                <c:pt idx="1830">
                  <c:v>41792</c:v>
                </c:pt>
                <c:pt idx="1831">
                  <c:v>41793</c:v>
                </c:pt>
                <c:pt idx="1832">
                  <c:v>41794</c:v>
                </c:pt>
                <c:pt idx="1833">
                  <c:v>41795</c:v>
                </c:pt>
                <c:pt idx="1834">
                  <c:v>41796</c:v>
                </c:pt>
                <c:pt idx="1835">
                  <c:v>41799</c:v>
                </c:pt>
                <c:pt idx="1836">
                  <c:v>41800</c:v>
                </c:pt>
                <c:pt idx="1837">
                  <c:v>41801</c:v>
                </c:pt>
                <c:pt idx="1838">
                  <c:v>41802</c:v>
                </c:pt>
                <c:pt idx="1839">
                  <c:v>41803</c:v>
                </c:pt>
                <c:pt idx="1840">
                  <c:v>41806</c:v>
                </c:pt>
                <c:pt idx="1841">
                  <c:v>41807</c:v>
                </c:pt>
                <c:pt idx="1842">
                  <c:v>41808</c:v>
                </c:pt>
                <c:pt idx="1843">
                  <c:v>41809</c:v>
                </c:pt>
                <c:pt idx="1844">
                  <c:v>41810</c:v>
                </c:pt>
                <c:pt idx="1845">
                  <c:v>41813</c:v>
                </c:pt>
                <c:pt idx="1846">
                  <c:v>41814</c:v>
                </c:pt>
                <c:pt idx="1847">
                  <c:v>41815</c:v>
                </c:pt>
                <c:pt idx="1848">
                  <c:v>41816</c:v>
                </c:pt>
                <c:pt idx="1849">
                  <c:v>41817</c:v>
                </c:pt>
                <c:pt idx="1850">
                  <c:v>41820</c:v>
                </c:pt>
                <c:pt idx="1851">
                  <c:v>41821</c:v>
                </c:pt>
                <c:pt idx="1852">
                  <c:v>41822</c:v>
                </c:pt>
                <c:pt idx="1853">
                  <c:v>41823</c:v>
                </c:pt>
                <c:pt idx="1854">
                  <c:v>41827</c:v>
                </c:pt>
                <c:pt idx="1855">
                  <c:v>41828</c:v>
                </c:pt>
                <c:pt idx="1856">
                  <c:v>41829</c:v>
                </c:pt>
                <c:pt idx="1857">
                  <c:v>41830</c:v>
                </c:pt>
                <c:pt idx="1858">
                  <c:v>41831</c:v>
                </c:pt>
                <c:pt idx="1859">
                  <c:v>41834</c:v>
                </c:pt>
                <c:pt idx="1860">
                  <c:v>41835</c:v>
                </c:pt>
                <c:pt idx="1861">
                  <c:v>41836</c:v>
                </c:pt>
                <c:pt idx="1862">
                  <c:v>41837</c:v>
                </c:pt>
                <c:pt idx="1863">
                  <c:v>41838</c:v>
                </c:pt>
                <c:pt idx="1864">
                  <c:v>41841</c:v>
                </c:pt>
                <c:pt idx="1865">
                  <c:v>41842</c:v>
                </c:pt>
                <c:pt idx="1866">
                  <c:v>41843</c:v>
                </c:pt>
                <c:pt idx="1867">
                  <c:v>41844</c:v>
                </c:pt>
                <c:pt idx="1868">
                  <c:v>41845</c:v>
                </c:pt>
                <c:pt idx="1869">
                  <c:v>41848</c:v>
                </c:pt>
                <c:pt idx="1870">
                  <c:v>41849</c:v>
                </c:pt>
                <c:pt idx="1871">
                  <c:v>41850</c:v>
                </c:pt>
                <c:pt idx="1872">
                  <c:v>41851</c:v>
                </c:pt>
                <c:pt idx="1873">
                  <c:v>41852</c:v>
                </c:pt>
                <c:pt idx="1874">
                  <c:v>41855</c:v>
                </c:pt>
                <c:pt idx="1875">
                  <c:v>41856</c:v>
                </c:pt>
                <c:pt idx="1876">
                  <c:v>41857</c:v>
                </c:pt>
                <c:pt idx="1877">
                  <c:v>41858</c:v>
                </c:pt>
                <c:pt idx="1878">
                  <c:v>41859</c:v>
                </c:pt>
                <c:pt idx="1879">
                  <c:v>41862</c:v>
                </c:pt>
                <c:pt idx="1880">
                  <c:v>41863</c:v>
                </c:pt>
                <c:pt idx="1881">
                  <c:v>41864</c:v>
                </c:pt>
                <c:pt idx="1882">
                  <c:v>41865</c:v>
                </c:pt>
                <c:pt idx="1883">
                  <c:v>41866</c:v>
                </c:pt>
                <c:pt idx="1884">
                  <c:v>41869</c:v>
                </c:pt>
                <c:pt idx="1885">
                  <c:v>41870</c:v>
                </c:pt>
                <c:pt idx="1886">
                  <c:v>41871</c:v>
                </c:pt>
                <c:pt idx="1887">
                  <c:v>41872</c:v>
                </c:pt>
                <c:pt idx="1888">
                  <c:v>41873</c:v>
                </c:pt>
                <c:pt idx="1889">
                  <c:v>41876</c:v>
                </c:pt>
                <c:pt idx="1890">
                  <c:v>41877</c:v>
                </c:pt>
                <c:pt idx="1891">
                  <c:v>41878</c:v>
                </c:pt>
                <c:pt idx="1892">
                  <c:v>41879</c:v>
                </c:pt>
                <c:pt idx="1893">
                  <c:v>41880</c:v>
                </c:pt>
                <c:pt idx="1894">
                  <c:v>41884</c:v>
                </c:pt>
                <c:pt idx="1895">
                  <c:v>41885</c:v>
                </c:pt>
                <c:pt idx="1896">
                  <c:v>41886</c:v>
                </c:pt>
                <c:pt idx="1897">
                  <c:v>41887</c:v>
                </c:pt>
                <c:pt idx="1898">
                  <c:v>41890</c:v>
                </c:pt>
                <c:pt idx="1899">
                  <c:v>41891</c:v>
                </c:pt>
                <c:pt idx="1900">
                  <c:v>41892</c:v>
                </c:pt>
                <c:pt idx="1901">
                  <c:v>41893</c:v>
                </c:pt>
                <c:pt idx="1902">
                  <c:v>41894</c:v>
                </c:pt>
                <c:pt idx="1903">
                  <c:v>41897</c:v>
                </c:pt>
                <c:pt idx="1904">
                  <c:v>41898</c:v>
                </c:pt>
                <c:pt idx="1905">
                  <c:v>41899</c:v>
                </c:pt>
                <c:pt idx="1906">
                  <c:v>41900</c:v>
                </c:pt>
                <c:pt idx="1907">
                  <c:v>41901</c:v>
                </c:pt>
                <c:pt idx="1908">
                  <c:v>41904</c:v>
                </c:pt>
                <c:pt idx="1909">
                  <c:v>41905</c:v>
                </c:pt>
                <c:pt idx="1910">
                  <c:v>41906</c:v>
                </c:pt>
                <c:pt idx="1911">
                  <c:v>41907</c:v>
                </c:pt>
                <c:pt idx="1912">
                  <c:v>41908</c:v>
                </c:pt>
                <c:pt idx="1913">
                  <c:v>41911</c:v>
                </c:pt>
                <c:pt idx="1914">
                  <c:v>41912</c:v>
                </c:pt>
                <c:pt idx="1915">
                  <c:v>41913</c:v>
                </c:pt>
                <c:pt idx="1916">
                  <c:v>41914</c:v>
                </c:pt>
                <c:pt idx="1917">
                  <c:v>41915</c:v>
                </c:pt>
                <c:pt idx="1918">
                  <c:v>41918</c:v>
                </c:pt>
                <c:pt idx="1919">
                  <c:v>41919</c:v>
                </c:pt>
                <c:pt idx="1920">
                  <c:v>41920</c:v>
                </c:pt>
                <c:pt idx="1921">
                  <c:v>41921</c:v>
                </c:pt>
                <c:pt idx="1922">
                  <c:v>41922</c:v>
                </c:pt>
                <c:pt idx="1923">
                  <c:v>41925</c:v>
                </c:pt>
                <c:pt idx="1924">
                  <c:v>41926</c:v>
                </c:pt>
                <c:pt idx="1925">
                  <c:v>41927</c:v>
                </c:pt>
                <c:pt idx="1926">
                  <c:v>41928</c:v>
                </c:pt>
                <c:pt idx="1927">
                  <c:v>41929</c:v>
                </c:pt>
                <c:pt idx="1928">
                  <c:v>41932</c:v>
                </c:pt>
                <c:pt idx="1929">
                  <c:v>41933</c:v>
                </c:pt>
                <c:pt idx="1930">
                  <c:v>41934</c:v>
                </c:pt>
                <c:pt idx="1931">
                  <c:v>41935</c:v>
                </c:pt>
                <c:pt idx="1932">
                  <c:v>41936</c:v>
                </c:pt>
                <c:pt idx="1933">
                  <c:v>41939</c:v>
                </c:pt>
                <c:pt idx="1934">
                  <c:v>41940</c:v>
                </c:pt>
                <c:pt idx="1935">
                  <c:v>41941</c:v>
                </c:pt>
                <c:pt idx="1936">
                  <c:v>41942</c:v>
                </c:pt>
                <c:pt idx="1937">
                  <c:v>41943</c:v>
                </c:pt>
                <c:pt idx="1938">
                  <c:v>41946</c:v>
                </c:pt>
                <c:pt idx="1939">
                  <c:v>41947</c:v>
                </c:pt>
                <c:pt idx="1940">
                  <c:v>41948</c:v>
                </c:pt>
                <c:pt idx="1941">
                  <c:v>41949</c:v>
                </c:pt>
                <c:pt idx="1942">
                  <c:v>41950</c:v>
                </c:pt>
                <c:pt idx="1943">
                  <c:v>41953</c:v>
                </c:pt>
                <c:pt idx="1944">
                  <c:v>41954</c:v>
                </c:pt>
                <c:pt idx="1945">
                  <c:v>41955</c:v>
                </c:pt>
                <c:pt idx="1946">
                  <c:v>41956</c:v>
                </c:pt>
                <c:pt idx="1947">
                  <c:v>41957</c:v>
                </c:pt>
                <c:pt idx="1948">
                  <c:v>41960</c:v>
                </c:pt>
                <c:pt idx="1949">
                  <c:v>41961</c:v>
                </c:pt>
                <c:pt idx="1950">
                  <c:v>41962</c:v>
                </c:pt>
                <c:pt idx="1951">
                  <c:v>41963</c:v>
                </c:pt>
                <c:pt idx="1952">
                  <c:v>41964</c:v>
                </c:pt>
                <c:pt idx="1953">
                  <c:v>41967</c:v>
                </c:pt>
                <c:pt idx="1954">
                  <c:v>41968</c:v>
                </c:pt>
                <c:pt idx="1955">
                  <c:v>41969</c:v>
                </c:pt>
                <c:pt idx="1956">
                  <c:v>41971</c:v>
                </c:pt>
                <c:pt idx="1957">
                  <c:v>41974</c:v>
                </c:pt>
                <c:pt idx="1958">
                  <c:v>41975</c:v>
                </c:pt>
                <c:pt idx="1959">
                  <c:v>41976</c:v>
                </c:pt>
                <c:pt idx="1960">
                  <c:v>41977</c:v>
                </c:pt>
                <c:pt idx="1961">
                  <c:v>41978</c:v>
                </c:pt>
                <c:pt idx="1962">
                  <c:v>41981</c:v>
                </c:pt>
                <c:pt idx="1963">
                  <c:v>41982</c:v>
                </c:pt>
                <c:pt idx="1964">
                  <c:v>41983</c:v>
                </c:pt>
                <c:pt idx="1965">
                  <c:v>41984</c:v>
                </c:pt>
                <c:pt idx="1966">
                  <c:v>41985</c:v>
                </c:pt>
                <c:pt idx="1967">
                  <c:v>41988</c:v>
                </c:pt>
                <c:pt idx="1968">
                  <c:v>41989</c:v>
                </c:pt>
                <c:pt idx="1969">
                  <c:v>41990</c:v>
                </c:pt>
                <c:pt idx="1970">
                  <c:v>41991</c:v>
                </c:pt>
                <c:pt idx="1971">
                  <c:v>41992</c:v>
                </c:pt>
                <c:pt idx="1972">
                  <c:v>41995</c:v>
                </c:pt>
                <c:pt idx="1973">
                  <c:v>41996</c:v>
                </c:pt>
                <c:pt idx="1974">
                  <c:v>41997</c:v>
                </c:pt>
                <c:pt idx="1975">
                  <c:v>41999</c:v>
                </c:pt>
                <c:pt idx="1976">
                  <c:v>42002</c:v>
                </c:pt>
                <c:pt idx="1977">
                  <c:v>42003</c:v>
                </c:pt>
                <c:pt idx="1978">
                  <c:v>42004</c:v>
                </c:pt>
                <c:pt idx="1979">
                  <c:v>42006</c:v>
                </c:pt>
                <c:pt idx="1980">
                  <c:v>42009</c:v>
                </c:pt>
                <c:pt idx="1981">
                  <c:v>42010</c:v>
                </c:pt>
                <c:pt idx="1982">
                  <c:v>42011</c:v>
                </c:pt>
                <c:pt idx="1983">
                  <c:v>42012</c:v>
                </c:pt>
                <c:pt idx="1984">
                  <c:v>42013</c:v>
                </c:pt>
                <c:pt idx="1985">
                  <c:v>42016</c:v>
                </c:pt>
                <c:pt idx="1986">
                  <c:v>42017</c:v>
                </c:pt>
                <c:pt idx="1987">
                  <c:v>42018</c:v>
                </c:pt>
                <c:pt idx="1988">
                  <c:v>42019</c:v>
                </c:pt>
                <c:pt idx="1989">
                  <c:v>42020</c:v>
                </c:pt>
                <c:pt idx="1990">
                  <c:v>42024</c:v>
                </c:pt>
                <c:pt idx="1991">
                  <c:v>42025</c:v>
                </c:pt>
                <c:pt idx="1992">
                  <c:v>42026</c:v>
                </c:pt>
                <c:pt idx="1993">
                  <c:v>42027</c:v>
                </c:pt>
                <c:pt idx="1994">
                  <c:v>42030</c:v>
                </c:pt>
                <c:pt idx="1995">
                  <c:v>42031</c:v>
                </c:pt>
                <c:pt idx="1996">
                  <c:v>42032</c:v>
                </c:pt>
                <c:pt idx="1997">
                  <c:v>42033</c:v>
                </c:pt>
                <c:pt idx="1998">
                  <c:v>42034</c:v>
                </c:pt>
                <c:pt idx="1999">
                  <c:v>42037</c:v>
                </c:pt>
                <c:pt idx="2000">
                  <c:v>42038</c:v>
                </c:pt>
                <c:pt idx="2001">
                  <c:v>42039</c:v>
                </c:pt>
                <c:pt idx="2002">
                  <c:v>42040</c:v>
                </c:pt>
                <c:pt idx="2003">
                  <c:v>42041</c:v>
                </c:pt>
                <c:pt idx="2004">
                  <c:v>42044</c:v>
                </c:pt>
                <c:pt idx="2005">
                  <c:v>42045</c:v>
                </c:pt>
                <c:pt idx="2006">
                  <c:v>42046</c:v>
                </c:pt>
                <c:pt idx="2007">
                  <c:v>42047</c:v>
                </c:pt>
                <c:pt idx="2008">
                  <c:v>42048</c:v>
                </c:pt>
                <c:pt idx="2009">
                  <c:v>42052</c:v>
                </c:pt>
                <c:pt idx="2010">
                  <c:v>42053</c:v>
                </c:pt>
                <c:pt idx="2011">
                  <c:v>42054</c:v>
                </c:pt>
                <c:pt idx="2012">
                  <c:v>42055</c:v>
                </c:pt>
                <c:pt idx="2013">
                  <c:v>42058</c:v>
                </c:pt>
                <c:pt idx="2014">
                  <c:v>42059</c:v>
                </c:pt>
                <c:pt idx="2015">
                  <c:v>42060</c:v>
                </c:pt>
                <c:pt idx="2016">
                  <c:v>42061</c:v>
                </c:pt>
                <c:pt idx="2017">
                  <c:v>42062</c:v>
                </c:pt>
                <c:pt idx="2018">
                  <c:v>42065</c:v>
                </c:pt>
                <c:pt idx="2019">
                  <c:v>42066</c:v>
                </c:pt>
                <c:pt idx="2020">
                  <c:v>42067</c:v>
                </c:pt>
                <c:pt idx="2021">
                  <c:v>42068</c:v>
                </c:pt>
                <c:pt idx="2022">
                  <c:v>42069</c:v>
                </c:pt>
                <c:pt idx="2023">
                  <c:v>42072</c:v>
                </c:pt>
                <c:pt idx="2024">
                  <c:v>42073</c:v>
                </c:pt>
                <c:pt idx="2025">
                  <c:v>42074</c:v>
                </c:pt>
                <c:pt idx="2026">
                  <c:v>42075</c:v>
                </c:pt>
                <c:pt idx="2027">
                  <c:v>42076</c:v>
                </c:pt>
                <c:pt idx="2028">
                  <c:v>42079</c:v>
                </c:pt>
                <c:pt idx="2029">
                  <c:v>42080</c:v>
                </c:pt>
                <c:pt idx="2030">
                  <c:v>42081</c:v>
                </c:pt>
                <c:pt idx="2031">
                  <c:v>42082</c:v>
                </c:pt>
                <c:pt idx="2032">
                  <c:v>42083</c:v>
                </c:pt>
                <c:pt idx="2033">
                  <c:v>42086</c:v>
                </c:pt>
                <c:pt idx="2034">
                  <c:v>42087</c:v>
                </c:pt>
                <c:pt idx="2035">
                  <c:v>42088</c:v>
                </c:pt>
                <c:pt idx="2036">
                  <c:v>42089</c:v>
                </c:pt>
                <c:pt idx="2037">
                  <c:v>42090</c:v>
                </c:pt>
                <c:pt idx="2038">
                  <c:v>42093</c:v>
                </c:pt>
                <c:pt idx="2039">
                  <c:v>42094</c:v>
                </c:pt>
                <c:pt idx="2040">
                  <c:v>42095</c:v>
                </c:pt>
                <c:pt idx="2041">
                  <c:v>42096</c:v>
                </c:pt>
                <c:pt idx="2042">
                  <c:v>42100</c:v>
                </c:pt>
                <c:pt idx="2043">
                  <c:v>42101</c:v>
                </c:pt>
                <c:pt idx="2044">
                  <c:v>42102</c:v>
                </c:pt>
                <c:pt idx="2045">
                  <c:v>42103</c:v>
                </c:pt>
                <c:pt idx="2046">
                  <c:v>42104</c:v>
                </c:pt>
                <c:pt idx="2047">
                  <c:v>42107</c:v>
                </c:pt>
                <c:pt idx="2048">
                  <c:v>42108</c:v>
                </c:pt>
                <c:pt idx="2049">
                  <c:v>42109</c:v>
                </c:pt>
                <c:pt idx="2050">
                  <c:v>42110</c:v>
                </c:pt>
                <c:pt idx="2051">
                  <c:v>42111</c:v>
                </c:pt>
                <c:pt idx="2052">
                  <c:v>42114</c:v>
                </c:pt>
                <c:pt idx="2053">
                  <c:v>42115</c:v>
                </c:pt>
                <c:pt idx="2054">
                  <c:v>42116</c:v>
                </c:pt>
                <c:pt idx="2055">
                  <c:v>42117</c:v>
                </c:pt>
                <c:pt idx="2056">
                  <c:v>42118</c:v>
                </c:pt>
                <c:pt idx="2057">
                  <c:v>42121</c:v>
                </c:pt>
                <c:pt idx="2058">
                  <c:v>42122</c:v>
                </c:pt>
                <c:pt idx="2059">
                  <c:v>42123</c:v>
                </c:pt>
                <c:pt idx="2060">
                  <c:v>42124</c:v>
                </c:pt>
                <c:pt idx="2061">
                  <c:v>42125</c:v>
                </c:pt>
                <c:pt idx="2062">
                  <c:v>42128</c:v>
                </c:pt>
                <c:pt idx="2063">
                  <c:v>42129</c:v>
                </c:pt>
                <c:pt idx="2064">
                  <c:v>42130</c:v>
                </c:pt>
                <c:pt idx="2065">
                  <c:v>42131</c:v>
                </c:pt>
                <c:pt idx="2066">
                  <c:v>42132</c:v>
                </c:pt>
                <c:pt idx="2067">
                  <c:v>42135</c:v>
                </c:pt>
                <c:pt idx="2068">
                  <c:v>42136</c:v>
                </c:pt>
                <c:pt idx="2069">
                  <c:v>42137</c:v>
                </c:pt>
                <c:pt idx="2070">
                  <c:v>42138</c:v>
                </c:pt>
                <c:pt idx="2071">
                  <c:v>42139</c:v>
                </c:pt>
                <c:pt idx="2072">
                  <c:v>42142</c:v>
                </c:pt>
                <c:pt idx="2073">
                  <c:v>42143</c:v>
                </c:pt>
                <c:pt idx="2074">
                  <c:v>42144</c:v>
                </c:pt>
                <c:pt idx="2075">
                  <c:v>42145</c:v>
                </c:pt>
                <c:pt idx="2076">
                  <c:v>42146</c:v>
                </c:pt>
                <c:pt idx="2077">
                  <c:v>42150</c:v>
                </c:pt>
                <c:pt idx="2078">
                  <c:v>42151</c:v>
                </c:pt>
                <c:pt idx="2079">
                  <c:v>42152</c:v>
                </c:pt>
                <c:pt idx="2080">
                  <c:v>42153</c:v>
                </c:pt>
                <c:pt idx="2081">
                  <c:v>42156</c:v>
                </c:pt>
                <c:pt idx="2082">
                  <c:v>42157</c:v>
                </c:pt>
                <c:pt idx="2083">
                  <c:v>42158</c:v>
                </c:pt>
                <c:pt idx="2084">
                  <c:v>42159</c:v>
                </c:pt>
                <c:pt idx="2085">
                  <c:v>42160</c:v>
                </c:pt>
                <c:pt idx="2086">
                  <c:v>42163</c:v>
                </c:pt>
                <c:pt idx="2087">
                  <c:v>42164</c:v>
                </c:pt>
                <c:pt idx="2088">
                  <c:v>42165</c:v>
                </c:pt>
                <c:pt idx="2089">
                  <c:v>42166</c:v>
                </c:pt>
                <c:pt idx="2090">
                  <c:v>42167</c:v>
                </c:pt>
                <c:pt idx="2091">
                  <c:v>42170</c:v>
                </c:pt>
                <c:pt idx="2092">
                  <c:v>42171</c:v>
                </c:pt>
                <c:pt idx="2093">
                  <c:v>42172</c:v>
                </c:pt>
                <c:pt idx="2094">
                  <c:v>42173</c:v>
                </c:pt>
                <c:pt idx="2095">
                  <c:v>42174</c:v>
                </c:pt>
                <c:pt idx="2096">
                  <c:v>42177</c:v>
                </c:pt>
                <c:pt idx="2097">
                  <c:v>42178</c:v>
                </c:pt>
                <c:pt idx="2098">
                  <c:v>42179</c:v>
                </c:pt>
                <c:pt idx="2099">
                  <c:v>42180</c:v>
                </c:pt>
                <c:pt idx="2100">
                  <c:v>42181</c:v>
                </c:pt>
                <c:pt idx="2101">
                  <c:v>42184</c:v>
                </c:pt>
                <c:pt idx="2102">
                  <c:v>42185</c:v>
                </c:pt>
                <c:pt idx="2103">
                  <c:v>42186</c:v>
                </c:pt>
                <c:pt idx="2104">
                  <c:v>42187</c:v>
                </c:pt>
                <c:pt idx="2105">
                  <c:v>42191</c:v>
                </c:pt>
                <c:pt idx="2106">
                  <c:v>42192</c:v>
                </c:pt>
                <c:pt idx="2107">
                  <c:v>42193</c:v>
                </c:pt>
                <c:pt idx="2108">
                  <c:v>42194</c:v>
                </c:pt>
                <c:pt idx="2109">
                  <c:v>42195</c:v>
                </c:pt>
                <c:pt idx="2110">
                  <c:v>42198</c:v>
                </c:pt>
                <c:pt idx="2111">
                  <c:v>42199</c:v>
                </c:pt>
                <c:pt idx="2112">
                  <c:v>42200</c:v>
                </c:pt>
                <c:pt idx="2113">
                  <c:v>42201</c:v>
                </c:pt>
                <c:pt idx="2114">
                  <c:v>42202</c:v>
                </c:pt>
                <c:pt idx="2115">
                  <c:v>42205</c:v>
                </c:pt>
                <c:pt idx="2116">
                  <c:v>42206</c:v>
                </c:pt>
                <c:pt idx="2117">
                  <c:v>42207</c:v>
                </c:pt>
                <c:pt idx="2118">
                  <c:v>42208</c:v>
                </c:pt>
                <c:pt idx="2119">
                  <c:v>42209</c:v>
                </c:pt>
                <c:pt idx="2120">
                  <c:v>42212</c:v>
                </c:pt>
                <c:pt idx="2121">
                  <c:v>42213</c:v>
                </c:pt>
                <c:pt idx="2122">
                  <c:v>42214</c:v>
                </c:pt>
                <c:pt idx="2123">
                  <c:v>42215</c:v>
                </c:pt>
                <c:pt idx="2124">
                  <c:v>42216</c:v>
                </c:pt>
                <c:pt idx="2125">
                  <c:v>42219</c:v>
                </c:pt>
                <c:pt idx="2126">
                  <c:v>42220</c:v>
                </c:pt>
                <c:pt idx="2127">
                  <c:v>42221</c:v>
                </c:pt>
                <c:pt idx="2128">
                  <c:v>42222</c:v>
                </c:pt>
                <c:pt idx="2129">
                  <c:v>42223</c:v>
                </c:pt>
                <c:pt idx="2130">
                  <c:v>42226</c:v>
                </c:pt>
                <c:pt idx="2131">
                  <c:v>42227</c:v>
                </c:pt>
                <c:pt idx="2132">
                  <c:v>42228</c:v>
                </c:pt>
                <c:pt idx="2133">
                  <c:v>42229</c:v>
                </c:pt>
                <c:pt idx="2134">
                  <c:v>42230</c:v>
                </c:pt>
                <c:pt idx="2135">
                  <c:v>42233</c:v>
                </c:pt>
                <c:pt idx="2136">
                  <c:v>42234</c:v>
                </c:pt>
                <c:pt idx="2137">
                  <c:v>42235</c:v>
                </c:pt>
                <c:pt idx="2138">
                  <c:v>42236</c:v>
                </c:pt>
                <c:pt idx="2139">
                  <c:v>42237</c:v>
                </c:pt>
                <c:pt idx="2140">
                  <c:v>42240</c:v>
                </c:pt>
                <c:pt idx="2141">
                  <c:v>42241</c:v>
                </c:pt>
                <c:pt idx="2142">
                  <c:v>42242</c:v>
                </c:pt>
                <c:pt idx="2143">
                  <c:v>42243</c:v>
                </c:pt>
                <c:pt idx="2144">
                  <c:v>42244</c:v>
                </c:pt>
                <c:pt idx="2145">
                  <c:v>42247</c:v>
                </c:pt>
                <c:pt idx="2146">
                  <c:v>42248</c:v>
                </c:pt>
                <c:pt idx="2147">
                  <c:v>42249</c:v>
                </c:pt>
                <c:pt idx="2148">
                  <c:v>42250</c:v>
                </c:pt>
                <c:pt idx="2149">
                  <c:v>42251</c:v>
                </c:pt>
                <c:pt idx="2150">
                  <c:v>42255</c:v>
                </c:pt>
                <c:pt idx="2151">
                  <c:v>42256</c:v>
                </c:pt>
                <c:pt idx="2152">
                  <c:v>42257</c:v>
                </c:pt>
                <c:pt idx="2153">
                  <c:v>42258</c:v>
                </c:pt>
                <c:pt idx="2154">
                  <c:v>42261</c:v>
                </c:pt>
                <c:pt idx="2155">
                  <c:v>42262</c:v>
                </c:pt>
                <c:pt idx="2156">
                  <c:v>42263</c:v>
                </c:pt>
                <c:pt idx="2157">
                  <c:v>42264</c:v>
                </c:pt>
                <c:pt idx="2158">
                  <c:v>42265</c:v>
                </c:pt>
                <c:pt idx="2159">
                  <c:v>42268</c:v>
                </c:pt>
                <c:pt idx="2160">
                  <c:v>42269</c:v>
                </c:pt>
                <c:pt idx="2161">
                  <c:v>42270</c:v>
                </c:pt>
                <c:pt idx="2162">
                  <c:v>42271</c:v>
                </c:pt>
                <c:pt idx="2163">
                  <c:v>42272</c:v>
                </c:pt>
                <c:pt idx="2164">
                  <c:v>42275</c:v>
                </c:pt>
                <c:pt idx="2165">
                  <c:v>42276</c:v>
                </c:pt>
                <c:pt idx="2166">
                  <c:v>42277</c:v>
                </c:pt>
                <c:pt idx="2167">
                  <c:v>42278</c:v>
                </c:pt>
                <c:pt idx="2168">
                  <c:v>42279</c:v>
                </c:pt>
                <c:pt idx="2169">
                  <c:v>42282</c:v>
                </c:pt>
                <c:pt idx="2170">
                  <c:v>42283</c:v>
                </c:pt>
                <c:pt idx="2171">
                  <c:v>42284</c:v>
                </c:pt>
                <c:pt idx="2172">
                  <c:v>42285</c:v>
                </c:pt>
                <c:pt idx="2173">
                  <c:v>42286</c:v>
                </c:pt>
                <c:pt idx="2174">
                  <c:v>42289</c:v>
                </c:pt>
                <c:pt idx="2175">
                  <c:v>42290</c:v>
                </c:pt>
                <c:pt idx="2176">
                  <c:v>42291</c:v>
                </c:pt>
                <c:pt idx="2177">
                  <c:v>42292</c:v>
                </c:pt>
                <c:pt idx="2178">
                  <c:v>42293</c:v>
                </c:pt>
                <c:pt idx="2179">
                  <c:v>42296</c:v>
                </c:pt>
                <c:pt idx="2180">
                  <c:v>42297</c:v>
                </c:pt>
                <c:pt idx="2181">
                  <c:v>42298</c:v>
                </c:pt>
                <c:pt idx="2182">
                  <c:v>42299</c:v>
                </c:pt>
                <c:pt idx="2183">
                  <c:v>42300</c:v>
                </c:pt>
                <c:pt idx="2184">
                  <c:v>42303</c:v>
                </c:pt>
                <c:pt idx="2185">
                  <c:v>42304</c:v>
                </c:pt>
                <c:pt idx="2186">
                  <c:v>42305</c:v>
                </c:pt>
                <c:pt idx="2187">
                  <c:v>42306</c:v>
                </c:pt>
                <c:pt idx="2188">
                  <c:v>42307</c:v>
                </c:pt>
                <c:pt idx="2189">
                  <c:v>42310</c:v>
                </c:pt>
                <c:pt idx="2190">
                  <c:v>42311</c:v>
                </c:pt>
                <c:pt idx="2191">
                  <c:v>42312</c:v>
                </c:pt>
                <c:pt idx="2192">
                  <c:v>42313</c:v>
                </c:pt>
                <c:pt idx="2193">
                  <c:v>42314</c:v>
                </c:pt>
                <c:pt idx="2194">
                  <c:v>42317</c:v>
                </c:pt>
                <c:pt idx="2195">
                  <c:v>42318</c:v>
                </c:pt>
                <c:pt idx="2196">
                  <c:v>42319</c:v>
                </c:pt>
                <c:pt idx="2197">
                  <c:v>42320</c:v>
                </c:pt>
                <c:pt idx="2198">
                  <c:v>42321</c:v>
                </c:pt>
                <c:pt idx="2199">
                  <c:v>42324</c:v>
                </c:pt>
                <c:pt idx="2200">
                  <c:v>42325</c:v>
                </c:pt>
                <c:pt idx="2201">
                  <c:v>42326</c:v>
                </c:pt>
                <c:pt idx="2202">
                  <c:v>42327</c:v>
                </c:pt>
                <c:pt idx="2203">
                  <c:v>42328</c:v>
                </c:pt>
                <c:pt idx="2204">
                  <c:v>42331</c:v>
                </c:pt>
                <c:pt idx="2205">
                  <c:v>42332</c:v>
                </c:pt>
                <c:pt idx="2206">
                  <c:v>42333</c:v>
                </c:pt>
                <c:pt idx="2207">
                  <c:v>42335</c:v>
                </c:pt>
                <c:pt idx="2208">
                  <c:v>42338</c:v>
                </c:pt>
                <c:pt idx="2209">
                  <c:v>42339</c:v>
                </c:pt>
                <c:pt idx="2210">
                  <c:v>42340</c:v>
                </c:pt>
                <c:pt idx="2211">
                  <c:v>42341</c:v>
                </c:pt>
                <c:pt idx="2212">
                  <c:v>42342</c:v>
                </c:pt>
                <c:pt idx="2213">
                  <c:v>42345</c:v>
                </c:pt>
                <c:pt idx="2214">
                  <c:v>42346</c:v>
                </c:pt>
                <c:pt idx="2215">
                  <c:v>42347</c:v>
                </c:pt>
                <c:pt idx="2216">
                  <c:v>42348</c:v>
                </c:pt>
                <c:pt idx="2217">
                  <c:v>42349</c:v>
                </c:pt>
                <c:pt idx="2218">
                  <c:v>42352</c:v>
                </c:pt>
                <c:pt idx="2219">
                  <c:v>42353</c:v>
                </c:pt>
                <c:pt idx="2220">
                  <c:v>42354</c:v>
                </c:pt>
                <c:pt idx="2221">
                  <c:v>42355</c:v>
                </c:pt>
                <c:pt idx="2222">
                  <c:v>42356</c:v>
                </c:pt>
                <c:pt idx="2223">
                  <c:v>42359</c:v>
                </c:pt>
                <c:pt idx="2224">
                  <c:v>42360</c:v>
                </c:pt>
                <c:pt idx="2225">
                  <c:v>42361</c:v>
                </c:pt>
                <c:pt idx="2226">
                  <c:v>42362</c:v>
                </c:pt>
                <c:pt idx="2227">
                  <c:v>42366</c:v>
                </c:pt>
                <c:pt idx="2228">
                  <c:v>42367</c:v>
                </c:pt>
                <c:pt idx="2229">
                  <c:v>42368</c:v>
                </c:pt>
                <c:pt idx="2230">
                  <c:v>42369</c:v>
                </c:pt>
                <c:pt idx="2231">
                  <c:v>42373</c:v>
                </c:pt>
                <c:pt idx="2232">
                  <c:v>42374</c:v>
                </c:pt>
                <c:pt idx="2233">
                  <c:v>42375</c:v>
                </c:pt>
                <c:pt idx="2234">
                  <c:v>42376</c:v>
                </c:pt>
                <c:pt idx="2235">
                  <c:v>42377</c:v>
                </c:pt>
                <c:pt idx="2236">
                  <c:v>42380</c:v>
                </c:pt>
                <c:pt idx="2237">
                  <c:v>42381</c:v>
                </c:pt>
                <c:pt idx="2238">
                  <c:v>42382</c:v>
                </c:pt>
                <c:pt idx="2239">
                  <c:v>42383</c:v>
                </c:pt>
                <c:pt idx="2240">
                  <c:v>42384</c:v>
                </c:pt>
                <c:pt idx="2241">
                  <c:v>42388</c:v>
                </c:pt>
                <c:pt idx="2242">
                  <c:v>42389</c:v>
                </c:pt>
                <c:pt idx="2243">
                  <c:v>42390</c:v>
                </c:pt>
                <c:pt idx="2244">
                  <c:v>42391</c:v>
                </c:pt>
                <c:pt idx="2245">
                  <c:v>42394</c:v>
                </c:pt>
                <c:pt idx="2246">
                  <c:v>42395</c:v>
                </c:pt>
                <c:pt idx="2247">
                  <c:v>42396</c:v>
                </c:pt>
                <c:pt idx="2248">
                  <c:v>42397</c:v>
                </c:pt>
                <c:pt idx="2249">
                  <c:v>42398</c:v>
                </c:pt>
                <c:pt idx="2250">
                  <c:v>42401</c:v>
                </c:pt>
                <c:pt idx="2251">
                  <c:v>42402</c:v>
                </c:pt>
                <c:pt idx="2252">
                  <c:v>42403</c:v>
                </c:pt>
                <c:pt idx="2253">
                  <c:v>42404</c:v>
                </c:pt>
                <c:pt idx="2254">
                  <c:v>42405</c:v>
                </c:pt>
                <c:pt idx="2255">
                  <c:v>42408</c:v>
                </c:pt>
                <c:pt idx="2256">
                  <c:v>42409</c:v>
                </c:pt>
                <c:pt idx="2257">
                  <c:v>42410</c:v>
                </c:pt>
                <c:pt idx="2258">
                  <c:v>42411</c:v>
                </c:pt>
                <c:pt idx="2259">
                  <c:v>42412</c:v>
                </c:pt>
                <c:pt idx="2260">
                  <c:v>42416</c:v>
                </c:pt>
                <c:pt idx="2261">
                  <c:v>42417</c:v>
                </c:pt>
                <c:pt idx="2262">
                  <c:v>42418</c:v>
                </c:pt>
                <c:pt idx="2263">
                  <c:v>42419</c:v>
                </c:pt>
                <c:pt idx="2264">
                  <c:v>42422</c:v>
                </c:pt>
                <c:pt idx="2265">
                  <c:v>42423</c:v>
                </c:pt>
                <c:pt idx="2266">
                  <c:v>42424</c:v>
                </c:pt>
                <c:pt idx="2267">
                  <c:v>42425</c:v>
                </c:pt>
                <c:pt idx="2268">
                  <c:v>42426</c:v>
                </c:pt>
                <c:pt idx="2269">
                  <c:v>42429</c:v>
                </c:pt>
                <c:pt idx="2270">
                  <c:v>42430</c:v>
                </c:pt>
                <c:pt idx="2271">
                  <c:v>42431</c:v>
                </c:pt>
                <c:pt idx="2272">
                  <c:v>42432</c:v>
                </c:pt>
                <c:pt idx="2273">
                  <c:v>42433</c:v>
                </c:pt>
                <c:pt idx="2274">
                  <c:v>42436</c:v>
                </c:pt>
                <c:pt idx="2275">
                  <c:v>42437</c:v>
                </c:pt>
                <c:pt idx="2276">
                  <c:v>42438</c:v>
                </c:pt>
                <c:pt idx="2277">
                  <c:v>42439</c:v>
                </c:pt>
                <c:pt idx="2278">
                  <c:v>42440</c:v>
                </c:pt>
                <c:pt idx="2279">
                  <c:v>42443</c:v>
                </c:pt>
                <c:pt idx="2280">
                  <c:v>42444</c:v>
                </c:pt>
                <c:pt idx="2281">
                  <c:v>42445</c:v>
                </c:pt>
                <c:pt idx="2282">
                  <c:v>42446</c:v>
                </c:pt>
                <c:pt idx="2283">
                  <c:v>42447</c:v>
                </c:pt>
                <c:pt idx="2284">
                  <c:v>42450</c:v>
                </c:pt>
                <c:pt idx="2285">
                  <c:v>42451</c:v>
                </c:pt>
                <c:pt idx="2286">
                  <c:v>42452</c:v>
                </c:pt>
                <c:pt idx="2287">
                  <c:v>42453</c:v>
                </c:pt>
                <c:pt idx="2288">
                  <c:v>42457</c:v>
                </c:pt>
                <c:pt idx="2289">
                  <c:v>42458</c:v>
                </c:pt>
                <c:pt idx="2290">
                  <c:v>42459</c:v>
                </c:pt>
                <c:pt idx="2291">
                  <c:v>42460</c:v>
                </c:pt>
                <c:pt idx="2292">
                  <c:v>42461</c:v>
                </c:pt>
                <c:pt idx="2293">
                  <c:v>42464</c:v>
                </c:pt>
                <c:pt idx="2294">
                  <c:v>42465</c:v>
                </c:pt>
                <c:pt idx="2295">
                  <c:v>42466</c:v>
                </c:pt>
                <c:pt idx="2296">
                  <c:v>42467</c:v>
                </c:pt>
                <c:pt idx="2297">
                  <c:v>42468</c:v>
                </c:pt>
                <c:pt idx="2298">
                  <c:v>42471</c:v>
                </c:pt>
                <c:pt idx="2299">
                  <c:v>42472</c:v>
                </c:pt>
                <c:pt idx="2300">
                  <c:v>42473</c:v>
                </c:pt>
                <c:pt idx="2301">
                  <c:v>42474</c:v>
                </c:pt>
                <c:pt idx="2302">
                  <c:v>42475</c:v>
                </c:pt>
                <c:pt idx="2303">
                  <c:v>42478</c:v>
                </c:pt>
                <c:pt idx="2304">
                  <c:v>42479</c:v>
                </c:pt>
                <c:pt idx="2305">
                  <c:v>42480</c:v>
                </c:pt>
                <c:pt idx="2306">
                  <c:v>42481</c:v>
                </c:pt>
                <c:pt idx="2307">
                  <c:v>42482</c:v>
                </c:pt>
                <c:pt idx="2308">
                  <c:v>42485</c:v>
                </c:pt>
                <c:pt idx="2309">
                  <c:v>42486</c:v>
                </c:pt>
                <c:pt idx="2310">
                  <c:v>42487</c:v>
                </c:pt>
                <c:pt idx="2311">
                  <c:v>42488</c:v>
                </c:pt>
                <c:pt idx="2312">
                  <c:v>42489</c:v>
                </c:pt>
                <c:pt idx="2313">
                  <c:v>42492</c:v>
                </c:pt>
                <c:pt idx="2314">
                  <c:v>42493</c:v>
                </c:pt>
                <c:pt idx="2315">
                  <c:v>42494</c:v>
                </c:pt>
                <c:pt idx="2316">
                  <c:v>42495</c:v>
                </c:pt>
                <c:pt idx="2317">
                  <c:v>42496</c:v>
                </c:pt>
                <c:pt idx="2318">
                  <c:v>42499</c:v>
                </c:pt>
                <c:pt idx="2319">
                  <c:v>42500</c:v>
                </c:pt>
                <c:pt idx="2320">
                  <c:v>42501</c:v>
                </c:pt>
                <c:pt idx="2321">
                  <c:v>42502</c:v>
                </c:pt>
                <c:pt idx="2322">
                  <c:v>42503</c:v>
                </c:pt>
                <c:pt idx="2323">
                  <c:v>42506</c:v>
                </c:pt>
                <c:pt idx="2324">
                  <c:v>42507</c:v>
                </c:pt>
                <c:pt idx="2325">
                  <c:v>42508</c:v>
                </c:pt>
              </c:numCache>
            </c:numRef>
          </c:cat>
          <c:val>
            <c:numRef>
              <c:f>'Vix futures volumes'!$AM$5:$AM$2330</c:f>
              <c:numCache>
                <c:formatCode>_(* #,##0.00_);_(* \(#,##0.00\);_(* "-"??_);_(@_)</c:formatCode>
                <c:ptCount val="2326"/>
                <c:pt idx="0">
                  <c:v>2.8740000000000002E-2</c:v>
                </c:pt>
                <c:pt idx="1">
                  <c:v>4.308E-2</c:v>
                </c:pt>
                <c:pt idx="2">
                  <c:v>4.317E-2</c:v>
                </c:pt>
                <c:pt idx="3">
                  <c:v>0.25812000000000002</c:v>
                </c:pt>
                <c:pt idx="4">
                  <c:v>0.40404000000000001</c:v>
                </c:pt>
                <c:pt idx="5">
                  <c:v>0.32935999999999999</c:v>
                </c:pt>
                <c:pt idx="6">
                  <c:v>5.6079999999999998E-2</c:v>
                </c:pt>
                <c:pt idx="7">
                  <c:v>2.1964000000000001</c:v>
                </c:pt>
                <c:pt idx="8">
                  <c:v>23.47944</c:v>
                </c:pt>
                <c:pt idx="9">
                  <c:v>3.1338900000000001</c:v>
                </c:pt>
                <c:pt idx="10">
                  <c:v>19.866599999999998</c:v>
                </c:pt>
                <c:pt idx="11">
                  <c:v>9.3453199999999992</c:v>
                </c:pt>
                <c:pt idx="12">
                  <c:v>11.3424</c:v>
                </c:pt>
                <c:pt idx="13">
                  <c:v>1.595</c:v>
                </c:pt>
                <c:pt idx="14">
                  <c:v>5.4805400000000004</c:v>
                </c:pt>
                <c:pt idx="15">
                  <c:v>1.5004</c:v>
                </c:pt>
                <c:pt idx="16">
                  <c:v>10.47396</c:v>
                </c:pt>
                <c:pt idx="17">
                  <c:v>4.6205499999999997</c:v>
                </c:pt>
                <c:pt idx="18">
                  <c:v>0.55145999999999995</c:v>
                </c:pt>
                <c:pt idx="19">
                  <c:v>0.21329999999999999</c:v>
                </c:pt>
                <c:pt idx="20">
                  <c:v>0.90674999999999994</c:v>
                </c:pt>
                <c:pt idx="21">
                  <c:v>2.7619999999999999E-2</c:v>
                </c:pt>
                <c:pt idx="22">
                  <c:v>1.375E-2</c:v>
                </c:pt>
                <c:pt idx="23">
                  <c:v>0.13589999999999999</c:v>
                </c:pt>
                <c:pt idx="24">
                  <c:v>0.13519999999999999</c:v>
                </c:pt>
                <c:pt idx="25">
                  <c:v>0.27379999999999999</c:v>
                </c:pt>
                <c:pt idx="26">
                  <c:v>4.2394800000000004</c:v>
                </c:pt>
                <c:pt idx="27">
                  <c:v>0.27979999999999999</c:v>
                </c:pt>
                <c:pt idx="28">
                  <c:v>0.18447</c:v>
                </c:pt>
                <c:pt idx="29">
                  <c:v>0.99756</c:v>
                </c:pt>
                <c:pt idx="30">
                  <c:v>2.4847199999999998</c:v>
                </c:pt>
                <c:pt idx="31">
                  <c:v>3.3199200000000002</c:v>
                </c:pt>
                <c:pt idx="32">
                  <c:v>0.10129000000000001</c:v>
                </c:pt>
                <c:pt idx="33">
                  <c:v>15.31307</c:v>
                </c:pt>
                <c:pt idx="34">
                  <c:v>0.10310999999999999</c:v>
                </c:pt>
                <c:pt idx="35">
                  <c:v>1.0192000000000001</c:v>
                </c:pt>
                <c:pt idx="36">
                  <c:v>1.417E-2</c:v>
                </c:pt>
                <c:pt idx="37">
                  <c:v>1.405E-2</c:v>
                </c:pt>
                <c:pt idx="38">
                  <c:v>1.4E-2</c:v>
                </c:pt>
                <c:pt idx="39">
                  <c:v>6.9750000000000006E-2</c:v>
                </c:pt>
                <c:pt idx="40">
                  <c:v>7.0250000000000007E-2</c:v>
                </c:pt>
                <c:pt idx="41">
                  <c:v>0.2858</c:v>
                </c:pt>
                <c:pt idx="42">
                  <c:v>0.78595000000000004</c:v>
                </c:pt>
                <c:pt idx="43">
                  <c:v>7.1550000000000002E-2</c:v>
                </c:pt>
                <c:pt idx="44">
                  <c:v>2.8819999999999998E-2</c:v>
                </c:pt>
                <c:pt idx="45">
                  <c:v>1.409E-2</c:v>
                </c:pt>
                <c:pt idx="46">
                  <c:v>7.6858599999999999</c:v>
                </c:pt>
                <c:pt idx="47">
                  <c:v>3.3793000000000002</c:v>
                </c:pt>
                <c:pt idx="48">
                  <c:v>9.9680000000000005E-2</c:v>
                </c:pt>
                <c:pt idx="49">
                  <c:v>4.2750000000000003E-2</c:v>
                </c:pt>
                <c:pt idx="50">
                  <c:v>0.10150000000000001</c:v>
                </c:pt>
                <c:pt idx="51">
                  <c:v>0.10031</c:v>
                </c:pt>
                <c:pt idx="52">
                  <c:v>1.21017</c:v>
                </c:pt>
                <c:pt idx="53">
                  <c:v>0.27960000000000002</c:v>
                </c:pt>
                <c:pt idx="54">
                  <c:v>0.43834000000000001</c:v>
                </c:pt>
                <c:pt idx="55">
                  <c:v>1.8137399999999999</c:v>
                </c:pt>
                <c:pt idx="56">
                  <c:v>4.02135</c:v>
                </c:pt>
                <c:pt idx="57">
                  <c:v>1.98105</c:v>
                </c:pt>
                <c:pt idx="58">
                  <c:v>0.32429999999999998</c:v>
                </c:pt>
                <c:pt idx="59">
                  <c:v>9.8769999999999997E-2</c:v>
                </c:pt>
                <c:pt idx="60">
                  <c:v>31.952359999999999</c:v>
                </c:pt>
                <c:pt idx="61">
                  <c:v>10.331580000000001</c:v>
                </c:pt>
                <c:pt idx="62">
                  <c:v>52.167760000000001</c:v>
                </c:pt>
                <c:pt idx="63">
                  <c:v>22.367560000000001</c:v>
                </c:pt>
                <c:pt idx="64">
                  <c:v>26.949300000000001</c:v>
                </c:pt>
                <c:pt idx="65">
                  <c:v>73.797600000000003</c:v>
                </c:pt>
                <c:pt idx="66">
                  <c:v>3.6475</c:v>
                </c:pt>
                <c:pt idx="67">
                  <c:v>3.26417</c:v>
                </c:pt>
                <c:pt idx="68">
                  <c:v>6.3153300000000003</c:v>
                </c:pt>
                <c:pt idx="69">
                  <c:v>3.4730400000000001</c:v>
                </c:pt>
                <c:pt idx="70">
                  <c:v>1.5857600000000001</c:v>
                </c:pt>
                <c:pt idx="71">
                  <c:v>0.59079999999999999</c:v>
                </c:pt>
                <c:pt idx="72">
                  <c:v>1.1255599999999999</c:v>
                </c:pt>
                <c:pt idx="73">
                  <c:v>0.17676</c:v>
                </c:pt>
                <c:pt idx="74">
                  <c:v>2.0741399999999999</c:v>
                </c:pt>
                <c:pt idx="75">
                  <c:v>0.1794</c:v>
                </c:pt>
                <c:pt idx="76">
                  <c:v>7.9192200000000001</c:v>
                </c:pt>
                <c:pt idx="77">
                  <c:v>1.09372</c:v>
                </c:pt>
                <c:pt idx="78">
                  <c:v>0.57759000000000005</c:v>
                </c:pt>
                <c:pt idx="79">
                  <c:v>0.52080000000000004</c:v>
                </c:pt>
                <c:pt idx="80">
                  <c:v>1.6467000000000001</c:v>
                </c:pt>
                <c:pt idx="81">
                  <c:v>4.2027999999999999</c:v>
                </c:pt>
                <c:pt idx="82">
                  <c:v>3.3433199999999998</c:v>
                </c:pt>
                <c:pt idx="83">
                  <c:v>1.0885</c:v>
                </c:pt>
                <c:pt idx="84">
                  <c:v>0.90015999999999996</c:v>
                </c:pt>
                <c:pt idx="85">
                  <c:v>0.45810000000000001</c:v>
                </c:pt>
                <c:pt idx="86">
                  <c:v>0.94306000000000001</c:v>
                </c:pt>
                <c:pt idx="87">
                  <c:v>1.4335</c:v>
                </c:pt>
                <c:pt idx="88">
                  <c:v>2.0810399999999998</c:v>
                </c:pt>
                <c:pt idx="89">
                  <c:v>0.75</c:v>
                </c:pt>
                <c:pt idx="90">
                  <c:v>0.751</c:v>
                </c:pt>
                <c:pt idx="91">
                  <c:v>8.9459999999999998E-2</c:v>
                </c:pt>
                <c:pt idx="92">
                  <c:v>0.27629999999999999</c:v>
                </c:pt>
                <c:pt idx="93">
                  <c:v>1.2611699999999999</c:v>
                </c:pt>
                <c:pt idx="94">
                  <c:v>1.85328</c:v>
                </c:pt>
                <c:pt idx="95">
                  <c:v>1.1249</c:v>
                </c:pt>
                <c:pt idx="96">
                  <c:v>4.7018399999999998</c:v>
                </c:pt>
                <c:pt idx="97">
                  <c:v>1.47312</c:v>
                </c:pt>
                <c:pt idx="98">
                  <c:v>0.33179999999999998</c:v>
                </c:pt>
                <c:pt idx="99">
                  <c:v>5.5958100000000002</c:v>
                </c:pt>
                <c:pt idx="100">
                  <c:v>1.8962600000000001</c:v>
                </c:pt>
                <c:pt idx="101">
                  <c:v>2.69136</c:v>
                </c:pt>
                <c:pt idx="102">
                  <c:v>1.89862</c:v>
                </c:pt>
                <c:pt idx="103">
                  <c:v>3.1660900000000001</c:v>
                </c:pt>
                <c:pt idx="104">
                  <c:v>3.5426300000000004</c:v>
                </c:pt>
                <c:pt idx="105">
                  <c:v>1.96824</c:v>
                </c:pt>
                <c:pt idx="106">
                  <c:v>3.6471399999999998</c:v>
                </c:pt>
                <c:pt idx="107">
                  <c:v>7.2951999999999995</c:v>
                </c:pt>
                <c:pt idx="108">
                  <c:v>6.3893700000000004</c:v>
                </c:pt>
                <c:pt idx="109">
                  <c:v>0.86648999999999987</c:v>
                </c:pt>
                <c:pt idx="110">
                  <c:v>5.5179900000000002</c:v>
                </c:pt>
                <c:pt idx="111">
                  <c:v>25.97946</c:v>
                </c:pt>
                <c:pt idx="112">
                  <c:v>12.116920000000002</c:v>
                </c:pt>
                <c:pt idx="113">
                  <c:v>18.523679999999999</c:v>
                </c:pt>
                <c:pt idx="114">
                  <c:v>5.8088800000000003</c:v>
                </c:pt>
                <c:pt idx="115">
                  <c:v>84.216800000000006</c:v>
                </c:pt>
                <c:pt idx="116">
                  <c:v>19.017530000000001</c:v>
                </c:pt>
                <c:pt idx="117">
                  <c:v>44.227039999999995</c:v>
                </c:pt>
                <c:pt idx="118">
                  <c:v>11.994320000000002</c:v>
                </c:pt>
                <c:pt idx="119">
                  <c:v>21.878229999999999</c:v>
                </c:pt>
                <c:pt idx="120">
                  <c:v>14.976769999999998</c:v>
                </c:pt>
                <c:pt idx="121">
                  <c:v>210.42939999999999</c:v>
                </c:pt>
                <c:pt idx="122">
                  <c:v>23.444939999999999</c:v>
                </c:pt>
                <c:pt idx="123">
                  <c:v>46.052059999999997</c:v>
                </c:pt>
                <c:pt idx="124">
                  <c:v>19.932500000000001</c:v>
                </c:pt>
                <c:pt idx="125">
                  <c:v>36.179519999999997</c:v>
                </c:pt>
                <c:pt idx="126">
                  <c:v>10.35196</c:v>
                </c:pt>
                <c:pt idx="127">
                  <c:v>16.740150000000003</c:v>
                </c:pt>
                <c:pt idx="128">
                  <c:v>20.059480000000001</c:v>
                </c:pt>
                <c:pt idx="129">
                  <c:v>7.4813200000000002</c:v>
                </c:pt>
                <c:pt idx="130">
                  <c:v>18.1035</c:v>
                </c:pt>
                <c:pt idx="131">
                  <c:v>17.599049999999998</c:v>
                </c:pt>
                <c:pt idx="132">
                  <c:v>9.9367199999999993</c:v>
                </c:pt>
                <c:pt idx="133">
                  <c:v>3.07904</c:v>
                </c:pt>
                <c:pt idx="134">
                  <c:v>5.0209000000000001</c:v>
                </c:pt>
                <c:pt idx="135">
                  <c:v>0.38663999999999998</c:v>
                </c:pt>
                <c:pt idx="136">
                  <c:v>7.5846100000000005</c:v>
                </c:pt>
                <c:pt idx="137">
                  <c:v>1.0505</c:v>
                </c:pt>
                <c:pt idx="138">
                  <c:v>1.51922</c:v>
                </c:pt>
                <c:pt idx="139">
                  <c:v>7.9932600000000003</c:v>
                </c:pt>
                <c:pt idx="140">
                  <c:v>11.61506</c:v>
                </c:pt>
                <c:pt idx="141">
                  <c:v>1.8716699999999999</c:v>
                </c:pt>
                <c:pt idx="142">
                  <c:v>3.2025000000000001</c:v>
                </c:pt>
                <c:pt idx="143">
                  <c:v>25.606249999999999</c:v>
                </c:pt>
                <c:pt idx="144">
                  <c:v>3.0413199999999998</c:v>
                </c:pt>
                <c:pt idx="145">
                  <c:v>9.2378</c:v>
                </c:pt>
                <c:pt idx="146">
                  <c:v>7.9009600000000004</c:v>
                </c:pt>
                <c:pt idx="147">
                  <c:v>3.3733</c:v>
                </c:pt>
                <c:pt idx="148">
                  <c:v>0.45360000000000006</c:v>
                </c:pt>
                <c:pt idx="149">
                  <c:v>0.28826000000000002</c:v>
                </c:pt>
                <c:pt idx="150">
                  <c:v>14.713200000000002</c:v>
                </c:pt>
                <c:pt idx="151">
                  <c:v>0.92735999999999996</c:v>
                </c:pt>
                <c:pt idx="152">
                  <c:v>0.64778999999999998</c:v>
                </c:pt>
                <c:pt idx="153">
                  <c:v>4.1055000000000001</c:v>
                </c:pt>
                <c:pt idx="154">
                  <c:v>3.1183999999999994</c:v>
                </c:pt>
                <c:pt idx="155">
                  <c:v>1.5584399999999998</c:v>
                </c:pt>
                <c:pt idx="156">
                  <c:v>0.30656</c:v>
                </c:pt>
                <c:pt idx="157">
                  <c:v>0.87660000000000005</c:v>
                </c:pt>
                <c:pt idx="158">
                  <c:v>11.825640000000002</c:v>
                </c:pt>
                <c:pt idx="159">
                  <c:v>5.1012000000000004</c:v>
                </c:pt>
                <c:pt idx="160">
                  <c:v>0.75202000000000002</c:v>
                </c:pt>
                <c:pt idx="161">
                  <c:v>3.7932600000000001</c:v>
                </c:pt>
                <c:pt idx="162">
                  <c:v>1.2026699999999999</c:v>
                </c:pt>
                <c:pt idx="163">
                  <c:v>0.59767999999999999</c:v>
                </c:pt>
                <c:pt idx="164">
                  <c:v>2.23244</c:v>
                </c:pt>
                <c:pt idx="165">
                  <c:v>0.41624000000000005</c:v>
                </c:pt>
                <c:pt idx="166">
                  <c:v>2.7048000000000001</c:v>
                </c:pt>
                <c:pt idx="167">
                  <c:v>1.5808000000000002</c:v>
                </c:pt>
                <c:pt idx="168">
                  <c:v>1.353</c:v>
                </c:pt>
                <c:pt idx="169">
                  <c:v>1.34528</c:v>
                </c:pt>
                <c:pt idx="170">
                  <c:v>9.9052799999999994</c:v>
                </c:pt>
                <c:pt idx="171">
                  <c:v>1.7261500000000001</c:v>
                </c:pt>
                <c:pt idx="172">
                  <c:v>2.8815599999999999</c:v>
                </c:pt>
                <c:pt idx="173">
                  <c:v>1.7952900000000001</c:v>
                </c:pt>
                <c:pt idx="174">
                  <c:v>4.6266800000000003</c:v>
                </c:pt>
                <c:pt idx="175">
                  <c:v>5.5037500000000001</c:v>
                </c:pt>
                <c:pt idx="176">
                  <c:v>0.67903999999999998</c:v>
                </c:pt>
                <c:pt idx="177">
                  <c:v>0.74017999999999995</c:v>
                </c:pt>
                <c:pt idx="178">
                  <c:v>0.50136000000000003</c:v>
                </c:pt>
                <c:pt idx="179">
                  <c:v>4.6529600000000002</c:v>
                </c:pt>
                <c:pt idx="180">
                  <c:v>7.3048500000000001</c:v>
                </c:pt>
                <c:pt idx="181">
                  <c:v>6.5688000000000004</c:v>
                </c:pt>
                <c:pt idx="182">
                  <c:v>6.9076399999999998</c:v>
                </c:pt>
                <c:pt idx="183">
                  <c:v>32.3429</c:v>
                </c:pt>
                <c:pt idx="184">
                  <c:v>33.484769999999997</c:v>
                </c:pt>
                <c:pt idx="185">
                  <c:v>33.044759999999997</c:v>
                </c:pt>
                <c:pt idx="186">
                  <c:v>42.355359999999997</c:v>
                </c:pt>
                <c:pt idx="187">
                  <c:v>6.2484000000000002</c:v>
                </c:pt>
                <c:pt idx="188">
                  <c:v>12.380190000000001</c:v>
                </c:pt>
                <c:pt idx="189">
                  <c:v>39.123899999999999</c:v>
                </c:pt>
                <c:pt idx="190">
                  <c:v>37.237650000000002</c:v>
                </c:pt>
                <c:pt idx="191">
                  <c:v>17.24615</c:v>
                </c:pt>
                <c:pt idx="192">
                  <c:v>78.91</c:v>
                </c:pt>
                <c:pt idx="193">
                  <c:v>1.96875</c:v>
                </c:pt>
                <c:pt idx="194">
                  <c:v>0.29975000000000002</c:v>
                </c:pt>
                <c:pt idx="195">
                  <c:v>2.00488</c:v>
                </c:pt>
                <c:pt idx="196">
                  <c:v>1.1210100000000001</c:v>
                </c:pt>
                <c:pt idx="197">
                  <c:v>2.9926599999999999</c:v>
                </c:pt>
                <c:pt idx="198">
                  <c:v>2.461E-2</c:v>
                </c:pt>
                <c:pt idx="199">
                  <c:v>7.6977599999999997</c:v>
                </c:pt>
                <c:pt idx="200">
                  <c:v>0.78944000000000003</c:v>
                </c:pt>
                <c:pt idx="201">
                  <c:v>13.925800000000001</c:v>
                </c:pt>
                <c:pt idx="202">
                  <c:v>4.1969200000000004</c:v>
                </c:pt>
                <c:pt idx="203">
                  <c:v>8.8198000000000008</c:v>
                </c:pt>
                <c:pt idx="204">
                  <c:v>0.50666</c:v>
                </c:pt>
                <c:pt idx="205">
                  <c:v>5.5430700000000002</c:v>
                </c:pt>
                <c:pt idx="206">
                  <c:v>25.793530000000001</c:v>
                </c:pt>
                <c:pt idx="207">
                  <c:v>7.8424800000000001</c:v>
                </c:pt>
                <c:pt idx="208">
                  <c:v>0.88092000000000004</c:v>
                </c:pt>
                <c:pt idx="209">
                  <c:v>9.3612199999999994</c:v>
                </c:pt>
                <c:pt idx="210">
                  <c:v>1.0264800000000001</c:v>
                </c:pt>
                <c:pt idx="211">
                  <c:v>0.2422</c:v>
                </c:pt>
                <c:pt idx="212">
                  <c:v>0.86112000000000011</c:v>
                </c:pt>
                <c:pt idx="213">
                  <c:v>2.0692499999999998</c:v>
                </c:pt>
                <c:pt idx="214">
                  <c:v>4.5699999999999998E-2</c:v>
                </c:pt>
                <c:pt idx="215">
                  <c:v>5.7529199999999996</c:v>
                </c:pt>
                <c:pt idx="216">
                  <c:v>1.94635</c:v>
                </c:pt>
                <c:pt idx="217">
                  <c:v>9.3840000000000007E-2</c:v>
                </c:pt>
                <c:pt idx="218">
                  <c:v>2.2033999999999998</c:v>
                </c:pt>
                <c:pt idx="219">
                  <c:v>0.34048</c:v>
                </c:pt>
                <c:pt idx="220">
                  <c:v>0.38816000000000001</c:v>
                </c:pt>
                <c:pt idx="221">
                  <c:v>2.1353800000000001</c:v>
                </c:pt>
                <c:pt idx="222">
                  <c:v>3.6185999999999998</c:v>
                </c:pt>
                <c:pt idx="223">
                  <c:v>0.58304999999999996</c:v>
                </c:pt>
                <c:pt idx="224">
                  <c:v>1.75796</c:v>
                </c:pt>
                <c:pt idx="225">
                  <c:v>0.46283999999999997</c:v>
                </c:pt>
                <c:pt idx="226">
                  <c:v>4.1310000000000002</c:v>
                </c:pt>
                <c:pt idx="227">
                  <c:v>3.5592700000000002</c:v>
                </c:pt>
                <c:pt idx="228">
                  <c:v>6.5513300000000001</c:v>
                </c:pt>
                <c:pt idx="229">
                  <c:v>11.646979999999999</c:v>
                </c:pt>
                <c:pt idx="230">
                  <c:v>13.839</c:v>
                </c:pt>
                <c:pt idx="231">
                  <c:v>8.0403300000000009</c:v>
                </c:pt>
                <c:pt idx="232">
                  <c:v>9.8699100000000008</c:v>
                </c:pt>
                <c:pt idx="233">
                  <c:v>7.41906</c:v>
                </c:pt>
                <c:pt idx="234">
                  <c:v>18.824400000000001</c:v>
                </c:pt>
                <c:pt idx="235">
                  <c:v>3.2293799999999999</c:v>
                </c:pt>
                <c:pt idx="236">
                  <c:v>2.66378</c:v>
                </c:pt>
                <c:pt idx="237">
                  <c:v>2.4607800000000002</c:v>
                </c:pt>
                <c:pt idx="238">
                  <c:v>2.9565899999999998</c:v>
                </c:pt>
                <c:pt idx="239">
                  <c:v>5.3772599999999997</c:v>
                </c:pt>
                <c:pt idx="240">
                  <c:v>2.2300800000000001</c:v>
                </c:pt>
                <c:pt idx="241">
                  <c:v>10.36773</c:v>
                </c:pt>
                <c:pt idx="242">
                  <c:v>5.1321599999999998</c:v>
                </c:pt>
                <c:pt idx="243">
                  <c:v>2.9182999999999999</c:v>
                </c:pt>
                <c:pt idx="244">
                  <c:v>23.04486</c:v>
                </c:pt>
                <c:pt idx="245">
                  <c:v>2.1772800000000001</c:v>
                </c:pt>
                <c:pt idx="246">
                  <c:v>0.75602999999999998</c:v>
                </c:pt>
                <c:pt idx="247">
                  <c:v>1.7319599999999999</c:v>
                </c:pt>
                <c:pt idx="248">
                  <c:v>3.5503800000000001</c:v>
                </c:pt>
                <c:pt idx="249">
                  <c:v>0.73775999999999997</c:v>
                </c:pt>
                <c:pt idx="250">
                  <c:v>6.5682400000000003</c:v>
                </c:pt>
                <c:pt idx="251">
                  <c:v>1.54752</c:v>
                </c:pt>
                <c:pt idx="252">
                  <c:v>3.0602399999999998</c:v>
                </c:pt>
                <c:pt idx="253">
                  <c:v>6.5932000000000004</c:v>
                </c:pt>
                <c:pt idx="254">
                  <c:v>3.4714200000000002</c:v>
                </c:pt>
                <c:pt idx="255">
                  <c:v>2.415</c:v>
                </c:pt>
                <c:pt idx="256">
                  <c:v>1.46827</c:v>
                </c:pt>
                <c:pt idx="257">
                  <c:v>6.0616500000000002</c:v>
                </c:pt>
                <c:pt idx="258">
                  <c:v>0.61875000000000002</c:v>
                </c:pt>
                <c:pt idx="259">
                  <c:v>7.0570500000000003</c:v>
                </c:pt>
                <c:pt idx="260">
                  <c:v>6.3968100000000003</c:v>
                </c:pt>
                <c:pt idx="261">
                  <c:v>4.4370000000000003</c:v>
                </c:pt>
                <c:pt idx="262">
                  <c:v>4.0754000000000001</c:v>
                </c:pt>
                <c:pt idx="263">
                  <c:v>0.49836999999999998</c:v>
                </c:pt>
                <c:pt idx="264">
                  <c:v>4.2801</c:v>
                </c:pt>
                <c:pt idx="265">
                  <c:v>14.055680000000001</c:v>
                </c:pt>
                <c:pt idx="266">
                  <c:v>3.7974600000000001</c:v>
                </c:pt>
                <c:pt idx="267">
                  <c:v>2.8525299999999998</c:v>
                </c:pt>
                <c:pt idx="268">
                  <c:v>0.16175999999999999</c:v>
                </c:pt>
                <c:pt idx="269">
                  <c:v>5.4239999999999997E-2</c:v>
                </c:pt>
                <c:pt idx="270">
                  <c:v>0.25329999999999997</c:v>
                </c:pt>
                <c:pt idx="271">
                  <c:v>5.2400000000000002E-2</c:v>
                </c:pt>
                <c:pt idx="272">
                  <c:v>0.18060000000000001</c:v>
                </c:pt>
                <c:pt idx="273">
                  <c:v>5.1200000000000002E-2</c:v>
                </c:pt>
                <c:pt idx="274">
                  <c:v>2.1470400000000001</c:v>
                </c:pt>
                <c:pt idx="275">
                  <c:v>3.7118799999999998</c:v>
                </c:pt>
                <c:pt idx="276">
                  <c:v>3.7511999999999999</c:v>
                </c:pt>
                <c:pt idx="277">
                  <c:v>0.31487999999999999</c:v>
                </c:pt>
                <c:pt idx="278">
                  <c:v>1.1600999999999999</c:v>
                </c:pt>
                <c:pt idx="279">
                  <c:v>5.8500399999999999</c:v>
                </c:pt>
                <c:pt idx="280">
                  <c:v>6.9272</c:v>
                </c:pt>
                <c:pt idx="281">
                  <c:v>1.1779200000000001</c:v>
                </c:pt>
                <c:pt idx="282">
                  <c:v>1.851</c:v>
                </c:pt>
                <c:pt idx="283">
                  <c:v>0.50819999999999999</c:v>
                </c:pt>
                <c:pt idx="284">
                  <c:v>1.77674</c:v>
                </c:pt>
                <c:pt idx="285">
                  <c:v>0.83606000000000003</c:v>
                </c:pt>
                <c:pt idx="286">
                  <c:v>2.0044499999999998</c:v>
                </c:pt>
                <c:pt idx="287">
                  <c:v>5.61144</c:v>
                </c:pt>
                <c:pt idx="288">
                  <c:v>2.5543999999999998</c:v>
                </c:pt>
                <c:pt idx="289">
                  <c:v>0.61350000000000005</c:v>
                </c:pt>
                <c:pt idx="290">
                  <c:v>2.5783999999999998</c:v>
                </c:pt>
                <c:pt idx="291">
                  <c:v>5.6095600000000001</c:v>
                </c:pt>
                <c:pt idx="292">
                  <c:v>13.179000000000002</c:v>
                </c:pt>
                <c:pt idx="293">
                  <c:v>7.3807799999999997</c:v>
                </c:pt>
                <c:pt idx="294">
                  <c:v>5.9854900000000004</c:v>
                </c:pt>
                <c:pt idx="295">
                  <c:v>13.859220000000001</c:v>
                </c:pt>
                <c:pt idx="296">
                  <c:v>8.0863999999999994</c:v>
                </c:pt>
                <c:pt idx="297">
                  <c:v>17.375399999999999</c:v>
                </c:pt>
                <c:pt idx="298">
                  <c:v>11.36904</c:v>
                </c:pt>
                <c:pt idx="299">
                  <c:v>10.03515</c:v>
                </c:pt>
                <c:pt idx="300">
                  <c:v>7.1843400000000006</c:v>
                </c:pt>
                <c:pt idx="301">
                  <c:v>13.78374</c:v>
                </c:pt>
                <c:pt idx="302">
                  <c:v>5.508</c:v>
                </c:pt>
                <c:pt idx="303">
                  <c:v>11.39556</c:v>
                </c:pt>
                <c:pt idx="304">
                  <c:v>7.2643199999999988</c:v>
                </c:pt>
                <c:pt idx="305">
                  <c:v>1.3302</c:v>
                </c:pt>
                <c:pt idx="306">
                  <c:v>1.6717500000000001</c:v>
                </c:pt>
                <c:pt idx="307">
                  <c:v>15.527699999999999</c:v>
                </c:pt>
                <c:pt idx="308">
                  <c:v>8.6425999999999998</c:v>
                </c:pt>
                <c:pt idx="309">
                  <c:v>17.951039999999999</c:v>
                </c:pt>
                <c:pt idx="310">
                  <c:v>30.32403</c:v>
                </c:pt>
                <c:pt idx="311">
                  <c:v>1.69015</c:v>
                </c:pt>
                <c:pt idx="312">
                  <c:v>5.0380000000000003</c:v>
                </c:pt>
                <c:pt idx="313">
                  <c:v>2.1667200000000002</c:v>
                </c:pt>
                <c:pt idx="314">
                  <c:v>13.80456</c:v>
                </c:pt>
                <c:pt idx="315">
                  <c:v>5.0007000000000001</c:v>
                </c:pt>
                <c:pt idx="316">
                  <c:v>14.84686</c:v>
                </c:pt>
                <c:pt idx="317">
                  <c:v>0.47560000000000002</c:v>
                </c:pt>
                <c:pt idx="318">
                  <c:v>3.58568</c:v>
                </c:pt>
                <c:pt idx="319">
                  <c:v>0.9244</c:v>
                </c:pt>
                <c:pt idx="320">
                  <c:v>3.1496300000000002</c:v>
                </c:pt>
                <c:pt idx="321">
                  <c:v>0.46960000000000002</c:v>
                </c:pt>
                <c:pt idx="322">
                  <c:v>2.8131200000000001</c:v>
                </c:pt>
                <c:pt idx="323">
                  <c:v>3.5789800000000001</c:v>
                </c:pt>
                <c:pt idx="324">
                  <c:v>3.44862</c:v>
                </c:pt>
                <c:pt idx="325">
                  <c:v>1.87416</c:v>
                </c:pt>
                <c:pt idx="326">
                  <c:v>7.5983099999999997</c:v>
                </c:pt>
                <c:pt idx="327">
                  <c:v>14.76216</c:v>
                </c:pt>
                <c:pt idx="328">
                  <c:v>3.8594399999999993</c:v>
                </c:pt>
                <c:pt idx="329">
                  <c:v>28.373100000000001</c:v>
                </c:pt>
                <c:pt idx="330">
                  <c:v>3.0914000000000001</c:v>
                </c:pt>
                <c:pt idx="331">
                  <c:v>3.9545999999999997</c:v>
                </c:pt>
                <c:pt idx="332">
                  <c:v>1.0092099999999999</c:v>
                </c:pt>
                <c:pt idx="333">
                  <c:v>3.9591000000000003</c:v>
                </c:pt>
                <c:pt idx="334">
                  <c:v>3.8223500000000001</c:v>
                </c:pt>
                <c:pt idx="335">
                  <c:v>1.0436799999999999</c:v>
                </c:pt>
                <c:pt idx="336">
                  <c:v>1.5346500000000001</c:v>
                </c:pt>
                <c:pt idx="337">
                  <c:v>3.8134800000000002</c:v>
                </c:pt>
                <c:pt idx="338">
                  <c:v>3.6125700000000003</c:v>
                </c:pt>
                <c:pt idx="339">
                  <c:v>0.89576999999999996</c:v>
                </c:pt>
                <c:pt idx="340">
                  <c:v>3.67536</c:v>
                </c:pt>
                <c:pt idx="341">
                  <c:v>3.3387799999999999</c:v>
                </c:pt>
                <c:pt idx="342">
                  <c:v>14.119199999999999</c:v>
                </c:pt>
                <c:pt idx="343">
                  <c:v>9.1080500000000004</c:v>
                </c:pt>
                <c:pt idx="344">
                  <c:v>1.58145</c:v>
                </c:pt>
                <c:pt idx="345">
                  <c:v>6.1725000000000003</c:v>
                </c:pt>
                <c:pt idx="346">
                  <c:v>5.1567999999999996</c:v>
                </c:pt>
                <c:pt idx="347">
                  <c:v>1.51962</c:v>
                </c:pt>
                <c:pt idx="348">
                  <c:v>3.2121200000000001</c:v>
                </c:pt>
                <c:pt idx="349">
                  <c:v>3.2993999999999999</c:v>
                </c:pt>
                <c:pt idx="350">
                  <c:v>1.37032</c:v>
                </c:pt>
                <c:pt idx="351">
                  <c:v>2.6827200000000002</c:v>
                </c:pt>
                <c:pt idx="352">
                  <c:v>1.90917</c:v>
                </c:pt>
                <c:pt idx="353">
                  <c:v>9.0940200000000004</c:v>
                </c:pt>
                <c:pt idx="354">
                  <c:v>3.2932899999999998</c:v>
                </c:pt>
                <c:pt idx="355">
                  <c:v>2.32254</c:v>
                </c:pt>
                <c:pt idx="356">
                  <c:v>2.8620800000000002</c:v>
                </c:pt>
                <c:pt idx="357">
                  <c:v>17.940899999999999</c:v>
                </c:pt>
                <c:pt idx="358">
                  <c:v>5.4417999999999997</c:v>
                </c:pt>
                <c:pt idx="359">
                  <c:v>12.8384</c:v>
                </c:pt>
                <c:pt idx="360">
                  <c:v>4.3398000000000003</c:v>
                </c:pt>
                <c:pt idx="361">
                  <c:v>8.6887500000000006</c:v>
                </c:pt>
                <c:pt idx="362">
                  <c:v>15.44872</c:v>
                </c:pt>
                <c:pt idx="363">
                  <c:v>2.48508</c:v>
                </c:pt>
                <c:pt idx="364">
                  <c:v>1.9164699999999999</c:v>
                </c:pt>
                <c:pt idx="365">
                  <c:v>4.1738600000000003</c:v>
                </c:pt>
                <c:pt idx="366">
                  <c:v>6.434540000000001</c:v>
                </c:pt>
                <c:pt idx="367">
                  <c:v>24.483720000000002</c:v>
                </c:pt>
                <c:pt idx="368">
                  <c:v>34.091200000000001</c:v>
                </c:pt>
                <c:pt idx="369">
                  <c:v>3.5623300000000002</c:v>
                </c:pt>
                <c:pt idx="370">
                  <c:v>16.828949999999999</c:v>
                </c:pt>
                <c:pt idx="371">
                  <c:v>2.2329400000000001</c:v>
                </c:pt>
                <c:pt idx="372">
                  <c:v>6.4374799999999999</c:v>
                </c:pt>
                <c:pt idx="373">
                  <c:v>13.471920000000001</c:v>
                </c:pt>
                <c:pt idx="374">
                  <c:v>1.2807900000000001</c:v>
                </c:pt>
                <c:pt idx="375">
                  <c:v>3.05775</c:v>
                </c:pt>
                <c:pt idx="376">
                  <c:v>22.258800000000001</c:v>
                </c:pt>
                <c:pt idx="377">
                  <c:v>12.842449999999999</c:v>
                </c:pt>
                <c:pt idx="378">
                  <c:v>15.160909999999999</c:v>
                </c:pt>
                <c:pt idx="379">
                  <c:v>43.615319999999997</c:v>
                </c:pt>
                <c:pt idx="380">
                  <c:v>47.9514</c:v>
                </c:pt>
                <c:pt idx="381">
                  <c:v>0.1852</c:v>
                </c:pt>
                <c:pt idx="382">
                  <c:v>1.5329600000000001</c:v>
                </c:pt>
                <c:pt idx="383">
                  <c:v>2.5775399999999999</c:v>
                </c:pt>
                <c:pt idx="384">
                  <c:v>0.43604999999999999</c:v>
                </c:pt>
                <c:pt idx="385">
                  <c:v>1.5054000000000001</c:v>
                </c:pt>
                <c:pt idx="386">
                  <c:v>2.9695999999999998</c:v>
                </c:pt>
                <c:pt idx="387">
                  <c:v>15.403230000000001</c:v>
                </c:pt>
                <c:pt idx="388">
                  <c:v>8.0575200000000002</c:v>
                </c:pt>
                <c:pt idx="389">
                  <c:v>6.8380999999999998</c:v>
                </c:pt>
                <c:pt idx="390">
                  <c:v>2.43309</c:v>
                </c:pt>
                <c:pt idx="391">
                  <c:v>10.681710000000001</c:v>
                </c:pt>
                <c:pt idx="392">
                  <c:v>7.1750400000000001</c:v>
                </c:pt>
                <c:pt idx="393">
                  <c:v>0.95043</c:v>
                </c:pt>
                <c:pt idx="394">
                  <c:v>0.55462</c:v>
                </c:pt>
                <c:pt idx="395">
                  <c:v>5.2491199999999996</c:v>
                </c:pt>
                <c:pt idx="396">
                  <c:v>1.9440799999999998</c:v>
                </c:pt>
                <c:pt idx="397">
                  <c:v>1.2390000000000001</c:v>
                </c:pt>
                <c:pt idx="398">
                  <c:v>1.4378299999999999</c:v>
                </c:pt>
                <c:pt idx="399">
                  <c:v>13.35514</c:v>
                </c:pt>
                <c:pt idx="400">
                  <c:v>32.024700000000003</c:v>
                </c:pt>
                <c:pt idx="401">
                  <c:v>6.9849600000000001</c:v>
                </c:pt>
                <c:pt idx="402">
                  <c:v>16.12884</c:v>
                </c:pt>
                <c:pt idx="403">
                  <c:v>1.57666</c:v>
                </c:pt>
                <c:pt idx="404">
                  <c:v>48.744630000000001</c:v>
                </c:pt>
                <c:pt idx="405">
                  <c:v>1.92744</c:v>
                </c:pt>
                <c:pt idx="406">
                  <c:v>1.4850000000000001</c:v>
                </c:pt>
                <c:pt idx="407">
                  <c:v>1.6402000000000001</c:v>
                </c:pt>
                <c:pt idx="408">
                  <c:v>2.0756999999999999</c:v>
                </c:pt>
                <c:pt idx="409">
                  <c:v>6.2478800000000003</c:v>
                </c:pt>
                <c:pt idx="410">
                  <c:v>3.7757100000000001</c:v>
                </c:pt>
                <c:pt idx="411">
                  <c:v>2.6878000000000002</c:v>
                </c:pt>
                <c:pt idx="412">
                  <c:v>7.4260000000000002</c:v>
                </c:pt>
                <c:pt idx="413">
                  <c:v>5.3817199999999996</c:v>
                </c:pt>
                <c:pt idx="414">
                  <c:v>3.9370799999999999</c:v>
                </c:pt>
                <c:pt idx="415">
                  <c:v>1.91418</c:v>
                </c:pt>
                <c:pt idx="416">
                  <c:v>11.795579999999999</c:v>
                </c:pt>
                <c:pt idx="417">
                  <c:v>6.5949</c:v>
                </c:pt>
                <c:pt idx="418">
                  <c:v>1.4942500000000001</c:v>
                </c:pt>
                <c:pt idx="419">
                  <c:v>0.23652999999999999</c:v>
                </c:pt>
                <c:pt idx="420">
                  <c:v>11.464980000000001</c:v>
                </c:pt>
                <c:pt idx="421">
                  <c:v>1.8375300000000001</c:v>
                </c:pt>
                <c:pt idx="422">
                  <c:v>7.6607999999999992</c:v>
                </c:pt>
                <c:pt idx="423">
                  <c:v>12.435909999999998</c:v>
                </c:pt>
                <c:pt idx="424">
                  <c:v>21.549219999999998</c:v>
                </c:pt>
                <c:pt idx="425">
                  <c:v>4.0875999999999992</c:v>
                </c:pt>
                <c:pt idx="426">
                  <c:v>2.42361</c:v>
                </c:pt>
                <c:pt idx="427">
                  <c:v>4.0782000000000007</c:v>
                </c:pt>
                <c:pt idx="428">
                  <c:v>4.7601399999999998</c:v>
                </c:pt>
                <c:pt idx="429">
                  <c:v>4.8360000000000003</c:v>
                </c:pt>
                <c:pt idx="430">
                  <c:v>6.0922400000000012</c:v>
                </c:pt>
                <c:pt idx="431">
                  <c:v>9.3456299999999999</c:v>
                </c:pt>
                <c:pt idx="432">
                  <c:v>4.71861</c:v>
                </c:pt>
                <c:pt idx="433">
                  <c:v>3.2775600000000003</c:v>
                </c:pt>
                <c:pt idx="434">
                  <c:v>1.2391700000000001</c:v>
                </c:pt>
                <c:pt idx="435">
                  <c:v>2.4817800000000001</c:v>
                </c:pt>
                <c:pt idx="436">
                  <c:v>0.85746999999999995</c:v>
                </c:pt>
                <c:pt idx="437">
                  <c:v>12.841200000000001</c:v>
                </c:pt>
                <c:pt idx="438">
                  <c:v>1.1858</c:v>
                </c:pt>
                <c:pt idx="439">
                  <c:v>0.86819999999999986</c:v>
                </c:pt>
                <c:pt idx="440">
                  <c:v>2.7004700000000001</c:v>
                </c:pt>
                <c:pt idx="441">
                  <c:v>4.1185800000000006</c:v>
                </c:pt>
                <c:pt idx="442">
                  <c:v>16.944299999999998</c:v>
                </c:pt>
                <c:pt idx="443">
                  <c:v>4.5135199999999998</c:v>
                </c:pt>
                <c:pt idx="444">
                  <c:v>6.2217399999999996</c:v>
                </c:pt>
                <c:pt idx="445">
                  <c:v>6.8599300000000003</c:v>
                </c:pt>
                <c:pt idx="446">
                  <c:v>4.8843199999999998</c:v>
                </c:pt>
                <c:pt idx="447">
                  <c:v>0.60928000000000004</c:v>
                </c:pt>
                <c:pt idx="448">
                  <c:v>2.9840599999999999</c:v>
                </c:pt>
                <c:pt idx="449">
                  <c:v>2.0930800000000001</c:v>
                </c:pt>
                <c:pt idx="450">
                  <c:v>3.2984</c:v>
                </c:pt>
                <c:pt idx="451">
                  <c:v>4.09605</c:v>
                </c:pt>
                <c:pt idx="452">
                  <c:v>2.6297999999999999</c:v>
                </c:pt>
                <c:pt idx="453">
                  <c:v>4.3889300000000002</c:v>
                </c:pt>
                <c:pt idx="454">
                  <c:v>0.48820000000000002</c:v>
                </c:pt>
                <c:pt idx="455">
                  <c:v>7.9991999999999992</c:v>
                </c:pt>
                <c:pt idx="456">
                  <c:v>3.2399399999999998</c:v>
                </c:pt>
                <c:pt idx="457">
                  <c:v>0.65281999999999996</c:v>
                </c:pt>
                <c:pt idx="458">
                  <c:v>0.32507999999999998</c:v>
                </c:pt>
                <c:pt idx="459">
                  <c:v>1.0304</c:v>
                </c:pt>
                <c:pt idx="460">
                  <c:v>2.1076800000000002</c:v>
                </c:pt>
                <c:pt idx="461">
                  <c:v>1.03728</c:v>
                </c:pt>
                <c:pt idx="462">
                  <c:v>3.84192</c:v>
                </c:pt>
                <c:pt idx="463">
                  <c:v>3.9190200000000002</c:v>
                </c:pt>
                <c:pt idx="464">
                  <c:v>0.501</c:v>
                </c:pt>
                <c:pt idx="465">
                  <c:v>2.1221100000000002</c:v>
                </c:pt>
                <c:pt idx="466">
                  <c:v>0.55262999999999995</c:v>
                </c:pt>
                <c:pt idx="467">
                  <c:v>0.77842999999999996</c:v>
                </c:pt>
                <c:pt idx="468">
                  <c:v>1.0023</c:v>
                </c:pt>
                <c:pt idx="469">
                  <c:v>1.1228199999999999</c:v>
                </c:pt>
                <c:pt idx="470">
                  <c:v>2.7352500000000002</c:v>
                </c:pt>
                <c:pt idx="471">
                  <c:v>2.2411400000000001</c:v>
                </c:pt>
                <c:pt idx="472">
                  <c:v>3.0517699999999999</c:v>
                </c:pt>
                <c:pt idx="473">
                  <c:v>9.1007999999999996</c:v>
                </c:pt>
                <c:pt idx="474">
                  <c:v>8.6984999999999992</c:v>
                </c:pt>
                <c:pt idx="475">
                  <c:v>1.1435200000000001</c:v>
                </c:pt>
                <c:pt idx="476">
                  <c:v>6.6715900000000001</c:v>
                </c:pt>
                <c:pt idx="477">
                  <c:v>4.3308799999999996</c:v>
                </c:pt>
                <c:pt idx="478">
                  <c:v>4.7142499999999998</c:v>
                </c:pt>
                <c:pt idx="479">
                  <c:v>2.7191999999999998</c:v>
                </c:pt>
                <c:pt idx="480">
                  <c:v>1.3326</c:v>
                </c:pt>
                <c:pt idx="481">
                  <c:v>2.8301599999999998</c:v>
                </c:pt>
                <c:pt idx="482">
                  <c:v>4.6475</c:v>
                </c:pt>
                <c:pt idx="483">
                  <c:v>4.0617599999999996</c:v>
                </c:pt>
                <c:pt idx="484">
                  <c:v>1.3308800000000001</c:v>
                </c:pt>
                <c:pt idx="485">
                  <c:v>3.8094999999999999</c:v>
                </c:pt>
                <c:pt idx="486">
                  <c:v>2.33996</c:v>
                </c:pt>
                <c:pt idx="487">
                  <c:v>13.86774</c:v>
                </c:pt>
                <c:pt idx="488">
                  <c:v>13.72448</c:v>
                </c:pt>
                <c:pt idx="489">
                  <c:v>1.4633499999999999</c:v>
                </c:pt>
                <c:pt idx="490">
                  <c:v>3.4011999999999998</c:v>
                </c:pt>
                <c:pt idx="491">
                  <c:v>2.9491000000000001</c:v>
                </c:pt>
                <c:pt idx="492">
                  <c:v>3.6908499999999997</c:v>
                </c:pt>
                <c:pt idx="493">
                  <c:v>4.2447999999999997</c:v>
                </c:pt>
                <c:pt idx="494">
                  <c:v>2.7015500000000001</c:v>
                </c:pt>
                <c:pt idx="495">
                  <c:v>16.051500000000001</c:v>
                </c:pt>
                <c:pt idx="496">
                  <c:v>2.0124000000000004</c:v>
                </c:pt>
                <c:pt idx="497">
                  <c:v>3.2079499999999999</c:v>
                </c:pt>
                <c:pt idx="498">
                  <c:v>3.06</c:v>
                </c:pt>
                <c:pt idx="499">
                  <c:v>9.734</c:v>
                </c:pt>
                <c:pt idx="500">
                  <c:v>4.4634999999999998</c:v>
                </c:pt>
                <c:pt idx="501">
                  <c:v>1.3183499999999999</c:v>
                </c:pt>
                <c:pt idx="502">
                  <c:v>9.3366000000000007</c:v>
                </c:pt>
                <c:pt idx="503">
                  <c:v>4.9861000000000004</c:v>
                </c:pt>
                <c:pt idx="504">
                  <c:v>11.844250000000001</c:v>
                </c:pt>
                <c:pt idx="505">
                  <c:v>4.0902000000000003</c:v>
                </c:pt>
                <c:pt idx="506">
                  <c:v>2.6829000000000001</c:v>
                </c:pt>
                <c:pt idx="507">
                  <c:v>4.6273499999999999</c:v>
                </c:pt>
                <c:pt idx="508">
                  <c:v>4.1728500000000004</c:v>
                </c:pt>
                <c:pt idx="509">
                  <c:v>13.58215</c:v>
                </c:pt>
                <c:pt idx="510">
                  <c:v>7.4425999999999988</c:v>
                </c:pt>
                <c:pt idx="511">
                  <c:v>3.5778000000000003</c:v>
                </c:pt>
                <c:pt idx="512">
                  <c:v>2.8069999999999999</c:v>
                </c:pt>
                <c:pt idx="513">
                  <c:v>3.3087</c:v>
                </c:pt>
                <c:pt idx="514">
                  <c:v>4.4722</c:v>
                </c:pt>
                <c:pt idx="515">
                  <c:v>2.1196000000000002</c:v>
                </c:pt>
                <c:pt idx="516">
                  <c:v>2.50915</c:v>
                </c:pt>
                <c:pt idx="517">
                  <c:v>1.3801000000000001</c:v>
                </c:pt>
                <c:pt idx="518">
                  <c:v>1.4363999999999999</c:v>
                </c:pt>
                <c:pt idx="519">
                  <c:v>4.3441999999999998</c:v>
                </c:pt>
                <c:pt idx="520">
                  <c:v>6.7083000000000004</c:v>
                </c:pt>
                <c:pt idx="521">
                  <c:v>5.7670000000000003</c:v>
                </c:pt>
                <c:pt idx="522">
                  <c:v>6.10785</c:v>
                </c:pt>
                <c:pt idx="523">
                  <c:v>4.8646500000000001</c:v>
                </c:pt>
                <c:pt idx="524">
                  <c:v>24.190200000000001</c:v>
                </c:pt>
                <c:pt idx="525">
                  <c:v>6.5037000000000003</c:v>
                </c:pt>
                <c:pt idx="526">
                  <c:v>1.9232499999999999</c:v>
                </c:pt>
                <c:pt idx="527">
                  <c:v>5.4672000000000001</c:v>
                </c:pt>
                <c:pt idx="528">
                  <c:v>5.2667999999999999</c:v>
                </c:pt>
                <c:pt idx="529">
                  <c:v>21.751750000000001</c:v>
                </c:pt>
                <c:pt idx="530">
                  <c:v>7.0040000000000013</c:v>
                </c:pt>
                <c:pt idx="531">
                  <c:v>5.15625</c:v>
                </c:pt>
                <c:pt idx="532">
                  <c:v>0.81699999999999995</c:v>
                </c:pt>
                <c:pt idx="533">
                  <c:v>6.4840999999999998</c:v>
                </c:pt>
                <c:pt idx="534">
                  <c:v>3.03315</c:v>
                </c:pt>
                <c:pt idx="535">
                  <c:v>10.19655</c:v>
                </c:pt>
                <c:pt idx="536">
                  <c:v>6.8369999999999997</c:v>
                </c:pt>
                <c:pt idx="537">
                  <c:v>0.74385000000000001</c:v>
                </c:pt>
                <c:pt idx="538">
                  <c:v>10.8698</c:v>
                </c:pt>
                <c:pt idx="539">
                  <c:v>1.9274999999999998</c:v>
                </c:pt>
                <c:pt idx="540">
                  <c:v>17.362500000000001</c:v>
                </c:pt>
                <c:pt idx="541">
                  <c:v>14.202900000000001</c:v>
                </c:pt>
                <c:pt idx="542">
                  <c:v>8.66005</c:v>
                </c:pt>
                <c:pt idx="543">
                  <c:v>1.5665999999999998</c:v>
                </c:pt>
                <c:pt idx="544">
                  <c:v>6.274799999999999</c:v>
                </c:pt>
                <c:pt idx="545">
                  <c:v>1.9318</c:v>
                </c:pt>
                <c:pt idx="546">
                  <c:v>3.2911999999999999</c:v>
                </c:pt>
                <c:pt idx="547">
                  <c:v>9.9822000000000006</c:v>
                </c:pt>
                <c:pt idx="548">
                  <c:v>3.5767500000000001</c:v>
                </c:pt>
                <c:pt idx="549">
                  <c:v>2.1930000000000001</c:v>
                </c:pt>
                <c:pt idx="550">
                  <c:v>0.84294999999999998</c:v>
                </c:pt>
                <c:pt idx="551">
                  <c:v>1.5544500000000001</c:v>
                </c:pt>
                <c:pt idx="552">
                  <c:v>2.5950000000000002</c:v>
                </c:pt>
                <c:pt idx="553">
                  <c:v>2.0154999999999998</c:v>
                </c:pt>
                <c:pt idx="554">
                  <c:v>9.5512499999999996</c:v>
                </c:pt>
                <c:pt idx="555">
                  <c:v>7.99</c:v>
                </c:pt>
                <c:pt idx="556">
                  <c:v>3.5256500000000006</c:v>
                </c:pt>
                <c:pt idx="557">
                  <c:v>2.35365</c:v>
                </c:pt>
                <c:pt idx="558">
                  <c:v>7.3040499999999993</c:v>
                </c:pt>
                <c:pt idx="559">
                  <c:v>12.5769</c:v>
                </c:pt>
                <c:pt idx="560">
                  <c:v>3.9832999999999998</c:v>
                </c:pt>
                <c:pt idx="561">
                  <c:v>4.843</c:v>
                </c:pt>
                <c:pt idx="562">
                  <c:v>6.7907000000000002</c:v>
                </c:pt>
                <c:pt idx="563">
                  <c:v>6.0216000000000003</c:v>
                </c:pt>
                <c:pt idx="564">
                  <c:v>5.1111000000000004</c:v>
                </c:pt>
                <c:pt idx="565">
                  <c:v>16.892900000000001</c:v>
                </c:pt>
                <c:pt idx="566">
                  <c:v>7.3872</c:v>
                </c:pt>
                <c:pt idx="567">
                  <c:v>5.7736499999999999</c:v>
                </c:pt>
                <c:pt idx="568">
                  <c:v>5.1280000000000001</c:v>
                </c:pt>
                <c:pt idx="569">
                  <c:v>6.8266</c:v>
                </c:pt>
                <c:pt idx="570">
                  <c:v>4.9218000000000002</c:v>
                </c:pt>
                <c:pt idx="571">
                  <c:v>2.7367499999999998</c:v>
                </c:pt>
                <c:pt idx="572">
                  <c:v>3.6520999999999999</c:v>
                </c:pt>
                <c:pt idx="573">
                  <c:v>10.914</c:v>
                </c:pt>
                <c:pt idx="574">
                  <c:v>2.548</c:v>
                </c:pt>
                <c:pt idx="575">
                  <c:v>3.9175499999999999</c:v>
                </c:pt>
                <c:pt idx="576">
                  <c:v>1.6192500000000001</c:v>
                </c:pt>
                <c:pt idx="577">
                  <c:v>5.70045</c:v>
                </c:pt>
                <c:pt idx="578">
                  <c:v>13.5235</c:v>
                </c:pt>
                <c:pt idx="579">
                  <c:v>3.3372000000000002</c:v>
                </c:pt>
                <c:pt idx="580">
                  <c:v>1.83</c:v>
                </c:pt>
                <c:pt idx="581">
                  <c:v>3.2551999999999999</c:v>
                </c:pt>
                <c:pt idx="582">
                  <c:v>19.425599999999999</c:v>
                </c:pt>
                <c:pt idx="583">
                  <c:v>4.4729999999999999</c:v>
                </c:pt>
                <c:pt idx="584">
                  <c:v>5.9559499999999996</c:v>
                </c:pt>
                <c:pt idx="585">
                  <c:v>11.874499999999999</c:v>
                </c:pt>
                <c:pt idx="586">
                  <c:v>6.1193999999999988</c:v>
                </c:pt>
                <c:pt idx="587">
                  <c:v>3.4560999999999997</c:v>
                </c:pt>
                <c:pt idx="588">
                  <c:v>5.7015000000000002</c:v>
                </c:pt>
                <c:pt idx="589">
                  <c:v>23.3156</c:v>
                </c:pt>
                <c:pt idx="590">
                  <c:v>4.1547999999999998</c:v>
                </c:pt>
                <c:pt idx="591">
                  <c:v>4.1031500000000003</c:v>
                </c:pt>
                <c:pt idx="592">
                  <c:v>3.3054999999999999</c:v>
                </c:pt>
                <c:pt idx="593">
                  <c:v>5.6510999999999996</c:v>
                </c:pt>
                <c:pt idx="594">
                  <c:v>3.0379999999999998</c:v>
                </c:pt>
                <c:pt idx="595">
                  <c:v>2.7545500000000001</c:v>
                </c:pt>
                <c:pt idx="596">
                  <c:v>3.5615999999999999</c:v>
                </c:pt>
                <c:pt idx="597">
                  <c:v>5.2160000000000002</c:v>
                </c:pt>
                <c:pt idx="598">
                  <c:v>6.6559999999999997</c:v>
                </c:pt>
                <c:pt idx="599">
                  <c:v>7.8287000000000004</c:v>
                </c:pt>
                <c:pt idx="600">
                  <c:v>7.1437499999999998</c:v>
                </c:pt>
                <c:pt idx="601">
                  <c:v>7.7747999999999999</c:v>
                </c:pt>
                <c:pt idx="602">
                  <c:v>5.4557000000000002</c:v>
                </c:pt>
                <c:pt idx="603">
                  <c:v>3.3081499999999999</c:v>
                </c:pt>
                <c:pt idx="604">
                  <c:v>0.96479999999999999</c:v>
                </c:pt>
                <c:pt idx="605">
                  <c:v>2.1718999999999999</c:v>
                </c:pt>
                <c:pt idx="606">
                  <c:v>5.8008499999999996</c:v>
                </c:pt>
                <c:pt idx="607">
                  <c:v>4.6239999999999997</c:v>
                </c:pt>
                <c:pt idx="608">
                  <c:v>6.2387499999999996</c:v>
                </c:pt>
                <c:pt idx="609">
                  <c:v>4.9564500000000002</c:v>
                </c:pt>
                <c:pt idx="610">
                  <c:v>3.19</c:v>
                </c:pt>
                <c:pt idx="611">
                  <c:v>8.6129999999999995</c:v>
                </c:pt>
                <c:pt idx="612">
                  <c:v>5.9897999999999998</c:v>
                </c:pt>
                <c:pt idx="613">
                  <c:v>5.4977999999999998</c:v>
                </c:pt>
                <c:pt idx="614">
                  <c:v>7.3952999999999998</c:v>
                </c:pt>
                <c:pt idx="615">
                  <c:v>1.7286999999999999</c:v>
                </c:pt>
                <c:pt idx="616">
                  <c:v>10.46485</c:v>
                </c:pt>
                <c:pt idx="617">
                  <c:v>4.1832000000000003</c:v>
                </c:pt>
                <c:pt idx="618">
                  <c:v>11.153</c:v>
                </c:pt>
                <c:pt idx="619">
                  <c:v>4.83</c:v>
                </c:pt>
                <c:pt idx="620">
                  <c:v>0.86399999999999999</c:v>
                </c:pt>
                <c:pt idx="621">
                  <c:v>6.7160000000000002</c:v>
                </c:pt>
                <c:pt idx="622">
                  <c:v>1.94635</c:v>
                </c:pt>
                <c:pt idx="623">
                  <c:v>5.2416</c:v>
                </c:pt>
                <c:pt idx="624">
                  <c:v>3.98325</c:v>
                </c:pt>
                <c:pt idx="625">
                  <c:v>4.3658999999999999</c:v>
                </c:pt>
                <c:pt idx="626">
                  <c:v>2.3519999999999999</c:v>
                </c:pt>
                <c:pt idx="627">
                  <c:v>0.73375000000000001</c:v>
                </c:pt>
                <c:pt idx="628">
                  <c:v>7.9131999999999998</c:v>
                </c:pt>
                <c:pt idx="629">
                  <c:v>8.4535499999999999</c:v>
                </c:pt>
                <c:pt idx="630">
                  <c:v>2.1675</c:v>
                </c:pt>
                <c:pt idx="631">
                  <c:v>8.1479999999999997</c:v>
                </c:pt>
                <c:pt idx="632">
                  <c:v>6.5339</c:v>
                </c:pt>
                <c:pt idx="633">
                  <c:v>12.263999999999999</c:v>
                </c:pt>
                <c:pt idx="634">
                  <c:v>1.8459000000000001</c:v>
                </c:pt>
                <c:pt idx="635">
                  <c:v>4.3143000000000002</c:v>
                </c:pt>
                <c:pt idx="636">
                  <c:v>4.2723000000000004</c:v>
                </c:pt>
                <c:pt idx="637">
                  <c:v>4.9119999999999999</c:v>
                </c:pt>
                <c:pt idx="638">
                  <c:v>6.1582499999999998</c:v>
                </c:pt>
                <c:pt idx="639">
                  <c:v>3.7603499999999999</c:v>
                </c:pt>
                <c:pt idx="640">
                  <c:v>5.3762499999999998</c:v>
                </c:pt>
                <c:pt idx="641">
                  <c:v>9.1853999999999996</c:v>
                </c:pt>
                <c:pt idx="642">
                  <c:v>10.378500000000001</c:v>
                </c:pt>
                <c:pt idx="643">
                  <c:v>1.3489</c:v>
                </c:pt>
                <c:pt idx="644">
                  <c:v>0.36919999999999997</c:v>
                </c:pt>
                <c:pt idx="645">
                  <c:v>0.56799999999999995</c:v>
                </c:pt>
                <c:pt idx="646">
                  <c:v>0.84150000000000003</c:v>
                </c:pt>
                <c:pt idx="647">
                  <c:v>3.3959999999999999</c:v>
                </c:pt>
                <c:pt idx="648">
                  <c:v>5.5957999999999997</c:v>
                </c:pt>
                <c:pt idx="649">
                  <c:v>2.3779499999999998</c:v>
                </c:pt>
                <c:pt idx="650">
                  <c:v>10.53495</c:v>
                </c:pt>
                <c:pt idx="651">
                  <c:v>9.8483999999999998</c:v>
                </c:pt>
                <c:pt idx="652">
                  <c:v>4.1471999999999998</c:v>
                </c:pt>
                <c:pt idx="653">
                  <c:v>0.98089999999999999</c:v>
                </c:pt>
                <c:pt idx="654">
                  <c:v>1.2518</c:v>
                </c:pt>
                <c:pt idx="655">
                  <c:v>0.9405</c:v>
                </c:pt>
                <c:pt idx="656">
                  <c:v>3.3520500000000002</c:v>
                </c:pt>
                <c:pt idx="657">
                  <c:v>2.7295500000000001</c:v>
                </c:pt>
                <c:pt idx="658">
                  <c:v>3.1111</c:v>
                </c:pt>
                <c:pt idx="659">
                  <c:v>1.3824000000000001</c:v>
                </c:pt>
                <c:pt idx="660">
                  <c:v>0.84750000000000003</c:v>
                </c:pt>
                <c:pt idx="661">
                  <c:v>1.43055</c:v>
                </c:pt>
                <c:pt idx="662">
                  <c:v>3.3637999999999999</c:v>
                </c:pt>
                <c:pt idx="663">
                  <c:v>1.5703499999999999</c:v>
                </c:pt>
                <c:pt idx="664">
                  <c:v>1.8462000000000001</c:v>
                </c:pt>
                <c:pt idx="665">
                  <c:v>1.1923999999999999</c:v>
                </c:pt>
                <c:pt idx="666">
                  <c:v>3.6042999999999998</c:v>
                </c:pt>
                <c:pt idx="667">
                  <c:v>3.1594500000000001</c:v>
                </c:pt>
                <c:pt idx="668">
                  <c:v>3.80165</c:v>
                </c:pt>
                <c:pt idx="669">
                  <c:v>4.6255499999999996</c:v>
                </c:pt>
                <c:pt idx="670">
                  <c:v>4.32</c:v>
                </c:pt>
                <c:pt idx="671">
                  <c:v>13.6332</c:v>
                </c:pt>
                <c:pt idx="672">
                  <c:v>20.694800000000001</c:v>
                </c:pt>
                <c:pt idx="673">
                  <c:v>16.113099999999999</c:v>
                </c:pt>
                <c:pt idx="674">
                  <c:v>11.4114</c:v>
                </c:pt>
                <c:pt idx="675">
                  <c:v>10.472</c:v>
                </c:pt>
                <c:pt idx="676">
                  <c:v>26.049399999999999</c:v>
                </c:pt>
                <c:pt idx="677">
                  <c:v>6.8146500000000003</c:v>
                </c:pt>
                <c:pt idx="678">
                  <c:v>19.153500000000001</c:v>
                </c:pt>
                <c:pt idx="679">
                  <c:v>8.6052</c:v>
                </c:pt>
                <c:pt idx="680">
                  <c:v>5.3575499999999998</c:v>
                </c:pt>
                <c:pt idx="681">
                  <c:v>7.5709999999999997</c:v>
                </c:pt>
                <c:pt idx="682">
                  <c:v>8.1614000000000004</c:v>
                </c:pt>
                <c:pt idx="683">
                  <c:v>5.7511999999999999</c:v>
                </c:pt>
                <c:pt idx="684">
                  <c:v>12.666499999999999</c:v>
                </c:pt>
                <c:pt idx="685">
                  <c:v>4.2704000000000004</c:v>
                </c:pt>
                <c:pt idx="686">
                  <c:v>27.06</c:v>
                </c:pt>
                <c:pt idx="687">
                  <c:v>14.672000000000001</c:v>
                </c:pt>
                <c:pt idx="688">
                  <c:v>7.9364999999999997</c:v>
                </c:pt>
                <c:pt idx="689">
                  <c:v>3.3335499999999998</c:v>
                </c:pt>
                <c:pt idx="690">
                  <c:v>2.4929999999999999</c:v>
                </c:pt>
                <c:pt idx="691">
                  <c:v>3.1855000000000002</c:v>
                </c:pt>
                <c:pt idx="692">
                  <c:v>17.110499999999998</c:v>
                </c:pt>
                <c:pt idx="693">
                  <c:v>2.6831999999999998</c:v>
                </c:pt>
                <c:pt idx="694">
                  <c:v>2.915</c:v>
                </c:pt>
                <c:pt idx="695">
                  <c:v>1.0156499999999999</c:v>
                </c:pt>
                <c:pt idx="696">
                  <c:v>1.9145000000000001</c:v>
                </c:pt>
                <c:pt idx="697">
                  <c:v>2.6082000000000001</c:v>
                </c:pt>
                <c:pt idx="698">
                  <c:v>3.0617999999999999</c:v>
                </c:pt>
                <c:pt idx="699">
                  <c:v>2.6640000000000001</c:v>
                </c:pt>
                <c:pt idx="700">
                  <c:v>4.0382499999999997</c:v>
                </c:pt>
                <c:pt idx="701">
                  <c:v>15.0947</c:v>
                </c:pt>
                <c:pt idx="702">
                  <c:v>3.3915999999999999</c:v>
                </c:pt>
                <c:pt idx="703">
                  <c:v>0.55600000000000005</c:v>
                </c:pt>
                <c:pt idx="704">
                  <c:v>11.907</c:v>
                </c:pt>
                <c:pt idx="705">
                  <c:v>5.5468000000000002</c:v>
                </c:pt>
                <c:pt idx="706">
                  <c:v>20.961500000000001</c:v>
                </c:pt>
                <c:pt idx="707">
                  <c:v>1.6756</c:v>
                </c:pt>
                <c:pt idx="708">
                  <c:v>1.5820000000000001</c:v>
                </c:pt>
                <c:pt idx="709">
                  <c:v>7.2819000000000003</c:v>
                </c:pt>
                <c:pt idx="710">
                  <c:v>9.1300000000000008</c:v>
                </c:pt>
                <c:pt idx="711">
                  <c:v>5.3654000000000002</c:v>
                </c:pt>
                <c:pt idx="712">
                  <c:v>3.8633999999999999</c:v>
                </c:pt>
                <c:pt idx="713">
                  <c:v>1.4896</c:v>
                </c:pt>
                <c:pt idx="714">
                  <c:v>5.6637000000000004</c:v>
                </c:pt>
                <c:pt idx="715">
                  <c:v>4.2640000000000002</c:v>
                </c:pt>
                <c:pt idx="716">
                  <c:v>1.2125999999999999</c:v>
                </c:pt>
                <c:pt idx="717">
                  <c:v>2.6162999999999998</c:v>
                </c:pt>
                <c:pt idx="718">
                  <c:v>1.6896</c:v>
                </c:pt>
                <c:pt idx="719">
                  <c:v>2.5123000000000002</c:v>
                </c:pt>
                <c:pt idx="720">
                  <c:v>4.6814</c:v>
                </c:pt>
                <c:pt idx="721">
                  <c:v>4.5577500000000004</c:v>
                </c:pt>
                <c:pt idx="722">
                  <c:v>4.0210999999999997</c:v>
                </c:pt>
                <c:pt idx="723">
                  <c:v>13.123699999999999</c:v>
                </c:pt>
                <c:pt idx="724">
                  <c:v>9.6524999999999999</c:v>
                </c:pt>
                <c:pt idx="725">
                  <c:v>7.3932000000000002</c:v>
                </c:pt>
                <c:pt idx="726">
                  <c:v>2.3184</c:v>
                </c:pt>
                <c:pt idx="727">
                  <c:v>7.7842500000000001</c:v>
                </c:pt>
                <c:pt idx="728">
                  <c:v>6.8344500000000004</c:v>
                </c:pt>
                <c:pt idx="729">
                  <c:v>5.1320499999999996</c:v>
                </c:pt>
                <c:pt idx="730">
                  <c:v>4.5926999999999998</c:v>
                </c:pt>
                <c:pt idx="731">
                  <c:v>5.9737999999999998</c:v>
                </c:pt>
                <c:pt idx="732">
                  <c:v>9.7818000000000005</c:v>
                </c:pt>
                <c:pt idx="733">
                  <c:v>15.288</c:v>
                </c:pt>
                <c:pt idx="734">
                  <c:v>21.234400000000001</c:v>
                </c:pt>
                <c:pt idx="735">
                  <c:v>9.69435</c:v>
                </c:pt>
                <c:pt idx="736">
                  <c:v>8.1026000000000007</c:v>
                </c:pt>
                <c:pt idx="737">
                  <c:v>7.4295999999999998</c:v>
                </c:pt>
                <c:pt idx="738">
                  <c:v>6.5138499999999997</c:v>
                </c:pt>
                <c:pt idx="739">
                  <c:v>6.8085000000000004</c:v>
                </c:pt>
                <c:pt idx="740">
                  <c:v>4.1833499999999999</c:v>
                </c:pt>
                <c:pt idx="741">
                  <c:v>4.0672499999999996</c:v>
                </c:pt>
                <c:pt idx="742">
                  <c:v>1.5871999999999999</c:v>
                </c:pt>
                <c:pt idx="743">
                  <c:v>17.6098</c:v>
                </c:pt>
                <c:pt idx="744">
                  <c:v>11.79</c:v>
                </c:pt>
                <c:pt idx="745">
                  <c:v>6.6285999999999996</c:v>
                </c:pt>
                <c:pt idx="746">
                  <c:v>20.605550000000001</c:v>
                </c:pt>
                <c:pt idx="747">
                  <c:v>5.4653499999999999</c:v>
                </c:pt>
                <c:pt idx="748">
                  <c:v>9.4944000000000006</c:v>
                </c:pt>
                <c:pt idx="749">
                  <c:v>1.89435</c:v>
                </c:pt>
                <c:pt idx="750">
                  <c:v>3.3515999999999999</c:v>
                </c:pt>
                <c:pt idx="751">
                  <c:v>1.4471000000000001</c:v>
                </c:pt>
                <c:pt idx="752">
                  <c:v>10.349299999999999</c:v>
                </c:pt>
                <c:pt idx="753">
                  <c:v>4.383</c:v>
                </c:pt>
                <c:pt idx="754">
                  <c:v>2.6880000000000002</c:v>
                </c:pt>
                <c:pt idx="755">
                  <c:v>7.3385999999999996</c:v>
                </c:pt>
                <c:pt idx="756">
                  <c:v>3.3429500000000001</c:v>
                </c:pt>
                <c:pt idx="757">
                  <c:v>6.5311000000000003</c:v>
                </c:pt>
                <c:pt idx="758">
                  <c:v>4.9097499999999998</c:v>
                </c:pt>
                <c:pt idx="759">
                  <c:v>2.8142999999999998</c:v>
                </c:pt>
                <c:pt idx="760">
                  <c:v>3.8</c:v>
                </c:pt>
                <c:pt idx="761">
                  <c:v>4.3148</c:v>
                </c:pt>
                <c:pt idx="762">
                  <c:v>6.6079999999999997</c:v>
                </c:pt>
                <c:pt idx="763">
                  <c:v>9.9345499999999998</c:v>
                </c:pt>
                <c:pt idx="764">
                  <c:v>4.1310000000000002</c:v>
                </c:pt>
                <c:pt idx="765">
                  <c:v>7.82</c:v>
                </c:pt>
                <c:pt idx="766">
                  <c:v>14.049899999999999</c:v>
                </c:pt>
                <c:pt idx="767">
                  <c:v>15.748199999999999</c:v>
                </c:pt>
                <c:pt idx="768">
                  <c:v>12.22245</c:v>
                </c:pt>
                <c:pt idx="769">
                  <c:v>2.7907000000000002</c:v>
                </c:pt>
                <c:pt idx="770">
                  <c:v>5.9648000000000003</c:v>
                </c:pt>
                <c:pt idx="771">
                  <c:v>2.9273500000000001</c:v>
                </c:pt>
                <c:pt idx="772">
                  <c:v>10.971</c:v>
                </c:pt>
                <c:pt idx="773">
                  <c:v>3.6037499999999998</c:v>
                </c:pt>
                <c:pt idx="774">
                  <c:v>2.6159500000000002</c:v>
                </c:pt>
                <c:pt idx="775">
                  <c:v>2.99</c:v>
                </c:pt>
                <c:pt idx="776">
                  <c:v>9.9510000000000005</c:v>
                </c:pt>
                <c:pt idx="777">
                  <c:v>6.3414000000000001</c:v>
                </c:pt>
                <c:pt idx="778">
                  <c:v>4.6933499999999997</c:v>
                </c:pt>
                <c:pt idx="779">
                  <c:v>2.7951000000000001</c:v>
                </c:pt>
                <c:pt idx="780">
                  <c:v>4.81745</c:v>
                </c:pt>
                <c:pt idx="781">
                  <c:v>3.0590000000000002</c:v>
                </c:pt>
                <c:pt idx="782">
                  <c:v>6.0852000000000004</c:v>
                </c:pt>
                <c:pt idx="783">
                  <c:v>3.0825</c:v>
                </c:pt>
                <c:pt idx="784">
                  <c:v>16.183800000000002</c:v>
                </c:pt>
                <c:pt idx="785">
                  <c:v>11.8048</c:v>
                </c:pt>
                <c:pt idx="786">
                  <c:v>8.8308</c:v>
                </c:pt>
                <c:pt idx="787">
                  <c:v>19.6248</c:v>
                </c:pt>
                <c:pt idx="788">
                  <c:v>5.1504000000000003</c:v>
                </c:pt>
                <c:pt idx="789">
                  <c:v>6.8307500000000001</c:v>
                </c:pt>
                <c:pt idx="790">
                  <c:v>14.001749999999999</c:v>
                </c:pt>
                <c:pt idx="791">
                  <c:v>12.298</c:v>
                </c:pt>
                <c:pt idx="792">
                  <c:v>16.582999999999998</c:v>
                </c:pt>
                <c:pt idx="793">
                  <c:v>9.2515999999999998</c:v>
                </c:pt>
                <c:pt idx="794">
                  <c:v>10.419</c:v>
                </c:pt>
                <c:pt idx="795">
                  <c:v>5.0260499999999997</c:v>
                </c:pt>
                <c:pt idx="796">
                  <c:v>13.3056</c:v>
                </c:pt>
                <c:pt idx="797">
                  <c:v>4.9096500000000001</c:v>
                </c:pt>
                <c:pt idx="798">
                  <c:v>4.4640000000000004</c:v>
                </c:pt>
                <c:pt idx="799">
                  <c:v>23.1812</c:v>
                </c:pt>
                <c:pt idx="800">
                  <c:v>12.9954</c:v>
                </c:pt>
                <c:pt idx="801">
                  <c:v>17.148150000000001</c:v>
                </c:pt>
                <c:pt idx="802">
                  <c:v>22.865600000000001</c:v>
                </c:pt>
                <c:pt idx="803">
                  <c:v>4.3296000000000001</c:v>
                </c:pt>
                <c:pt idx="804">
                  <c:v>27.509399999999999</c:v>
                </c:pt>
                <c:pt idx="805">
                  <c:v>28.031400000000001</c:v>
                </c:pt>
                <c:pt idx="806">
                  <c:v>73.7774</c:v>
                </c:pt>
                <c:pt idx="807">
                  <c:v>49.138500000000001</c:v>
                </c:pt>
                <c:pt idx="808">
                  <c:v>33.312600000000003</c:v>
                </c:pt>
                <c:pt idx="809">
                  <c:v>16.179600000000001</c:v>
                </c:pt>
                <c:pt idx="810">
                  <c:v>30.758400000000002</c:v>
                </c:pt>
                <c:pt idx="811">
                  <c:v>12.462</c:v>
                </c:pt>
                <c:pt idx="812">
                  <c:v>29.062550000000002</c:v>
                </c:pt>
                <c:pt idx="813">
                  <c:v>29.2744</c:v>
                </c:pt>
                <c:pt idx="814">
                  <c:v>19.281600000000001</c:v>
                </c:pt>
                <c:pt idx="815">
                  <c:v>32.512</c:v>
                </c:pt>
                <c:pt idx="816">
                  <c:v>37.146900000000002</c:v>
                </c:pt>
                <c:pt idx="817">
                  <c:v>29.78145</c:v>
                </c:pt>
                <c:pt idx="818">
                  <c:v>22.370849999999997</c:v>
                </c:pt>
                <c:pt idx="819">
                  <c:v>129.06450000000001</c:v>
                </c:pt>
                <c:pt idx="820">
                  <c:v>35.727049999999998</c:v>
                </c:pt>
                <c:pt idx="821">
                  <c:v>25.8324</c:v>
                </c:pt>
                <c:pt idx="822">
                  <c:v>10.206799999999999</c:v>
                </c:pt>
                <c:pt idx="823">
                  <c:v>11.765000000000001</c:v>
                </c:pt>
                <c:pt idx="824">
                  <c:v>15.057</c:v>
                </c:pt>
                <c:pt idx="825">
                  <c:v>16.902000000000001</c:v>
                </c:pt>
                <c:pt idx="826">
                  <c:v>13.23855</c:v>
                </c:pt>
                <c:pt idx="827">
                  <c:v>16.959150000000001</c:v>
                </c:pt>
                <c:pt idx="828">
                  <c:v>21.155999999999999</c:v>
                </c:pt>
                <c:pt idx="829">
                  <c:v>15.246</c:v>
                </c:pt>
                <c:pt idx="830">
                  <c:v>15.423999999999999</c:v>
                </c:pt>
                <c:pt idx="831">
                  <c:v>7.9817999999999998</c:v>
                </c:pt>
                <c:pt idx="832">
                  <c:v>3.7919999999999998</c:v>
                </c:pt>
                <c:pt idx="833">
                  <c:v>13.123950000000001</c:v>
                </c:pt>
                <c:pt idx="834">
                  <c:v>5.7682000000000002</c:v>
                </c:pt>
                <c:pt idx="835">
                  <c:v>8.1463999999999999</c:v>
                </c:pt>
                <c:pt idx="836">
                  <c:v>24.231000000000002</c:v>
                </c:pt>
                <c:pt idx="837">
                  <c:v>21.259049999999998</c:v>
                </c:pt>
                <c:pt idx="838">
                  <c:v>10.2752</c:v>
                </c:pt>
                <c:pt idx="839">
                  <c:v>12.957000000000001</c:v>
                </c:pt>
                <c:pt idx="840">
                  <c:v>7.3689</c:v>
                </c:pt>
                <c:pt idx="841">
                  <c:v>10.863</c:v>
                </c:pt>
                <c:pt idx="842">
                  <c:v>114.465</c:v>
                </c:pt>
                <c:pt idx="843">
                  <c:v>21.440750000000001</c:v>
                </c:pt>
                <c:pt idx="844">
                  <c:v>59.58639999999999</c:v>
                </c:pt>
                <c:pt idx="845">
                  <c:v>30.542400000000001</c:v>
                </c:pt>
                <c:pt idx="846">
                  <c:v>21.230599999999999</c:v>
                </c:pt>
                <c:pt idx="847">
                  <c:v>34.930050000000001</c:v>
                </c:pt>
                <c:pt idx="848">
                  <c:v>14.233000000000001</c:v>
                </c:pt>
                <c:pt idx="849">
                  <c:v>16.8216</c:v>
                </c:pt>
                <c:pt idx="850">
                  <c:v>20.190200000000001</c:v>
                </c:pt>
                <c:pt idx="851">
                  <c:v>20.3202</c:v>
                </c:pt>
                <c:pt idx="852">
                  <c:v>27.896149999999999</c:v>
                </c:pt>
                <c:pt idx="853">
                  <c:v>23.047799999999999</c:v>
                </c:pt>
                <c:pt idx="854">
                  <c:v>13.932</c:v>
                </c:pt>
                <c:pt idx="855">
                  <c:v>14.288800000000002</c:v>
                </c:pt>
                <c:pt idx="856">
                  <c:v>9.4329000000000001</c:v>
                </c:pt>
                <c:pt idx="857">
                  <c:v>14.667400000000002</c:v>
                </c:pt>
                <c:pt idx="858">
                  <c:v>13.280399999999998</c:v>
                </c:pt>
                <c:pt idx="859">
                  <c:v>27.675999999999998</c:v>
                </c:pt>
                <c:pt idx="860">
                  <c:v>13.977600000000001</c:v>
                </c:pt>
                <c:pt idx="861">
                  <c:v>13.9986</c:v>
                </c:pt>
                <c:pt idx="862">
                  <c:v>12.502800000000001</c:v>
                </c:pt>
                <c:pt idx="863">
                  <c:v>12.468299999999999</c:v>
                </c:pt>
                <c:pt idx="864">
                  <c:v>24.220300000000002</c:v>
                </c:pt>
                <c:pt idx="865">
                  <c:v>6.1984000000000004</c:v>
                </c:pt>
                <c:pt idx="866">
                  <c:v>9.2447999999999997</c:v>
                </c:pt>
                <c:pt idx="867">
                  <c:v>9.1059999999999999</c:v>
                </c:pt>
                <c:pt idx="868">
                  <c:v>9.843</c:v>
                </c:pt>
                <c:pt idx="869">
                  <c:v>13.14</c:v>
                </c:pt>
                <c:pt idx="870">
                  <c:v>15.23265</c:v>
                </c:pt>
                <c:pt idx="871">
                  <c:v>26.684699999999999</c:v>
                </c:pt>
                <c:pt idx="872">
                  <c:v>9.8068500000000007</c:v>
                </c:pt>
                <c:pt idx="873">
                  <c:v>32.546750000000003</c:v>
                </c:pt>
                <c:pt idx="874">
                  <c:v>19.344149999999999</c:v>
                </c:pt>
                <c:pt idx="875">
                  <c:v>8.25</c:v>
                </c:pt>
                <c:pt idx="876">
                  <c:v>20.927700000000002</c:v>
                </c:pt>
                <c:pt idx="877">
                  <c:v>12.443199999999999</c:v>
                </c:pt>
                <c:pt idx="878">
                  <c:v>18.66</c:v>
                </c:pt>
                <c:pt idx="879">
                  <c:v>20.478200000000001</c:v>
                </c:pt>
                <c:pt idx="880">
                  <c:v>8.5724999999999998</c:v>
                </c:pt>
                <c:pt idx="881">
                  <c:v>13.3551</c:v>
                </c:pt>
                <c:pt idx="882">
                  <c:v>18.582000000000001</c:v>
                </c:pt>
                <c:pt idx="883">
                  <c:v>19.101800000000001</c:v>
                </c:pt>
                <c:pt idx="884">
                  <c:v>26.082000000000001</c:v>
                </c:pt>
                <c:pt idx="885">
                  <c:v>17.201699999999999</c:v>
                </c:pt>
                <c:pt idx="886">
                  <c:v>9.3662500000000009</c:v>
                </c:pt>
                <c:pt idx="887">
                  <c:v>37.627899999999997</c:v>
                </c:pt>
                <c:pt idx="888">
                  <c:v>34.41995</c:v>
                </c:pt>
                <c:pt idx="889">
                  <c:v>22.354749999999999</c:v>
                </c:pt>
                <c:pt idx="890">
                  <c:v>61.005000000000003</c:v>
                </c:pt>
                <c:pt idx="891">
                  <c:v>93.4375</c:v>
                </c:pt>
                <c:pt idx="892">
                  <c:v>45.382449999999999</c:v>
                </c:pt>
                <c:pt idx="893">
                  <c:v>143.2593</c:v>
                </c:pt>
                <c:pt idx="894">
                  <c:v>18.283200000000001</c:v>
                </c:pt>
                <c:pt idx="895">
                  <c:v>54.03595</c:v>
                </c:pt>
                <c:pt idx="896">
                  <c:v>29.5365</c:v>
                </c:pt>
                <c:pt idx="897">
                  <c:v>30.0792</c:v>
                </c:pt>
                <c:pt idx="898">
                  <c:v>30.2394</c:v>
                </c:pt>
                <c:pt idx="899">
                  <c:v>29.140650000000001</c:v>
                </c:pt>
                <c:pt idx="900">
                  <c:v>82.775000000000006</c:v>
                </c:pt>
                <c:pt idx="901">
                  <c:v>25.873049999999999</c:v>
                </c:pt>
                <c:pt idx="902">
                  <c:v>23.8551</c:v>
                </c:pt>
                <c:pt idx="903">
                  <c:v>54.002000000000002</c:v>
                </c:pt>
                <c:pt idx="904">
                  <c:v>33.456499999999998</c:v>
                </c:pt>
                <c:pt idx="905">
                  <c:v>22.311</c:v>
                </c:pt>
                <c:pt idx="906">
                  <c:v>36.601599999999998</c:v>
                </c:pt>
                <c:pt idx="907">
                  <c:v>42.924799999999998</c:v>
                </c:pt>
                <c:pt idx="908">
                  <c:v>35.230699999999999</c:v>
                </c:pt>
                <c:pt idx="909">
                  <c:v>33.580500000000001</c:v>
                </c:pt>
                <c:pt idx="910">
                  <c:v>27.103999999999999</c:v>
                </c:pt>
                <c:pt idx="911">
                  <c:v>40.0867</c:v>
                </c:pt>
                <c:pt idx="912">
                  <c:v>31.875900000000001</c:v>
                </c:pt>
                <c:pt idx="913">
                  <c:v>25.332149999999999</c:v>
                </c:pt>
                <c:pt idx="914">
                  <c:v>32.091299999999997</c:v>
                </c:pt>
                <c:pt idx="915">
                  <c:v>61.168199999999999</c:v>
                </c:pt>
                <c:pt idx="916">
                  <c:v>45.7254</c:v>
                </c:pt>
                <c:pt idx="917">
                  <c:v>42.6312</c:v>
                </c:pt>
                <c:pt idx="918">
                  <c:v>64.099350000000001</c:v>
                </c:pt>
                <c:pt idx="919">
                  <c:v>24.433800000000002</c:v>
                </c:pt>
                <c:pt idx="920">
                  <c:v>17.763000000000002</c:v>
                </c:pt>
                <c:pt idx="921">
                  <c:v>43.400700000000001</c:v>
                </c:pt>
                <c:pt idx="922">
                  <c:v>42.230800000000002</c:v>
                </c:pt>
                <c:pt idx="923">
                  <c:v>44.384599999999999</c:v>
                </c:pt>
                <c:pt idx="924">
                  <c:v>30.4679</c:v>
                </c:pt>
                <c:pt idx="925">
                  <c:v>24.462</c:v>
                </c:pt>
                <c:pt idx="926">
                  <c:v>60.5379</c:v>
                </c:pt>
                <c:pt idx="927">
                  <c:v>33.394500000000001</c:v>
                </c:pt>
                <c:pt idx="928">
                  <c:v>32.357399999999998</c:v>
                </c:pt>
                <c:pt idx="929">
                  <c:v>25.6357</c:v>
                </c:pt>
                <c:pt idx="930">
                  <c:v>31.1233</c:v>
                </c:pt>
                <c:pt idx="931">
                  <c:v>32.139899999999997</c:v>
                </c:pt>
                <c:pt idx="932">
                  <c:v>42.590499999999999</c:v>
                </c:pt>
                <c:pt idx="933">
                  <c:v>58.748150000000003</c:v>
                </c:pt>
                <c:pt idx="934">
                  <c:v>47.130800000000001</c:v>
                </c:pt>
                <c:pt idx="935">
                  <c:v>31.446400000000001</c:v>
                </c:pt>
                <c:pt idx="936">
                  <c:v>43.15</c:v>
                </c:pt>
                <c:pt idx="937">
                  <c:v>36.751350000000002</c:v>
                </c:pt>
                <c:pt idx="938">
                  <c:v>33.223199999999999</c:v>
                </c:pt>
                <c:pt idx="939">
                  <c:v>32.140599999999999</c:v>
                </c:pt>
                <c:pt idx="940">
                  <c:v>19.44725</c:v>
                </c:pt>
                <c:pt idx="941">
                  <c:v>39.143700000000003</c:v>
                </c:pt>
                <c:pt idx="942">
                  <c:v>28.997</c:v>
                </c:pt>
                <c:pt idx="943">
                  <c:v>27.588450000000002</c:v>
                </c:pt>
                <c:pt idx="944">
                  <c:v>33.038200000000003</c:v>
                </c:pt>
                <c:pt idx="945">
                  <c:v>53.8979</c:v>
                </c:pt>
                <c:pt idx="946">
                  <c:v>27.215499999999999</c:v>
                </c:pt>
                <c:pt idx="947">
                  <c:v>20.735800000000001</c:v>
                </c:pt>
                <c:pt idx="948">
                  <c:v>12.565799999999999</c:v>
                </c:pt>
                <c:pt idx="949">
                  <c:v>34.496000000000002</c:v>
                </c:pt>
                <c:pt idx="950">
                  <c:v>47.8994</c:v>
                </c:pt>
                <c:pt idx="951">
                  <c:v>32.449599999999997</c:v>
                </c:pt>
                <c:pt idx="952">
                  <c:v>44.8416</c:v>
                </c:pt>
                <c:pt idx="953">
                  <c:v>35.804499999999997</c:v>
                </c:pt>
                <c:pt idx="954">
                  <c:v>37.75</c:v>
                </c:pt>
                <c:pt idx="955">
                  <c:v>44.944499999999998</c:v>
                </c:pt>
                <c:pt idx="956">
                  <c:v>28.576799999999999</c:v>
                </c:pt>
                <c:pt idx="957">
                  <c:v>48.086799999999997</c:v>
                </c:pt>
                <c:pt idx="958">
                  <c:v>37.837800000000001</c:v>
                </c:pt>
                <c:pt idx="959">
                  <c:v>50.619</c:v>
                </c:pt>
                <c:pt idx="960">
                  <c:v>38.292299999999997</c:v>
                </c:pt>
                <c:pt idx="961">
                  <c:v>57.831249999999997</c:v>
                </c:pt>
                <c:pt idx="962">
                  <c:v>23.829000000000001</c:v>
                </c:pt>
                <c:pt idx="963">
                  <c:v>9.3412000000000006</c:v>
                </c:pt>
                <c:pt idx="964">
                  <c:v>18.807099999999998</c:v>
                </c:pt>
                <c:pt idx="965">
                  <c:v>12.9299</c:v>
                </c:pt>
                <c:pt idx="966">
                  <c:v>13.7326</c:v>
                </c:pt>
                <c:pt idx="967">
                  <c:v>18.966699999999999</c:v>
                </c:pt>
                <c:pt idx="968">
                  <c:v>11.906750000000001</c:v>
                </c:pt>
                <c:pt idx="969">
                  <c:v>18.09225</c:v>
                </c:pt>
                <c:pt idx="970">
                  <c:v>20.467199999999998</c:v>
                </c:pt>
                <c:pt idx="971">
                  <c:v>19.858799999999999</c:v>
                </c:pt>
                <c:pt idx="972">
                  <c:v>18.9968</c:v>
                </c:pt>
                <c:pt idx="973">
                  <c:v>57.323700000000002</c:v>
                </c:pt>
                <c:pt idx="974">
                  <c:v>41.707050000000002</c:v>
                </c:pt>
                <c:pt idx="975">
                  <c:v>43.462499999999999</c:v>
                </c:pt>
                <c:pt idx="976">
                  <c:v>28.785</c:v>
                </c:pt>
                <c:pt idx="977">
                  <c:v>33.914999999999999</c:v>
                </c:pt>
                <c:pt idx="978">
                  <c:v>47.020800000000001</c:v>
                </c:pt>
                <c:pt idx="979">
                  <c:v>35.965800000000002</c:v>
                </c:pt>
                <c:pt idx="980">
                  <c:v>64.694999999999993</c:v>
                </c:pt>
                <c:pt idx="981">
                  <c:v>52.4574</c:v>
                </c:pt>
                <c:pt idx="982">
                  <c:v>27.126899999999999</c:v>
                </c:pt>
                <c:pt idx="983">
                  <c:v>23.85</c:v>
                </c:pt>
                <c:pt idx="984">
                  <c:v>47.367750000000001</c:v>
                </c:pt>
                <c:pt idx="985">
                  <c:v>28.549800000000001</c:v>
                </c:pt>
                <c:pt idx="986">
                  <c:v>49.656999999999996</c:v>
                </c:pt>
                <c:pt idx="987">
                  <c:v>31.687349999999995</c:v>
                </c:pt>
                <c:pt idx="988">
                  <c:v>52.286050000000003</c:v>
                </c:pt>
                <c:pt idx="989">
                  <c:v>53.0518</c:v>
                </c:pt>
                <c:pt idx="990">
                  <c:v>44.716250000000002</c:v>
                </c:pt>
                <c:pt idx="991">
                  <c:v>80.365600000000001</c:v>
                </c:pt>
                <c:pt idx="992">
                  <c:v>74.836200000000005</c:v>
                </c:pt>
                <c:pt idx="993">
                  <c:v>62.21390000000001</c:v>
                </c:pt>
                <c:pt idx="994">
                  <c:v>40.704300000000003</c:v>
                </c:pt>
                <c:pt idx="995">
                  <c:v>30.527999999999999</c:v>
                </c:pt>
                <c:pt idx="996">
                  <c:v>59.633600000000001</c:v>
                </c:pt>
                <c:pt idx="997">
                  <c:v>47.348399999999998</c:v>
                </c:pt>
                <c:pt idx="998">
                  <c:v>42.606250000000003</c:v>
                </c:pt>
                <c:pt idx="999">
                  <c:v>40.701500000000003</c:v>
                </c:pt>
                <c:pt idx="1000">
                  <c:v>87.899699999999996</c:v>
                </c:pt>
                <c:pt idx="1001">
                  <c:v>33.885649999999998</c:v>
                </c:pt>
                <c:pt idx="1002">
                  <c:v>9.69</c:v>
                </c:pt>
                <c:pt idx="1003">
                  <c:v>27.454799999999999</c:v>
                </c:pt>
                <c:pt idx="1004">
                  <c:v>41.110199999999999</c:v>
                </c:pt>
                <c:pt idx="1005">
                  <c:v>42.094499999999996</c:v>
                </c:pt>
                <c:pt idx="1006">
                  <c:v>34.148400000000002</c:v>
                </c:pt>
                <c:pt idx="1007">
                  <c:v>100.5095</c:v>
                </c:pt>
                <c:pt idx="1008">
                  <c:v>84.24</c:v>
                </c:pt>
                <c:pt idx="1009">
                  <c:v>77.169600000000003</c:v>
                </c:pt>
                <c:pt idx="1010">
                  <c:v>52.316000000000003</c:v>
                </c:pt>
                <c:pt idx="1011">
                  <c:v>48.136000000000003</c:v>
                </c:pt>
                <c:pt idx="1012">
                  <c:v>78.432500000000005</c:v>
                </c:pt>
                <c:pt idx="1013">
                  <c:v>57.010750000000002</c:v>
                </c:pt>
                <c:pt idx="1014">
                  <c:v>68.841499999999996</c:v>
                </c:pt>
                <c:pt idx="1015">
                  <c:v>102.8925</c:v>
                </c:pt>
                <c:pt idx="1016">
                  <c:v>83.397999999999996</c:v>
                </c:pt>
                <c:pt idx="1017">
                  <c:v>88.429500000000004</c:v>
                </c:pt>
                <c:pt idx="1018">
                  <c:v>71.771699999999996</c:v>
                </c:pt>
                <c:pt idx="1019">
                  <c:v>81.634</c:v>
                </c:pt>
                <c:pt idx="1020">
                  <c:v>55.771949999999997</c:v>
                </c:pt>
                <c:pt idx="1021">
                  <c:v>54.392749999999999</c:v>
                </c:pt>
                <c:pt idx="1022">
                  <c:v>112.2165</c:v>
                </c:pt>
                <c:pt idx="1023">
                  <c:v>189.55260000000001</c:v>
                </c:pt>
                <c:pt idx="1024">
                  <c:v>54.274999999999999</c:v>
                </c:pt>
                <c:pt idx="1025">
                  <c:v>89.007599999999996</c:v>
                </c:pt>
                <c:pt idx="1026">
                  <c:v>61.889249999999997</c:v>
                </c:pt>
                <c:pt idx="1027">
                  <c:v>50.981699999999996</c:v>
                </c:pt>
                <c:pt idx="1028">
                  <c:v>54.036000000000001</c:v>
                </c:pt>
                <c:pt idx="1029">
                  <c:v>49.457349999999998</c:v>
                </c:pt>
                <c:pt idx="1030">
                  <c:v>47.760899999999999</c:v>
                </c:pt>
                <c:pt idx="1031">
                  <c:v>49.231000000000002</c:v>
                </c:pt>
                <c:pt idx="1032">
                  <c:v>42.030250000000002</c:v>
                </c:pt>
                <c:pt idx="1033">
                  <c:v>42.539099999999998</c:v>
                </c:pt>
                <c:pt idx="1034">
                  <c:v>46.53</c:v>
                </c:pt>
                <c:pt idx="1035">
                  <c:v>45.963299999999997</c:v>
                </c:pt>
                <c:pt idx="1036">
                  <c:v>44.853900000000003</c:v>
                </c:pt>
                <c:pt idx="1037">
                  <c:v>29.405999999999999</c:v>
                </c:pt>
                <c:pt idx="1038">
                  <c:v>53.35275</c:v>
                </c:pt>
                <c:pt idx="1039">
                  <c:v>37.841799999999999</c:v>
                </c:pt>
                <c:pt idx="1040">
                  <c:v>48.0565</c:v>
                </c:pt>
                <c:pt idx="1041">
                  <c:v>63.153599999999997</c:v>
                </c:pt>
                <c:pt idx="1042">
                  <c:v>78.885000000000005</c:v>
                </c:pt>
                <c:pt idx="1043">
                  <c:v>55.5047</c:v>
                </c:pt>
                <c:pt idx="1044">
                  <c:v>42.853499999999997</c:v>
                </c:pt>
                <c:pt idx="1045">
                  <c:v>57.839599999999997</c:v>
                </c:pt>
                <c:pt idx="1046">
                  <c:v>38.900399999999998</c:v>
                </c:pt>
                <c:pt idx="1047">
                  <c:v>31.963750000000001</c:v>
                </c:pt>
                <c:pt idx="1048">
                  <c:v>76.094999999999999</c:v>
                </c:pt>
                <c:pt idx="1049">
                  <c:v>92.224000000000004</c:v>
                </c:pt>
                <c:pt idx="1050">
                  <c:v>63.910799999999995</c:v>
                </c:pt>
                <c:pt idx="1051">
                  <c:v>68.939149999999998</c:v>
                </c:pt>
                <c:pt idx="1052">
                  <c:v>82.543000000000006</c:v>
                </c:pt>
                <c:pt idx="1053">
                  <c:v>85.511650000000003</c:v>
                </c:pt>
                <c:pt idx="1054">
                  <c:v>70.543199999999999</c:v>
                </c:pt>
                <c:pt idx="1055">
                  <c:v>65.552400000000006</c:v>
                </c:pt>
                <c:pt idx="1056">
                  <c:v>65.959999999999994</c:v>
                </c:pt>
                <c:pt idx="1057">
                  <c:v>85.143799999999999</c:v>
                </c:pt>
                <c:pt idx="1058">
                  <c:v>76.927000000000007</c:v>
                </c:pt>
                <c:pt idx="1059">
                  <c:v>95.904200000000003</c:v>
                </c:pt>
                <c:pt idx="1060">
                  <c:v>34.357999999999997</c:v>
                </c:pt>
                <c:pt idx="1061">
                  <c:v>69.232950000000002</c:v>
                </c:pt>
                <c:pt idx="1062">
                  <c:v>54.86249999999999</c:v>
                </c:pt>
                <c:pt idx="1063">
                  <c:v>75.513599999999997</c:v>
                </c:pt>
                <c:pt idx="1064">
                  <c:v>60.026499999999992</c:v>
                </c:pt>
                <c:pt idx="1065">
                  <c:v>33.739899999999999</c:v>
                </c:pt>
                <c:pt idx="1066">
                  <c:v>63.404900000000005</c:v>
                </c:pt>
                <c:pt idx="1067">
                  <c:v>53.401400000000002</c:v>
                </c:pt>
                <c:pt idx="1068">
                  <c:v>85.346100000000007</c:v>
                </c:pt>
                <c:pt idx="1069">
                  <c:v>79.921999999999997</c:v>
                </c:pt>
                <c:pt idx="1070">
                  <c:v>92.049800000000005</c:v>
                </c:pt>
                <c:pt idx="1071">
                  <c:v>95.267200000000003</c:v>
                </c:pt>
                <c:pt idx="1072">
                  <c:v>47.844000000000001</c:v>
                </c:pt>
                <c:pt idx="1073">
                  <c:v>48.517650000000003</c:v>
                </c:pt>
                <c:pt idx="1074">
                  <c:v>60.653199999999998</c:v>
                </c:pt>
                <c:pt idx="1075">
                  <c:v>31.10425</c:v>
                </c:pt>
                <c:pt idx="1076">
                  <c:v>76.205399999999997</c:v>
                </c:pt>
                <c:pt idx="1077">
                  <c:v>61.429200000000002</c:v>
                </c:pt>
                <c:pt idx="1078">
                  <c:v>51.394199999999998</c:v>
                </c:pt>
                <c:pt idx="1079">
                  <c:v>47.673299999999998</c:v>
                </c:pt>
                <c:pt idx="1080">
                  <c:v>46.096049999999998</c:v>
                </c:pt>
                <c:pt idx="1081">
                  <c:v>101.8416</c:v>
                </c:pt>
                <c:pt idx="1082">
                  <c:v>63.261249999999997</c:v>
                </c:pt>
                <c:pt idx="1083">
                  <c:v>67.759500000000003</c:v>
                </c:pt>
                <c:pt idx="1084">
                  <c:v>32.896500000000003</c:v>
                </c:pt>
                <c:pt idx="1085">
                  <c:v>63.526049999999998</c:v>
                </c:pt>
                <c:pt idx="1086">
                  <c:v>124.81574999999999</c:v>
                </c:pt>
                <c:pt idx="1087">
                  <c:v>220.536</c:v>
                </c:pt>
                <c:pt idx="1088">
                  <c:v>98.61</c:v>
                </c:pt>
                <c:pt idx="1089">
                  <c:v>53.731200000000001</c:v>
                </c:pt>
                <c:pt idx="1090">
                  <c:v>57.223999999999997</c:v>
                </c:pt>
                <c:pt idx="1091">
                  <c:v>82.799099999999996</c:v>
                </c:pt>
                <c:pt idx="1092">
                  <c:v>94.836749999999995</c:v>
                </c:pt>
                <c:pt idx="1093">
                  <c:v>58.472499999999997</c:v>
                </c:pt>
                <c:pt idx="1094">
                  <c:v>56.862000000000002</c:v>
                </c:pt>
                <c:pt idx="1095">
                  <c:v>42.550199999999997</c:v>
                </c:pt>
                <c:pt idx="1096">
                  <c:v>85.812200000000004</c:v>
                </c:pt>
                <c:pt idx="1097">
                  <c:v>83.072000000000003</c:v>
                </c:pt>
                <c:pt idx="1098">
                  <c:v>124.446</c:v>
                </c:pt>
                <c:pt idx="1099">
                  <c:v>55.377000000000002</c:v>
                </c:pt>
                <c:pt idx="1100">
                  <c:v>57.046849999999999</c:v>
                </c:pt>
                <c:pt idx="1101">
                  <c:v>67.299599999999998</c:v>
                </c:pt>
                <c:pt idx="1102">
                  <c:v>101.2676</c:v>
                </c:pt>
                <c:pt idx="1103">
                  <c:v>114.5735</c:v>
                </c:pt>
                <c:pt idx="1104">
                  <c:v>71.559799999999996</c:v>
                </c:pt>
                <c:pt idx="1105">
                  <c:v>65.725400000000008</c:v>
                </c:pt>
                <c:pt idx="1106">
                  <c:v>145.77000000000001</c:v>
                </c:pt>
                <c:pt idx="1107">
                  <c:v>58.336849999999998</c:v>
                </c:pt>
                <c:pt idx="1108">
                  <c:v>55.314999999999998</c:v>
                </c:pt>
                <c:pt idx="1109">
                  <c:v>71.783699999999996</c:v>
                </c:pt>
                <c:pt idx="1110">
                  <c:v>50.1858</c:v>
                </c:pt>
                <c:pt idx="1111">
                  <c:v>88.881</c:v>
                </c:pt>
                <c:pt idx="1112">
                  <c:v>107.4494</c:v>
                </c:pt>
                <c:pt idx="1113">
                  <c:v>76.866799999999998</c:v>
                </c:pt>
                <c:pt idx="1114">
                  <c:v>95.897999999999996</c:v>
                </c:pt>
                <c:pt idx="1115">
                  <c:v>79.913600000000002</c:v>
                </c:pt>
                <c:pt idx="1116">
                  <c:v>77.639650000000003</c:v>
                </c:pt>
                <c:pt idx="1117">
                  <c:v>147.65764999999999</c:v>
                </c:pt>
                <c:pt idx="1118">
                  <c:v>95.201999999999998</c:v>
                </c:pt>
                <c:pt idx="1119">
                  <c:v>70.670699999999997</c:v>
                </c:pt>
                <c:pt idx="1120">
                  <c:v>160.56535</c:v>
                </c:pt>
                <c:pt idx="1121">
                  <c:v>273.70794999999998</c:v>
                </c:pt>
                <c:pt idx="1122">
                  <c:v>280.47280000000001</c:v>
                </c:pt>
                <c:pt idx="1123">
                  <c:v>310.67540000000002</c:v>
                </c:pt>
                <c:pt idx="1124">
                  <c:v>224.06800000000001</c:v>
                </c:pt>
                <c:pt idx="1125">
                  <c:v>172.5378</c:v>
                </c:pt>
                <c:pt idx="1126">
                  <c:v>194.4726</c:v>
                </c:pt>
                <c:pt idx="1127">
                  <c:v>80.949799999999996</c:v>
                </c:pt>
                <c:pt idx="1128">
                  <c:v>100.3275</c:v>
                </c:pt>
                <c:pt idx="1129">
                  <c:v>118.55249999999999</c:v>
                </c:pt>
                <c:pt idx="1130">
                  <c:v>124.4751</c:v>
                </c:pt>
                <c:pt idx="1131">
                  <c:v>258.70679999999999</c:v>
                </c:pt>
                <c:pt idx="1132">
                  <c:v>210.0266</c:v>
                </c:pt>
                <c:pt idx="1133">
                  <c:v>179.89619999999999</c:v>
                </c:pt>
                <c:pt idx="1134">
                  <c:v>173.34219999999999</c:v>
                </c:pt>
                <c:pt idx="1135">
                  <c:v>160.6995</c:v>
                </c:pt>
                <c:pt idx="1136">
                  <c:v>136.03700000000001</c:v>
                </c:pt>
                <c:pt idx="1137">
                  <c:v>128.86019999999999</c:v>
                </c:pt>
                <c:pt idx="1138">
                  <c:v>67.024000000000001</c:v>
                </c:pt>
                <c:pt idx="1139">
                  <c:v>81.124449999999996</c:v>
                </c:pt>
                <c:pt idx="1140">
                  <c:v>156.71119999999999</c:v>
                </c:pt>
                <c:pt idx="1141">
                  <c:v>205.44915</c:v>
                </c:pt>
                <c:pt idx="1142">
                  <c:v>121.50449999999999</c:v>
                </c:pt>
                <c:pt idx="1143">
                  <c:v>193.90559999999999</c:v>
                </c:pt>
                <c:pt idx="1144">
                  <c:v>123.4422</c:v>
                </c:pt>
                <c:pt idx="1145">
                  <c:v>168.5796</c:v>
                </c:pt>
                <c:pt idx="1146">
                  <c:v>153.10679999999999</c:v>
                </c:pt>
                <c:pt idx="1147">
                  <c:v>169.95439999999999</c:v>
                </c:pt>
                <c:pt idx="1148">
                  <c:v>180</c:v>
                </c:pt>
                <c:pt idx="1149">
                  <c:v>162.21879999999999</c:v>
                </c:pt>
                <c:pt idx="1150">
                  <c:v>99.327799999999996</c:v>
                </c:pt>
                <c:pt idx="1151">
                  <c:v>117.8408</c:v>
                </c:pt>
                <c:pt idx="1152">
                  <c:v>84.160200000000003</c:v>
                </c:pt>
                <c:pt idx="1153">
                  <c:v>72.0839</c:v>
                </c:pt>
                <c:pt idx="1154">
                  <c:v>108.59259999999999</c:v>
                </c:pt>
                <c:pt idx="1155">
                  <c:v>163.82859999999999</c:v>
                </c:pt>
                <c:pt idx="1156">
                  <c:v>126.29400000000001</c:v>
                </c:pt>
                <c:pt idx="1157">
                  <c:v>68.198400000000007</c:v>
                </c:pt>
                <c:pt idx="1158">
                  <c:v>106.75149999999998</c:v>
                </c:pt>
                <c:pt idx="1159">
                  <c:v>89.008499999999998</c:v>
                </c:pt>
                <c:pt idx="1160">
                  <c:v>91.564199999999985</c:v>
                </c:pt>
                <c:pt idx="1161">
                  <c:v>81.330500000000001</c:v>
                </c:pt>
                <c:pt idx="1162">
                  <c:v>91.47645</c:v>
                </c:pt>
                <c:pt idx="1163">
                  <c:v>155.15880000000001</c:v>
                </c:pt>
                <c:pt idx="1164">
                  <c:v>64.373400000000004</c:v>
                </c:pt>
                <c:pt idx="1165">
                  <c:v>63.97475</c:v>
                </c:pt>
                <c:pt idx="1166">
                  <c:v>83.585499999999996</c:v>
                </c:pt>
                <c:pt idx="1167">
                  <c:v>132.33219999999997</c:v>
                </c:pt>
                <c:pt idx="1168">
                  <c:v>102.729</c:v>
                </c:pt>
                <c:pt idx="1169">
                  <c:v>135.87344999999999</c:v>
                </c:pt>
                <c:pt idx="1170">
                  <c:v>94.626000000000005</c:v>
                </c:pt>
                <c:pt idx="1171">
                  <c:v>41.667299999999997</c:v>
                </c:pt>
                <c:pt idx="1172">
                  <c:v>85.082800000000006</c:v>
                </c:pt>
                <c:pt idx="1173">
                  <c:v>63.448</c:v>
                </c:pt>
                <c:pt idx="1174">
                  <c:v>72.763900000000007</c:v>
                </c:pt>
                <c:pt idx="1175">
                  <c:v>59.270200000000003</c:v>
                </c:pt>
                <c:pt idx="1176">
                  <c:v>35.768549999999998</c:v>
                </c:pt>
                <c:pt idx="1177">
                  <c:v>52.953899999999997</c:v>
                </c:pt>
                <c:pt idx="1178">
                  <c:v>59.756450000000001</c:v>
                </c:pt>
                <c:pt idx="1179">
                  <c:v>44.491199999999999</c:v>
                </c:pt>
                <c:pt idx="1180">
                  <c:v>68.292000000000002</c:v>
                </c:pt>
                <c:pt idx="1181">
                  <c:v>53.010649999999998</c:v>
                </c:pt>
                <c:pt idx="1182">
                  <c:v>82.388999999999996</c:v>
                </c:pt>
                <c:pt idx="1183">
                  <c:v>130.89660000000001</c:v>
                </c:pt>
                <c:pt idx="1184">
                  <c:v>56.979750000000003</c:v>
                </c:pt>
                <c:pt idx="1185">
                  <c:v>70.622100000000003</c:v>
                </c:pt>
                <c:pt idx="1186">
                  <c:v>51.424999999999997</c:v>
                </c:pt>
                <c:pt idx="1187">
                  <c:v>48.652200000000001</c:v>
                </c:pt>
                <c:pt idx="1188">
                  <c:v>63.601999999999997</c:v>
                </c:pt>
                <c:pt idx="1189">
                  <c:v>140.00454999999999</c:v>
                </c:pt>
                <c:pt idx="1190">
                  <c:v>92.464249999999979</c:v>
                </c:pt>
                <c:pt idx="1191">
                  <c:v>25.377600000000001</c:v>
                </c:pt>
                <c:pt idx="1192">
                  <c:v>43.018000000000001</c:v>
                </c:pt>
                <c:pt idx="1193">
                  <c:v>34.374850000000002</c:v>
                </c:pt>
                <c:pt idx="1194">
                  <c:v>52.922249999999998</c:v>
                </c:pt>
                <c:pt idx="1195">
                  <c:v>78.188400000000001</c:v>
                </c:pt>
                <c:pt idx="1196">
                  <c:v>64.511899999999997</c:v>
                </c:pt>
                <c:pt idx="1197">
                  <c:v>57.586500000000001</c:v>
                </c:pt>
                <c:pt idx="1198">
                  <c:v>81.118049999999997</c:v>
                </c:pt>
                <c:pt idx="1199">
                  <c:v>81.055999999999997</c:v>
                </c:pt>
                <c:pt idx="1200">
                  <c:v>29.609349999999996</c:v>
                </c:pt>
                <c:pt idx="1201">
                  <c:v>60.034900000000007</c:v>
                </c:pt>
                <c:pt idx="1202">
                  <c:v>58.533000000000008</c:v>
                </c:pt>
                <c:pt idx="1203">
                  <c:v>72.727199999999996</c:v>
                </c:pt>
                <c:pt idx="1204">
                  <c:v>83.411900000000003</c:v>
                </c:pt>
                <c:pt idx="1205">
                  <c:v>45.226799999999997</c:v>
                </c:pt>
                <c:pt idx="1206">
                  <c:v>47.365650000000002</c:v>
                </c:pt>
                <c:pt idx="1207">
                  <c:v>47.564999999999998</c:v>
                </c:pt>
                <c:pt idx="1208">
                  <c:v>71.334249999999997</c:v>
                </c:pt>
                <c:pt idx="1209">
                  <c:v>70.938000000000002</c:v>
                </c:pt>
                <c:pt idx="1210">
                  <c:v>48.64</c:v>
                </c:pt>
                <c:pt idx="1211">
                  <c:v>88.157700000000006</c:v>
                </c:pt>
                <c:pt idx="1212">
                  <c:v>84.934100000000001</c:v>
                </c:pt>
                <c:pt idx="1213">
                  <c:v>141.875</c:v>
                </c:pt>
                <c:pt idx="1214">
                  <c:v>37.179349999999999</c:v>
                </c:pt>
                <c:pt idx="1215">
                  <c:v>33.271250000000002</c:v>
                </c:pt>
                <c:pt idx="1216">
                  <c:v>32.050800000000002</c:v>
                </c:pt>
                <c:pt idx="1217">
                  <c:v>46.030349999999999</c:v>
                </c:pt>
                <c:pt idx="1218">
                  <c:v>62.858699999999999</c:v>
                </c:pt>
                <c:pt idx="1219">
                  <c:v>49.821300000000001</c:v>
                </c:pt>
                <c:pt idx="1220">
                  <c:v>54.610999999999997</c:v>
                </c:pt>
                <c:pt idx="1221">
                  <c:v>30.327300000000001</c:v>
                </c:pt>
                <c:pt idx="1222">
                  <c:v>42.912399999999998</c:v>
                </c:pt>
                <c:pt idx="1223">
                  <c:v>38.652900000000002</c:v>
                </c:pt>
                <c:pt idx="1224">
                  <c:v>20.703600000000002</c:v>
                </c:pt>
                <c:pt idx="1225">
                  <c:v>41.414999999999999</c:v>
                </c:pt>
                <c:pt idx="1226">
                  <c:v>38.411000000000001</c:v>
                </c:pt>
                <c:pt idx="1227">
                  <c:v>55.422400000000003</c:v>
                </c:pt>
                <c:pt idx="1228">
                  <c:v>48.456400000000002</c:v>
                </c:pt>
                <c:pt idx="1229">
                  <c:v>44.841500000000003</c:v>
                </c:pt>
                <c:pt idx="1230">
                  <c:v>40.273299999999999</c:v>
                </c:pt>
                <c:pt idx="1231">
                  <c:v>34.1111</c:v>
                </c:pt>
                <c:pt idx="1232">
                  <c:v>81.796400000000006</c:v>
                </c:pt>
                <c:pt idx="1233">
                  <c:v>48.001199999999997</c:v>
                </c:pt>
                <c:pt idx="1234">
                  <c:v>60.851700000000001</c:v>
                </c:pt>
                <c:pt idx="1235">
                  <c:v>69.299850000000006</c:v>
                </c:pt>
                <c:pt idx="1236">
                  <c:v>63.560699999999997</c:v>
                </c:pt>
                <c:pt idx="1237">
                  <c:v>43.958150000000003</c:v>
                </c:pt>
                <c:pt idx="1238">
                  <c:v>54.865349999999999</c:v>
                </c:pt>
                <c:pt idx="1239">
                  <c:v>55.854599999999998</c:v>
                </c:pt>
                <c:pt idx="1240">
                  <c:v>93.762100000000004</c:v>
                </c:pt>
                <c:pt idx="1241">
                  <c:v>82.604500000000002</c:v>
                </c:pt>
                <c:pt idx="1242">
                  <c:v>61.975900000000003</c:v>
                </c:pt>
                <c:pt idx="1243">
                  <c:v>39.711849999999998</c:v>
                </c:pt>
                <c:pt idx="1244">
                  <c:v>57.569850000000002</c:v>
                </c:pt>
                <c:pt idx="1245">
                  <c:v>61.503999999999998</c:v>
                </c:pt>
                <c:pt idx="1246">
                  <c:v>67.203500000000005</c:v>
                </c:pt>
                <c:pt idx="1247">
                  <c:v>88.4358</c:v>
                </c:pt>
                <c:pt idx="1248">
                  <c:v>58.460850000000001</c:v>
                </c:pt>
                <c:pt idx="1249">
                  <c:v>72.369799999999998</c:v>
                </c:pt>
                <c:pt idx="1250">
                  <c:v>64.540849999999992</c:v>
                </c:pt>
                <c:pt idx="1251">
                  <c:v>91.7928</c:v>
                </c:pt>
                <c:pt idx="1252">
                  <c:v>94.769099999999995</c:v>
                </c:pt>
                <c:pt idx="1253">
                  <c:v>70.297499999999999</c:v>
                </c:pt>
                <c:pt idx="1254">
                  <c:v>87.0364</c:v>
                </c:pt>
                <c:pt idx="1255">
                  <c:v>96.110749999999996</c:v>
                </c:pt>
                <c:pt idx="1256">
                  <c:v>75.046400000000006</c:v>
                </c:pt>
                <c:pt idx="1257">
                  <c:v>76.039199999999994</c:v>
                </c:pt>
                <c:pt idx="1258">
                  <c:v>89.323499999999996</c:v>
                </c:pt>
                <c:pt idx="1259">
                  <c:v>80.970399999999998</c:v>
                </c:pt>
                <c:pt idx="1260">
                  <c:v>141.22710000000001</c:v>
                </c:pt>
                <c:pt idx="1261">
                  <c:v>103.68300000000001</c:v>
                </c:pt>
                <c:pt idx="1262">
                  <c:v>109.0887</c:v>
                </c:pt>
                <c:pt idx="1263">
                  <c:v>97.908900000000003</c:v>
                </c:pt>
                <c:pt idx="1264">
                  <c:v>182.34649999999999</c:v>
                </c:pt>
                <c:pt idx="1265">
                  <c:v>126.651</c:v>
                </c:pt>
                <c:pt idx="1266">
                  <c:v>129.03299999999999</c:v>
                </c:pt>
                <c:pt idx="1267">
                  <c:v>82.161950000000004</c:v>
                </c:pt>
                <c:pt idx="1268">
                  <c:v>125.76600000000001</c:v>
                </c:pt>
                <c:pt idx="1269">
                  <c:v>118.33335</c:v>
                </c:pt>
                <c:pt idx="1270">
                  <c:v>100.672</c:v>
                </c:pt>
                <c:pt idx="1271">
                  <c:v>95.863600000000005</c:v>
                </c:pt>
                <c:pt idx="1272">
                  <c:v>101.9</c:v>
                </c:pt>
                <c:pt idx="1273">
                  <c:v>102.68395</c:v>
                </c:pt>
                <c:pt idx="1274">
                  <c:v>149.3982</c:v>
                </c:pt>
                <c:pt idx="1275">
                  <c:v>106.3083</c:v>
                </c:pt>
                <c:pt idx="1276">
                  <c:v>75.8352</c:v>
                </c:pt>
                <c:pt idx="1277">
                  <c:v>79.329599999999999</c:v>
                </c:pt>
                <c:pt idx="1278">
                  <c:v>114.25305</c:v>
                </c:pt>
                <c:pt idx="1279">
                  <c:v>177.57495</c:v>
                </c:pt>
                <c:pt idx="1280">
                  <c:v>109.7418</c:v>
                </c:pt>
                <c:pt idx="1281">
                  <c:v>124.545</c:v>
                </c:pt>
                <c:pt idx="1282">
                  <c:v>137.39580000000001</c:v>
                </c:pt>
                <c:pt idx="1283">
                  <c:v>139.63634999999999</c:v>
                </c:pt>
                <c:pt idx="1284">
                  <c:v>151.0685</c:v>
                </c:pt>
                <c:pt idx="1285">
                  <c:v>119.19240000000002</c:v>
                </c:pt>
                <c:pt idx="1286">
                  <c:v>150.95429999999999</c:v>
                </c:pt>
                <c:pt idx="1287">
                  <c:v>155.47454999999999</c:v>
                </c:pt>
                <c:pt idx="1288">
                  <c:v>150.7602</c:v>
                </c:pt>
                <c:pt idx="1289">
                  <c:v>145.54335</c:v>
                </c:pt>
                <c:pt idx="1290">
                  <c:v>175.0247</c:v>
                </c:pt>
                <c:pt idx="1291">
                  <c:v>105.97565</c:v>
                </c:pt>
                <c:pt idx="1292">
                  <c:v>157.47999999999999</c:v>
                </c:pt>
                <c:pt idx="1293">
                  <c:v>111.1006</c:v>
                </c:pt>
                <c:pt idx="1294">
                  <c:v>157.76724999999999</c:v>
                </c:pt>
                <c:pt idx="1295">
                  <c:v>115.2855</c:v>
                </c:pt>
                <c:pt idx="1296">
                  <c:v>93.542400000000001</c:v>
                </c:pt>
                <c:pt idx="1297">
                  <c:v>94.502200000000002</c:v>
                </c:pt>
                <c:pt idx="1298">
                  <c:v>151.9744</c:v>
                </c:pt>
                <c:pt idx="1299">
                  <c:v>144.41624999999999</c:v>
                </c:pt>
                <c:pt idx="1300">
                  <c:v>98.188249999999996</c:v>
                </c:pt>
                <c:pt idx="1301">
                  <c:v>114.807</c:v>
                </c:pt>
                <c:pt idx="1302">
                  <c:v>103.88</c:v>
                </c:pt>
                <c:pt idx="1303">
                  <c:v>141.61455000000001</c:v>
                </c:pt>
                <c:pt idx="1304">
                  <c:v>81.2196</c:v>
                </c:pt>
                <c:pt idx="1305">
                  <c:v>91.096199999999996</c:v>
                </c:pt>
                <c:pt idx="1306">
                  <c:v>131.767</c:v>
                </c:pt>
                <c:pt idx="1307">
                  <c:v>83.903999999999996</c:v>
                </c:pt>
                <c:pt idx="1308">
                  <c:v>129.92740000000001</c:v>
                </c:pt>
                <c:pt idx="1309">
                  <c:v>144.24709999999999</c:v>
                </c:pt>
                <c:pt idx="1310">
                  <c:v>130.02549999999999</c:v>
                </c:pt>
                <c:pt idx="1311">
                  <c:v>112.19670000000001</c:v>
                </c:pt>
                <c:pt idx="1312">
                  <c:v>127.44430000000001</c:v>
                </c:pt>
                <c:pt idx="1313">
                  <c:v>123.6108</c:v>
                </c:pt>
                <c:pt idx="1314">
                  <c:v>119.226</c:v>
                </c:pt>
                <c:pt idx="1315">
                  <c:v>71.650000000000006</c:v>
                </c:pt>
                <c:pt idx="1316">
                  <c:v>81.353250000000003</c:v>
                </c:pt>
                <c:pt idx="1317">
                  <c:v>152.24340000000001</c:v>
                </c:pt>
                <c:pt idx="1318">
                  <c:v>178.70400000000001</c:v>
                </c:pt>
                <c:pt idx="1319">
                  <c:v>211.98224999999999</c:v>
                </c:pt>
                <c:pt idx="1320">
                  <c:v>222.57775000000001</c:v>
                </c:pt>
                <c:pt idx="1321">
                  <c:v>193.82</c:v>
                </c:pt>
                <c:pt idx="1322">
                  <c:v>215.72280000000001</c:v>
                </c:pt>
                <c:pt idx="1323">
                  <c:v>202.68535</c:v>
                </c:pt>
                <c:pt idx="1324">
                  <c:v>131.35560000000001</c:v>
                </c:pt>
                <c:pt idx="1325">
                  <c:v>157.0445</c:v>
                </c:pt>
                <c:pt idx="1326">
                  <c:v>119.77679999999999</c:v>
                </c:pt>
                <c:pt idx="1327">
                  <c:v>119.6692</c:v>
                </c:pt>
                <c:pt idx="1328">
                  <c:v>161.11920000000001</c:v>
                </c:pt>
                <c:pt idx="1329">
                  <c:v>196.05699999999999</c:v>
                </c:pt>
                <c:pt idx="1330">
                  <c:v>210.9</c:v>
                </c:pt>
                <c:pt idx="1331">
                  <c:v>184.06299999999999</c:v>
                </c:pt>
                <c:pt idx="1332">
                  <c:v>154.86765</c:v>
                </c:pt>
                <c:pt idx="1333">
                  <c:v>235.4974</c:v>
                </c:pt>
                <c:pt idx="1334">
                  <c:v>139.59360000000001</c:v>
                </c:pt>
                <c:pt idx="1335">
                  <c:v>178.09639999999999</c:v>
                </c:pt>
                <c:pt idx="1336">
                  <c:v>182.87684999999999</c:v>
                </c:pt>
                <c:pt idx="1337">
                  <c:v>224.37299999999999</c:v>
                </c:pt>
                <c:pt idx="1338">
                  <c:v>207.06475</c:v>
                </c:pt>
                <c:pt idx="1339">
                  <c:v>120.80745</c:v>
                </c:pt>
                <c:pt idx="1340">
                  <c:v>133.464</c:v>
                </c:pt>
                <c:pt idx="1341">
                  <c:v>124.48215</c:v>
                </c:pt>
                <c:pt idx="1342">
                  <c:v>180.04480000000001</c:v>
                </c:pt>
                <c:pt idx="1343">
                  <c:v>225.44890000000001</c:v>
                </c:pt>
                <c:pt idx="1344">
                  <c:v>197.00624999999999</c:v>
                </c:pt>
                <c:pt idx="1345">
                  <c:v>160.54785000000001</c:v>
                </c:pt>
                <c:pt idx="1346">
                  <c:v>175.81145000000001</c:v>
                </c:pt>
                <c:pt idx="1347">
                  <c:v>160.5282</c:v>
                </c:pt>
                <c:pt idx="1348">
                  <c:v>164.31205</c:v>
                </c:pt>
                <c:pt idx="1349">
                  <c:v>126.7392</c:v>
                </c:pt>
                <c:pt idx="1350">
                  <c:v>210.66704999999999</c:v>
                </c:pt>
                <c:pt idx="1351">
                  <c:v>92.591200000000001</c:v>
                </c:pt>
                <c:pt idx="1352">
                  <c:v>165.04679999999999</c:v>
                </c:pt>
                <c:pt idx="1353">
                  <c:v>109.0206</c:v>
                </c:pt>
                <c:pt idx="1354">
                  <c:v>140.29050000000001</c:v>
                </c:pt>
                <c:pt idx="1355">
                  <c:v>169.75970000000001</c:v>
                </c:pt>
                <c:pt idx="1356">
                  <c:v>142.42949999999999</c:v>
                </c:pt>
                <c:pt idx="1357">
                  <c:v>223.34399999999999</c:v>
                </c:pt>
                <c:pt idx="1358">
                  <c:v>117.789</c:v>
                </c:pt>
                <c:pt idx="1359">
                  <c:v>85.737499999999997</c:v>
                </c:pt>
                <c:pt idx="1360">
                  <c:v>161.84164999999999</c:v>
                </c:pt>
                <c:pt idx="1361">
                  <c:v>111.99525</c:v>
                </c:pt>
                <c:pt idx="1362">
                  <c:v>94.438000000000002</c:v>
                </c:pt>
                <c:pt idx="1363">
                  <c:v>144.73830000000001</c:v>
                </c:pt>
                <c:pt idx="1364">
                  <c:v>203.24520000000001</c:v>
                </c:pt>
                <c:pt idx="1365">
                  <c:v>175.547</c:v>
                </c:pt>
                <c:pt idx="1366">
                  <c:v>146.37219999999999</c:v>
                </c:pt>
                <c:pt idx="1367">
                  <c:v>163.62540000000001</c:v>
                </c:pt>
                <c:pt idx="1368">
                  <c:v>167.602</c:v>
                </c:pt>
                <c:pt idx="1369">
                  <c:v>117.096</c:v>
                </c:pt>
                <c:pt idx="1370">
                  <c:v>110.08799999999999</c:v>
                </c:pt>
                <c:pt idx="1371">
                  <c:v>131.60159999999999</c:v>
                </c:pt>
                <c:pt idx="1372">
                  <c:v>162.24459999999999</c:v>
                </c:pt>
                <c:pt idx="1373">
                  <c:v>137.05430000000001</c:v>
                </c:pt>
                <c:pt idx="1374">
                  <c:v>203.46010000000001</c:v>
                </c:pt>
                <c:pt idx="1375">
                  <c:v>146.464</c:v>
                </c:pt>
                <c:pt idx="1376">
                  <c:v>129.08250000000001</c:v>
                </c:pt>
                <c:pt idx="1377">
                  <c:v>105.62609999999999</c:v>
                </c:pt>
                <c:pt idx="1378">
                  <c:v>75.730850000000004</c:v>
                </c:pt>
                <c:pt idx="1379">
                  <c:v>84.853999999999999</c:v>
                </c:pt>
                <c:pt idx="1380">
                  <c:v>131.01750000000001</c:v>
                </c:pt>
                <c:pt idx="1381">
                  <c:v>192.35249999999999</c:v>
                </c:pt>
                <c:pt idx="1382">
                  <c:v>154.48175000000001</c:v>
                </c:pt>
                <c:pt idx="1383">
                  <c:v>120.85115</c:v>
                </c:pt>
                <c:pt idx="1384">
                  <c:v>85.269599999999997</c:v>
                </c:pt>
                <c:pt idx="1385">
                  <c:v>119.8092</c:v>
                </c:pt>
                <c:pt idx="1386">
                  <c:v>155.3664</c:v>
                </c:pt>
                <c:pt idx="1387">
                  <c:v>150.78149999999999</c:v>
                </c:pt>
                <c:pt idx="1388">
                  <c:v>105.93600000000001</c:v>
                </c:pt>
                <c:pt idx="1389">
                  <c:v>122.61284999999999</c:v>
                </c:pt>
                <c:pt idx="1390">
                  <c:v>127.6093</c:v>
                </c:pt>
                <c:pt idx="1391">
                  <c:v>131.18279999999999</c:v>
                </c:pt>
                <c:pt idx="1392">
                  <c:v>157.08185</c:v>
                </c:pt>
                <c:pt idx="1393">
                  <c:v>118.881</c:v>
                </c:pt>
                <c:pt idx="1394">
                  <c:v>149.06594999999999</c:v>
                </c:pt>
                <c:pt idx="1395">
                  <c:v>136.12200000000001</c:v>
                </c:pt>
                <c:pt idx="1396">
                  <c:v>184.00684999999999</c:v>
                </c:pt>
                <c:pt idx="1397">
                  <c:v>182.08250000000001</c:v>
                </c:pt>
                <c:pt idx="1398">
                  <c:v>204.9836</c:v>
                </c:pt>
                <c:pt idx="1399">
                  <c:v>230.45625000000001</c:v>
                </c:pt>
                <c:pt idx="1400">
                  <c:v>268.03559999999999</c:v>
                </c:pt>
                <c:pt idx="1401">
                  <c:v>254.13120000000001</c:v>
                </c:pt>
                <c:pt idx="1402">
                  <c:v>275.39999999999998</c:v>
                </c:pt>
                <c:pt idx="1403">
                  <c:v>186.5438</c:v>
                </c:pt>
                <c:pt idx="1404">
                  <c:v>147.13184999999999</c:v>
                </c:pt>
                <c:pt idx="1405">
                  <c:v>175.30240000000001</c:v>
                </c:pt>
                <c:pt idx="1406">
                  <c:v>153.2388</c:v>
                </c:pt>
                <c:pt idx="1407">
                  <c:v>125.80475</c:v>
                </c:pt>
                <c:pt idx="1408">
                  <c:v>141.17400000000001</c:v>
                </c:pt>
                <c:pt idx="1409">
                  <c:v>184.22409999999999</c:v>
                </c:pt>
                <c:pt idx="1410">
                  <c:v>177.32714999999999</c:v>
                </c:pt>
                <c:pt idx="1411">
                  <c:v>158.48849999999999</c:v>
                </c:pt>
                <c:pt idx="1412">
                  <c:v>177.65</c:v>
                </c:pt>
                <c:pt idx="1413">
                  <c:v>171.28274999999999</c:v>
                </c:pt>
                <c:pt idx="1414">
                  <c:v>132.58349999999999</c:v>
                </c:pt>
                <c:pt idx="1415">
                  <c:v>165.68100000000001</c:v>
                </c:pt>
                <c:pt idx="1416">
                  <c:v>132.74</c:v>
                </c:pt>
                <c:pt idx="1417">
                  <c:v>176.32755</c:v>
                </c:pt>
                <c:pt idx="1418">
                  <c:v>118.94120000000001</c:v>
                </c:pt>
                <c:pt idx="1419">
                  <c:v>163.39635000000001</c:v>
                </c:pt>
                <c:pt idx="1420">
                  <c:v>194.94239999999999</c:v>
                </c:pt>
                <c:pt idx="1421">
                  <c:v>183.85919999999999</c:v>
                </c:pt>
                <c:pt idx="1422">
                  <c:v>192.696</c:v>
                </c:pt>
                <c:pt idx="1423">
                  <c:v>116.65649999999999</c:v>
                </c:pt>
                <c:pt idx="1424">
                  <c:v>92.144800000000004</c:v>
                </c:pt>
                <c:pt idx="1425">
                  <c:v>120.1396</c:v>
                </c:pt>
                <c:pt idx="1426">
                  <c:v>117.2004</c:v>
                </c:pt>
                <c:pt idx="1427">
                  <c:v>199.74299999999999</c:v>
                </c:pt>
                <c:pt idx="1428">
                  <c:v>147.48734999999999</c:v>
                </c:pt>
                <c:pt idx="1429">
                  <c:v>217.38570000000001</c:v>
                </c:pt>
                <c:pt idx="1430">
                  <c:v>147.05529999999999</c:v>
                </c:pt>
                <c:pt idx="1431">
                  <c:v>165.29810000000001</c:v>
                </c:pt>
                <c:pt idx="1432">
                  <c:v>101.37269999999999</c:v>
                </c:pt>
                <c:pt idx="1433">
                  <c:v>245.39</c:v>
                </c:pt>
                <c:pt idx="1434">
                  <c:v>235.66</c:v>
                </c:pt>
                <c:pt idx="1435">
                  <c:v>220.43430000000001</c:v>
                </c:pt>
                <c:pt idx="1436">
                  <c:v>133.20009999999999</c:v>
                </c:pt>
                <c:pt idx="1437">
                  <c:v>187.13305</c:v>
                </c:pt>
                <c:pt idx="1438">
                  <c:v>258.64335</c:v>
                </c:pt>
                <c:pt idx="1439">
                  <c:v>204.13980000000001</c:v>
                </c:pt>
                <c:pt idx="1440">
                  <c:v>173.56370000000001</c:v>
                </c:pt>
                <c:pt idx="1441">
                  <c:v>137.7585</c:v>
                </c:pt>
                <c:pt idx="1442">
                  <c:v>186.0102</c:v>
                </c:pt>
                <c:pt idx="1443">
                  <c:v>319.70625000000001</c:v>
                </c:pt>
                <c:pt idx="1444">
                  <c:v>231.58345000000003</c:v>
                </c:pt>
                <c:pt idx="1445">
                  <c:v>176.93520000000001</c:v>
                </c:pt>
                <c:pt idx="1446">
                  <c:v>137.03545</c:v>
                </c:pt>
                <c:pt idx="1447">
                  <c:v>142.93645000000001</c:v>
                </c:pt>
                <c:pt idx="1448">
                  <c:v>109.15254999999999</c:v>
                </c:pt>
                <c:pt idx="1449">
                  <c:v>86.622900000000001</c:v>
                </c:pt>
                <c:pt idx="1450">
                  <c:v>140.47319999999999</c:v>
                </c:pt>
                <c:pt idx="1451">
                  <c:v>105.46305000000001</c:v>
                </c:pt>
                <c:pt idx="1452">
                  <c:v>205.60735</c:v>
                </c:pt>
                <c:pt idx="1453">
                  <c:v>110.4768</c:v>
                </c:pt>
                <c:pt idx="1454">
                  <c:v>146.71860000000001</c:v>
                </c:pt>
                <c:pt idx="1455">
                  <c:v>170.1883</c:v>
                </c:pt>
                <c:pt idx="1456">
                  <c:v>119.57640000000002</c:v>
                </c:pt>
                <c:pt idx="1457">
                  <c:v>175.36750000000001</c:v>
                </c:pt>
                <c:pt idx="1458">
                  <c:v>140.77125000000001</c:v>
                </c:pt>
                <c:pt idx="1459">
                  <c:v>157.13570000000001</c:v>
                </c:pt>
                <c:pt idx="1460">
                  <c:v>108.90179999999998</c:v>
                </c:pt>
                <c:pt idx="1461">
                  <c:v>208.53909999999999</c:v>
                </c:pt>
                <c:pt idx="1462">
                  <c:v>170.81819999999999</c:v>
                </c:pt>
                <c:pt idx="1463">
                  <c:v>130.27199999999999</c:v>
                </c:pt>
                <c:pt idx="1464">
                  <c:v>115.3852</c:v>
                </c:pt>
                <c:pt idx="1465">
                  <c:v>160.64234999999999</c:v>
                </c:pt>
                <c:pt idx="1466">
                  <c:v>187.1036</c:v>
                </c:pt>
                <c:pt idx="1467">
                  <c:v>217.65800000000004</c:v>
                </c:pt>
                <c:pt idx="1468">
                  <c:v>175.2696</c:v>
                </c:pt>
                <c:pt idx="1469">
                  <c:v>220.44239999999996</c:v>
                </c:pt>
                <c:pt idx="1470">
                  <c:v>78.193200000000004</c:v>
                </c:pt>
                <c:pt idx="1471">
                  <c:v>115.4816</c:v>
                </c:pt>
                <c:pt idx="1472">
                  <c:v>216.86949999999999</c:v>
                </c:pt>
                <c:pt idx="1473">
                  <c:v>239.69</c:v>
                </c:pt>
                <c:pt idx="1474">
                  <c:v>369.9948</c:v>
                </c:pt>
                <c:pt idx="1475">
                  <c:v>280.3372</c:v>
                </c:pt>
                <c:pt idx="1476">
                  <c:v>171.6112</c:v>
                </c:pt>
                <c:pt idx="1477">
                  <c:v>177.3</c:v>
                </c:pt>
                <c:pt idx="1478">
                  <c:v>164.16159999999999</c:v>
                </c:pt>
                <c:pt idx="1479">
                  <c:v>244.80170000000001</c:v>
                </c:pt>
                <c:pt idx="1480">
                  <c:v>242.50680000000003</c:v>
                </c:pt>
                <c:pt idx="1481">
                  <c:v>172.7208</c:v>
                </c:pt>
                <c:pt idx="1482">
                  <c:v>115.53590000000001</c:v>
                </c:pt>
                <c:pt idx="1483">
                  <c:v>128.3664</c:v>
                </c:pt>
                <c:pt idx="1484">
                  <c:v>96.616799999999998</c:v>
                </c:pt>
                <c:pt idx="1485">
                  <c:v>123.72409999999998</c:v>
                </c:pt>
                <c:pt idx="1486">
                  <c:v>137.99345</c:v>
                </c:pt>
                <c:pt idx="1487">
                  <c:v>185.31870000000001</c:v>
                </c:pt>
                <c:pt idx="1488">
                  <c:v>212.75820000000002</c:v>
                </c:pt>
                <c:pt idx="1489">
                  <c:v>235.87620000000001</c:v>
                </c:pt>
                <c:pt idx="1490">
                  <c:v>203.18869999999998</c:v>
                </c:pt>
                <c:pt idx="1491">
                  <c:v>136.5</c:v>
                </c:pt>
                <c:pt idx="1492">
                  <c:v>102.31259999999999</c:v>
                </c:pt>
                <c:pt idx="1493">
                  <c:v>150.3501</c:v>
                </c:pt>
                <c:pt idx="1494">
                  <c:v>170.96834999999999</c:v>
                </c:pt>
                <c:pt idx="1495">
                  <c:v>143.071</c:v>
                </c:pt>
                <c:pt idx="1496">
                  <c:v>210.37995000000001</c:v>
                </c:pt>
                <c:pt idx="1497">
                  <c:v>149.16059999999999</c:v>
                </c:pt>
                <c:pt idx="1498">
                  <c:v>141.95160000000001</c:v>
                </c:pt>
                <c:pt idx="1499">
                  <c:v>171.62530000000001</c:v>
                </c:pt>
                <c:pt idx="1500">
                  <c:v>175.69499999999999</c:v>
                </c:pt>
                <c:pt idx="1501">
                  <c:v>97.732550000000018</c:v>
                </c:pt>
                <c:pt idx="1502">
                  <c:v>90.134100000000018</c:v>
                </c:pt>
                <c:pt idx="1503">
                  <c:v>126.973</c:v>
                </c:pt>
                <c:pt idx="1504">
                  <c:v>146.86869999999999</c:v>
                </c:pt>
                <c:pt idx="1505">
                  <c:v>125.72669999999999</c:v>
                </c:pt>
                <c:pt idx="1506">
                  <c:v>95.606100000000012</c:v>
                </c:pt>
                <c:pt idx="1507">
                  <c:v>158.97929999999999</c:v>
                </c:pt>
                <c:pt idx="1508">
                  <c:v>212.83149999999998</c:v>
                </c:pt>
                <c:pt idx="1509">
                  <c:v>220.24629999999999</c:v>
                </c:pt>
                <c:pt idx="1510">
                  <c:v>151.096</c:v>
                </c:pt>
                <c:pt idx="1511">
                  <c:v>333.54689999999999</c:v>
                </c:pt>
                <c:pt idx="1512">
                  <c:v>351.14429999999999</c:v>
                </c:pt>
                <c:pt idx="1513">
                  <c:v>184.71420000000003</c:v>
                </c:pt>
                <c:pt idx="1514">
                  <c:v>209.5975</c:v>
                </c:pt>
                <c:pt idx="1515">
                  <c:v>188.91840000000002</c:v>
                </c:pt>
                <c:pt idx="1516">
                  <c:v>179.41320000000002</c:v>
                </c:pt>
                <c:pt idx="1517">
                  <c:v>124.90789999999998</c:v>
                </c:pt>
                <c:pt idx="1518">
                  <c:v>146.51075</c:v>
                </c:pt>
                <c:pt idx="1519">
                  <c:v>76.920199999999994</c:v>
                </c:pt>
                <c:pt idx="1520">
                  <c:v>156.02715000000001</c:v>
                </c:pt>
                <c:pt idx="1521">
                  <c:v>184.30319999999998</c:v>
                </c:pt>
                <c:pt idx="1522">
                  <c:v>150.34020000000001</c:v>
                </c:pt>
                <c:pt idx="1523">
                  <c:v>122.27560000000001</c:v>
                </c:pt>
                <c:pt idx="1524">
                  <c:v>185.47585000000001</c:v>
                </c:pt>
                <c:pt idx="1525">
                  <c:v>122.59510000000002</c:v>
                </c:pt>
                <c:pt idx="1526">
                  <c:v>126.92114999999998</c:v>
                </c:pt>
                <c:pt idx="1527">
                  <c:v>217.81864999999996</c:v>
                </c:pt>
                <c:pt idx="1528">
                  <c:v>141.85499999999999</c:v>
                </c:pt>
                <c:pt idx="1529">
                  <c:v>270.08030000000002</c:v>
                </c:pt>
                <c:pt idx="1530">
                  <c:v>137.72295</c:v>
                </c:pt>
                <c:pt idx="1531">
                  <c:v>220.63995000000003</c:v>
                </c:pt>
                <c:pt idx="1532">
                  <c:v>168.46350000000001</c:v>
                </c:pt>
                <c:pt idx="1533">
                  <c:v>145.49299999999999</c:v>
                </c:pt>
                <c:pt idx="1534">
                  <c:v>97.801950000000019</c:v>
                </c:pt>
                <c:pt idx="1535">
                  <c:v>113.7675</c:v>
                </c:pt>
                <c:pt idx="1536">
                  <c:v>129.1395</c:v>
                </c:pt>
                <c:pt idx="1537">
                  <c:v>211.1465</c:v>
                </c:pt>
                <c:pt idx="1538">
                  <c:v>181.74600000000001</c:v>
                </c:pt>
                <c:pt idx="1539">
                  <c:v>166.13475</c:v>
                </c:pt>
                <c:pt idx="1540">
                  <c:v>153.70320000000001</c:v>
                </c:pt>
                <c:pt idx="1541">
                  <c:v>149.73220000000001</c:v>
                </c:pt>
                <c:pt idx="1542">
                  <c:v>165.46199999999999</c:v>
                </c:pt>
                <c:pt idx="1543">
                  <c:v>146.3903</c:v>
                </c:pt>
                <c:pt idx="1544">
                  <c:v>108.8339</c:v>
                </c:pt>
                <c:pt idx="1545">
                  <c:v>352.56599999999997</c:v>
                </c:pt>
                <c:pt idx="1546">
                  <c:v>295.42599999999999</c:v>
                </c:pt>
                <c:pt idx="1547">
                  <c:v>400.78500000000003</c:v>
                </c:pt>
                <c:pt idx="1548">
                  <c:v>289.86475000000002</c:v>
                </c:pt>
                <c:pt idx="1549">
                  <c:v>225.14590000000004</c:v>
                </c:pt>
                <c:pt idx="1550">
                  <c:v>216.38749999999999</c:v>
                </c:pt>
                <c:pt idx="1551">
                  <c:v>183.5736</c:v>
                </c:pt>
                <c:pt idx="1552">
                  <c:v>139.64474999999999</c:v>
                </c:pt>
                <c:pt idx="1553">
                  <c:v>114.492</c:v>
                </c:pt>
                <c:pt idx="1554">
                  <c:v>139.04085000000001</c:v>
                </c:pt>
                <c:pt idx="1555">
                  <c:v>173.2285</c:v>
                </c:pt>
                <c:pt idx="1556">
                  <c:v>147.26599999999999</c:v>
                </c:pt>
                <c:pt idx="1557">
                  <c:v>148.47040000000001</c:v>
                </c:pt>
                <c:pt idx="1558">
                  <c:v>103.96879999999999</c:v>
                </c:pt>
                <c:pt idx="1559">
                  <c:v>138.34280000000001</c:v>
                </c:pt>
                <c:pt idx="1560">
                  <c:v>155.82599999999999</c:v>
                </c:pt>
                <c:pt idx="1561">
                  <c:v>131.36170000000001</c:v>
                </c:pt>
                <c:pt idx="1562">
                  <c:v>131.15584999999999</c:v>
                </c:pt>
                <c:pt idx="1563">
                  <c:v>128.32175000000001</c:v>
                </c:pt>
                <c:pt idx="1564">
                  <c:v>277.92239999999998</c:v>
                </c:pt>
                <c:pt idx="1565">
                  <c:v>151.56575000000001</c:v>
                </c:pt>
                <c:pt idx="1566">
                  <c:v>128.68799999999999</c:v>
                </c:pt>
                <c:pt idx="1567">
                  <c:v>151.49834999999999</c:v>
                </c:pt>
                <c:pt idx="1568">
                  <c:v>138.54929999999999</c:v>
                </c:pt>
                <c:pt idx="1569">
                  <c:v>145.11600000000001</c:v>
                </c:pt>
                <c:pt idx="1570">
                  <c:v>114.29440000000001</c:v>
                </c:pt>
                <c:pt idx="1571">
                  <c:v>114.41840000000001</c:v>
                </c:pt>
                <c:pt idx="1572">
                  <c:v>194.7175</c:v>
                </c:pt>
                <c:pt idx="1573">
                  <c:v>216.46799999999999</c:v>
                </c:pt>
                <c:pt idx="1574">
                  <c:v>109.0283</c:v>
                </c:pt>
                <c:pt idx="1575">
                  <c:v>232.21065000000004</c:v>
                </c:pt>
                <c:pt idx="1576">
                  <c:v>195.10579999999999</c:v>
                </c:pt>
                <c:pt idx="1577">
                  <c:v>215.57445000000004</c:v>
                </c:pt>
                <c:pt idx="1578">
                  <c:v>182.78434999999999</c:v>
                </c:pt>
                <c:pt idx="1579">
                  <c:v>282.47989999999999</c:v>
                </c:pt>
                <c:pt idx="1580">
                  <c:v>163.70480000000001</c:v>
                </c:pt>
                <c:pt idx="1581">
                  <c:v>242.04374999999999</c:v>
                </c:pt>
                <c:pt idx="1582">
                  <c:v>309.82209999999998</c:v>
                </c:pt>
                <c:pt idx="1583">
                  <c:v>188.1242</c:v>
                </c:pt>
                <c:pt idx="1584">
                  <c:v>142.75470000000001</c:v>
                </c:pt>
                <c:pt idx="1585">
                  <c:v>263.38125000000002</c:v>
                </c:pt>
                <c:pt idx="1586">
                  <c:v>290.44349999999997</c:v>
                </c:pt>
                <c:pt idx="1587">
                  <c:v>304.16645</c:v>
                </c:pt>
                <c:pt idx="1588">
                  <c:v>217.77435000000003</c:v>
                </c:pt>
                <c:pt idx="1589">
                  <c:v>149.60679999999999</c:v>
                </c:pt>
                <c:pt idx="1590">
                  <c:v>130.10525000000001</c:v>
                </c:pt>
                <c:pt idx="1591">
                  <c:v>248.61734999999999</c:v>
                </c:pt>
                <c:pt idx="1592">
                  <c:v>415.65</c:v>
                </c:pt>
                <c:pt idx="1593">
                  <c:v>419.49900000000002</c:v>
                </c:pt>
                <c:pt idx="1594">
                  <c:v>386.29500000000002</c:v>
                </c:pt>
                <c:pt idx="1595">
                  <c:v>243.02760000000004</c:v>
                </c:pt>
                <c:pt idx="1596">
                  <c:v>231.71199999999999</c:v>
                </c:pt>
                <c:pt idx="1597">
                  <c:v>186.8844</c:v>
                </c:pt>
                <c:pt idx="1598">
                  <c:v>258.81130000000002</c:v>
                </c:pt>
                <c:pt idx="1599">
                  <c:v>190.56</c:v>
                </c:pt>
                <c:pt idx="1600">
                  <c:v>115.25340000000001</c:v>
                </c:pt>
                <c:pt idx="1601">
                  <c:v>124.98675</c:v>
                </c:pt>
                <c:pt idx="1602">
                  <c:v>187.98425</c:v>
                </c:pt>
                <c:pt idx="1603">
                  <c:v>269.97190000000001</c:v>
                </c:pt>
                <c:pt idx="1604">
                  <c:v>170.14060000000001</c:v>
                </c:pt>
                <c:pt idx="1605">
                  <c:v>145.21780000000001</c:v>
                </c:pt>
                <c:pt idx="1606">
                  <c:v>158.30760000000001</c:v>
                </c:pt>
                <c:pt idx="1607">
                  <c:v>122.25074999999998</c:v>
                </c:pt>
                <c:pt idx="1608">
                  <c:v>104.2734</c:v>
                </c:pt>
                <c:pt idx="1609">
                  <c:v>217.04759999999996</c:v>
                </c:pt>
                <c:pt idx="1610">
                  <c:v>148.8177</c:v>
                </c:pt>
                <c:pt idx="1611">
                  <c:v>117.61279999999998</c:v>
                </c:pt>
                <c:pt idx="1612">
                  <c:v>221.42724999999999</c:v>
                </c:pt>
                <c:pt idx="1613">
                  <c:v>133.18199999999999</c:v>
                </c:pt>
                <c:pt idx="1614">
                  <c:v>156.6429</c:v>
                </c:pt>
                <c:pt idx="1615">
                  <c:v>171.85329999999999</c:v>
                </c:pt>
                <c:pt idx="1616">
                  <c:v>214.48279999999997</c:v>
                </c:pt>
                <c:pt idx="1617">
                  <c:v>145.92160000000001</c:v>
                </c:pt>
                <c:pt idx="1618">
                  <c:v>130.46880000000002</c:v>
                </c:pt>
                <c:pt idx="1619">
                  <c:v>115.20489999999999</c:v>
                </c:pt>
                <c:pt idx="1620">
                  <c:v>188.94810000000001</c:v>
                </c:pt>
                <c:pt idx="1621">
                  <c:v>224.364</c:v>
                </c:pt>
                <c:pt idx="1622">
                  <c:v>168.6465</c:v>
                </c:pt>
                <c:pt idx="1623">
                  <c:v>138.89230000000001</c:v>
                </c:pt>
                <c:pt idx="1624">
                  <c:v>183.21659999999997</c:v>
                </c:pt>
                <c:pt idx="1625">
                  <c:v>184.06575000000001</c:v>
                </c:pt>
                <c:pt idx="1626">
                  <c:v>180.64120000000003</c:v>
                </c:pt>
                <c:pt idx="1627">
                  <c:v>145.76935</c:v>
                </c:pt>
                <c:pt idx="1628">
                  <c:v>178.52575000000002</c:v>
                </c:pt>
                <c:pt idx="1629">
                  <c:v>155.51599999999999</c:v>
                </c:pt>
                <c:pt idx="1630">
                  <c:v>163.43440000000001</c:v>
                </c:pt>
                <c:pt idx="1631">
                  <c:v>276.46080000000001</c:v>
                </c:pt>
                <c:pt idx="1632">
                  <c:v>235.67400000000001</c:v>
                </c:pt>
                <c:pt idx="1633">
                  <c:v>160.36019999999999</c:v>
                </c:pt>
                <c:pt idx="1634">
                  <c:v>196.10374999999999</c:v>
                </c:pt>
                <c:pt idx="1635">
                  <c:v>382.15800000000002</c:v>
                </c:pt>
                <c:pt idx="1636">
                  <c:v>206.13685000000001</c:v>
                </c:pt>
                <c:pt idx="1637">
                  <c:v>119.88850000000002</c:v>
                </c:pt>
                <c:pt idx="1638">
                  <c:v>250.0479</c:v>
                </c:pt>
                <c:pt idx="1639">
                  <c:v>410.67070000000001</c:v>
                </c:pt>
                <c:pt idx="1640">
                  <c:v>235.90049999999999</c:v>
                </c:pt>
                <c:pt idx="1641">
                  <c:v>219.71559999999999</c:v>
                </c:pt>
                <c:pt idx="1642">
                  <c:v>281.57805000000002</c:v>
                </c:pt>
                <c:pt idx="1643">
                  <c:v>293.6875</c:v>
                </c:pt>
                <c:pt idx="1644">
                  <c:v>166.0308</c:v>
                </c:pt>
                <c:pt idx="1645">
                  <c:v>121.71555000000002</c:v>
                </c:pt>
                <c:pt idx="1646">
                  <c:v>279.79424999999998</c:v>
                </c:pt>
                <c:pt idx="1647">
                  <c:v>152.66909999999999</c:v>
                </c:pt>
                <c:pt idx="1648">
                  <c:v>173.00819999999999</c:v>
                </c:pt>
                <c:pt idx="1649">
                  <c:v>222.55365</c:v>
                </c:pt>
                <c:pt idx="1650">
                  <c:v>147.67865</c:v>
                </c:pt>
                <c:pt idx="1651">
                  <c:v>173.32570000000001</c:v>
                </c:pt>
                <c:pt idx="1652">
                  <c:v>139.6353</c:v>
                </c:pt>
                <c:pt idx="1653">
                  <c:v>90.329849999999993</c:v>
                </c:pt>
                <c:pt idx="1654">
                  <c:v>163.06219999999999</c:v>
                </c:pt>
                <c:pt idx="1655">
                  <c:v>139.20750000000001</c:v>
                </c:pt>
                <c:pt idx="1656">
                  <c:v>228.39099999999996</c:v>
                </c:pt>
                <c:pt idx="1657">
                  <c:v>150.92619999999999</c:v>
                </c:pt>
                <c:pt idx="1658">
                  <c:v>133.55754999999999</c:v>
                </c:pt>
                <c:pt idx="1659">
                  <c:v>150.16679999999999</c:v>
                </c:pt>
                <c:pt idx="1660">
                  <c:v>116.2868</c:v>
                </c:pt>
                <c:pt idx="1661">
                  <c:v>245.95920000000001</c:v>
                </c:pt>
                <c:pt idx="1662">
                  <c:v>266.81509999999997</c:v>
                </c:pt>
                <c:pt idx="1663">
                  <c:v>166.47479999999999</c:v>
                </c:pt>
                <c:pt idx="1664">
                  <c:v>199.422</c:v>
                </c:pt>
                <c:pt idx="1665">
                  <c:v>321.89569999999998</c:v>
                </c:pt>
                <c:pt idx="1666">
                  <c:v>164.61949999999999</c:v>
                </c:pt>
                <c:pt idx="1667">
                  <c:v>277.56625000000003</c:v>
                </c:pt>
                <c:pt idx="1668">
                  <c:v>426.87425000000002</c:v>
                </c:pt>
                <c:pt idx="1669">
                  <c:v>509.42459999999994</c:v>
                </c:pt>
                <c:pt idx="1670">
                  <c:v>350.44099999999997</c:v>
                </c:pt>
                <c:pt idx="1671">
                  <c:v>219.71174999999999</c:v>
                </c:pt>
                <c:pt idx="1672">
                  <c:v>207.90550000000002</c:v>
                </c:pt>
                <c:pt idx="1673">
                  <c:v>283.90895</c:v>
                </c:pt>
                <c:pt idx="1674">
                  <c:v>277.80754999999999</c:v>
                </c:pt>
                <c:pt idx="1675">
                  <c:v>304.88499999999999</c:v>
                </c:pt>
                <c:pt idx="1676">
                  <c:v>256.29950000000002</c:v>
                </c:pt>
                <c:pt idx="1677">
                  <c:v>165.50909999999999</c:v>
                </c:pt>
                <c:pt idx="1678">
                  <c:v>172.1268</c:v>
                </c:pt>
                <c:pt idx="1679">
                  <c:v>201.81920000000002</c:v>
                </c:pt>
                <c:pt idx="1680">
                  <c:v>126.63464999999999</c:v>
                </c:pt>
                <c:pt idx="1681">
                  <c:v>82.660499999999999</c:v>
                </c:pt>
                <c:pt idx="1682">
                  <c:v>142.89439999999999</c:v>
                </c:pt>
                <c:pt idx="1683">
                  <c:v>141.3168</c:v>
                </c:pt>
                <c:pt idx="1684">
                  <c:v>271.80119999999999</c:v>
                </c:pt>
                <c:pt idx="1685">
                  <c:v>114.696</c:v>
                </c:pt>
                <c:pt idx="1686">
                  <c:v>112.496</c:v>
                </c:pt>
                <c:pt idx="1687">
                  <c:v>117.2291</c:v>
                </c:pt>
                <c:pt idx="1688">
                  <c:v>140.83875</c:v>
                </c:pt>
                <c:pt idx="1689">
                  <c:v>105.71355000000001</c:v>
                </c:pt>
                <c:pt idx="1690">
                  <c:v>211.28814999999997</c:v>
                </c:pt>
                <c:pt idx="1691">
                  <c:v>155.9941</c:v>
                </c:pt>
                <c:pt idx="1692">
                  <c:v>159.38399999999999</c:v>
                </c:pt>
                <c:pt idx="1693">
                  <c:v>129.13</c:v>
                </c:pt>
                <c:pt idx="1694">
                  <c:v>236.75749999999999</c:v>
                </c:pt>
                <c:pt idx="1695">
                  <c:v>121.3407</c:v>
                </c:pt>
                <c:pt idx="1696">
                  <c:v>198.92599999999999</c:v>
                </c:pt>
                <c:pt idx="1697">
                  <c:v>89.2149</c:v>
                </c:pt>
                <c:pt idx="1698">
                  <c:v>214.7236</c:v>
                </c:pt>
                <c:pt idx="1699">
                  <c:v>205.33089999999996</c:v>
                </c:pt>
                <c:pt idx="1700">
                  <c:v>161.13329999999999</c:v>
                </c:pt>
                <c:pt idx="1701">
                  <c:v>104.27625</c:v>
                </c:pt>
                <c:pt idx="1702">
                  <c:v>155.78100000000001</c:v>
                </c:pt>
                <c:pt idx="1703">
                  <c:v>214.16040000000004</c:v>
                </c:pt>
                <c:pt idx="1704">
                  <c:v>123.94080000000001</c:v>
                </c:pt>
                <c:pt idx="1705">
                  <c:v>62.717549999999996</c:v>
                </c:pt>
                <c:pt idx="1706">
                  <c:v>201.14730000000003</c:v>
                </c:pt>
                <c:pt idx="1707">
                  <c:v>251.12</c:v>
                </c:pt>
                <c:pt idx="1708">
                  <c:v>215.07814999999997</c:v>
                </c:pt>
                <c:pt idx="1709">
                  <c:v>202.67869999999996</c:v>
                </c:pt>
                <c:pt idx="1710">
                  <c:v>171.78800000000001</c:v>
                </c:pt>
                <c:pt idx="1711">
                  <c:v>136.3065</c:v>
                </c:pt>
                <c:pt idx="1712">
                  <c:v>135.07419999999999</c:v>
                </c:pt>
                <c:pt idx="1713">
                  <c:v>255.95280000000002</c:v>
                </c:pt>
                <c:pt idx="1714">
                  <c:v>293.33339999999998</c:v>
                </c:pt>
                <c:pt idx="1715">
                  <c:v>111.86569999999999</c:v>
                </c:pt>
                <c:pt idx="1716">
                  <c:v>160.63749999999999</c:v>
                </c:pt>
                <c:pt idx="1717">
                  <c:v>181.55475000000001</c:v>
                </c:pt>
                <c:pt idx="1718">
                  <c:v>303.8451</c:v>
                </c:pt>
                <c:pt idx="1719">
                  <c:v>231.68790000000004</c:v>
                </c:pt>
                <c:pt idx="1720">
                  <c:v>171.39840000000001</c:v>
                </c:pt>
                <c:pt idx="1721">
                  <c:v>105.54434999999998</c:v>
                </c:pt>
                <c:pt idx="1722">
                  <c:v>87.090900000000005</c:v>
                </c:pt>
                <c:pt idx="1723">
                  <c:v>96.487200000000001</c:v>
                </c:pt>
                <c:pt idx="1724">
                  <c:v>108.232</c:v>
                </c:pt>
                <c:pt idx="1725">
                  <c:v>69.534149999999997</c:v>
                </c:pt>
                <c:pt idx="1726">
                  <c:v>196.5275</c:v>
                </c:pt>
                <c:pt idx="1727">
                  <c:v>196.3005</c:v>
                </c:pt>
                <c:pt idx="1728">
                  <c:v>181.28559999999996</c:v>
                </c:pt>
                <c:pt idx="1729">
                  <c:v>191.97</c:v>
                </c:pt>
                <c:pt idx="1730">
                  <c:v>195.2679</c:v>
                </c:pt>
                <c:pt idx="1731">
                  <c:v>166.50425000000001</c:v>
                </c:pt>
                <c:pt idx="1732">
                  <c:v>214.94220000000001</c:v>
                </c:pt>
                <c:pt idx="1733">
                  <c:v>237.64779999999999</c:v>
                </c:pt>
                <c:pt idx="1734">
                  <c:v>350.89600000000002</c:v>
                </c:pt>
                <c:pt idx="1735">
                  <c:v>144.63124999999999</c:v>
                </c:pt>
                <c:pt idx="1736">
                  <c:v>228.06960000000001</c:v>
                </c:pt>
                <c:pt idx="1737">
                  <c:v>222.2473</c:v>
                </c:pt>
                <c:pt idx="1738">
                  <c:v>138.74359999999999</c:v>
                </c:pt>
                <c:pt idx="1739">
                  <c:v>240.03600000000003</c:v>
                </c:pt>
                <c:pt idx="1740">
                  <c:v>217.8475</c:v>
                </c:pt>
                <c:pt idx="1741">
                  <c:v>232.69320000000002</c:v>
                </c:pt>
                <c:pt idx="1742">
                  <c:v>478.61849999999998</c:v>
                </c:pt>
                <c:pt idx="1743">
                  <c:v>390.46140000000008</c:v>
                </c:pt>
                <c:pt idx="1744">
                  <c:v>286.01799999999997</c:v>
                </c:pt>
                <c:pt idx="1745">
                  <c:v>416.74499999999995</c:v>
                </c:pt>
                <c:pt idx="1746">
                  <c:v>370.52660000000009</c:v>
                </c:pt>
                <c:pt idx="1747">
                  <c:v>407.29139999999995</c:v>
                </c:pt>
                <c:pt idx="1748">
                  <c:v>527.11680000000001</c:v>
                </c:pt>
                <c:pt idx="1749">
                  <c:v>361.28640000000001</c:v>
                </c:pt>
                <c:pt idx="1750">
                  <c:v>507.90800000000002</c:v>
                </c:pt>
                <c:pt idx="1751">
                  <c:v>431.0804</c:v>
                </c:pt>
                <c:pt idx="1752">
                  <c:v>371.88299999999998</c:v>
                </c:pt>
                <c:pt idx="1753">
                  <c:v>315.38864999999998</c:v>
                </c:pt>
                <c:pt idx="1754">
                  <c:v>209.8965</c:v>
                </c:pt>
                <c:pt idx="1755">
                  <c:v>233.43759999999997</c:v>
                </c:pt>
                <c:pt idx="1756">
                  <c:v>269.03924999999998</c:v>
                </c:pt>
                <c:pt idx="1757">
                  <c:v>164.62860000000001</c:v>
                </c:pt>
                <c:pt idx="1758">
                  <c:v>157.89920000000001</c:v>
                </c:pt>
                <c:pt idx="1759">
                  <c:v>239.13499999999996</c:v>
                </c:pt>
                <c:pt idx="1760">
                  <c:v>182.95019999999997</c:v>
                </c:pt>
                <c:pt idx="1761">
                  <c:v>140.36959999999999</c:v>
                </c:pt>
                <c:pt idx="1762">
                  <c:v>123.37120000000002</c:v>
                </c:pt>
                <c:pt idx="1763">
                  <c:v>142.36199999999999</c:v>
                </c:pt>
                <c:pt idx="1764">
                  <c:v>218.62875000000003</c:v>
                </c:pt>
                <c:pt idx="1765">
                  <c:v>177.78435000000002</c:v>
                </c:pt>
                <c:pt idx="1766">
                  <c:v>241.94399999999999</c:v>
                </c:pt>
                <c:pt idx="1767">
                  <c:v>309.68</c:v>
                </c:pt>
                <c:pt idx="1768">
                  <c:v>223.6722</c:v>
                </c:pt>
                <c:pt idx="1769">
                  <c:v>126.39509999999999</c:v>
                </c:pt>
                <c:pt idx="1770">
                  <c:v>132.39045000000002</c:v>
                </c:pt>
                <c:pt idx="1771">
                  <c:v>197.65899999999999</c:v>
                </c:pt>
                <c:pt idx="1772">
                  <c:v>158.58205000000001</c:v>
                </c:pt>
                <c:pt idx="1773">
                  <c:v>176.5752</c:v>
                </c:pt>
                <c:pt idx="1774">
                  <c:v>170.17945</c:v>
                </c:pt>
                <c:pt idx="1775">
                  <c:v>277.90190000000001</c:v>
                </c:pt>
                <c:pt idx="1776">
                  <c:v>408.9769</c:v>
                </c:pt>
                <c:pt idx="1777">
                  <c:v>224.68620000000001</c:v>
                </c:pt>
                <c:pt idx="1778">
                  <c:v>218.39519999999999</c:v>
                </c:pt>
                <c:pt idx="1779">
                  <c:v>228.13139999999996</c:v>
                </c:pt>
                <c:pt idx="1780">
                  <c:v>155.0924</c:v>
                </c:pt>
                <c:pt idx="1781">
                  <c:v>200.58719999999997</c:v>
                </c:pt>
                <c:pt idx="1782">
                  <c:v>152.70240000000001</c:v>
                </c:pt>
                <c:pt idx="1783">
                  <c:v>199.68239999999997</c:v>
                </c:pt>
                <c:pt idx="1784">
                  <c:v>160.05019999999999</c:v>
                </c:pt>
                <c:pt idx="1785">
                  <c:v>139.22999999999999</c:v>
                </c:pt>
                <c:pt idx="1786">
                  <c:v>155.03960000000001</c:v>
                </c:pt>
                <c:pt idx="1787">
                  <c:v>141.78675000000001</c:v>
                </c:pt>
                <c:pt idx="1788">
                  <c:v>153.1848</c:v>
                </c:pt>
                <c:pt idx="1789">
                  <c:v>163.78149999999999</c:v>
                </c:pt>
                <c:pt idx="1790">
                  <c:v>101.00465</c:v>
                </c:pt>
                <c:pt idx="1791">
                  <c:v>193.82159999999999</c:v>
                </c:pt>
                <c:pt idx="1792">
                  <c:v>233.19810000000001</c:v>
                </c:pt>
                <c:pt idx="1793">
                  <c:v>173.71424999999999</c:v>
                </c:pt>
                <c:pt idx="1794">
                  <c:v>245.58040000000003</c:v>
                </c:pt>
                <c:pt idx="1795">
                  <c:v>344.60700000000003</c:v>
                </c:pt>
                <c:pt idx="1796">
                  <c:v>344.4</c:v>
                </c:pt>
                <c:pt idx="1797">
                  <c:v>189.89250000000001</c:v>
                </c:pt>
                <c:pt idx="1798">
                  <c:v>337.68180000000001</c:v>
                </c:pt>
                <c:pt idx="1799">
                  <c:v>174.35159999999999</c:v>
                </c:pt>
                <c:pt idx="1800">
                  <c:v>200.84899999999999</c:v>
                </c:pt>
                <c:pt idx="1801">
                  <c:v>107.99469999999999</c:v>
                </c:pt>
                <c:pt idx="1802">
                  <c:v>182.376</c:v>
                </c:pt>
                <c:pt idx="1803">
                  <c:v>152.422</c:v>
                </c:pt>
                <c:pt idx="1804">
                  <c:v>180.82900000000001</c:v>
                </c:pt>
                <c:pt idx="1805">
                  <c:v>101.35170000000001</c:v>
                </c:pt>
                <c:pt idx="1806">
                  <c:v>116.49120000000001</c:v>
                </c:pt>
                <c:pt idx="1807">
                  <c:v>90.296899999999994</c:v>
                </c:pt>
                <c:pt idx="1808">
                  <c:v>119.5887</c:v>
                </c:pt>
                <c:pt idx="1809">
                  <c:v>87.274199999999993</c:v>
                </c:pt>
                <c:pt idx="1810">
                  <c:v>132.4008</c:v>
                </c:pt>
                <c:pt idx="1811">
                  <c:v>84.427599999999998</c:v>
                </c:pt>
                <c:pt idx="1812">
                  <c:v>123.6485</c:v>
                </c:pt>
                <c:pt idx="1813">
                  <c:v>178.959</c:v>
                </c:pt>
                <c:pt idx="1814">
                  <c:v>168.05250000000001</c:v>
                </c:pt>
                <c:pt idx="1815">
                  <c:v>131.80179999999999</c:v>
                </c:pt>
                <c:pt idx="1816">
                  <c:v>166.64715000000001</c:v>
                </c:pt>
                <c:pt idx="1817">
                  <c:v>121.22565</c:v>
                </c:pt>
                <c:pt idx="1818">
                  <c:v>164.81569999999999</c:v>
                </c:pt>
                <c:pt idx="1819">
                  <c:v>310.88749999999999</c:v>
                </c:pt>
                <c:pt idx="1820">
                  <c:v>141.85005000000001</c:v>
                </c:pt>
                <c:pt idx="1821">
                  <c:v>120.7667</c:v>
                </c:pt>
                <c:pt idx="1822">
                  <c:v>243.58230000000003</c:v>
                </c:pt>
                <c:pt idx="1823">
                  <c:v>223.70580000000001</c:v>
                </c:pt>
                <c:pt idx="1824">
                  <c:v>177.80625000000003</c:v>
                </c:pt>
                <c:pt idx="1825">
                  <c:v>129.27945000000003</c:v>
                </c:pt>
                <c:pt idx="1826">
                  <c:v>134.72479999999999</c:v>
                </c:pt>
                <c:pt idx="1827">
                  <c:v>137.3125</c:v>
                </c:pt>
                <c:pt idx="1828">
                  <c:v>111.294</c:v>
                </c:pt>
                <c:pt idx="1829">
                  <c:v>119.642</c:v>
                </c:pt>
                <c:pt idx="1830">
                  <c:v>110.1228</c:v>
                </c:pt>
                <c:pt idx="1831">
                  <c:v>113.1383</c:v>
                </c:pt>
                <c:pt idx="1832">
                  <c:v>116.4909</c:v>
                </c:pt>
                <c:pt idx="1833">
                  <c:v>236.13974999999999</c:v>
                </c:pt>
                <c:pt idx="1834">
                  <c:v>307.68135000000001</c:v>
                </c:pt>
                <c:pt idx="1835">
                  <c:v>202.9545</c:v>
                </c:pt>
                <c:pt idx="1836">
                  <c:v>188.99680000000001</c:v>
                </c:pt>
                <c:pt idx="1837">
                  <c:v>197.09460000000001</c:v>
                </c:pt>
                <c:pt idx="1838">
                  <c:v>329.99400000000003</c:v>
                </c:pt>
                <c:pt idx="1839">
                  <c:v>228.85740000000001</c:v>
                </c:pt>
                <c:pt idx="1840">
                  <c:v>133.96810000000002</c:v>
                </c:pt>
                <c:pt idx="1841">
                  <c:v>182.4042</c:v>
                </c:pt>
                <c:pt idx="1842">
                  <c:v>196.33850000000001</c:v>
                </c:pt>
                <c:pt idx="1843">
                  <c:v>200.012</c:v>
                </c:pt>
                <c:pt idx="1844">
                  <c:v>136.88999999999999</c:v>
                </c:pt>
                <c:pt idx="1845">
                  <c:v>97.025999999999996</c:v>
                </c:pt>
                <c:pt idx="1846">
                  <c:v>209.6952</c:v>
                </c:pt>
                <c:pt idx="1847">
                  <c:v>181.2285</c:v>
                </c:pt>
                <c:pt idx="1848">
                  <c:v>151.1944</c:v>
                </c:pt>
                <c:pt idx="1849">
                  <c:v>136.53325000000001</c:v>
                </c:pt>
                <c:pt idx="1850">
                  <c:v>192.285</c:v>
                </c:pt>
                <c:pt idx="1851">
                  <c:v>236.66679999999999</c:v>
                </c:pt>
                <c:pt idx="1852">
                  <c:v>159.5488</c:v>
                </c:pt>
                <c:pt idx="1853">
                  <c:v>179.81450000000001</c:v>
                </c:pt>
                <c:pt idx="1854">
                  <c:v>105.3445</c:v>
                </c:pt>
                <c:pt idx="1855">
                  <c:v>261.75349999999997</c:v>
                </c:pt>
                <c:pt idx="1856">
                  <c:v>252.51525000000001</c:v>
                </c:pt>
                <c:pt idx="1857">
                  <c:v>339.01400000000001</c:v>
                </c:pt>
                <c:pt idx="1858">
                  <c:v>100.52025</c:v>
                </c:pt>
                <c:pt idx="1859">
                  <c:v>119.95829999999999</c:v>
                </c:pt>
                <c:pt idx="1860">
                  <c:v>215.7371</c:v>
                </c:pt>
                <c:pt idx="1861">
                  <c:v>318.57</c:v>
                </c:pt>
                <c:pt idx="1862">
                  <c:v>427.23719999999997</c:v>
                </c:pt>
                <c:pt idx="1863">
                  <c:v>222.85964999999999</c:v>
                </c:pt>
                <c:pt idx="1864">
                  <c:v>162.239</c:v>
                </c:pt>
                <c:pt idx="1865">
                  <c:v>153.53649999999999</c:v>
                </c:pt>
                <c:pt idx="1866">
                  <c:v>102.3629</c:v>
                </c:pt>
                <c:pt idx="1867">
                  <c:v>146.43680000000001</c:v>
                </c:pt>
                <c:pt idx="1868">
                  <c:v>213.77945</c:v>
                </c:pt>
                <c:pt idx="1869">
                  <c:v>177.327</c:v>
                </c:pt>
                <c:pt idx="1870">
                  <c:v>179.28399999999999</c:v>
                </c:pt>
                <c:pt idx="1871">
                  <c:v>293.97424999999998</c:v>
                </c:pt>
                <c:pt idx="1872">
                  <c:v>428.61420000000004</c:v>
                </c:pt>
                <c:pt idx="1873">
                  <c:v>606.39200000000005</c:v>
                </c:pt>
                <c:pt idx="1874">
                  <c:v>300.96960000000001</c:v>
                </c:pt>
                <c:pt idx="1875">
                  <c:v>417.36239999999998</c:v>
                </c:pt>
                <c:pt idx="1876">
                  <c:v>312.17680000000001</c:v>
                </c:pt>
                <c:pt idx="1877">
                  <c:v>357.22770000000003</c:v>
                </c:pt>
                <c:pt idx="1878">
                  <c:v>383.49479999999994</c:v>
                </c:pt>
                <c:pt idx="1879">
                  <c:v>336.44830000000002</c:v>
                </c:pt>
                <c:pt idx="1880">
                  <c:v>214.4718</c:v>
                </c:pt>
                <c:pt idx="1881">
                  <c:v>222.56319999999999</c:v>
                </c:pt>
                <c:pt idx="1882">
                  <c:v>242.88675000000001</c:v>
                </c:pt>
                <c:pt idx="1883">
                  <c:v>426.89400000000001</c:v>
                </c:pt>
                <c:pt idx="1884">
                  <c:v>245.69280000000001</c:v>
                </c:pt>
                <c:pt idx="1885">
                  <c:v>252.68340000000001</c:v>
                </c:pt>
                <c:pt idx="1886">
                  <c:v>173.31039999999999</c:v>
                </c:pt>
                <c:pt idx="1887">
                  <c:v>124.8832</c:v>
                </c:pt>
                <c:pt idx="1888">
                  <c:v>153.1405</c:v>
                </c:pt>
                <c:pt idx="1889">
                  <c:v>95.425600000000003</c:v>
                </c:pt>
                <c:pt idx="1890">
                  <c:v>73.150000000000006</c:v>
                </c:pt>
                <c:pt idx="1891">
                  <c:v>138.136</c:v>
                </c:pt>
                <c:pt idx="1892">
                  <c:v>205.88650000000001</c:v>
                </c:pt>
                <c:pt idx="1893">
                  <c:v>107.90145</c:v>
                </c:pt>
                <c:pt idx="1894">
                  <c:v>125.4273</c:v>
                </c:pt>
                <c:pt idx="1895">
                  <c:v>93.8964</c:v>
                </c:pt>
                <c:pt idx="1896">
                  <c:v>153.26079999999999</c:v>
                </c:pt>
                <c:pt idx="1897">
                  <c:v>206.89675</c:v>
                </c:pt>
                <c:pt idx="1898">
                  <c:v>108.59524999999999</c:v>
                </c:pt>
                <c:pt idx="1899">
                  <c:v>167.59819999999999</c:v>
                </c:pt>
                <c:pt idx="1900">
                  <c:v>144.4982</c:v>
                </c:pt>
                <c:pt idx="1901">
                  <c:v>153.69200000000001</c:v>
                </c:pt>
                <c:pt idx="1902">
                  <c:v>212.82910000000001</c:v>
                </c:pt>
                <c:pt idx="1903">
                  <c:v>130.27680000000001</c:v>
                </c:pt>
                <c:pt idx="1904">
                  <c:v>218.91059999999999</c:v>
                </c:pt>
                <c:pt idx="1905">
                  <c:v>192.63719999999998</c:v>
                </c:pt>
                <c:pt idx="1906">
                  <c:v>114.90570000000001</c:v>
                </c:pt>
                <c:pt idx="1907">
                  <c:v>91.489749999999987</c:v>
                </c:pt>
                <c:pt idx="1908">
                  <c:v>163.36494999999999</c:v>
                </c:pt>
                <c:pt idx="1909">
                  <c:v>204.23885000000004</c:v>
                </c:pt>
                <c:pt idx="1910">
                  <c:v>163.62985</c:v>
                </c:pt>
                <c:pt idx="1911">
                  <c:v>315.76155</c:v>
                </c:pt>
                <c:pt idx="1912">
                  <c:v>187.35515000000004</c:v>
                </c:pt>
                <c:pt idx="1913">
                  <c:v>273.43599999999998</c:v>
                </c:pt>
                <c:pt idx="1914">
                  <c:v>160.99369999999999</c:v>
                </c:pt>
                <c:pt idx="1915">
                  <c:v>337.32780000000002</c:v>
                </c:pt>
                <c:pt idx="1916">
                  <c:v>328.04289999999997</c:v>
                </c:pt>
                <c:pt idx="1917">
                  <c:v>248.26790000000003</c:v>
                </c:pt>
                <c:pt idx="1918">
                  <c:v>190.21064999999996</c:v>
                </c:pt>
                <c:pt idx="1919">
                  <c:v>422.38629999999995</c:v>
                </c:pt>
                <c:pt idx="1920">
                  <c:v>312.04320000000001</c:v>
                </c:pt>
                <c:pt idx="1921">
                  <c:v>434.36800000000005</c:v>
                </c:pt>
                <c:pt idx="1922">
                  <c:v>665.2165</c:v>
                </c:pt>
                <c:pt idx="1923">
                  <c:v>759.47850000000005</c:v>
                </c:pt>
                <c:pt idx="1924">
                  <c:v>861.53940000000011</c:v>
                </c:pt>
                <c:pt idx="1925">
                  <c:v>977.89009999999985</c:v>
                </c:pt>
                <c:pt idx="1926">
                  <c:v>504.39400000000001</c:v>
                </c:pt>
                <c:pt idx="1927">
                  <c:v>239.68299999999999</c:v>
                </c:pt>
                <c:pt idx="1928">
                  <c:v>267.34270000000004</c:v>
                </c:pt>
                <c:pt idx="1929">
                  <c:v>345.47545000000002</c:v>
                </c:pt>
                <c:pt idx="1930">
                  <c:v>378.92610000000002</c:v>
                </c:pt>
                <c:pt idx="1931">
                  <c:v>268.03279999999995</c:v>
                </c:pt>
                <c:pt idx="1932">
                  <c:v>190.17570000000001</c:v>
                </c:pt>
                <c:pt idx="1933">
                  <c:v>237.53235000000001</c:v>
                </c:pt>
                <c:pt idx="1934">
                  <c:v>183.5412</c:v>
                </c:pt>
                <c:pt idx="1935">
                  <c:v>251.34979999999999</c:v>
                </c:pt>
                <c:pt idx="1936">
                  <c:v>190.11914999999999</c:v>
                </c:pt>
                <c:pt idx="1937">
                  <c:v>142.6104</c:v>
                </c:pt>
                <c:pt idx="1938">
                  <c:v>181.94880000000001</c:v>
                </c:pt>
                <c:pt idx="1939">
                  <c:v>186.59579999999997</c:v>
                </c:pt>
                <c:pt idx="1940">
                  <c:v>99.284399999999991</c:v>
                </c:pt>
                <c:pt idx="1941">
                  <c:v>173.16200000000001</c:v>
                </c:pt>
                <c:pt idx="1942">
                  <c:v>198.22</c:v>
                </c:pt>
                <c:pt idx="1943">
                  <c:v>124.20775</c:v>
                </c:pt>
                <c:pt idx="1944">
                  <c:v>118.63759999999999</c:v>
                </c:pt>
                <c:pt idx="1945">
                  <c:v>147.9392</c:v>
                </c:pt>
                <c:pt idx="1946">
                  <c:v>224.57055</c:v>
                </c:pt>
                <c:pt idx="1947">
                  <c:v>145.78739999999999</c:v>
                </c:pt>
                <c:pt idx="1948">
                  <c:v>98.205300000000008</c:v>
                </c:pt>
                <c:pt idx="1949">
                  <c:v>165.77189999999999</c:v>
                </c:pt>
                <c:pt idx="1950">
                  <c:v>123.37585000000001</c:v>
                </c:pt>
                <c:pt idx="1951">
                  <c:v>135.94880000000001</c:v>
                </c:pt>
                <c:pt idx="1952">
                  <c:v>163.12479999999999</c:v>
                </c:pt>
                <c:pt idx="1953">
                  <c:v>101.87099999999998</c:v>
                </c:pt>
                <c:pt idx="1954">
                  <c:v>112.7804</c:v>
                </c:pt>
                <c:pt idx="1955">
                  <c:v>93.434400000000011</c:v>
                </c:pt>
                <c:pt idx="1956">
                  <c:v>113.50279999999999</c:v>
                </c:pt>
                <c:pt idx="1957">
                  <c:v>246.0505</c:v>
                </c:pt>
                <c:pt idx="1958">
                  <c:v>196.07759999999999</c:v>
                </c:pt>
                <c:pt idx="1959">
                  <c:v>140.8545</c:v>
                </c:pt>
                <c:pt idx="1960">
                  <c:v>112.59170000000002</c:v>
                </c:pt>
                <c:pt idx="1961">
                  <c:v>126.18965000000001</c:v>
                </c:pt>
                <c:pt idx="1962">
                  <c:v>161.02535</c:v>
                </c:pt>
                <c:pt idx="1963">
                  <c:v>244.67400000000001</c:v>
                </c:pt>
                <c:pt idx="1964">
                  <c:v>330.17155000000002</c:v>
                </c:pt>
                <c:pt idx="1965">
                  <c:v>552.50054999999998</c:v>
                </c:pt>
                <c:pt idx="1966">
                  <c:v>631.36725000000001</c:v>
                </c:pt>
                <c:pt idx="1967">
                  <c:v>398.2552</c:v>
                </c:pt>
                <c:pt idx="1968">
                  <c:v>389.46825000000001</c:v>
                </c:pt>
                <c:pt idx="1969">
                  <c:v>443.24610000000001</c:v>
                </c:pt>
                <c:pt idx="1970">
                  <c:v>284.70089999999999</c:v>
                </c:pt>
                <c:pt idx="1971">
                  <c:v>270.4511</c:v>
                </c:pt>
                <c:pt idx="1972">
                  <c:v>110.08057499999998</c:v>
                </c:pt>
                <c:pt idx="1973">
                  <c:v>122.19615000000002</c:v>
                </c:pt>
                <c:pt idx="1974">
                  <c:v>68.911450000000002</c:v>
                </c:pt>
                <c:pt idx="1975">
                  <c:v>89.316149999999993</c:v>
                </c:pt>
                <c:pt idx="1976">
                  <c:v>95.527500000000003</c:v>
                </c:pt>
                <c:pt idx="1977">
                  <c:v>159.0703</c:v>
                </c:pt>
                <c:pt idx="1978">
                  <c:v>174.47900000000001</c:v>
                </c:pt>
                <c:pt idx="1979">
                  <c:v>289.94232499999998</c:v>
                </c:pt>
                <c:pt idx="1980">
                  <c:v>308.77605</c:v>
                </c:pt>
                <c:pt idx="1981">
                  <c:v>440.35289999999998</c:v>
                </c:pt>
                <c:pt idx="1982">
                  <c:v>253.24690000000004</c:v>
                </c:pt>
                <c:pt idx="1983">
                  <c:v>246.10942499999996</c:v>
                </c:pt>
                <c:pt idx="1984">
                  <c:v>288.19990000000001</c:v>
                </c:pt>
                <c:pt idx="1985">
                  <c:v>323.88872500000002</c:v>
                </c:pt>
                <c:pt idx="1986">
                  <c:v>395.80185</c:v>
                </c:pt>
                <c:pt idx="1987">
                  <c:v>429.47242500000004</c:v>
                </c:pt>
                <c:pt idx="1988">
                  <c:v>249.53002499999999</c:v>
                </c:pt>
                <c:pt idx="1989">
                  <c:v>248.32775000000001</c:v>
                </c:pt>
                <c:pt idx="1990">
                  <c:v>232.56727500000002</c:v>
                </c:pt>
                <c:pt idx="1991">
                  <c:v>237.24445000000003</c:v>
                </c:pt>
                <c:pt idx="1992">
                  <c:v>234.59715</c:v>
                </c:pt>
                <c:pt idx="1993">
                  <c:v>176.4855</c:v>
                </c:pt>
                <c:pt idx="1994">
                  <c:v>193.99379999999999</c:v>
                </c:pt>
                <c:pt idx="1995">
                  <c:v>218.29470000000001</c:v>
                </c:pt>
                <c:pt idx="1996">
                  <c:v>222.01974999999999</c:v>
                </c:pt>
                <c:pt idx="1997">
                  <c:v>232.829375</c:v>
                </c:pt>
                <c:pt idx="1998">
                  <c:v>318.75697500000001</c:v>
                </c:pt>
                <c:pt idx="1999">
                  <c:v>320.18624999999997</c:v>
                </c:pt>
                <c:pt idx="2000">
                  <c:v>231.435225</c:v>
                </c:pt>
                <c:pt idx="2001">
                  <c:v>222.079375</c:v>
                </c:pt>
                <c:pt idx="2002">
                  <c:v>157.73054999999999</c:v>
                </c:pt>
                <c:pt idx="2003">
                  <c:v>287.09730000000002</c:v>
                </c:pt>
                <c:pt idx="2004">
                  <c:v>185.6379</c:v>
                </c:pt>
                <c:pt idx="2005">
                  <c:v>135.715825</c:v>
                </c:pt>
                <c:pt idx="2006">
                  <c:v>147.4838</c:v>
                </c:pt>
                <c:pt idx="2007">
                  <c:v>231.20550000000003</c:v>
                </c:pt>
                <c:pt idx="2008">
                  <c:v>219.85599999999999</c:v>
                </c:pt>
                <c:pt idx="2009">
                  <c:v>184.93437499999999</c:v>
                </c:pt>
                <c:pt idx="2010">
                  <c:v>143.706875</c:v>
                </c:pt>
                <c:pt idx="2011">
                  <c:v>110.34937499999998</c:v>
                </c:pt>
                <c:pt idx="2012">
                  <c:v>169.63207499999999</c:v>
                </c:pt>
                <c:pt idx="2013">
                  <c:v>111.909875</c:v>
                </c:pt>
                <c:pt idx="2014">
                  <c:v>246.73077499999997</c:v>
                </c:pt>
                <c:pt idx="2015">
                  <c:v>216.95192500000002</c:v>
                </c:pt>
                <c:pt idx="2016">
                  <c:v>155.24612500000001</c:v>
                </c:pt>
                <c:pt idx="2017">
                  <c:v>185.53039999999999</c:v>
                </c:pt>
                <c:pt idx="2018">
                  <c:v>137.41852499999999</c:v>
                </c:pt>
                <c:pt idx="2019">
                  <c:v>140.74424999999999</c:v>
                </c:pt>
                <c:pt idx="2020">
                  <c:v>178.56885</c:v>
                </c:pt>
                <c:pt idx="2021">
                  <c:v>168.1748</c:v>
                </c:pt>
                <c:pt idx="2022">
                  <c:v>219.37225000000001</c:v>
                </c:pt>
                <c:pt idx="2023">
                  <c:v>219.66547499999999</c:v>
                </c:pt>
                <c:pt idx="2024">
                  <c:v>282.77685000000002</c:v>
                </c:pt>
                <c:pt idx="2025">
                  <c:v>192.97822500000001</c:v>
                </c:pt>
                <c:pt idx="2026">
                  <c:v>162.913275</c:v>
                </c:pt>
                <c:pt idx="2027">
                  <c:v>230.77122500000004</c:v>
                </c:pt>
                <c:pt idx="2028">
                  <c:v>116.76307499999999</c:v>
                </c:pt>
                <c:pt idx="2029">
                  <c:v>110.83507499999999</c:v>
                </c:pt>
                <c:pt idx="2030">
                  <c:v>190.27407500000001</c:v>
                </c:pt>
                <c:pt idx="2031">
                  <c:v>142.44367500000001</c:v>
                </c:pt>
                <c:pt idx="2032">
                  <c:v>253.17792499999999</c:v>
                </c:pt>
                <c:pt idx="2033">
                  <c:v>122.0472</c:v>
                </c:pt>
                <c:pt idx="2034">
                  <c:v>132.41024999999999</c:v>
                </c:pt>
                <c:pt idx="2035">
                  <c:v>206.90049999999997</c:v>
                </c:pt>
                <c:pt idx="2036">
                  <c:v>220.873875</c:v>
                </c:pt>
                <c:pt idx="2037">
                  <c:v>109.66799999999999</c:v>
                </c:pt>
                <c:pt idx="2038">
                  <c:v>136.4187</c:v>
                </c:pt>
                <c:pt idx="2039">
                  <c:v>135.48712499999999</c:v>
                </c:pt>
                <c:pt idx="2040">
                  <c:v>209.57085000000001</c:v>
                </c:pt>
                <c:pt idx="2041">
                  <c:v>148.18049999999999</c:v>
                </c:pt>
                <c:pt idx="2042">
                  <c:v>152.79727500000001</c:v>
                </c:pt>
                <c:pt idx="2043">
                  <c:v>149.84594999999999</c:v>
                </c:pt>
                <c:pt idx="2044">
                  <c:v>169.08812499999999</c:v>
                </c:pt>
                <c:pt idx="2045">
                  <c:v>143.92699999999999</c:v>
                </c:pt>
                <c:pt idx="2046">
                  <c:v>221.04225</c:v>
                </c:pt>
                <c:pt idx="2047">
                  <c:v>143.80000000000001</c:v>
                </c:pt>
                <c:pt idx="2048">
                  <c:v>178.55092500000001</c:v>
                </c:pt>
                <c:pt idx="2049">
                  <c:v>159.37065000000001</c:v>
                </c:pt>
                <c:pt idx="2050">
                  <c:v>139.14269999999999</c:v>
                </c:pt>
                <c:pt idx="2051">
                  <c:v>258.89307499999995</c:v>
                </c:pt>
                <c:pt idx="2052">
                  <c:v>150.19874999999999</c:v>
                </c:pt>
                <c:pt idx="2053">
                  <c:v>136.00392500000001</c:v>
                </c:pt>
                <c:pt idx="2054">
                  <c:v>145.6576</c:v>
                </c:pt>
                <c:pt idx="2055">
                  <c:v>88.388549999999995</c:v>
                </c:pt>
                <c:pt idx="2056">
                  <c:v>82.779075000000006</c:v>
                </c:pt>
                <c:pt idx="2057">
                  <c:v>121.78075</c:v>
                </c:pt>
                <c:pt idx="2058">
                  <c:v>125.67555</c:v>
                </c:pt>
                <c:pt idx="2059">
                  <c:v>195.149675</c:v>
                </c:pt>
                <c:pt idx="2060">
                  <c:v>179.3853</c:v>
                </c:pt>
                <c:pt idx="2061">
                  <c:v>128.508725</c:v>
                </c:pt>
                <c:pt idx="2062">
                  <c:v>97.84559999999999</c:v>
                </c:pt>
                <c:pt idx="2063">
                  <c:v>181.73137500000001</c:v>
                </c:pt>
                <c:pt idx="2064">
                  <c:v>224.48712500000002</c:v>
                </c:pt>
                <c:pt idx="2065">
                  <c:v>171.795625</c:v>
                </c:pt>
                <c:pt idx="2066">
                  <c:v>226.50979999999998</c:v>
                </c:pt>
                <c:pt idx="2067">
                  <c:v>145.45070000000001</c:v>
                </c:pt>
                <c:pt idx="2068">
                  <c:v>134.01567499999999</c:v>
                </c:pt>
                <c:pt idx="2069">
                  <c:v>144.10804999999999</c:v>
                </c:pt>
                <c:pt idx="2070">
                  <c:v>109.343125</c:v>
                </c:pt>
                <c:pt idx="2071">
                  <c:v>180.51607499999997</c:v>
                </c:pt>
                <c:pt idx="2072">
                  <c:v>135.31960000000001</c:v>
                </c:pt>
                <c:pt idx="2073">
                  <c:v>113.83902500000001</c:v>
                </c:pt>
                <c:pt idx="2074">
                  <c:v>115.19987500000001</c:v>
                </c:pt>
                <c:pt idx="2075">
                  <c:v>105.9072</c:v>
                </c:pt>
                <c:pt idx="2076">
                  <c:v>105.78820000000002</c:v>
                </c:pt>
                <c:pt idx="2077">
                  <c:v>194.3818</c:v>
                </c:pt>
                <c:pt idx="2078">
                  <c:v>122.3339</c:v>
                </c:pt>
                <c:pt idx="2079">
                  <c:v>101.40865000000001</c:v>
                </c:pt>
                <c:pt idx="2080">
                  <c:v>113.79509999999999</c:v>
                </c:pt>
                <c:pt idx="2081">
                  <c:v>140.03745000000001</c:v>
                </c:pt>
                <c:pt idx="2082">
                  <c:v>112.65150000000001</c:v>
                </c:pt>
                <c:pt idx="2083">
                  <c:v>116.88405</c:v>
                </c:pt>
                <c:pt idx="2084">
                  <c:v>219.06427499999998</c:v>
                </c:pt>
                <c:pt idx="2085">
                  <c:v>183.56414999999998</c:v>
                </c:pt>
                <c:pt idx="2086">
                  <c:v>115.266375</c:v>
                </c:pt>
                <c:pt idx="2087">
                  <c:v>125.866125</c:v>
                </c:pt>
                <c:pt idx="2088">
                  <c:v>144.240725</c:v>
                </c:pt>
                <c:pt idx="2089">
                  <c:v>113.38249999999999</c:v>
                </c:pt>
                <c:pt idx="2090">
                  <c:v>222.60424999999998</c:v>
                </c:pt>
                <c:pt idx="2091">
                  <c:v>194.26600000000002</c:v>
                </c:pt>
                <c:pt idx="2092">
                  <c:v>174.601575</c:v>
                </c:pt>
                <c:pt idx="2093">
                  <c:v>195.61404999999996</c:v>
                </c:pt>
                <c:pt idx="2094">
                  <c:v>154.801075</c:v>
                </c:pt>
                <c:pt idx="2095">
                  <c:v>102.22875000000002</c:v>
                </c:pt>
                <c:pt idx="2096">
                  <c:v>93.781424999999999</c:v>
                </c:pt>
                <c:pt idx="2097">
                  <c:v>96.386175000000009</c:v>
                </c:pt>
                <c:pt idx="2098">
                  <c:v>79.395174999999995</c:v>
                </c:pt>
                <c:pt idx="2099">
                  <c:v>85.742050000000006</c:v>
                </c:pt>
                <c:pt idx="2100">
                  <c:v>144.50399999999999</c:v>
                </c:pt>
                <c:pt idx="2101">
                  <c:v>388.18380000000002</c:v>
                </c:pt>
                <c:pt idx="2102">
                  <c:v>465.08204999999998</c:v>
                </c:pt>
                <c:pt idx="2103">
                  <c:v>260.62807500000002</c:v>
                </c:pt>
                <c:pt idx="2104">
                  <c:v>220.34025</c:v>
                </c:pt>
                <c:pt idx="2105">
                  <c:v>261.17889999999994</c:v>
                </c:pt>
                <c:pt idx="2106">
                  <c:v>311.89007500000002</c:v>
                </c:pt>
                <c:pt idx="2107">
                  <c:v>296.86500000000001</c:v>
                </c:pt>
                <c:pt idx="2108">
                  <c:v>211.569075</c:v>
                </c:pt>
                <c:pt idx="2109">
                  <c:v>300.69324999999998</c:v>
                </c:pt>
                <c:pt idx="2110">
                  <c:v>216.78945000000002</c:v>
                </c:pt>
                <c:pt idx="2111">
                  <c:v>185.596575</c:v>
                </c:pt>
                <c:pt idx="2112">
                  <c:v>196.00874999999999</c:v>
                </c:pt>
                <c:pt idx="2113">
                  <c:v>170.71095</c:v>
                </c:pt>
                <c:pt idx="2114">
                  <c:v>136.62459999999999</c:v>
                </c:pt>
                <c:pt idx="2115">
                  <c:v>100.59759999999999</c:v>
                </c:pt>
                <c:pt idx="2116">
                  <c:v>121.53607500000001</c:v>
                </c:pt>
                <c:pt idx="2117">
                  <c:v>123.15225</c:v>
                </c:pt>
                <c:pt idx="2118">
                  <c:v>186.5325</c:v>
                </c:pt>
                <c:pt idx="2119">
                  <c:v>204.22184999999999</c:v>
                </c:pt>
                <c:pt idx="2120">
                  <c:v>159.634175</c:v>
                </c:pt>
                <c:pt idx="2121">
                  <c:v>169.86060000000001</c:v>
                </c:pt>
                <c:pt idx="2122">
                  <c:v>192.31800000000001</c:v>
                </c:pt>
                <c:pt idx="2123">
                  <c:v>86.670675000000003</c:v>
                </c:pt>
                <c:pt idx="2124">
                  <c:v>92.1173</c:v>
                </c:pt>
                <c:pt idx="2125">
                  <c:v>138.289075</c:v>
                </c:pt>
                <c:pt idx="2126">
                  <c:v>116.32185</c:v>
                </c:pt>
                <c:pt idx="2127">
                  <c:v>135.57194999999999</c:v>
                </c:pt>
                <c:pt idx="2128">
                  <c:v>293.59967499999999</c:v>
                </c:pt>
                <c:pt idx="2129">
                  <c:v>160.85022499999999</c:v>
                </c:pt>
                <c:pt idx="2130">
                  <c:v>170.66242500000001</c:v>
                </c:pt>
                <c:pt idx="2131">
                  <c:v>157.81375</c:v>
                </c:pt>
                <c:pt idx="2132">
                  <c:v>318.89010000000002</c:v>
                </c:pt>
                <c:pt idx="2133">
                  <c:v>173.68962500000001</c:v>
                </c:pt>
                <c:pt idx="2134">
                  <c:v>180.342275</c:v>
                </c:pt>
                <c:pt idx="2135">
                  <c:v>109.36239999999999</c:v>
                </c:pt>
                <c:pt idx="2136">
                  <c:v>104.49147499999998</c:v>
                </c:pt>
                <c:pt idx="2137">
                  <c:v>182.53217500000002</c:v>
                </c:pt>
                <c:pt idx="2138">
                  <c:v>276.279</c:v>
                </c:pt>
                <c:pt idx="2139">
                  <c:v>727.98462500000005</c:v>
                </c:pt>
                <c:pt idx="2140">
                  <c:v>935.43299999999999</c:v>
                </c:pt>
                <c:pt idx="2141">
                  <c:v>670.57119999999998</c:v>
                </c:pt>
                <c:pt idx="2142">
                  <c:v>439.28115000000003</c:v>
                </c:pt>
                <c:pt idx="2143">
                  <c:v>366.34719999999999</c:v>
                </c:pt>
                <c:pt idx="2144">
                  <c:v>315.35700000000003</c:v>
                </c:pt>
                <c:pt idx="2145">
                  <c:v>269.70375000000001</c:v>
                </c:pt>
                <c:pt idx="2146">
                  <c:v>431.50715000000002</c:v>
                </c:pt>
                <c:pt idx="2147">
                  <c:v>348.82190000000003</c:v>
                </c:pt>
                <c:pt idx="2148">
                  <c:v>306.97919999999999</c:v>
                </c:pt>
                <c:pt idx="2149">
                  <c:v>237.6</c:v>
                </c:pt>
                <c:pt idx="2150">
                  <c:v>118.250125</c:v>
                </c:pt>
                <c:pt idx="2151">
                  <c:v>139.73872499999999</c:v>
                </c:pt>
                <c:pt idx="2152">
                  <c:v>126.05880000000001</c:v>
                </c:pt>
                <c:pt idx="2153">
                  <c:v>116.06355000000001</c:v>
                </c:pt>
                <c:pt idx="2154">
                  <c:v>136.71542500000001</c:v>
                </c:pt>
                <c:pt idx="2155">
                  <c:v>262.00192500000003</c:v>
                </c:pt>
                <c:pt idx="2156">
                  <c:v>278.73387500000001</c:v>
                </c:pt>
                <c:pt idx="2157">
                  <c:v>291.60404999999997</c:v>
                </c:pt>
                <c:pt idx="2158">
                  <c:v>260.26847499999997</c:v>
                </c:pt>
                <c:pt idx="2159">
                  <c:v>159.96757500000001</c:v>
                </c:pt>
                <c:pt idx="2160">
                  <c:v>225.945075</c:v>
                </c:pt>
                <c:pt idx="2161">
                  <c:v>162.77414999999999</c:v>
                </c:pt>
                <c:pt idx="2162">
                  <c:v>153.20205000000001</c:v>
                </c:pt>
                <c:pt idx="2163">
                  <c:v>123.0638</c:v>
                </c:pt>
                <c:pt idx="2164">
                  <c:v>212.82660000000001</c:v>
                </c:pt>
                <c:pt idx="2165">
                  <c:v>192.70939999999999</c:v>
                </c:pt>
                <c:pt idx="2166">
                  <c:v>186.04034999999999</c:v>
                </c:pt>
                <c:pt idx="2167">
                  <c:v>136.79137499999999</c:v>
                </c:pt>
                <c:pt idx="2168">
                  <c:v>134.93362500000001</c:v>
                </c:pt>
                <c:pt idx="2169">
                  <c:v>161.053775</c:v>
                </c:pt>
                <c:pt idx="2170">
                  <c:v>98.129099999999994</c:v>
                </c:pt>
                <c:pt idx="2171">
                  <c:v>86.825774999999993</c:v>
                </c:pt>
                <c:pt idx="2172">
                  <c:v>141.13155</c:v>
                </c:pt>
                <c:pt idx="2173">
                  <c:v>130.579025</c:v>
                </c:pt>
                <c:pt idx="2174">
                  <c:v>182.86517499999999</c:v>
                </c:pt>
                <c:pt idx="2175">
                  <c:v>173.36644999999999</c:v>
                </c:pt>
                <c:pt idx="2176">
                  <c:v>154.34812500000001</c:v>
                </c:pt>
                <c:pt idx="2177">
                  <c:v>150.94075000000001</c:v>
                </c:pt>
                <c:pt idx="2178">
                  <c:v>133.65787499999999</c:v>
                </c:pt>
                <c:pt idx="2179">
                  <c:v>91.202150000000003</c:v>
                </c:pt>
                <c:pt idx="2180">
                  <c:v>119.950625</c:v>
                </c:pt>
                <c:pt idx="2181">
                  <c:v>135.16537500000001</c:v>
                </c:pt>
                <c:pt idx="2182">
                  <c:v>128.260975</c:v>
                </c:pt>
                <c:pt idx="2183">
                  <c:v>171.26325</c:v>
                </c:pt>
                <c:pt idx="2184">
                  <c:v>137.72880000000001</c:v>
                </c:pt>
                <c:pt idx="2185">
                  <c:v>111.77375000000002</c:v>
                </c:pt>
                <c:pt idx="2186">
                  <c:v>120.71835</c:v>
                </c:pt>
                <c:pt idx="2187">
                  <c:v>71.570625000000007</c:v>
                </c:pt>
                <c:pt idx="2188">
                  <c:v>64.839600000000004</c:v>
                </c:pt>
                <c:pt idx="2189">
                  <c:v>85.023925000000006</c:v>
                </c:pt>
                <c:pt idx="2190">
                  <c:v>97.752974999999992</c:v>
                </c:pt>
                <c:pt idx="2191">
                  <c:v>78.802374999999998</c:v>
                </c:pt>
                <c:pt idx="2192">
                  <c:v>88.682850000000002</c:v>
                </c:pt>
                <c:pt idx="2193">
                  <c:v>120.68415000000002</c:v>
                </c:pt>
                <c:pt idx="2194">
                  <c:v>131.63864999999998</c:v>
                </c:pt>
                <c:pt idx="2195">
                  <c:v>126.53617500000001</c:v>
                </c:pt>
                <c:pt idx="2196">
                  <c:v>101.72335000000001</c:v>
                </c:pt>
                <c:pt idx="2197">
                  <c:v>175.21735000000001</c:v>
                </c:pt>
                <c:pt idx="2198">
                  <c:v>220.96687499999999</c:v>
                </c:pt>
                <c:pt idx="2199">
                  <c:v>121.98462499999999</c:v>
                </c:pt>
                <c:pt idx="2200">
                  <c:v>120.14419999999998</c:v>
                </c:pt>
                <c:pt idx="2201">
                  <c:v>97.626374999999996</c:v>
                </c:pt>
                <c:pt idx="2202">
                  <c:v>141.07689999999999</c:v>
                </c:pt>
                <c:pt idx="2203">
                  <c:v>102.7013</c:v>
                </c:pt>
                <c:pt idx="2204">
                  <c:v>115.65399999999998</c:v>
                </c:pt>
                <c:pt idx="2205">
                  <c:v>112.25477500000001</c:v>
                </c:pt>
                <c:pt idx="2206">
                  <c:v>69.082499999999996</c:v>
                </c:pt>
                <c:pt idx="2207">
                  <c:v>59.239950000000007</c:v>
                </c:pt>
                <c:pt idx="2208">
                  <c:v>98.080600000000004</c:v>
                </c:pt>
                <c:pt idx="2209">
                  <c:v>136.705725</c:v>
                </c:pt>
                <c:pt idx="2210">
                  <c:v>206.47964999999996</c:v>
                </c:pt>
                <c:pt idx="2211">
                  <c:v>204.40020000000004</c:v>
                </c:pt>
                <c:pt idx="2212">
                  <c:v>216.95205000000004</c:v>
                </c:pt>
                <c:pt idx="2213">
                  <c:v>115.37735000000001</c:v>
                </c:pt>
                <c:pt idx="2214">
                  <c:v>155.42422500000001</c:v>
                </c:pt>
                <c:pt idx="2215">
                  <c:v>158.6634</c:v>
                </c:pt>
                <c:pt idx="2216">
                  <c:v>127.0915</c:v>
                </c:pt>
                <c:pt idx="2217">
                  <c:v>324.310225</c:v>
                </c:pt>
                <c:pt idx="2218">
                  <c:v>212.59174999999999</c:v>
                </c:pt>
                <c:pt idx="2219">
                  <c:v>128.45807500000001</c:v>
                </c:pt>
                <c:pt idx="2220">
                  <c:v>148.62857500000001</c:v>
                </c:pt>
                <c:pt idx="2221">
                  <c:v>157.08687499999999</c:v>
                </c:pt>
                <c:pt idx="2222">
                  <c:v>165.72534999999999</c:v>
                </c:pt>
                <c:pt idx="2223">
                  <c:v>93.81</c:v>
                </c:pt>
                <c:pt idx="2224">
                  <c:v>97.338750000000005</c:v>
                </c:pt>
                <c:pt idx="2225">
                  <c:v>88.353899999999996</c:v>
                </c:pt>
                <c:pt idx="2226">
                  <c:v>25.239599999999999</c:v>
                </c:pt>
                <c:pt idx="2227">
                  <c:v>89.884574999999998</c:v>
                </c:pt>
                <c:pt idx="2228">
                  <c:v>85.423450000000003</c:v>
                </c:pt>
                <c:pt idx="2229">
                  <c:v>62.720849999999992</c:v>
                </c:pt>
                <c:pt idx="2230">
                  <c:v>92.183400000000006</c:v>
                </c:pt>
                <c:pt idx="2231">
                  <c:v>200.81512499999999</c:v>
                </c:pt>
                <c:pt idx="2232">
                  <c:v>172.86009999999999</c:v>
                </c:pt>
                <c:pt idx="2233">
                  <c:v>139.82062500000001</c:v>
                </c:pt>
                <c:pt idx="2234">
                  <c:v>411.76850000000002</c:v>
                </c:pt>
                <c:pt idx="2235">
                  <c:v>256.29370000000006</c:v>
                </c:pt>
                <c:pt idx="2236">
                  <c:v>356.09887500000002</c:v>
                </c:pt>
                <c:pt idx="2237">
                  <c:v>264.60244999999998</c:v>
                </c:pt>
                <c:pt idx="2238">
                  <c:v>220.93074999999999</c:v>
                </c:pt>
                <c:pt idx="2239">
                  <c:v>245.25</c:v>
                </c:pt>
                <c:pt idx="2240">
                  <c:v>456.58589999999998</c:v>
                </c:pt>
                <c:pt idx="2241">
                  <c:v>250.04024999999999</c:v>
                </c:pt>
                <c:pt idx="2242">
                  <c:v>234.45637500000001</c:v>
                </c:pt>
                <c:pt idx="2243">
                  <c:v>154.99462500000001</c:v>
                </c:pt>
                <c:pt idx="2244">
                  <c:v>164.76249999999999</c:v>
                </c:pt>
                <c:pt idx="2245">
                  <c:v>120.184</c:v>
                </c:pt>
                <c:pt idx="2246">
                  <c:v>99.539500000000004</c:v>
                </c:pt>
                <c:pt idx="2247">
                  <c:v>120.08392500000002</c:v>
                </c:pt>
                <c:pt idx="2248">
                  <c:v>125.49299999999999</c:v>
                </c:pt>
                <c:pt idx="2249">
                  <c:v>152.409775</c:v>
                </c:pt>
                <c:pt idx="2250">
                  <c:v>113.715875</c:v>
                </c:pt>
                <c:pt idx="2251">
                  <c:v>136.35599999999999</c:v>
                </c:pt>
                <c:pt idx="2252">
                  <c:v>192.8733</c:v>
                </c:pt>
                <c:pt idx="2253">
                  <c:v>148.018125</c:v>
                </c:pt>
                <c:pt idx="2254">
                  <c:v>192.87812500000001</c:v>
                </c:pt>
                <c:pt idx="2255">
                  <c:v>230.7303</c:v>
                </c:pt>
                <c:pt idx="2256">
                  <c:v>214.57964999999999</c:v>
                </c:pt>
                <c:pt idx="2257">
                  <c:v>168.18719999999999</c:v>
                </c:pt>
                <c:pt idx="2258">
                  <c:v>368.55085000000003</c:v>
                </c:pt>
                <c:pt idx="2259">
                  <c:v>284.0976</c:v>
                </c:pt>
                <c:pt idx="2260">
                  <c:v>182.58160000000001</c:v>
                </c:pt>
                <c:pt idx="2261">
                  <c:v>175.78534999999999</c:v>
                </c:pt>
                <c:pt idx="2262">
                  <c:v>168.04192499999999</c:v>
                </c:pt>
                <c:pt idx="2263">
                  <c:v>142.351125</c:v>
                </c:pt>
                <c:pt idx="2264">
                  <c:v>128.64802499999999</c:v>
                </c:pt>
                <c:pt idx="2265">
                  <c:v>154.14465000000001</c:v>
                </c:pt>
                <c:pt idx="2266">
                  <c:v>261.96884999999997</c:v>
                </c:pt>
                <c:pt idx="2267">
                  <c:v>109.47945</c:v>
                </c:pt>
                <c:pt idx="2268">
                  <c:v>147.17092500000001</c:v>
                </c:pt>
                <c:pt idx="2269">
                  <c:v>117.7512</c:v>
                </c:pt>
                <c:pt idx="2270">
                  <c:v>163.830975</c:v>
                </c:pt>
                <c:pt idx="2271">
                  <c:v>132.98325</c:v>
                </c:pt>
                <c:pt idx="2272">
                  <c:v>102.74355</c:v>
                </c:pt>
                <c:pt idx="2273">
                  <c:v>127.33750000000001</c:v>
                </c:pt>
                <c:pt idx="2274">
                  <c:v>98.475025000000002</c:v>
                </c:pt>
                <c:pt idx="2275">
                  <c:v>147.61165</c:v>
                </c:pt>
                <c:pt idx="2276">
                  <c:v>95.93965</c:v>
                </c:pt>
                <c:pt idx="2277">
                  <c:v>186.71695</c:v>
                </c:pt>
                <c:pt idx="2278">
                  <c:v>193.18020000000001</c:v>
                </c:pt>
                <c:pt idx="2279">
                  <c:v>73.305324999999996</c:v>
                </c:pt>
                <c:pt idx="2280">
                  <c:v>105.44880000000001</c:v>
                </c:pt>
                <c:pt idx="2281">
                  <c:v>213.32905</c:v>
                </c:pt>
                <c:pt idx="2282">
                  <c:v>132.05334999999999</c:v>
                </c:pt>
                <c:pt idx="2283">
                  <c:v>70.276499999999999</c:v>
                </c:pt>
                <c:pt idx="2284">
                  <c:v>99.144999999999996</c:v>
                </c:pt>
                <c:pt idx="2285">
                  <c:v>83.272525000000002</c:v>
                </c:pt>
                <c:pt idx="2286">
                  <c:v>101.51224999999999</c:v>
                </c:pt>
                <c:pt idx="2287">
                  <c:v>96.767325</c:v>
                </c:pt>
                <c:pt idx="2288">
                  <c:v>64.761949999999999</c:v>
                </c:pt>
                <c:pt idx="2289">
                  <c:v>116.501875</c:v>
                </c:pt>
                <c:pt idx="2290">
                  <c:v>191.32225</c:v>
                </c:pt>
                <c:pt idx="2291">
                  <c:v>140.392</c:v>
                </c:pt>
                <c:pt idx="2292">
                  <c:v>103.43690000000001</c:v>
                </c:pt>
                <c:pt idx="2293">
                  <c:v>94.972800000000007</c:v>
                </c:pt>
                <c:pt idx="2294">
                  <c:v>151.46575000000001</c:v>
                </c:pt>
                <c:pt idx="2295">
                  <c:v>136.08869999999999</c:v>
                </c:pt>
                <c:pt idx="2296">
                  <c:v>194.506675</c:v>
                </c:pt>
                <c:pt idx="2297">
                  <c:v>151.08975000000001</c:v>
                </c:pt>
                <c:pt idx="2298">
                  <c:v>148.27087499999999</c:v>
                </c:pt>
                <c:pt idx="2299">
                  <c:v>230.90774999999999</c:v>
                </c:pt>
                <c:pt idx="2300">
                  <c:v>190.9736</c:v>
                </c:pt>
                <c:pt idx="2301">
                  <c:v>136.105975</c:v>
                </c:pt>
                <c:pt idx="2302">
                  <c:v>286.59997499999997</c:v>
                </c:pt>
                <c:pt idx="2303">
                  <c:v>113.36115000000001</c:v>
                </c:pt>
                <c:pt idx="2304">
                  <c:v>138.020025</c:v>
                </c:pt>
                <c:pt idx="2305">
                  <c:v>208.95975000000001</c:v>
                </c:pt>
                <c:pt idx="2306">
                  <c:v>204.34455</c:v>
                </c:pt>
                <c:pt idx="2307">
                  <c:v>106.5625</c:v>
                </c:pt>
                <c:pt idx="2308">
                  <c:v>163.297875</c:v>
                </c:pt>
                <c:pt idx="2309">
                  <c:v>88.272499999999994</c:v>
                </c:pt>
                <c:pt idx="2310">
                  <c:v>106.82537499999998</c:v>
                </c:pt>
                <c:pt idx="2311">
                  <c:v>142.348625</c:v>
                </c:pt>
                <c:pt idx="2312">
                  <c:v>276.29222499999997</c:v>
                </c:pt>
                <c:pt idx="2313">
                  <c:v>149.84662499999999</c:v>
                </c:pt>
                <c:pt idx="2314">
                  <c:v>242.80812499999999</c:v>
                </c:pt>
                <c:pt idx="2315">
                  <c:v>144.28717499999999</c:v>
                </c:pt>
                <c:pt idx="2316">
                  <c:v>215.831175</c:v>
                </c:pt>
                <c:pt idx="2317">
                  <c:v>211.35075000000001</c:v>
                </c:pt>
                <c:pt idx="2318">
                  <c:v>133.30155000000002</c:v>
                </c:pt>
                <c:pt idx="2319">
                  <c:v>189.56655000000001</c:v>
                </c:pt>
                <c:pt idx="2320">
                  <c:v>135.334</c:v>
                </c:pt>
                <c:pt idx="2321">
                  <c:v>138.32835</c:v>
                </c:pt>
                <c:pt idx="2322">
                  <c:v>188.76195000000001</c:v>
                </c:pt>
                <c:pt idx="2323">
                  <c:v>125.98762499999999</c:v>
                </c:pt>
                <c:pt idx="2324">
                  <c:v>187.42814999999999</c:v>
                </c:pt>
                <c:pt idx="2325">
                  <c:v>271.87804999999997</c:v>
                </c:pt>
              </c:numCache>
            </c:numRef>
          </c:val>
          <c:smooth val="0"/>
          <c:extLst xmlns:c16r2="http://schemas.microsoft.com/office/drawing/2015/06/chart">
            <c:ext xmlns:c16="http://schemas.microsoft.com/office/drawing/2014/chart" uri="{C3380CC4-5D6E-409C-BE32-E72D297353CC}">
              <c16:uniqueId val="{00000003-D32F-411E-8D19-FB25DBF8795E}"/>
            </c:ext>
          </c:extLst>
        </c:ser>
        <c:ser>
          <c:idx val="4"/>
          <c:order val="4"/>
          <c:tx>
            <c:strRef>
              <c:f>'Vix futures volumes'!$AN$4</c:f>
              <c:strCache>
                <c:ptCount val="1"/>
                <c:pt idx="0">
                  <c:v>5th Nearby future</c:v>
                </c:pt>
              </c:strCache>
            </c:strRef>
          </c:tx>
          <c:marker>
            <c:symbol val="none"/>
          </c:marker>
          <c:cat>
            <c:numRef>
              <c:f>'Vix futures volumes'!$AI$5:$AI$2330</c:f>
              <c:numCache>
                <c:formatCode>m/d/yyyy</c:formatCode>
                <c:ptCount val="2326"/>
                <c:pt idx="0">
                  <c:v>39085</c:v>
                </c:pt>
                <c:pt idx="1">
                  <c:v>39086</c:v>
                </c:pt>
                <c:pt idx="2">
                  <c:v>39087</c:v>
                </c:pt>
                <c:pt idx="3">
                  <c:v>39090</c:v>
                </c:pt>
                <c:pt idx="4">
                  <c:v>39091</c:v>
                </c:pt>
                <c:pt idx="5">
                  <c:v>39092</c:v>
                </c:pt>
                <c:pt idx="6">
                  <c:v>39093</c:v>
                </c:pt>
                <c:pt idx="7">
                  <c:v>39094</c:v>
                </c:pt>
                <c:pt idx="8">
                  <c:v>39098</c:v>
                </c:pt>
                <c:pt idx="9">
                  <c:v>39099</c:v>
                </c:pt>
                <c:pt idx="10">
                  <c:v>39100</c:v>
                </c:pt>
                <c:pt idx="11">
                  <c:v>39101</c:v>
                </c:pt>
                <c:pt idx="12">
                  <c:v>39105</c:v>
                </c:pt>
                <c:pt idx="13">
                  <c:v>39106</c:v>
                </c:pt>
                <c:pt idx="14">
                  <c:v>39107</c:v>
                </c:pt>
                <c:pt idx="15">
                  <c:v>39114</c:v>
                </c:pt>
                <c:pt idx="16">
                  <c:v>39119</c:v>
                </c:pt>
                <c:pt idx="17">
                  <c:v>39121</c:v>
                </c:pt>
                <c:pt idx="18">
                  <c:v>39122</c:v>
                </c:pt>
                <c:pt idx="19">
                  <c:v>39125</c:v>
                </c:pt>
                <c:pt idx="20">
                  <c:v>39127</c:v>
                </c:pt>
                <c:pt idx="21">
                  <c:v>39128</c:v>
                </c:pt>
                <c:pt idx="22">
                  <c:v>39133</c:v>
                </c:pt>
                <c:pt idx="23">
                  <c:v>39134</c:v>
                </c:pt>
                <c:pt idx="24">
                  <c:v>39135</c:v>
                </c:pt>
                <c:pt idx="25">
                  <c:v>39136</c:v>
                </c:pt>
                <c:pt idx="26">
                  <c:v>39140</c:v>
                </c:pt>
                <c:pt idx="27">
                  <c:v>39141</c:v>
                </c:pt>
                <c:pt idx="28">
                  <c:v>39142</c:v>
                </c:pt>
                <c:pt idx="29">
                  <c:v>39143</c:v>
                </c:pt>
                <c:pt idx="30">
                  <c:v>39146</c:v>
                </c:pt>
                <c:pt idx="31">
                  <c:v>39147</c:v>
                </c:pt>
                <c:pt idx="32">
                  <c:v>39154</c:v>
                </c:pt>
                <c:pt idx="33">
                  <c:v>39155</c:v>
                </c:pt>
                <c:pt idx="34">
                  <c:v>39157</c:v>
                </c:pt>
                <c:pt idx="35">
                  <c:v>39160</c:v>
                </c:pt>
                <c:pt idx="36">
                  <c:v>39162</c:v>
                </c:pt>
                <c:pt idx="37">
                  <c:v>39163</c:v>
                </c:pt>
                <c:pt idx="38">
                  <c:v>39164</c:v>
                </c:pt>
                <c:pt idx="39">
                  <c:v>39167</c:v>
                </c:pt>
                <c:pt idx="40">
                  <c:v>39168</c:v>
                </c:pt>
                <c:pt idx="41">
                  <c:v>39169</c:v>
                </c:pt>
                <c:pt idx="42">
                  <c:v>39170</c:v>
                </c:pt>
                <c:pt idx="43">
                  <c:v>39171</c:v>
                </c:pt>
                <c:pt idx="44">
                  <c:v>39174</c:v>
                </c:pt>
                <c:pt idx="45">
                  <c:v>39175</c:v>
                </c:pt>
                <c:pt idx="46">
                  <c:v>39176</c:v>
                </c:pt>
                <c:pt idx="47">
                  <c:v>39177</c:v>
                </c:pt>
                <c:pt idx="48">
                  <c:v>39181</c:v>
                </c:pt>
                <c:pt idx="49">
                  <c:v>39182</c:v>
                </c:pt>
                <c:pt idx="50">
                  <c:v>39183</c:v>
                </c:pt>
                <c:pt idx="51">
                  <c:v>39184</c:v>
                </c:pt>
                <c:pt idx="52">
                  <c:v>39189</c:v>
                </c:pt>
                <c:pt idx="53">
                  <c:v>39192</c:v>
                </c:pt>
                <c:pt idx="54">
                  <c:v>39195</c:v>
                </c:pt>
                <c:pt idx="55">
                  <c:v>39196</c:v>
                </c:pt>
                <c:pt idx="56">
                  <c:v>39198</c:v>
                </c:pt>
                <c:pt idx="57">
                  <c:v>39199</c:v>
                </c:pt>
                <c:pt idx="58">
                  <c:v>39202</c:v>
                </c:pt>
                <c:pt idx="59">
                  <c:v>39203</c:v>
                </c:pt>
                <c:pt idx="60">
                  <c:v>39205</c:v>
                </c:pt>
                <c:pt idx="61">
                  <c:v>39206</c:v>
                </c:pt>
                <c:pt idx="62">
                  <c:v>39209</c:v>
                </c:pt>
                <c:pt idx="63">
                  <c:v>39210</c:v>
                </c:pt>
                <c:pt idx="64">
                  <c:v>39211</c:v>
                </c:pt>
                <c:pt idx="65">
                  <c:v>39212</c:v>
                </c:pt>
                <c:pt idx="66">
                  <c:v>39213</c:v>
                </c:pt>
                <c:pt idx="67">
                  <c:v>39216</c:v>
                </c:pt>
                <c:pt idx="68">
                  <c:v>39217</c:v>
                </c:pt>
                <c:pt idx="69">
                  <c:v>39218</c:v>
                </c:pt>
                <c:pt idx="70">
                  <c:v>39219</c:v>
                </c:pt>
                <c:pt idx="71">
                  <c:v>39223</c:v>
                </c:pt>
                <c:pt idx="72">
                  <c:v>39224</c:v>
                </c:pt>
                <c:pt idx="73">
                  <c:v>39225</c:v>
                </c:pt>
                <c:pt idx="74">
                  <c:v>39226</c:v>
                </c:pt>
                <c:pt idx="75">
                  <c:v>39227</c:v>
                </c:pt>
                <c:pt idx="76">
                  <c:v>39231</c:v>
                </c:pt>
                <c:pt idx="77">
                  <c:v>39232</c:v>
                </c:pt>
                <c:pt idx="78">
                  <c:v>39233</c:v>
                </c:pt>
                <c:pt idx="79">
                  <c:v>39234</c:v>
                </c:pt>
                <c:pt idx="80">
                  <c:v>39237</c:v>
                </c:pt>
                <c:pt idx="81">
                  <c:v>39238</c:v>
                </c:pt>
                <c:pt idx="82">
                  <c:v>39239</c:v>
                </c:pt>
                <c:pt idx="83">
                  <c:v>39240</c:v>
                </c:pt>
                <c:pt idx="84">
                  <c:v>39241</c:v>
                </c:pt>
                <c:pt idx="85">
                  <c:v>39244</c:v>
                </c:pt>
                <c:pt idx="86">
                  <c:v>39245</c:v>
                </c:pt>
                <c:pt idx="87">
                  <c:v>39246</c:v>
                </c:pt>
                <c:pt idx="88">
                  <c:v>39247</c:v>
                </c:pt>
                <c:pt idx="89">
                  <c:v>39248</c:v>
                </c:pt>
                <c:pt idx="90">
                  <c:v>39251</c:v>
                </c:pt>
                <c:pt idx="91">
                  <c:v>39252</c:v>
                </c:pt>
                <c:pt idx="92">
                  <c:v>39253</c:v>
                </c:pt>
                <c:pt idx="93">
                  <c:v>39254</c:v>
                </c:pt>
                <c:pt idx="94">
                  <c:v>39255</c:v>
                </c:pt>
                <c:pt idx="95">
                  <c:v>39258</c:v>
                </c:pt>
                <c:pt idx="96">
                  <c:v>39259</c:v>
                </c:pt>
                <c:pt idx="97">
                  <c:v>39260</c:v>
                </c:pt>
                <c:pt idx="98">
                  <c:v>39261</c:v>
                </c:pt>
                <c:pt idx="99">
                  <c:v>39262</c:v>
                </c:pt>
                <c:pt idx="100">
                  <c:v>39265</c:v>
                </c:pt>
                <c:pt idx="101">
                  <c:v>39266</c:v>
                </c:pt>
                <c:pt idx="102">
                  <c:v>39268</c:v>
                </c:pt>
                <c:pt idx="103">
                  <c:v>39269</c:v>
                </c:pt>
                <c:pt idx="104">
                  <c:v>39272</c:v>
                </c:pt>
                <c:pt idx="105">
                  <c:v>39273</c:v>
                </c:pt>
                <c:pt idx="106">
                  <c:v>39274</c:v>
                </c:pt>
                <c:pt idx="107">
                  <c:v>39275</c:v>
                </c:pt>
                <c:pt idx="108">
                  <c:v>39276</c:v>
                </c:pt>
                <c:pt idx="109">
                  <c:v>39279</c:v>
                </c:pt>
                <c:pt idx="110">
                  <c:v>39280</c:v>
                </c:pt>
                <c:pt idx="111">
                  <c:v>39281</c:v>
                </c:pt>
                <c:pt idx="112">
                  <c:v>39282</c:v>
                </c:pt>
                <c:pt idx="113">
                  <c:v>39283</c:v>
                </c:pt>
                <c:pt idx="114">
                  <c:v>39286</c:v>
                </c:pt>
                <c:pt idx="115">
                  <c:v>39287</c:v>
                </c:pt>
                <c:pt idx="116">
                  <c:v>39288</c:v>
                </c:pt>
                <c:pt idx="117">
                  <c:v>39289</c:v>
                </c:pt>
                <c:pt idx="118">
                  <c:v>39290</c:v>
                </c:pt>
                <c:pt idx="119">
                  <c:v>39293</c:v>
                </c:pt>
                <c:pt idx="120">
                  <c:v>39294</c:v>
                </c:pt>
                <c:pt idx="121">
                  <c:v>39295</c:v>
                </c:pt>
                <c:pt idx="122">
                  <c:v>39296</c:v>
                </c:pt>
                <c:pt idx="123">
                  <c:v>39297</c:v>
                </c:pt>
                <c:pt idx="124">
                  <c:v>39300</c:v>
                </c:pt>
                <c:pt idx="125">
                  <c:v>39301</c:v>
                </c:pt>
                <c:pt idx="126">
                  <c:v>39302</c:v>
                </c:pt>
                <c:pt idx="127">
                  <c:v>39303</c:v>
                </c:pt>
                <c:pt idx="128">
                  <c:v>39304</c:v>
                </c:pt>
                <c:pt idx="129">
                  <c:v>39307</c:v>
                </c:pt>
                <c:pt idx="130">
                  <c:v>39308</c:v>
                </c:pt>
                <c:pt idx="131">
                  <c:v>39309</c:v>
                </c:pt>
                <c:pt idx="132">
                  <c:v>39310</c:v>
                </c:pt>
                <c:pt idx="133">
                  <c:v>39311</c:v>
                </c:pt>
                <c:pt idx="134">
                  <c:v>39314</c:v>
                </c:pt>
                <c:pt idx="135">
                  <c:v>39315</c:v>
                </c:pt>
                <c:pt idx="136">
                  <c:v>39316</c:v>
                </c:pt>
                <c:pt idx="137">
                  <c:v>39317</c:v>
                </c:pt>
                <c:pt idx="138">
                  <c:v>39318</c:v>
                </c:pt>
                <c:pt idx="139">
                  <c:v>39322</c:v>
                </c:pt>
                <c:pt idx="140">
                  <c:v>39323</c:v>
                </c:pt>
                <c:pt idx="141">
                  <c:v>39329</c:v>
                </c:pt>
                <c:pt idx="142">
                  <c:v>39330</c:v>
                </c:pt>
                <c:pt idx="143">
                  <c:v>39331</c:v>
                </c:pt>
                <c:pt idx="144">
                  <c:v>39332</c:v>
                </c:pt>
                <c:pt idx="145">
                  <c:v>39335</c:v>
                </c:pt>
                <c:pt idx="146">
                  <c:v>39338</c:v>
                </c:pt>
                <c:pt idx="147">
                  <c:v>39339</c:v>
                </c:pt>
                <c:pt idx="148">
                  <c:v>39342</c:v>
                </c:pt>
                <c:pt idx="149">
                  <c:v>39343</c:v>
                </c:pt>
                <c:pt idx="150">
                  <c:v>39344</c:v>
                </c:pt>
                <c:pt idx="151">
                  <c:v>39345</c:v>
                </c:pt>
                <c:pt idx="152">
                  <c:v>39346</c:v>
                </c:pt>
                <c:pt idx="153">
                  <c:v>39349</c:v>
                </c:pt>
                <c:pt idx="154">
                  <c:v>39350</c:v>
                </c:pt>
                <c:pt idx="155">
                  <c:v>39351</c:v>
                </c:pt>
                <c:pt idx="156">
                  <c:v>39352</c:v>
                </c:pt>
                <c:pt idx="157">
                  <c:v>39353</c:v>
                </c:pt>
                <c:pt idx="158">
                  <c:v>39356</c:v>
                </c:pt>
                <c:pt idx="159">
                  <c:v>39357</c:v>
                </c:pt>
                <c:pt idx="160">
                  <c:v>39358</c:v>
                </c:pt>
                <c:pt idx="161">
                  <c:v>39359</c:v>
                </c:pt>
                <c:pt idx="162">
                  <c:v>39360</c:v>
                </c:pt>
                <c:pt idx="163">
                  <c:v>39363</c:v>
                </c:pt>
                <c:pt idx="164">
                  <c:v>39364</c:v>
                </c:pt>
                <c:pt idx="165">
                  <c:v>39365</c:v>
                </c:pt>
                <c:pt idx="166">
                  <c:v>39366</c:v>
                </c:pt>
                <c:pt idx="167">
                  <c:v>39367</c:v>
                </c:pt>
                <c:pt idx="168">
                  <c:v>39370</c:v>
                </c:pt>
                <c:pt idx="169">
                  <c:v>39371</c:v>
                </c:pt>
                <c:pt idx="170">
                  <c:v>39372</c:v>
                </c:pt>
                <c:pt idx="171">
                  <c:v>39374</c:v>
                </c:pt>
                <c:pt idx="172">
                  <c:v>39377</c:v>
                </c:pt>
                <c:pt idx="173">
                  <c:v>39379</c:v>
                </c:pt>
                <c:pt idx="174">
                  <c:v>39380</c:v>
                </c:pt>
                <c:pt idx="175">
                  <c:v>39381</c:v>
                </c:pt>
                <c:pt idx="176">
                  <c:v>39384</c:v>
                </c:pt>
                <c:pt idx="177">
                  <c:v>39385</c:v>
                </c:pt>
                <c:pt idx="178">
                  <c:v>39386</c:v>
                </c:pt>
                <c:pt idx="179">
                  <c:v>39387</c:v>
                </c:pt>
                <c:pt idx="180">
                  <c:v>39388</c:v>
                </c:pt>
                <c:pt idx="181">
                  <c:v>39391</c:v>
                </c:pt>
                <c:pt idx="182">
                  <c:v>39392</c:v>
                </c:pt>
                <c:pt idx="183">
                  <c:v>39393</c:v>
                </c:pt>
                <c:pt idx="184">
                  <c:v>39394</c:v>
                </c:pt>
                <c:pt idx="185">
                  <c:v>39395</c:v>
                </c:pt>
                <c:pt idx="186">
                  <c:v>39398</c:v>
                </c:pt>
                <c:pt idx="187">
                  <c:v>39399</c:v>
                </c:pt>
                <c:pt idx="188">
                  <c:v>39400</c:v>
                </c:pt>
                <c:pt idx="189">
                  <c:v>39401</c:v>
                </c:pt>
                <c:pt idx="190">
                  <c:v>39402</c:v>
                </c:pt>
                <c:pt idx="191">
                  <c:v>39405</c:v>
                </c:pt>
                <c:pt idx="192">
                  <c:v>39406</c:v>
                </c:pt>
                <c:pt idx="193">
                  <c:v>39407</c:v>
                </c:pt>
                <c:pt idx="194">
                  <c:v>39409</c:v>
                </c:pt>
                <c:pt idx="195">
                  <c:v>39412</c:v>
                </c:pt>
                <c:pt idx="196">
                  <c:v>39413</c:v>
                </c:pt>
                <c:pt idx="197">
                  <c:v>39414</c:v>
                </c:pt>
                <c:pt idx="198">
                  <c:v>39415</c:v>
                </c:pt>
                <c:pt idx="199">
                  <c:v>39416</c:v>
                </c:pt>
                <c:pt idx="200">
                  <c:v>39420</c:v>
                </c:pt>
                <c:pt idx="201">
                  <c:v>39421</c:v>
                </c:pt>
                <c:pt idx="202">
                  <c:v>39422</c:v>
                </c:pt>
                <c:pt idx="203">
                  <c:v>39423</c:v>
                </c:pt>
                <c:pt idx="204">
                  <c:v>39426</c:v>
                </c:pt>
                <c:pt idx="205">
                  <c:v>39427</c:v>
                </c:pt>
                <c:pt idx="206">
                  <c:v>39428</c:v>
                </c:pt>
                <c:pt idx="207">
                  <c:v>39429</c:v>
                </c:pt>
                <c:pt idx="208">
                  <c:v>39430</c:v>
                </c:pt>
                <c:pt idx="209">
                  <c:v>39433</c:v>
                </c:pt>
                <c:pt idx="210">
                  <c:v>39434</c:v>
                </c:pt>
                <c:pt idx="211">
                  <c:v>39435</c:v>
                </c:pt>
                <c:pt idx="212">
                  <c:v>39436</c:v>
                </c:pt>
                <c:pt idx="213">
                  <c:v>39437</c:v>
                </c:pt>
                <c:pt idx="214">
                  <c:v>39440</c:v>
                </c:pt>
                <c:pt idx="215">
                  <c:v>39442</c:v>
                </c:pt>
                <c:pt idx="216">
                  <c:v>39443</c:v>
                </c:pt>
                <c:pt idx="217">
                  <c:v>39444</c:v>
                </c:pt>
                <c:pt idx="218">
                  <c:v>39447</c:v>
                </c:pt>
                <c:pt idx="219">
                  <c:v>39449</c:v>
                </c:pt>
                <c:pt idx="220">
                  <c:v>39450</c:v>
                </c:pt>
                <c:pt idx="221">
                  <c:v>39451</c:v>
                </c:pt>
                <c:pt idx="222">
                  <c:v>39454</c:v>
                </c:pt>
                <c:pt idx="223">
                  <c:v>39455</c:v>
                </c:pt>
                <c:pt idx="224">
                  <c:v>39456</c:v>
                </c:pt>
                <c:pt idx="225">
                  <c:v>39457</c:v>
                </c:pt>
                <c:pt idx="226">
                  <c:v>39458</c:v>
                </c:pt>
                <c:pt idx="227">
                  <c:v>39461</c:v>
                </c:pt>
                <c:pt idx="228">
                  <c:v>39462</c:v>
                </c:pt>
                <c:pt idx="229">
                  <c:v>39463</c:v>
                </c:pt>
                <c:pt idx="230">
                  <c:v>39464</c:v>
                </c:pt>
                <c:pt idx="231">
                  <c:v>39465</c:v>
                </c:pt>
                <c:pt idx="232">
                  <c:v>39469</c:v>
                </c:pt>
                <c:pt idx="233">
                  <c:v>39470</c:v>
                </c:pt>
                <c:pt idx="234">
                  <c:v>39471</c:v>
                </c:pt>
                <c:pt idx="235">
                  <c:v>39472</c:v>
                </c:pt>
                <c:pt idx="236">
                  <c:v>39475</c:v>
                </c:pt>
                <c:pt idx="237">
                  <c:v>39476</c:v>
                </c:pt>
                <c:pt idx="238">
                  <c:v>39477</c:v>
                </c:pt>
                <c:pt idx="239">
                  <c:v>39478</c:v>
                </c:pt>
                <c:pt idx="240">
                  <c:v>39479</c:v>
                </c:pt>
                <c:pt idx="241">
                  <c:v>39482</c:v>
                </c:pt>
                <c:pt idx="242">
                  <c:v>39483</c:v>
                </c:pt>
                <c:pt idx="243">
                  <c:v>39484</c:v>
                </c:pt>
                <c:pt idx="244">
                  <c:v>39485</c:v>
                </c:pt>
                <c:pt idx="245">
                  <c:v>39486</c:v>
                </c:pt>
                <c:pt idx="246">
                  <c:v>39489</c:v>
                </c:pt>
                <c:pt idx="247">
                  <c:v>39490</c:v>
                </c:pt>
                <c:pt idx="248">
                  <c:v>39491</c:v>
                </c:pt>
                <c:pt idx="249">
                  <c:v>39492</c:v>
                </c:pt>
                <c:pt idx="250">
                  <c:v>39493</c:v>
                </c:pt>
                <c:pt idx="251">
                  <c:v>39497</c:v>
                </c:pt>
                <c:pt idx="252">
                  <c:v>39498</c:v>
                </c:pt>
                <c:pt idx="253">
                  <c:v>39499</c:v>
                </c:pt>
                <c:pt idx="254">
                  <c:v>39500</c:v>
                </c:pt>
                <c:pt idx="255">
                  <c:v>39503</c:v>
                </c:pt>
                <c:pt idx="256">
                  <c:v>39504</c:v>
                </c:pt>
                <c:pt idx="257">
                  <c:v>39505</c:v>
                </c:pt>
                <c:pt idx="258">
                  <c:v>39506</c:v>
                </c:pt>
                <c:pt idx="259">
                  <c:v>39507</c:v>
                </c:pt>
                <c:pt idx="260">
                  <c:v>39510</c:v>
                </c:pt>
                <c:pt idx="261">
                  <c:v>39511</c:v>
                </c:pt>
                <c:pt idx="262">
                  <c:v>39512</c:v>
                </c:pt>
                <c:pt idx="263">
                  <c:v>39513</c:v>
                </c:pt>
                <c:pt idx="264">
                  <c:v>39514</c:v>
                </c:pt>
                <c:pt idx="265">
                  <c:v>39518</c:v>
                </c:pt>
                <c:pt idx="266">
                  <c:v>39519</c:v>
                </c:pt>
                <c:pt idx="267">
                  <c:v>39520</c:v>
                </c:pt>
                <c:pt idx="268">
                  <c:v>39521</c:v>
                </c:pt>
                <c:pt idx="269">
                  <c:v>39524</c:v>
                </c:pt>
                <c:pt idx="270">
                  <c:v>39525</c:v>
                </c:pt>
                <c:pt idx="271">
                  <c:v>39526</c:v>
                </c:pt>
                <c:pt idx="272">
                  <c:v>39527</c:v>
                </c:pt>
                <c:pt idx="273">
                  <c:v>39531</c:v>
                </c:pt>
                <c:pt idx="274">
                  <c:v>39532</c:v>
                </c:pt>
                <c:pt idx="275">
                  <c:v>39533</c:v>
                </c:pt>
                <c:pt idx="276">
                  <c:v>39534</c:v>
                </c:pt>
                <c:pt idx="277">
                  <c:v>39535</c:v>
                </c:pt>
                <c:pt idx="278">
                  <c:v>39538</c:v>
                </c:pt>
                <c:pt idx="279">
                  <c:v>39539</c:v>
                </c:pt>
                <c:pt idx="280">
                  <c:v>39540</c:v>
                </c:pt>
                <c:pt idx="281">
                  <c:v>39541</c:v>
                </c:pt>
                <c:pt idx="282">
                  <c:v>39542</c:v>
                </c:pt>
                <c:pt idx="283">
                  <c:v>39545</c:v>
                </c:pt>
                <c:pt idx="284">
                  <c:v>39546</c:v>
                </c:pt>
                <c:pt idx="285">
                  <c:v>39547</c:v>
                </c:pt>
                <c:pt idx="286">
                  <c:v>39548</c:v>
                </c:pt>
                <c:pt idx="287">
                  <c:v>39549</c:v>
                </c:pt>
                <c:pt idx="288">
                  <c:v>39552</c:v>
                </c:pt>
                <c:pt idx="289">
                  <c:v>39553</c:v>
                </c:pt>
                <c:pt idx="290">
                  <c:v>39555</c:v>
                </c:pt>
                <c:pt idx="291">
                  <c:v>39556</c:v>
                </c:pt>
                <c:pt idx="292">
                  <c:v>39559</c:v>
                </c:pt>
                <c:pt idx="293">
                  <c:v>39560</c:v>
                </c:pt>
                <c:pt idx="294">
                  <c:v>39561</c:v>
                </c:pt>
                <c:pt idx="295">
                  <c:v>39562</c:v>
                </c:pt>
                <c:pt idx="296">
                  <c:v>39563</c:v>
                </c:pt>
                <c:pt idx="297">
                  <c:v>39566</c:v>
                </c:pt>
                <c:pt idx="298">
                  <c:v>39567</c:v>
                </c:pt>
                <c:pt idx="299">
                  <c:v>39568</c:v>
                </c:pt>
                <c:pt idx="300">
                  <c:v>39569</c:v>
                </c:pt>
                <c:pt idx="301">
                  <c:v>39570</c:v>
                </c:pt>
                <c:pt idx="302">
                  <c:v>39573</c:v>
                </c:pt>
                <c:pt idx="303">
                  <c:v>39574</c:v>
                </c:pt>
                <c:pt idx="304">
                  <c:v>39575</c:v>
                </c:pt>
                <c:pt idx="305">
                  <c:v>39576</c:v>
                </c:pt>
                <c:pt idx="306">
                  <c:v>39577</c:v>
                </c:pt>
                <c:pt idx="307">
                  <c:v>39580</c:v>
                </c:pt>
                <c:pt idx="308">
                  <c:v>39581</c:v>
                </c:pt>
                <c:pt idx="309">
                  <c:v>39582</c:v>
                </c:pt>
                <c:pt idx="310">
                  <c:v>39583</c:v>
                </c:pt>
                <c:pt idx="311">
                  <c:v>39584</c:v>
                </c:pt>
                <c:pt idx="312">
                  <c:v>39587</c:v>
                </c:pt>
                <c:pt idx="313">
                  <c:v>39588</c:v>
                </c:pt>
                <c:pt idx="314">
                  <c:v>39589</c:v>
                </c:pt>
                <c:pt idx="315">
                  <c:v>39590</c:v>
                </c:pt>
                <c:pt idx="316">
                  <c:v>39591</c:v>
                </c:pt>
                <c:pt idx="317">
                  <c:v>39595</c:v>
                </c:pt>
                <c:pt idx="318">
                  <c:v>39596</c:v>
                </c:pt>
                <c:pt idx="319">
                  <c:v>39597</c:v>
                </c:pt>
                <c:pt idx="320">
                  <c:v>39598</c:v>
                </c:pt>
                <c:pt idx="321">
                  <c:v>39601</c:v>
                </c:pt>
                <c:pt idx="322">
                  <c:v>39602</c:v>
                </c:pt>
                <c:pt idx="323">
                  <c:v>39603</c:v>
                </c:pt>
                <c:pt idx="324">
                  <c:v>39604</c:v>
                </c:pt>
                <c:pt idx="325">
                  <c:v>39605</c:v>
                </c:pt>
                <c:pt idx="326">
                  <c:v>39608</c:v>
                </c:pt>
                <c:pt idx="327">
                  <c:v>39609</c:v>
                </c:pt>
                <c:pt idx="328">
                  <c:v>39610</c:v>
                </c:pt>
                <c:pt idx="329">
                  <c:v>39611</c:v>
                </c:pt>
                <c:pt idx="330">
                  <c:v>39612</c:v>
                </c:pt>
                <c:pt idx="331">
                  <c:v>39615</c:v>
                </c:pt>
                <c:pt idx="332">
                  <c:v>39616</c:v>
                </c:pt>
                <c:pt idx="333">
                  <c:v>39617</c:v>
                </c:pt>
                <c:pt idx="334">
                  <c:v>39618</c:v>
                </c:pt>
                <c:pt idx="335">
                  <c:v>39619</c:v>
                </c:pt>
                <c:pt idx="336">
                  <c:v>39622</c:v>
                </c:pt>
                <c:pt idx="337">
                  <c:v>39623</c:v>
                </c:pt>
                <c:pt idx="338">
                  <c:v>39624</c:v>
                </c:pt>
                <c:pt idx="339">
                  <c:v>39625</c:v>
                </c:pt>
                <c:pt idx="340">
                  <c:v>39626</c:v>
                </c:pt>
                <c:pt idx="341">
                  <c:v>39629</c:v>
                </c:pt>
                <c:pt idx="342">
                  <c:v>39630</c:v>
                </c:pt>
                <c:pt idx="343">
                  <c:v>39631</c:v>
                </c:pt>
                <c:pt idx="344">
                  <c:v>39632</c:v>
                </c:pt>
                <c:pt idx="345">
                  <c:v>39636</c:v>
                </c:pt>
                <c:pt idx="346">
                  <c:v>39637</c:v>
                </c:pt>
                <c:pt idx="347">
                  <c:v>39638</c:v>
                </c:pt>
                <c:pt idx="348">
                  <c:v>39639</c:v>
                </c:pt>
                <c:pt idx="349">
                  <c:v>39640</c:v>
                </c:pt>
                <c:pt idx="350">
                  <c:v>39643</c:v>
                </c:pt>
                <c:pt idx="351">
                  <c:v>39644</c:v>
                </c:pt>
                <c:pt idx="352">
                  <c:v>39645</c:v>
                </c:pt>
                <c:pt idx="353">
                  <c:v>39646</c:v>
                </c:pt>
                <c:pt idx="354">
                  <c:v>39647</c:v>
                </c:pt>
                <c:pt idx="355">
                  <c:v>39650</c:v>
                </c:pt>
                <c:pt idx="356">
                  <c:v>39651</c:v>
                </c:pt>
                <c:pt idx="357">
                  <c:v>39652</c:v>
                </c:pt>
                <c:pt idx="358">
                  <c:v>39653</c:v>
                </c:pt>
                <c:pt idx="359">
                  <c:v>39654</c:v>
                </c:pt>
                <c:pt idx="360">
                  <c:v>39657</c:v>
                </c:pt>
                <c:pt idx="361">
                  <c:v>39658</c:v>
                </c:pt>
                <c:pt idx="362">
                  <c:v>39659</c:v>
                </c:pt>
                <c:pt idx="363">
                  <c:v>39660</c:v>
                </c:pt>
                <c:pt idx="364">
                  <c:v>39661</c:v>
                </c:pt>
                <c:pt idx="365">
                  <c:v>39664</c:v>
                </c:pt>
                <c:pt idx="366">
                  <c:v>39665</c:v>
                </c:pt>
                <c:pt idx="367">
                  <c:v>39666</c:v>
                </c:pt>
                <c:pt idx="368">
                  <c:v>39667</c:v>
                </c:pt>
                <c:pt idx="369">
                  <c:v>39668</c:v>
                </c:pt>
                <c:pt idx="370">
                  <c:v>39671</c:v>
                </c:pt>
                <c:pt idx="371">
                  <c:v>39672</c:v>
                </c:pt>
                <c:pt idx="372">
                  <c:v>39673</c:v>
                </c:pt>
                <c:pt idx="373">
                  <c:v>39674</c:v>
                </c:pt>
                <c:pt idx="374">
                  <c:v>39675</c:v>
                </c:pt>
                <c:pt idx="375">
                  <c:v>39678</c:v>
                </c:pt>
                <c:pt idx="376">
                  <c:v>39679</c:v>
                </c:pt>
                <c:pt idx="377">
                  <c:v>39680</c:v>
                </c:pt>
                <c:pt idx="378">
                  <c:v>39681</c:v>
                </c:pt>
                <c:pt idx="379">
                  <c:v>39682</c:v>
                </c:pt>
                <c:pt idx="380">
                  <c:v>39685</c:v>
                </c:pt>
                <c:pt idx="381">
                  <c:v>39686</c:v>
                </c:pt>
                <c:pt idx="382">
                  <c:v>39687</c:v>
                </c:pt>
                <c:pt idx="383">
                  <c:v>39688</c:v>
                </c:pt>
                <c:pt idx="384">
                  <c:v>39689</c:v>
                </c:pt>
                <c:pt idx="385">
                  <c:v>39693</c:v>
                </c:pt>
                <c:pt idx="386">
                  <c:v>39694</c:v>
                </c:pt>
                <c:pt idx="387">
                  <c:v>39695</c:v>
                </c:pt>
                <c:pt idx="388">
                  <c:v>39696</c:v>
                </c:pt>
                <c:pt idx="389">
                  <c:v>39699</c:v>
                </c:pt>
                <c:pt idx="390">
                  <c:v>39700</c:v>
                </c:pt>
                <c:pt idx="391">
                  <c:v>39701</c:v>
                </c:pt>
                <c:pt idx="392">
                  <c:v>39702</c:v>
                </c:pt>
                <c:pt idx="393">
                  <c:v>39703</c:v>
                </c:pt>
                <c:pt idx="394">
                  <c:v>39706</c:v>
                </c:pt>
                <c:pt idx="395">
                  <c:v>39707</c:v>
                </c:pt>
                <c:pt idx="396">
                  <c:v>39708</c:v>
                </c:pt>
                <c:pt idx="397">
                  <c:v>39709</c:v>
                </c:pt>
                <c:pt idx="398">
                  <c:v>39710</c:v>
                </c:pt>
                <c:pt idx="399">
                  <c:v>39713</c:v>
                </c:pt>
                <c:pt idx="400">
                  <c:v>39714</c:v>
                </c:pt>
                <c:pt idx="401">
                  <c:v>39715</c:v>
                </c:pt>
                <c:pt idx="402">
                  <c:v>39716</c:v>
                </c:pt>
                <c:pt idx="403">
                  <c:v>39717</c:v>
                </c:pt>
                <c:pt idx="404">
                  <c:v>39720</c:v>
                </c:pt>
                <c:pt idx="405">
                  <c:v>39721</c:v>
                </c:pt>
                <c:pt idx="406">
                  <c:v>39722</c:v>
                </c:pt>
                <c:pt idx="407">
                  <c:v>39723</c:v>
                </c:pt>
                <c:pt idx="408">
                  <c:v>39724</c:v>
                </c:pt>
                <c:pt idx="409">
                  <c:v>39727</c:v>
                </c:pt>
                <c:pt idx="410">
                  <c:v>39728</c:v>
                </c:pt>
                <c:pt idx="411">
                  <c:v>39729</c:v>
                </c:pt>
                <c:pt idx="412">
                  <c:v>39730</c:v>
                </c:pt>
                <c:pt idx="413">
                  <c:v>39731</c:v>
                </c:pt>
                <c:pt idx="414">
                  <c:v>39734</c:v>
                </c:pt>
                <c:pt idx="415">
                  <c:v>39735</c:v>
                </c:pt>
                <c:pt idx="416">
                  <c:v>39736</c:v>
                </c:pt>
                <c:pt idx="417">
                  <c:v>39737</c:v>
                </c:pt>
                <c:pt idx="418">
                  <c:v>39738</c:v>
                </c:pt>
                <c:pt idx="419">
                  <c:v>39741</c:v>
                </c:pt>
                <c:pt idx="420">
                  <c:v>39742</c:v>
                </c:pt>
                <c:pt idx="421">
                  <c:v>39743</c:v>
                </c:pt>
                <c:pt idx="422">
                  <c:v>39744</c:v>
                </c:pt>
                <c:pt idx="423">
                  <c:v>39745</c:v>
                </c:pt>
                <c:pt idx="424">
                  <c:v>39748</c:v>
                </c:pt>
                <c:pt idx="425">
                  <c:v>39749</c:v>
                </c:pt>
                <c:pt idx="426">
                  <c:v>39750</c:v>
                </c:pt>
                <c:pt idx="427">
                  <c:v>39751</c:v>
                </c:pt>
                <c:pt idx="428">
                  <c:v>39752</c:v>
                </c:pt>
                <c:pt idx="429">
                  <c:v>39755</c:v>
                </c:pt>
                <c:pt idx="430">
                  <c:v>39756</c:v>
                </c:pt>
                <c:pt idx="431">
                  <c:v>39757</c:v>
                </c:pt>
                <c:pt idx="432">
                  <c:v>39758</c:v>
                </c:pt>
                <c:pt idx="433">
                  <c:v>39759</c:v>
                </c:pt>
                <c:pt idx="434">
                  <c:v>39762</c:v>
                </c:pt>
                <c:pt idx="435">
                  <c:v>39763</c:v>
                </c:pt>
                <c:pt idx="436">
                  <c:v>39764</c:v>
                </c:pt>
                <c:pt idx="437">
                  <c:v>39765</c:v>
                </c:pt>
                <c:pt idx="438">
                  <c:v>39766</c:v>
                </c:pt>
                <c:pt idx="439">
                  <c:v>39769</c:v>
                </c:pt>
                <c:pt idx="440">
                  <c:v>39770</c:v>
                </c:pt>
                <c:pt idx="441">
                  <c:v>39771</c:v>
                </c:pt>
                <c:pt idx="442">
                  <c:v>39772</c:v>
                </c:pt>
                <c:pt idx="443">
                  <c:v>39773</c:v>
                </c:pt>
                <c:pt idx="444">
                  <c:v>39776</c:v>
                </c:pt>
                <c:pt idx="445">
                  <c:v>39777</c:v>
                </c:pt>
                <c:pt idx="446">
                  <c:v>39778</c:v>
                </c:pt>
                <c:pt idx="447">
                  <c:v>39780</c:v>
                </c:pt>
                <c:pt idx="448">
                  <c:v>39783</c:v>
                </c:pt>
                <c:pt idx="449">
                  <c:v>39784</c:v>
                </c:pt>
                <c:pt idx="450">
                  <c:v>39785</c:v>
                </c:pt>
                <c:pt idx="451">
                  <c:v>39786</c:v>
                </c:pt>
                <c:pt idx="452">
                  <c:v>39787</c:v>
                </c:pt>
                <c:pt idx="453">
                  <c:v>39790</c:v>
                </c:pt>
                <c:pt idx="454">
                  <c:v>39791</c:v>
                </c:pt>
                <c:pt idx="455">
                  <c:v>39792</c:v>
                </c:pt>
                <c:pt idx="456">
                  <c:v>39793</c:v>
                </c:pt>
                <c:pt idx="457">
                  <c:v>39794</c:v>
                </c:pt>
                <c:pt idx="458">
                  <c:v>39797</c:v>
                </c:pt>
                <c:pt idx="459">
                  <c:v>39798</c:v>
                </c:pt>
                <c:pt idx="460">
                  <c:v>39799</c:v>
                </c:pt>
                <c:pt idx="461">
                  <c:v>39800</c:v>
                </c:pt>
                <c:pt idx="462">
                  <c:v>39801</c:v>
                </c:pt>
                <c:pt idx="463">
                  <c:v>39805</c:v>
                </c:pt>
                <c:pt idx="464">
                  <c:v>39806</c:v>
                </c:pt>
                <c:pt idx="465">
                  <c:v>39808</c:v>
                </c:pt>
                <c:pt idx="466">
                  <c:v>39811</c:v>
                </c:pt>
                <c:pt idx="467">
                  <c:v>39812</c:v>
                </c:pt>
                <c:pt idx="468">
                  <c:v>39813</c:v>
                </c:pt>
                <c:pt idx="469">
                  <c:v>39815</c:v>
                </c:pt>
                <c:pt idx="470">
                  <c:v>39818</c:v>
                </c:pt>
                <c:pt idx="471">
                  <c:v>39819</c:v>
                </c:pt>
                <c:pt idx="472">
                  <c:v>39820</c:v>
                </c:pt>
                <c:pt idx="473">
                  <c:v>39821</c:v>
                </c:pt>
                <c:pt idx="474">
                  <c:v>39822</c:v>
                </c:pt>
                <c:pt idx="475">
                  <c:v>39825</c:v>
                </c:pt>
                <c:pt idx="476">
                  <c:v>39826</c:v>
                </c:pt>
                <c:pt idx="477">
                  <c:v>39827</c:v>
                </c:pt>
                <c:pt idx="478">
                  <c:v>39828</c:v>
                </c:pt>
                <c:pt idx="479">
                  <c:v>39829</c:v>
                </c:pt>
                <c:pt idx="480">
                  <c:v>39833</c:v>
                </c:pt>
                <c:pt idx="481">
                  <c:v>39834</c:v>
                </c:pt>
                <c:pt idx="482">
                  <c:v>39835</c:v>
                </c:pt>
                <c:pt idx="483">
                  <c:v>39836</c:v>
                </c:pt>
                <c:pt idx="484">
                  <c:v>39839</c:v>
                </c:pt>
                <c:pt idx="485">
                  <c:v>39840</c:v>
                </c:pt>
                <c:pt idx="486">
                  <c:v>39841</c:v>
                </c:pt>
                <c:pt idx="487">
                  <c:v>39842</c:v>
                </c:pt>
                <c:pt idx="488">
                  <c:v>39843</c:v>
                </c:pt>
                <c:pt idx="489">
                  <c:v>39846</c:v>
                </c:pt>
                <c:pt idx="490">
                  <c:v>39847</c:v>
                </c:pt>
                <c:pt idx="491">
                  <c:v>39848</c:v>
                </c:pt>
                <c:pt idx="492">
                  <c:v>39849</c:v>
                </c:pt>
                <c:pt idx="493">
                  <c:v>39850</c:v>
                </c:pt>
                <c:pt idx="494">
                  <c:v>39853</c:v>
                </c:pt>
                <c:pt idx="495">
                  <c:v>39854</c:v>
                </c:pt>
                <c:pt idx="496">
                  <c:v>39855</c:v>
                </c:pt>
                <c:pt idx="497">
                  <c:v>39856</c:v>
                </c:pt>
                <c:pt idx="498">
                  <c:v>39857</c:v>
                </c:pt>
                <c:pt idx="499">
                  <c:v>39861</c:v>
                </c:pt>
                <c:pt idx="500">
                  <c:v>39862</c:v>
                </c:pt>
                <c:pt idx="501">
                  <c:v>39863</c:v>
                </c:pt>
                <c:pt idx="502">
                  <c:v>39864</c:v>
                </c:pt>
                <c:pt idx="503">
                  <c:v>39867</c:v>
                </c:pt>
                <c:pt idx="504">
                  <c:v>39868</c:v>
                </c:pt>
                <c:pt idx="505">
                  <c:v>39869</c:v>
                </c:pt>
                <c:pt idx="506">
                  <c:v>39870</c:v>
                </c:pt>
                <c:pt idx="507">
                  <c:v>39871</c:v>
                </c:pt>
                <c:pt idx="508">
                  <c:v>39874</c:v>
                </c:pt>
                <c:pt idx="509">
                  <c:v>39875</c:v>
                </c:pt>
                <c:pt idx="510">
                  <c:v>39876</c:v>
                </c:pt>
                <c:pt idx="511">
                  <c:v>39877</c:v>
                </c:pt>
                <c:pt idx="512">
                  <c:v>39878</c:v>
                </c:pt>
                <c:pt idx="513">
                  <c:v>39881</c:v>
                </c:pt>
                <c:pt idx="514">
                  <c:v>39882</c:v>
                </c:pt>
                <c:pt idx="515">
                  <c:v>39883</c:v>
                </c:pt>
                <c:pt idx="516">
                  <c:v>39884</c:v>
                </c:pt>
                <c:pt idx="517">
                  <c:v>39885</c:v>
                </c:pt>
                <c:pt idx="518">
                  <c:v>39888</c:v>
                </c:pt>
                <c:pt idx="519">
                  <c:v>39889</c:v>
                </c:pt>
                <c:pt idx="520">
                  <c:v>39890</c:v>
                </c:pt>
                <c:pt idx="521">
                  <c:v>39891</c:v>
                </c:pt>
                <c:pt idx="522">
                  <c:v>39892</c:v>
                </c:pt>
                <c:pt idx="523">
                  <c:v>39895</c:v>
                </c:pt>
                <c:pt idx="524">
                  <c:v>39896</c:v>
                </c:pt>
                <c:pt idx="525">
                  <c:v>39897</c:v>
                </c:pt>
                <c:pt idx="526">
                  <c:v>39898</c:v>
                </c:pt>
                <c:pt idx="527">
                  <c:v>39899</c:v>
                </c:pt>
                <c:pt idx="528">
                  <c:v>39902</c:v>
                </c:pt>
                <c:pt idx="529">
                  <c:v>39903</c:v>
                </c:pt>
                <c:pt idx="530">
                  <c:v>39904</c:v>
                </c:pt>
                <c:pt idx="531">
                  <c:v>39905</c:v>
                </c:pt>
                <c:pt idx="532">
                  <c:v>39906</c:v>
                </c:pt>
                <c:pt idx="533">
                  <c:v>39909</c:v>
                </c:pt>
                <c:pt idx="534">
                  <c:v>39910</c:v>
                </c:pt>
                <c:pt idx="535">
                  <c:v>39911</c:v>
                </c:pt>
                <c:pt idx="536">
                  <c:v>39912</c:v>
                </c:pt>
                <c:pt idx="537">
                  <c:v>39916</c:v>
                </c:pt>
                <c:pt idx="538">
                  <c:v>39917</c:v>
                </c:pt>
                <c:pt idx="539">
                  <c:v>39918</c:v>
                </c:pt>
                <c:pt idx="540">
                  <c:v>39919</c:v>
                </c:pt>
                <c:pt idx="541">
                  <c:v>39920</c:v>
                </c:pt>
                <c:pt idx="542">
                  <c:v>39923</c:v>
                </c:pt>
                <c:pt idx="543">
                  <c:v>39924</c:v>
                </c:pt>
                <c:pt idx="544">
                  <c:v>39925</c:v>
                </c:pt>
                <c:pt idx="545">
                  <c:v>39926</c:v>
                </c:pt>
                <c:pt idx="546">
                  <c:v>39927</c:v>
                </c:pt>
                <c:pt idx="547">
                  <c:v>39930</c:v>
                </c:pt>
                <c:pt idx="548">
                  <c:v>39931</c:v>
                </c:pt>
                <c:pt idx="549">
                  <c:v>39932</c:v>
                </c:pt>
                <c:pt idx="550">
                  <c:v>39933</c:v>
                </c:pt>
                <c:pt idx="551">
                  <c:v>39934</c:v>
                </c:pt>
                <c:pt idx="552">
                  <c:v>39937</c:v>
                </c:pt>
                <c:pt idx="553">
                  <c:v>39938</c:v>
                </c:pt>
                <c:pt idx="554">
                  <c:v>39939</c:v>
                </c:pt>
                <c:pt idx="555">
                  <c:v>39940</c:v>
                </c:pt>
                <c:pt idx="556">
                  <c:v>39941</c:v>
                </c:pt>
                <c:pt idx="557">
                  <c:v>39944</c:v>
                </c:pt>
                <c:pt idx="558">
                  <c:v>39945</c:v>
                </c:pt>
                <c:pt idx="559">
                  <c:v>39946</c:v>
                </c:pt>
                <c:pt idx="560">
                  <c:v>39947</c:v>
                </c:pt>
                <c:pt idx="561">
                  <c:v>39948</c:v>
                </c:pt>
                <c:pt idx="562">
                  <c:v>39951</c:v>
                </c:pt>
                <c:pt idx="563">
                  <c:v>39952</c:v>
                </c:pt>
                <c:pt idx="564">
                  <c:v>39953</c:v>
                </c:pt>
                <c:pt idx="565">
                  <c:v>39954</c:v>
                </c:pt>
                <c:pt idx="566">
                  <c:v>39955</c:v>
                </c:pt>
                <c:pt idx="567">
                  <c:v>39959</c:v>
                </c:pt>
                <c:pt idx="568">
                  <c:v>39960</c:v>
                </c:pt>
                <c:pt idx="569">
                  <c:v>39961</c:v>
                </c:pt>
                <c:pt idx="570">
                  <c:v>39962</c:v>
                </c:pt>
                <c:pt idx="571">
                  <c:v>39965</c:v>
                </c:pt>
                <c:pt idx="572">
                  <c:v>39966</c:v>
                </c:pt>
                <c:pt idx="573">
                  <c:v>39967</c:v>
                </c:pt>
                <c:pt idx="574">
                  <c:v>39968</c:v>
                </c:pt>
                <c:pt idx="575">
                  <c:v>39969</c:v>
                </c:pt>
                <c:pt idx="576">
                  <c:v>39972</c:v>
                </c:pt>
                <c:pt idx="577">
                  <c:v>39973</c:v>
                </c:pt>
                <c:pt idx="578">
                  <c:v>39974</c:v>
                </c:pt>
                <c:pt idx="579">
                  <c:v>39975</c:v>
                </c:pt>
                <c:pt idx="580">
                  <c:v>39976</c:v>
                </c:pt>
                <c:pt idx="581">
                  <c:v>39979</c:v>
                </c:pt>
                <c:pt idx="582">
                  <c:v>39980</c:v>
                </c:pt>
                <c:pt idx="583">
                  <c:v>39981</c:v>
                </c:pt>
                <c:pt idx="584">
                  <c:v>39982</c:v>
                </c:pt>
                <c:pt idx="585">
                  <c:v>39983</c:v>
                </c:pt>
                <c:pt idx="586">
                  <c:v>39986</c:v>
                </c:pt>
                <c:pt idx="587">
                  <c:v>39987</c:v>
                </c:pt>
                <c:pt idx="588">
                  <c:v>39988</c:v>
                </c:pt>
                <c:pt idx="589">
                  <c:v>39989</c:v>
                </c:pt>
                <c:pt idx="590">
                  <c:v>39990</c:v>
                </c:pt>
                <c:pt idx="591">
                  <c:v>39993</c:v>
                </c:pt>
                <c:pt idx="592">
                  <c:v>39994</c:v>
                </c:pt>
                <c:pt idx="593">
                  <c:v>39995</c:v>
                </c:pt>
                <c:pt idx="594">
                  <c:v>39996</c:v>
                </c:pt>
                <c:pt idx="595">
                  <c:v>40000</c:v>
                </c:pt>
                <c:pt idx="596">
                  <c:v>40001</c:v>
                </c:pt>
                <c:pt idx="597">
                  <c:v>40002</c:v>
                </c:pt>
                <c:pt idx="598">
                  <c:v>40003</c:v>
                </c:pt>
                <c:pt idx="599">
                  <c:v>40004</c:v>
                </c:pt>
                <c:pt idx="600">
                  <c:v>40007</c:v>
                </c:pt>
                <c:pt idx="601">
                  <c:v>40008</c:v>
                </c:pt>
                <c:pt idx="602">
                  <c:v>40009</c:v>
                </c:pt>
                <c:pt idx="603">
                  <c:v>40010</c:v>
                </c:pt>
                <c:pt idx="604">
                  <c:v>40011</c:v>
                </c:pt>
                <c:pt idx="605">
                  <c:v>40014</c:v>
                </c:pt>
                <c:pt idx="606">
                  <c:v>40015</c:v>
                </c:pt>
                <c:pt idx="607">
                  <c:v>40016</c:v>
                </c:pt>
                <c:pt idx="608">
                  <c:v>40017</c:v>
                </c:pt>
                <c:pt idx="609">
                  <c:v>40018</c:v>
                </c:pt>
                <c:pt idx="610">
                  <c:v>40021</c:v>
                </c:pt>
                <c:pt idx="611">
                  <c:v>40022</c:v>
                </c:pt>
                <c:pt idx="612">
                  <c:v>40023</c:v>
                </c:pt>
                <c:pt idx="613">
                  <c:v>40024</c:v>
                </c:pt>
                <c:pt idx="614">
                  <c:v>40025</c:v>
                </c:pt>
                <c:pt idx="615">
                  <c:v>40028</c:v>
                </c:pt>
                <c:pt idx="616">
                  <c:v>40029</c:v>
                </c:pt>
                <c:pt idx="617">
                  <c:v>40030</c:v>
                </c:pt>
                <c:pt idx="618">
                  <c:v>40031</c:v>
                </c:pt>
                <c:pt idx="619">
                  <c:v>40032</c:v>
                </c:pt>
                <c:pt idx="620">
                  <c:v>40035</c:v>
                </c:pt>
                <c:pt idx="621">
                  <c:v>40036</c:v>
                </c:pt>
                <c:pt idx="622">
                  <c:v>40037</c:v>
                </c:pt>
                <c:pt idx="623">
                  <c:v>40038</c:v>
                </c:pt>
                <c:pt idx="624">
                  <c:v>40039</c:v>
                </c:pt>
                <c:pt idx="625">
                  <c:v>40042</c:v>
                </c:pt>
                <c:pt idx="626">
                  <c:v>40043</c:v>
                </c:pt>
                <c:pt idx="627">
                  <c:v>40044</c:v>
                </c:pt>
                <c:pt idx="628">
                  <c:v>40045</c:v>
                </c:pt>
                <c:pt idx="629">
                  <c:v>40046</c:v>
                </c:pt>
                <c:pt idx="630">
                  <c:v>40049</c:v>
                </c:pt>
                <c:pt idx="631">
                  <c:v>40050</c:v>
                </c:pt>
                <c:pt idx="632">
                  <c:v>40051</c:v>
                </c:pt>
                <c:pt idx="633">
                  <c:v>40052</c:v>
                </c:pt>
                <c:pt idx="634">
                  <c:v>40053</c:v>
                </c:pt>
                <c:pt idx="635">
                  <c:v>40056</c:v>
                </c:pt>
                <c:pt idx="636">
                  <c:v>40057</c:v>
                </c:pt>
                <c:pt idx="637">
                  <c:v>40058</c:v>
                </c:pt>
                <c:pt idx="638">
                  <c:v>40059</c:v>
                </c:pt>
                <c:pt idx="639">
                  <c:v>40060</c:v>
                </c:pt>
                <c:pt idx="640">
                  <c:v>40064</c:v>
                </c:pt>
                <c:pt idx="641">
                  <c:v>40065</c:v>
                </c:pt>
                <c:pt idx="642">
                  <c:v>40066</c:v>
                </c:pt>
                <c:pt idx="643">
                  <c:v>40067</c:v>
                </c:pt>
                <c:pt idx="644">
                  <c:v>40070</c:v>
                </c:pt>
                <c:pt idx="645">
                  <c:v>40071</c:v>
                </c:pt>
                <c:pt idx="646">
                  <c:v>40072</c:v>
                </c:pt>
                <c:pt idx="647">
                  <c:v>40073</c:v>
                </c:pt>
                <c:pt idx="648">
                  <c:v>40074</c:v>
                </c:pt>
                <c:pt idx="649">
                  <c:v>40077</c:v>
                </c:pt>
                <c:pt idx="650">
                  <c:v>40078</c:v>
                </c:pt>
                <c:pt idx="651">
                  <c:v>40079</c:v>
                </c:pt>
                <c:pt idx="652">
                  <c:v>40080</c:v>
                </c:pt>
                <c:pt idx="653">
                  <c:v>40081</c:v>
                </c:pt>
                <c:pt idx="654">
                  <c:v>40084</c:v>
                </c:pt>
                <c:pt idx="655">
                  <c:v>40085</c:v>
                </c:pt>
                <c:pt idx="656">
                  <c:v>40086</c:v>
                </c:pt>
                <c:pt idx="657">
                  <c:v>40087</c:v>
                </c:pt>
                <c:pt idx="658">
                  <c:v>40088</c:v>
                </c:pt>
                <c:pt idx="659">
                  <c:v>40091</c:v>
                </c:pt>
                <c:pt idx="660">
                  <c:v>40092</c:v>
                </c:pt>
                <c:pt idx="661">
                  <c:v>40093</c:v>
                </c:pt>
                <c:pt idx="662">
                  <c:v>40094</c:v>
                </c:pt>
                <c:pt idx="663">
                  <c:v>40095</c:v>
                </c:pt>
                <c:pt idx="664">
                  <c:v>40098</c:v>
                </c:pt>
                <c:pt idx="665">
                  <c:v>40099</c:v>
                </c:pt>
                <c:pt idx="666">
                  <c:v>40100</c:v>
                </c:pt>
                <c:pt idx="667">
                  <c:v>40101</c:v>
                </c:pt>
                <c:pt idx="668">
                  <c:v>40102</c:v>
                </c:pt>
                <c:pt idx="669">
                  <c:v>40105</c:v>
                </c:pt>
                <c:pt idx="670">
                  <c:v>40106</c:v>
                </c:pt>
                <c:pt idx="671">
                  <c:v>40107</c:v>
                </c:pt>
                <c:pt idx="672">
                  <c:v>40108</c:v>
                </c:pt>
                <c:pt idx="673">
                  <c:v>40109</c:v>
                </c:pt>
                <c:pt idx="674">
                  <c:v>40112</c:v>
                </c:pt>
                <c:pt idx="675">
                  <c:v>40113</c:v>
                </c:pt>
                <c:pt idx="676">
                  <c:v>40114</c:v>
                </c:pt>
                <c:pt idx="677">
                  <c:v>40115</c:v>
                </c:pt>
                <c:pt idx="678">
                  <c:v>40116</c:v>
                </c:pt>
                <c:pt idx="679">
                  <c:v>40119</c:v>
                </c:pt>
                <c:pt idx="680">
                  <c:v>40120</c:v>
                </c:pt>
                <c:pt idx="681">
                  <c:v>40121</c:v>
                </c:pt>
                <c:pt idx="682">
                  <c:v>40122</c:v>
                </c:pt>
                <c:pt idx="683">
                  <c:v>40123</c:v>
                </c:pt>
                <c:pt idx="684">
                  <c:v>40126</c:v>
                </c:pt>
                <c:pt idx="685">
                  <c:v>40127</c:v>
                </c:pt>
                <c:pt idx="686">
                  <c:v>40128</c:v>
                </c:pt>
                <c:pt idx="687">
                  <c:v>40129</c:v>
                </c:pt>
                <c:pt idx="688">
                  <c:v>40130</c:v>
                </c:pt>
                <c:pt idx="689">
                  <c:v>40133</c:v>
                </c:pt>
                <c:pt idx="690">
                  <c:v>40134</c:v>
                </c:pt>
                <c:pt idx="691">
                  <c:v>40135</c:v>
                </c:pt>
                <c:pt idx="692">
                  <c:v>40136</c:v>
                </c:pt>
                <c:pt idx="693">
                  <c:v>40137</c:v>
                </c:pt>
                <c:pt idx="694">
                  <c:v>40140</c:v>
                </c:pt>
                <c:pt idx="695">
                  <c:v>40141</c:v>
                </c:pt>
                <c:pt idx="696">
                  <c:v>40142</c:v>
                </c:pt>
                <c:pt idx="697">
                  <c:v>40144</c:v>
                </c:pt>
                <c:pt idx="698">
                  <c:v>40147</c:v>
                </c:pt>
                <c:pt idx="699">
                  <c:v>40148</c:v>
                </c:pt>
                <c:pt idx="700">
                  <c:v>40149</c:v>
                </c:pt>
                <c:pt idx="701">
                  <c:v>40150</c:v>
                </c:pt>
                <c:pt idx="702">
                  <c:v>40151</c:v>
                </c:pt>
                <c:pt idx="703">
                  <c:v>40154</c:v>
                </c:pt>
                <c:pt idx="704">
                  <c:v>40155</c:v>
                </c:pt>
                <c:pt idx="705">
                  <c:v>40156</c:v>
                </c:pt>
                <c:pt idx="706">
                  <c:v>40157</c:v>
                </c:pt>
                <c:pt idx="707">
                  <c:v>40158</c:v>
                </c:pt>
                <c:pt idx="708">
                  <c:v>40161</c:v>
                </c:pt>
                <c:pt idx="709">
                  <c:v>40162</c:v>
                </c:pt>
                <c:pt idx="710">
                  <c:v>40163</c:v>
                </c:pt>
                <c:pt idx="711">
                  <c:v>40164</c:v>
                </c:pt>
                <c:pt idx="712">
                  <c:v>40165</c:v>
                </c:pt>
                <c:pt idx="713">
                  <c:v>40168</c:v>
                </c:pt>
                <c:pt idx="714">
                  <c:v>40169</c:v>
                </c:pt>
                <c:pt idx="715">
                  <c:v>40170</c:v>
                </c:pt>
                <c:pt idx="716">
                  <c:v>40171</c:v>
                </c:pt>
                <c:pt idx="717">
                  <c:v>40175</c:v>
                </c:pt>
                <c:pt idx="718">
                  <c:v>40176</c:v>
                </c:pt>
                <c:pt idx="719">
                  <c:v>40177</c:v>
                </c:pt>
                <c:pt idx="720">
                  <c:v>40178</c:v>
                </c:pt>
                <c:pt idx="721">
                  <c:v>40182</c:v>
                </c:pt>
                <c:pt idx="722">
                  <c:v>40183</c:v>
                </c:pt>
                <c:pt idx="723">
                  <c:v>40184</c:v>
                </c:pt>
                <c:pt idx="724">
                  <c:v>40185</c:v>
                </c:pt>
                <c:pt idx="725">
                  <c:v>40186</c:v>
                </c:pt>
                <c:pt idx="726">
                  <c:v>40189</c:v>
                </c:pt>
                <c:pt idx="727">
                  <c:v>40190</c:v>
                </c:pt>
                <c:pt idx="728">
                  <c:v>40191</c:v>
                </c:pt>
                <c:pt idx="729">
                  <c:v>40192</c:v>
                </c:pt>
                <c:pt idx="730">
                  <c:v>40193</c:v>
                </c:pt>
                <c:pt idx="731">
                  <c:v>40197</c:v>
                </c:pt>
                <c:pt idx="732">
                  <c:v>40198</c:v>
                </c:pt>
                <c:pt idx="733">
                  <c:v>40199</c:v>
                </c:pt>
                <c:pt idx="734">
                  <c:v>40200</c:v>
                </c:pt>
                <c:pt idx="735">
                  <c:v>40203</c:v>
                </c:pt>
                <c:pt idx="736">
                  <c:v>40204</c:v>
                </c:pt>
                <c:pt idx="737">
                  <c:v>40205</c:v>
                </c:pt>
                <c:pt idx="738">
                  <c:v>40206</c:v>
                </c:pt>
                <c:pt idx="739">
                  <c:v>40207</c:v>
                </c:pt>
                <c:pt idx="740">
                  <c:v>40210</c:v>
                </c:pt>
                <c:pt idx="741">
                  <c:v>40211</c:v>
                </c:pt>
                <c:pt idx="742">
                  <c:v>40212</c:v>
                </c:pt>
                <c:pt idx="743">
                  <c:v>40213</c:v>
                </c:pt>
                <c:pt idx="744">
                  <c:v>40214</c:v>
                </c:pt>
                <c:pt idx="745">
                  <c:v>40217</c:v>
                </c:pt>
                <c:pt idx="746">
                  <c:v>40218</c:v>
                </c:pt>
                <c:pt idx="747">
                  <c:v>40219</c:v>
                </c:pt>
                <c:pt idx="748">
                  <c:v>40220</c:v>
                </c:pt>
                <c:pt idx="749">
                  <c:v>40221</c:v>
                </c:pt>
                <c:pt idx="750">
                  <c:v>40225</c:v>
                </c:pt>
                <c:pt idx="751">
                  <c:v>40226</c:v>
                </c:pt>
                <c:pt idx="752">
                  <c:v>40227</c:v>
                </c:pt>
                <c:pt idx="753">
                  <c:v>40228</c:v>
                </c:pt>
                <c:pt idx="754">
                  <c:v>40231</c:v>
                </c:pt>
                <c:pt idx="755">
                  <c:v>40232</c:v>
                </c:pt>
                <c:pt idx="756">
                  <c:v>40233</c:v>
                </c:pt>
                <c:pt idx="757">
                  <c:v>40234</c:v>
                </c:pt>
                <c:pt idx="758">
                  <c:v>40235</c:v>
                </c:pt>
                <c:pt idx="759">
                  <c:v>40238</c:v>
                </c:pt>
                <c:pt idx="760">
                  <c:v>40239</c:v>
                </c:pt>
                <c:pt idx="761">
                  <c:v>40240</c:v>
                </c:pt>
                <c:pt idx="762">
                  <c:v>40241</c:v>
                </c:pt>
                <c:pt idx="763">
                  <c:v>40242</c:v>
                </c:pt>
                <c:pt idx="764">
                  <c:v>40245</c:v>
                </c:pt>
                <c:pt idx="765">
                  <c:v>40246</c:v>
                </c:pt>
                <c:pt idx="766">
                  <c:v>40247</c:v>
                </c:pt>
                <c:pt idx="767">
                  <c:v>40248</c:v>
                </c:pt>
                <c:pt idx="768">
                  <c:v>40249</c:v>
                </c:pt>
                <c:pt idx="769">
                  <c:v>40252</c:v>
                </c:pt>
                <c:pt idx="770">
                  <c:v>40253</c:v>
                </c:pt>
                <c:pt idx="771">
                  <c:v>40254</c:v>
                </c:pt>
                <c:pt idx="772">
                  <c:v>40255</c:v>
                </c:pt>
                <c:pt idx="773">
                  <c:v>40256</c:v>
                </c:pt>
                <c:pt idx="774">
                  <c:v>40259</c:v>
                </c:pt>
                <c:pt idx="775">
                  <c:v>40260</c:v>
                </c:pt>
                <c:pt idx="776">
                  <c:v>40261</c:v>
                </c:pt>
                <c:pt idx="777">
                  <c:v>40262</c:v>
                </c:pt>
                <c:pt idx="778">
                  <c:v>40263</c:v>
                </c:pt>
                <c:pt idx="779">
                  <c:v>40266</c:v>
                </c:pt>
                <c:pt idx="780">
                  <c:v>40267</c:v>
                </c:pt>
                <c:pt idx="781">
                  <c:v>40268</c:v>
                </c:pt>
                <c:pt idx="782">
                  <c:v>40269</c:v>
                </c:pt>
                <c:pt idx="783">
                  <c:v>40273</c:v>
                </c:pt>
                <c:pt idx="784">
                  <c:v>40274</c:v>
                </c:pt>
                <c:pt idx="785">
                  <c:v>40275</c:v>
                </c:pt>
                <c:pt idx="786">
                  <c:v>40276</c:v>
                </c:pt>
                <c:pt idx="787">
                  <c:v>40277</c:v>
                </c:pt>
                <c:pt idx="788">
                  <c:v>40280</c:v>
                </c:pt>
                <c:pt idx="789">
                  <c:v>40281</c:v>
                </c:pt>
                <c:pt idx="790">
                  <c:v>40282</c:v>
                </c:pt>
                <c:pt idx="791">
                  <c:v>40283</c:v>
                </c:pt>
                <c:pt idx="792">
                  <c:v>40284</c:v>
                </c:pt>
                <c:pt idx="793">
                  <c:v>40287</c:v>
                </c:pt>
                <c:pt idx="794">
                  <c:v>40288</c:v>
                </c:pt>
                <c:pt idx="795">
                  <c:v>40289</c:v>
                </c:pt>
                <c:pt idx="796">
                  <c:v>40290</c:v>
                </c:pt>
                <c:pt idx="797">
                  <c:v>40291</c:v>
                </c:pt>
                <c:pt idx="798">
                  <c:v>40294</c:v>
                </c:pt>
                <c:pt idx="799">
                  <c:v>40295</c:v>
                </c:pt>
                <c:pt idx="800">
                  <c:v>40296</c:v>
                </c:pt>
                <c:pt idx="801">
                  <c:v>40297</c:v>
                </c:pt>
                <c:pt idx="802">
                  <c:v>40298</c:v>
                </c:pt>
                <c:pt idx="803">
                  <c:v>40301</c:v>
                </c:pt>
                <c:pt idx="804">
                  <c:v>40302</c:v>
                </c:pt>
                <c:pt idx="805">
                  <c:v>40303</c:v>
                </c:pt>
                <c:pt idx="806">
                  <c:v>40304</c:v>
                </c:pt>
                <c:pt idx="807">
                  <c:v>40305</c:v>
                </c:pt>
                <c:pt idx="808">
                  <c:v>40308</c:v>
                </c:pt>
                <c:pt idx="809">
                  <c:v>40309</c:v>
                </c:pt>
                <c:pt idx="810">
                  <c:v>40310</c:v>
                </c:pt>
                <c:pt idx="811">
                  <c:v>40311</c:v>
                </c:pt>
                <c:pt idx="812">
                  <c:v>40312</c:v>
                </c:pt>
                <c:pt idx="813">
                  <c:v>40315</c:v>
                </c:pt>
                <c:pt idx="814">
                  <c:v>40316</c:v>
                </c:pt>
                <c:pt idx="815">
                  <c:v>40317</c:v>
                </c:pt>
                <c:pt idx="816">
                  <c:v>40318</c:v>
                </c:pt>
                <c:pt idx="817">
                  <c:v>40319</c:v>
                </c:pt>
                <c:pt idx="818">
                  <c:v>40322</c:v>
                </c:pt>
                <c:pt idx="819">
                  <c:v>40323</c:v>
                </c:pt>
                <c:pt idx="820">
                  <c:v>40324</c:v>
                </c:pt>
                <c:pt idx="821">
                  <c:v>40325</c:v>
                </c:pt>
                <c:pt idx="822">
                  <c:v>40326</c:v>
                </c:pt>
                <c:pt idx="823">
                  <c:v>40330</c:v>
                </c:pt>
                <c:pt idx="824">
                  <c:v>40331</c:v>
                </c:pt>
                <c:pt idx="825">
                  <c:v>40332</c:v>
                </c:pt>
                <c:pt idx="826">
                  <c:v>40333</c:v>
                </c:pt>
                <c:pt idx="827">
                  <c:v>40336</c:v>
                </c:pt>
                <c:pt idx="828">
                  <c:v>40337</c:v>
                </c:pt>
                <c:pt idx="829">
                  <c:v>40338</c:v>
                </c:pt>
                <c:pt idx="830">
                  <c:v>40339</c:v>
                </c:pt>
                <c:pt idx="831">
                  <c:v>40340</c:v>
                </c:pt>
                <c:pt idx="832">
                  <c:v>40343</c:v>
                </c:pt>
                <c:pt idx="833">
                  <c:v>40344</c:v>
                </c:pt>
                <c:pt idx="834">
                  <c:v>40345</c:v>
                </c:pt>
                <c:pt idx="835">
                  <c:v>40346</c:v>
                </c:pt>
                <c:pt idx="836">
                  <c:v>40347</c:v>
                </c:pt>
                <c:pt idx="837">
                  <c:v>40350</c:v>
                </c:pt>
                <c:pt idx="838">
                  <c:v>40351</c:v>
                </c:pt>
                <c:pt idx="839">
                  <c:v>40352</c:v>
                </c:pt>
                <c:pt idx="840">
                  <c:v>40353</c:v>
                </c:pt>
                <c:pt idx="841">
                  <c:v>40354</c:v>
                </c:pt>
                <c:pt idx="842">
                  <c:v>40357</c:v>
                </c:pt>
                <c:pt idx="843">
                  <c:v>40358</c:v>
                </c:pt>
                <c:pt idx="844">
                  <c:v>40359</c:v>
                </c:pt>
                <c:pt idx="845">
                  <c:v>40360</c:v>
                </c:pt>
                <c:pt idx="846">
                  <c:v>40361</c:v>
                </c:pt>
                <c:pt idx="847">
                  <c:v>40365</c:v>
                </c:pt>
                <c:pt idx="848">
                  <c:v>40366</c:v>
                </c:pt>
                <c:pt idx="849">
                  <c:v>40367</c:v>
                </c:pt>
                <c:pt idx="850">
                  <c:v>40368</c:v>
                </c:pt>
                <c:pt idx="851">
                  <c:v>40371</c:v>
                </c:pt>
                <c:pt idx="852">
                  <c:v>40372</c:v>
                </c:pt>
                <c:pt idx="853">
                  <c:v>40373</c:v>
                </c:pt>
                <c:pt idx="854">
                  <c:v>40374</c:v>
                </c:pt>
                <c:pt idx="855">
                  <c:v>40375</c:v>
                </c:pt>
                <c:pt idx="856">
                  <c:v>40378</c:v>
                </c:pt>
                <c:pt idx="857">
                  <c:v>40379</c:v>
                </c:pt>
                <c:pt idx="858">
                  <c:v>40380</c:v>
                </c:pt>
                <c:pt idx="859">
                  <c:v>40381</c:v>
                </c:pt>
                <c:pt idx="860">
                  <c:v>40382</c:v>
                </c:pt>
                <c:pt idx="861">
                  <c:v>40385</c:v>
                </c:pt>
                <c:pt idx="862">
                  <c:v>40386</c:v>
                </c:pt>
                <c:pt idx="863">
                  <c:v>40387</c:v>
                </c:pt>
                <c:pt idx="864">
                  <c:v>40388</c:v>
                </c:pt>
                <c:pt idx="865">
                  <c:v>40389</c:v>
                </c:pt>
                <c:pt idx="866">
                  <c:v>40392</c:v>
                </c:pt>
                <c:pt idx="867">
                  <c:v>40393</c:v>
                </c:pt>
                <c:pt idx="868">
                  <c:v>40394</c:v>
                </c:pt>
                <c:pt idx="869">
                  <c:v>40395</c:v>
                </c:pt>
                <c:pt idx="870">
                  <c:v>40396</c:v>
                </c:pt>
                <c:pt idx="871">
                  <c:v>40399</c:v>
                </c:pt>
                <c:pt idx="872">
                  <c:v>40400</c:v>
                </c:pt>
                <c:pt idx="873">
                  <c:v>40401</c:v>
                </c:pt>
                <c:pt idx="874">
                  <c:v>40402</c:v>
                </c:pt>
                <c:pt idx="875">
                  <c:v>40403</c:v>
                </c:pt>
                <c:pt idx="876">
                  <c:v>40406</c:v>
                </c:pt>
                <c:pt idx="877">
                  <c:v>40407</c:v>
                </c:pt>
                <c:pt idx="878">
                  <c:v>40408</c:v>
                </c:pt>
                <c:pt idx="879">
                  <c:v>40409</c:v>
                </c:pt>
                <c:pt idx="880">
                  <c:v>40410</c:v>
                </c:pt>
                <c:pt idx="881">
                  <c:v>40413</c:v>
                </c:pt>
                <c:pt idx="882">
                  <c:v>40414</c:v>
                </c:pt>
                <c:pt idx="883">
                  <c:v>40415</c:v>
                </c:pt>
                <c:pt idx="884">
                  <c:v>40416</c:v>
                </c:pt>
                <c:pt idx="885">
                  <c:v>40417</c:v>
                </c:pt>
                <c:pt idx="886">
                  <c:v>40420</c:v>
                </c:pt>
                <c:pt idx="887">
                  <c:v>40421</c:v>
                </c:pt>
                <c:pt idx="888">
                  <c:v>40422</c:v>
                </c:pt>
                <c:pt idx="889">
                  <c:v>40423</c:v>
                </c:pt>
                <c:pt idx="890">
                  <c:v>40424</c:v>
                </c:pt>
                <c:pt idx="891">
                  <c:v>40428</c:v>
                </c:pt>
                <c:pt idx="892">
                  <c:v>40429</c:v>
                </c:pt>
                <c:pt idx="893">
                  <c:v>40430</c:v>
                </c:pt>
                <c:pt idx="894">
                  <c:v>40431</c:v>
                </c:pt>
                <c:pt idx="895">
                  <c:v>40434</c:v>
                </c:pt>
                <c:pt idx="896">
                  <c:v>40435</c:v>
                </c:pt>
                <c:pt idx="897">
                  <c:v>40436</c:v>
                </c:pt>
                <c:pt idx="898">
                  <c:v>40437</c:v>
                </c:pt>
                <c:pt idx="899">
                  <c:v>40438</c:v>
                </c:pt>
                <c:pt idx="900">
                  <c:v>40441</c:v>
                </c:pt>
                <c:pt idx="901">
                  <c:v>40442</c:v>
                </c:pt>
                <c:pt idx="902">
                  <c:v>40443</c:v>
                </c:pt>
                <c:pt idx="903">
                  <c:v>40444</c:v>
                </c:pt>
                <c:pt idx="904">
                  <c:v>40445</c:v>
                </c:pt>
                <c:pt idx="905">
                  <c:v>40448</c:v>
                </c:pt>
                <c:pt idx="906">
                  <c:v>40449</c:v>
                </c:pt>
                <c:pt idx="907">
                  <c:v>40450</c:v>
                </c:pt>
                <c:pt idx="908">
                  <c:v>40451</c:v>
                </c:pt>
                <c:pt idx="909">
                  <c:v>40452</c:v>
                </c:pt>
                <c:pt idx="910">
                  <c:v>40455</c:v>
                </c:pt>
                <c:pt idx="911">
                  <c:v>40456</c:v>
                </c:pt>
                <c:pt idx="912">
                  <c:v>40457</c:v>
                </c:pt>
                <c:pt idx="913">
                  <c:v>40458</c:v>
                </c:pt>
                <c:pt idx="914">
                  <c:v>40459</c:v>
                </c:pt>
                <c:pt idx="915">
                  <c:v>40462</c:v>
                </c:pt>
                <c:pt idx="916">
                  <c:v>40463</c:v>
                </c:pt>
                <c:pt idx="917">
                  <c:v>40464</c:v>
                </c:pt>
                <c:pt idx="918">
                  <c:v>40465</c:v>
                </c:pt>
                <c:pt idx="919">
                  <c:v>40466</c:v>
                </c:pt>
                <c:pt idx="920">
                  <c:v>40469</c:v>
                </c:pt>
                <c:pt idx="921">
                  <c:v>40470</c:v>
                </c:pt>
                <c:pt idx="922">
                  <c:v>40471</c:v>
                </c:pt>
                <c:pt idx="923">
                  <c:v>40472</c:v>
                </c:pt>
                <c:pt idx="924">
                  <c:v>40473</c:v>
                </c:pt>
                <c:pt idx="925">
                  <c:v>40476</c:v>
                </c:pt>
                <c:pt idx="926">
                  <c:v>40477</c:v>
                </c:pt>
                <c:pt idx="927">
                  <c:v>40478</c:v>
                </c:pt>
                <c:pt idx="928">
                  <c:v>40479</c:v>
                </c:pt>
                <c:pt idx="929">
                  <c:v>40480</c:v>
                </c:pt>
                <c:pt idx="930">
                  <c:v>40483</c:v>
                </c:pt>
                <c:pt idx="931">
                  <c:v>40484</c:v>
                </c:pt>
                <c:pt idx="932">
                  <c:v>40485</c:v>
                </c:pt>
                <c:pt idx="933">
                  <c:v>40486</c:v>
                </c:pt>
                <c:pt idx="934">
                  <c:v>40487</c:v>
                </c:pt>
                <c:pt idx="935">
                  <c:v>40490</c:v>
                </c:pt>
                <c:pt idx="936">
                  <c:v>40491</c:v>
                </c:pt>
                <c:pt idx="937">
                  <c:v>40492</c:v>
                </c:pt>
                <c:pt idx="938">
                  <c:v>40493</c:v>
                </c:pt>
                <c:pt idx="939">
                  <c:v>40494</c:v>
                </c:pt>
                <c:pt idx="940">
                  <c:v>40497</c:v>
                </c:pt>
                <c:pt idx="941">
                  <c:v>40498</c:v>
                </c:pt>
                <c:pt idx="942">
                  <c:v>40499</c:v>
                </c:pt>
                <c:pt idx="943">
                  <c:v>40500</c:v>
                </c:pt>
                <c:pt idx="944">
                  <c:v>40501</c:v>
                </c:pt>
                <c:pt idx="945">
                  <c:v>40504</c:v>
                </c:pt>
                <c:pt idx="946">
                  <c:v>40505</c:v>
                </c:pt>
                <c:pt idx="947">
                  <c:v>40506</c:v>
                </c:pt>
                <c:pt idx="948">
                  <c:v>40508</c:v>
                </c:pt>
                <c:pt idx="949">
                  <c:v>40511</c:v>
                </c:pt>
                <c:pt idx="950">
                  <c:v>40512</c:v>
                </c:pt>
                <c:pt idx="951">
                  <c:v>40513</c:v>
                </c:pt>
                <c:pt idx="952">
                  <c:v>40514</c:v>
                </c:pt>
                <c:pt idx="953">
                  <c:v>40515</c:v>
                </c:pt>
                <c:pt idx="954">
                  <c:v>40518</c:v>
                </c:pt>
                <c:pt idx="955">
                  <c:v>40519</c:v>
                </c:pt>
                <c:pt idx="956">
                  <c:v>40520</c:v>
                </c:pt>
                <c:pt idx="957">
                  <c:v>40521</c:v>
                </c:pt>
                <c:pt idx="958">
                  <c:v>40522</c:v>
                </c:pt>
                <c:pt idx="959">
                  <c:v>40525</c:v>
                </c:pt>
                <c:pt idx="960">
                  <c:v>40526</c:v>
                </c:pt>
                <c:pt idx="961">
                  <c:v>40527</c:v>
                </c:pt>
                <c:pt idx="962">
                  <c:v>40528</c:v>
                </c:pt>
                <c:pt idx="963">
                  <c:v>40529</c:v>
                </c:pt>
                <c:pt idx="964">
                  <c:v>40532</c:v>
                </c:pt>
                <c:pt idx="965">
                  <c:v>40533</c:v>
                </c:pt>
                <c:pt idx="966">
                  <c:v>40534</c:v>
                </c:pt>
                <c:pt idx="967">
                  <c:v>40535</c:v>
                </c:pt>
                <c:pt idx="968">
                  <c:v>40539</c:v>
                </c:pt>
                <c:pt idx="969">
                  <c:v>40540</c:v>
                </c:pt>
                <c:pt idx="970">
                  <c:v>40541</c:v>
                </c:pt>
                <c:pt idx="971">
                  <c:v>40542</c:v>
                </c:pt>
                <c:pt idx="972">
                  <c:v>40543</c:v>
                </c:pt>
                <c:pt idx="973">
                  <c:v>40546</c:v>
                </c:pt>
                <c:pt idx="974">
                  <c:v>40547</c:v>
                </c:pt>
                <c:pt idx="975">
                  <c:v>40548</c:v>
                </c:pt>
                <c:pt idx="976">
                  <c:v>40549</c:v>
                </c:pt>
                <c:pt idx="977">
                  <c:v>40550</c:v>
                </c:pt>
                <c:pt idx="978">
                  <c:v>40553</c:v>
                </c:pt>
                <c:pt idx="979">
                  <c:v>40554</c:v>
                </c:pt>
                <c:pt idx="980">
                  <c:v>40555</c:v>
                </c:pt>
                <c:pt idx="981">
                  <c:v>40556</c:v>
                </c:pt>
                <c:pt idx="982">
                  <c:v>40557</c:v>
                </c:pt>
                <c:pt idx="983">
                  <c:v>40561</c:v>
                </c:pt>
                <c:pt idx="984">
                  <c:v>40562</c:v>
                </c:pt>
                <c:pt idx="985">
                  <c:v>40563</c:v>
                </c:pt>
                <c:pt idx="986">
                  <c:v>40564</c:v>
                </c:pt>
                <c:pt idx="987">
                  <c:v>40567</c:v>
                </c:pt>
                <c:pt idx="988">
                  <c:v>40568</c:v>
                </c:pt>
                <c:pt idx="989">
                  <c:v>40569</c:v>
                </c:pt>
                <c:pt idx="990">
                  <c:v>40570</c:v>
                </c:pt>
                <c:pt idx="991">
                  <c:v>40571</c:v>
                </c:pt>
                <c:pt idx="992">
                  <c:v>40574</c:v>
                </c:pt>
                <c:pt idx="993">
                  <c:v>40575</c:v>
                </c:pt>
                <c:pt idx="994">
                  <c:v>40576</c:v>
                </c:pt>
                <c:pt idx="995">
                  <c:v>40577</c:v>
                </c:pt>
                <c:pt idx="996">
                  <c:v>40578</c:v>
                </c:pt>
                <c:pt idx="997">
                  <c:v>40581</c:v>
                </c:pt>
                <c:pt idx="998">
                  <c:v>40582</c:v>
                </c:pt>
                <c:pt idx="999">
                  <c:v>40583</c:v>
                </c:pt>
                <c:pt idx="1000">
                  <c:v>40584</c:v>
                </c:pt>
                <c:pt idx="1001">
                  <c:v>40585</c:v>
                </c:pt>
                <c:pt idx="1002">
                  <c:v>40588</c:v>
                </c:pt>
                <c:pt idx="1003">
                  <c:v>40589</c:v>
                </c:pt>
                <c:pt idx="1004">
                  <c:v>40590</c:v>
                </c:pt>
                <c:pt idx="1005">
                  <c:v>40591</c:v>
                </c:pt>
                <c:pt idx="1006">
                  <c:v>40592</c:v>
                </c:pt>
                <c:pt idx="1007">
                  <c:v>40596</c:v>
                </c:pt>
                <c:pt idx="1008">
                  <c:v>40597</c:v>
                </c:pt>
                <c:pt idx="1009">
                  <c:v>40598</c:v>
                </c:pt>
                <c:pt idx="1010">
                  <c:v>40599</c:v>
                </c:pt>
                <c:pt idx="1011">
                  <c:v>40602</c:v>
                </c:pt>
                <c:pt idx="1012">
                  <c:v>40603</c:v>
                </c:pt>
                <c:pt idx="1013">
                  <c:v>40604</c:v>
                </c:pt>
                <c:pt idx="1014">
                  <c:v>40605</c:v>
                </c:pt>
                <c:pt idx="1015">
                  <c:v>40606</c:v>
                </c:pt>
                <c:pt idx="1016">
                  <c:v>40609</c:v>
                </c:pt>
                <c:pt idx="1017">
                  <c:v>40610</c:v>
                </c:pt>
                <c:pt idx="1018">
                  <c:v>40611</c:v>
                </c:pt>
                <c:pt idx="1019">
                  <c:v>40612</c:v>
                </c:pt>
                <c:pt idx="1020">
                  <c:v>40613</c:v>
                </c:pt>
                <c:pt idx="1021">
                  <c:v>40616</c:v>
                </c:pt>
                <c:pt idx="1022">
                  <c:v>40617</c:v>
                </c:pt>
                <c:pt idx="1023">
                  <c:v>40618</c:v>
                </c:pt>
                <c:pt idx="1024">
                  <c:v>40619</c:v>
                </c:pt>
                <c:pt idx="1025">
                  <c:v>40620</c:v>
                </c:pt>
                <c:pt idx="1026">
                  <c:v>40623</c:v>
                </c:pt>
                <c:pt idx="1027">
                  <c:v>40624</c:v>
                </c:pt>
                <c:pt idx="1028">
                  <c:v>40625</c:v>
                </c:pt>
                <c:pt idx="1029">
                  <c:v>40626</c:v>
                </c:pt>
                <c:pt idx="1030">
                  <c:v>40627</c:v>
                </c:pt>
                <c:pt idx="1031">
                  <c:v>40630</c:v>
                </c:pt>
                <c:pt idx="1032">
                  <c:v>40631</c:v>
                </c:pt>
                <c:pt idx="1033">
                  <c:v>40632</c:v>
                </c:pt>
                <c:pt idx="1034">
                  <c:v>40633</c:v>
                </c:pt>
                <c:pt idx="1035">
                  <c:v>40634</c:v>
                </c:pt>
                <c:pt idx="1036">
                  <c:v>40637</c:v>
                </c:pt>
                <c:pt idx="1037">
                  <c:v>40638</c:v>
                </c:pt>
                <c:pt idx="1038">
                  <c:v>40639</c:v>
                </c:pt>
                <c:pt idx="1039">
                  <c:v>40640</c:v>
                </c:pt>
                <c:pt idx="1040">
                  <c:v>40641</c:v>
                </c:pt>
                <c:pt idx="1041">
                  <c:v>40644</c:v>
                </c:pt>
                <c:pt idx="1042">
                  <c:v>40645</c:v>
                </c:pt>
                <c:pt idx="1043">
                  <c:v>40646</c:v>
                </c:pt>
                <c:pt idx="1044">
                  <c:v>40647</c:v>
                </c:pt>
                <c:pt idx="1045">
                  <c:v>40648</c:v>
                </c:pt>
                <c:pt idx="1046">
                  <c:v>40651</c:v>
                </c:pt>
                <c:pt idx="1047">
                  <c:v>40652</c:v>
                </c:pt>
                <c:pt idx="1048">
                  <c:v>40653</c:v>
                </c:pt>
                <c:pt idx="1049">
                  <c:v>40654</c:v>
                </c:pt>
                <c:pt idx="1050">
                  <c:v>40658</c:v>
                </c:pt>
                <c:pt idx="1051">
                  <c:v>40659</c:v>
                </c:pt>
                <c:pt idx="1052">
                  <c:v>40660</c:v>
                </c:pt>
                <c:pt idx="1053">
                  <c:v>40661</c:v>
                </c:pt>
                <c:pt idx="1054">
                  <c:v>40662</c:v>
                </c:pt>
                <c:pt idx="1055">
                  <c:v>40665</c:v>
                </c:pt>
                <c:pt idx="1056">
                  <c:v>40666</c:v>
                </c:pt>
                <c:pt idx="1057">
                  <c:v>40667</c:v>
                </c:pt>
                <c:pt idx="1058">
                  <c:v>40668</c:v>
                </c:pt>
                <c:pt idx="1059">
                  <c:v>40669</c:v>
                </c:pt>
                <c:pt idx="1060">
                  <c:v>40672</c:v>
                </c:pt>
                <c:pt idx="1061">
                  <c:v>40673</c:v>
                </c:pt>
                <c:pt idx="1062">
                  <c:v>40674</c:v>
                </c:pt>
                <c:pt idx="1063">
                  <c:v>40675</c:v>
                </c:pt>
                <c:pt idx="1064">
                  <c:v>40676</c:v>
                </c:pt>
                <c:pt idx="1065">
                  <c:v>40679</c:v>
                </c:pt>
                <c:pt idx="1066">
                  <c:v>40680</c:v>
                </c:pt>
                <c:pt idx="1067">
                  <c:v>40681</c:v>
                </c:pt>
                <c:pt idx="1068">
                  <c:v>40682</c:v>
                </c:pt>
                <c:pt idx="1069">
                  <c:v>40683</c:v>
                </c:pt>
                <c:pt idx="1070">
                  <c:v>40686</c:v>
                </c:pt>
                <c:pt idx="1071">
                  <c:v>40687</c:v>
                </c:pt>
                <c:pt idx="1072">
                  <c:v>40688</c:v>
                </c:pt>
                <c:pt idx="1073">
                  <c:v>40689</c:v>
                </c:pt>
                <c:pt idx="1074">
                  <c:v>40690</c:v>
                </c:pt>
                <c:pt idx="1075">
                  <c:v>40694</c:v>
                </c:pt>
                <c:pt idx="1076">
                  <c:v>40695</c:v>
                </c:pt>
                <c:pt idx="1077">
                  <c:v>40696</c:v>
                </c:pt>
                <c:pt idx="1078">
                  <c:v>40697</c:v>
                </c:pt>
                <c:pt idx="1079">
                  <c:v>40700</c:v>
                </c:pt>
                <c:pt idx="1080">
                  <c:v>40701</c:v>
                </c:pt>
                <c:pt idx="1081">
                  <c:v>40702</c:v>
                </c:pt>
                <c:pt idx="1082">
                  <c:v>40703</c:v>
                </c:pt>
                <c:pt idx="1083">
                  <c:v>40704</c:v>
                </c:pt>
                <c:pt idx="1084">
                  <c:v>40707</c:v>
                </c:pt>
                <c:pt idx="1085">
                  <c:v>40708</c:v>
                </c:pt>
                <c:pt idx="1086">
                  <c:v>40709</c:v>
                </c:pt>
                <c:pt idx="1087">
                  <c:v>40710</c:v>
                </c:pt>
                <c:pt idx="1088">
                  <c:v>40711</c:v>
                </c:pt>
                <c:pt idx="1089">
                  <c:v>40714</c:v>
                </c:pt>
                <c:pt idx="1090">
                  <c:v>40715</c:v>
                </c:pt>
                <c:pt idx="1091">
                  <c:v>40716</c:v>
                </c:pt>
                <c:pt idx="1092">
                  <c:v>40717</c:v>
                </c:pt>
                <c:pt idx="1093">
                  <c:v>40718</c:v>
                </c:pt>
                <c:pt idx="1094">
                  <c:v>40721</c:v>
                </c:pt>
                <c:pt idx="1095">
                  <c:v>40722</c:v>
                </c:pt>
                <c:pt idx="1096">
                  <c:v>40723</c:v>
                </c:pt>
                <c:pt idx="1097">
                  <c:v>40724</c:v>
                </c:pt>
                <c:pt idx="1098">
                  <c:v>40725</c:v>
                </c:pt>
                <c:pt idx="1099">
                  <c:v>40729</c:v>
                </c:pt>
                <c:pt idx="1100">
                  <c:v>40730</c:v>
                </c:pt>
                <c:pt idx="1101">
                  <c:v>40731</c:v>
                </c:pt>
                <c:pt idx="1102">
                  <c:v>40732</c:v>
                </c:pt>
                <c:pt idx="1103">
                  <c:v>40735</c:v>
                </c:pt>
                <c:pt idx="1104">
                  <c:v>40736</c:v>
                </c:pt>
                <c:pt idx="1105">
                  <c:v>40737</c:v>
                </c:pt>
                <c:pt idx="1106">
                  <c:v>40738</c:v>
                </c:pt>
                <c:pt idx="1107">
                  <c:v>40739</c:v>
                </c:pt>
                <c:pt idx="1108">
                  <c:v>40742</c:v>
                </c:pt>
                <c:pt idx="1109">
                  <c:v>40743</c:v>
                </c:pt>
                <c:pt idx="1110">
                  <c:v>40744</c:v>
                </c:pt>
                <c:pt idx="1111">
                  <c:v>40745</c:v>
                </c:pt>
                <c:pt idx="1112">
                  <c:v>40746</c:v>
                </c:pt>
                <c:pt idx="1113">
                  <c:v>40749</c:v>
                </c:pt>
                <c:pt idx="1114">
                  <c:v>40750</c:v>
                </c:pt>
                <c:pt idx="1115">
                  <c:v>40751</c:v>
                </c:pt>
                <c:pt idx="1116">
                  <c:v>40752</c:v>
                </c:pt>
                <c:pt idx="1117">
                  <c:v>40753</c:v>
                </c:pt>
                <c:pt idx="1118">
                  <c:v>40756</c:v>
                </c:pt>
                <c:pt idx="1119">
                  <c:v>40757</c:v>
                </c:pt>
                <c:pt idx="1120">
                  <c:v>40758</c:v>
                </c:pt>
                <c:pt idx="1121">
                  <c:v>40759</c:v>
                </c:pt>
                <c:pt idx="1122">
                  <c:v>40760</c:v>
                </c:pt>
                <c:pt idx="1123">
                  <c:v>40763</c:v>
                </c:pt>
                <c:pt idx="1124">
                  <c:v>40764</c:v>
                </c:pt>
                <c:pt idx="1125">
                  <c:v>40765</c:v>
                </c:pt>
                <c:pt idx="1126">
                  <c:v>40766</c:v>
                </c:pt>
                <c:pt idx="1127">
                  <c:v>40767</c:v>
                </c:pt>
                <c:pt idx="1128">
                  <c:v>40770</c:v>
                </c:pt>
                <c:pt idx="1129">
                  <c:v>40771</c:v>
                </c:pt>
                <c:pt idx="1130">
                  <c:v>40772</c:v>
                </c:pt>
                <c:pt idx="1131">
                  <c:v>40773</c:v>
                </c:pt>
                <c:pt idx="1132">
                  <c:v>40774</c:v>
                </c:pt>
                <c:pt idx="1133">
                  <c:v>40777</c:v>
                </c:pt>
                <c:pt idx="1134">
                  <c:v>40778</c:v>
                </c:pt>
                <c:pt idx="1135">
                  <c:v>40779</c:v>
                </c:pt>
                <c:pt idx="1136">
                  <c:v>40780</c:v>
                </c:pt>
                <c:pt idx="1137">
                  <c:v>40781</c:v>
                </c:pt>
                <c:pt idx="1138">
                  <c:v>40784</c:v>
                </c:pt>
                <c:pt idx="1139">
                  <c:v>40785</c:v>
                </c:pt>
                <c:pt idx="1140">
                  <c:v>40786</c:v>
                </c:pt>
                <c:pt idx="1141">
                  <c:v>40787</c:v>
                </c:pt>
                <c:pt idx="1142">
                  <c:v>40788</c:v>
                </c:pt>
                <c:pt idx="1143">
                  <c:v>40792</c:v>
                </c:pt>
                <c:pt idx="1144">
                  <c:v>40793</c:v>
                </c:pt>
                <c:pt idx="1145">
                  <c:v>40794</c:v>
                </c:pt>
                <c:pt idx="1146">
                  <c:v>40795</c:v>
                </c:pt>
                <c:pt idx="1147">
                  <c:v>40798</c:v>
                </c:pt>
                <c:pt idx="1148">
                  <c:v>40799</c:v>
                </c:pt>
                <c:pt idx="1149">
                  <c:v>40800</c:v>
                </c:pt>
                <c:pt idx="1150">
                  <c:v>40801</c:v>
                </c:pt>
                <c:pt idx="1151">
                  <c:v>40802</c:v>
                </c:pt>
                <c:pt idx="1152">
                  <c:v>40805</c:v>
                </c:pt>
                <c:pt idx="1153">
                  <c:v>40806</c:v>
                </c:pt>
                <c:pt idx="1154">
                  <c:v>40807</c:v>
                </c:pt>
                <c:pt idx="1155">
                  <c:v>40808</c:v>
                </c:pt>
                <c:pt idx="1156">
                  <c:v>40809</c:v>
                </c:pt>
                <c:pt idx="1157">
                  <c:v>40812</c:v>
                </c:pt>
                <c:pt idx="1158">
                  <c:v>40813</c:v>
                </c:pt>
                <c:pt idx="1159">
                  <c:v>40814</c:v>
                </c:pt>
                <c:pt idx="1160">
                  <c:v>40815</c:v>
                </c:pt>
                <c:pt idx="1161">
                  <c:v>40816</c:v>
                </c:pt>
                <c:pt idx="1162">
                  <c:v>40819</c:v>
                </c:pt>
                <c:pt idx="1163">
                  <c:v>40820</c:v>
                </c:pt>
                <c:pt idx="1164">
                  <c:v>40821</c:v>
                </c:pt>
                <c:pt idx="1165">
                  <c:v>40822</c:v>
                </c:pt>
                <c:pt idx="1166">
                  <c:v>40823</c:v>
                </c:pt>
                <c:pt idx="1167">
                  <c:v>40826</c:v>
                </c:pt>
                <c:pt idx="1168">
                  <c:v>40827</c:v>
                </c:pt>
                <c:pt idx="1169">
                  <c:v>40828</c:v>
                </c:pt>
                <c:pt idx="1170">
                  <c:v>40829</c:v>
                </c:pt>
                <c:pt idx="1171">
                  <c:v>40830</c:v>
                </c:pt>
                <c:pt idx="1172">
                  <c:v>40833</c:v>
                </c:pt>
                <c:pt idx="1173">
                  <c:v>40834</c:v>
                </c:pt>
                <c:pt idx="1174">
                  <c:v>40835</c:v>
                </c:pt>
                <c:pt idx="1175">
                  <c:v>40836</c:v>
                </c:pt>
                <c:pt idx="1176">
                  <c:v>40837</c:v>
                </c:pt>
                <c:pt idx="1177">
                  <c:v>40840</c:v>
                </c:pt>
                <c:pt idx="1178">
                  <c:v>40841</c:v>
                </c:pt>
                <c:pt idx="1179">
                  <c:v>40842</c:v>
                </c:pt>
                <c:pt idx="1180">
                  <c:v>40843</c:v>
                </c:pt>
                <c:pt idx="1181">
                  <c:v>40844</c:v>
                </c:pt>
                <c:pt idx="1182">
                  <c:v>40847</c:v>
                </c:pt>
                <c:pt idx="1183">
                  <c:v>40848</c:v>
                </c:pt>
                <c:pt idx="1184">
                  <c:v>40849</c:v>
                </c:pt>
                <c:pt idx="1185">
                  <c:v>40850</c:v>
                </c:pt>
                <c:pt idx="1186">
                  <c:v>40851</c:v>
                </c:pt>
                <c:pt idx="1187">
                  <c:v>40854</c:v>
                </c:pt>
                <c:pt idx="1188">
                  <c:v>40855</c:v>
                </c:pt>
                <c:pt idx="1189">
                  <c:v>40856</c:v>
                </c:pt>
                <c:pt idx="1190">
                  <c:v>40857</c:v>
                </c:pt>
                <c:pt idx="1191">
                  <c:v>40858</c:v>
                </c:pt>
                <c:pt idx="1192">
                  <c:v>40861</c:v>
                </c:pt>
                <c:pt idx="1193">
                  <c:v>40862</c:v>
                </c:pt>
                <c:pt idx="1194">
                  <c:v>40863</c:v>
                </c:pt>
                <c:pt idx="1195">
                  <c:v>40864</c:v>
                </c:pt>
                <c:pt idx="1196">
                  <c:v>40865</c:v>
                </c:pt>
                <c:pt idx="1197">
                  <c:v>40868</c:v>
                </c:pt>
                <c:pt idx="1198">
                  <c:v>40869</c:v>
                </c:pt>
                <c:pt idx="1199">
                  <c:v>40870</c:v>
                </c:pt>
                <c:pt idx="1200">
                  <c:v>40872</c:v>
                </c:pt>
                <c:pt idx="1201">
                  <c:v>40875</c:v>
                </c:pt>
                <c:pt idx="1202">
                  <c:v>40876</c:v>
                </c:pt>
                <c:pt idx="1203">
                  <c:v>40877</c:v>
                </c:pt>
                <c:pt idx="1204">
                  <c:v>40878</c:v>
                </c:pt>
                <c:pt idx="1205">
                  <c:v>40879</c:v>
                </c:pt>
                <c:pt idx="1206">
                  <c:v>40882</c:v>
                </c:pt>
                <c:pt idx="1207">
                  <c:v>40883</c:v>
                </c:pt>
                <c:pt idx="1208">
                  <c:v>40884</c:v>
                </c:pt>
                <c:pt idx="1209">
                  <c:v>40885</c:v>
                </c:pt>
                <c:pt idx="1210">
                  <c:v>40886</c:v>
                </c:pt>
                <c:pt idx="1211">
                  <c:v>40889</c:v>
                </c:pt>
                <c:pt idx="1212">
                  <c:v>40890</c:v>
                </c:pt>
                <c:pt idx="1213">
                  <c:v>40891</c:v>
                </c:pt>
                <c:pt idx="1214">
                  <c:v>40892</c:v>
                </c:pt>
                <c:pt idx="1215">
                  <c:v>40893</c:v>
                </c:pt>
                <c:pt idx="1216">
                  <c:v>40896</c:v>
                </c:pt>
                <c:pt idx="1217">
                  <c:v>40897</c:v>
                </c:pt>
                <c:pt idx="1218">
                  <c:v>40898</c:v>
                </c:pt>
                <c:pt idx="1219">
                  <c:v>40899</c:v>
                </c:pt>
                <c:pt idx="1220">
                  <c:v>40900</c:v>
                </c:pt>
                <c:pt idx="1221">
                  <c:v>40904</c:v>
                </c:pt>
                <c:pt idx="1222">
                  <c:v>40905</c:v>
                </c:pt>
                <c:pt idx="1223">
                  <c:v>40906</c:v>
                </c:pt>
                <c:pt idx="1224">
                  <c:v>40907</c:v>
                </c:pt>
                <c:pt idx="1225">
                  <c:v>40911</c:v>
                </c:pt>
                <c:pt idx="1226">
                  <c:v>40912</c:v>
                </c:pt>
                <c:pt idx="1227">
                  <c:v>40913</c:v>
                </c:pt>
                <c:pt idx="1228">
                  <c:v>40914</c:v>
                </c:pt>
                <c:pt idx="1229">
                  <c:v>40917</c:v>
                </c:pt>
                <c:pt idx="1230">
                  <c:v>40918</c:v>
                </c:pt>
                <c:pt idx="1231">
                  <c:v>40919</c:v>
                </c:pt>
                <c:pt idx="1232">
                  <c:v>40920</c:v>
                </c:pt>
                <c:pt idx="1233">
                  <c:v>40921</c:v>
                </c:pt>
                <c:pt idx="1234">
                  <c:v>40925</c:v>
                </c:pt>
                <c:pt idx="1235">
                  <c:v>40926</c:v>
                </c:pt>
                <c:pt idx="1236">
                  <c:v>40927</c:v>
                </c:pt>
                <c:pt idx="1237">
                  <c:v>40928</c:v>
                </c:pt>
                <c:pt idx="1238">
                  <c:v>40931</c:v>
                </c:pt>
                <c:pt idx="1239">
                  <c:v>40932</c:v>
                </c:pt>
                <c:pt idx="1240">
                  <c:v>40933</c:v>
                </c:pt>
                <c:pt idx="1241">
                  <c:v>40934</c:v>
                </c:pt>
                <c:pt idx="1242">
                  <c:v>40935</c:v>
                </c:pt>
                <c:pt idx="1243">
                  <c:v>40938</c:v>
                </c:pt>
                <c:pt idx="1244">
                  <c:v>40939</c:v>
                </c:pt>
                <c:pt idx="1245">
                  <c:v>40940</c:v>
                </c:pt>
                <c:pt idx="1246">
                  <c:v>40941</c:v>
                </c:pt>
                <c:pt idx="1247">
                  <c:v>40942</c:v>
                </c:pt>
                <c:pt idx="1248">
                  <c:v>40945</c:v>
                </c:pt>
                <c:pt idx="1249">
                  <c:v>40946</c:v>
                </c:pt>
                <c:pt idx="1250">
                  <c:v>40947</c:v>
                </c:pt>
                <c:pt idx="1251">
                  <c:v>40948</c:v>
                </c:pt>
                <c:pt idx="1252">
                  <c:v>40949</c:v>
                </c:pt>
                <c:pt idx="1253">
                  <c:v>40952</c:v>
                </c:pt>
                <c:pt idx="1254">
                  <c:v>40953</c:v>
                </c:pt>
                <c:pt idx="1255">
                  <c:v>40954</c:v>
                </c:pt>
                <c:pt idx="1256">
                  <c:v>40955</c:v>
                </c:pt>
                <c:pt idx="1257">
                  <c:v>40956</c:v>
                </c:pt>
                <c:pt idx="1258">
                  <c:v>40960</c:v>
                </c:pt>
                <c:pt idx="1259">
                  <c:v>40961</c:v>
                </c:pt>
                <c:pt idx="1260">
                  <c:v>40962</c:v>
                </c:pt>
                <c:pt idx="1261">
                  <c:v>40963</c:v>
                </c:pt>
                <c:pt idx="1262">
                  <c:v>40966</c:v>
                </c:pt>
                <c:pt idx="1263">
                  <c:v>40967</c:v>
                </c:pt>
                <c:pt idx="1264">
                  <c:v>40968</c:v>
                </c:pt>
                <c:pt idx="1265">
                  <c:v>40969</c:v>
                </c:pt>
                <c:pt idx="1266">
                  <c:v>40970</c:v>
                </c:pt>
                <c:pt idx="1267">
                  <c:v>40973</c:v>
                </c:pt>
                <c:pt idx="1268">
                  <c:v>40974</c:v>
                </c:pt>
                <c:pt idx="1269">
                  <c:v>40975</c:v>
                </c:pt>
                <c:pt idx="1270">
                  <c:v>40976</c:v>
                </c:pt>
                <c:pt idx="1271">
                  <c:v>40977</c:v>
                </c:pt>
                <c:pt idx="1272">
                  <c:v>40980</c:v>
                </c:pt>
                <c:pt idx="1273">
                  <c:v>40981</c:v>
                </c:pt>
                <c:pt idx="1274">
                  <c:v>40982</c:v>
                </c:pt>
                <c:pt idx="1275">
                  <c:v>40983</c:v>
                </c:pt>
                <c:pt idx="1276">
                  <c:v>40984</c:v>
                </c:pt>
                <c:pt idx="1277">
                  <c:v>40987</c:v>
                </c:pt>
                <c:pt idx="1278">
                  <c:v>40988</c:v>
                </c:pt>
                <c:pt idx="1279">
                  <c:v>40989</c:v>
                </c:pt>
                <c:pt idx="1280">
                  <c:v>40990</c:v>
                </c:pt>
                <c:pt idx="1281">
                  <c:v>40991</c:v>
                </c:pt>
                <c:pt idx="1282">
                  <c:v>40994</c:v>
                </c:pt>
                <c:pt idx="1283">
                  <c:v>40995</c:v>
                </c:pt>
                <c:pt idx="1284">
                  <c:v>40996</c:v>
                </c:pt>
                <c:pt idx="1285">
                  <c:v>40997</c:v>
                </c:pt>
                <c:pt idx="1286">
                  <c:v>40998</c:v>
                </c:pt>
                <c:pt idx="1287">
                  <c:v>41001</c:v>
                </c:pt>
                <c:pt idx="1288">
                  <c:v>41002</c:v>
                </c:pt>
                <c:pt idx="1289">
                  <c:v>41003</c:v>
                </c:pt>
                <c:pt idx="1290">
                  <c:v>41004</c:v>
                </c:pt>
                <c:pt idx="1291">
                  <c:v>41008</c:v>
                </c:pt>
                <c:pt idx="1292">
                  <c:v>41009</c:v>
                </c:pt>
                <c:pt idx="1293">
                  <c:v>41010</c:v>
                </c:pt>
                <c:pt idx="1294">
                  <c:v>41011</c:v>
                </c:pt>
                <c:pt idx="1295">
                  <c:v>41012</c:v>
                </c:pt>
                <c:pt idx="1296">
                  <c:v>41015</c:v>
                </c:pt>
                <c:pt idx="1297">
                  <c:v>41016</c:v>
                </c:pt>
                <c:pt idx="1298">
                  <c:v>41017</c:v>
                </c:pt>
                <c:pt idx="1299">
                  <c:v>41018</c:v>
                </c:pt>
                <c:pt idx="1300">
                  <c:v>41019</c:v>
                </c:pt>
                <c:pt idx="1301">
                  <c:v>41022</c:v>
                </c:pt>
                <c:pt idx="1302">
                  <c:v>41023</c:v>
                </c:pt>
                <c:pt idx="1303">
                  <c:v>41024</c:v>
                </c:pt>
                <c:pt idx="1304">
                  <c:v>41025</c:v>
                </c:pt>
                <c:pt idx="1305">
                  <c:v>41026</c:v>
                </c:pt>
                <c:pt idx="1306">
                  <c:v>41029</c:v>
                </c:pt>
                <c:pt idx="1307">
                  <c:v>41030</c:v>
                </c:pt>
                <c:pt idx="1308">
                  <c:v>41031</c:v>
                </c:pt>
                <c:pt idx="1309">
                  <c:v>41032</c:v>
                </c:pt>
                <c:pt idx="1310">
                  <c:v>41033</c:v>
                </c:pt>
                <c:pt idx="1311">
                  <c:v>41036</c:v>
                </c:pt>
                <c:pt idx="1312">
                  <c:v>41037</c:v>
                </c:pt>
                <c:pt idx="1313">
                  <c:v>41038</c:v>
                </c:pt>
                <c:pt idx="1314">
                  <c:v>41039</c:v>
                </c:pt>
                <c:pt idx="1315">
                  <c:v>41040</c:v>
                </c:pt>
                <c:pt idx="1316">
                  <c:v>41043</c:v>
                </c:pt>
                <c:pt idx="1317">
                  <c:v>41044</c:v>
                </c:pt>
                <c:pt idx="1318">
                  <c:v>41045</c:v>
                </c:pt>
                <c:pt idx="1319">
                  <c:v>41046</c:v>
                </c:pt>
                <c:pt idx="1320">
                  <c:v>41047</c:v>
                </c:pt>
                <c:pt idx="1321">
                  <c:v>41050</c:v>
                </c:pt>
                <c:pt idx="1322">
                  <c:v>41051</c:v>
                </c:pt>
                <c:pt idx="1323">
                  <c:v>41052</c:v>
                </c:pt>
                <c:pt idx="1324">
                  <c:v>41053</c:v>
                </c:pt>
                <c:pt idx="1325">
                  <c:v>41054</c:v>
                </c:pt>
                <c:pt idx="1326">
                  <c:v>41058</c:v>
                </c:pt>
                <c:pt idx="1327">
                  <c:v>41059</c:v>
                </c:pt>
                <c:pt idx="1328">
                  <c:v>41060</c:v>
                </c:pt>
                <c:pt idx="1329">
                  <c:v>41061</c:v>
                </c:pt>
                <c:pt idx="1330">
                  <c:v>41064</c:v>
                </c:pt>
                <c:pt idx="1331">
                  <c:v>41065</c:v>
                </c:pt>
                <c:pt idx="1332">
                  <c:v>41066</c:v>
                </c:pt>
                <c:pt idx="1333">
                  <c:v>41067</c:v>
                </c:pt>
                <c:pt idx="1334">
                  <c:v>41068</c:v>
                </c:pt>
                <c:pt idx="1335">
                  <c:v>41071</c:v>
                </c:pt>
                <c:pt idx="1336">
                  <c:v>41072</c:v>
                </c:pt>
                <c:pt idx="1337">
                  <c:v>41073</c:v>
                </c:pt>
                <c:pt idx="1338">
                  <c:v>41074</c:v>
                </c:pt>
                <c:pt idx="1339">
                  <c:v>41075</c:v>
                </c:pt>
                <c:pt idx="1340">
                  <c:v>41078</c:v>
                </c:pt>
                <c:pt idx="1341">
                  <c:v>41079</c:v>
                </c:pt>
                <c:pt idx="1342">
                  <c:v>41080</c:v>
                </c:pt>
                <c:pt idx="1343">
                  <c:v>41081</c:v>
                </c:pt>
                <c:pt idx="1344">
                  <c:v>41082</c:v>
                </c:pt>
                <c:pt idx="1345">
                  <c:v>41085</c:v>
                </c:pt>
                <c:pt idx="1346">
                  <c:v>41086</c:v>
                </c:pt>
                <c:pt idx="1347">
                  <c:v>41087</c:v>
                </c:pt>
                <c:pt idx="1348">
                  <c:v>41088</c:v>
                </c:pt>
                <c:pt idx="1349">
                  <c:v>41089</c:v>
                </c:pt>
                <c:pt idx="1350">
                  <c:v>41092</c:v>
                </c:pt>
                <c:pt idx="1351">
                  <c:v>41093</c:v>
                </c:pt>
                <c:pt idx="1352">
                  <c:v>41095</c:v>
                </c:pt>
                <c:pt idx="1353">
                  <c:v>41096</c:v>
                </c:pt>
                <c:pt idx="1354">
                  <c:v>41099</c:v>
                </c:pt>
                <c:pt idx="1355">
                  <c:v>41100</c:v>
                </c:pt>
                <c:pt idx="1356">
                  <c:v>41101</c:v>
                </c:pt>
                <c:pt idx="1357">
                  <c:v>41102</c:v>
                </c:pt>
                <c:pt idx="1358">
                  <c:v>41103</c:v>
                </c:pt>
                <c:pt idx="1359">
                  <c:v>41106</c:v>
                </c:pt>
                <c:pt idx="1360">
                  <c:v>41107</c:v>
                </c:pt>
                <c:pt idx="1361">
                  <c:v>41108</c:v>
                </c:pt>
                <c:pt idx="1362">
                  <c:v>41109</c:v>
                </c:pt>
                <c:pt idx="1363">
                  <c:v>41110</c:v>
                </c:pt>
                <c:pt idx="1364">
                  <c:v>41113</c:v>
                </c:pt>
                <c:pt idx="1365">
                  <c:v>41114</c:v>
                </c:pt>
                <c:pt idx="1366">
                  <c:v>41115</c:v>
                </c:pt>
                <c:pt idx="1367">
                  <c:v>41116</c:v>
                </c:pt>
                <c:pt idx="1368">
                  <c:v>41117</c:v>
                </c:pt>
                <c:pt idx="1369">
                  <c:v>41120</c:v>
                </c:pt>
                <c:pt idx="1370">
                  <c:v>41121</c:v>
                </c:pt>
                <c:pt idx="1371">
                  <c:v>41122</c:v>
                </c:pt>
                <c:pt idx="1372">
                  <c:v>41123</c:v>
                </c:pt>
                <c:pt idx="1373">
                  <c:v>41124</c:v>
                </c:pt>
                <c:pt idx="1374">
                  <c:v>41127</c:v>
                </c:pt>
                <c:pt idx="1375">
                  <c:v>41128</c:v>
                </c:pt>
                <c:pt idx="1376">
                  <c:v>41129</c:v>
                </c:pt>
                <c:pt idx="1377">
                  <c:v>41130</c:v>
                </c:pt>
                <c:pt idx="1378">
                  <c:v>41131</c:v>
                </c:pt>
                <c:pt idx="1379">
                  <c:v>41134</c:v>
                </c:pt>
                <c:pt idx="1380">
                  <c:v>41135</c:v>
                </c:pt>
                <c:pt idx="1381">
                  <c:v>41136</c:v>
                </c:pt>
                <c:pt idx="1382">
                  <c:v>41137</c:v>
                </c:pt>
                <c:pt idx="1383">
                  <c:v>41138</c:v>
                </c:pt>
                <c:pt idx="1384">
                  <c:v>41141</c:v>
                </c:pt>
                <c:pt idx="1385">
                  <c:v>41142</c:v>
                </c:pt>
                <c:pt idx="1386">
                  <c:v>41143</c:v>
                </c:pt>
                <c:pt idx="1387">
                  <c:v>41144</c:v>
                </c:pt>
                <c:pt idx="1388">
                  <c:v>41145</c:v>
                </c:pt>
                <c:pt idx="1389">
                  <c:v>41148</c:v>
                </c:pt>
                <c:pt idx="1390">
                  <c:v>41149</c:v>
                </c:pt>
                <c:pt idx="1391">
                  <c:v>41150</c:v>
                </c:pt>
                <c:pt idx="1392">
                  <c:v>41151</c:v>
                </c:pt>
                <c:pt idx="1393">
                  <c:v>41152</c:v>
                </c:pt>
                <c:pt idx="1394">
                  <c:v>41156</c:v>
                </c:pt>
                <c:pt idx="1395">
                  <c:v>41157</c:v>
                </c:pt>
                <c:pt idx="1396">
                  <c:v>41158</c:v>
                </c:pt>
                <c:pt idx="1397">
                  <c:v>41159</c:v>
                </c:pt>
                <c:pt idx="1398">
                  <c:v>41162</c:v>
                </c:pt>
                <c:pt idx="1399">
                  <c:v>41163</c:v>
                </c:pt>
                <c:pt idx="1400">
                  <c:v>41164</c:v>
                </c:pt>
                <c:pt idx="1401">
                  <c:v>41165</c:v>
                </c:pt>
                <c:pt idx="1402">
                  <c:v>41166</c:v>
                </c:pt>
                <c:pt idx="1403">
                  <c:v>41169</c:v>
                </c:pt>
                <c:pt idx="1404">
                  <c:v>41170</c:v>
                </c:pt>
                <c:pt idx="1405">
                  <c:v>41171</c:v>
                </c:pt>
                <c:pt idx="1406">
                  <c:v>41172</c:v>
                </c:pt>
                <c:pt idx="1407">
                  <c:v>41173</c:v>
                </c:pt>
                <c:pt idx="1408">
                  <c:v>41176</c:v>
                </c:pt>
                <c:pt idx="1409">
                  <c:v>41177</c:v>
                </c:pt>
                <c:pt idx="1410">
                  <c:v>41178</c:v>
                </c:pt>
                <c:pt idx="1411">
                  <c:v>41179</c:v>
                </c:pt>
                <c:pt idx="1412">
                  <c:v>41180</c:v>
                </c:pt>
                <c:pt idx="1413">
                  <c:v>41183</c:v>
                </c:pt>
                <c:pt idx="1414">
                  <c:v>41184</c:v>
                </c:pt>
                <c:pt idx="1415">
                  <c:v>41185</c:v>
                </c:pt>
                <c:pt idx="1416">
                  <c:v>41186</c:v>
                </c:pt>
                <c:pt idx="1417">
                  <c:v>41187</c:v>
                </c:pt>
                <c:pt idx="1418">
                  <c:v>41190</c:v>
                </c:pt>
                <c:pt idx="1419">
                  <c:v>41191</c:v>
                </c:pt>
                <c:pt idx="1420">
                  <c:v>41192</c:v>
                </c:pt>
                <c:pt idx="1421">
                  <c:v>41193</c:v>
                </c:pt>
                <c:pt idx="1422">
                  <c:v>41194</c:v>
                </c:pt>
                <c:pt idx="1423">
                  <c:v>41197</c:v>
                </c:pt>
                <c:pt idx="1424">
                  <c:v>41198</c:v>
                </c:pt>
                <c:pt idx="1425">
                  <c:v>41199</c:v>
                </c:pt>
                <c:pt idx="1426">
                  <c:v>41200</c:v>
                </c:pt>
                <c:pt idx="1427">
                  <c:v>41201</c:v>
                </c:pt>
                <c:pt idx="1428">
                  <c:v>41204</c:v>
                </c:pt>
                <c:pt idx="1429">
                  <c:v>41205</c:v>
                </c:pt>
                <c:pt idx="1430">
                  <c:v>41206</c:v>
                </c:pt>
                <c:pt idx="1431">
                  <c:v>41207</c:v>
                </c:pt>
                <c:pt idx="1432">
                  <c:v>41208</c:v>
                </c:pt>
                <c:pt idx="1433">
                  <c:v>41213</c:v>
                </c:pt>
                <c:pt idx="1434">
                  <c:v>41214</c:v>
                </c:pt>
                <c:pt idx="1435">
                  <c:v>41215</c:v>
                </c:pt>
                <c:pt idx="1436">
                  <c:v>41218</c:v>
                </c:pt>
                <c:pt idx="1437">
                  <c:v>41219</c:v>
                </c:pt>
                <c:pt idx="1438">
                  <c:v>41220</c:v>
                </c:pt>
                <c:pt idx="1439">
                  <c:v>41221</c:v>
                </c:pt>
                <c:pt idx="1440">
                  <c:v>41222</c:v>
                </c:pt>
                <c:pt idx="1441">
                  <c:v>41225</c:v>
                </c:pt>
                <c:pt idx="1442">
                  <c:v>41226</c:v>
                </c:pt>
                <c:pt idx="1443">
                  <c:v>41227</c:v>
                </c:pt>
                <c:pt idx="1444">
                  <c:v>41228</c:v>
                </c:pt>
                <c:pt idx="1445">
                  <c:v>41229</c:v>
                </c:pt>
                <c:pt idx="1446">
                  <c:v>41232</c:v>
                </c:pt>
                <c:pt idx="1447">
                  <c:v>41233</c:v>
                </c:pt>
                <c:pt idx="1448">
                  <c:v>41234</c:v>
                </c:pt>
                <c:pt idx="1449">
                  <c:v>41236</c:v>
                </c:pt>
                <c:pt idx="1450">
                  <c:v>41239</c:v>
                </c:pt>
                <c:pt idx="1451">
                  <c:v>41240</c:v>
                </c:pt>
                <c:pt idx="1452">
                  <c:v>41241</c:v>
                </c:pt>
                <c:pt idx="1453">
                  <c:v>41242</c:v>
                </c:pt>
                <c:pt idx="1454">
                  <c:v>41243</c:v>
                </c:pt>
                <c:pt idx="1455">
                  <c:v>41246</c:v>
                </c:pt>
                <c:pt idx="1456">
                  <c:v>41247</c:v>
                </c:pt>
                <c:pt idx="1457">
                  <c:v>41248</c:v>
                </c:pt>
                <c:pt idx="1458">
                  <c:v>41249</c:v>
                </c:pt>
                <c:pt idx="1459">
                  <c:v>41250</c:v>
                </c:pt>
                <c:pt idx="1460">
                  <c:v>41253</c:v>
                </c:pt>
                <c:pt idx="1461">
                  <c:v>41254</c:v>
                </c:pt>
                <c:pt idx="1462">
                  <c:v>41255</c:v>
                </c:pt>
                <c:pt idx="1463">
                  <c:v>41256</c:v>
                </c:pt>
                <c:pt idx="1464">
                  <c:v>41257</c:v>
                </c:pt>
                <c:pt idx="1465">
                  <c:v>41260</c:v>
                </c:pt>
                <c:pt idx="1466">
                  <c:v>41261</c:v>
                </c:pt>
                <c:pt idx="1467">
                  <c:v>41262</c:v>
                </c:pt>
                <c:pt idx="1468">
                  <c:v>41263</c:v>
                </c:pt>
                <c:pt idx="1469">
                  <c:v>41264</c:v>
                </c:pt>
                <c:pt idx="1470">
                  <c:v>41267</c:v>
                </c:pt>
                <c:pt idx="1471">
                  <c:v>41269</c:v>
                </c:pt>
                <c:pt idx="1472">
                  <c:v>41270</c:v>
                </c:pt>
                <c:pt idx="1473">
                  <c:v>41271</c:v>
                </c:pt>
                <c:pt idx="1474">
                  <c:v>41274</c:v>
                </c:pt>
                <c:pt idx="1475">
                  <c:v>41276</c:v>
                </c:pt>
                <c:pt idx="1476">
                  <c:v>41277</c:v>
                </c:pt>
                <c:pt idx="1477">
                  <c:v>41278</c:v>
                </c:pt>
                <c:pt idx="1478">
                  <c:v>41281</c:v>
                </c:pt>
                <c:pt idx="1479">
                  <c:v>41282</c:v>
                </c:pt>
                <c:pt idx="1480">
                  <c:v>41283</c:v>
                </c:pt>
                <c:pt idx="1481">
                  <c:v>41284</c:v>
                </c:pt>
                <c:pt idx="1482">
                  <c:v>41285</c:v>
                </c:pt>
                <c:pt idx="1483">
                  <c:v>41288</c:v>
                </c:pt>
                <c:pt idx="1484">
                  <c:v>41289</c:v>
                </c:pt>
                <c:pt idx="1485">
                  <c:v>41290</c:v>
                </c:pt>
                <c:pt idx="1486">
                  <c:v>41291</c:v>
                </c:pt>
                <c:pt idx="1487">
                  <c:v>41292</c:v>
                </c:pt>
                <c:pt idx="1488">
                  <c:v>41296</c:v>
                </c:pt>
                <c:pt idx="1489">
                  <c:v>41297</c:v>
                </c:pt>
                <c:pt idx="1490">
                  <c:v>41298</c:v>
                </c:pt>
                <c:pt idx="1491">
                  <c:v>41299</c:v>
                </c:pt>
                <c:pt idx="1492">
                  <c:v>41302</c:v>
                </c:pt>
                <c:pt idx="1493">
                  <c:v>41303</c:v>
                </c:pt>
                <c:pt idx="1494">
                  <c:v>41304</c:v>
                </c:pt>
                <c:pt idx="1495">
                  <c:v>41305</c:v>
                </c:pt>
                <c:pt idx="1496">
                  <c:v>41306</c:v>
                </c:pt>
                <c:pt idx="1497">
                  <c:v>41309</c:v>
                </c:pt>
                <c:pt idx="1498">
                  <c:v>41310</c:v>
                </c:pt>
                <c:pt idx="1499">
                  <c:v>41311</c:v>
                </c:pt>
                <c:pt idx="1500">
                  <c:v>41312</c:v>
                </c:pt>
                <c:pt idx="1501">
                  <c:v>41313</c:v>
                </c:pt>
                <c:pt idx="1502">
                  <c:v>41316</c:v>
                </c:pt>
                <c:pt idx="1503">
                  <c:v>41317</c:v>
                </c:pt>
                <c:pt idx="1504">
                  <c:v>41318</c:v>
                </c:pt>
                <c:pt idx="1505">
                  <c:v>41319</c:v>
                </c:pt>
                <c:pt idx="1506">
                  <c:v>41320</c:v>
                </c:pt>
                <c:pt idx="1507">
                  <c:v>41324</c:v>
                </c:pt>
                <c:pt idx="1508">
                  <c:v>41325</c:v>
                </c:pt>
                <c:pt idx="1509">
                  <c:v>41326</c:v>
                </c:pt>
                <c:pt idx="1510">
                  <c:v>41327</c:v>
                </c:pt>
                <c:pt idx="1511">
                  <c:v>41330</c:v>
                </c:pt>
                <c:pt idx="1512">
                  <c:v>41331</c:v>
                </c:pt>
                <c:pt idx="1513">
                  <c:v>41332</c:v>
                </c:pt>
                <c:pt idx="1514">
                  <c:v>41333</c:v>
                </c:pt>
                <c:pt idx="1515">
                  <c:v>41334</c:v>
                </c:pt>
                <c:pt idx="1516">
                  <c:v>41337</c:v>
                </c:pt>
                <c:pt idx="1517">
                  <c:v>41338</c:v>
                </c:pt>
                <c:pt idx="1518">
                  <c:v>41339</c:v>
                </c:pt>
                <c:pt idx="1519">
                  <c:v>41340</c:v>
                </c:pt>
                <c:pt idx="1520">
                  <c:v>41341</c:v>
                </c:pt>
                <c:pt idx="1521">
                  <c:v>41344</c:v>
                </c:pt>
                <c:pt idx="1522">
                  <c:v>41345</c:v>
                </c:pt>
                <c:pt idx="1523">
                  <c:v>41346</c:v>
                </c:pt>
                <c:pt idx="1524">
                  <c:v>41347</c:v>
                </c:pt>
                <c:pt idx="1525">
                  <c:v>41348</c:v>
                </c:pt>
                <c:pt idx="1526">
                  <c:v>41351</c:v>
                </c:pt>
                <c:pt idx="1527">
                  <c:v>41352</c:v>
                </c:pt>
                <c:pt idx="1528">
                  <c:v>41353</c:v>
                </c:pt>
                <c:pt idx="1529">
                  <c:v>41354</c:v>
                </c:pt>
                <c:pt idx="1530">
                  <c:v>41355</c:v>
                </c:pt>
                <c:pt idx="1531">
                  <c:v>41358</c:v>
                </c:pt>
                <c:pt idx="1532">
                  <c:v>41359</c:v>
                </c:pt>
                <c:pt idx="1533">
                  <c:v>41360</c:v>
                </c:pt>
                <c:pt idx="1534">
                  <c:v>41361</c:v>
                </c:pt>
                <c:pt idx="1535">
                  <c:v>41365</c:v>
                </c:pt>
                <c:pt idx="1536">
                  <c:v>41366</c:v>
                </c:pt>
                <c:pt idx="1537">
                  <c:v>41367</c:v>
                </c:pt>
                <c:pt idx="1538">
                  <c:v>41368</c:v>
                </c:pt>
                <c:pt idx="1539">
                  <c:v>41369</c:v>
                </c:pt>
                <c:pt idx="1540">
                  <c:v>41372</c:v>
                </c:pt>
                <c:pt idx="1541">
                  <c:v>41373</c:v>
                </c:pt>
                <c:pt idx="1542">
                  <c:v>41374</c:v>
                </c:pt>
                <c:pt idx="1543">
                  <c:v>41375</c:v>
                </c:pt>
                <c:pt idx="1544">
                  <c:v>41376</c:v>
                </c:pt>
                <c:pt idx="1545">
                  <c:v>41379</c:v>
                </c:pt>
                <c:pt idx="1546">
                  <c:v>41380</c:v>
                </c:pt>
                <c:pt idx="1547">
                  <c:v>41381</c:v>
                </c:pt>
                <c:pt idx="1548">
                  <c:v>41382</c:v>
                </c:pt>
                <c:pt idx="1549">
                  <c:v>41383</c:v>
                </c:pt>
                <c:pt idx="1550">
                  <c:v>41386</c:v>
                </c:pt>
                <c:pt idx="1551">
                  <c:v>41387</c:v>
                </c:pt>
                <c:pt idx="1552">
                  <c:v>41388</c:v>
                </c:pt>
                <c:pt idx="1553">
                  <c:v>41389</c:v>
                </c:pt>
                <c:pt idx="1554">
                  <c:v>41390</c:v>
                </c:pt>
                <c:pt idx="1555">
                  <c:v>41393</c:v>
                </c:pt>
                <c:pt idx="1556">
                  <c:v>41394</c:v>
                </c:pt>
                <c:pt idx="1557">
                  <c:v>41395</c:v>
                </c:pt>
                <c:pt idx="1558">
                  <c:v>41396</c:v>
                </c:pt>
                <c:pt idx="1559">
                  <c:v>41397</c:v>
                </c:pt>
                <c:pt idx="1560">
                  <c:v>41400</c:v>
                </c:pt>
                <c:pt idx="1561">
                  <c:v>41401</c:v>
                </c:pt>
                <c:pt idx="1562">
                  <c:v>41402</c:v>
                </c:pt>
                <c:pt idx="1563">
                  <c:v>41403</c:v>
                </c:pt>
                <c:pt idx="1564">
                  <c:v>41404</c:v>
                </c:pt>
                <c:pt idx="1565">
                  <c:v>41407</c:v>
                </c:pt>
                <c:pt idx="1566">
                  <c:v>41408</c:v>
                </c:pt>
                <c:pt idx="1567">
                  <c:v>41409</c:v>
                </c:pt>
                <c:pt idx="1568">
                  <c:v>41410</c:v>
                </c:pt>
                <c:pt idx="1569">
                  <c:v>41411</c:v>
                </c:pt>
                <c:pt idx="1570">
                  <c:v>41414</c:v>
                </c:pt>
                <c:pt idx="1571">
                  <c:v>41415</c:v>
                </c:pt>
                <c:pt idx="1572">
                  <c:v>41416</c:v>
                </c:pt>
                <c:pt idx="1573">
                  <c:v>41417</c:v>
                </c:pt>
                <c:pt idx="1574">
                  <c:v>41418</c:v>
                </c:pt>
                <c:pt idx="1575">
                  <c:v>41422</c:v>
                </c:pt>
                <c:pt idx="1576">
                  <c:v>41423</c:v>
                </c:pt>
                <c:pt idx="1577">
                  <c:v>41424</c:v>
                </c:pt>
                <c:pt idx="1578">
                  <c:v>41425</c:v>
                </c:pt>
                <c:pt idx="1579">
                  <c:v>41428</c:v>
                </c:pt>
                <c:pt idx="1580">
                  <c:v>41429</c:v>
                </c:pt>
                <c:pt idx="1581">
                  <c:v>41430</c:v>
                </c:pt>
                <c:pt idx="1582">
                  <c:v>41431</c:v>
                </c:pt>
                <c:pt idx="1583">
                  <c:v>41432</c:v>
                </c:pt>
                <c:pt idx="1584">
                  <c:v>41435</c:v>
                </c:pt>
                <c:pt idx="1585">
                  <c:v>41436</c:v>
                </c:pt>
                <c:pt idx="1586">
                  <c:v>41437</c:v>
                </c:pt>
                <c:pt idx="1587">
                  <c:v>41438</c:v>
                </c:pt>
                <c:pt idx="1588">
                  <c:v>41439</c:v>
                </c:pt>
                <c:pt idx="1589">
                  <c:v>41442</c:v>
                </c:pt>
                <c:pt idx="1590">
                  <c:v>41443</c:v>
                </c:pt>
                <c:pt idx="1591">
                  <c:v>41444</c:v>
                </c:pt>
                <c:pt idx="1592">
                  <c:v>41445</c:v>
                </c:pt>
                <c:pt idx="1593">
                  <c:v>41446</c:v>
                </c:pt>
                <c:pt idx="1594">
                  <c:v>41449</c:v>
                </c:pt>
                <c:pt idx="1595">
                  <c:v>41450</c:v>
                </c:pt>
                <c:pt idx="1596">
                  <c:v>41451</c:v>
                </c:pt>
                <c:pt idx="1597">
                  <c:v>41452</c:v>
                </c:pt>
                <c:pt idx="1598">
                  <c:v>41453</c:v>
                </c:pt>
                <c:pt idx="1599">
                  <c:v>41456</c:v>
                </c:pt>
                <c:pt idx="1600">
                  <c:v>41457</c:v>
                </c:pt>
                <c:pt idx="1601">
                  <c:v>41458</c:v>
                </c:pt>
                <c:pt idx="1602">
                  <c:v>41460</c:v>
                </c:pt>
                <c:pt idx="1603">
                  <c:v>41463</c:v>
                </c:pt>
                <c:pt idx="1604">
                  <c:v>41464</c:v>
                </c:pt>
                <c:pt idx="1605">
                  <c:v>41465</c:v>
                </c:pt>
                <c:pt idx="1606">
                  <c:v>41466</c:v>
                </c:pt>
                <c:pt idx="1607">
                  <c:v>41467</c:v>
                </c:pt>
                <c:pt idx="1608">
                  <c:v>41470</c:v>
                </c:pt>
                <c:pt idx="1609">
                  <c:v>41471</c:v>
                </c:pt>
                <c:pt idx="1610">
                  <c:v>41472</c:v>
                </c:pt>
                <c:pt idx="1611">
                  <c:v>41473</c:v>
                </c:pt>
                <c:pt idx="1612">
                  <c:v>41474</c:v>
                </c:pt>
                <c:pt idx="1613">
                  <c:v>41477</c:v>
                </c:pt>
                <c:pt idx="1614">
                  <c:v>41478</c:v>
                </c:pt>
                <c:pt idx="1615">
                  <c:v>41479</c:v>
                </c:pt>
                <c:pt idx="1616">
                  <c:v>41480</c:v>
                </c:pt>
                <c:pt idx="1617">
                  <c:v>41481</c:v>
                </c:pt>
                <c:pt idx="1618">
                  <c:v>41484</c:v>
                </c:pt>
                <c:pt idx="1619">
                  <c:v>41485</c:v>
                </c:pt>
                <c:pt idx="1620">
                  <c:v>41486</c:v>
                </c:pt>
                <c:pt idx="1621">
                  <c:v>41487</c:v>
                </c:pt>
                <c:pt idx="1622">
                  <c:v>41488</c:v>
                </c:pt>
                <c:pt idx="1623">
                  <c:v>41491</c:v>
                </c:pt>
                <c:pt idx="1624">
                  <c:v>41492</c:v>
                </c:pt>
                <c:pt idx="1625">
                  <c:v>41493</c:v>
                </c:pt>
                <c:pt idx="1626">
                  <c:v>41494</c:v>
                </c:pt>
                <c:pt idx="1627">
                  <c:v>41495</c:v>
                </c:pt>
                <c:pt idx="1628">
                  <c:v>41498</c:v>
                </c:pt>
                <c:pt idx="1629">
                  <c:v>41499</c:v>
                </c:pt>
                <c:pt idx="1630">
                  <c:v>41500</c:v>
                </c:pt>
                <c:pt idx="1631">
                  <c:v>41501</c:v>
                </c:pt>
                <c:pt idx="1632">
                  <c:v>41502</c:v>
                </c:pt>
                <c:pt idx="1633">
                  <c:v>41505</c:v>
                </c:pt>
                <c:pt idx="1634">
                  <c:v>41506</c:v>
                </c:pt>
                <c:pt idx="1635">
                  <c:v>41507</c:v>
                </c:pt>
                <c:pt idx="1636">
                  <c:v>41508</c:v>
                </c:pt>
                <c:pt idx="1637">
                  <c:v>41509</c:v>
                </c:pt>
                <c:pt idx="1638">
                  <c:v>41512</c:v>
                </c:pt>
                <c:pt idx="1639">
                  <c:v>41513</c:v>
                </c:pt>
                <c:pt idx="1640">
                  <c:v>41514</c:v>
                </c:pt>
                <c:pt idx="1641">
                  <c:v>41515</c:v>
                </c:pt>
                <c:pt idx="1642">
                  <c:v>41516</c:v>
                </c:pt>
                <c:pt idx="1643">
                  <c:v>41520</c:v>
                </c:pt>
                <c:pt idx="1644">
                  <c:v>41521</c:v>
                </c:pt>
                <c:pt idx="1645">
                  <c:v>41522</c:v>
                </c:pt>
                <c:pt idx="1646">
                  <c:v>41523</c:v>
                </c:pt>
                <c:pt idx="1647">
                  <c:v>41526</c:v>
                </c:pt>
                <c:pt idx="1648">
                  <c:v>41527</c:v>
                </c:pt>
                <c:pt idx="1649">
                  <c:v>41528</c:v>
                </c:pt>
                <c:pt idx="1650">
                  <c:v>41529</c:v>
                </c:pt>
                <c:pt idx="1651">
                  <c:v>41530</c:v>
                </c:pt>
                <c:pt idx="1652">
                  <c:v>41533</c:v>
                </c:pt>
                <c:pt idx="1653">
                  <c:v>41534</c:v>
                </c:pt>
                <c:pt idx="1654">
                  <c:v>41535</c:v>
                </c:pt>
                <c:pt idx="1655">
                  <c:v>41536</c:v>
                </c:pt>
                <c:pt idx="1656">
                  <c:v>41537</c:v>
                </c:pt>
                <c:pt idx="1657">
                  <c:v>41540</c:v>
                </c:pt>
                <c:pt idx="1658">
                  <c:v>41541</c:v>
                </c:pt>
                <c:pt idx="1659">
                  <c:v>41542</c:v>
                </c:pt>
                <c:pt idx="1660">
                  <c:v>41543</c:v>
                </c:pt>
                <c:pt idx="1661">
                  <c:v>41544</c:v>
                </c:pt>
                <c:pt idx="1662">
                  <c:v>41547</c:v>
                </c:pt>
                <c:pt idx="1663">
                  <c:v>41548</c:v>
                </c:pt>
                <c:pt idx="1664">
                  <c:v>41549</c:v>
                </c:pt>
                <c:pt idx="1665">
                  <c:v>41550</c:v>
                </c:pt>
                <c:pt idx="1666">
                  <c:v>41551</c:v>
                </c:pt>
                <c:pt idx="1667">
                  <c:v>41554</c:v>
                </c:pt>
                <c:pt idx="1668">
                  <c:v>41555</c:v>
                </c:pt>
                <c:pt idx="1669">
                  <c:v>41556</c:v>
                </c:pt>
                <c:pt idx="1670">
                  <c:v>41557</c:v>
                </c:pt>
                <c:pt idx="1671">
                  <c:v>41558</c:v>
                </c:pt>
                <c:pt idx="1672">
                  <c:v>41561</c:v>
                </c:pt>
                <c:pt idx="1673">
                  <c:v>41562</c:v>
                </c:pt>
                <c:pt idx="1674">
                  <c:v>41563</c:v>
                </c:pt>
                <c:pt idx="1675">
                  <c:v>41564</c:v>
                </c:pt>
                <c:pt idx="1676">
                  <c:v>41565</c:v>
                </c:pt>
                <c:pt idx="1677">
                  <c:v>41568</c:v>
                </c:pt>
                <c:pt idx="1678">
                  <c:v>41569</c:v>
                </c:pt>
                <c:pt idx="1679">
                  <c:v>41570</c:v>
                </c:pt>
                <c:pt idx="1680">
                  <c:v>41571</c:v>
                </c:pt>
                <c:pt idx="1681">
                  <c:v>41572</c:v>
                </c:pt>
                <c:pt idx="1682">
                  <c:v>41575</c:v>
                </c:pt>
                <c:pt idx="1683">
                  <c:v>41576</c:v>
                </c:pt>
                <c:pt idx="1684">
                  <c:v>41577</c:v>
                </c:pt>
                <c:pt idx="1685">
                  <c:v>41578</c:v>
                </c:pt>
                <c:pt idx="1686">
                  <c:v>41579</c:v>
                </c:pt>
                <c:pt idx="1687">
                  <c:v>41582</c:v>
                </c:pt>
                <c:pt idx="1688">
                  <c:v>41583</c:v>
                </c:pt>
                <c:pt idx="1689">
                  <c:v>41584</c:v>
                </c:pt>
                <c:pt idx="1690">
                  <c:v>41585</c:v>
                </c:pt>
                <c:pt idx="1691">
                  <c:v>41586</c:v>
                </c:pt>
                <c:pt idx="1692">
                  <c:v>41589</c:v>
                </c:pt>
                <c:pt idx="1693">
                  <c:v>41590</c:v>
                </c:pt>
                <c:pt idx="1694">
                  <c:v>41591</c:v>
                </c:pt>
                <c:pt idx="1695">
                  <c:v>41592</c:v>
                </c:pt>
                <c:pt idx="1696">
                  <c:v>41593</c:v>
                </c:pt>
                <c:pt idx="1697">
                  <c:v>41596</c:v>
                </c:pt>
                <c:pt idx="1698">
                  <c:v>41597</c:v>
                </c:pt>
                <c:pt idx="1699">
                  <c:v>41598</c:v>
                </c:pt>
                <c:pt idx="1700">
                  <c:v>41599</c:v>
                </c:pt>
                <c:pt idx="1701">
                  <c:v>41600</c:v>
                </c:pt>
                <c:pt idx="1702">
                  <c:v>41603</c:v>
                </c:pt>
                <c:pt idx="1703">
                  <c:v>41604</c:v>
                </c:pt>
                <c:pt idx="1704">
                  <c:v>41605</c:v>
                </c:pt>
                <c:pt idx="1705">
                  <c:v>41607</c:v>
                </c:pt>
                <c:pt idx="1706">
                  <c:v>41610</c:v>
                </c:pt>
                <c:pt idx="1707">
                  <c:v>41611</c:v>
                </c:pt>
                <c:pt idx="1708">
                  <c:v>41612</c:v>
                </c:pt>
                <c:pt idx="1709">
                  <c:v>41613</c:v>
                </c:pt>
                <c:pt idx="1710">
                  <c:v>41614</c:v>
                </c:pt>
                <c:pt idx="1711">
                  <c:v>41617</c:v>
                </c:pt>
                <c:pt idx="1712">
                  <c:v>41618</c:v>
                </c:pt>
                <c:pt idx="1713">
                  <c:v>41619</c:v>
                </c:pt>
                <c:pt idx="1714">
                  <c:v>41620</c:v>
                </c:pt>
                <c:pt idx="1715">
                  <c:v>41621</c:v>
                </c:pt>
                <c:pt idx="1716">
                  <c:v>41624</c:v>
                </c:pt>
                <c:pt idx="1717">
                  <c:v>41625</c:v>
                </c:pt>
                <c:pt idx="1718">
                  <c:v>41626</c:v>
                </c:pt>
                <c:pt idx="1719">
                  <c:v>41627</c:v>
                </c:pt>
                <c:pt idx="1720">
                  <c:v>41628</c:v>
                </c:pt>
                <c:pt idx="1721">
                  <c:v>41631</c:v>
                </c:pt>
                <c:pt idx="1722">
                  <c:v>41632</c:v>
                </c:pt>
                <c:pt idx="1723">
                  <c:v>41634</c:v>
                </c:pt>
                <c:pt idx="1724">
                  <c:v>41635</c:v>
                </c:pt>
                <c:pt idx="1725">
                  <c:v>41638</c:v>
                </c:pt>
                <c:pt idx="1726">
                  <c:v>41639</c:v>
                </c:pt>
                <c:pt idx="1727">
                  <c:v>41641</c:v>
                </c:pt>
                <c:pt idx="1728">
                  <c:v>41642</c:v>
                </c:pt>
                <c:pt idx="1729">
                  <c:v>41645</c:v>
                </c:pt>
                <c:pt idx="1730">
                  <c:v>41646</c:v>
                </c:pt>
                <c:pt idx="1731">
                  <c:v>41647</c:v>
                </c:pt>
                <c:pt idx="1732">
                  <c:v>41648</c:v>
                </c:pt>
                <c:pt idx="1733">
                  <c:v>41649</c:v>
                </c:pt>
                <c:pt idx="1734">
                  <c:v>41652</c:v>
                </c:pt>
                <c:pt idx="1735">
                  <c:v>41653</c:v>
                </c:pt>
                <c:pt idx="1736">
                  <c:v>41654</c:v>
                </c:pt>
                <c:pt idx="1737">
                  <c:v>41655</c:v>
                </c:pt>
                <c:pt idx="1738">
                  <c:v>41656</c:v>
                </c:pt>
                <c:pt idx="1739">
                  <c:v>41660</c:v>
                </c:pt>
                <c:pt idx="1740">
                  <c:v>41661</c:v>
                </c:pt>
                <c:pt idx="1741">
                  <c:v>41662</c:v>
                </c:pt>
                <c:pt idx="1742">
                  <c:v>41663</c:v>
                </c:pt>
                <c:pt idx="1743">
                  <c:v>41666</c:v>
                </c:pt>
                <c:pt idx="1744">
                  <c:v>41667</c:v>
                </c:pt>
                <c:pt idx="1745">
                  <c:v>41668</c:v>
                </c:pt>
                <c:pt idx="1746">
                  <c:v>41669</c:v>
                </c:pt>
                <c:pt idx="1747">
                  <c:v>41670</c:v>
                </c:pt>
                <c:pt idx="1748">
                  <c:v>41673</c:v>
                </c:pt>
                <c:pt idx="1749">
                  <c:v>41674</c:v>
                </c:pt>
                <c:pt idx="1750">
                  <c:v>41675</c:v>
                </c:pt>
                <c:pt idx="1751">
                  <c:v>41676</c:v>
                </c:pt>
                <c:pt idx="1752">
                  <c:v>41677</c:v>
                </c:pt>
                <c:pt idx="1753">
                  <c:v>41680</c:v>
                </c:pt>
                <c:pt idx="1754">
                  <c:v>41681</c:v>
                </c:pt>
                <c:pt idx="1755">
                  <c:v>41682</c:v>
                </c:pt>
                <c:pt idx="1756">
                  <c:v>41683</c:v>
                </c:pt>
                <c:pt idx="1757">
                  <c:v>41684</c:v>
                </c:pt>
                <c:pt idx="1758">
                  <c:v>41688</c:v>
                </c:pt>
                <c:pt idx="1759">
                  <c:v>41689</c:v>
                </c:pt>
                <c:pt idx="1760">
                  <c:v>41690</c:v>
                </c:pt>
                <c:pt idx="1761">
                  <c:v>41691</c:v>
                </c:pt>
                <c:pt idx="1762">
                  <c:v>41694</c:v>
                </c:pt>
                <c:pt idx="1763">
                  <c:v>41695</c:v>
                </c:pt>
                <c:pt idx="1764">
                  <c:v>41696</c:v>
                </c:pt>
                <c:pt idx="1765">
                  <c:v>41697</c:v>
                </c:pt>
                <c:pt idx="1766">
                  <c:v>41698</c:v>
                </c:pt>
                <c:pt idx="1767">
                  <c:v>41701</c:v>
                </c:pt>
                <c:pt idx="1768">
                  <c:v>41702</c:v>
                </c:pt>
                <c:pt idx="1769">
                  <c:v>41703</c:v>
                </c:pt>
                <c:pt idx="1770">
                  <c:v>41704</c:v>
                </c:pt>
                <c:pt idx="1771">
                  <c:v>41705</c:v>
                </c:pt>
                <c:pt idx="1772">
                  <c:v>41708</c:v>
                </c:pt>
                <c:pt idx="1773">
                  <c:v>41709</c:v>
                </c:pt>
                <c:pt idx="1774">
                  <c:v>41710</c:v>
                </c:pt>
                <c:pt idx="1775">
                  <c:v>41711</c:v>
                </c:pt>
                <c:pt idx="1776">
                  <c:v>41712</c:v>
                </c:pt>
                <c:pt idx="1777">
                  <c:v>41715</c:v>
                </c:pt>
                <c:pt idx="1778">
                  <c:v>41716</c:v>
                </c:pt>
                <c:pt idx="1779">
                  <c:v>41717</c:v>
                </c:pt>
                <c:pt idx="1780">
                  <c:v>41718</c:v>
                </c:pt>
                <c:pt idx="1781">
                  <c:v>41719</c:v>
                </c:pt>
                <c:pt idx="1782">
                  <c:v>41722</c:v>
                </c:pt>
                <c:pt idx="1783">
                  <c:v>41723</c:v>
                </c:pt>
                <c:pt idx="1784">
                  <c:v>41724</c:v>
                </c:pt>
                <c:pt idx="1785">
                  <c:v>41725</c:v>
                </c:pt>
                <c:pt idx="1786">
                  <c:v>41726</c:v>
                </c:pt>
                <c:pt idx="1787">
                  <c:v>41729</c:v>
                </c:pt>
                <c:pt idx="1788">
                  <c:v>41730</c:v>
                </c:pt>
                <c:pt idx="1789">
                  <c:v>41731</c:v>
                </c:pt>
                <c:pt idx="1790">
                  <c:v>41732</c:v>
                </c:pt>
                <c:pt idx="1791">
                  <c:v>41733</c:v>
                </c:pt>
                <c:pt idx="1792">
                  <c:v>41736</c:v>
                </c:pt>
                <c:pt idx="1793">
                  <c:v>41737</c:v>
                </c:pt>
                <c:pt idx="1794">
                  <c:v>41738</c:v>
                </c:pt>
                <c:pt idx="1795">
                  <c:v>41739</c:v>
                </c:pt>
                <c:pt idx="1796">
                  <c:v>41740</c:v>
                </c:pt>
                <c:pt idx="1797">
                  <c:v>41743</c:v>
                </c:pt>
                <c:pt idx="1798">
                  <c:v>41744</c:v>
                </c:pt>
                <c:pt idx="1799">
                  <c:v>41745</c:v>
                </c:pt>
                <c:pt idx="1800">
                  <c:v>41746</c:v>
                </c:pt>
                <c:pt idx="1801">
                  <c:v>41750</c:v>
                </c:pt>
                <c:pt idx="1802">
                  <c:v>41751</c:v>
                </c:pt>
                <c:pt idx="1803">
                  <c:v>41752</c:v>
                </c:pt>
                <c:pt idx="1804">
                  <c:v>41753</c:v>
                </c:pt>
                <c:pt idx="1805">
                  <c:v>41754</c:v>
                </c:pt>
                <c:pt idx="1806">
                  <c:v>41757</c:v>
                </c:pt>
                <c:pt idx="1807">
                  <c:v>41758</c:v>
                </c:pt>
                <c:pt idx="1808">
                  <c:v>41759</c:v>
                </c:pt>
                <c:pt idx="1809">
                  <c:v>41760</c:v>
                </c:pt>
                <c:pt idx="1810">
                  <c:v>41761</c:v>
                </c:pt>
                <c:pt idx="1811">
                  <c:v>41764</c:v>
                </c:pt>
                <c:pt idx="1812">
                  <c:v>41765</c:v>
                </c:pt>
                <c:pt idx="1813">
                  <c:v>41766</c:v>
                </c:pt>
                <c:pt idx="1814">
                  <c:v>41767</c:v>
                </c:pt>
                <c:pt idx="1815">
                  <c:v>41768</c:v>
                </c:pt>
                <c:pt idx="1816">
                  <c:v>41771</c:v>
                </c:pt>
                <c:pt idx="1817">
                  <c:v>41772</c:v>
                </c:pt>
                <c:pt idx="1818">
                  <c:v>41773</c:v>
                </c:pt>
                <c:pt idx="1819">
                  <c:v>41774</c:v>
                </c:pt>
                <c:pt idx="1820">
                  <c:v>41775</c:v>
                </c:pt>
                <c:pt idx="1821">
                  <c:v>41778</c:v>
                </c:pt>
                <c:pt idx="1822">
                  <c:v>41779</c:v>
                </c:pt>
                <c:pt idx="1823">
                  <c:v>41780</c:v>
                </c:pt>
                <c:pt idx="1824">
                  <c:v>41781</c:v>
                </c:pt>
                <c:pt idx="1825">
                  <c:v>41782</c:v>
                </c:pt>
                <c:pt idx="1826">
                  <c:v>41786</c:v>
                </c:pt>
                <c:pt idx="1827">
                  <c:v>41787</c:v>
                </c:pt>
                <c:pt idx="1828">
                  <c:v>41788</c:v>
                </c:pt>
                <c:pt idx="1829">
                  <c:v>41789</c:v>
                </c:pt>
                <c:pt idx="1830">
                  <c:v>41792</c:v>
                </c:pt>
                <c:pt idx="1831">
                  <c:v>41793</c:v>
                </c:pt>
                <c:pt idx="1832">
                  <c:v>41794</c:v>
                </c:pt>
                <c:pt idx="1833">
                  <c:v>41795</c:v>
                </c:pt>
                <c:pt idx="1834">
                  <c:v>41796</c:v>
                </c:pt>
                <c:pt idx="1835">
                  <c:v>41799</c:v>
                </c:pt>
                <c:pt idx="1836">
                  <c:v>41800</c:v>
                </c:pt>
                <c:pt idx="1837">
                  <c:v>41801</c:v>
                </c:pt>
                <c:pt idx="1838">
                  <c:v>41802</c:v>
                </c:pt>
                <c:pt idx="1839">
                  <c:v>41803</c:v>
                </c:pt>
                <c:pt idx="1840">
                  <c:v>41806</c:v>
                </c:pt>
                <c:pt idx="1841">
                  <c:v>41807</c:v>
                </c:pt>
                <c:pt idx="1842">
                  <c:v>41808</c:v>
                </c:pt>
                <c:pt idx="1843">
                  <c:v>41809</c:v>
                </c:pt>
                <c:pt idx="1844">
                  <c:v>41810</c:v>
                </c:pt>
                <c:pt idx="1845">
                  <c:v>41813</c:v>
                </c:pt>
                <c:pt idx="1846">
                  <c:v>41814</c:v>
                </c:pt>
                <c:pt idx="1847">
                  <c:v>41815</c:v>
                </c:pt>
                <c:pt idx="1848">
                  <c:v>41816</c:v>
                </c:pt>
                <c:pt idx="1849">
                  <c:v>41817</c:v>
                </c:pt>
                <c:pt idx="1850">
                  <c:v>41820</c:v>
                </c:pt>
                <c:pt idx="1851">
                  <c:v>41821</c:v>
                </c:pt>
                <c:pt idx="1852">
                  <c:v>41822</c:v>
                </c:pt>
                <c:pt idx="1853">
                  <c:v>41823</c:v>
                </c:pt>
                <c:pt idx="1854">
                  <c:v>41827</c:v>
                </c:pt>
                <c:pt idx="1855">
                  <c:v>41828</c:v>
                </c:pt>
                <c:pt idx="1856">
                  <c:v>41829</c:v>
                </c:pt>
                <c:pt idx="1857">
                  <c:v>41830</c:v>
                </c:pt>
                <c:pt idx="1858">
                  <c:v>41831</c:v>
                </c:pt>
                <c:pt idx="1859">
                  <c:v>41834</c:v>
                </c:pt>
                <c:pt idx="1860">
                  <c:v>41835</c:v>
                </c:pt>
                <c:pt idx="1861">
                  <c:v>41836</c:v>
                </c:pt>
                <c:pt idx="1862">
                  <c:v>41837</c:v>
                </c:pt>
                <c:pt idx="1863">
                  <c:v>41838</c:v>
                </c:pt>
                <c:pt idx="1864">
                  <c:v>41841</c:v>
                </c:pt>
                <c:pt idx="1865">
                  <c:v>41842</c:v>
                </c:pt>
                <c:pt idx="1866">
                  <c:v>41843</c:v>
                </c:pt>
                <c:pt idx="1867">
                  <c:v>41844</c:v>
                </c:pt>
                <c:pt idx="1868">
                  <c:v>41845</c:v>
                </c:pt>
                <c:pt idx="1869">
                  <c:v>41848</c:v>
                </c:pt>
                <c:pt idx="1870">
                  <c:v>41849</c:v>
                </c:pt>
                <c:pt idx="1871">
                  <c:v>41850</c:v>
                </c:pt>
                <c:pt idx="1872">
                  <c:v>41851</c:v>
                </c:pt>
                <c:pt idx="1873">
                  <c:v>41852</c:v>
                </c:pt>
                <c:pt idx="1874">
                  <c:v>41855</c:v>
                </c:pt>
                <c:pt idx="1875">
                  <c:v>41856</c:v>
                </c:pt>
                <c:pt idx="1876">
                  <c:v>41857</c:v>
                </c:pt>
                <c:pt idx="1877">
                  <c:v>41858</c:v>
                </c:pt>
                <c:pt idx="1878">
                  <c:v>41859</c:v>
                </c:pt>
                <c:pt idx="1879">
                  <c:v>41862</c:v>
                </c:pt>
                <c:pt idx="1880">
                  <c:v>41863</c:v>
                </c:pt>
                <c:pt idx="1881">
                  <c:v>41864</c:v>
                </c:pt>
                <c:pt idx="1882">
                  <c:v>41865</c:v>
                </c:pt>
                <c:pt idx="1883">
                  <c:v>41866</c:v>
                </c:pt>
                <c:pt idx="1884">
                  <c:v>41869</c:v>
                </c:pt>
                <c:pt idx="1885">
                  <c:v>41870</c:v>
                </c:pt>
                <c:pt idx="1886">
                  <c:v>41871</c:v>
                </c:pt>
                <c:pt idx="1887">
                  <c:v>41872</c:v>
                </c:pt>
                <c:pt idx="1888">
                  <c:v>41873</c:v>
                </c:pt>
                <c:pt idx="1889">
                  <c:v>41876</c:v>
                </c:pt>
                <c:pt idx="1890">
                  <c:v>41877</c:v>
                </c:pt>
                <c:pt idx="1891">
                  <c:v>41878</c:v>
                </c:pt>
                <c:pt idx="1892">
                  <c:v>41879</c:v>
                </c:pt>
                <c:pt idx="1893">
                  <c:v>41880</c:v>
                </c:pt>
                <c:pt idx="1894">
                  <c:v>41884</c:v>
                </c:pt>
                <c:pt idx="1895">
                  <c:v>41885</c:v>
                </c:pt>
                <c:pt idx="1896">
                  <c:v>41886</c:v>
                </c:pt>
                <c:pt idx="1897">
                  <c:v>41887</c:v>
                </c:pt>
                <c:pt idx="1898">
                  <c:v>41890</c:v>
                </c:pt>
                <c:pt idx="1899">
                  <c:v>41891</c:v>
                </c:pt>
                <c:pt idx="1900">
                  <c:v>41892</c:v>
                </c:pt>
                <c:pt idx="1901">
                  <c:v>41893</c:v>
                </c:pt>
                <c:pt idx="1902">
                  <c:v>41894</c:v>
                </c:pt>
                <c:pt idx="1903">
                  <c:v>41897</c:v>
                </c:pt>
                <c:pt idx="1904">
                  <c:v>41898</c:v>
                </c:pt>
                <c:pt idx="1905">
                  <c:v>41899</c:v>
                </c:pt>
                <c:pt idx="1906">
                  <c:v>41900</c:v>
                </c:pt>
                <c:pt idx="1907">
                  <c:v>41901</c:v>
                </c:pt>
                <c:pt idx="1908">
                  <c:v>41904</c:v>
                </c:pt>
                <c:pt idx="1909">
                  <c:v>41905</c:v>
                </c:pt>
                <c:pt idx="1910">
                  <c:v>41906</c:v>
                </c:pt>
                <c:pt idx="1911">
                  <c:v>41907</c:v>
                </c:pt>
                <c:pt idx="1912">
                  <c:v>41908</c:v>
                </c:pt>
                <c:pt idx="1913">
                  <c:v>41911</c:v>
                </c:pt>
                <c:pt idx="1914">
                  <c:v>41912</c:v>
                </c:pt>
                <c:pt idx="1915">
                  <c:v>41913</c:v>
                </c:pt>
                <c:pt idx="1916">
                  <c:v>41914</c:v>
                </c:pt>
                <c:pt idx="1917">
                  <c:v>41915</c:v>
                </c:pt>
                <c:pt idx="1918">
                  <c:v>41918</c:v>
                </c:pt>
                <c:pt idx="1919">
                  <c:v>41919</c:v>
                </c:pt>
                <c:pt idx="1920">
                  <c:v>41920</c:v>
                </c:pt>
                <c:pt idx="1921">
                  <c:v>41921</c:v>
                </c:pt>
                <c:pt idx="1922">
                  <c:v>41922</c:v>
                </c:pt>
                <c:pt idx="1923">
                  <c:v>41925</c:v>
                </c:pt>
                <c:pt idx="1924">
                  <c:v>41926</c:v>
                </c:pt>
                <c:pt idx="1925">
                  <c:v>41927</c:v>
                </c:pt>
                <c:pt idx="1926">
                  <c:v>41928</c:v>
                </c:pt>
                <c:pt idx="1927">
                  <c:v>41929</c:v>
                </c:pt>
                <c:pt idx="1928">
                  <c:v>41932</c:v>
                </c:pt>
                <c:pt idx="1929">
                  <c:v>41933</c:v>
                </c:pt>
                <c:pt idx="1930">
                  <c:v>41934</c:v>
                </c:pt>
                <c:pt idx="1931">
                  <c:v>41935</c:v>
                </c:pt>
                <c:pt idx="1932">
                  <c:v>41936</c:v>
                </c:pt>
                <c:pt idx="1933">
                  <c:v>41939</c:v>
                </c:pt>
                <c:pt idx="1934">
                  <c:v>41940</c:v>
                </c:pt>
                <c:pt idx="1935">
                  <c:v>41941</c:v>
                </c:pt>
                <c:pt idx="1936">
                  <c:v>41942</c:v>
                </c:pt>
                <c:pt idx="1937">
                  <c:v>41943</c:v>
                </c:pt>
                <c:pt idx="1938">
                  <c:v>41946</c:v>
                </c:pt>
                <c:pt idx="1939">
                  <c:v>41947</c:v>
                </c:pt>
                <c:pt idx="1940">
                  <c:v>41948</c:v>
                </c:pt>
                <c:pt idx="1941">
                  <c:v>41949</c:v>
                </c:pt>
                <c:pt idx="1942">
                  <c:v>41950</c:v>
                </c:pt>
                <c:pt idx="1943">
                  <c:v>41953</c:v>
                </c:pt>
                <c:pt idx="1944">
                  <c:v>41954</c:v>
                </c:pt>
                <c:pt idx="1945">
                  <c:v>41955</c:v>
                </c:pt>
                <c:pt idx="1946">
                  <c:v>41956</c:v>
                </c:pt>
                <c:pt idx="1947">
                  <c:v>41957</c:v>
                </c:pt>
                <c:pt idx="1948">
                  <c:v>41960</c:v>
                </c:pt>
                <c:pt idx="1949">
                  <c:v>41961</c:v>
                </c:pt>
                <c:pt idx="1950">
                  <c:v>41962</c:v>
                </c:pt>
                <c:pt idx="1951">
                  <c:v>41963</c:v>
                </c:pt>
                <c:pt idx="1952">
                  <c:v>41964</c:v>
                </c:pt>
                <c:pt idx="1953">
                  <c:v>41967</c:v>
                </c:pt>
                <c:pt idx="1954">
                  <c:v>41968</c:v>
                </c:pt>
                <c:pt idx="1955">
                  <c:v>41969</c:v>
                </c:pt>
                <c:pt idx="1956">
                  <c:v>41971</c:v>
                </c:pt>
                <c:pt idx="1957">
                  <c:v>41974</c:v>
                </c:pt>
                <c:pt idx="1958">
                  <c:v>41975</c:v>
                </c:pt>
                <c:pt idx="1959">
                  <c:v>41976</c:v>
                </c:pt>
                <c:pt idx="1960">
                  <c:v>41977</c:v>
                </c:pt>
                <c:pt idx="1961">
                  <c:v>41978</c:v>
                </c:pt>
                <c:pt idx="1962">
                  <c:v>41981</c:v>
                </c:pt>
                <c:pt idx="1963">
                  <c:v>41982</c:v>
                </c:pt>
                <c:pt idx="1964">
                  <c:v>41983</c:v>
                </c:pt>
                <c:pt idx="1965">
                  <c:v>41984</c:v>
                </c:pt>
                <c:pt idx="1966">
                  <c:v>41985</c:v>
                </c:pt>
                <c:pt idx="1967">
                  <c:v>41988</c:v>
                </c:pt>
                <c:pt idx="1968">
                  <c:v>41989</c:v>
                </c:pt>
                <c:pt idx="1969">
                  <c:v>41990</c:v>
                </c:pt>
                <c:pt idx="1970">
                  <c:v>41991</c:v>
                </c:pt>
                <c:pt idx="1971">
                  <c:v>41992</c:v>
                </c:pt>
                <c:pt idx="1972">
                  <c:v>41995</c:v>
                </c:pt>
                <c:pt idx="1973">
                  <c:v>41996</c:v>
                </c:pt>
                <c:pt idx="1974">
                  <c:v>41997</c:v>
                </c:pt>
                <c:pt idx="1975">
                  <c:v>41999</c:v>
                </c:pt>
                <c:pt idx="1976">
                  <c:v>42002</c:v>
                </c:pt>
                <c:pt idx="1977">
                  <c:v>42003</c:v>
                </c:pt>
                <c:pt idx="1978">
                  <c:v>42004</c:v>
                </c:pt>
                <c:pt idx="1979">
                  <c:v>42006</c:v>
                </c:pt>
                <c:pt idx="1980">
                  <c:v>42009</c:v>
                </c:pt>
                <c:pt idx="1981">
                  <c:v>42010</c:v>
                </c:pt>
                <c:pt idx="1982">
                  <c:v>42011</c:v>
                </c:pt>
                <c:pt idx="1983">
                  <c:v>42012</c:v>
                </c:pt>
                <c:pt idx="1984">
                  <c:v>42013</c:v>
                </c:pt>
                <c:pt idx="1985">
                  <c:v>42016</c:v>
                </c:pt>
                <c:pt idx="1986">
                  <c:v>42017</c:v>
                </c:pt>
                <c:pt idx="1987">
                  <c:v>42018</c:v>
                </c:pt>
                <c:pt idx="1988">
                  <c:v>42019</c:v>
                </c:pt>
                <c:pt idx="1989">
                  <c:v>42020</c:v>
                </c:pt>
                <c:pt idx="1990">
                  <c:v>42024</c:v>
                </c:pt>
                <c:pt idx="1991">
                  <c:v>42025</c:v>
                </c:pt>
                <c:pt idx="1992">
                  <c:v>42026</c:v>
                </c:pt>
                <c:pt idx="1993">
                  <c:v>42027</c:v>
                </c:pt>
                <c:pt idx="1994">
                  <c:v>42030</c:v>
                </c:pt>
                <c:pt idx="1995">
                  <c:v>42031</c:v>
                </c:pt>
                <c:pt idx="1996">
                  <c:v>42032</c:v>
                </c:pt>
                <c:pt idx="1997">
                  <c:v>42033</c:v>
                </c:pt>
                <c:pt idx="1998">
                  <c:v>42034</c:v>
                </c:pt>
                <c:pt idx="1999">
                  <c:v>42037</c:v>
                </c:pt>
                <c:pt idx="2000">
                  <c:v>42038</c:v>
                </c:pt>
                <c:pt idx="2001">
                  <c:v>42039</c:v>
                </c:pt>
                <c:pt idx="2002">
                  <c:v>42040</c:v>
                </c:pt>
                <c:pt idx="2003">
                  <c:v>42041</c:v>
                </c:pt>
                <c:pt idx="2004">
                  <c:v>42044</c:v>
                </c:pt>
                <c:pt idx="2005">
                  <c:v>42045</c:v>
                </c:pt>
                <c:pt idx="2006">
                  <c:v>42046</c:v>
                </c:pt>
                <c:pt idx="2007">
                  <c:v>42047</c:v>
                </c:pt>
                <c:pt idx="2008">
                  <c:v>42048</c:v>
                </c:pt>
                <c:pt idx="2009">
                  <c:v>42052</c:v>
                </c:pt>
                <c:pt idx="2010">
                  <c:v>42053</c:v>
                </c:pt>
                <c:pt idx="2011">
                  <c:v>42054</c:v>
                </c:pt>
                <c:pt idx="2012">
                  <c:v>42055</c:v>
                </c:pt>
                <c:pt idx="2013">
                  <c:v>42058</c:v>
                </c:pt>
                <c:pt idx="2014">
                  <c:v>42059</c:v>
                </c:pt>
                <c:pt idx="2015">
                  <c:v>42060</c:v>
                </c:pt>
                <c:pt idx="2016">
                  <c:v>42061</c:v>
                </c:pt>
                <c:pt idx="2017">
                  <c:v>42062</c:v>
                </c:pt>
                <c:pt idx="2018">
                  <c:v>42065</c:v>
                </c:pt>
                <c:pt idx="2019">
                  <c:v>42066</c:v>
                </c:pt>
                <c:pt idx="2020">
                  <c:v>42067</c:v>
                </c:pt>
                <c:pt idx="2021">
                  <c:v>42068</c:v>
                </c:pt>
                <c:pt idx="2022">
                  <c:v>42069</c:v>
                </c:pt>
                <c:pt idx="2023">
                  <c:v>42072</c:v>
                </c:pt>
                <c:pt idx="2024">
                  <c:v>42073</c:v>
                </c:pt>
                <c:pt idx="2025">
                  <c:v>42074</c:v>
                </c:pt>
                <c:pt idx="2026">
                  <c:v>42075</c:v>
                </c:pt>
                <c:pt idx="2027">
                  <c:v>42076</c:v>
                </c:pt>
                <c:pt idx="2028">
                  <c:v>42079</c:v>
                </c:pt>
                <c:pt idx="2029">
                  <c:v>42080</c:v>
                </c:pt>
                <c:pt idx="2030">
                  <c:v>42081</c:v>
                </c:pt>
                <c:pt idx="2031">
                  <c:v>42082</c:v>
                </c:pt>
                <c:pt idx="2032">
                  <c:v>42083</c:v>
                </c:pt>
                <c:pt idx="2033">
                  <c:v>42086</c:v>
                </c:pt>
                <c:pt idx="2034">
                  <c:v>42087</c:v>
                </c:pt>
                <c:pt idx="2035">
                  <c:v>42088</c:v>
                </c:pt>
                <c:pt idx="2036">
                  <c:v>42089</c:v>
                </c:pt>
                <c:pt idx="2037">
                  <c:v>42090</c:v>
                </c:pt>
                <c:pt idx="2038">
                  <c:v>42093</c:v>
                </c:pt>
                <c:pt idx="2039">
                  <c:v>42094</c:v>
                </c:pt>
                <c:pt idx="2040">
                  <c:v>42095</c:v>
                </c:pt>
                <c:pt idx="2041">
                  <c:v>42096</c:v>
                </c:pt>
                <c:pt idx="2042">
                  <c:v>42100</c:v>
                </c:pt>
                <c:pt idx="2043">
                  <c:v>42101</c:v>
                </c:pt>
                <c:pt idx="2044">
                  <c:v>42102</c:v>
                </c:pt>
                <c:pt idx="2045">
                  <c:v>42103</c:v>
                </c:pt>
                <c:pt idx="2046">
                  <c:v>42104</c:v>
                </c:pt>
                <c:pt idx="2047">
                  <c:v>42107</c:v>
                </c:pt>
                <c:pt idx="2048">
                  <c:v>42108</c:v>
                </c:pt>
                <c:pt idx="2049">
                  <c:v>42109</c:v>
                </c:pt>
                <c:pt idx="2050">
                  <c:v>42110</c:v>
                </c:pt>
                <c:pt idx="2051">
                  <c:v>42111</c:v>
                </c:pt>
                <c:pt idx="2052">
                  <c:v>42114</c:v>
                </c:pt>
                <c:pt idx="2053">
                  <c:v>42115</c:v>
                </c:pt>
                <c:pt idx="2054">
                  <c:v>42116</c:v>
                </c:pt>
                <c:pt idx="2055">
                  <c:v>42117</c:v>
                </c:pt>
                <c:pt idx="2056">
                  <c:v>42118</c:v>
                </c:pt>
                <c:pt idx="2057">
                  <c:v>42121</c:v>
                </c:pt>
                <c:pt idx="2058">
                  <c:v>42122</c:v>
                </c:pt>
                <c:pt idx="2059">
                  <c:v>42123</c:v>
                </c:pt>
                <c:pt idx="2060">
                  <c:v>42124</c:v>
                </c:pt>
                <c:pt idx="2061">
                  <c:v>42125</c:v>
                </c:pt>
                <c:pt idx="2062">
                  <c:v>42128</c:v>
                </c:pt>
                <c:pt idx="2063">
                  <c:v>42129</c:v>
                </c:pt>
                <c:pt idx="2064">
                  <c:v>42130</c:v>
                </c:pt>
                <c:pt idx="2065">
                  <c:v>42131</c:v>
                </c:pt>
                <c:pt idx="2066">
                  <c:v>42132</c:v>
                </c:pt>
                <c:pt idx="2067">
                  <c:v>42135</c:v>
                </c:pt>
                <c:pt idx="2068">
                  <c:v>42136</c:v>
                </c:pt>
                <c:pt idx="2069">
                  <c:v>42137</c:v>
                </c:pt>
                <c:pt idx="2070">
                  <c:v>42138</c:v>
                </c:pt>
                <c:pt idx="2071">
                  <c:v>42139</c:v>
                </c:pt>
                <c:pt idx="2072">
                  <c:v>42142</c:v>
                </c:pt>
                <c:pt idx="2073">
                  <c:v>42143</c:v>
                </c:pt>
                <c:pt idx="2074">
                  <c:v>42144</c:v>
                </c:pt>
                <c:pt idx="2075">
                  <c:v>42145</c:v>
                </c:pt>
                <c:pt idx="2076">
                  <c:v>42146</c:v>
                </c:pt>
                <c:pt idx="2077">
                  <c:v>42150</c:v>
                </c:pt>
                <c:pt idx="2078">
                  <c:v>42151</c:v>
                </c:pt>
                <c:pt idx="2079">
                  <c:v>42152</c:v>
                </c:pt>
                <c:pt idx="2080">
                  <c:v>42153</c:v>
                </c:pt>
                <c:pt idx="2081">
                  <c:v>42156</c:v>
                </c:pt>
                <c:pt idx="2082">
                  <c:v>42157</c:v>
                </c:pt>
                <c:pt idx="2083">
                  <c:v>42158</c:v>
                </c:pt>
                <c:pt idx="2084">
                  <c:v>42159</c:v>
                </c:pt>
                <c:pt idx="2085">
                  <c:v>42160</c:v>
                </c:pt>
                <c:pt idx="2086">
                  <c:v>42163</c:v>
                </c:pt>
                <c:pt idx="2087">
                  <c:v>42164</c:v>
                </c:pt>
                <c:pt idx="2088">
                  <c:v>42165</c:v>
                </c:pt>
                <c:pt idx="2089">
                  <c:v>42166</c:v>
                </c:pt>
                <c:pt idx="2090">
                  <c:v>42167</c:v>
                </c:pt>
                <c:pt idx="2091">
                  <c:v>42170</c:v>
                </c:pt>
                <c:pt idx="2092">
                  <c:v>42171</c:v>
                </c:pt>
                <c:pt idx="2093">
                  <c:v>42172</c:v>
                </c:pt>
                <c:pt idx="2094">
                  <c:v>42173</c:v>
                </c:pt>
                <c:pt idx="2095">
                  <c:v>42174</c:v>
                </c:pt>
                <c:pt idx="2096">
                  <c:v>42177</c:v>
                </c:pt>
                <c:pt idx="2097">
                  <c:v>42178</c:v>
                </c:pt>
                <c:pt idx="2098">
                  <c:v>42179</c:v>
                </c:pt>
                <c:pt idx="2099">
                  <c:v>42180</c:v>
                </c:pt>
                <c:pt idx="2100">
                  <c:v>42181</c:v>
                </c:pt>
                <c:pt idx="2101">
                  <c:v>42184</c:v>
                </c:pt>
                <c:pt idx="2102">
                  <c:v>42185</c:v>
                </c:pt>
                <c:pt idx="2103">
                  <c:v>42186</c:v>
                </c:pt>
                <c:pt idx="2104">
                  <c:v>42187</c:v>
                </c:pt>
                <c:pt idx="2105">
                  <c:v>42191</c:v>
                </c:pt>
                <c:pt idx="2106">
                  <c:v>42192</c:v>
                </c:pt>
                <c:pt idx="2107">
                  <c:v>42193</c:v>
                </c:pt>
                <c:pt idx="2108">
                  <c:v>42194</c:v>
                </c:pt>
                <c:pt idx="2109">
                  <c:v>42195</c:v>
                </c:pt>
                <c:pt idx="2110">
                  <c:v>42198</c:v>
                </c:pt>
                <c:pt idx="2111">
                  <c:v>42199</c:v>
                </c:pt>
                <c:pt idx="2112">
                  <c:v>42200</c:v>
                </c:pt>
                <c:pt idx="2113">
                  <c:v>42201</c:v>
                </c:pt>
                <c:pt idx="2114">
                  <c:v>42202</c:v>
                </c:pt>
                <c:pt idx="2115">
                  <c:v>42205</c:v>
                </c:pt>
                <c:pt idx="2116">
                  <c:v>42206</c:v>
                </c:pt>
                <c:pt idx="2117">
                  <c:v>42207</c:v>
                </c:pt>
                <c:pt idx="2118">
                  <c:v>42208</c:v>
                </c:pt>
                <c:pt idx="2119">
                  <c:v>42209</c:v>
                </c:pt>
                <c:pt idx="2120">
                  <c:v>42212</c:v>
                </c:pt>
                <c:pt idx="2121">
                  <c:v>42213</c:v>
                </c:pt>
                <c:pt idx="2122">
                  <c:v>42214</c:v>
                </c:pt>
                <c:pt idx="2123">
                  <c:v>42215</c:v>
                </c:pt>
                <c:pt idx="2124">
                  <c:v>42216</c:v>
                </c:pt>
                <c:pt idx="2125">
                  <c:v>42219</c:v>
                </c:pt>
                <c:pt idx="2126">
                  <c:v>42220</c:v>
                </c:pt>
                <c:pt idx="2127">
                  <c:v>42221</c:v>
                </c:pt>
                <c:pt idx="2128">
                  <c:v>42222</c:v>
                </c:pt>
                <c:pt idx="2129">
                  <c:v>42223</c:v>
                </c:pt>
                <c:pt idx="2130">
                  <c:v>42226</c:v>
                </c:pt>
                <c:pt idx="2131">
                  <c:v>42227</c:v>
                </c:pt>
                <c:pt idx="2132">
                  <c:v>42228</c:v>
                </c:pt>
                <c:pt idx="2133">
                  <c:v>42229</c:v>
                </c:pt>
                <c:pt idx="2134">
                  <c:v>42230</c:v>
                </c:pt>
                <c:pt idx="2135">
                  <c:v>42233</c:v>
                </c:pt>
                <c:pt idx="2136">
                  <c:v>42234</c:v>
                </c:pt>
                <c:pt idx="2137">
                  <c:v>42235</c:v>
                </c:pt>
                <c:pt idx="2138">
                  <c:v>42236</c:v>
                </c:pt>
                <c:pt idx="2139">
                  <c:v>42237</c:v>
                </c:pt>
                <c:pt idx="2140">
                  <c:v>42240</c:v>
                </c:pt>
                <c:pt idx="2141">
                  <c:v>42241</c:v>
                </c:pt>
                <c:pt idx="2142">
                  <c:v>42242</c:v>
                </c:pt>
                <c:pt idx="2143">
                  <c:v>42243</c:v>
                </c:pt>
                <c:pt idx="2144">
                  <c:v>42244</c:v>
                </c:pt>
                <c:pt idx="2145">
                  <c:v>42247</c:v>
                </c:pt>
                <c:pt idx="2146">
                  <c:v>42248</c:v>
                </c:pt>
                <c:pt idx="2147">
                  <c:v>42249</c:v>
                </c:pt>
                <c:pt idx="2148">
                  <c:v>42250</c:v>
                </c:pt>
                <c:pt idx="2149">
                  <c:v>42251</c:v>
                </c:pt>
                <c:pt idx="2150">
                  <c:v>42255</c:v>
                </c:pt>
                <c:pt idx="2151">
                  <c:v>42256</c:v>
                </c:pt>
                <c:pt idx="2152">
                  <c:v>42257</c:v>
                </c:pt>
                <c:pt idx="2153">
                  <c:v>42258</c:v>
                </c:pt>
                <c:pt idx="2154">
                  <c:v>42261</c:v>
                </c:pt>
                <c:pt idx="2155">
                  <c:v>42262</c:v>
                </c:pt>
                <c:pt idx="2156">
                  <c:v>42263</c:v>
                </c:pt>
                <c:pt idx="2157">
                  <c:v>42264</c:v>
                </c:pt>
                <c:pt idx="2158">
                  <c:v>42265</c:v>
                </c:pt>
                <c:pt idx="2159">
                  <c:v>42268</c:v>
                </c:pt>
                <c:pt idx="2160">
                  <c:v>42269</c:v>
                </c:pt>
                <c:pt idx="2161">
                  <c:v>42270</c:v>
                </c:pt>
                <c:pt idx="2162">
                  <c:v>42271</c:v>
                </c:pt>
                <c:pt idx="2163">
                  <c:v>42272</c:v>
                </c:pt>
                <c:pt idx="2164">
                  <c:v>42275</c:v>
                </c:pt>
                <c:pt idx="2165">
                  <c:v>42276</c:v>
                </c:pt>
                <c:pt idx="2166">
                  <c:v>42277</c:v>
                </c:pt>
                <c:pt idx="2167">
                  <c:v>42278</c:v>
                </c:pt>
                <c:pt idx="2168">
                  <c:v>42279</c:v>
                </c:pt>
                <c:pt idx="2169">
                  <c:v>42282</c:v>
                </c:pt>
                <c:pt idx="2170">
                  <c:v>42283</c:v>
                </c:pt>
                <c:pt idx="2171">
                  <c:v>42284</c:v>
                </c:pt>
                <c:pt idx="2172">
                  <c:v>42285</c:v>
                </c:pt>
                <c:pt idx="2173">
                  <c:v>42286</c:v>
                </c:pt>
                <c:pt idx="2174">
                  <c:v>42289</c:v>
                </c:pt>
                <c:pt idx="2175">
                  <c:v>42290</c:v>
                </c:pt>
                <c:pt idx="2176">
                  <c:v>42291</c:v>
                </c:pt>
                <c:pt idx="2177">
                  <c:v>42292</c:v>
                </c:pt>
                <c:pt idx="2178">
                  <c:v>42293</c:v>
                </c:pt>
                <c:pt idx="2179">
                  <c:v>42296</c:v>
                </c:pt>
                <c:pt idx="2180">
                  <c:v>42297</c:v>
                </c:pt>
                <c:pt idx="2181">
                  <c:v>42298</c:v>
                </c:pt>
                <c:pt idx="2182">
                  <c:v>42299</c:v>
                </c:pt>
                <c:pt idx="2183">
                  <c:v>42300</c:v>
                </c:pt>
                <c:pt idx="2184">
                  <c:v>42303</c:v>
                </c:pt>
                <c:pt idx="2185">
                  <c:v>42304</c:v>
                </c:pt>
                <c:pt idx="2186">
                  <c:v>42305</c:v>
                </c:pt>
                <c:pt idx="2187">
                  <c:v>42306</c:v>
                </c:pt>
                <c:pt idx="2188">
                  <c:v>42307</c:v>
                </c:pt>
                <c:pt idx="2189">
                  <c:v>42310</c:v>
                </c:pt>
                <c:pt idx="2190">
                  <c:v>42311</c:v>
                </c:pt>
                <c:pt idx="2191">
                  <c:v>42312</c:v>
                </c:pt>
                <c:pt idx="2192">
                  <c:v>42313</c:v>
                </c:pt>
                <c:pt idx="2193">
                  <c:v>42314</c:v>
                </c:pt>
                <c:pt idx="2194">
                  <c:v>42317</c:v>
                </c:pt>
                <c:pt idx="2195">
                  <c:v>42318</c:v>
                </c:pt>
                <c:pt idx="2196">
                  <c:v>42319</c:v>
                </c:pt>
                <c:pt idx="2197">
                  <c:v>42320</c:v>
                </c:pt>
                <c:pt idx="2198">
                  <c:v>42321</c:v>
                </c:pt>
                <c:pt idx="2199">
                  <c:v>42324</c:v>
                </c:pt>
                <c:pt idx="2200">
                  <c:v>42325</c:v>
                </c:pt>
                <c:pt idx="2201">
                  <c:v>42326</c:v>
                </c:pt>
                <c:pt idx="2202">
                  <c:v>42327</c:v>
                </c:pt>
                <c:pt idx="2203">
                  <c:v>42328</c:v>
                </c:pt>
                <c:pt idx="2204">
                  <c:v>42331</c:v>
                </c:pt>
                <c:pt idx="2205">
                  <c:v>42332</c:v>
                </c:pt>
                <c:pt idx="2206">
                  <c:v>42333</c:v>
                </c:pt>
                <c:pt idx="2207">
                  <c:v>42335</c:v>
                </c:pt>
                <c:pt idx="2208">
                  <c:v>42338</c:v>
                </c:pt>
                <c:pt idx="2209">
                  <c:v>42339</c:v>
                </c:pt>
                <c:pt idx="2210">
                  <c:v>42340</c:v>
                </c:pt>
                <c:pt idx="2211">
                  <c:v>42341</c:v>
                </c:pt>
                <c:pt idx="2212">
                  <c:v>42342</c:v>
                </c:pt>
                <c:pt idx="2213">
                  <c:v>42345</c:v>
                </c:pt>
                <c:pt idx="2214">
                  <c:v>42346</c:v>
                </c:pt>
                <c:pt idx="2215">
                  <c:v>42347</c:v>
                </c:pt>
                <c:pt idx="2216">
                  <c:v>42348</c:v>
                </c:pt>
                <c:pt idx="2217">
                  <c:v>42349</c:v>
                </c:pt>
                <c:pt idx="2218">
                  <c:v>42352</c:v>
                </c:pt>
                <c:pt idx="2219">
                  <c:v>42353</c:v>
                </c:pt>
                <c:pt idx="2220">
                  <c:v>42354</c:v>
                </c:pt>
                <c:pt idx="2221">
                  <c:v>42355</c:v>
                </c:pt>
                <c:pt idx="2222">
                  <c:v>42356</c:v>
                </c:pt>
                <c:pt idx="2223">
                  <c:v>42359</c:v>
                </c:pt>
                <c:pt idx="2224">
                  <c:v>42360</c:v>
                </c:pt>
                <c:pt idx="2225">
                  <c:v>42361</c:v>
                </c:pt>
                <c:pt idx="2226">
                  <c:v>42362</c:v>
                </c:pt>
                <c:pt idx="2227">
                  <c:v>42366</c:v>
                </c:pt>
                <c:pt idx="2228">
                  <c:v>42367</c:v>
                </c:pt>
                <c:pt idx="2229">
                  <c:v>42368</c:v>
                </c:pt>
                <c:pt idx="2230">
                  <c:v>42369</c:v>
                </c:pt>
                <c:pt idx="2231">
                  <c:v>42373</c:v>
                </c:pt>
                <c:pt idx="2232">
                  <c:v>42374</c:v>
                </c:pt>
                <c:pt idx="2233">
                  <c:v>42375</c:v>
                </c:pt>
                <c:pt idx="2234">
                  <c:v>42376</c:v>
                </c:pt>
                <c:pt idx="2235">
                  <c:v>42377</c:v>
                </c:pt>
                <c:pt idx="2236">
                  <c:v>42380</c:v>
                </c:pt>
                <c:pt idx="2237">
                  <c:v>42381</c:v>
                </c:pt>
                <c:pt idx="2238">
                  <c:v>42382</c:v>
                </c:pt>
                <c:pt idx="2239">
                  <c:v>42383</c:v>
                </c:pt>
                <c:pt idx="2240">
                  <c:v>42384</c:v>
                </c:pt>
                <c:pt idx="2241">
                  <c:v>42388</c:v>
                </c:pt>
                <c:pt idx="2242">
                  <c:v>42389</c:v>
                </c:pt>
                <c:pt idx="2243">
                  <c:v>42390</c:v>
                </c:pt>
                <c:pt idx="2244">
                  <c:v>42391</c:v>
                </c:pt>
                <c:pt idx="2245">
                  <c:v>42394</c:v>
                </c:pt>
                <c:pt idx="2246">
                  <c:v>42395</c:v>
                </c:pt>
                <c:pt idx="2247">
                  <c:v>42396</c:v>
                </c:pt>
                <c:pt idx="2248">
                  <c:v>42397</c:v>
                </c:pt>
                <c:pt idx="2249">
                  <c:v>42398</c:v>
                </c:pt>
                <c:pt idx="2250">
                  <c:v>42401</c:v>
                </c:pt>
                <c:pt idx="2251">
                  <c:v>42402</c:v>
                </c:pt>
                <c:pt idx="2252">
                  <c:v>42403</c:v>
                </c:pt>
                <c:pt idx="2253">
                  <c:v>42404</c:v>
                </c:pt>
                <c:pt idx="2254">
                  <c:v>42405</c:v>
                </c:pt>
                <c:pt idx="2255">
                  <c:v>42408</c:v>
                </c:pt>
                <c:pt idx="2256">
                  <c:v>42409</c:v>
                </c:pt>
                <c:pt idx="2257">
                  <c:v>42410</c:v>
                </c:pt>
                <c:pt idx="2258">
                  <c:v>42411</c:v>
                </c:pt>
                <c:pt idx="2259">
                  <c:v>42412</c:v>
                </c:pt>
                <c:pt idx="2260">
                  <c:v>42416</c:v>
                </c:pt>
                <c:pt idx="2261">
                  <c:v>42417</c:v>
                </c:pt>
                <c:pt idx="2262">
                  <c:v>42418</c:v>
                </c:pt>
                <c:pt idx="2263">
                  <c:v>42419</c:v>
                </c:pt>
                <c:pt idx="2264">
                  <c:v>42422</c:v>
                </c:pt>
                <c:pt idx="2265">
                  <c:v>42423</c:v>
                </c:pt>
                <c:pt idx="2266">
                  <c:v>42424</c:v>
                </c:pt>
                <c:pt idx="2267">
                  <c:v>42425</c:v>
                </c:pt>
                <c:pt idx="2268">
                  <c:v>42426</c:v>
                </c:pt>
                <c:pt idx="2269">
                  <c:v>42429</c:v>
                </c:pt>
                <c:pt idx="2270">
                  <c:v>42430</c:v>
                </c:pt>
                <c:pt idx="2271">
                  <c:v>42431</c:v>
                </c:pt>
                <c:pt idx="2272">
                  <c:v>42432</c:v>
                </c:pt>
                <c:pt idx="2273">
                  <c:v>42433</c:v>
                </c:pt>
                <c:pt idx="2274">
                  <c:v>42436</c:v>
                </c:pt>
                <c:pt idx="2275">
                  <c:v>42437</c:v>
                </c:pt>
                <c:pt idx="2276">
                  <c:v>42438</c:v>
                </c:pt>
                <c:pt idx="2277">
                  <c:v>42439</c:v>
                </c:pt>
                <c:pt idx="2278">
                  <c:v>42440</c:v>
                </c:pt>
                <c:pt idx="2279">
                  <c:v>42443</c:v>
                </c:pt>
                <c:pt idx="2280">
                  <c:v>42444</c:v>
                </c:pt>
                <c:pt idx="2281">
                  <c:v>42445</c:v>
                </c:pt>
                <c:pt idx="2282">
                  <c:v>42446</c:v>
                </c:pt>
                <c:pt idx="2283">
                  <c:v>42447</c:v>
                </c:pt>
                <c:pt idx="2284">
                  <c:v>42450</c:v>
                </c:pt>
                <c:pt idx="2285">
                  <c:v>42451</c:v>
                </c:pt>
                <c:pt idx="2286">
                  <c:v>42452</c:v>
                </c:pt>
                <c:pt idx="2287">
                  <c:v>42453</c:v>
                </c:pt>
                <c:pt idx="2288">
                  <c:v>42457</c:v>
                </c:pt>
                <c:pt idx="2289">
                  <c:v>42458</c:v>
                </c:pt>
                <c:pt idx="2290">
                  <c:v>42459</c:v>
                </c:pt>
                <c:pt idx="2291">
                  <c:v>42460</c:v>
                </c:pt>
                <c:pt idx="2292">
                  <c:v>42461</c:v>
                </c:pt>
                <c:pt idx="2293">
                  <c:v>42464</c:v>
                </c:pt>
                <c:pt idx="2294">
                  <c:v>42465</c:v>
                </c:pt>
                <c:pt idx="2295">
                  <c:v>42466</c:v>
                </c:pt>
                <c:pt idx="2296">
                  <c:v>42467</c:v>
                </c:pt>
                <c:pt idx="2297">
                  <c:v>42468</c:v>
                </c:pt>
                <c:pt idx="2298">
                  <c:v>42471</c:v>
                </c:pt>
                <c:pt idx="2299">
                  <c:v>42472</c:v>
                </c:pt>
                <c:pt idx="2300">
                  <c:v>42473</c:v>
                </c:pt>
                <c:pt idx="2301">
                  <c:v>42474</c:v>
                </c:pt>
                <c:pt idx="2302">
                  <c:v>42475</c:v>
                </c:pt>
                <c:pt idx="2303">
                  <c:v>42478</c:v>
                </c:pt>
                <c:pt idx="2304">
                  <c:v>42479</c:v>
                </c:pt>
                <c:pt idx="2305">
                  <c:v>42480</c:v>
                </c:pt>
                <c:pt idx="2306">
                  <c:v>42481</c:v>
                </c:pt>
                <c:pt idx="2307">
                  <c:v>42482</c:v>
                </c:pt>
                <c:pt idx="2308">
                  <c:v>42485</c:v>
                </c:pt>
                <c:pt idx="2309">
                  <c:v>42486</c:v>
                </c:pt>
                <c:pt idx="2310">
                  <c:v>42487</c:v>
                </c:pt>
                <c:pt idx="2311">
                  <c:v>42488</c:v>
                </c:pt>
                <c:pt idx="2312">
                  <c:v>42489</c:v>
                </c:pt>
                <c:pt idx="2313">
                  <c:v>42492</c:v>
                </c:pt>
                <c:pt idx="2314">
                  <c:v>42493</c:v>
                </c:pt>
                <c:pt idx="2315">
                  <c:v>42494</c:v>
                </c:pt>
                <c:pt idx="2316">
                  <c:v>42495</c:v>
                </c:pt>
                <c:pt idx="2317">
                  <c:v>42496</c:v>
                </c:pt>
                <c:pt idx="2318">
                  <c:v>42499</c:v>
                </c:pt>
                <c:pt idx="2319">
                  <c:v>42500</c:v>
                </c:pt>
                <c:pt idx="2320">
                  <c:v>42501</c:v>
                </c:pt>
                <c:pt idx="2321">
                  <c:v>42502</c:v>
                </c:pt>
                <c:pt idx="2322">
                  <c:v>42503</c:v>
                </c:pt>
                <c:pt idx="2323">
                  <c:v>42506</c:v>
                </c:pt>
                <c:pt idx="2324">
                  <c:v>42507</c:v>
                </c:pt>
                <c:pt idx="2325">
                  <c:v>42508</c:v>
                </c:pt>
              </c:numCache>
            </c:numRef>
          </c:cat>
          <c:val>
            <c:numRef>
              <c:f>'Vix futures volumes'!$AN$5:$AN$2330</c:f>
              <c:numCache>
                <c:formatCode>_(* #,##0.00_);_(* \(#,##0.00\);_(* "-"??_);_(@_)</c:formatCode>
                <c:ptCount val="2326"/>
                <c:pt idx="0">
                  <c:v>0.62114999999999998</c:v>
                </c:pt>
                <c:pt idx="1">
                  <c:v>7.2576000000000001</c:v>
                </c:pt>
                <c:pt idx="2">
                  <c:v>4.2864000000000004</c:v>
                </c:pt>
                <c:pt idx="3">
                  <c:v>3.04094</c:v>
                </c:pt>
                <c:pt idx="4">
                  <c:v>1.0267200000000001</c:v>
                </c:pt>
                <c:pt idx="5">
                  <c:v>0.79866000000000004</c:v>
                </c:pt>
                <c:pt idx="6">
                  <c:v>16.151580000000003</c:v>
                </c:pt>
                <c:pt idx="7">
                  <c:v>0.74299999999999999</c:v>
                </c:pt>
                <c:pt idx="8">
                  <c:v>7.4548800000000002</c:v>
                </c:pt>
                <c:pt idx="9">
                  <c:v>0.51729999999999998</c:v>
                </c:pt>
                <c:pt idx="10">
                  <c:v>2.938E-2</c:v>
                </c:pt>
                <c:pt idx="11">
                  <c:v>0.1454</c:v>
                </c:pt>
                <c:pt idx="12">
                  <c:v>0.60185999999999995</c:v>
                </c:pt>
                <c:pt idx="13">
                  <c:v>0.14149999999999999</c:v>
                </c:pt>
                <c:pt idx="14">
                  <c:v>0.59682000000000002</c:v>
                </c:pt>
                <c:pt idx="15">
                  <c:v>9.8070000000000004E-2</c:v>
                </c:pt>
                <c:pt idx="16">
                  <c:v>0.22208</c:v>
                </c:pt>
                <c:pt idx="17">
                  <c:v>0.12438</c:v>
                </c:pt>
                <c:pt idx="18">
                  <c:v>0.1148</c:v>
                </c:pt>
                <c:pt idx="19">
                  <c:v>7.2599999999999998E-2</c:v>
                </c:pt>
                <c:pt idx="20">
                  <c:v>2.2736000000000001</c:v>
                </c:pt>
                <c:pt idx="21">
                  <c:v>8.4839999999999999E-2</c:v>
                </c:pt>
                <c:pt idx="22">
                  <c:v>7.0349999999999996E-2</c:v>
                </c:pt>
                <c:pt idx="23">
                  <c:v>0.41849999999999998</c:v>
                </c:pt>
                <c:pt idx="24">
                  <c:v>6.9250000000000006E-2</c:v>
                </c:pt>
                <c:pt idx="25">
                  <c:v>2.28288</c:v>
                </c:pt>
                <c:pt idx="26">
                  <c:v>2.3732799999999998</c:v>
                </c:pt>
                <c:pt idx="27">
                  <c:v>0.52095999999999998</c:v>
                </c:pt>
                <c:pt idx="28">
                  <c:v>1.439E-2</c:v>
                </c:pt>
                <c:pt idx="29">
                  <c:v>2.9340000000000001E-2</c:v>
                </c:pt>
                <c:pt idx="30">
                  <c:v>2.928E-2</c:v>
                </c:pt>
                <c:pt idx="31">
                  <c:v>0.27056000000000002</c:v>
                </c:pt>
                <c:pt idx="32">
                  <c:v>0.92927999999999999</c:v>
                </c:pt>
                <c:pt idx="33">
                  <c:v>0.58720000000000006</c:v>
                </c:pt>
                <c:pt idx="34">
                  <c:v>0.44340000000000002</c:v>
                </c:pt>
                <c:pt idx="35">
                  <c:v>5.8639999999999998E-2</c:v>
                </c:pt>
                <c:pt idx="36">
                  <c:v>1.36992</c:v>
                </c:pt>
                <c:pt idx="37">
                  <c:v>0.22783999999999999</c:v>
                </c:pt>
                <c:pt idx="38">
                  <c:v>1.4736800000000001</c:v>
                </c:pt>
                <c:pt idx="39">
                  <c:v>0.79464000000000001</c:v>
                </c:pt>
                <c:pt idx="40">
                  <c:v>0.1144</c:v>
                </c:pt>
                <c:pt idx="41">
                  <c:v>0.33166000000000001</c:v>
                </c:pt>
                <c:pt idx="42">
                  <c:v>0.20061999999999999</c:v>
                </c:pt>
                <c:pt idx="43">
                  <c:v>1.0966800000000001</c:v>
                </c:pt>
                <c:pt idx="44">
                  <c:v>0.15862000000000001</c:v>
                </c:pt>
                <c:pt idx="45">
                  <c:v>0.14169999999999999</c:v>
                </c:pt>
                <c:pt idx="46">
                  <c:v>7.62432</c:v>
                </c:pt>
                <c:pt idx="47">
                  <c:v>1.1375999999999999</c:v>
                </c:pt>
                <c:pt idx="48">
                  <c:v>0.42930000000000001</c:v>
                </c:pt>
                <c:pt idx="49">
                  <c:v>7.4607200000000002</c:v>
                </c:pt>
                <c:pt idx="50">
                  <c:v>3.1812200000000002</c:v>
                </c:pt>
                <c:pt idx="51">
                  <c:v>8.1288900000000002</c:v>
                </c:pt>
                <c:pt idx="52">
                  <c:v>0.77605000000000002</c:v>
                </c:pt>
                <c:pt idx="53">
                  <c:v>1.417E-2</c:v>
                </c:pt>
                <c:pt idx="54">
                  <c:v>1.422E-2</c:v>
                </c:pt>
                <c:pt idx="55">
                  <c:v>1.427E-2</c:v>
                </c:pt>
                <c:pt idx="56">
                  <c:v>0.1421</c:v>
                </c:pt>
                <c:pt idx="57">
                  <c:v>1.4149999999999999E-2</c:v>
                </c:pt>
                <c:pt idx="58">
                  <c:v>1.422E-2</c:v>
                </c:pt>
                <c:pt idx="59">
                  <c:v>1.4250000000000001E-2</c:v>
                </c:pt>
                <c:pt idx="60">
                  <c:v>0.5796</c:v>
                </c:pt>
                <c:pt idx="61">
                  <c:v>1.9112899999999999</c:v>
                </c:pt>
                <c:pt idx="62">
                  <c:v>6.92075</c:v>
                </c:pt>
                <c:pt idx="63">
                  <c:v>3.5647500000000001</c:v>
                </c:pt>
                <c:pt idx="64">
                  <c:v>0.72599999999999998</c:v>
                </c:pt>
                <c:pt idx="65">
                  <c:v>1.5822000000000001</c:v>
                </c:pt>
                <c:pt idx="66">
                  <c:v>3.66</c:v>
                </c:pt>
                <c:pt idx="67">
                  <c:v>0.16225000000000001</c:v>
                </c:pt>
                <c:pt idx="68">
                  <c:v>7.4448600000000003</c:v>
                </c:pt>
                <c:pt idx="69">
                  <c:v>3.9026000000000001</c:v>
                </c:pt>
                <c:pt idx="70">
                  <c:v>7.51E-2</c:v>
                </c:pt>
                <c:pt idx="71">
                  <c:v>4.4580000000000002E-2</c:v>
                </c:pt>
                <c:pt idx="72">
                  <c:v>2.9780000000000001E-2</c:v>
                </c:pt>
                <c:pt idx="73">
                  <c:v>0.13302</c:v>
                </c:pt>
                <c:pt idx="74">
                  <c:v>1.6135600000000001</c:v>
                </c:pt>
                <c:pt idx="75">
                  <c:v>3.0020000000000002E-2</c:v>
                </c:pt>
                <c:pt idx="76">
                  <c:v>0.17916000000000001</c:v>
                </c:pt>
                <c:pt idx="77">
                  <c:v>0.23760000000000001</c:v>
                </c:pt>
                <c:pt idx="78">
                  <c:v>0.88800000000000001</c:v>
                </c:pt>
                <c:pt idx="79">
                  <c:v>0.22439999999999999</c:v>
                </c:pt>
                <c:pt idx="80">
                  <c:v>0.94752000000000003</c:v>
                </c:pt>
                <c:pt idx="81">
                  <c:v>2.65584</c:v>
                </c:pt>
                <c:pt idx="82">
                  <c:v>2.2618200000000002</c:v>
                </c:pt>
                <c:pt idx="83">
                  <c:v>1.2464</c:v>
                </c:pt>
                <c:pt idx="84">
                  <c:v>0.88578000000000001</c:v>
                </c:pt>
                <c:pt idx="85">
                  <c:v>1.11982</c:v>
                </c:pt>
                <c:pt idx="86">
                  <c:v>0.74543999999999999</c:v>
                </c:pt>
                <c:pt idx="87">
                  <c:v>0.82943999999999996</c:v>
                </c:pt>
                <c:pt idx="88">
                  <c:v>7.5499999999999998E-2</c:v>
                </c:pt>
                <c:pt idx="89">
                  <c:v>2.5754999999999999</c:v>
                </c:pt>
                <c:pt idx="90">
                  <c:v>6.1823300000000003</c:v>
                </c:pt>
                <c:pt idx="91">
                  <c:v>11.92672</c:v>
                </c:pt>
                <c:pt idx="92">
                  <c:v>58.191299999999998</c:v>
                </c:pt>
                <c:pt idx="93">
                  <c:v>5.4180000000000001</c:v>
                </c:pt>
                <c:pt idx="94">
                  <c:v>1.3230200000000001</c:v>
                </c:pt>
                <c:pt idx="95">
                  <c:v>14.731500000000002</c:v>
                </c:pt>
                <c:pt idx="96">
                  <c:v>25.968630000000001</c:v>
                </c:pt>
                <c:pt idx="97">
                  <c:v>13.73476</c:v>
                </c:pt>
                <c:pt idx="98">
                  <c:v>0.74495</c:v>
                </c:pt>
                <c:pt idx="99">
                  <c:v>10.124599999999997</c:v>
                </c:pt>
                <c:pt idx="100">
                  <c:v>5.0071000000000003</c:v>
                </c:pt>
                <c:pt idx="101">
                  <c:v>1.2847999999999999</c:v>
                </c:pt>
                <c:pt idx="102">
                  <c:v>3.4399499999999996</c:v>
                </c:pt>
                <c:pt idx="103">
                  <c:v>6.3920000000000003</c:v>
                </c:pt>
                <c:pt idx="104">
                  <c:v>15.86562</c:v>
                </c:pt>
                <c:pt idx="105">
                  <c:v>6.9597300000000013</c:v>
                </c:pt>
                <c:pt idx="106">
                  <c:v>10.44375</c:v>
                </c:pt>
                <c:pt idx="107">
                  <c:v>4.3378199999999998</c:v>
                </c:pt>
                <c:pt idx="108">
                  <c:v>1.8198000000000003</c:v>
                </c:pt>
                <c:pt idx="109">
                  <c:v>2.84735</c:v>
                </c:pt>
                <c:pt idx="110">
                  <c:v>6.28165</c:v>
                </c:pt>
                <c:pt idx="111">
                  <c:v>6.7798499999999997</c:v>
                </c:pt>
                <c:pt idx="112">
                  <c:v>8.9181299999999997</c:v>
                </c:pt>
                <c:pt idx="113">
                  <c:v>2.2245599999999999</c:v>
                </c:pt>
                <c:pt idx="114">
                  <c:v>1.5113000000000001</c:v>
                </c:pt>
                <c:pt idx="115">
                  <c:v>8.4710999999999999</c:v>
                </c:pt>
                <c:pt idx="116">
                  <c:v>1.4776</c:v>
                </c:pt>
                <c:pt idx="117">
                  <c:v>8.7449600000000007</c:v>
                </c:pt>
                <c:pt idx="118">
                  <c:v>3.2127300000000001</c:v>
                </c:pt>
                <c:pt idx="119">
                  <c:v>1.2352000000000001</c:v>
                </c:pt>
                <c:pt idx="120">
                  <c:v>5.5682999999999998</c:v>
                </c:pt>
                <c:pt idx="121">
                  <c:v>16.060500000000001</c:v>
                </c:pt>
                <c:pt idx="122">
                  <c:v>15.88965</c:v>
                </c:pt>
                <c:pt idx="123">
                  <c:v>12.94125</c:v>
                </c:pt>
                <c:pt idx="124">
                  <c:v>64.384289999999993</c:v>
                </c:pt>
                <c:pt idx="125">
                  <c:v>6.4414400000000001</c:v>
                </c:pt>
                <c:pt idx="126">
                  <c:v>7.58901</c:v>
                </c:pt>
                <c:pt idx="127">
                  <c:v>6.9896400000000005</c:v>
                </c:pt>
                <c:pt idx="128">
                  <c:v>1.9940400000000003</c:v>
                </c:pt>
                <c:pt idx="129">
                  <c:v>0.62814000000000003</c:v>
                </c:pt>
                <c:pt idx="130">
                  <c:v>3.327</c:v>
                </c:pt>
                <c:pt idx="131">
                  <c:v>3.3446500000000001</c:v>
                </c:pt>
                <c:pt idx="132">
                  <c:v>4.49</c:v>
                </c:pt>
                <c:pt idx="133">
                  <c:v>1.1556599999999999</c:v>
                </c:pt>
                <c:pt idx="134">
                  <c:v>4.66188</c:v>
                </c:pt>
                <c:pt idx="135">
                  <c:v>0.54074999999999995</c:v>
                </c:pt>
                <c:pt idx="136">
                  <c:v>8.3680000000000004E-2</c:v>
                </c:pt>
                <c:pt idx="137">
                  <c:v>2.2008000000000001</c:v>
                </c:pt>
                <c:pt idx="138">
                  <c:v>1.86368</c:v>
                </c:pt>
                <c:pt idx="139">
                  <c:v>6.5387399999999989</c:v>
                </c:pt>
                <c:pt idx="140">
                  <c:v>0.215</c:v>
                </c:pt>
                <c:pt idx="141">
                  <c:v>1.8882000000000001</c:v>
                </c:pt>
                <c:pt idx="142">
                  <c:v>0.21290000000000001</c:v>
                </c:pt>
                <c:pt idx="143">
                  <c:v>4.2540000000000001E-2</c:v>
                </c:pt>
                <c:pt idx="144">
                  <c:v>8.6599999999999996E-2</c:v>
                </c:pt>
                <c:pt idx="145">
                  <c:v>1.3553200000000001</c:v>
                </c:pt>
                <c:pt idx="146">
                  <c:v>0.87575999999999998</c:v>
                </c:pt>
                <c:pt idx="147">
                  <c:v>0.59863999999999995</c:v>
                </c:pt>
                <c:pt idx="148">
                  <c:v>2.3953799999999998</c:v>
                </c:pt>
                <c:pt idx="149">
                  <c:v>0.18737999999999999</c:v>
                </c:pt>
                <c:pt idx="150">
                  <c:v>12.86103</c:v>
                </c:pt>
                <c:pt idx="151">
                  <c:v>3.20424</c:v>
                </c:pt>
                <c:pt idx="152">
                  <c:v>1.2182999999999999</c:v>
                </c:pt>
                <c:pt idx="153">
                  <c:v>10.256030000000001</c:v>
                </c:pt>
                <c:pt idx="154">
                  <c:v>2.3021799999999999</c:v>
                </c:pt>
                <c:pt idx="155">
                  <c:v>2.35216</c:v>
                </c:pt>
                <c:pt idx="156">
                  <c:v>0.26795999999999998</c:v>
                </c:pt>
                <c:pt idx="157">
                  <c:v>11.99142</c:v>
                </c:pt>
                <c:pt idx="158">
                  <c:v>8.068950000000001</c:v>
                </c:pt>
                <c:pt idx="159">
                  <c:v>2.8630599999999999</c:v>
                </c:pt>
                <c:pt idx="160">
                  <c:v>1.52922</c:v>
                </c:pt>
                <c:pt idx="161">
                  <c:v>2.43146</c:v>
                </c:pt>
                <c:pt idx="162">
                  <c:v>1.3275600000000001</c:v>
                </c:pt>
                <c:pt idx="163">
                  <c:v>0.81564000000000014</c:v>
                </c:pt>
                <c:pt idx="164">
                  <c:v>0.89441000000000004</c:v>
                </c:pt>
                <c:pt idx="165">
                  <c:v>0.59240999999999999</c:v>
                </c:pt>
                <c:pt idx="166">
                  <c:v>0.94896000000000003</c:v>
                </c:pt>
                <c:pt idx="167">
                  <c:v>0.39579999999999999</c:v>
                </c:pt>
                <c:pt idx="168">
                  <c:v>0.47219</c:v>
                </c:pt>
                <c:pt idx="169">
                  <c:v>1.3958999999999999</c:v>
                </c:pt>
                <c:pt idx="170">
                  <c:v>0.19034999999999999</c:v>
                </c:pt>
                <c:pt idx="171">
                  <c:v>0.43459999999999999</c:v>
                </c:pt>
                <c:pt idx="172">
                  <c:v>2.171E-2</c:v>
                </c:pt>
                <c:pt idx="173">
                  <c:v>0.23782</c:v>
                </c:pt>
                <c:pt idx="174">
                  <c:v>0.69279999999999997</c:v>
                </c:pt>
                <c:pt idx="175">
                  <c:v>1.8513599999999999</c:v>
                </c:pt>
                <c:pt idx="176">
                  <c:v>0.42359999999999998</c:v>
                </c:pt>
                <c:pt idx="177">
                  <c:v>0.86959999999999993</c:v>
                </c:pt>
                <c:pt idx="178">
                  <c:v>2.095E-2</c:v>
                </c:pt>
                <c:pt idx="179">
                  <c:v>0.88719999999999999</c:v>
                </c:pt>
                <c:pt idx="180">
                  <c:v>1.7647200000000001</c:v>
                </c:pt>
                <c:pt idx="181">
                  <c:v>2.6295899999999999</c:v>
                </c:pt>
                <c:pt idx="182">
                  <c:v>0.99760000000000004</c:v>
                </c:pt>
                <c:pt idx="183">
                  <c:v>6.0652799999999996</c:v>
                </c:pt>
                <c:pt idx="184">
                  <c:v>4.3895999999999997</c:v>
                </c:pt>
                <c:pt idx="185">
                  <c:v>1.2544</c:v>
                </c:pt>
                <c:pt idx="186">
                  <c:v>0.66793999999999998</c:v>
                </c:pt>
                <c:pt idx="187">
                  <c:v>0.81015000000000004</c:v>
                </c:pt>
                <c:pt idx="188">
                  <c:v>1.02732</c:v>
                </c:pt>
                <c:pt idx="189">
                  <c:v>0.38085000000000002</c:v>
                </c:pt>
                <c:pt idx="190">
                  <c:v>26.599779999999999</c:v>
                </c:pt>
                <c:pt idx="191">
                  <c:v>53.296199999999999</c:v>
                </c:pt>
                <c:pt idx="192">
                  <c:v>10.52502</c:v>
                </c:pt>
                <c:pt idx="193">
                  <c:v>9.8812800000000003</c:v>
                </c:pt>
                <c:pt idx="194">
                  <c:v>1.5092000000000001</c:v>
                </c:pt>
                <c:pt idx="195">
                  <c:v>1.4859899999999999</c:v>
                </c:pt>
                <c:pt idx="196">
                  <c:v>2.1913</c:v>
                </c:pt>
                <c:pt idx="197">
                  <c:v>0.56074000000000002</c:v>
                </c:pt>
                <c:pt idx="198">
                  <c:v>1.1759999999999999</c:v>
                </c:pt>
                <c:pt idx="199">
                  <c:v>0.57743999999999995</c:v>
                </c:pt>
                <c:pt idx="200">
                  <c:v>9.0337499999999995</c:v>
                </c:pt>
                <c:pt idx="201">
                  <c:v>0.64719000000000004</c:v>
                </c:pt>
                <c:pt idx="202">
                  <c:v>0.36831999999999998</c:v>
                </c:pt>
                <c:pt idx="203">
                  <c:v>2.83162</c:v>
                </c:pt>
                <c:pt idx="204">
                  <c:v>0.57474999999999998</c:v>
                </c:pt>
                <c:pt idx="205">
                  <c:v>4.6629899999999997</c:v>
                </c:pt>
                <c:pt idx="206">
                  <c:v>3.80931</c:v>
                </c:pt>
                <c:pt idx="207">
                  <c:v>0.76288</c:v>
                </c:pt>
                <c:pt idx="208">
                  <c:v>1.2825</c:v>
                </c:pt>
                <c:pt idx="209">
                  <c:v>65.341640000000012</c:v>
                </c:pt>
                <c:pt idx="210">
                  <c:v>28.7712</c:v>
                </c:pt>
                <c:pt idx="211">
                  <c:v>2.5577800000000002</c:v>
                </c:pt>
                <c:pt idx="212">
                  <c:v>1.07325</c:v>
                </c:pt>
                <c:pt idx="213">
                  <c:v>7.9670399999999999</c:v>
                </c:pt>
                <c:pt idx="214">
                  <c:v>0.27564</c:v>
                </c:pt>
                <c:pt idx="215">
                  <c:v>9.1679999999999998E-2</c:v>
                </c:pt>
                <c:pt idx="216">
                  <c:v>0.42065999999999998</c:v>
                </c:pt>
                <c:pt idx="217">
                  <c:v>2.333E-2</c:v>
                </c:pt>
                <c:pt idx="218">
                  <c:v>0.97743999999999998</c:v>
                </c:pt>
                <c:pt idx="219">
                  <c:v>1.84148</c:v>
                </c:pt>
                <c:pt idx="220">
                  <c:v>1.7915399999999999</c:v>
                </c:pt>
                <c:pt idx="221">
                  <c:v>2.0212999999999997</c:v>
                </c:pt>
                <c:pt idx="222">
                  <c:v>4.6303000000000001</c:v>
                </c:pt>
                <c:pt idx="223">
                  <c:v>49.131839999999997</c:v>
                </c:pt>
                <c:pt idx="224">
                  <c:v>5.2032600000000002</c:v>
                </c:pt>
                <c:pt idx="225">
                  <c:v>2.7425099999999998</c:v>
                </c:pt>
                <c:pt idx="226">
                  <c:v>5.508</c:v>
                </c:pt>
                <c:pt idx="227">
                  <c:v>0.42330000000000001</c:v>
                </c:pt>
                <c:pt idx="228">
                  <c:v>2.2050000000000001</c:v>
                </c:pt>
                <c:pt idx="229">
                  <c:v>1.127</c:v>
                </c:pt>
                <c:pt idx="230">
                  <c:v>6.0112500000000004</c:v>
                </c:pt>
                <c:pt idx="231">
                  <c:v>1.7426699999999999</c:v>
                </c:pt>
                <c:pt idx="232">
                  <c:v>9.8945000000000007</c:v>
                </c:pt>
                <c:pt idx="233">
                  <c:v>5.125</c:v>
                </c:pt>
                <c:pt idx="234">
                  <c:v>1.0991200000000001</c:v>
                </c:pt>
                <c:pt idx="235">
                  <c:v>2.6395200000000001</c:v>
                </c:pt>
                <c:pt idx="236">
                  <c:v>0.27522000000000002</c:v>
                </c:pt>
                <c:pt idx="237">
                  <c:v>4.9579999999999999E-2</c:v>
                </c:pt>
                <c:pt idx="238">
                  <c:v>1.254</c:v>
                </c:pt>
                <c:pt idx="239">
                  <c:v>1.29956</c:v>
                </c:pt>
                <c:pt idx="240">
                  <c:v>0.83684999999999998</c:v>
                </c:pt>
                <c:pt idx="241">
                  <c:v>6.6550000000000002</c:v>
                </c:pt>
                <c:pt idx="242">
                  <c:v>0.32929000000000003</c:v>
                </c:pt>
                <c:pt idx="243">
                  <c:v>0.18095</c:v>
                </c:pt>
                <c:pt idx="244">
                  <c:v>0.87549999999999994</c:v>
                </c:pt>
                <c:pt idx="245">
                  <c:v>0.52500000000000002</c:v>
                </c:pt>
                <c:pt idx="246">
                  <c:v>0.25869999999999999</c:v>
                </c:pt>
                <c:pt idx="247">
                  <c:v>0.1024</c:v>
                </c:pt>
                <c:pt idx="248">
                  <c:v>1.8544400000000001</c:v>
                </c:pt>
                <c:pt idx="249">
                  <c:v>1.1848700000000001</c:v>
                </c:pt>
                <c:pt idx="250">
                  <c:v>1.3340099999999999</c:v>
                </c:pt>
                <c:pt idx="251">
                  <c:v>0.1239</c:v>
                </c:pt>
                <c:pt idx="252">
                  <c:v>1.6146</c:v>
                </c:pt>
                <c:pt idx="253">
                  <c:v>0.44441999999999998</c:v>
                </c:pt>
                <c:pt idx="254">
                  <c:v>3.8145799999999999</c:v>
                </c:pt>
                <c:pt idx="255">
                  <c:v>0.16897999999999999</c:v>
                </c:pt>
                <c:pt idx="256">
                  <c:v>0.14399999999999999</c:v>
                </c:pt>
                <c:pt idx="257">
                  <c:v>4.8338599999999996</c:v>
                </c:pt>
                <c:pt idx="258">
                  <c:v>0.14813999999999999</c:v>
                </c:pt>
                <c:pt idx="259">
                  <c:v>2.5569999999999999E-2</c:v>
                </c:pt>
                <c:pt idx="260">
                  <c:v>1.8973599999999999</c:v>
                </c:pt>
                <c:pt idx="261">
                  <c:v>0.66690000000000005</c:v>
                </c:pt>
                <c:pt idx="262">
                  <c:v>2.9832000000000001</c:v>
                </c:pt>
                <c:pt idx="263">
                  <c:v>0.15509999999999999</c:v>
                </c:pt>
                <c:pt idx="264">
                  <c:v>0.67366000000000004</c:v>
                </c:pt>
                <c:pt idx="265">
                  <c:v>0.20168</c:v>
                </c:pt>
                <c:pt idx="266">
                  <c:v>6.1446899999999998</c:v>
                </c:pt>
                <c:pt idx="267">
                  <c:v>0.73163999999999996</c:v>
                </c:pt>
                <c:pt idx="268">
                  <c:v>7.1231200000000001</c:v>
                </c:pt>
                <c:pt idx="269">
                  <c:v>3.4221599999999999</c:v>
                </c:pt>
                <c:pt idx="270">
                  <c:v>3.7946300000000002</c:v>
                </c:pt>
                <c:pt idx="271">
                  <c:v>4.6223999999999998</c:v>
                </c:pt>
                <c:pt idx="272">
                  <c:v>0.58696000000000004</c:v>
                </c:pt>
                <c:pt idx="273">
                  <c:v>0.70840000000000003</c:v>
                </c:pt>
                <c:pt idx="274">
                  <c:v>8.8452000000000002</c:v>
                </c:pt>
                <c:pt idx="275">
                  <c:v>1.9630799999999997</c:v>
                </c:pt>
                <c:pt idx="276">
                  <c:v>1.39374</c:v>
                </c:pt>
                <c:pt idx="277">
                  <c:v>0.38640000000000002</c:v>
                </c:pt>
                <c:pt idx="278">
                  <c:v>1.38348</c:v>
                </c:pt>
                <c:pt idx="279">
                  <c:v>7.35</c:v>
                </c:pt>
                <c:pt idx="280">
                  <c:v>4.1354300000000004</c:v>
                </c:pt>
                <c:pt idx="281">
                  <c:v>21.621600000000001</c:v>
                </c:pt>
                <c:pt idx="282">
                  <c:v>0.66635999999999995</c:v>
                </c:pt>
                <c:pt idx="283">
                  <c:v>1.6053200000000001</c:v>
                </c:pt>
                <c:pt idx="284">
                  <c:v>4.7536100000000001</c:v>
                </c:pt>
                <c:pt idx="285">
                  <c:v>2.0808</c:v>
                </c:pt>
                <c:pt idx="286">
                  <c:v>2.81385</c:v>
                </c:pt>
                <c:pt idx="287">
                  <c:v>5.5132000000000003</c:v>
                </c:pt>
                <c:pt idx="288">
                  <c:v>2.4740000000000002</c:v>
                </c:pt>
                <c:pt idx="289">
                  <c:v>2.8992599999999999</c:v>
                </c:pt>
                <c:pt idx="290">
                  <c:v>2.2087500000000002</c:v>
                </c:pt>
                <c:pt idx="291">
                  <c:v>6.00352</c:v>
                </c:pt>
                <c:pt idx="292">
                  <c:v>1.6303000000000001</c:v>
                </c:pt>
                <c:pt idx="293">
                  <c:v>4.7119999999999997</c:v>
                </c:pt>
                <c:pt idx="294">
                  <c:v>1.0869800000000001</c:v>
                </c:pt>
                <c:pt idx="295">
                  <c:v>1.48864</c:v>
                </c:pt>
                <c:pt idx="296">
                  <c:v>6.8221800000000004</c:v>
                </c:pt>
                <c:pt idx="297">
                  <c:v>5.3562000000000003</c:v>
                </c:pt>
                <c:pt idx="298">
                  <c:v>3.1964700000000006</c:v>
                </c:pt>
                <c:pt idx="299">
                  <c:v>4.0794100000000002</c:v>
                </c:pt>
                <c:pt idx="300">
                  <c:v>4.4460199999999999</c:v>
                </c:pt>
                <c:pt idx="301">
                  <c:v>2.5908000000000002</c:v>
                </c:pt>
                <c:pt idx="302">
                  <c:v>1.0516799999999999</c:v>
                </c:pt>
                <c:pt idx="303">
                  <c:v>3.0988100000000003</c:v>
                </c:pt>
                <c:pt idx="304">
                  <c:v>0.80244000000000004</c:v>
                </c:pt>
                <c:pt idx="305">
                  <c:v>16.978400000000001</c:v>
                </c:pt>
                <c:pt idx="306">
                  <c:v>0.78785000000000005</c:v>
                </c:pt>
                <c:pt idx="307">
                  <c:v>1.07555</c:v>
                </c:pt>
                <c:pt idx="308">
                  <c:v>0.90527999999999986</c:v>
                </c:pt>
                <c:pt idx="309">
                  <c:v>8.5930099999999996</c:v>
                </c:pt>
                <c:pt idx="310">
                  <c:v>4.3120000000000003</c:v>
                </c:pt>
                <c:pt idx="311">
                  <c:v>0.81474000000000002</c:v>
                </c:pt>
                <c:pt idx="312">
                  <c:v>1.1901600000000001</c:v>
                </c:pt>
                <c:pt idx="313">
                  <c:v>0.22579999999999997</c:v>
                </c:pt>
                <c:pt idx="314">
                  <c:v>12.0998</c:v>
                </c:pt>
                <c:pt idx="315">
                  <c:v>4.4603999999999999</c:v>
                </c:pt>
                <c:pt idx="316">
                  <c:v>0.67788000000000004</c:v>
                </c:pt>
                <c:pt idx="317">
                  <c:v>0.37887999999999999</c:v>
                </c:pt>
                <c:pt idx="318">
                  <c:v>1.05975</c:v>
                </c:pt>
                <c:pt idx="319">
                  <c:v>0.76229999999999998</c:v>
                </c:pt>
                <c:pt idx="320">
                  <c:v>0.41345999999999999</c:v>
                </c:pt>
                <c:pt idx="321">
                  <c:v>0.54325999999999997</c:v>
                </c:pt>
                <c:pt idx="322">
                  <c:v>1.47932</c:v>
                </c:pt>
                <c:pt idx="323">
                  <c:v>1.5347200000000001</c:v>
                </c:pt>
                <c:pt idx="324">
                  <c:v>1.6358999999999999</c:v>
                </c:pt>
                <c:pt idx="325">
                  <c:v>1.02816</c:v>
                </c:pt>
                <c:pt idx="326">
                  <c:v>2.28315</c:v>
                </c:pt>
                <c:pt idx="327">
                  <c:v>2.90598</c:v>
                </c:pt>
                <c:pt idx="328">
                  <c:v>1.4814000000000001</c:v>
                </c:pt>
                <c:pt idx="329">
                  <c:v>0.71108000000000005</c:v>
                </c:pt>
                <c:pt idx="330">
                  <c:v>14.08375</c:v>
                </c:pt>
                <c:pt idx="331">
                  <c:v>2.5674000000000001</c:v>
                </c:pt>
                <c:pt idx="332">
                  <c:v>1.5898399999999999</c:v>
                </c:pt>
                <c:pt idx="333">
                  <c:v>2.2136999999999998</c:v>
                </c:pt>
                <c:pt idx="334">
                  <c:v>1.2625200000000001</c:v>
                </c:pt>
                <c:pt idx="335">
                  <c:v>14.78312</c:v>
                </c:pt>
                <c:pt idx="336">
                  <c:v>0.98573999999999995</c:v>
                </c:pt>
                <c:pt idx="337">
                  <c:v>2.3990399999999998</c:v>
                </c:pt>
                <c:pt idx="338">
                  <c:v>2.65408</c:v>
                </c:pt>
                <c:pt idx="339">
                  <c:v>1.3954800000000001</c:v>
                </c:pt>
                <c:pt idx="340">
                  <c:v>5.7189300000000003</c:v>
                </c:pt>
                <c:pt idx="341">
                  <c:v>1.37344</c:v>
                </c:pt>
                <c:pt idx="342">
                  <c:v>2.2627199999999998</c:v>
                </c:pt>
                <c:pt idx="343">
                  <c:v>2.15469</c:v>
                </c:pt>
                <c:pt idx="344">
                  <c:v>0.74214000000000002</c:v>
                </c:pt>
                <c:pt idx="345">
                  <c:v>4.6387200000000002</c:v>
                </c:pt>
                <c:pt idx="346">
                  <c:v>1.59666</c:v>
                </c:pt>
                <c:pt idx="347">
                  <c:v>2.3868900000000002</c:v>
                </c:pt>
                <c:pt idx="348">
                  <c:v>5.2538</c:v>
                </c:pt>
                <c:pt idx="349">
                  <c:v>3.8704399999999999</c:v>
                </c:pt>
                <c:pt idx="350">
                  <c:v>1.1388100000000001</c:v>
                </c:pt>
                <c:pt idx="351">
                  <c:v>10.28082</c:v>
                </c:pt>
                <c:pt idx="352">
                  <c:v>5.9569999999999999</c:v>
                </c:pt>
                <c:pt idx="353">
                  <c:v>27.183869999999999</c:v>
                </c:pt>
                <c:pt idx="354">
                  <c:v>9.4158600000000003</c:v>
                </c:pt>
                <c:pt idx="355">
                  <c:v>1.9514100000000001</c:v>
                </c:pt>
                <c:pt idx="356">
                  <c:v>4.8289999999999997</c:v>
                </c:pt>
                <c:pt idx="357">
                  <c:v>9.6666600000000003</c:v>
                </c:pt>
                <c:pt idx="358">
                  <c:v>0.62558999999999998</c:v>
                </c:pt>
                <c:pt idx="359">
                  <c:v>7.7800500000000001</c:v>
                </c:pt>
                <c:pt idx="360">
                  <c:v>1.3653200000000001</c:v>
                </c:pt>
                <c:pt idx="361">
                  <c:v>3.0203600000000002</c:v>
                </c:pt>
                <c:pt idx="362">
                  <c:v>8.5863600000000009</c:v>
                </c:pt>
                <c:pt idx="363">
                  <c:v>2.0358000000000001</c:v>
                </c:pt>
                <c:pt idx="364">
                  <c:v>0.38556000000000001</c:v>
                </c:pt>
                <c:pt idx="365">
                  <c:v>1.2939000000000001</c:v>
                </c:pt>
                <c:pt idx="366">
                  <c:v>0.83599999999999997</c:v>
                </c:pt>
                <c:pt idx="367">
                  <c:v>5.4386400000000004</c:v>
                </c:pt>
                <c:pt idx="368">
                  <c:v>2.0420400000000001</c:v>
                </c:pt>
                <c:pt idx="369">
                  <c:v>0.62468000000000001</c:v>
                </c:pt>
                <c:pt idx="370">
                  <c:v>1.04481</c:v>
                </c:pt>
                <c:pt idx="371">
                  <c:v>7.7744000000000009</c:v>
                </c:pt>
                <c:pt idx="372">
                  <c:v>5.9638499999999999</c:v>
                </c:pt>
                <c:pt idx="373">
                  <c:v>3.5920000000000001</c:v>
                </c:pt>
                <c:pt idx="374">
                  <c:v>0.18176</c:v>
                </c:pt>
                <c:pt idx="375">
                  <c:v>6.8970000000000004E-2</c:v>
                </c:pt>
                <c:pt idx="376">
                  <c:v>11.850519999999999</c:v>
                </c:pt>
                <c:pt idx="377">
                  <c:v>0.27851999999999999</c:v>
                </c:pt>
                <c:pt idx="378">
                  <c:v>0.60189999999999999</c:v>
                </c:pt>
                <c:pt idx="379">
                  <c:v>0.62585999999999997</c:v>
                </c:pt>
                <c:pt idx="380">
                  <c:v>0.18895999999999999</c:v>
                </c:pt>
                <c:pt idx="381">
                  <c:v>9.4119999999999995E-2</c:v>
                </c:pt>
                <c:pt idx="382">
                  <c:v>0.27900000000000003</c:v>
                </c:pt>
                <c:pt idx="383">
                  <c:v>1.1750400000000001</c:v>
                </c:pt>
                <c:pt idx="384">
                  <c:v>2.6555</c:v>
                </c:pt>
                <c:pt idx="385">
                  <c:v>0.68498000000000003</c:v>
                </c:pt>
                <c:pt idx="386">
                  <c:v>0.33123999999999998</c:v>
                </c:pt>
                <c:pt idx="387">
                  <c:v>0.61175000000000002</c:v>
                </c:pt>
                <c:pt idx="388">
                  <c:v>0.65312999999999999</c:v>
                </c:pt>
                <c:pt idx="389">
                  <c:v>13.53999</c:v>
                </c:pt>
                <c:pt idx="390">
                  <c:v>26.366700000000002</c:v>
                </c:pt>
                <c:pt idx="391">
                  <c:v>1.06612</c:v>
                </c:pt>
                <c:pt idx="392">
                  <c:v>0.77471999999999996</c:v>
                </c:pt>
                <c:pt idx="393">
                  <c:v>1.56288</c:v>
                </c:pt>
                <c:pt idx="394">
                  <c:v>8.5190699999999993</c:v>
                </c:pt>
                <c:pt idx="395">
                  <c:v>8.1804799999999993</c:v>
                </c:pt>
                <c:pt idx="396">
                  <c:v>0.83555999999999997</c:v>
                </c:pt>
                <c:pt idx="397">
                  <c:v>1.7863100000000001</c:v>
                </c:pt>
                <c:pt idx="398">
                  <c:v>1.1122799999999999</c:v>
                </c:pt>
                <c:pt idx="399">
                  <c:v>1.70068</c:v>
                </c:pt>
                <c:pt idx="400">
                  <c:v>4.7361599999999999</c:v>
                </c:pt>
                <c:pt idx="401">
                  <c:v>1.6415999999999999</c:v>
                </c:pt>
                <c:pt idx="402">
                  <c:v>1.524</c:v>
                </c:pt>
                <c:pt idx="403">
                  <c:v>4.5827999999999998</c:v>
                </c:pt>
                <c:pt idx="404">
                  <c:v>3.5619999999999998</c:v>
                </c:pt>
                <c:pt idx="405">
                  <c:v>1.0906</c:v>
                </c:pt>
                <c:pt idx="406">
                  <c:v>1.3739399999999999</c:v>
                </c:pt>
                <c:pt idx="407">
                  <c:v>1.26868</c:v>
                </c:pt>
                <c:pt idx="408">
                  <c:v>3.7305600000000001</c:v>
                </c:pt>
                <c:pt idx="409">
                  <c:v>4.7493600000000002</c:v>
                </c:pt>
                <c:pt idx="410">
                  <c:v>4.7025499999999996</c:v>
                </c:pt>
                <c:pt idx="411">
                  <c:v>6.1105600000000004</c:v>
                </c:pt>
                <c:pt idx="412">
                  <c:v>5.9133599999999999</c:v>
                </c:pt>
                <c:pt idx="413">
                  <c:v>4.7024999999999997</c:v>
                </c:pt>
                <c:pt idx="414">
                  <c:v>3.1619799999999998</c:v>
                </c:pt>
                <c:pt idx="415">
                  <c:v>0.61160000000000003</c:v>
                </c:pt>
                <c:pt idx="416">
                  <c:v>2.2341000000000002</c:v>
                </c:pt>
                <c:pt idx="417">
                  <c:v>12.59544</c:v>
                </c:pt>
                <c:pt idx="418">
                  <c:v>0.95989999999999998</c:v>
                </c:pt>
                <c:pt idx="419">
                  <c:v>0.28908</c:v>
                </c:pt>
                <c:pt idx="420">
                  <c:v>0.35760999999999998</c:v>
                </c:pt>
                <c:pt idx="421">
                  <c:v>1.42967</c:v>
                </c:pt>
                <c:pt idx="422">
                  <c:v>1.9667199999999998</c:v>
                </c:pt>
                <c:pt idx="423">
                  <c:v>7.3235000000000001</c:v>
                </c:pt>
                <c:pt idx="424">
                  <c:v>8.5250000000000004</c:v>
                </c:pt>
                <c:pt idx="425">
                  <c:v>3.6863700000000001</c:v>
                </c:pt>
                <c:pt idx="426">
                  <c:v>2.3146200000000001</c:v>
                </c:pt>
                <c:pt idx="427">
                  <c:v>0.63597000000000004</c:v>
                </c:pt>
                <c:pt idx="428">
                  <c:v>0.64175000000000004</c:v>
                </c:pt>
                <c:pt idx="429">
                  <c:v>0.40920000000000006</c:v>
                </c:pt>
                <c:pt idx="430">
                  <c:v>2.8123999999999998</c:v>
                </c:pt>
                <c:pt idx="431">
                  <c:v>1.4800500000000001</c:v>
                </c:pt>
                <c:pt idx="432">
                  <c:v>3.9411900000000002</c:v>
                </c:pt>
                <c:pt idx="433">
                  <c:v>0.67013999999999996</c:v>
                </c:pt>
                <c:pt idx="434">
                  <c:v>0.91356000000000004</c:v>
                </c:pt>
                <c:pt idx="435">
                  <c:v>1.8229500000000001</c:v>
                </c:pt>
                <c:pt idx="436">
                  <c:v>0.41830000000000001</c:v>
                </c:pt>
                <c:pt idx="437">
                  <c:v>2.9586899999999998</c:v>
                </c:pt>
                <c:pt idx="438">
                  <c:v>8.0259999999999998E-2</c:v>
                </c:pt>
                <c:pt idx="439">
                  <c:v>0.16516</c:v>
                </c:pt>
                <c:pt idx="440">
                  <c:v>0.50616000000000005</c:v>
                </c:pt>
                <c:pt idx="441">
                  <c:v>3.9371200000000002</c:v>
                </c:pt>
                <c:pt idx="442">
                  <c:v>0.61126000000000003</c:v>
                </c:pt>
                <c:pt idx="443">
                  <c:v>0.18332000000000001</c:v>
                </c:pt>
                <c:pt idx="444">
                  <c:v>1.7966200000000001</c:v>
                </c:pt>
                <c:pt idx="445">
                  <c:v>0.60116000000000003</c:v>
                </c:pt>
                <c:pt idx="446">
                  <c:v>1.2815399999999999</c:v>
                </c:pt>
                <c:pt idx="447">
                  <c:v>0.16392000000000001</c:v>
                </c:pt>
                <c:pt idx="448">
                  <c:v>11.3675</c:v>
                </c:pt>
                <c:pt idx="449">
                  <c:v>0.45159999999999995</c:v>
                </c:pt>
                <c:pt idx="450">
                  <c:v>2.1576</c:v>
                </c:pt>
                <c:pt idx="451">
                  <c:v>2.24064</c:v>
                </c:pt>
                <c:pt idx="452">
                  <c:v>0.32221</c:v>
                </c:pt>
                <c:pt idx="453">
                  <c:v>3.1312199999999999</c:v>
                </c:pt>
                <c:pt idx="454">
                  <c:v>0.14036999999999999</c:v>
                </c:pt>
                <c:pt idx="455">
                  <c:v>0.55620000000000003</c:v>
                </c:pt>
                <c:pt idx="456">
                  <c:v>0.61190999999999995</c:v>
                </c:pt>
                <c:pt idx="457">
                  <c:v>0.80406</c:v>
                </c:pt>
                <c:pt idx="458">
                  <c:v>1.3347</c:v>
                </c:pt>
                <c:pt idx="459">
                  <c:v>4.1163499999999997</c:v>
                </c:pt>
                <c:pt idx="460">
                  <c:v>1.2668999999999999</c:v>
                </c:pt>
                <c:pt idx="461">
                  <c:v>6.6239999999999997</c:v>
                </c:pt>
                <c:pt idx="462">
                  <c:v>8.1040000000000001E-2</c:v>
                </c:pt>
                <c:pt idx="463">
                  <c:v>0.1638</c:v>
                </c:pt>
                <c:pt idx="464">
                  <c:v>4.1200000000000001E-2</c:v>
                </c:pt>
                <c:pt idx="465">
                  <c:v>0.20519999999999999</c:v>
                </c:pt>
                <c:pt idx="466">
                  <c:v>0.90794000000000008</c:v>
                </c:pt>
                <c:pt idx="467">
                  <c:v>8.0500000000000002E-2</c:v>
                </c:pt>
                <c:pt idx="468">
                  <c:v>0.45251999999999998</c:v>
                </c:pt>
                <c:pt idx="469">
                  <c:v>0.50469999999999993</c:v>
                </c:pt>
                <c:pt idx="470">
                  <c:v>0.50484000000000007</c:v>
                </c:pt>
                <c:pt idx="471">
                  <c:v>0.46878000000000009</c:v>
                </c:pt>
                <c:pt idx="472">
                  <c:v>0.72009999999999996</c:v>
                </c:pt>
                <c:pt idx="473">
                  <c:v>5.6391999999999998</c:v>
                </c:pt>
                <c:pt idx="474">
                  <c:v>1.1289</c:v>
                </c:pt>
                <c:pt idx="475">
                  <c:v>1.28799</c:v>
                </c:pt>
                <c:pt idx="476">
                  <c:v>0.89585000000000015</c:v>
                </c:pt>
                <c:pt idx="477">
                  <c:v>0.61470000000000002</c:v>
                </c:pt>
                <c:pt idx="478">
                  <c:v>1.5530600000000001</c:v>
                </c:pt>
                <c:pt idx="479">
                  <c:v>0.16108</c:v>
                </c:pt>
                <c:pt idx="480">
                  <c:v>0.88997999999999999</c:v>
                </c:pt>
                <c:pt idx="481">
                  <c:v>0.11993999999999999</c:v>
                </c:pt>
                <c:pt idx="482">
                  <c:v>0.64671999999999996</c:v>
                </c:pt>
                <c:pt idx="483">
                  <c:v>0.44318999999999997</c:v>
                </c:pt>
                <c:pt idx="484">
                  <c:v>0.31888</c:v>
                </c:pt>
                <c:pt idx="485">
                  <c:v>12.76872</c:v>
                </c:pt>
                <c:pt idx="486">
                  <c:v>2.3330600000000001</c:v>
                </c:pt>
                <c:pt idx="487">
                  <c:v>10.73</c:v>
                </c:pt>
                <c:pt idx="488">
                  <c:v>1.79399</c:v>
                </c:pt>
                <c:pt idx="489">
                  <c:v>0.96625000000000005</c:v>
                </c:pt>
                <c:pt idx="490">
                  <c:v>3.9603500000000005</c:v>
                </c:pt>
                <c:pt idx="491">
                  <c:v>15.521550000000001</c:v>
                </c:pt>
                <c:pt idx="492">
                  <c:v>2.0276999999999998</c:v>
                </c:pt>
                <c:pt idx="493">
                  <c:v>3.6047999999999996</c:v>
                </c:pt>
                <c:pt idx="494">
                  <c:v>5.83575</c:v>
                </c:pt>
                <c:pt idx="495">
                  <c:v>3.5374000000000003</c:v>
                </c:pt>
                <c:pt idx="496">
                  <c:v>1.6830000000000001</c:v>
                </c:pt>
                <c:pt idx="497">
                  <c:v>4.0121000000000002</c:v>
                </c:pt>
                <c:pt idx="498">
                  <c:v>1.54365</c:v>
                </c:pt>
                <c:pt idx="499">
                  <c:v>2.0871</c:v>
                </c:pt>
                <c:pt idx="500">
                  <c:v>1.2367999999999999</c:v>
                </c:pt>
                <c:pt idx="501">
                  <c:v>0.82215000000000005</c:v>
                </c:pt>
                <c:pt idx="502">
                  <c:v>7.6072499999999996</c:v>
                </c:pt>
                <c:pt idx="503">
                  <c:v>2.1677</c:v>
                </c:pt>
                <c:pt idx="504">
                  <c:v>10.152799999999999</c:v>
                </c:pt>
                <c:pt idx="505">
                  <c:v>5.0955000000000004</c:v>
                </c:pt>
                <c:pt idx="506">
                  <c:v>2.6032500000000001</c:v>
                </c:pt>
                <c:pt idx="507">
                  <c:v>5.0437500000000002</c:v>
                </c:pt>
                <c:pt idx="508">
                  <c:v>1.6953499999999999</c:v>
                </c:pt>
                <c:pt idx="509">
                  <c:v>1.4958</c:v>
                </c:pt>
                <c:pt idx="510">
                  <c:v>3.2185000000000001</c:v>
                </c:pt>
                <c:pt idx="511">
                  <c:v>1.0283</c:v>
                </c:pt>
                <c:pt idx="512">
                  <c:v>1.4256</c:v>
                </c:pt>
                <c:pt idx="513">
                  <c:v>2.0670000000000002</c:v>
                </c:pt>
                <c:pt idx="514">
                  <c:v>3.427</c:v>
                </c:pt>
                <c:pt idx="515">
                  <c:v>1.8625</c:v>
                </c:pt>
                <c:pt idx="516">
                  <c:v>1.7042999999999997</c:v>
                </c:pt>
                <c:pt idx="517">
                  <c:v>0.50749999999999995</c:v>
                </c:pt>
                <c:pt idx="518">
                  <c:v>3.528</c:v>
                </c:pt>
                <c:pt idx="519">
                  <c:v>1.3412500000000001</c:v>
                </c:pt>
                <c:pt idx="520">
                  <c:v>4.5202499999999999</c:v>
                </c:pt>
                <c:pt idx="521">
                  <c:v>1.4878499999999999</c:v>
                </c:pt>
                <c:pt idx="522">
                  <c:v>3.62635</c:v>
                </c:pt>
                <c:pt idx="523">
                  <c:v>2.0019999999999998</c:v>
                </c:pt>
                <c:pt idx="524">
                  <c:v>21.879000000000001</c:v>
                </c:pt>
                <c:pt idx="525">
                  <c:v>2.8601000000000001</c:v>
                </c:pt>
                <c:pt idx="526">
                  <c:v>0.98929999999999985</c:v>
                </c:pt>
                <c:pt idx="527">
                  <c:v>1.2576000000000001</c:v>
                </c:pt>
                <c:pt idx="528">
                  <c:v>3.726</c:v>
                </c:pt>
                <c:pt idx="529">
                  <c:v>19.81185</c:v>
                </c:pt>
                <c:pt idx="530">
                  <c:v>4.2746500000000003</c:v>
                </c:pt>
                <c:pt idx="531">
                  <c:v>3.16</c:v>
                </c:pt>
                <c:pt idx="532">
                  <c:v>0.11895</c:v>
                </c:pt>
                <c:pt idx="533">
                  <c:v>0.36044999999999999</c:v>
                </c:pt>
                <c:pt idx="534">
                  <c:v>0.72719999999999996</c:v>
                </c:pt>
                <c:pt idx="535">
                  <c:v>19.74465</c:v>
                </c:pt>
                <c:pt idx="536">
                  <c:v>0.19575000000000001</c:v>
                </c:pt>
                <c:pt idx="537">
                  <c:v>1.55</c:v>
                </c:pt>
                <c:pt idx="538">
                  <c:v>0.93240000000000001</c:v>
                </c:pt>
                <c:pt idx="539">
                  <c:v>2.3485</c:v>
                </c:pt>
                <c:pt idx="540">
                  <c:v>4.9124999999999996</c:v>
                </c:pt>
                <c:pt idx="541">
                  <c:v>2.3552</c:v>
                </c:pt>
                <c:pt idx="542">
                  <c:v>1.2937000000000001</c:v>
                </c:pt>
                <c:pt idx="543">
                  <c:v>1.4174</c:v>
                </c:pt>
                <c:pt idx="544">
                  <c:v>0.94250000000000012</c:v>
                </c:pt>
                <c:pt idx="545">
                  <c:v>0.70584999999999998</c:v>
                </c:pt>
                <c:pt idx="546">
                  <c:v>1.498</c:v>
                </c:pt>
                <c:pt idx="547">
                  <c:v>1.1459999999999999</c:v>
                </c:pt>
                <c:pt idx="548">
                  <c:v>2.5703999999999998</c:v>
                </c:pt>
                <c:pt idx="549">
                  <c:v>1.8793500000000001</c:v>
                </c:pt>
                <c:pt idx="550">
                  <c:v>0.95940000000000003</c:v>
                </c:pt>
                <c:pt idx="551">
                  <c:v>0.57999999999999996</c:v>
                </c:pt>
                <c:pt idx="552">
                  <c:v>25.546800000000001</c:v>
                </c:pt>
                <c:pt idx="553">
                  <c:v>3.6802499999999996</c:v>
                </c:pt>
                <c:pt idx="554">
                  <c:v>20.532150000000001</c:v>
                </c:pt>
                <c:pt idx="555">
                  <c:v>3.8472</c:v>
                </c:pt>
                <c:pt idx="556">
                  <c:v>7.8823999999999996</c:v>
                </c:pt>
                <c:pt idx="557">
                  <c:v>6.6466000000000003</c:v>
                </c:pt>
                <c:pt idx="558">
                  <c:v>3.8410000000000002</c:v>
                </c:pt>
                <c:pt idx="559">
                  <c:v>4.8620000000000001</c:v>
                </c:pt>
                <c:pt idx="560">
                  <c:v>8.7709499999999991</c:v>
                </c:pt>
                <c:pt idx="561">
                  <c:v>2.2976999999999999</c:v>
                </c:pt>
                <c:pt idx="562">
                  <c:v>5.3889500000000004</c:v>
                </c:pt>
                <c:pt idx="563">
                  <c:v>11.03125</c:v>
                </c:pt>
                <c:pt idx="564">
                  <c:v>10.853199999999999</c:v>
                </c:pt>
                <c:pt idx="565">
                  <c:v>5.9340000000000002</c:v>
                </c:pt>
                <c:pt idx="566">
                  <c:v>1.7092499999999999</c:v>
                </c:pt>
                <c:pt idx="567">
                  <c:v>13.38645</c:v>
                </c:pt>
                <c:pt idx="568">
                  <c:v>4.8818000000000001</c:v>
                </c:pt>
                <c:pt idx="569">
                  <c:v>3.8917999999999999</c:v>
                </c:pt>
                <c:pt idx="570">
                  <c:v>1.2323999999999999</c:v>
                </c:pt>
                <c:pt idx="571">
                  <c:v>4.2812000000000001</c:v>
                </c:pt>
                <c:pt idx="572">
                  <c:v>8.2235999999999994</c:v>
                </c:pt>
                <c:pt idx="573">
                  <c:v>3.0894499999999998</c:v>
                </c:pt>
                <c:pt idx="574">
                  <c:v>0.69740000000000002</c:v>
                </c:pt>
                <c:pt idx="575">
                  <c:v>2.7896000000000001</c:v>
                </c:pt>
                <c:pt idx="576">
                  <c:v>1.2343500000000001</c:v>
                </c:pt>
                <c:pt idx="577">
                  <c:v>2.2391999999999999</c:v>
                </c:pt>
                <c:pt idx="578">
                  <c:v>3.024</c:v>
                </c:pt>
                <c:pt idx="579">
                  <c:v>13.237</c:v>
                </c:pt>
                <c:pt idx="580">
                  <c:v>3.8271999999999999</c:v>
                </c:pt>
                <c:pt idx="581">
                  <c:v>3.3769999999999998</c:v>
                </c:pt>
                <c:pt idx="582">
                  <c:v>21.1875</c:v>
                </c:pt>
                <c:pt idx="583">
                  <c:v>2.75</c:v>
                </c:pt>
                <c:pt idx="584">
                  <c:v>9.5630500000000005</c:v>
                </c:pt>
                <c:pt idx="585">
                  <c:v>2.1424500000000002</c:v>
                </c:pt>
                <c:pt idx="586">
                  <c:v>1.7751999999999999</c:v>
                </c:pt>
                <c:pt idx="587">
                  <c:v>2.0539999999999998</c:v>
                </c:pt>
                <c:pt idx="588">
                  <c:v>3.7945500000000001</c:v>
                </c:pt>
                <c:pt idx="589">
                  <c:v>2.1280000000000001</c:v>
                </c:pt>
                <c:pt idx="590">
                  <c:v>1.212</c:v>
                </c:pt>
                <c:pt idx="591">
                  <c:v>2.0754999999999999</c:v>
                </c:pt>
                <c:pt idx="592">
                  <c:v>0.98009999999999997</c:v>
                </c:pt>
                <c:pt idx="593">
                  <c:v>0.70679999999999998</c:v>
                </c:pt>
                <c:pt idx="594">
                  <c:v>1.4846999999999999</c:v>
                </c:pt>
                <c:pt idx="595">
                  <c:v>2.0638000000000001</c:v>
                </c:pt>
                <c:pt idx="596">
                  <c:v>1.52145</c:v>
                </c:pt>
                <c:pt idx="597">
                  <c:v>2.4453</c:v>
                </c:pt>
                <c:pt idx="598">
                  <c:v>1.65625</c:v>
                </c:pt>
                <c:pt idx="599">
                  <c:v>3.0144000000000002</c:v>
                </c:pt>
                <c:pt idx="600">
                  <c:v>3.9497</c:v>
                </c:pt>
                <c:pt idx="601">
                  <c:v>4.0544500000000001</c:v>
                </c:pt>
                <c:pt idx="602">
                  <c:v>2.8086000000000002</c:v>
                </c:pt>
                <c:pt idx="603">
                  <c:v>2.4817</c:v>
                </c:pt>
                <c:pt idx="604">
                  <c:v>1.6252500000000001</c:v>
                </c:pt>
                <c:pt idx="605">
                  <c:v>2.3574999999999999</c:v>
                </c:pt>
                <c:pt idx="606">
                  <c:v>2.5935000000000001</c:v>
                </c:pt>
                <c:pt idx="607">
                  <c:v>2.0411999999999999</c:v>
                </c:pt>
                <c:pt idx="608">
                  <c:v>1.6859999999999999</c:v>
                </c:pt>
                <c:pt idx="609">
                  <c:v>2.44035</c:v>
                </c:pt>
                <c:pt idx="610">
                  <c:v>2.0128499999999998</c:v>
                </c:pt>
                <c:pt idx="611">
                  <c:v>5.0170000000000003</c:v>
                </c:pt>
                <c:pt idx="612">
                  <c:v>11.985300000000001</c:v>
                </c:pt>
                <c:pt idx="613">
                  <c:v>5.7956500000000002</c:v>
                </c:pt>
                <c:pt idx="614">
                  <c:v>10.0283</c:v>
                </c:pt>
                <c:pt idx="615">
                  <c:v>0.82794999999999996</c:v>
                </c:pt>
                <c:pt idx="616">
                  <c:v>2.2759999999999998</c:v>
                </c:pt>
                <c:pt idx="617">
                  <c:v>2.4992000000000001</c:v>
                </c:pt>
                <c:pt idx="618">
                  <c:v>3.8525</c:v>
                </c:pt>
                <c:pt idx="619">
                  <c:v>1.99865</c:v>
                </c:pt>
                <c:pt idx="620">
                  <c:v>1.8894</c:v>
                </c:pt>
                <c:pt idx="621">
                  <c:v>4.2328000000000001</c:v>
                </c:pt>
                <c:pt idx="622">
                  <c:v>3.2602500000000001</c:v>
                </c:pt>
                <c:pt idx="623">
                  <c:v>2.5425</c:v>
                </c:pt>
                <c:pt idx="624">
                  <c:v>0.59850000000000003</c:v>
                </c:pt>
                <c:pt idx="625">
                  <c:v>2.1</c:v>
                </c:pt>
                <c:pt idx="626">
                  <c:v>1.0098</c:v>
                </c:pt>
                <c:pt idx="627">
                  <c:v>0.32615</c:v>
                </c:pt>
                <c:pt idx="628">
                  <c:v>2.6708500000000002</c:v>
                </c:pt>
                <c:pt idx="629">
                  <c:v>3.0899000000000001</c:v>
                </c:pt>
                <c:pt idx="630">
                  <c:v>1.25345</c:v>
                </c:pt>
                <c:pt idx="631">
                  <c:v>1.1446499999999999</c:v>
                </c:pt>
                <c:pt idx="632">
                  <c:v>1.6576</c:v>
                </c:pt>
                <c:pt idx="633">
                  <c:v>1.4136</c:v>
                </c:pt>
                <c:pt idx="634">
                  <c:v>0.35399999999999998</c:v>
                </c:pt>
                <c:pt idx="635">
                  <c:v>0.59799999999999998</c:v>
                </c:pt>
                <c:pt idx="636">
                  <c:v>4.0937000000000001</c:v>
                </c:pt>
                <c:pt idx="637">
                  <c:v>0.55620000000000003</c:v>
                </c:pt>
                <c:pt idx="638">
                  <c:v>0.78</c:v>
                </c:pt>
                <c:pt idx="639">
                  <c:v>0.26595000000000002</c:v>
                </c:pt>
                <c:pt idx="640">
                  <c:v>0.61529999999999996</c:v>
                </c:pt>
                <c:pt idx="641">
                  <c:v>0.69599999999999995</c:v>
                </c:pt>
                <c:pt idx="642">
                  <c:v>4.1463999999999999</c:v>
                </c:pt>
                <c:pt idx="643">
                  <c:v>4.8635999999999999</c:v>
                </c:pt>
                <c:pt idx="644">
                  <c:v>0.71875</c:v>
                </c:pt>
                <c:pt idx="645">
                  <c:v>0.40179999999999999</c:v>
                </c:pt>
                <c:pt idx="646">
                  <c:v>1.0810999999999999</c:v>
                </c:pt>
                <c:pt idx="647">
                  <c:v>1.16645</c:v>
                </c:pt>
                <c:pt idx="648">
                  <c:v>1.4898</c:v>
                </c:pt>
                <c:pt idx="649">
                  <c:v>3.5013999999999998</c:v>
                </c:pt>
                <c:pt idx="650">
                  <c:v>2.6737500000000001</c:v>
                </c:pt>
                <c:pt idx="651">
                  <c:v>9.1806000000000001</c:v>
                </c:pt>
                <c:pt idx="652">
                  <c:v>3.7311999999999999</c:v>
                </c:pt>
                <c:pt idx="653">
                  <c:v>1.17</c:v>
                </c:pt>
                <c:pt idx="654">
                  <c:v>2.0089999999999999</c:v>
                </c:pt>
                <c:pt idx="655">
                  <c:v>1.0097499999999999</c:v>
                </c:pt>
                <c:pt idx="656">
                  <c:v>2.6970000000000001</c:v>
                </c:pt>
                <c:pt idx="657">
                  <c:v>4.4550000000000001</c:v>
                </c:pt>
                <c:pt idx="658">
                  <c:v>5.6429999999999998</c:v>
                </c:pt>
                <c:pt idx="659">
                  <c:v>3.6145999999999998</c:v>
                </c:pt>
                <c:pt idx="660">
                  <c:v>2.8835500000000001</c:v>
                </c:pt>
                <c:pt idx="661">
                  <c:v>1.7923500000000001</c:v>
                </c:pt>
                <c:pt idx="662">
                  <c:v>1.6355999999999999</c:v>
                </c:pt>
                <c:pt idx="663">
                  <c:v>4.0734000000000004</c:v>
                </c:pt>
                <c:pt idx="664">
                  <c:v>2.1013999999999999</c:v>
                </c:pt>
                <c:pt idx="665">
                  <c:v>2.0350000000000001</c:v>
                </c:pt>
                <c:pt idx="666">
                  <c:v>15.838649999999999</c:v>
                </c:pt>
                <c:pt idx="667">
                  <c:v>3.5230000000000001</c:v>
                </c:pt>
                <c:pt idx="668">
                  <c:v>1.3674999999999999</c:v>
                </c:pt>
                <c:pt idx="669">
                  <c:v>2.3262999999999998</c:v>
                </c:pt>
                <c:pt idx="670">
                  <c:v>2.5602499999999999</c:v>
                </c:pt>
                <c:pt idx="671">
                  <c:v>10.187099999999999</c:v>
                </c:pt>
                <c:pt idx="672">
                  <c:v>13.273400000000001</c:v>
                </c:pt>
                <c:pt idx="673">
                  <c:v>3.9811999999999999</c:v>
                </c:pt>
                <c:pt idx="674">
                  <c:v>5.1323999999999996</c:v>
                </c:pt>
                <c:pt idx="675">
                  <c:v>5.3410000000000002</c:v>
                </c:pt>
                <c:pt idx="676">
                  <c:v>8.5653000000000006</c:v>
                </c:pt>
                <c:pt idx="677">
                  <c:v>2.5520999999999998</c:v>
                </c:pt>
                <c:pt idx="678">
                  <c:v>6.9494999999999996</c:v>
                </c:pt>
                <c:pt idx="679">
                  <c:v>2.1187499999999999</c:v>
                </c:pt>
                <c:pt idx="680">
                  <c:v>2.4267500000000002</c:v>
                </c:pt>
                <c:pt idx="681">
                  <c:v>1.7984</c:v>
                </c:pt>
                <c:pt idx="682">
                  <c:v>1.96315</c:v>
                </c:pt>
                <c:pt idx="683">
                  <c:v>3.19</c:v>
                </c:pt>
                <c:pt idx="684">
                  <c:v>3.645</c:v>
                </c:pt>
                <c:pt idx="685">
                  <c:v>4.3982999999999999</c:v>
                </c:pt>
                <c:pt idx="686">
                  <c:v>3.9802499999999998</c:v>
                </c:pt>
                <c:pt idx="687">
                  <c:v>3.7173500000000002</c:v>
                </c:pt>
                <c:pt idx="688">
                  <c:v>5.6761999999999997</c:v>
                </c:pt>
                <c:pt idx="689">
                  <c:v>1.5065999999999999</c:v>
                </c:pt>
                <c:pt idx="690">
                  <c:v>3.2422</c:v>
                </c:pt>
                <c:pt idx="691">
                  <c:v>1.5931500000000001</c:v>
                </c:pt>
                <c:pt idx="692">
                  <c:v>5.50875</c:v>
                </c:pt>
                <c:pt idx="693">
                  <c:v>1.61025</c:v>
                </c:pt>
                <c:pt idx="694">
                  <c:v>1.39</c:v>
                </c:pt>
                <c:pt idx="695">
                  <c:v>0.91410000000000002</c:v>
                </c:pt>
                <c:pt idx="696">
                  <c:v>0.55300000000000005</c:v>
                </c:pt>
                <c:pt idx="697">
                  <c:v>2.1200999999999999</c:v>
                </c:pt>
                <c:pt idx="698">
                  <c:v>1.6358999999999999</c:v>
                </c:pt>
                <c:pt idx="699">
                  <c:v>1.4025000000000001</c:v>
                </c:pt>
                <c:pt idx="700">
                  <c:v>6.8807999999999998</c:v>
                </c:pt>
                <c:pt idx="701">
                  <c:v>5.63</c:v>
                </c:pt>
                <c:pt idx="702">
                  <c:v>0.92730000000000001</c:v>
                </c:pt>
                <c:pt idx="703">
                  <c:v>0.72929999999999995</c:v>
                </c:pt>
                <c:pt idx="704">
                  <c:v>1.7415499999999999</c:v>
                </c:pt>
                <c:pt idx="705">
                  <c:v>7.0964999999999998</c:v>
                </c:pt>
                <c:pt idx="706">
                  <c:v>3.9615</c:v>
                </c:pt>
                <c:pt idx="707">
                  <c:v>1.32775</c:v>
                </c:pt>
                <c:pt idx="708">
                  <c:v>2.5616500000000002</c:v>
                </c:pt>
                <c:pt idx="709">
                  <c:v>6.7397</c:v>
                </c:pt>
                <c:pt idx="710">
                  <c:v>8.8711000000000002</c:v>
                </c:pt>
                <c:pt idx="711">
                  <c:v>1.2254</c:v>
                </c:pt>
                <c:pt idx="712">
                  <c:v>2.0350000000000001</c:v>
                </c:pt>
                <c:pt idx="713">
                  <c:v>2.1852999999999998</c:v>
                </c:pt>
                <c:pt idx="714">
                  <c:v>1.5196000000000001</c:v>
                </c:pt>
                <c:pt idx="715">
                  <c:v>2.444</c:v>
                </c:pt>
                <c:pt idx="716">
                  <c:v>1.21495</c:v>
                </c:pt>
                <c:pt idx="717">
                  <c:v>0.43774999999999997</c:v>
                </c:pt>
                <c:pt idx="718">
                  <c:v>3.5327999999999999</c:v>
                </c:pt>
                <c:pt idx="719">
                  <c:v>0.6734</c:v>
                </c:pt>
                <c:pt idx="720">
                  <c:v>2.02895</c:v>
                </c:pt>
                <c:pt idx="721">
                  <c:v>4.12</c:v>
                </c:pt>
                <c:pt idx="722">
                  <c:v>3.5190000000000001</c:v>
                </c:pt>
                <c:pt idx="723">
                  <c:v>7.1642999999999999</c:v>
                </c:pt>
                <c:pt idx="724">
                  <c:v>0.86975000000000002</c:v>
                </c:pt>
                <c:pt idx="725">
                  <c:v>3.9193500000000001</c:v>
                </c:pt>
                <c:pt idx="726">
                  <c:v>1.5551999999999999</c:v>
                </c:pt>
                <c:pt idx="727">
                  <c:v>5.1100500000000002</c:v>
                </c:pt>
                <c:pt idx="728">
                  <c:v>7.2956000000000003</c:v>
                </c:pt>
                <c:pt idx="729">
                  <c:v>4.5983999999999998</c:v>
                </c:pt>
                <c:pt idx="730">
                  <c:v>1.72885</c:v>
                </c:pt>
                <c:pt idx="731">
                  <c:v>4.5457999999999998</c:v>
                </c:pt>
                <c:pt idx="732">
                  <c:v>3.9673999999999996</c:v>
                </c:pt>
                <c:pt idx="733">
                  <c:v>4.9144500000000004</c:v>
                </c:pt>
                <c:pt idx="734">
                  <c:v>10.5456</c:v>
                </c:pt>
                <c:pt idx="735">
                  <c:v>2.9367000000000001</c:v>
                </c:pt>
                <c:pt idx="736">
                  <c:v>5.6166</c:v>
                </c:pt>
                <c:pt idx="737">
                  <c:v>4.1164000000000005</c:v>
                </c:pt>
                <c:pt idx="738">
                  <c:v>2.4395500000000001</c:v>
                </c:pt>
                <c:pt idx="739">
                  <c:v>5.8789499999999997</c:v>
                </c:pt>
                <c:pt idx="740">
                  <c:v>1.2250000000000001</c:v>
                </c:pt>
                <c:pt idx="741">
                  <c:v>4.1580000000000004</c:v>
                </c:pt>
                <c:pt idx="742">
                  <c:v>6.8834499999999998</c:v>
                </c:pt>
                <c:pt idx="743">
                  <c:v>5.1380999999999997</c:v>
                </c:pt>
                <c:pt idx="744">
                  <c:v>6.0406500000000003</c:v>
                </c:pt>
                <c:pt idx="745">
                  <c:v>7.0484</c:v>
                </c:pt>
                <c:pt idx="746">
                  <c:v>2.7457500000000001</c:v>
                </c:pt>
                <c:pt idx="747">
                  <c:v>7.3079999999999998</c:v>
                </c:pt>
                <c:pt idx="748">
                  <c:v>2.7142499999999998</c:v>
                </c:pt>
                <c:pt idx="749">
                  <c:v>1.5890500000000001</c:v>
                </c:pt>
                <c:pt idx="750">
                  <c:v>1.7051499999999999</c:v>
                </c:pt>
                <c:pt idx="751">
                  <c:v>1.26</c:v>
                </c:pt>
                <c:pt idx="752">
                  <c:v>5.2290000000000001</c:v>
                </c:pt>
                <c:pt idx="753">
                  <c:v>6.125</c:v>
                </c:pt>
                <c:pt idx="754">
                  <c:v>2.4977499999999999</c:v>
                </c:pt>
                <c:pt idx="755">
                  <c:v>5.30565</c:v>
                </c:pt>
                <c:pt idx="756">
                  <c:v>3.0070000000000001</c:v>
                </c:pt>
                <c:pt idx="757">
                  <c:v>3.645</c:v>
                </c:pt>
                <c:pt idx="758">
                  <c:v>1.7665999999999999</c:v>
                </c:pt>
                <c:pt idx="759">
                  <c:v>3.2227000000000001</c:v>
                </c:pt>
                <c:pt idx="760">
                  <c:v>5.6882000000000001</c:v>
                </c:pt>
                <c:pt idx="761">
                  <c:v>4.4081999999999999</c:v>
                </c:pt>
                <c:pt idx="762">
                  <c:v>4.9058999999999999</c:v>
                </c:pt>
                <c:pt idx="763">
                  <c:v>7.0214999999999996</c:v>
                </c:pt>
                <c:pt idx="764">
                  <c:v>3.9990000000000001</c:v>
                </c:pt>
                <c:pt idx="765">
                  <c:v>2.9927999999999999</c:v>
                </c:pt>
                <c:pt idx="766">
                  <c:v>6.3549499999999997</c:v>
                </c:pt>
                <c:pt idx="767">
                  <c:v>4.1150999999999991</c:v>
                </c:pt>
                <c:pt idx="768">
                  <c:v>11.28105</c:v>
                </c:pt>
                <c:pt idx="769">
                  <c:v>1.9278</c:v>
                </c:pt>
                <c:pt idx="770">
                  <c:v>2.99085</c:v>
                </c:pt>
                <c:pt idx="771">
                  <c:v>3.2993999999999999</c:v>
                </c:pt>
                <c:pt idx="772">
                  <c:v>7.9282500000000002</c:v>
                </c:pt>
                <c:pt idx="773">
                  <c:v>4.2210000000000001</c:v>
                </c:pt>
                <c:pt idx="774">
                  <c:v>2.335</c:v>
                </c:pt>
                <c:pt idx="775">
                  <c:v>1.3688</c:v>
                </c:pt>
                <c:pt idx="776">
                  <c:v>6.2244000000000002</c:v>
                </c:pt>
                <c:pt idx="777">
                  <c:v>7.1744000000000003</c:v>
                </c:pt>
                <c:pt idx="778">
                  <c:v>4.6295000000000002</c:v>
                </c:pt>
                <c:pt idx="779">
                  <c:v>3.6425999999999998</c:v>
                </c:pt>
                <c:pt idx="780">
                  <c:v>2.8193000000000001</c:v>
                </c:pt>
                <c:pt idx="781">
                  <c:v>3.262</c:v>
                </c:pt>
                <c:pt idx="782">
                  <c:v>7.4720000000000004</c:v>
                </c:pt>
                <c:pt idx="783">
                  <c:v>3.2305000000000001</c:v>
                </c:pt>
                <c:pt idx="784">
                  <c:v>8.5879999999999992</c:v>
                </c:pt>
                <c:pt idx="785">
                  <c:v>6.4067999999999996</c:v>
                </c:pt>
                <c:pt idx="786">
                  <c:v>14.423500000000001</c:v>
                </c:pt>
                <c:pt idx="787">
                  <c:v>23.420100000000001</c:v>
                </c:pt>
                <c:pt idx="788">
                  <c:v>3.5255999999999998</c:v>
                </c:pt>
                <c:pt idx="789">
                  <c:v>6.1154999999999999</c:v>
                </c:pt>
                <c:pt idx="790">
                  <c:v>7.7452500000000004</c:v>
                </c:pt>
                <c:pt idx="791">
                  <c:v>9.7424999999999997</c:v>
                </c:pt>
                <c:pt idx="792">
                  <c:v>10.8796</c:v>
                </c:pt>
                <c:pt idx="793">
                  <c:v>6.6974999999999998</c:v>
                </c:pt>
                <c:pt idx="794">
                  <c:v>5.7329999999999997</c:v>
                </c:pt>
                <c:pt idx="795">
                  <c:v>8.6979000000000006</c:v>
                </c:pt>
                <c:pt idx="796">
                  <c:v>9.4405000000000001</c:v>
                </c:pt>
                <c:pt idx="797">
                  <c:v>6.2009999999999996</c:v>
                </c:pt>
                <c:pt idx="798">
                  <c:v>6.6920000000000002</c:v>
                </c:pt>
                <c:pt idx="799">
                  <c:v>11.74845</c:v>
                </c:pt>
                <c:pt idx="800">
                  <c:v>12.051600000000001</c:v>
                </c:pt>
                <c:pt idx="801">
                  <c:v>10.4023</c:v>
                </c:pt>
                <c:pt idx="802">
                  <c:v>11.78335</c:v>
                </c:pt>
                <c:pt idx="803">
                  <c:v>6.8427499999999997</c:v>
                </c:pt>
                <c:pt idx="804">
                  <c:v>25.089749999999999</c:v>
                </c:pt>
                <c:pt idx="805">
                  <c:v>28.523399999999999</c:v>
                </c:pt>
                <c:pt idx="806">
                  <c:v>61.8767</c:v>
                </c:pt>
                <c:pt idx="807">
                  <c:v>57.130699999999997</c:v>
                </c:pt>
                <c:pt idx="808">
                  <c:v>29.0532</c:v>
                </c:pt>
                <c:pt idx="809">
                  <c:v>11.57915</c:v>
                </c:pt>
                <c:pt idx="810">
                  <c:v>19.2225</c:v>
                </c:pt>
                <c:pt idx="811">
                  <c:v>9.9635999999999996</c:v>
                </c:pt>
                <c:pt idx="812">
                  <c:v>9.0228000000000002</c:v>
                </c:pt>
                <c:pt idx="813">
                  <c:v>9.9792000000000005</c:v>
                </c:pt>
                <c:pt idx="814">
                  <c:v>7.4542000000000002</c:v>
                </c:pt>
                <c:pt idx="815">
                  <c:v>9.8752999999999993</c:v>
                </c:pt>
                <c:pt idx="816">
                  <c:v>16.223999999999997</c:v>
                </c:pt>
                <c:pt idx="817">
                  <c:v>23.558599999999995</c:v>
                </c:pt>
                <c:pt idx="818">
                  <c:v>5.8301000000000007</c:v>
                </c:pt>
                <c:pt idx="819">
                  <c:v>147.2193</c:v>
                </c:pt>
                <c:pt idx="820">
                  <c:v>20.492999999999999</c:v>
                </c:pt>
                <c:pt idx="821">
                  <c:v>16.547799999999999</c:v>
                </c:pt>
                <c:pt idx="822">
                  <c:v>7.8052000000000001</c:v>
                </c:pt>
                <c:pt idx="823">
                  <c:v>6.0763499999999997</c:v>
                </c:pt>
                <c:pt idx="824">
                  <c:v>9.4815000000000005</c:v>
                </c:pt>
                <c:pt idx="825">
                  <c:v>13.3224</c:v>
                </c:pt>
                <c:pt idx="826">
                  <c:v>12.987449999999997</c:v>
                </c:pt>
                <c:pt idx="827">
                  <c:v>5.5854499999999989</c:v>
                </c:pt>
                <c:pt idx="828">
                  <c:v>12.772500000000001</c:v>
                </c:pt>
                <c:pt idx="829">
                  <c:v>9.3531499999999994</c:v>
                </c:pt>
                <c:pt idx="830">
                  <c:v>15.728999999999999</c:v>
                </c:pt>
                <c:pt idx="831">
                  <c:v>7.1867999999999999</c:v>
                </c:pt>
                <c:pt idx="832">
                  <c:v>6.3214499999999996</c:v>
                </c:pt>
                <c:pt idx="833">
                  <c:v>13.536099999999999</c:v>
                </c:pt>
                <c:pt idx="834">
                  <c:v>2.2347999999999999</c:v>
                </c:pt>
                <c:pt idx="835">
                  <c:v>5.1128999999999998</c:v>
                </c:pt>
                <c:pt idx="836">
                  <c:v>8.0239999999999991</c:v>
                </c:pt>
                <c:pt idx="837">
                  <c:v>12.1656</c:v>
                </c:pt>
                <c:pt idx="838">
                  <c:v>5.6661000000000001</c:v>
                </c:pt>
                <c:pt idx="839">
                  <c:v>3.8988999999999998</c:v>
                </c:pt>
                <c:pt idx="840">
                  <c:v>5.1263500000000004</c:v>
                </c:pt>
                <c:pt idx="841">
                  <c:v>6.5834999999999999</c:v>
                </c:pt>
                <c:pt idx="842">
                  <c:v>103.328</c:v>
                </c:pt>
                <c:pt idx="843">
                  <c:v>25.344999999999999</c:v>
                </c:pt>
                <c:pt idx="844">
                  <c:v>52.791599999999995</c:v>
                </c:pt>
                <c:pt idx="845">
                  <c:v>16.776000000000003</c:v>
                </c:pt>
                <c:pt idx="846">
                  <c:v>13.7309</c:v>
                </c:pt>
                <c:pt idx="847">
                  <c:v>11.214399999999999</c:v>
                </c:pt>
                <c:pt idx="848">
                  <c:v>9.9863999999999997</c:v>
                </c:pt>
                <c:pt idx="849">
                  <c:v>8.5727499999999992</c:v>
                </c:pt>
                <c:pt idx="850">
                  <c:v>6.6228999999999996</c:v>
                </c:pt>
                <c:pt idx="851">
                  <c:v>9.0595999999999997</c:v>
                </c:pt>
                <c:pt idx="852">
                  <c:v>8.1769999999999996</c:v>
                </c:pt>
                <c:pt idx="853">
                  <c:v>9.2799999999999994</c:v>
                </c:pt>
                <c:pt idx="854">
                  <c:v>10.091950000000001</c:v>
                </c:pt>
                <c:pt idx="855">
                  <c:v>8.0641999999999996</c:v>
                </c:pt>
                <c:pt idx="856">
                  <c:v>11.7782</c:v>
                </c:pt>
                <c:pt idx="857">
                  <c:v>18.559999999999999</c:v>
                </c:pt>
                <c:pt idx="858">
                  <c:v>13.481999999999999</c:v>
                </c:pt>
                <c:pt idx="859">
                  <c:v>18.279199999999999</c:v>
                </c:pt>
                <c:pt idx="860">
                  <c:v>7.7314499999999997</c:v>
                </c:pt>
                <c:pt idx="861">
                  <c:v>20.246200000000002</c:v>
                </c:pt>
                <c:pt idx="862">
                  <c:v>10.769500000000001</c:v>
                </c:pt>
                <c:pt idx="863">
                  <c:v>9.6170000000000009</c:v>
                </c:pt>
                <c:pt idx="864">
                  <c:v>15.458</c:v>
                </c:pt>
                <c:pt idx="865">
                  <c:v>3.1698</c:v>
                </c:pt>
                <c:pt idx="866">
                  <c:v>4.9984000000000002</c:v>
                </c:pt>
                <c:pt idx="867">
                  <c:v>8.3371499999999994</c:v>
                </c:pt>
                <c:pt idx="868">
                  <c:v>10.963200000000001</c:v>
                </c:pt>
                <c:pt idx="869">
                  <c:v>5.8362499999999997</c:v>
                </c:pt>
                <c:pt idx="870">
                  <c:v>10.64565</c:v>
                </c:pt>
                <c:pt idx="871">
                  <c:v>14.898</c:v>
                </c:pt>
                <c:pt idx="872">
                  <c:v>9.9641500000000001</c:v>
                </c:pt>
                <c:pt idx="873">
                  <c:v>16.53435</c:v>
                </c:pt>
                <c:pt idx="874">
                  <c:v>13.6922</c:v>
                </c:pt>
                <c:pt idx="875">
                  <c:v>7.5284000000000013</c:v>
                </c:pt>
                <c:pt idx="876">
                  <c:v>11.477550000000001</c:v>
                </c:pt>
                <c:pt idx="877">
                  <c:v>7.5637999999999987</c:v>
                </c:pt>
                <c:pt idx="878">
                  <c:v>20.027249999999999</c:v>
                </c:pt>
                <c:pt idx="879">
                  <c:v>12.092650000000003</c:v>
                </c:pt>
                <c:pt idx="880">
                  <c:v>5.7640000000000002</c:v>
                </c:pt>
                <c:pt idx="881">
                  <c:v>9.1548499999999997</c:v>
                </c:pt>
                <c:pt idx="882">
                  <c:v>12.858750000000001</c:v>
                </c:pt>
                <c:pt idx="883">
                  <c:v>21.812999999999995</c:v>
                </c:pt>
                <c:pt idx="884">
                  <c:v>23.015299999999996</c:v>
                </c:pt>
                <c:pt idx="885">
                  <c:v>17.587900000000001</c:v>
                </c:pt>
                <c:pt idx="886">
                  <c:v>13.014400000000002</c:v>
                </c:pt>
                <c:pt idx="887">
                  <c:v>18.0276</c:v>
                </c:pt>
                <c:pt idx="888">
                  <c:v>22.782499999999999</c:v>
                </c:pt>
                <c:pt idx="889">
                  <c:v>20.7043</c:v>
                </c:pt>
                <c:pt idx="890">
                  <c:v>30.051600000000001</c:v>
                </c:pt>
                <c:pt idx="891">
                  <c:v>22.8552</c:v>
                </c:pt>
                <c:pt idx="892">
                  <c:v>25.201499999999999</c:v>
                </c:pt>
                <c:pt idx="893">
                  <c:v>16.170999999999999</c:v>
                </c:pt>
                <c:pt idx="894">
                  <c:v>12.403</c:v>
                </c:pt>
                <c:pt idx="895">
                  <c:v>36.125349999999997</c:v>
                </c:pt>
                <c:pt idx="896">
                  <c:v>11.4818</c:v>
                </c:pt>
                <c:pt idx="897">
                  <c:v>31.161000000000001</c:v>
                </c:pt>
                <c:pt idx="898">
                  <c:v>23.004149999999999</c:v>
                </c:pt>
                <c:pt idx="899">
                  <c:v>48.321800000000003</c:v>
                </c:pt>
                <c:pt idx="900">
                  <c:v>45.934800000000003</c:v>
                </c:pt>
                <c:pt idx="901">
                  <c:v>34.299599999999998</c:v>
                </c:pt>
                <c:pt idx="902">
                  <c:v>16.3748</c:v>
                </c:pt>
                <c:pt idx="903">
                  <c:v>35.012599999999999</c:v>
                </c:pt>
                <c:pt idx="904">
                  <c:v>9.5777999999999999</c:v>
                </c:pt>
                <c:pt idx="905">
                  <c:v>7.7850999999999999</c:v>
                </c:pt>
                <c:pt idx="906">
                  <c:v>14.8346</c:v>
                </c:pt>
                <c:pt idx="907">
                  <c:v>12.163349999999999</c:v>
                </c:pt>
                <c:pt idx="908">
                  <c:v>17.994900000000001</c:v>
                </c:pt>
                <c:pt idx="909">
                  <c:v>18.009</c:v>
                </c:pt>
                <c:pt idx="910">
                  <c:v>15.9512</c:v>
                </c:pt>
                <c:pt idx="911">
                  <c:v>13.6922</c:v>
                </c:pt>
                <c:pt idx="912">
                  <c:v>14.48325</c:v>
                </c:pt>
                <c:pt idx="913">
                  <c:v>16.943249999999999</c:v>
                </c:pt>
                <c:pt idx="914">
                  <c:v>16.378499999999999</c:v>
                </c:pt>
                <c:pt idx="915">
                  <c:v>22.851849999999999</c:v>
                </c:pt>
                <c:pt idx="916">
                  <c:v>23.068999999999999</c:v>
                </c:pt>
                <c:pt idx="917">
                  <c:v>31.7088</c:v>
                </c:pt>
                <c:pt idx="918">
                  <c:v>27.185199999999998</c:v>
                </c:pt>
                <c:pt idx="919">
                  <c:v>20.562000000000001</c:v>
                </c:pt>
                <c:pt idx="920">
                  <c:v>18.586950000000002</c:v>
                </c:pt>
                <c:pt idx="921">
                  <c:v>19.73705</c:v>
                </c:pt>
                <c:pt idx="922">
                  <c:v>37.920200000000001</c:v>
                </c:pt>
                <c:pt idx="923">
                  <c:v>34.622199999999999</c:v>
                </c:pt>
                <c:pt idx="924">
                  <c:v>22.141349999999999</c:v>
                </c:pt>
                <c:pt idx="925">
                  <c:v>19.488</c:v>
                </c:pt>
                <c:pt idx="926">
                  <c:v>35.153100000000002</c:v>
                </c:pt>
                <c:pt idx="927">
                  <c:v>41.335099999999997</c:v>
                </c:pt>
                <c:pt idx="928">
                  <c:v>34.607999999999997</c:v>
                </c:pt>
                <c:pt idx="929">
                  <c:v>23.3523</c:v>
                </c:pt>
                <c:pt idx="930">
                  <c:v>17.183450000000001</c:v>
                </c:pt>
                <c:pt idx="931">
                  <c:v>18.803249999999998</c:v>
                </c:pt>
                <c:pt idx="932">
                  <c:v>30.152999999999999</c:v>
                </c:pt>
                <c:pt idx="933">
                  <c:v>65.126999999999995</c:v>
                </c:pt>
                <c:pt idx="934">
                  <c:v>24.913499999999999</c:v>
                </c:pt>
                <c:pt idx="935">
                  <c:v>21.9221</c:v>
                </c:pt>
                <c:pt idx="936">
                  <c:v>20.059349999999998</c:v>
                </c:pt>
                <c:pt idx="937">
                  <c:v>19.269600000000001</c:v>
                </c:pt>
                <c:pt idx="938">
                  <c:v>20.133749999999999</c:v>
                </c:pt>
                <c:pt idx="939">
                  <c:v>16.494800000000001</c:v>
                </c:pt>
                <c:pt idx="940">
                  <c:v>9.7920999999999996</c:v>
                </c:pt>
                <c:pt idx="941">
                  <c:v>29.72025</c:v>
                </c:pt>
                <c:pt idx="942">
                  <c:v>22.5502</c:v>
                </c:pt>
                <c:pt idx="943">
                  <c:v>20.600449999999999</c:v>
                </c:pt>
                <c:pt idx="944">
                  <c:v>15.794</c:v>
                </c:pt>
                <c:pt idx="945">
                  <c:v>28.166250000000002</c:v>
                </c:pt>
                <c:pt idx="946">
                  <c:v>20.2986</c:v>
                </c:pt>
                <c:pt idx="947">
                  <c:v>14.9688</c:v>
                </c:pt>
                <c:pt idx="948">
                  <c:v>11.7776</c:v>
                </c:pt>
                <c:pt idx="949">
                  <c:v>25.27665</c:v>
                </c:pt>
                <c:pt idx="950">
                  <c:v>58.512300000000003</c:v>
                </c:pt>
                <c:pt idx="951">
                  <c:v>20.662500000000001</c:v>
                </c:pt>
                <c:pt idx="952">
                  <c:v>26.479199999999999</c:v>
                </c:pt>
                <c:pt idx="953">
                  <c:v>18.689550000000001</c:v>
                </c:pt>
                <c:pt idx="954">
                  <c:v>18.303999999999998</c:v>
                </c:pt>
                <c:pt idx="955">
                  <c:v>43.171500000000002</c:v>
                </c:pt>
                <c:pt idx="956">
                  <c:v>25.72635</c:v>
                </c:pt>
                <c:pt idx="957">
                  <c:v>19.389500000000002</c:v>
                </c:pt>
                <c:pt idx="958">
                  <c:v>22.334250000000001</c:v>
                </c:pt>
                <c:pt idx="959">
                  <c:v>20.97625</c:v>
                </c:pt>
                <c:pt idx="960">
                  <c:v>27.288900000000002</c:v>
                </c:pt>
                <c:pt idx="961">
                  <c:v>18.533100000000001</c:v>
                </c:pt>
                <c:pt idx="962">
                  <c:v>13.192</c:v>
                </c:pt>
                <c:pt idx="963">
                  <c:v>7.1877000000000004</c:v>
                </c:pt>
                <c:pt idx="964">
                  <c:v>14.9322</c:v>
                </c:pt>
                <c:pt idx="965">
                  <c:v>11.736000000000001</c:v>
                </c:pt>
                <c:pt idx="966">
                  <c:v>11.122999999999999</c:v>
                </c:pt>
                <c:pt idx="967">
                  <c:v>10.7415</c:v>
                </c:pt>
                <c:pt idx="968">
                  <c:v>30.747499999999999</c:v>
                </c:pt>
                <c:pt idx="969">
                  <c:v>33.273449999999997</c:v>
                </c:pt>
                <c:pt idx="970">
                  <c:v>15.2859</c:v>
                </c:pt>
                <c:pt idx="971">
                  <c:v>7.5095999999999998</c:v>
                </c:pt>
                <c:pt idx="972">
                  <c:v>11.8131</c:v>
                </c:pt>
                <c:pt idx="973">
                  <c:v>29.066749999999999</c:v>
                </c:pt>
                <c:pt idx="974">
                  <c:v>21.154399999999999</c:v>
                </c:pt>
                <c:pt idx="975">
                  <c:v>19.747</c:v>
                </c:pt>
                <c:pt idx="976">
                  <c:v>11.0495</c:v>
                </c:pt>
                <c:pt idx="977">
                  <c:v>24.034199999999998</c:v>
                </c:pt>
                <c:pt idx="978">
                  <c:v>22.880600000000001</c:v>
                </c:pt>
                <c:pt idx="979">
                  <c:v>29.5002</c:v>
                </c:pt>
                <c:pt idx="980">
                  <c:v>31.785599999999995</c:v>
                </c:pt>
                <c:pt idx="981">
                  <c:v>28.660350000000001</c:v>
                </c:pt>
                <c:pt idx="982">
                  <c:v>17.253599999999999</c:v>
                </c:pt>
                <c:pt idx="983">
                  <c:v>23.246400000000001</c:v>
                </c:pt>
                <c:pt idx="984">
                  <c:v>33.415199999999999</c:v>
                </c:pt>
                <c:pt idx="985">
                  <c:v>17.408750000000001</c:v>
                </c:pt>
                <c:pt idx="986">
                  <c:v>17.7987</c:v>
                </c:pt>
                <c:pt idx="987">
                  <c:v>16.965</c:v>
                </c:pt>
                <c:pt idx="988">
                  <c:v>32.549999999999997</c:v>
                </c:pt>
                <c:pt idx="989">
                  <c:v>27.911000000000001</c:v>
                </c:pt>
                <c:pt idx="990">
                  <c:v>37.241</c:v>
                </c:pt>
                <c:pt idx="991">
                  <c:v>44.9848</c:v>
                </c:pt>
                <c:pt idx="992">
                  <c:v>32.282249999999998</c:v>
                </c:pt>
                <c:pt idx="993">
                  <c:v>39.40025</c:v>
                </c:pt>
                <c:pt idx="994">
                  <c:v>22.388999999999999</c:v>
                </c:pt>
                <c:pt idx="995">
                  <c:v>27.7514</c:v>
                </c:pt>
                <c:pt idx="996">
                  <c:v>27.284400000000002</c:v>
                </c:pt>
                <c:pt idx="997">
                  <c:v>19.60605</c:v>
                </c:pt>
                <c:pt idx="998">
                  <c:v>16.471500000000002</c:v>
                </c:pt>
                <c:pt idx="999">
                  <c:v>44.095999999999997</c:v>
                </c:pt>
                <c:pt idx="1000">
                  <c:v>67.918199999999999</c:v>
                </c:pt>
                <c:pt idx="1001">
                  <c:v>25.908750000000001</c:v>
                </c:pt>
                <c:pt idx="1002">
                  <c:v>5.8235999999999999</c:v>
                </c:pt>
                <c:pt idx="1003">
                  <c:v>20.973749999999999</c:v>
                </c:pt>
                <c:pt idx="1004">
                  <c:v>37.557000000000002</c:v>
                </c:pt>
                <c:pt idx="1005">
                  <c:v>33.005699999999997</c:v>
                </c:pt>
                <c:pt idx="1006">
                  <c:v>58.979649999999999</c:v>
                </c:pt>
                <c:pt idx="1007">
                  <c:v>97.486400000000003</c:v>
                </c:pt>
                <c:pt idx="1008">
                  <c:v>73.875200000000007</c:v>
                </c:pt>
                <c:pt idx="1009">
                  <c:v>54.814999999999998</c:v>
                </c:pt>
                <c:pt idx="1010">
                  <c:v>28.7364</c:v>
                </c:pt>
                <c:pt idx="1011">
                  <c:v>36.815399999999997</c:v>
                </c:pt>
                <c:pt idx="1012">
                  <c:v>64.417150000000007</c:v>
                </c:pt>
                <c:pt idx="1013">
                  <c:v>48.37735</c:v>
                </c:pt>
                <c:pt idx="1014">
                  <c:v>27.831299999999999</c:v>
                </c:pt>
                <c:pt idx="1015">
                  <c:v>51.555050000000001</c:v>
                </c:pt>
                <c:pt idx="1016">
                  <c:v>63.925949999999993</c:v>
                </c:pt>
                <c:pt idx="1017">
                  <c:v>39.728850000000001</c:v>
                </c:pt>
                <c:pt idx="1018">
                  <c:v>69.777500000000003</c:v>
                </c:pt>
                <c:pt idx="1019">
                  <c:v>73.004800000000003</c:v>
                </c:pt>
                <c:pt idx="1020">
                  <c:v>52.320399999999999</c:v>
                </c:pt>
                <c:pt idx="1021">
                  <c:v>26.601600000000001</c:v>
                </c:pt>
                <c:pt idx="1022">
                  <c:v>66.18419999999999</c:v>
                </c:pt>
                <c:pt idx="1023">
                  <c:v>95.519199999999998</c:v>
                </c:pt>
                <c:pt idx="1024">
                  <c:v>34.067999999999998</c:v>
                </c:pt>
                <c:pt idx="1025">
                  <c:v>59.776249999999997</c:v>
                </c:pt>
                <c:pt idx="1026">
                  <c:v>50.576000000000001</c:v>
                </c:pt>
                <c:pt idx="1027">
                  <c:v>39.213900000000002</c:v>
                </c:pt>
                <c:pt idx="1028">
                  <c:v>35.335650000000001</c:v>
                </c:pt>
                <c:pt idx="1029">
                  <c:v>35.134799999999998</c:v>
                </c:pt>
                <c:pt idx="1030">
                  <c:v>290.02850000000001</c:v>
                </c:pt>
                <c:pt idx="1031">
                  <c:v>32.268999999999998</c:v>
                </c:pt>
                <c:pt idx="1032">
                  <c:v>32.117699999999999</c:v>
                </c:pt>
                <c:pt idx="1033">
                  <c:v>30.038400000000003</c:v>
                </c:pt>
                <c:pt idx="1034">
                  <c:v>22.153600000000001</c:v>
                </c:pt>
                <c:pt idx="1035">
                  <c:v>36.825600000000001</c:v>
                </c:pt>
                <c:pt idx="1036">
                  <c:v>24.630800000000001</c:v>
                </c:pt>
                <c:pt idx="1037">
                  <c:v>15.562200000000001</c:v>
                </c:pt>
                <c:pt idx="1038">
                  <c:v>32.46275</c:v>
                </c:pt>
                <c:pt idx="1039">
                  <c:v>26.78285</c:v>
                </c:pt>
                <c:pt idx="1040">
                  <c:v>36.160800000000002</c:v>
                </c:pt>
                <c:pt idx="1041">
                  <c:v>47.334299999999999</c:v>
                </c:pt>
                <c:pt idx="1042">
                  <c:v>49.9724</c:v>
                </c:pt>
                <c:pt idx="1043">
                  <c:v>44.214750000000002</c:v>
                </c:pt>
                <c:pt idx="1044">
                  <c:v>27.648499999999999</c:v>
                </c:pt>
                <c:pt idx="1045">
                  <c:v>22.348500000000001</c:v>
                </c:pt>
                <c:pt idx="1046">
                  <c:v>27.084399999999999</c:v>
                </c:pt>
                <c:pt idx="1047">
                  <c:v>30.150500000000001</c:v>
                </c:pt>
                <c:pt idx="1048">
                  <c:v>48.451099999999997</c:v>
                </c:pt>
                <c:pt idx="1049">
                  <c:v>79.531700000000001</c:v>
                </c:pt>
                <c:pt idx="1050">
                  <c:v>21.223050000000001</c:v>
                </c:pt>
                <c:pt idx="1051">
                  <c:v>66.06</c:v>
                </c:pt>
                <c:pt idx="1052">
                  <c:v>85.186000000000007</c:v>
                </c:pt>
                <c:pt idx="1053">
                  <c:v>50.753999999999998</c:v>
                </c:pt>
                <c:pt idx="1054">
                  <c:v>37.519449999999999</c:v>
                </c:pt>
                <c:pt idx="1055">
                  <c:v>41.863500000000002</c:v>
                </c:pt>
                <c:pt idx="1056">
                  <c:v>44.159149999999997</c:v>
                </c:pt>
                <c:pt idx="1057">
                  <c:v>48.234450000000002</c:v>
                </c:pt>
                <c:pt idx="1058">
                  <c:v>37.000999999999998</c:v>
                </c:pt>
                <c:pt idx="1059">
                  <c:v>65.688149999999993</c:v>
                </c:pt>
                <c:pt idx="1060">
                  <c:v>30.744199999999996</c:v>
                </c:pt>
                <c:pt idx="1061">
                  <c:v>33.734250000000003</c:v>
                </c:pt>
                <c:pt idx="1062">
                  <c:v>44.055900000000001</c:v>
                </c:pt>
                <c:pt idx="1063">
                  <c:v>46.427999999999997</c:v>
                </c:pt>
                <c:pt idx="1064">
                  <c:v>59.918399999999998</c:v>
                </c:pt>
                <c:pt idx="1065">
                  <c:v>28.4876</c:v>
                </c:pt>
                <c:pt idx="1066">
                  <c:v>43.023600000000002</c:v>
                </c:pt>
                <c:pt idx="1067">
                  <c:v>30.983699999999999</c:v>
                </c:pt>
                <c:pt idx="1068">
                  <c:v>84.68835</c:v>
                </c:pt>
                <c:pt idx="1069">
                  <c:v>88.307000000000002</c:v>
                </c:pt>
                <c:pt idx="1070">
                  <c:v>51.338999999999999</c:v>
                </c:pt>
                <c:pt idx="1071">
                  <c:v>59.445749999999997</c:v>
                </c:pt>
                <c:pt idx="1072">
                  <c:v>42.525599999999997</c:v>
                </c:pt>
                <c:pt idx="1073">
                  <c:v>23.159500000000001</c:v>
                </c:pt>
                <c:pt idx="1074">
                  <c:v>50.888599999999997</c:v>
                </c:pt>
                <c:pt idx="1075">
                  <c:v>23.301600000000001</c:v>
                </c:pt>
                <c:pt idx="1076">
                  <c:v>39.172499999999999</c:v>
                </c:pt>
                <c:pt idx="1077">
                  <c:v>31.337599999999995</c:v>
                </c:pt>
                <c:pt idx="1078">
                  <c:v>25.819749999999999</c:v>
                </c:pt>
                <c:pt idx="1079">
                  <c:v>37.5458</c:v>
                </c:pt>
                <c:pt idx="1080">
                  <c:v>53.572499999999998</c:v>
                </c:pt>
                <c:pt idx="1081">
                  <c:v>69.286349999999999</c:v>
                </c:pt>
                <c:pt idx="1082">
                  <c:v>26.506799999999998</c:v>
                </c:pt>
                <c:pt idx="1083">
                  <c:v>48.198300000000003</c:v>
                </c:pt>
                <c:pt idx="1084">
                  <c:v>26.411999999999999</c:v>
                </c:pt>
                <c:pt idx="1085">
                  <c:v>150.5889</c:v>
                </c:pt>
                <c:pt idx="1086">
                  <c:v>76.259399999999999</c:v>
                </c:pt>
                <c:pt idx="1087">
                  <c:v>119.0675</c:v>
                </c:pt>
                <c:pt idx="1088">
                  <c:v>69.696899999999999</c:v>
                </c:pt>
                <c:pt idx="1089">
                  <c:v>41.236049999999999</c:v>
                </c:pt>
                <c:pt idx="1090">
                  <c:v>54.521999999999998</c:v>
                </c:pt>
                <c:pt idx="1091">
                  <c:v>63.594849999999994</c:v>
                </c:pt>
                <c:pt idx="1092">
                  <c:v>75.47775</c:v>
                </c:pt>
                <c:pt idx="1093">
                  <c:v>32.423999999999999</c:v>
                </c:pt>
                <c:pt idx="1094">
                  <c:v>42.274999999999999</c:v>
                </c:pt>
                <c:pt idx="1095">
                  <c:v>28.594799999999999</c:v>
                </c:pt>
                <c:pt idx="1096">
                  <c:v>107.2747</c:v>
                </c:pt>
                <c:pt idx="1097">
                  <c:v>53.015050000000002</c:v>
                </c:pt>
                <c:pt idx="1098">
                  <c:v>86.695650000000001</c:v>
                </c:pt>
                <c:pt idx="1099">
                  <c:v>28.684800000000003</c:v>
                </c:pt>
                <c:pt idx="1100">
                  <c:v>35.907299999999999</c:v>
                </c:pt>
                <c:pt idx="1101">
                  <c:v>48.4253</c:v>
                </c:pt>
                <c:pt idx="1102">
                  <c:v>45.898000000000003</c:v>
                </c:pt>
                <c:pt idx="1103">
                  <c:v>82.863900000000001</c:v>
                </c:pt>
                <c:pt idx="1104">
                  <c:v>39.868400000000001</c:v>
                </c:pt>
                <c:pt idx="1105">
                  <c:v>30.307200000000002</c:v>
                </c:pt>
                <c:pt idx="1106">
                  <c:v>113.7214</c:v>
                </c:pt>
                <c:pt idx="1107">
                  <c:v>44.031599999999997</c:v>
                </c:pt>
                <c:pt idx="1108">
                  <c:v>59.676450000000003</c:v>
                </c:pt>
                <c:pt idx="1109">
                  <c:v>76.105500000000006</c:v>
                </c:pt>
                <c:pt idx="1110">
                  <c:v>54.601500000000001</c:v>
                </c:pt>
                <c:pt idx="1111">
                  <c:v>42.944299999999998</c:v>
                </c:pt>
                <c:pt idx="1112">
                  <c:v>50.119750000000003</c:v>
                </c:pt>
                <c:pt idx="1113">
                  <c:v>46.951050000000002</c:v>
                </c:pt>
                <c:pt idx="1114">
                  <c:v>47.846499999999999</c:v>
                </c:pt>
                <c:pt idx="1115">
                  <c:v>67.146600000000007</c:v>
                </c:pt>
                <c:pt idx="1116">
                  <c:v>50.714399999999998</c:v>
                </c:pt>
                <c:pt idx="1117">
                  <c:v>96.733350000000002</c:v>
                </c:pt>
                <c:pt idx="1118">
                  <c:v>80.517499999999998</c:v>
                </c:pt>
                <c:pt idx="1119">
                  <c:v>74.246700000000004</c:v>
                </c:pt>
                <c:pt idx="1120">
                  <c:v>120.62889999999999</c:v>
                </c:pt>
                <c:pt idx="1121">
                  <c:v>307.19065000000001</c:v>
                </c:pt>
                <c:pt idx="1122">
                  <c:v>218.7835</c:v>
                </c:pt>
                <c:pt idx="1123">
                  <c:v>291.29109999999997</c:v>
                </c:pt>
                <c:pt idx="1124">
                  <c:v>246.46440000000001</c:v>
                </c:pt>
                <c:pt idx="1125">
                  <c:v>103.64830000000001</c:v>
                </c:pt>
                <c:pt idx="1126">
                  <c:v>210.45535000000001</c:v>
                </c:pt>
                <c:pt idx="1127">
                  <c:v>30.834050000000001</c:v>
                </c:pt>
                <c:pt idx="1128">
                  <c:v>44.743699999999997</c:v>
                </c:pt>
                <c:pt idx="1129">
                  <c:v>33.010449999999999</c:v>
                </c:pt>
                <c:pt idx="1130">
                  <c:v>31.1112</c:v>
                </c:pt>
                <c:pt idx="1131">
                  <c:v>68.259100000000004</c:v>
                </c:pt>
                <c:pt idx="1132">
                  <c:v>66.468599999999995</c:v>
                </c:pt>
                <c:pt idx="1133">
                  <c:v>68.123350000000002</c:v>
                </c:pt>
                <c:pt idx="1134">
                  <c:v>116.8492</c:v>
                </c:pt>
                <c:pt idx="1135">
                  <c:v>77.416499999999999</c:v>
                </c:pt>
                <c:pt idx="1136">
                  <c:v>55.838500000000003</c:v>
                </c:pt>
                <c:pt idx="1137">
                  <c:v>67.964399999999998</c:v>
                </c:pt>
                <c:pt idx="1138">
                  <c:v>36.612450000000003</c:v>
                </c:pt>
                <c:pt idx="1139">
                  <c:v>40.972499999999997</c:v>
                </c:pt>
                <c:pt idx="1140">
                  <c:v>75.438000000000002</c:v>
                </c:pt>
                <c:pt idx="1141">
                  <c:v>103.77675000000001</c:v>
                </c:pt>
                <c:pt idx="1142">
                  <c:v>68.460800000000006</c:v>
                </c:pt>
                <c:pt idx="1143">
                  <c:v>82.584000000000003</c:v>
                </c:pt>
                <c:pt idx="1144">
                  <c:v>39.869500000000002</c:v>
                </c:pt>
                <c:pt idx="1145">
                  <c:v>64.961200000000005</c:v>
                </c:pt>
                <c:pt idx="1146">
                  <c:v>69.687799999999996</c:v>
                </c:pt>
                <c:pt idx="1147">
                  <c:v>64.983750000000001</c:v>
                </c:pt>
                <c:pt idx="1148">
                  <c:v>84.428399999999996</c:v>
                </c:pt>
                <c:pt idx="1149">
                  <c:v>80.041749999999993</c:v>
                </c:pt>
                <c:pt idx="1150">
                  <c:v>53.444000000000003</c:v>
                </c:pt>
                <c:pt idx="1151">
                  <c:v>33.217500000000001</c:v>
                </c:pt>
                <c:pt idx="1152">
                  <c:v>27.908999999999999</c:v>
                </c:pt>
                <c:pt idx="1153">
                  <c:v>36.8401</c:v>
                </c:pt>
                <c:pt idx="1154">
                  <c:v>57.444800000000008</c:v>
                </c:pt>
                <c:pt idx="1155">
                  <c:v>117.6682</c:v>
                </c:pt>
                <c:pt idx="1156">
                  <c:v>60.311999999999998</c:v>
                </c:pt>
                <c:pt idx="1157">
                  <c:v>35.882550000000002</c:v>
                </c:pt>
                <c:pt idx="1158">
                  <c:v>45.285550000000001</c:v>
                </c:pt>
                <c:pt idx="1159">
                  <c:v>45.764000000000003</c:v>
                </c:pt>
                <c:pt idx="1160">
                  <c:v>42.959000000000003</c:v>
                </c:pt>
                <c:pt idx="1161">
                  <c:v>43.409700000000001</c:v>
                </c:pt>
                <c:pt idx="1162">
                  <c:v>45.176400000000001</c:v>
                </c:pt>
                <c:pt idx="1163">
                  <c:v>93.658950000000004</c:v>
                </c:pt>
                <c:pt idx="1164">
                  <c:v>72.959400000000002</c:v>
                </c:pt>
                <c:pt idx="1165">
                  <c:v>31.824000000000002</c:v>
                </c:pt>
                <c:pt idx="1166">
                  <c:v>51.094800000000006</c:v>
                </c:pt>
                <c:pt idx="1167">
                  <c:v>39.506500000000003</c:v>
                </c:pt>
                <c:pt idx="1168">
                  <c:v>42.673050000000003</c:v>
                </c:pt>
                <c:pt idx="1169">
                  <c:v>44.266199999999998</c:v>
                </c:pt>
                <c:pt idx="1170">
                  <c:v>35.306399999999996</c:v>
                </c:pt>
                <c:pt idx="1171">
                  <c:v>35.998399999999997</c:v>
                </c:pt>
                <c:pt idx="1172">
                  <c:v>165.79525000000001</c:v>
                </c:pt>
                <c:pt idx="1173">
                  <c:v>41.189700000000002</c:v>
                </c:pt>
                <c:pt idx="1174">
                  <c:v>39.241199999999999</c:v>
                </c:pt>
                <c:pt idx="1175">
                  <c:v>54.718299999999999</c:v>
                </c:pt>
                <c:pt idx="1176">
                  <c:v>26.683199999999999</c:v>
                </c:pt>
                <c:pt idx="1177">
                  <c:v>22.865100000000002</c:v>
                </c:pt>
                <c:pt idx="1178">
                  <c:v>42.288400000000003</c:v>
                </c:pt>
                <c:pt idx="1179">
                  <c:v>45.3583</c:v>
                </c:pt>
                <c:pt idx="1180">
                  <c:v>43.052100000000003</c:v>
                </c:pt>
                <c:pt idx="1181">
                  <c:v>52.496000000000002</c:v>
                </c:pt>
                <c:pt idx="1182">
                  <c:v>40.662300000000002</c:v>
                </c:pt>
                <c:pt idx="1183">
                  <c:v>77.749200000000002</c:v>
                </c:pt>
                <c:pt idx="1184">
                  <c:v>30.061199999999999</c:v>
                </c:pt>
                <c:pt idx="1185">
                  <c:v>46.255299999999998</c:v>
                </c:pt>
                <c:pt idx="1186">
                  <c:v>27.962900000000001</c:v>
                </c:pt>
                <c:pt idx="1187">
                  <c:v>22.914000000000001</c:v>
                </c:pt>
                <c:pt idx="1188">
                  <c:v>38.396749999999997</c:v>
                </c:pt>
                <c:pt idx="1189">
                  <c:v>82.114750000000001</c:v>
                </c:pt>
                <c:pt idx="1190">
                  <c:v>174.95205000000001</c:v>
                </c:pt>
                <c:pt idx="1191">
                  <c:v>5.71875</c:v>
                </c:pt>
                <c:pt idx="1192">
                  <c:v>20.128900000000002</c:v>
                </c:pt>
                <c:pt idx="1193">
                  <c:v>14.97045</c:v>
                </c:pt>
                <c:pt idx="1194">
                  <c:v>32.026499999999999</c:v>
                </c:pt>
                <c:pt idx="1195">
                  <c:v>47.590449999999997</c:v>
                </c:pt>
                <c:pt idx="1196">
                  <c:v>46.214400000000005</c:v>
                </c:pt>
                <c:pt idx="1197">
                  <c:v>24.354500000000002</c:v>
                </c:pt>
                <c:pt idx="1198">
                  <c:v>47.119499999999995</c:v>
                </c:pt>
                <c:pt idx="1199">
                  <c:v>44.023099999999999</c:v>
                </c:pt>
                <c:pt idx="1200">
                  <c:v>11.416300000000001</c:v>
                </c:pt>
                <c:pt idx="1201">
                  <c:v>59.2059</c:v>
                </c:pt>
                <c:pt idx="1202">
                  <c:v>32.998699999999999</c:v>
                </c:pt>
                <c:pt idx="1203">
                  <c:v>62.762700000000002</c:v>
                </c:pt>
                <c:pt idx="1204">
                  <c:v>56.852550000000001</c:v>
                </c:pt>
                <c:pt idx="1205">
                  <c:v>30.36195</c:v>
                </c:pt>
                <c:pt idx="1206">
                  <c:v>18.513300000000001</c:v>
                </c:pt>
                <c:pt idx="1207">
                  <c:v>21.624500000000001</c:v>
                </c:pt>
                <c:pt idx="1208">
                  <c:v>51.704599999999999</c:v>
                </c:pt>
                <c:pt idx="1209">
                  <c:v>58.930300000000003</c:v>
                </c:pt>
                <c:pt idx="1210">
                  <c:v>58.088799999999999</c:v>
                </c:pt>
                <c:pt idx="1211">
                  <c:v>128.66040000000001</c:v>
                </c:pt>
                <c:pt idx="1212">
                  <c:v>56.058399999999999</c:v>
                </c:pt>
                <c:pt idx="1213">
                  <c:v>37.818100000000001</c:v>
                </c:pt>
                <c:pt idx="1214">
                  <c:v>22.573350000000001</c:v>
                </c:pt>
                <c:pt idx="1215">
                  <c:v>31.379899999999999</c:v>
                </c:pt>
                <c:pt idx="1216">
                  <c:v>24.21725</c:v>
                </c:pt>
                <c:pt idx="1217">
                  <c:v>34.894649999999999</c:v>
                </c:pt>
                <c:pt idx="1218">
                  <c:v>57.099150000000002</c:v>
                </c:pt>
                <c:pt idx="1219">
                  <c:v>44.631</c:v>
                </c:pt>
                <c:pt idx="1220">
                  <c:v>39.027850000000001</c:v>
                </c:pt>
                <c:pt idx="1221">
                  <c:v>25.045500000000001</c:v>
                </c:pt>
                <c:pt idx="1222">
                  <c:v>21.703900000000001</c:v>
                </c:pt>
                <c:pt idx="1223">
                  <c:v>28.307749999999999</c:v>
                </c:pt>
                <c:pt idx="1224">
                  <c:v>26.633600000000001</c:v>
                </c:pt>
                <c:pt idx="1225">
                  <c:v>40.048299999999998</c:v>
                </c:pt>
                <c:pt idx="1226">
                  <c:v>43.276800000000001</c:v>
                </c:pt>
                <c:pt idx="1227">
                  <c:v>34.058199999999999</c:v>
                </c:pt>
                <c:pt idx="1228">
                  <c:v>28.835999999999999</c:v>
                </c:pt>
                <c:pt idx="1229">
                  <c:v>21.735199999999999</c:v>
                </c:pt>
                <c:pt idx="1230">
                  <c:v>25.775400000000001</c:v>
                </c:pt>
                <c:pt idx="1231">
                  <c:v>26.523399999999999</c:v>
                </c:pt>
                <c:pt idx="1232">
                  <c:v>68.346249999999998</c:v>
                </c:pt>
                <c:pt idx="1233">
                  <c:v>27.644600000000001</c:v>
                </c:pt>
                <c:pt idx="1234">
                  <c:v>42.7149</c:v>
                </c:pt>
                <c:pt idx="1235">
                  <c:v>48.344999999999999</c:v>
                </c:pt>
                <c:pt idx="1236">
                  <c:v>32.427500000000002</c:v>
                </c:pt>
                <c:pt idx="1237">
                  <c:v>40.494799999999998</c:v>
                </c:pt>
                <c:pt idx="1238">
                  <c:v>41.0533</c:v>
                </c:pt>
                <c:pt idx="1239">
                  <c:v>42.365400000000001</c:v>
                </c:pt>
                <c:pt idx="1240">
                  <c:v>71.276799999999994</c:v>
                </c:pt>
                <c:pt idx="1241">
                  <c:v>84.843800000000002</c:v>
                </c:pt>
                <c:pt idx="1242">
                  <c:v>61.241999999999997</c:v>
                </c:pt>
                <c:pt idx="1243">
                  <c:v>58.747500000000002</c:v>
                </c:pt>
                <c:pt idx="1244">
                  <c:v>76.507199999999997</c:v>
                </c:pt>
                <c:pt idx="1245">
                  <c:v>50.335999999999999</c:v>
                </c:pt>
                <c:pt idx="1246">
                  <c:v>33.447600000000001</c:v>
                </c:pt>
                <c:pt idx="1247">
                  <c:v>60.8127</c:v>
                </c:pt>
                <c:pt idx="1248">
                  <c:v>57.711599999999997</c:v>
                </c:pt>
                <c:pt idx="1249">
                  <c:v>48.363</c:v>
                </c:pt>
                <c:pt idx="1250">
                  <c:v>39.971249999999998</c:v>
                </c:pt>
                <c:pt idx="1251">
                  <c:v>93.823999999999998</c:v>
                </c:pt>
                <c:pt idx="1252">
                  <c:v>60.727249999999998</c:v>
                </c:pt>
                <c:pt idx="1253">
                  <c:v>55.085549999999998</c:v>
                </c:pt>
                <c:pt idx="1254">
                  <c:v>81.531450000000007</c:v>
                </c:pt>
                <c:pt idx="1255">
                  <c:v>60.116</c:v>
                </c:pt>
                <c:pt idx="1256">
                  <c:v>64.009749999999997</c:v>
                </c:pt>
                <c:pt idx="1257">
                  <c:v>60.819200000000002</c:v>
                </c:pt>
                <c:pt idx="1258">
                  <c:v>66.302750000000003</c:v>
                </c:pt>
                <c:pt idx="1259">
                  <c:v>67.3001</c:v>
                </c:pt>
                <c:pt idx="1260">
                  <c:v>125.0262</c:v>
                </c:pt>
                <c:pt idx="1261">
                  <c:v>82.683999999999997</c:v>
                </c:pt>
                <c:pt idx="1262">
                  <c:v>97.977599999999995</c:v>
                </c:pt>
                <c:pt idx="1263">
                  <c:v>93.074700000000007</c:v>
                </c:pt>
                <c:pt idx="1264">
                  <c:v>95.952799999999996</c:v>
                </c:pt>
                <c:pt idx="1265">
                  <c:v>93.917599999999993</c:v>
                </c:pt>
                <c:pt idx="1266">
                  <c:v>86.358000000000004</c:v>
                </c:pt>
                <c:pt idx="1267">
                  <c:v>88.517650000000003</c:v>
                </c:pt>
                <c:pt idx="1268">
                  <c:v>144.6696</c:v>
                </c:pt>
                <c:pt idx="1269">
                  <c:v>95.247600000000006</c:v>
                </c:pt>
                <c:pt idx="1270">
                  <c:v>78.697999999999993</c:v>
                </c:pt>
                <c:pt idx="1271">
                  <c:v>77.708749999999995</c:v>
                </c:pt>
                <c:pt idx="1272">
                  <c:v>70.299899999999994</c:v>
                </c:pt>
                <c:pt idx="1273">
                  <c:v>75.704999999999998</c:v>
                </c:pt>
                <c:pt idx="1274">
                  <c:v>85.202399999999997</c:v>
                </c:pt>
                <c:pt idx="1275">
                  <c:v>67.132649999999998</c:v>
                </c:pt>
                <c:pt idx="1276">
                  <c:v>47.613999999999997</c:v>
                </c:pt>
                <c:pt idx="1277">
                  <c:v>65.415999999999997</c:v>
                </c:pt>
                <c:pt idx="1278">
                  <c:v>99.554000000000002</c:v>
                </c:pt>
                <c:pt idx="1279">
                  <c:v>142.93440000000001</c:v>
                </c:pt>
                <c:pt idx="1280">
                  <c:v>78.820750000000004</c:v>
                </c:pt>
                <c:pt idx="1281">
                  <c:v>99.363600000000005</c:v>
                </c:pt>
                <c:pt idx="1282">
                  <c:v>133.28</c:v>
                </c:pt>
                <c:pt idx="1283">
                  <c:v>109.5072</c:v>
                </c:pt>
                <c:pt idx="1284">
                  <c:v>108.3777</c:v>
                </c:pt>
                <c:pt idx="1285">
                  <c:v>83.265500000000003</c:v>
                </c:pt>
                <c:pt idx="1286">
                  <c:v>114.12179999999999</c:v>
                </c:pt>
                <c:pt idx="1287">
                  <c:v>80.800049999999999</c:v>
                </c:pt>
                <c:pt idx="1288">
                  <c:v>139.6986</c:v>
                </c:pt>
                <c:pt idx="1289">
                  <c:v>77.068749999999994</c:v>
                </c:pt>
                <c:pt idx="1290">
                  <c:v>68.849000000000004</c:v>
                </c:pt>
                <c:pt idx="1291">
                  <c:v>81.497699999999995</c:v>
                </c:pt>
                <c:pt idx="1292">
                  <c:v>93.576700000000002</c:v>
                </c:pt>
                <c:pt idx="1293">
                  <c:v>87.710999999999999</c:v>
                </c:pt>
                <c:pt idx="1294">
                  <c:v>145.41820000000001</c:v>
                </c:pt>
                <c:pt idx="1295">
                  <c:v>94.394300000000001</c:v>
                </c:pt>
                <c:pt idx="1296">
                  <c:v>93.437100000000001</c:v>
                </c:pt>
                <c:pt idx="1297">
                  <c:v>160.68360000000001</c:v>
                </c:pt>
                <c:pt idx="1298">
                  <c:v>108.33969999999999</c:v>
                </c:pt>
                <c:pt idx="1299">
                  <c:v>74.4846</c:v>
                </c:pt>
                <c:pt idx="1300">
                  <c:v>65.428349999999995</c:v>
                </c:pt>
                <c:pt idx="1301">
                  <c:v>58.663499999999999</c:v>
                </c:pt>
                <c:pt idx="1302">
                  <c:v>93.830699999999993</c:v>
                </c:pt>
                <c:pt idx="1303">
                  <c:v>105.9136</c:v>
                </c:pt>
                <c:pt idx="1304">
                  <c:v>68.97345</c:v>
                </c:pt>
                <c:pt idx="1305">
                  <c:v>59.604599999999998</c:v>
                </c:pt>
                <c:pt idx="1306">
                  <c:v>59.462699999999998</c:v>
                </c:pt>
                <c:pt idx="1307">
                  <c:v>56.245350000000002</c:v>
                </c:pt>
                <c:pt idx="1308">
                  <c:v>81.566999999999993</c:v>
                </c:pt>
                <c:pt idx="1309">
                  <c:v>70.564800000000005</c:v>
                </c:pt>
                <c:pt idx="1310">
                  <c:v>113.1108</c:v>
                </c:pt>
                <c:pt idx="1311">
                  <c:v>83.7804</c:v>
                </c:pt>
                <c:pt idx="1312">
                  <c:v>88.665499999999994</c:v>
                </c:pt>
                <c:pt idx="1313">
                  <c:v>92.525000000000006</c:v>
                </c:pt>
                <c:pt idx="1314">
                  <c:v>81.683000000000007</c:v>
                </c:pt>
                <c:pt idx="1315">
                  <c:v>65.348799999999997</c:v>
                </c:pt>
                <c:pt idx="1316">
                  <c:v>60.417400000000001</c:v>
                </c:pt>
                <c:pt idx="1317">
                  <c:v>105.4063</c:v>
                </c:pt>
                <c:pt idx="1318">
                  <c:v>115.2855</c:v>
                </c:pt>
                <c:pt idx="1319">
                  <c:v>199.61234999999999</c:v>
                </c:pt>
                <c:pt idx="1320">
                  <c:v>154.7919</c:v>
                </c:pt>
                <c:pt idx="1321">
                  <c:v>174.66435000000001</c:v>
                </c:pt>
                <c:pt idx="1322">
                  <c:v>133.16800000000001</c:v>
                </c:pt>
                <c:pt idx="1323">
                  <c:v>136.5162</c:v>
                </c:pt>
                <c:pt idx="1324">
                  <c:v>77.348500000000001</c:v>
                </c:pt>
                <c:pt idx="1325">
                  <c:v>151.76474999999999</c:v>
                </c:pt>
                <c:pt idx="1326">
                  <c:v>101.83325000000001</c:v>
                </c:pt>
                <c:pt idx="1327">
                  <c:v>74.053200000000004</c:v>
                </c:pt>
                <c:pt idx="1328">
                  <c:v>127.14870000000001</c:v>
                </c:pt>
                <c:pt idx="1329">
                  <c:v>164.7</c:v>
                </c:pt>
                <c:pt idx="1330">
                  <c:v>182.01425</c:v>
                </c:pt>
                <c:pt idx="1331">
                  <c:v>138.94409999999999</c:v>
                </c:pt>
                <c:pt idx="1332">
                  <c:v>115.5168</c:v>
                </c:pt>
                <c:pt idx="1333">
                  <c:v>156.53190000000001</c:v>
                </c:pt>
                <c:pt idx="1334">
                  <c:v>116.50064999999999</c:v>
                </c:pt>
                <c:pt idx="1335">
                  <c:v>170.42715000000001</c:v>
                </c:pt>
                <c:pt idx="1336">
                  <c:v>240.24959999999999</c:v>
                </c:pt>
                <c:pt idx="1337">
                  <c:v>202.19245000000001</c:v>
                </c:pt>
                <c:pt idx="1338">
                  <c:v>182.62049999999999</c:v>
                </c:pt>
                <c:pt idx="1339">
                  <c:v>139.244</c:v>
                </c:pt>
                <c:pt idx="1340">
                  <c:v>158.137</c:v>
                </c:pt>
                <c:pt idx="1341">
                  <c:v>108.5425</c:v>
                </c:pt>
                <c:pt idx="1342">
                  <c:v>137.50245000000001</c:v>
                </c:pt>
                <c:pt idx="1343">
                  <c:v>187.53285</c:v>
                </c:pt>
                <c:pt idx="1344">
                  <c:v>154.74080000000001</c:v>
                </c:pt>
                <c:pt idx="1345">
                  <c:v>100.16504999999999</c:v>
                </c:pt>
                <c:pt idx="1346">
                  <c:v>149.01300000000001</c:v>
                </c:pt>
                <c:pt idx="1347">
                  <c:v>104.7174</c:v>
                </c:pt>
                <c:pt idx="1348">
                  <c:v>127.00700000000001</c:v>
                </c:pt>
                <c:pt idx="1349">
                  <c:v>112.1836</c:v>
                </c:pt>
                <c:pt idx="1350">
                  <c:v>166.23240000000001</c:v>
                </c:pt>
                <c:pt idx="1351">
                  <c:v>124.6104</c:v>
                </c:pt>
                <c:pt idx="1352">
                  <c:v>120.66175</c:v>
                </c:pt>
                <c:pt idx="1353">
                  <c:v>81.769499999999994</c:v>
                </c:pt>
                <c:pt idx="1354">
                  <c:v>102.1724</c:v>
                </c:pt>
                <c:pt idx="1355">
                  <c:v>106.384</c:v>
                </c:pt>
                <c:pt idx="1356">
                  <c:v>132.71870000000001</c:v>
                </c:pt>
                <c:pt idx="1357">
                  <c:v>97.945750000000004</c:v>
                </c:pt>
                <c:pt idx="1358">
                  <c:v>90.840500000000006</c:v>
                </c:pt>
                <c:pt idx="1359">
                  <c:v>59.608800000000002</c:v>
                </c:pt>
                <c:pt idx="1360">
                  <c:v>115.7632</c:v>
                </c:pt>
                <c:pt idx="1361">
                  <c:v>87.489350000000002</c:v>
                </c:pt>
                <c:pt idx="1362">
                  <c:v>60.213999999999999</c:v>
                </c:pt>
                <c:pt idx="1363">
                  <c:v>97.348650000000006</c:v>
                </c:pt>
                <c:pt idx="1364">
                  <c:v>115.5855</c:v>
                </c:pt>
                <c:pt idx="1365">
                  <c:v>102.408</c:v>
                </c:pt>
                <c:pt idx="1366">
                  <c:v>88.023600000000002</c:v>
                </c:pt>
                <c:pt idx="1367">
                  <c:v>89.369799999999998</c:v>
                </c:pt>
                <c:pt idx="1368">
                  <c:v>91.190399999999997</c:v>
                </c:pt>
                <c:pt idx="1369">
                  <c:v>74.097049999999996</c:v>
                </c:pt>
                <c:pt idx="1370">
                  <c:v>68.043599999999998</c:v>
                </c:pt>
                <c:pt idx="1371">
                  <c:v>103.83759999999999</c:v>
                </c:pt>
                <c:pt idx="1372">
                  <c:v>100.5894</c:v>
                </c:pt>
                <c:pt idx="1373">
                  <c:v>112.97790000000001</c:v>
                </c:pt>
                <c:pt idx="1374">
                  <c:v>72.321700000000007</c:v>
                </c:pt>
                <c:pt idx="1375">
                  <c:v>84.775599999999997</c:v>
                </c:pt>
                <c:pt idx="1376">
                  <c:v>83.542500000000004</c:v>
                </c:pt>
                <c:pt idx="1377">
                  <c:v>51.486750000000001</c:v>
                </c:pt>
                <c:pt idx="1378">
                  <c:v>40.739199999999997</c:v>
                </c:pt>
                <c:pt idx="1379">
                  <c:v>83.855900000000005</c:v>
                </c:pt>
                <c:pt idx="1380">
                  <c:v>75.790400000000005</c:v>
                </c:pt>
                <c:pt idx="1381">
                  <c:v>92.284499999999994</c:v>
                </c:pt>
                <c:pt idx="1382">
                  <c:v>83.032600000000002</c:v>
                </c:pt>
                <c:pt idx="1383">
                  <c:v>66.666399999999996</c:v>
                </c:pt>
                <c:pt idx="1384">
                  <c:v>66.437799999999996</c:v>
                </c:pt>
                <c:pt idx="1385">
                  <c:v>122.54425000000001</c:v>
                </c:pt>
                <c:pt idx="1386">
                  <c:v>253.75545</c:v>
                </c:pt>
                <c:pt idx="1387">
                  <c:v>142.55799999999999</c:v>
                </c:pt>
                <c:pt idx="1388">
                  <c:v>103.89115</c:v>
                </c:pt>
                <c:pt idx="1389">
                  <c:v>82.259550000000004</c:v>
                </c:pt>
                <c:pt idx="1390">
                  <c:v>84.048000000000002</c:v>
                </c:pt>
                <c:pt idx="1391">
                  <c:v>98.942999999999998</c:v>
                </c:pt>
                <c:pt idx="1392">
                  <c:v>121.26275</c:v>
                </c:pt>
                <c:pt idx="1393">
                  <c:v>92.006399999999999</c:v>
                </c:pt>
                <c:pt idx="1394">
                  <c:v>108.4853</c:v>
                </c:pt>
                <c:pt idx="1395">
                  <c:v>99.320700000000002</c:v>
                </c:pt>
                <c:pt idx="1396">
                  <c:v>138.19130000000001</c:v>
                </c:pt>
                <c:pt idx="1397">
                  <c:v>179.97825</c:v>
                </c:pt>
                <c:pt idx="1398">
                  <c:v>110.27995</c:v>
                </c:pt>
                <c:pt idx="1399">
                  <c:v>168.87780000000001</c:v>
                </c:pt>
                <c:pt idx="1400">
                  <c:v>201.2226</c:v>
                </c:pt>
                <c:pt idx="1401">
                  <c:v>217.15</c:v>
                </c:pt>
                <c:pt idx="1402">
                  <c:v>232.47229999999999</c:v>
                </c:pt>
                <c:pt idx="1403">
                  <c:v>172.13929999999999</c:v>
                </c:pt>
                <c:pt idx="1404">
                  <c:v>107.8498</c:v>
                </c:pt>
                <c:pt idx="1405">
                  <c:v>108.6024</c:v>
                </c:pt>
                <c:pt idx="1406">
                  <c:v>69.197400000000002</c:v>
                </c:pt>
                <c:pt idx="1407">
                  <c:v>101.8266</c:v>
                </c:pt>
                <c:pt idx="1408">
                  <c:v>74.512600000000006</c:v>
                </c:pt>
                <c:pt idx="1409">
                  <c:v>133.952</c:v>
                </c:pt>
                <c:pt idx="1410">
                  <c:v>109.1354</c:v>
                </c:pt>
                <c:pt idx="1411">
                  <c:v>151.13069999999999</c:v>
                </c:pt>
                <c:pt idx="1412">
                  <c:v>97.349249999999998</c:v>
                </c:pt>
                <c:pt idx="1413">
                  <c:v>123.099</c:v>
                </c:pt>
                <c:pt idx="1414">
                  <c:v>110.3823</c:v>
                </c:pt>
                <c:pt idx="1415">
                  <c:v>164.32839999999999</c:v>
                </c:pt>
                <c:pt idx="1416">
                  <c:v>94.222499999999997</c:v>
                </c:pt>
                <c:pt idx="1417">
                  <c:v>90.437399999999997</c:v>
                </c:pt>
                <c:pt idx="1418">
                  <c:v>80.539199999999994</c:v>
                </c:pt>
                <c:pt idx="1419">
                  <c:v>91.570599999999999</c:v>
                </c:pt>
                <c:pt idx="1420">
                  <c:v>133.95480000000001</c:v>
                </c:pt>
                <c:pt idx="1421">
                  <c:v>108.94365000000001</c:v>
                </c:pt>
                <c:pt idx="1422">
                  <c:v>128.172</c:v>
                </c:pt>
                <c:pt idx="1423">
                  <c:v>124.04025</c:v>
                </c:pt>
                <c:pt idx="1424">
                  <c:v>64.114399999999989</c:v>
                </c:pt>
                <c:pt idx="1425">
                  <c:v>122.145</c:v>
                </c:pt>
                <c:pt idx="1426">
                  <c:v>85.924199999999999</c:v>
                </c:pt>
                <c:pt idx="1427">
                  <c:v>136.75139999999999</c:v>
                </c:pt>
                <c:pt idx="1428">
                  <c:v>134.65440000000001</c:v>
                </c:pt>
                <c:pt idx="1429">
                  <c:v>178.60499999999999</c:v>
                </c:pt>
                <c:pt idx="1430">
                  <c:v>149.548</c:v>
                </c:pt>
                <c:pt idx="1431">
                  <c:v>116.4205</c:v>
                </c:pt>
                <c:pt idx="1432">
                  <c:v>93.027900000000002</c:v>
                </c:pt>
                <c:pt idx="1433">
                  <c:v>184.38</c:v>
                </c:pt>
                <c:pt idx="1434">
                  <c:v>161.7869</c:v>
                </c:pt>
                <c:pt idx="1435">
                  <c:v>150.73650000000001</c:v>
                </c:pt>
                <c:pt idx="1436">
                  <c:v>108.0877</c:v>
                </c:pt>
                <c:pt idx="1437">
                  <c:v>139.83515</c:v>
                </c:pt>
                <c:pt idx="1438">
                  <c:v>201.02879999999999</c:v>
                </c:pt>
                <c:pt idx="1439">
                  <c:v>150.74315000000001</c:v>
                </c:pt>
                <c:pt idx="1440">
                  <c:v>133.0864</c:v>
                </c:pt>
                <c:pt idx="1441">
                  <c:v>89.504499999999993</c:v>
                </c:pt>
                <c:pt idx="1442">
                  <c:v>139.2105</c:v>
                </c:pt>
                <c:pt idx="1443">
                  <c:v>198.1207</c:v>
                </c:pt>
                <c:pt idx="1444">
                  <c:v>203.72</c:v>
                </c:pt>
                <c:pt idx="1445">
                  <c:v>106.0416</c:v>
                </c:pt>
                <c:pt idx="1446">
                  <c:v>87.569500000000005</c:v>
                </c:pt>
                <c:pt idx="1447">
                  <c:v>102.714</c:v>
                </c:pt>
                <c:pt idx="1448">
                  <c:v>71.166250000000005</c:v>
                </c:pt>
                <c:pt idx="1449">
                  <c:v>65.103499999999997</c:v>
                </c:pt>
                <c:pt idx="1450">
                  <c:v>88.457250000000002</c:v>
                </c:pt>
                <c:pt idx="1451">
                  <c:v>73.3172</c:v>
                </c:pt>
                <c:pt idx="1452">
                  <c:v>107.3916</c:v>
                </c:pt>
                <c:pt idx="1453">
                  <c:v>63.193899999999999</c:v>
                </c:pt>
                <c:pt idx="1454">
                  <c:v>98.022000000000006</c:v>
                </c:pt>
                <c:pt idx="1455">
                  <c:v>101.5949</c:v>
                </c:pt>
                <c:pt idx="1456">
                  <c:v>86.586349999999996</c:v>
                </c:pt>
                <c:pt idx="1457">
                  <c:v>147.00239999999999</c:v>
                </c:pt>
                <c:pt idx="1458">
                  <c:v>64.642449999999997</c:v>
                </c:pt>
                <c:pt idx="1459">
                  <c:v>106.00960000000001</c:v>
                </c:pt>
                <c:pt idx="1460">
                  <c:v>73.099999999999994</c:v>
                </c:pt>
                <c:pt idx="1461">
                  <c:v>159.33359999999999</c:v>
                </c:pt>
                <c:pt idx="1462">
                  <c:v>150.64245</c:v>
                </c:pt>
                <c:pt idx="1463">
                  <c:v>80.388000000000005</c:v>
                </c:pt>
                <c:pt idx="1464">
                  <c:v>66.87585</c:v>
                </c:pt>
                <c:pt idx="1465">
                  <c:v>107.38695000000001</c:v>
                </c:pt>
                <c:pt idx="1466">
                  <c:v>98.644300000000001</c:v>
                </c:pt>
                <c:pt idx="1467">
                  <c:v>220.67540000000002</c:v>
                </c:pt>
                <c:pt idx="1468">
                  <c:v>108.8349</c:v>
                </c:pt>
                <c:pt idx="1469">
                  <c:v>160.54965000000001</c:v>
                </c:pt>
                <c:pt idx="1470">
                  <c:v>68.349350000000001</c:v>
                </c:pt>
                <c:pt idx="1471">
                  <c:v>86.520200000000003</c:v>
                </c:pt>
                <c:pt idx="1472">
                  <c:v>185.178</c:v>
                </c:pt>
                <c:pt idx="1473">
                  <c:v>136.26679999999999</c:v>
                </c:pt>
                <c:pt idx="1474">
                  <c:v>253.21799999999999</c:v>
                </c:pt>
                <c:pt idx="1475">
                  <c:v>194.99170000000001</c:v>
                </c:pt>
                <c:pt idx="1476">
                  <c:v>131.20240000000001</c:v>
                </c:pt>
                <c:pt idx="1477">
                  <c:v>142.08940000000001</c:v>
                </c:pt>
                <c:pt idx="1478">
                  <c:v>131.45720000000003</c:v>
                </c:pt>
                <c:pt idx="1479">
                  <c:v>131.61815000000001</c:v>
                </c:pt>
                <c:pt idx="1480">
                  <c:v>206.05330000000001</c:v>
                </c:pt>
                <c:pt idx="1481">
                  <c:v>94.507050000000007</c:v>
                </c:pt>
                <c:pt idx="1482">
                  <c:v>93.890199999999993</c:v>
                </c:pt>
                <c:pt idx="1483">
                  <c:v>90.418750000000003</c:v>
                </c:pt>
                <c:pt idx="1484">
                  <c:v>93.585849999999994</c:v>
                </c:pt>
                <c:pt idx="1485">
                  <c:v>105.82515000000001</c:v>
                </c:pt>
                <c:pt idx="1486">
                  <c:v>102.41420000000001</c:v>
                </c:pt>
                <c:pt idx="1487">
                  <c:v>178.50649999999999</c:v>
                </c:pt>
                <c:pt idx="1488">
                  <c:v>159.34559999999999</c:v>
                </c:pt>
                <c:pt idx="1489">
                  <c:v>183.99039999999999</c:v>
                </c:pt>
                <c:pt idx="1490">
                  <c:v>131.92335</c:v>
                </c:pt>
                <c:pt idx="1491">
                  <c:v>92.380300000000005</c:v>
                </c:pt>
                <c:pt idx="1492">
                  <c:v>97.771050000000002</c:v>
                </c:pt>
                <c:pt idx="1493">
                  <c:v>101.28930000000001</c:v>
                </c:pt>
                <c:pt idx="1494">
                  <c:v>123.2274</c:v>
                </c:pt>
                <c:pt idx="1495">
                  <c:v>107.8502</c:v>
                </c:pt>
                <c:pt idx="1496">
                  <c:v>148.07050000000001</c:v>
                </c:pt>
                <c:pt idx="1497">
                  <c:v>116.20679999999999</c:v>
                </c:pt>
                <c:pt idx="1498">
                  <c:v>97.294799999999995</c:v>
                </c:pt>
                <c:pt idx="1499">
                  <c:v>103.04069999999999</c:v>
                </c:pt>
                <c:pt idx="1500">
                  <c:v>121.70925</c:v>
                </c:pt>
                <c:pt idx="1501">
                  <c:v>68.616</c:v>
                </c:pt>
                <c:pt idx="1502">
                  <c:v>61.392200000000003</c:v>
                </c:pt>
                <c:pt idx="1503">
                  <c:v>80.570400000000006</c:v>
                </c:pt>
                <c:pt idx="1504">
                  <c:v>105.15869999999998</c:v>
                </c:pt>
                <c:pt idx="1505">
                  <c:v>89.756699999999995</c:v>
                </c:pt>
                <c:pt idx="1506">
                  <c:v>78.969750000000005</c:v>
                </c:pt>
                <c:pt idx="1507">
                  <c:v>76.241100000000003</c:v>
                </c:pt>
                <c:pt idx="1508">
                  <c:v>187.8434</c:v>
                </c:pt>
                <c:pt idx="1509">
                  <c:v>196.732</c:v>
                </c:pt>
                <c:pt idx="1510">
                  <c:v>145.1754</c:v>
                </c:pt>
                <c:pt idx="1511">
                  <c:v>311.33789999999999</c:v>
                </c:pt>
                <c:pt idx="1512">
                  <c:v>280.18615</c:v>
                </c:pt>
                <c:pt idx="1513">
                  <c:v>153.14904999999999</c:v>
                </c:pt>
                <c:pt idx="1514">
                  <c:v>124.37555</c:v>
                </c:pt>
                <c:pt idx="1515">
                  <c:v>128.1189</c:v>
                </c:pt>
                <c:pt idx="1516">
                  <c:v>147.32499999999999</c:v>
                </c:pt>
                <c:pt idx="1517">
                  <c:v>103.80839999999999</c:v>
                </c:pt>
                <c:pt idx="1518">
                  <c:v>100.7214</c:v>
                </c:pt>
                <c:pt idx="1519">
                  <c:v>99.736799999999988</c:v>
                </c:pt>
                <c:pt idx="1520">
                  <c:v>111.6888</c:v>
                </c:pt>
                <c:pt idx="1521">
                  <c:v>157.38554999999999</c:v>
                </c:pt>
                <c:pt idx="1522">
                  <c:v>136.34129999999999</c:v>
                </c:pt>
                <c:pt idx="1523">
                  <c:v>107.91479999999999</c:v>
                </c:pt>
                <c:pt idx="1524">
                  <c:v>123.52725</c:v>
                </c:pt>
                <c:pt idx="1525">
                  <c:v>81.516599999999997</c:v>
                </c:pt>
                <c:pt idx="1526">
                  <c:v>91.766999999999996</c:v>
                </c:pt>
                <c:pt idx="1527">
                  <c:v>169.4847</c:v>
                </c:pt>
                <c:pt idx="1528">
                  <c:v>110.04800000000002</c:v>
                </c:pt>
                <c:pt idx="1529">
                  <c:v>204.42140000000003</c:v>
                </c:pt>
                <c:pt idx="1530">
                  <c:v>90.453999999999994</c:v>
                </c:pt>
                <c:pt idx="1531">
                  <c:v>149.42234999999999</c:v>
                </c:pt>
                <c:pt idx="1532">
                  <c:v>86.229500000000002</c:v>
                </c:pt>
                <c:pt idx="1533">
                  <c:v>92.203999999999994</c:v>
                </c:pt>
                <c:pt idx="1534">
                  <c:v>49.176750000000006</c:v>
                </c:pt>
                <c:pt idx="1535">
                  <c:v>70.571899999999999</c:v>
                </c:pt>
                <c:pt idx="1536">
                  <c:v>78.668000000000006</c:v>
                </c:pt>
                <c:pt idx="1537">
                  <c:v>110.47879999999998</c:v>
                </c:pt>
                <c:pt idx="1538">
                  <c:v>123.52200000000002</c:v>
                </c:pt>
                <c:pt idx="1539">
                  <c:v>109.04679999999999</c:v>
                </c:pt>
                <c:pt idx="1540">
                  <c:v>110.47595</c:v>
                </c:pt>
                <c:pt idx="1541">
                  <c:v>108.0558</c:v>
                </c:pt>
                <c:pt idx="1542">
                  <c:v>91.433700000000016</c:v>
                </c:pt>
                <c:pt idx="1543">
                  <c:v>91.394400000000005</c:v>
                </c:pt>
                <c:pt idx="1544">
                  <c:v>56.782299999999999</c:v>
                </c:pt>
                <c:pt idx="1545">
                  <c:v>241.2955</c:v>
                </c:pt>
                <c:pt idx="1546">
                  <c:v>216.4435</c:v>
                </c:pt>
                <c:pt idx="1547">
                  <c:v>274.87799999999999</c:v>
                </c:pt>
                <c:pt idx="1548">
                  <c:v>181.18260000000001</c:v>
                </c:pt>
                <c:pt idx="1549">
                  <c:v>263.28750000000002</c:v>
                </c:pt>
                <c:pt idx="1550">
                  <c:v>257.67160000000001</c:v>
                </c:pt>
                <c:pt idx="1551">
                  <c:v>154.24055000000001</c:v>
                </c:pt>
                <c:pt idx="1552">
                  <c:v>98.906599999999997</c:v>
                </c:pt>
                <c:pt idx="1553">
                  <c:v>75.68065</c:v>
                </c:pt>
                <c:pt idx="1554">
                  <c:v>86.152500000000003</c:v>
                </c:pt>
                <c:pt idx="1555">
                  <c:v>113.44799999999998</c:v>
                </c:pt>
                <c:pt idx="1556">
                  <c:v>122.87175000000001</c:v>
                </c:pt>
                <c:pt idx="1557">
                  <c:v>101.16979999999998</c:v>
                </c:pt>
                <c:pt idx="1558">
                  <c:v>97.317499999999995</c:v>
                </c:pt>
                <c:pt idx="1559">
                  <c:v>116.7825</c:v>
                </c:pt>
                <c:pt idx="1560">
                  <c:v>115.90600000000001</c:v>
                </c:pt>
                <c:pt idx="1561">
                  <c:v>76.869699999999995</c:v>
                </c:pt>
                <c:pt idx="1562">
                  <c:v>91.07235</c:v>
                </c:pt>
                <c:pt idx="1563">
                  <c:v>88.562799999999996</c:v>
                </c:pt>
                <c:pt idx="1564">
                  <c:v>88.921999999999997</c:v>
                </c:pt>
                <c:pt idx="1565">
                  <c:v>76.472999999999999</c:v>
                </c:pt>
                <c:pt idx="1566">
                  <c:v>55.034200000000006</c:v>
                </c:pt>
                <c:pt idx="1567">
                  <c:v>73.272549999999995</c:v>
                </c:pt>
                <c:pt idx="1568">
                  <c:v>91.731200000000001</c:v>
                </c:pt>
                <c:pt idx="1569">
                  <c:v>98.449999999999989</c:v>
                </c:pt>
                <c:pt idx="1570">
                  <c:v>62.904249999999998</c:v>
                </c:pt>
                <c:pt idx="1571">
                  <c:v>86.079849999999993</c:v>
                </c:pt>
                <c:pt idx="1572">
                  <c:v>146.71174999999999</c:v>
                </c:pt>
                <c:pt idx="1573">
                  <c:v>134.65119999999999</c:v>
                </c:pt>
                <c:pt idx="1574">
                  <c:v>61.124799999999993</c:v>
                </c:pt>
                <c:pt idx="1575">
                  <c:v>134.61199999999999</c:v>
                </c:pt>
                <c:pt idx="1576">
                  <c:v>154.90600000000001</c:v>
                </c:pt>
                <c:pt idx="1577">
                  <c:v>121.25680000000001</c:v>
                </c:pt>
                <c:pt idx="1578">
                  <c:v>98.869200000000006</c:v>
                </c:pt>
                <c:pt idx="1579">
                  <c:v>220.28110000000004</c:v>
                </c:pt>
                <c:pt idx="1580">
                  <c:v>80.967600000000004</c:v>
                </c:pt>
                <c:pt idx="1581">
                  <c:v>169.07534999999999</c:v>
                </c:pt>
                <c:pt idx="1582">
                  <c:v>223.38030000000001</c:v>
                </c:pt>
                <c:pt idx="1583">
                  <c:v>79.886300000000006</c:v>
                </c:pt>
                <c:pt idx="1584">
                  <c:v>72.037800000000004</c:v>
                </c:pt>
                <c:pt idx="1585">
                  <c:v>136.3776</c:v>
                </c:pt>
                <c:pt idx="1586">
                  <c:v>188.47425000000001</c:v>
                </c:pt>
                <c:pt idx="1587">
                  <c:v>201.25559999999999</c:v>
                </c:pt>
                <c:pt idx="1588">
                  <c:v>146.59125</c:v>
                </c:pt>
                <c:pt idx="1589">
                  <c:v>89.136600000000001</c:v>
                </c:pt>
                <c:pt idx="1590">
                  <c:v>95.221500000000006</c:v>
                </c:pt>
                <c:pt idx="1591">
                  <c:v>155.68</c:v>
                </c:pt>
                <c:pt idx="1592">
                  <c:v>322.18130000000002</c:v>
                </c:pt>
                <c:pt idx="1593">
                  <c:v>299.91539999999998</c:v>
                </c:pt>
                <c:pt idx="1594">
                  <c:v>248.50640000000001</c:v>
                </c:pt>
                <c:pt idx="1595">
                  <c:v>160.21125000000001</c:v>
                </c:pt>
                <c:pt idx="1596">
                  <c:v>135.22989999999999</c:v>
                </c:pt>
                <c:pt idx="1597">
                  <c:v>139.71360000000001</c:v>
                </c:pt>
                <c:pt idx="1598">
                  <c:v>142.1883</c:v>
                </c:pt>
                <c:pt idx="1599">
                  <c:v>115.17839999999998</c:v>
                </c:pt>
                <c:pt idx="1600">
                  <c:v>80.954499999999996</c:v>
                </c:pt>
                <c:pt idx="1601">
                  <c:v>74.99015</c:v>
                </c:pt>
                <c:pt idx="1602">
                  <c:v>115.92945</c:v>
                </c:pt>
                <c:pt idx="1603">
                  <c:v>174.09700000000001</c:v>
                </c:pt>
                <c:pt idx="1604">
                  <c:v>169.98314999999999</c:v>
                </c:pt>
                <c:pt idx="1605">
                  <c:v>122.63810000000001</c:v>
                </c:pt>
                <c:pt idx="1606">
                  <c:v>108.928</c:v>
                </c:pt>
                <c:pt idx="1607">
                  <c:v>98.495999999999995</c:v>
                </c:pt>
                <c:pt idx="1608">
                  <c:v>91.573899999999995</c:v>
                </c:pt>
                <c:pt idx="1609">
                  <c:v>189.6687</c:v>
                </c:pt>
                <c:pt idx="1610">
                  <c:v>142.63829999999999</c:v>
                </c:pt>
                <c:pt idx="1611">
                  <c:v>86.555199999999999</c:v>
                </c:pt>
                <c:pt idx="1612">
                  <c:v>145.98750000000001</c:v>
                </c:pt>
                <c:pt idx="1613">
                  <c:v>60.844000000000001</c:v>
                </c:pt>
                <c:pt idx="1614">
                  <c:v>108.68895000000001</c:v>
                </c:pt>
                <c:pt idx="1615">
                  <c:v>135.47835000000001</c:v>
                </c:pt>
                <c:pt idx="1616">
                  <c:v>88.859250000000003</c:v>
                </c:pt>
                <c:pt idx="1617">
                  <c:v>87.911699999999996</c:v>
                </c:pt>
                <c:pt idx="1618">
                  <c:v>86.611800000000002</c:v>
                </c:pt>
                <c:pt idx="1619">
                  <c:v>85.783050000000003</c:v>
                </c:pt>
                <c:pt idx="1620">
                  <c:v>109.64179999999999</c:v>
                </c:pt>
                <c:pt idx="1621">
                  <c:v>140.7432</c:v>
                </c:pt>
                <c:pt idx="1622">
                  <c:v>131.71125000000001</c:v>
                </c:pt>
                <c:pt idx="1623">
                  <c:v>95.101400000000012</c:v>
                </c:pt>
                <c:pt idx="1624">
                  <c:v>131.9068</c:v>
                </c:pt>
                <c:pt idx="1625">
                  <c:v>116.334</c:v>
                </c:pt>
                <c:pt idx="1626">
                  <c:v>122.27949999999998</c:v>
                </c:pt>
                <c:pt idx="1627">
                  <c:v>89.907700000000006</c:v>
                </c:pt>
                <c:pt idx="1628">
                  <c:v>103.85710000000002</c:v>
                </c:pt>
                <c:pt idx="1629">
                  <c:v>100.0825</c:v>
                </c:pt>
                <c:pt idx="1630">
                  <c:v>135.85849999999999</c:v>
                </c:pt>
                <c:pt idx="1631">
                  <c:v>315.24734999999998</c:v>
                </c:pt>
                <c:pt idx="1632">
                  <c:v>118.51875</c:v>
                </c:pt>
                <c:pt idx="1633">
                  <c:v>72.708299999999994</c:v>
                </c:pt>
                <c:pt idx="1634">
                  <c:v>88.400999999999996</c:v>
                </c:pt>
                <c:pt idx="1635">
                  <c:v>240.02549999999997</c:v>
                </c:pt>
                <c:pt idx="1636">
                  <c:v>162.70089999999999</c:v>
                </c:pt>
                <c:pt idx="1637">
                  <c:v>96.876000000000005</c:v>
                </c:pt>
                <c:pt idx="1638">
                  <c:v>186.90719999999999</c:v>
                </c:pt>
                <c:pt idx="1639">
                  <c:v>264.95955000000004</c:v>
                </c:pt>
                <c:pt idx="1640">
                  <c:v>149.59485000000001</c:v>
                </c:pt>
                <c:pt idx="1641">
                  <c:v>117.45855</c:v>
                </c:pt>
                <c:pt idx="1642">
                  <c:v>156.40799999999999</c:v>
                </c:pt>
                <c:pt idx="1643">
                  <c:v>156.53210000000001</c:v>
                </c:pt>
                <c:pt idx="1644">
                  <c:v>129.13995</c:v>
                </c:pt>
                <c:pt idx="1645">
                  <c:v>93.116399999999999</c:v>
                </c:pt>
                <c:pt idx="1646">
                  <c:v>178.48949999999999</c:v>
                </c:pt>
                <c:pt idx="1647">
                  <c:v>117.32880000000002</c:v>
                </c:pt>
                <c:pt idx="1648">
                  <c:v>140.3766</c:v>
                </c:pt>
                <c:pt idx="1649">
                  <c:v>114.88260000000001</c:v>
                </c:pt>
                <c:pt idx="1650">
                  <c:v>91.755399999999995</c:v>
                </c:pt>
                <c:pt idx="1651">
                  <c:v>80.585999999999999</c:v>
                </c:pt>
                <c:pt idx="1652">
                  <c:v>66.448250000000002</c:v>
                </c:pt>
                <c:pt idx="1653">
                  <c:v>58.878599999999992</c:v>
                </c:pt>
                <c:pt idx="1654">
                  <c:v>118.37475000000001</c:v>
                </c:pt>
                <c:pt idx="1655">
                  <c:v>141.86600000000001</c:v>
                </c:pt>
                <c:pt idx="1656">
                  <c:v>260.29919999999998</c:v>
                </c:pt>
                <c:pt idx="1657">
                  <c:v>113.0247</c:v>
                </c:pt>
                <c:pt idx="1658">
                  <c:v>101.42045000000002</c:v>
                </c:pt>
                <c:pt idx="1659">
                  <c:v>93.144599999999997</c:v>
                </c:pt>
                <c:pt idx="1660">
                  <c:v>74.318600000000004</c:v>
                </c:pt>
                <c:pt idx="1661">
                  <c:v>120.83475000000001</c:v>
                </c:pt>
                <c:pt idx="1662">
                  <c:v>164.3065</c:v>
                </c:pt>
                <c:pt idx="1663">
                  <c:v>159.73675</c:v>
                </c:pt>
                <c:pt idx="1664">
                  <c:v>133.62240000000003</c:v>
                </c:pt>
                <c:pt idx="1665">
                  <c:v>213.89095000000003</c:v>
                </c:pt>
                <c:pt idx="1666">
                  <c:v>159.9785</c:v>
                </c:pt>
                <c:pt idx="1667">
                  <c:v>177.35024999999999</c:v>
                </c:pt>
                <c:pt idx="1668">
                  <c:v>343.75844999999998</c:v>
                </c:pt>
                <c:pt idx="1669">
                  <c:v>336.00094999999999</c:v>
                </c:pt>
                <c:pt idx="1670">
                  <c:v>255.62360000000001</c:v>
                </c:pt>
                <c:pt idx="1671">
                  <c:v>139.2782</c:v>
                </c:pt>
                <c:pt idx="1672">
                  <c:v>138.6814</c:v>
                </c:pt>
                <c:pt idx="1673">
                  <c:v>159.25139999999999</c:v>
                </c:pt>
                <c:pt idx="1674">
                  <c:v>198.04249999999999</c:v>
                </c:pt>
                <c:pt idx="1675">
                  <c:v>201.30339999999998</c:v>
                </c:pt>
                <c:pt idx="1676">
                  <c:v>177.76625000000001</c:v>
                </c:pt>
                <c:pt idx="1677">
                  <c:v>125.93625</c:v>
                </c:pt>
                <c:pt idx="1678">
                  <c:v>130.94760000000002</c:v>
                </c:pt>
                <c:pt idx="1679">
                  <c:v>121.608</c:v>
                </c:pt>
                <c:pt idx="1680">
                  <c:v>105.03719999999998</c:v>
                </c:pt>
                <c:pt idx="1681">
                  <c:v>80.647400000000005</c:v>
                </c:pt>
                <c:pt idx="1682">
                  <c:v>128.19344999999998</c:v>
                </c:pt>
                <c:pt idx="1683">
                  <c:v>92.401650000000004</c:v>
                </c:pt>
                <c:pt idx="1684">
                  <c:v>132.13200000000001</c:v>
                </c:pt>
                <c:pt idx="1685">
                  <c:v>79.533500000000004</c:v>
                </c:pt>
                <c:pt idx="1686">
                  <c:v>71.124600000000001</c:v>
                </c:pt>
                <c:pt idx="1687">
                  <c:v>76.640299999999996</c:v>
                </c:pt>
                <c:pt idx="1688">
                  <c:v>62.889749999999992</c:v>
                </c:pt>
                <c:pt idx="1689">
                  <c:v>118.86490000000001</c:v>
                </c:pt>
                <c:pt idx="1690">
                  <c:v>112.73025</c:v>
                </c:pt>
                <c:pt idx="1691">
                  <c:v>103.03239999999998</c:v>
                </c:pt>
                <c:pt idx="1692">
                  <c:v>98.625200000000007</c:v>
                </c:pt>
                <c:pt idx="1693">
                  <c:v>100.18350000000001</c:v>
                </c:pt>
                <c:pt idx="1694">
                  <c:v>122.14725</c:v>
                </c:pt>
                <c:pt idx="1695">
                  <c:v>92.454499999999996</c:v>
                </c:pt>
                <c:pt idx="1696">
                  <c:v>91.668750000000003</c:v>
                </c:pt>
                <c:pt idx="1697">
                  <c:v>60.784800000000004</c:v>
                </c:pt>
                <c:pt idx="1698">
                  <c:v>106.62739999999999</c:v>
                </c:pt>
                <c:pt idx="1699">
                  <c:v>119.42685</c:v>
                </c:pt>
                <c:pt idx="1700">
                  <c:v>123.858</c:v>
                </c:pt>
                <c:pt idx="1701">
                  <c:v>91.349599999999995</c:v>
                </c:pt>
                <c:pt idx="1702">
                  <c:v>125.1921</c:v>
                </c:pt>
                <c:pt idx="1703">
                  <c:v>110.15364999999998</c:v>
                </c:pt>
                <c:pt idx="1704">
                  <c:v>58.852499999999999</c:v>
                </c:pt>
                <c:pt idx="1705">
                  <c:v>25.434899999999999</c:v>
                </c:pt>
                <c:pt idx="1706">
                  <c:v>148.33279999999999</c:v>
                </c:pt>
                <c:pt idx="1707">
                  <c:v>123.84690000000001</c:v>
                </c:pt>
                <c:pt idx="1708">
                  <c:v>138.21279999999999</c:v>
                </c:pt>
                <c:pt idx="1709">
                  <c:v>116.26560000000002</c:v>
                </c:pt>
                <c:pt idx="1710">
                  <c:v>88.820250000000001</c:v>
                </c:pt>
                <c:pt idx="1711">
                  <c:v>88.33605</c:v>
                </c:pt>
                <c:pt idx="1712">
                  <c:v>99.145800000000008</c:v>
                </c:pt>
                <c:pt idx="1713">
                  <c:v>134.66114999999999</c:v>
                </c:pt>
                <c:pt idx="1714">
                  <c:v>267.43200000000002</c:v>
                </c:pt>
                <c:pt idx="1715">
                  <c:v>69.997900000000001</c:v>
                </c:pt>
                <c:pt idx="1716">
                  <c:v>67.263900000000007</c:v>
                </c:pt>
                <c:pt idx="1717">
                  <c:v>121.824</c:v>
                </c:pt>
                <c:pt idx="1718">
                  <c:v>212.57220000000004</c:v>
                </c:pt>
                <c:pt idx="1719">
                  <c:v>144.64709999999999</c:v>
                </c:pt>
                <c:pt idx="1720">
                  <c:v>116.44385</c:v>
                </c:pt>
                <c:pt idx="1721">
                  <c:v>63.57504999999999</c:v>
                </c:pt>
                <c:pt idx="1722">
                  <c:v>49.512999999999998</c:v>
                </c:pt>
                <c:pt idx="1723">
                  <c:v>73.398499999999999</c:v>
                </c:pt>
                <c:pt idx="1724">
                  <c:v>50.398350000000008</c:v>
                </c:pt>
                <c:pt idx="1725">
                  <c:v>41.510550000000002</c:v>
                </c:pt>
                <c:pt idx="1726">
                  <c:v>84.235200000000006</c:v>
                </c:pt>
                <c:pt idx="1727">
                  <c:v>128.74100000000001</c:v>
                </c:pt>
                <c:pt idx="1728">
                  <c:v>77.037750000000003</c:v>
                </c:pt>
                <c:pt idx="1729">
                  <c:v>107.5313</c:v>
                </c:pt>
                <c:pt idx="1730">
                  <c:v>77.227599999999995</c:v>
                </c:pt>
                <c:pt idx="1731">
                  <c:v>88.969999999999985</c:v>
                </c:pt>
                <c:pt idx="1732">
                  <c:v>121.3575</c:v>
                </c:pt>
                <c:pt idx="1733">
                  <c:v>149.15799999999999</c:v>
                </c:pt>
                <c:pt idx="1734">
                  <c:v>183.78269999999998</c:v>
                </c:pt>
                <c:pt idx="1735">
                  <c:v>100.188</c:v>
                </c:pt>
                <c:pt idx="1736">
                  <c:v>106.83025000000001</c:v>
                </c:pt>
                <c:pt idx="1737">
                  <c:v>173.45339999999999</c:v>
                </c:pt>
                <c:pt idx="1738">
                  <c:v>63.911250000000003</c:v>
                </c:pt>
                <c:pt idx="1739">
                  <c:v>142.8192</c:v>
                </c:pt>
                <c:pt idx="1740">
                  <c:v>150.73325</c:v>
                </c:pt>
                <c:pt idx="1741">
                  <c:v>149.1763</c:v>
                </c:pt>
                <c:pt idx="1742">
                  <c:v>358.56659999999999</c:v>
                </c:pt>
                <c:pt idx="1743">
                  <c:v>323.45280000000002</c:v>
                </c:pt>
                <c:pt idx="1744">
                  <c:v>190.15200000000004</c:v>
                </c:pt>
                <c:pt idx="1745">
                  <c:v>346.39499999999998</c:v>
                </c:pt>
                <c:pt idx="1746">
                  <c:v>228.33</c:v>
                </c:pt>
                <c:pt idx="1747">
                  <c:v>306.44880000000001</c:v>
                </c:pt>
                <c:pt idx="1748">
                  <c:v>394.36430000000001</c:v>
                </c:pt>
                <c:pt idx="1749">
                  <c:v>305.72559999999999</c:v>
                </c:pt>
                <c:pt idx="1750">
                  <c:v>345.78775000000002</c:v>
                </c:pt>
                <c:pt idx="1751">
                  <c:v>259.14569999999998</c:v>
                </c:pt>
                <c:pt idx="1752">
                  <c:v>223.55519999999996</c:v>
                </c:pt>
                <c:pt idx="1753">
                  <c:v>178.68764999999999</c:v>
                </c:pt>
                <c:pt idx="1754">
                  <c:v>172.73490000000001</c:v>
                </c:pt>
                <c:pt idx="1755">
                  <c:v>147.97640000000001</c:v>
                </c:pt>
                <c:pt idx="1756">
                  <c:v>167.07599999999999</c:v>
                </c:pt>
                <c:pt idx="1757">
                  <c:v>100.44799999999999</c:v>
                </c:pt>
                <c:pt idx="1758">
                  <c:v>126.27679999999998</c:v>
                </c:pt>
                <c:pt idx="1759">
                  <c:v>180.4563</c:v>
                </c:pt>
                <c:pt idx="1760">
                  <c:v>119.08440000000002</c:v>
                </c:pt>
                <c:pt idx="1761">
                  <c:v>113.27040000000001</c:v>
                </c:pt>
                <c:pt idx="1762">
                  <c:v>79.617599999999996</c:v>
                </c:pt>
                <c:pt idx="1763">
                  <c:v>81.328500000000005</c:v>
                </c:pt>
                <c:pt idx="1764">
                  <c:v>199.92405000000002</c:v>
                </c:pt>
                <c:pt idx="1765">
                  <c:v>111.62099999999998</c:v>
                </c:pt>
                <c:pt idx="1766">
                  <c:v>199.57</c:v>
                </c:pt>
                <c:pt idx="1767">
                  <c:v>255.37465</c:v>
                </c:pt>
                <c:pt idx="1768">
                  <c:v>194.33750000000001</c:v>
                </c:pt>
                <c:pt idx="1769">
                  <c:v>139.16</c:v>
                </c:pt>
                <c:pt idx="1770">
                  <c:v>126.46319999999999</c:v>
                </c:pt>
                <c:pt idx="1771">
                  <c:v>160.65270000000001</c:v>
                </c:pt>
                <c:pt idx="1772">
                  <c:v>159.10830000000001</c:v>
                </c:pt>
                <c:pt idx="1773">
                  <c:v>160.09649999999999</c:v>
                </c:pt>
                <c:pt idx="1774">
                  <c:v>200.55869999999999</c:v>
                </c:pt>
                <c:pt idx="1775">
                  <c:v>120.8844</c:v>
                </c:pt>
                <c:pt idx="1776">
                  <c:v>165.70050000000001</c:v>
                </c:pt>
                <c:pt idx="1777">
                  <c:v>98.896799999999999</c:v>
                </c:pt>
                <c:pt idx="1778">
                  <c:v>132.5104</c:v>
                </c:pt>
                <c:pt idx="1779">
                  <c:v>125.6523</c:v>
                </c:pt>
                <c:pt idx="1780">
                  <c:v>102.843</c:v>
                </c:pt>
                <c:pt idx="1781">
                  <c:v>185.62504999999996</c:v>
                </c:pt>
                <c:pt idx="1782">
                  <c:v>97.427999999999983</c:v>
                </c:pt>
                <c:pt idx="1783">
                  <c:v>123.43980000000001</c:v>
                </c:pt>
                <c:pt idx="1784">
                  <c:v>98.575299999999984</c:v>
                </c:pt>
                <c:pt idx="1785">
                  <c:v>116.2162</c:v>
                </c:pt>
                <c:pt idx="1786">
                  <c:v>94.233349999999987</c:v>
                </c:pt>
                <c:pt idx="1787">
                  <c:v>82.447199999999995</c:v>
                </c:pt>
                <c:pt idx="1788">
                  <c:v>102.96495</c:v>
                </c:pt>
                <c:pt idx="1789">
                  <c:v>100.51614999999998</c:v>
                </c:pt>
                <c:pt idx="1790">
                  <c:v>50.544899999999998</c:v>
                </c:pt>
                <c:pt idx="1791">
                  <c:v>154.90889999999999</c:v>
                </c:pt>
                <c:pt idx="1792">
                  <c:v>182.3766</c:v>
                </c:pt>
                <c:pt idx="1793">
                  <c:v>108.07200000000002</c:v>
                </c:pt>
                <c:pt idx="1794">
                  <c:v>121.75185</c:v>
                </c:pt>
                <c:pt idx="1795">
                  <c:v>163.46770000000001</c:v>
                </c:pt>
                <c:pt idx="1796">
                  <c:v>148.94040000000001</c:v>
                </c:pt>
                <c:pt idx="1797">
                  <c:v>146.22720000000001</c:v>
                </c:pt>
                <c:pt idx="1798">
                  <c:v>183.62375</c:v>
                </c:pt>
                <c:pt idx="1799">
                  <c:v>176.99535</c:v>
                </c:pt>
                <c:pt idx="1800">
                  <c:v>150.13980000000001</c:v>
                </c:pt>
                <c:pt idx="1801">
                  <c:v>63.587800000000001</c:v>
                </c:pt>
                <c:pt idx="1802">
                  <c:v>167.45760000000001</c:v>
                </c:pt>
                <c:pt idx="1803">
                  <c:v>111.7375</c:v>
                </c:pt>
                <c:pt idx="1804">
                  <c:v>124.01715</c:v>
                </c:pt>
                <c:pt idx="1805">
                  <c:v>97.247500000000002</c:v>
                </c:pt>
                <c:pt idx="1806">
                  <c:v>99.405799999999999</c:v>
                </c:pt>
                <c:pt idx="1807">
                  <c:v>60.882499999999993</c:v>
                </c:pt>
                <c:pt idx="1808">
                  <c:v>91.40949999999998</c:v>
                </c:pt>
                <c:pt idx="1809">
                  <c:v>99.881599999999992</c:v>
                </c:pt>
                <c:pt idx="1810">
                  <c:v>125.11360000000001</c:v>
                </c:pt>
                <c:pt idx="1811">
                  <c:v>84.696299999999994</c:v>
                </c:pt>
                <c:pt idx="1812">
                  <c:v>82.938400000000001</c:v>
                </c:pt>
                <c:pt idx="1813">
                  <c:v>98.311000000000007</c:v>
                </c:pt>
                <c:pt idx="1814">
                  <c:v>107.95</c:v>
                </c:pt>
                <c:pt idx="1815">
                  <c:v>143.69825</c:v>
                </c:pt>
                <c:pt idx="1816">
                  <c:v>125.34660000000001</c:v>
                </c:pt>
                <c:pt idx="1817">
                  <c:v>76.36</c:v>
                </c:pt>
                <c:pt idx="1818">
                  <c:v>116.79974999999999</c:v>
                </c:pt>
                <c:pt idx="1819">
                  <c:v>367.08254999999991</c:v>
                </c:pt>
                <c:pt idx="1820">
                  <c:v>92.207999999999998</c:v>
                </c:pt>
                <c:pt idx="1821">
                  <c:v>74.487250000000003</c:v>
                </c:pt>
                <c:pt idx="1822">
                  <c:v>138.38159999999999</c:v>
                </c:pt>
                <c:pt idx="1823">
                  <c:v>154.35810000000001</c:v>
                </c:pt>
                <c:pt idx="1824">
                  <c:v>107.8728</c:v>
                </c:pt>
                <c:pt idx="1825">
                  <c:v>114.74850000000002</c:v>
                </c:pt>
                <c:pt idx="1826">
                  <c:v>119.88520000000001</c:v>
                </c:pt>
                <c:pt idx="1827">
                  <c:v>77.33475</c:v>
                </c:pt>
                <c:pt idx="1828">
                  <c:v>64.537750000000003</c:v>
                </c:pt>
                <c:pt idx="1829">
                  <c:v>74.005099999999999</c:v>
                </c:pt>
                <c:pt idx="1830">
                  <c:v>90.026299999999992</c:v>
                </c:pt>
                <c:pt idx="1831">
                  <c:v>62.412400000000005</c:v>
                </c:pt>
                <c:pt idx="1832">
                  <c:v>78.321600000000004</c:v>
                </c:pt>
                <c:pt idx="1833">
                  <c:v>149.2072</c:v>
                </c:pt>
                <c:pt idx="1834">
                  <c:v>249.56100000000001</c:v>
                </c:pt>
                <c:pt idx="1835">
                  <c:v>106.41840000000001</c:v>
                </c:pt>
                <c:pt idx="1836">
                  <c:v>80.231399999999994</c:v>
                </c:pt>
                <c:pt idx="1837">
                  <c:v>135.12495000000001</c:v>
                </c:pt>
                <c:pt idx="1838">
                  <c:v>221.80999999999997</c:v>
                </c:pt>
                <c:pt idx="1839">
                  <c:v>83.716200000000001</c:v>
                </c:pt>
                <c:pt idx="1840">
                  <c:v>101.30255</c:v>
                </c:pt>
                <c:pt idx="1841">
                  <c:v>146.81625</c:v>
                </c:pt>
                <c:pt idx="1842">
                  <c:v>135.46199999999999</c:v>
                </c:pt>
                <c:pt idx="1843">
                  <c:v>174.97710000000001</c:v>
                </c:pt>
                <c:pt idx="1844">
                  <c:v>104.16749999999999</c:v>
                </c:pt>
                <c:pt idx="1845">
                  <c:v>93.456000000000003</c:v>
                </c:pt>
                <c:pt idx="1846">
                  <c:v>96.108649999999983</c:v>
                </c:pt>
                <c:pt idx="1847">
                  <c:v>131.01599999999999</c:v>
                </c:pt>
                <c:pt idx="1848">
                  <c:v>121.32225</c:v>
                </c:pt>
                <c:pt idx="1849">
                  <c:v>72.048000000000002</c:v>
                </c:pt>
                <c:pt idx="1850">
                  <c:v>118.9344</c:v>
                </c:pt>
                <c:pt idx="1851">
                  <c:v>125.05645</c:v>
                </c:pt>
                <c:pt idx="1852">
                  <c:v>82.384</c:v>
                </c:pt>
                <c:pt idx="1853">
                  <c:v>105.45535</c:v>
                </c:pt>
                <c:pt idx="1854">
                  <c:v>88.036199999999994</c:v>
                </c:pt>
                <c:pt idx="1855">
                  <c:v>141.49440000000001</c:v>
                </c:pt>
                <c:pt idx="1856">
                  <c:v>194.72295</c:v>
                </c:pt>
                <c:pt idx="1857">
                  <c:v>203.73480000000001</c:v>
                </c:pt>
                <c:pt idx="1858">
                  <c:v>51.563800000000001</c:v>
                </c:pt>
                <c:pt idx="1859">
                  <c:v>68.02</c:v>
                </c:pt>
                <c:pt idx="1860">
                  <c:v>156.49549999999999</c:v>
                </c:pt>
                <c:pt idx="1861">
                  <c:v>190.04130000000001</c:v>
                </c:pt>
                <c:pt idx="1862">
                  <c:v>391.86</c:v>
                </c:pt>
                <c:pt idx="1863">
                  <c:v>169.1225</c:v>
                </c:pt>
                <c:pt idx="1864">
                  <c:v>132.3784</c:v>
                </c:pt>
                <c:pt idx="1865">
                  <c:v>115.8516</c:v>
                </c:pt>
                <c:pt idx="1866">
                  <c:v>76.122150000000005</c:v>
                </c:pt>
                <c:pt idx="1867">
                  <c:v>97.913499999999999</c:v>
                </c:pt>
                <c:pt idx="1868">
                  <c:v>175.92165</c:v>
                </c:pt>
                <c:pt idx="1869">
                  <c:v>104.43899999999999</c:v>
                </c:pt>
                <c:pt idx="1870">
                  <c:v>135.31110000000001</c:v>
                </c:pt>
                <c:pt idx="1871">
                  <c:v>188.5575</c:v>
                </c:pt>
                <c:pt idx="1872">
                  <c:v>301.02839999999998</c:v>
                </c:pt>
                <c:pt idx="1873">
                  <c:v>437.99090000000001</c:v>
                </c:pt>
                <c:pt idx="1874">
                  <c:v>208.26</c:v>
                </c:pt>
                <c:pt idx="1875">
                  <c:v>269.02710000000002</c:v>
                </c:pt>
                <c:pt idx="1876">
                  <c:v>243.59334999999999</c:v>
                </c:pt>
                <c:pt idx="1877">
                  <c:v>258.56399999999996</c:v>
                </c:pt>
                <c:pt idx="1878">
                  <c:v>279.8415</c:v>
                </c:pt>
                <c:pt idx="1879">
                  <c:v>275.35199999999998</c:v>
                </c:pt>
                <c:pt idx="1880">
                  <c:v>146.58595</c:v>
                </c:pt>
                <c:pt idx="1881">
                  <c:v>126.976</c:v>
                </c:pt>
                <c:pt idx="1882">
                  <c:v>166.56295</c:v>
                </c:pt>
                <c:pt idx="1883">
                  <c:v>169.87649999999999</c:v>
                </c:pt>
                <c:pt idx="1884">
                  <c:v>141.12</c:v>
                </c:pt>
                <c:pt idx="1885">
                  <c:v>198.4161</c:v>
                </c:pt>
                <c:pt idx="1886">
                  <c:v>126.7071</c:v>
                </c:pt>
                <c:pt idx="1887">
                  <c:v>72.591999999999999</c:v>
                </c:pt>
                <c:pt idx="1888">
                  <c:v>91.391999999999996</c:v>
                </c:pt>
                <c:pt idx="1889">
                  <c:v>60.61</c:v>
                </c:pt>
                <c:pt idx="1890">
                  <c:v>73.127200000000002</c:v>
                </c:pt>
                <c:pt idx="1891">
                  <c:v>89.454400000000007</c:v>
                </c:pt>
                <c:pt idx="1892">
                  <c:v>139.36500000000001</c:v>
                </c:pt>
                <c:pt idx="1893">
                  <c:v>77.914000000000001</c:v>
                </c:pt>
                <c:pt idx="1894">
                  <c:v>91.33159999999998</c:v>
                </c:pt>
                <c:pt idx="1895">
                  <c:v>58.5822</c:v>
                </c:pt>
                <c:pt idx="1896">
                  <c:v>102.31</c:v>
                </c:pt>
                <c:pt idx="1897">
                  <c:v>103.824</c:v>
                </c:pt>
                <c:pt idx="1898">
                  <c:v>64.656000000000006</c:v>
                </c:pt>
                <c:pt idx="1899">
                  <c:v>123.00400000000002</c:v>
                </c:pt>
                <c:pt idx="1900">
                  <c:v>99.755600000000015</c:v>
                </c:pt>
                <c:pt idx="1901">
                  <c:v>94.219099999999983</c:v>
                </c:pt>
                <c:pt idx="1902">
                  <c:v>66.477599999999995</c:v>
                </c:pt>
                <c:pt idx="1903">
                  <c:v>76.5886</c:v>
                </c:pt>
                <c:pt idx="1904">
                  <c:v>113.5099</c:v>
                </c:pt>
                <c:pt idx="1905">
                  <c:v>115.38449999999999</c:v>
                </c:pt>
                <c:pt idx="1906">
                  <c:v>109.45709999999998</c:v>
                </c:pt>
                <c:pt idx="1907">
                  <c:v>91.315600000000003</c:v>
                </c:pt>
                <c:pt idx="1908">
                  <c:v>123.0909</c:v>
                </c:pt>
                <c:pt idx="1909">
                  <c:v>120.80805000000001</c:v>
                </c:pt>
                <c:pt idx="1910">
                  <c:v>99.708399999999997</c:v>
                </c:pt>
                <c:pt idx="1911">
                  <c:v>140.17439999999999</c:v>
                </c:pt>
                <c:pt idx="1912">
                  <c:v>123.80960000000002</c:v>
                </c:pt>
                <c:pt idx="1913">
                  <c:v>147.65100000000001</c:v>
                </c:pt>
                <c:pt idx="1914">
                  <c:v>72.602400000000003</c:v>
                </c:pt>
                <c:pt idx="1915">
                  <c:v>180.20009999999999</c:v>
                </c:pt>
                <c:pt idx="1916">
                  <c:v>241.03199999999998</c:v>
                </c:pt>
                <c:pt idx="1917">
                  <c:v>203.98395000000002</c:v>
                </c:pt>
                <c:pt idx="1918">
                  <c:v>118.00789999999998</c:v>
                </c:pt>
                <c:pt idx="1919">
                  <c:v>260.29475000000002</c:v>
                </c:pt>
                <c:pt idx="1920">
                  <c:v>176.0967</c:v>
                </c:pt>
                <c:pt idx="1921">
                  <c:v>303.9171</c:v>
                </c:pt>
                <c:pt idx="1922">
                  <c:v>406.28639999999996</c:v>
                </c:pt>
                <c:pt idx="1923">
                  <c:v>457.10325</c:v>
                </c:pt>
                <c:pt idx="1924">
                  <c:v>546.70280000000002</c:v>
                </c:pt>
                <c:pt idx="1925">
                  <c:v>648.98680000000002</c:v>
                </c:pt>
                <c:pt idx="1926">
                  <c:v>362.51490000000001</c:v>
                </c:pt>
                <c:pt idx="1927">
                  <c:v>121.1353</c:v>
                </c:pt>
                <c:pt idx="1928">
                  <c:v>172.02090000000001</c:v>
                </c:pt>
                <c:pt idx="1929">
                  <c:v>206.3502</c:v>
                </c:pt>
                <c:pt idx="1930">
                  <c:v>251.00280000000001</c:v>
                </c:pt>
                <c:pt idx="1931">
                  <c:v>141.5736</c:v>
                </c:pt>
                <c:pt idx="1932">
                  <c:v>107.87965000000001</c:v>
                </c:pt>
                <c:pt idx="1933">
                  <c:v>143.56649999999999</c:v>
                </c:pt>
                <c:pt idx="1934">
                  <c:v>110.7225</c:v>
                </c:pt>
                <c:pt idx="1935">
                  <c:v>144.0249</c:v>
                </c:pt>
                <c:pt idx="1936">
                  <c:v>108.7758</c:v>
                </c:pt>
                <c:pt idx="1937">
                  <c:v>109.34</c:v>
                </c:pt>
                <c:pt idx="1938">
                  <c:v>103.55149999999999</c:v>
                </c:pt>
                <c:pt idx="1939">
                  <c:v>97.217200000000005</c:v>
                </c:pt>
                <c:pt idx="1940">
                  <c:v>70.290000000000006</c:v>
                </c:pt>
                <c:pt idx="1941">
                  <c:v>136.94354999999999</c:v>
                </c:pt>
                <c:pt idx="1942">
                  <c:v>109.02839999999999</c:v>
                </c:pt>
                <c:pt idx="1943">
                  <c:v>107.14095</c:v>
                </c:pt>
                <c:pt idx="1944">
                  <c:v>73.399199999999993</c:v>
                </c:pt>
                <c:pt idx="1945">
                  <c:v>65.739000000000004</c:v>
                </c:pt>
                <c:pt idx="1946">
                  <c:v>176.39744999999999</c:v>
                </c:pt>
                <c:pt idx="1947">
                  <c:v>75.171599999999998</c:v>
                </c:pt>
                <c:pt idx="1948">
                  <c:v>55.773899999999998</c:v>
                </c:pt>
                <c:pt idx="1949">
                  <c:v>100.17920000000001</c:v>
                </c:pt>
                <c:pt idx="1950">
                  <c:v>51.958199999999998</c:v>
                </c:pt>
                <c:pt idx="1951">
                  <c:v>69.153899999999993</c:v>
                </c:pt>
                <c:pt idx="1952">
                  <c:v>89.862899999999996</c:v>
                </c:pt>
                <c:pt idx="1953">
                  <c:v>76.711799999999997</c:v>
                </c:pt>
                <c:pt idx="1954">
                  <c:v>104.583</c:v>
                </c:pt>
                <c:pt idx="1955">
                  <c:v>88.532399999999996</c:v>
                </c:pt>
                <c:pt idx="1956">
                  <c:v>76.076499999999996</c:v>
                </c:pt>
                <c:pt idx="1957">
                  <c:v>127.29375</c:v>
                </c:pt>
                <c:pt idx="1958">
                  <c:v>147.8364</c:v>
                </c:pt>
                <c:pt idx="1959">
                  <c:v>91.525000000000006</c:v>
                </c:pt>
                <c:pt idx="1960">
                  <c:v>58.226600000000005</c:v>
                </c:pt>
                <c:pt idx="1961">
                  <c:v>87</c:v>
                </c:pt>
                <c:pt idx="1962">
                  <c:v>105.19005000000001</c:v>
                </c:pt>
                <c:pt idx="1963">
                  <c:v>127.6082</c:v>
                </c:pt>
                <c:pt idx="1964">
                  <c:v>192.99375000000001</c:v>
                </c:pt>
                <c:pt idx="1965">
                  <c:v>376.80840000000001</c:v>
                </c:pt>
                <c:pt idx="1966">
                  <c:v>423.91660000000007</c:v>
                </c:pt>
                <c:pt idx="1967">
                  <c:v>224.77049999999997</c:v>
                </c:pt>
                <c:pt idx="1968">
                  <c:v>196.7988</c:v>
                </c:pt>
                <c:pt idx="1969">
                  <c:v>215.89699999999999</c:v>
                </c:pt>
                <c:pt idx="1970">
                  <c:v>184.27600000000001</c:v>
                </c:pt>
                <c:pt idx="1971">
                  <c:v>170.79150000000001</c:v>
                </c:pt>
                <c:pt idx="1972">
                  <c:v>76.083524999999995</c:v>
                </c:pt>
                <c:pt idx="1973">
                  <c:v>82.530450000000002</c:v>
                </c:pt>
                <c:pt idx="1974">
                  <c:v>55.057725000000005</c:v>
                </c:pt>
                <c:pt idx="1975">
                  <c:v>42.205300000000001</c:v>
                </c:pt>
                <c:pt idx="1976">
                  <c:v>69.882925</c:v>
                </c:pt>
                <c:pt idx="1977">
                  <c:v>70.137325000000004</c:v>
                </c:pt>
                <c:pt idx="1978">
                  <c:v>89.222125000000005</c:v>
                </c:pt>
                <c:pt idx="1979">
                  <c:v>145.10352499999999</c:v>
                </c:pt>
                <c:pt idx="1980">
                  <c:v>192.54917499999999</c:v>
                </c:pt>
                <c:pt idx="1981">
                  <c:v>193.39529999999999</c:v>
                </c:pt>
                <c:pt idx="1982">
                  <c:v>112.89664999999999</c:v>
                </c:pt>
                <c:pt idx="1983">
                  <c:v>93.458624999999998</c:v>
                </c:pt>
                <c:pt idx="1984">
                  <c:v>149.70892499999999</c:v>
                </c:pt>
                <c:pt idx="1985">
                  <c:v>142.90924999999999</c:v>
                </c:pt>
                <c:pt idx="1986">
                  <c:v>190.16139999999999</c:v>
                </c:pt>
                <c:pt idx="1987">
                  <c:v>248.625325</c:v>
                </c:pt>
                <c:pt idx="1988">
                  <c:v>139.55144999999999</c:v>
                </c:pt>
                <c:pt idx="1989">
                  <c:v>206.77357499999999</c:v>
                </c:pt>
                <c:pt idx="1990">
                  <c:v>114.91869999999999</c:v>
                </c:pt>
                <c:pt idx="1991">
                  <c:v>135.22409999999999</c:v>
                </c:pt>
                <c:pt idx="1992">
                  <c:v>165.68545</c:v>
                </c:pt>
                <c:pt idx="1993">
                  <c:v>152.40375</c:v>
                </c:pt>
                <c:pt idx="1994">
                  <c:v>162.96674999999999</c:v>
                </c:pt>
                <c:pt idx="1995">
                  <c:v>146.937375</c:v>
                </c:pt>
                <c:pt idx="1996">
                  <c:v>122.533125</c:v>
                </c:pt>
                <c:pt idx="1997">
                  <c:v>141.47662500000001</c:v>
                </c:pt>
                <c:pt idx="1998">
                  <c:v>165.94987499999999</c:v>
                </c:pt>
                <c:pt idx="1999">
                  <c:v>185.4315</c:v>
                </c:pt>
                <c:pt idx="2000">
                  <c:v>156.61799999999999</c:v>
                </c:pt>
                <c:pt idx="2001">
                  <c:v>104.598725</c:v>
                </c:pt>
                <c:pt idx="2002">
                  <c:v>108.978025</c:v>
                </c:pt>
                <c:pt idx="2003">
                  <c:v>200.10759999999999</c:v>
                </c:pt>
                <c:pt idx="2004">
                  <c:v>122.18235</c:v>
                </c:pt>
                <c:pt idx="2005">
                  <c:v>120.4182</c:v>
                </c:pt>
                <c:pt idx="2006">
                  <c:v>112.114875</c:v>
                </c:pt>
                <c:pt idx="2007">
                  <c:v>167.458125</c:v>
                </c:pt>
                <c:pt idx="2008">
                  <c:v>133.626375</c:v>
                </c:pt>
                <c:pt idx="2009">
                  <c:v>74.162875</c:v>
                </c:pt>
                <c:pt idx="2010">
                  <c:v>83.232900000000001</c:v>
                </c:pt>
                <c:pt idx="2011">
                  <c:v>61.171125000000004</c:v>
                </c:pt>
                <c:pt idx="2012">
                  <c:v>94.029475000000005</c:v>
                </c:pt>
                <c:pt idx="2013">
                  <c:v>59.906699999999994</c:v>
                </c:pt>
                <c:pt idx="2014">
                  <c:v>132.275025</c:v>
                </c:pt>
                <c:pt idx="2015">
                  <c:v>134.44662500000001</c:v>
                </c:pt>
                <c:pt idx="2016">
                  <c:v>66.994124999999997</c:v>
                </c:pt>
                <c:pt idx="2017">
                  <c:v>103.33244999999998</c:v>
                </c:pt>
                <c:pt idx="2018">
                  <c:v>74.553849999999997</c:v>
                </c:pt>
                <c:pt idx="2019">
                  <c:v>78.240750000000006</c:v>
                </c:pt>
                <c:pt idx="2020">
                  <c:v>89.999399999999994</c:v>
                </c:pt>
                <c:pt idx="2021">
                  <c:v>90.156099999999995</c:v>
                </c:pt>
                <c:pt idx="2022">
                  <c:v>129.34350000000001</c:v>
                </c:pt>
                <c:pt idx="2023">
                  <c:v>130.07662500000001</c:v>
                </c:pt>
                <c:pt idx="2024">
                  <c:v>130.50864999999999</c:v>
                </c:pt>
                <c:pt idx="2025">
                  <c:v>86.843575000000001</c:v>
                </c:pt>
                <c:pt idx="2026">
                  <c:v>69.339074999999994</c:v>
                </c:pt>
                <c:pt idx="2027">
                  <c:v>181.19752500000001</c:v>
                </c:pt>
                <c:pt idx="2028">
                  <c:v>44.116100000000003</c:v>
                </c:pt>
                <c:pt idx="2029">
                  <c:v>77.986800000000002</c:v>
                </c:pt>
                <c:pt idx="2030">
                  <c:v>158.04965000000001</c:v>
                </c:pt>
                <c:pt idx="2031">
                  <c:v>66.230500000000006</c:v>
                </c:pt>
                <c:pt idx="2032">
                  <c:v>145.73945000000001</c:v>
                </c:pt>
                <c:pt idx="2033">
                  <c:v>70.176349999999999</c:v>
                </c:pt>
                <c:pt idx="2034">
                  <c:v>69.749125000000006</c:v>
                </c:pt>
                <c:pt idx="2035">
                  <c:v>94.795325000000005</c:v>
                </c:pt>
                <c:pt idx="2036">
                  <c:v>143.02795</c:v>
                </c:pt>
                <c:pt idx="2037">
                  <c:v>72.865774999999999</c:v>
                </c:pt>
                <c:pt idx="2038">
                  <c:v>115.504875</c:v>
                </c:pt>
                <c:pt idx="2039">
                  <c:v>97.697000000000003</c:v>
                </c:pt>
                <c:pt idx="2040">
                  <c:v>110.048875</c:v>
                </c:pt>
                <c:pt idx="2041">
                  <c:v>134.97512499999999</c:v>
                </c:pt>
                <c:pt idx="2042">
                  <c:v>85.900424999999998</c:v>
                </c:pt>
                <c:pt idx="2043">
                  <c:v>83.155974999999998</c:v>
                </c:pt>
                <c:pt idx="2044">
                  <c:v>155.04220000000001</c:v>
                </c:pt>
                <c:pt idx="2045">
                  <c:v>111.36</c:v>
                </c:pt>
                <c:pt idx="2046">
                  <c:v>210.65440000000004</c:v>
                </c:pt>
                <c:pt idx="2047">
                  <c:v>84.635249999999999</c:v>
                </c:pt>
                <c:pt idx="2048">
                  <c:v>80.260800000000003</c:v>
                </c:pt>
                <c:pt idx="2049">
                  <c:v>69.061224999999993</c:v>
                </c:pt>
                <c:pt idx="2050">
                  <c:v>102.49740000000001</c:v>
                </c:pt>
                <c:pt idx="2051">
                  <c:v>147.60720000000001</c:v>
                </c:pt>
                <c:pt idx="2052">
                  <c:v>93.67765</c:v>
                </c:pt>
                <c:pt idx="2053">
                  <c:v>74.850075000000004</c:v>
                </c:pt>
                <c:pt idx="2054">
                  <c:v>69.436875000000001</c:v>
                </c:pt>
                <c:pt idx="2055">
                  <c:v>57.752099999999992</c:v>
                </c:pt>
                <c:pt idx="2056">
                  <c:v>44.539774999999999</c:v>
                </c:pt>
                <c:pt idx="2057">
                  <c:v>73.811250000000001</c:v>
                </c:pt>
                <c:pt idx="2058">
                  <c:v>95.845025000000007</c:v>
                </c:pt>
                <c:pt idx="2059">
                  <c:v>89.375399999999999</c:v>
                </c:pt>
                <c:pt idx="2060">
                  <c:v>116.29045000000001</c:v>
                </c:pt>
                <c:pt idx="2061">
                  <c:v>85.496125000000006</c:v>
                </c:pt>
                <c:pt idx="2062">
                  <c:v>57.717350000000003</c:v>
                </c:pt>
                <c:pt idx="2063">
                  <c:v>112.90062500000001</c:v>
                </c:pt>
                <c:pt idx="2064">
                  <c:v>126.60907500000002</c:v>
                </c:pt>
                <c:pt idx="2065">
                  <c:v>85.548974999999999</c:v>
                </c:pt>
                <c:pt idx="2066">
                  <c:v>137.5377</c:v>
                </c:pt>
                <c:pt idx="2067">
                  <c:v>62.730625000000003</c:v>
                </c:pt>
                <c:pt idx="2068">
                  <c:v>81.480675000000005</c:v>
                </c:pt>
                <c:pt idx="2069">
                  <c:v>61.353650000000002</c:v>
                </c:pt>
                <c:pt idx="2070">
                  <c:v>78.397675000000007</c:v>
                </c:pt>
                <c:pt idx="2071">
                  <c:v>193.25470000000001</c:v>
                </c:pt>
                <c:pt idx="2072">
                  <c:v>78.335599999999999</c:v>
                </c:pt>
                <c:pt idx="2073">
                  <c:v>69.860624999999999</c:v>
                </c:pt>
                <c:pt idx="2074">
                  <c:v>76.703999999999994</c:v>
                </c:pt>
                <c:pt idx="2075">
                  <c:v>63.253574999999998</c:v>
                </c:pt>
                <c:pt idx="2076">
                  <c:v>61.057099999999991</c:v>
                </c:pt>
                <c:pt idx="2077">
                  <c:v>123.5874</c:v>
                </c:pt>
                <c:pt idx="2078">
                  <c:v>55.76</c:v>
                </c:pt>
                <c:pt idx="2079">
                  <c:v>48.790200000000006</c:v>
                </c:pt>
                <c:pt idx="2080">
                  <c:v>92.72477499999998</c:v>
                </c:pt>
                <c:pt idx="2081">
                  <c:v>63.137175000000006</c:v>
                </c:pt>
                <c:pt idx="2082">
                  <c:v>98.728250000000017</c:v>
                </c:pt>
                <c:pt idx="2083">
                  <c:v>70.668899999999994</c:v>
                </c:pt>
                <c:pt idx="2084">
                  <c:v>97.83359999999999</c:v>
                </c:pt>
                <c:pt idx="2085">
                  <c:v>97.83359999999999</c:v>
                </c:pt>
                <c:pt idx="2086">
                  <c:v>57.772275</c:v>
                </c:pt>
                <c:pt idx="2087">
                  <c:v>59.416499999999999</c:v>
                </c:pt>
                <c:pt idx="2088">
                  <c:v>87.804575</c:v>
                </c:pt>
                <c:pt idx="2089">
                  <c:v>103.78819999999999</c:v>
                </c:pt>
                <c:pt idx="2090">
                  <c:v>197.0419</c:v>
                </c:pt>
                <c:pt idx="2091">
                  <c:v>96.954300000000003</c:v>
                </c:pt>
                <c:pt idx="2092">
                  <c:v>119.756925</c:v>
                </c:pt>
                <c:pt idx="2093">
                  <c:v>109.1991</c:v>
                </c:pt>
                <c:pt idx="2094">
                  <c:v>105.1155</c:v>
                </c:pt>
                <c:pt idx="2095">
                  <c:v>61.050624999999997</c:v>
                </c:pt>
                <c:pt idx="2096">
                  <c:v>78.014475000000004</c:v>
                </c:pt>
                <c:pt idx="2097">
                  <c:v>63.719250000000002</c:v>
                </c:pt>
                <c:pt idx="2098">
                  <c:v>65.453850000000003</c:v>
                </c:pt>
                <c:pt idx="2099">
                  <c:v>72.883224999999996</c:v>
                </c:pt>
                <c:pt idx="2100">
                  <c:v>92.899574999999999</c:v>
                </c:pt>
                <c:pt idx="2101">
                  <c:v>230.02279999999999</c:v>
                </c:pt>
                <c:pt idx="2102">
                  <c:v>272.328125</c:v>
                </c:pt>
                <c:pt idx="2103">
                  <c:v>167.94374999999999</c:v>
                </c:pt>
                <c:pt idx="2104">
                  <c:v>149.1678</c:v>
                </c:pt>
                <c:pt idx="2105">
                  <c:v>140.58734999999999</c:v>
                </c:pt>
                <c:pt idx="2106">
                  <c:v>202.97970000000001</c:v>
                </c:pt>
                <c:pt idx="2107">
                  <c:v>177.561725</c:v>
                </c:pt>
                <c:pt idx="2108">
                  <c:v>115.17747500000002</c:v>
                </c:pt>
                <c:pt idx="2109">
                  <c:v>141.46019999999999</c:v>
                </c:pt>
                <c:pt idx="2110">
                  <c:v>149.428425</c:v>
                </c:pt>
                <c:pt idx="2111">
                  <c:v>136.76025000000001</c:v>
                </c:pt>
                <c:pt idx="2112">
                  <c:v>184.50075000000001</c:v>
                </c:pt>
                <c:pt idx="2113">
                  <c:v>116.04157499999999</c:v>
                </c:pt>
                <c:pt idx="2114">
                  <c:v>106.95847500000001</c:v>
                </c:pt>
                <c:pt idx="2115">
                  <c:v>53.543424999999999</c:v>
                </c:pt>
                <c:pt idx="2116">
                  <c:v>79.328975</c:v>
                </c:pt>
                <c:pt idx="2117">
                  <c:v>105.21140000000001</c:v>
                </c:pt>
                <c:pt idx="2118">
                  <c:v>124.30125</c:v>
                </c:pt>
                <c:pt idx="2119">
                  <c:v>104.39655</c:v>
                </c:pt>
                <c:pt idx="2120">
                  <c:v>107.38124999999999</c:v>
                </c:pt>
                <c:pt idx="2121">
                  <c:v>107.192075</c:v>
                </c:pt>
                <c:pt idx="2122">
                  <c:v>101.266875</c:v>
                </c:pt>
                <c:pt idx="2123">
                  <c:v>71.977350000000001</c:v>
                </c:pt>
                <c:pt idx="2124">
                  <c:v>79.969224999999994</c:v>
                </c:pt>
                <c:pt idx="2125">
                  <c:v>112.35175</c:v>
                </c:pt>
                <c:pt idx="2126">
                  <c:v>101.16952500000002</c:v>
                </c:pt>
                <c:pt idx="2127">
                  <c:v>76.121375</c:v>
                </c:pt>
                <c:pt idx="2128">
                  <c:v>173.88637499999999</c:v>
                </c:pt>
                <c:pt idx="2129">
                  <c:v>123.640125</c:v>
                </c:pt>
                <c:pt idx="2130">
                  <c:v>128.04</c:v>
                </c:pt>
                <c:pt idx="2131">
                  <c:v>123.66374999999999</c:v>
                </c:pt>
                <c:pt idx="2132">
                  <c:v>220.80345000000003</c:v>
                </c:pt>
                <c:pt idx="2133">
                  <c:v>127.30589999999998</c:v>
                </c:pt>
                <c:pt idx="2134">
                  <c:v>206.15985000000001</c:v>
                </c:pt>
                <c:pt idx="2135">
                  <c:v>65.73060000000001</c:v>
                </c:pt>
                <c:pt idx="2136">
                  <c:v>54.070999999999998</c:v>
                </c:pt>
                <c:pt idx="2137">
                  <c:v>100.476275</c:v>
                </c:pt>
                <c:pt idx="2138">
                  <c:v>196.80125000000001</c:v>
                </c:pt>
                <c:pt idx="2139">
                  <c:v>480.35834999999997</c:v>
                </c:pt>
                <c:pt idx="2140">
                  <c:v>539.93555000000003</c:v>
                </c:pt>
                <c:pt idx="2141">
                  <c:v>308.63040000000001</c:v>
                </c:pt>
                <c:pt idx="2142">
                  <c:v>200.60599999999999</c:v>
                </c:pt>
                <c:pt idx="2143">
                  <c:v>196.65950000000001</c:v>
                </c:pt>
                <c:pt idx="2144">
                  <c:v>183.84639999999999</c:v>
                </c:pt>
                <c:pt idx="2145">
                  <c:v>150.10765000000001</c:v>
                </c:pt>
                <c:pt idx="2146">
                  <c:v>283.44824999999997</c:v>
                </c:pt>
                <c:pt idx="2147">
                  <c:v>210.68074999999999</c:v>
                </c:pt>
                <c:pt idx="2148">
                  <c:v>189.14279999999999</c:v>
                </c:pt>
                <c:pt idx="2149">
                  <c:v>150.57364999999999</c:v>
                </c:pt>
                <c:pt idx="2150">
                  <c:v>76.083600000000004</c:v>
                </c:pt>
                <c:pt idx="2151">
                  <c:v>96.996899999999997</c:v>
                </c:pt>
                <c:pt idx="2152">
                  <c:v>71.312875000000005</c:v>
                </c:pt>
                <c:pt idx="2153">
                  <c:v>61.267999999999994</c:v>
                </c:pt>
                <c:pt idx="2154">
                  <c:v>91.451324999999997</c:v>
                </c:pt>
                <c:pt idx="2155">
                  <c:v>135.879975</c:v>
                </c:pt>
                <c:pt idx="2156">
                  <c:v>192.893925</c:v>
                </c:pt>
                <c:pt idx="2157">
                  <c:v>175.60415</c:v>
                </c:pt>
                <c:pt idx="2158">
                  <c:v>140.38640000000001</c:v>
                </c:pt>
                <c:pt idx="2159">
                  <c:v>88.910025000000005</c:v>
                </c:pt>
                <c:pt idx="2160">
                  <c:v>124.33109999999999</c:v>
                </c:pt>
                <c:pt idx="2161">
                  <c:v>78.510599999999997</c:v>
                </c:pt>
                <c:pt idx="2162">
                  <c:v>111.19275</c:v>
                </c:pt>
                <c:pt idx="2163">
                  <c:v>101.19504999999999</c:v>
                </c:pt>
                <c:pt idx="2164">
                  <c:v>136.606675</c:v>
                </c:pt>
                <c:pt idx="2165">
                  <c:v>140.58112499999999</c:v>
                </c:pt>
                <c:pt idx="2166">
                  <c:v>86.593374999999995</c:v>
                </c:pt>
                <c:pt idx="2167">
                  <c:v>60.008249999999997</c:v>
                </c:pt>
                <c:pt idx="2168">
                  <c:v>87.861675000000005</c:v>
                </c:pt>
                <c:pt idx="2169">
                  <c:v>116.17240000000001</c:v>
                </c:pt>
                <c:pt idx="2170">
                  <c:v>60.502200000000009</c:v>
                </c:pt>
                <c:pt idx="2171">
                  <c:v>56.931074999999993</c:v>
                </c:pt>
                <c:pt idx="2172">
                  <c:v>77.499600000000001</c:v>
                </c:pt>
                <c:pt idx="2173">
                  <c:v>64.022450000000006</c:v>
                </c:pt>
                <c:pt idx="2174">
                  <c:v>85.8596</c:v>
                </c:pt>
                <c:pt idx="2175">
                  <c:v>91.716449999999995</c:v>
                </c:pt>
                <c:pt idx="2176">
                  <c:v>87.016999999999996</c:v>
                </c:pt>
                <c:pt idx="2177">
                  <c:v>102.100375</c:v>
                </c:pt>
                <c:pt idx="2178">
                  <c:v>109.08727500000002</c:v>
                </c:pt>
                <c:pt idx="2179">
                  <c:v>44.091025000000002</c:v>
                </c:pt>
                <c:pt idx="2180">
                  <c:v>64.374750000000006</c:v>
                </c:pt>
                <c:pt idx="2181">
                  <c:v>91.464825000000005</c:v>
                </c:pt>
                <c:pt idx="2182">
                  <c:v>81.549049999999994</c:v>
                </c:pt>
                <c:pt idx="2183">
                  <c:v>112.89302500000001</c:v>
                </c:pt>
                <c:pt idx="2184">
                  <c:v>92.613699999999994</c:v>
                </c:pt>
                <c:pt idx="2185">
                  <c:v>112.23765000000002</c:v>
                </c:pt>
                <c:pt idx="2186">
                  <c:v>89.950850000000003</c:v>
                </c:pt>
                <c:pt idx="2187">
                  <c:v>49.803249999999998</c:v>
                </c:pt>
                <c:pt idx="2188">
                  <c:v>69.101375000000004</c:v>
                </c:pt>
                <c:pt idx="2189">
                  <c:v>51.493250000000003</c:v>
                </c:pt>
                <c:pt idx="2190">
                  <c:v>60.873149999999995</c:v>
                </c:pt>
                <c:pt idx="2191">
                  <c:v>70.686875000000001</c:v>
                </c:pt>
                <c:pt idx="2192">
                  <c:v>52.648049999999991</c:v>
                </c:pt>
                <c:pt idx="2193">
                  <c:v>79.220699999999994</c:v>
                </c:pt>
                <c:pt idx="2194">
                  <c:v>89.519199999999998</c:v>
                </c:pt>
                <c:pt idx="2195">
                  <c:v>62.577449999999992</c:v>
                </c:pt>
                <c:pt idx="2196">
                  <c:v>43.764524999999999</c:v>
                </c:pt>
                <c:pt idx="2197">
                  <c:v>120.02662500000001</c:v>
                </c:pt>
                <c:pt idx="2198">
                  <c:v>137.41487499999999</c:v>
                </c:pt>
                <c:pt idx="2199">
                  <c:v>87.656975000000003</c:v>
                </c:pt>
                <c:pt idx="2200">
                  <c:v>89.416799999999995</c:v>
                </c:pt>
                <c:pt idx="2201">
                  <c:v>59.57739999999999</c:v>
                </c:pt>
                <c:pt idx="2202">
                  <c:v>79.458600000000004</c:v>
                </c:pt>
                <c:pt idx="2203">
                  <c:v>44.607624999999999</c:v>
                </c:pt>
                <c:pt idx="2204">
                  <c:v>84.405225000000002</c:v>
                </c:pt>
                <c:pt idx="2205">
                  <c:v>75.516999999999996</c:v>
                </c:pt>
                <c:pt idx="2206">
                  <c:v>43.747</c:v>
                </c:pt>
                <c:pt idx="2207">
                  <c:v>35.795050000000003</c:v>
                </c:pt>
                <c:pt idx="2208">
                  <c:v>50.696325000000009</c:v>
                </c:pt>
                <c:pt idx="2209">
                  <c:v>66.679725000000005</c:v>
                </c:pt>
                <c:pt idx="2210">
                  <c:v>111.58162499999999</c:v>
                </c:pt>
                <c:pt idx="2211">
                  <c:v>127.91575</c:v>
                </c:pt>
                <c:pt idx="2212">
                  <c:v>126.72675</c:v>
                </c:pt>
                <c:pt idx="2213">
                  <c:v>65.064149999999998</c:v>
                </c:pt>
                <c:pt idx="2214">
                  <c:v>87.043424999999999</c:v>
                </c:pt>
                <c:pt idx="2215">
                  <c:v>107.53644999999999</c:v>
                </c:pt>
                <c:pt idx="2216">
                  <c:v>88.630650000000003</c:v>
                </c:pt>
                <c:pt idx="2217">
                  <c:v>229.52905000000001</c:v>
                </c:pt>
                <c:pt idx="2218">
                  <c:v>127.469825</c:v>
                </c:pt>
                <c:pt idx="2219">
                  <c:v>63.619250000000008</c:v>
                </c:pt>
                <c:pt idx="2220">
                  <c:v>109.49619999999999</c:v>
                </c:pt>
                <c:pt idx="2221">
                  <c:v>79.544925000000006</c:v>
                </c:pt>
                <c:pt idx="2222">
                  <c:v>89.34975</c:v>
                </c:pt>
                <c:pt idx="2223">
                  <c:v>44.968000000000004</c:v>
                </c:pt>
                <c:pt idx="2224">
                  <c:v>60.488999999999997</c:v>
                </c:pt>
                <c:pt idx="2225">
                  <c:v>64.480050000000006</c:v>
                </c:pt>
                <c:pt idx="2226">
                  <c:v>18.69125</c:v>
                </c:pt>
                <c:pt idx="2227">
                  <c:v>70.286600000000007</c:v>
                </c:pt>
                <c:pt idx="2228">
                  <c:v>59.961000000000006</c:v>
                </c:pt>
                <c:pt idx="2229">
                  <c:v>36.379300000000001</c:v>
                </c:pt>
                <c:pt idx="2230">
                  <c:v>51.850499999999997</c:v>
                </c:pt>
                <c:pt idx="2231">
                  <c:v>150.85217499999999</c:v>
                </c:pt>
                <c:pt idx="2232">
                  <c:v>70.893199999999993</c:v>
                </c:pt>
                <c:pt idx="2233">
                  <c:v>73.807625000000002</c:v>
                </c:pt>
                <c:pt idx="2234">
                  <c:v>246.11385000000001</c:v>
                </c:pt>
                <c:pt idx="2235">
                  <c:v>129.73022499999999</c:v>
                </c:pt>
                <c:pt idx="2236">
                  <c:v>196.9605</c:v>
                </c:pt>
                <c:pt idx="2237">
                  <c:v>117.0365</c:v>
                </c:pt>
                <c:pt idx="2238">
                  <c:v>137.548125</c:v>
                </c:pt>
                <c:pt idx="2239">
                  <c:v>149.98939999999999</c:v>
                </c:pt>
                <c:pt idx="2240">
                  <c:v>285.71465000000001</c:v>
                </c:pt>
                <c:pt idx="2241">
                  <c:v>175.61555000000001</c:v>
                </c:pt>
                <c:pt idx="2242">
                  <c:v>218.053575</c:v>
                </c:pt>
                <c:pt idx="2243">
                  <c:v>108.019475</c:v>
                </c:pt>
                <c:pt idx="2244">
                  <c:v>118.43885</c:v>
                </c:pt>
                <c:pt idx="2245">
                  <c:v>89.238974999999996</c:v>
                </c:pt>
                <c:pt idx="2246">
                  <c:v>74.520250000000004</c:v>
                </c:pt>
                <c:pt idx="2247">
                  <c:v>109.64579999999999</c:v>
                </c:pt>
                <c:pt idx="2248">
                  <c:v>79.760625000000005</c:v>
                </c:pt>
                <c:pt idx="2249">
                  <c:v>97.369950000000003</c:v>
                </c:pt>
                <c:pt idx="2250">
                  <c:v>65.790724999999995</c:v>
                </c:pt>
                <c:pt idx="2251">
                  <c:v>96.887775000000005</c:v>
                </c:pt>
                <c:pt idx="2252">
                  <c:v>110.95</c:v>
                </c:pt>
                <c:pt idx="2253">
                  <c:v>92.624975000000006</c:v>
                </c:pt>
                <c:pt idx="2254">
                  <c:v>108.2766</c:v>
                </c:pt>
                <c:pt idx="2255">
                  <c:v>123.64019999999999</c:v>
                </c:pt>
                <c:pt idx="2256">
                  <c:v>143.00970000000001</c:v>
                </c:pt>
                <c:pt idx="2257">
                  <c:v>119.464275</c:v>
                </c:pt>
                <c:pt idx="2258">
                  <c:v>258.89655000000005</c:v>
                </c:pt>
                <c:pt idx="2259">
                  <c:v>134.86687499999999</c:v>
                </c:pt>
                <c:pt idx="2260">
                  <c:v>146.169725</c:v>
                </c:pt>
                <c:pt idx="2261">
                  <c:v>85.863375000000005</c:v>
                </c:pt>
                <c:pt idx="2262">
                  <c:v>105.8955</c:v>
                </c:pt>
                <c:pt idx="2263">
                  <c:v>116.95569999999999</c:v>
                </c:pt>
                <c:pt idx="2264">
                  <c:v>82.443100000000001</c:v>
                </c:pt>
                <c:pt idx="2265">
                  <c:v>83.997</c:v>
                </c:pt>
                <c:pt idx="2266">
                  <c:v>92.649375000000006</c:v>
                </c:pt>
                <c:pt idx="2267">
                  <c:v>68.116950000000003</c:v>
                </c:pt>
                <c:pt idx="2268">
                  <c:v>92.776799999999994</c:v>
                </c:pt>
                <c:pt idx="2269">
                  <c:v>73.016649999999998</c:v>
                </c:pt>
                <c:pt idx="2270">
                  <c:v>108.938025</c:v>
                </c:pt>
                <c:pt idx="2271">
                  <c:v>103.98260000000001</c:v>
                </c:pt>
                <c:pt idx="2272">
                  <c:v>89.006050000000002</c:v>
                </c:pt>
                <c:pt idx="2273">
                  <c:v>88.977350000000001</c:v>
                </c:pt>
                <c:pt idx="2274">
                  <c:v>63.705749999999995</c:v>
                </c:pt>
                <c:pt idx="2275">
                  <c:v>69.946150000000003</c:v>
                </c:pt>
                <c:pt idx="2276">
                  <c:v>58.362000000000002</c:v>
                </c:pt>
                <c:pt idx="2277">
                  <c:v>90.544300000000007</c:v>
                </c:pt>
                <c:pt idx="2278">
                  <c:v>87.7059</c:v>
                </c:pt>
                <c:pt idx="2279">
                  <c:v>42.127499999999998</c:v>
                </c:pt>
                <c:pt idx="2280">
                  <c:v>78.135125000000002</c:v>
                </c:pt>
                <c:pt idx="2281">
                  <c:v>93.233999999999995</c:v>
                </c:pt>
                <c:pt idx="2282">
                  <c:v>117.85857499999999</c:v>
                </c:pt>
                <c:pt idx="2283">
                  <c:v>67.047749999999994</c:v>
                </c:pt>
                <c:pt idx="2284">
                  <c:v>60.073875000000001</c:v>
                </c:pt>
                <c:pt idx="2285">
                  <c:v>60.910724999999999</c:v>
                </c:pt>
                <c:pt idx="2286">
                  <c:v>80.601675</c:v>
                </c:pt>
                <c:pt idx="2287">
                  <c:v>80.923850000000002</c:v>
                </c:pt>
                <c:pt idx="2288">
                  <c:v>72.992024999999998</c:v>
                </c:pt>
                <c:pt idx="2289">
                  <c:v>87.167474999999996</c:v>
                </c:pt>
                <c:pt idx="2290">
                  <c:v>111.85282499999998</c:v>
                </c:pt>
                <c:pt idx="2291">
                  <c:v>80.608050000000006</c:v>
                </c:pt>
                <c:pt idx="2292">
                  <c:v>83.572800000000001</c:v>
                </c:pt>
                <c:pt idx="2293">
                  <c:v>57.405850000000008</c:v>
                </c:pt>
                <c:pt idx="2294">
                  <c:v>102.968425</c:v>
                </c:pt>
                <c:pt idx="2295">
                  <c:v>93.395049999999998</c:v>
                </c:pt>
                <c:pt idx="2296">
                  <c:v>108.18352500000002</c:v>
                </c:pt>
                <c:pt idx="2297">
                  <c:v>107.64215</c:v>
                </c:pt>
                <c:pt idx="2298">
                  <c:v>88.276849999999996</c:v>
                </c:pt>
                <c:pt idx="2299">
                  <c:v>145.76537500000001</c:v>
                </c:pt>
                <c:pt idx="2300">
                  <c:v>206.056275</c:v>
                </c:pt>
                <c:pt idx="2301">
                  <c:v>86.5732</c:v>
                </c:pt>
                <c:pt idx="2302">
                  <c:v>98.406000000000006</c:v>
                </c:pt>
                <c:pt idx="2303">
                  <c:v>112.40415000000002</c:v>
                </c:pt>
                <c:pt idx="2304">
                  <c:v>106.95794999999998</c:v>
                </c:pt>
                <c:pt idx="2305">
                  <c:v>94.581374999999994</c:v>
                </c:pt>
                <c:pt idx="2306">
                  <c:v>113.96787500000002</c:v>
                </c:pt>
                <c:pt idx="2307">
                  <c:v>79.381200000000007</c:v>
                </c:pt>
                <c:pt idx="2308">
                  <c:v>85.086224999999999</c:v>
                </c:pt>
                <c:pt idx="2309">
                  <c:v>63.381425</c:v>
                </c:pt>
                <c:pt idx="2310">
                  <c:v>82.287625000000006</c:v>
                </c:pt>
                <c:pt idx="2311">
                  <c:v>114.91679999999999</c:v>
                </c:pt>
                <c:pt idx="2312">
                  <c:v>142.73085</c:v>
                </c:pt>
                <c:pt idx="2313">
                  <c:v>93.420249999999996</c:v>
                </c:pt>
                <c:pt idx="2314">
                  <c:v>103.68187500000001</c:v>
                </c:pt>
                <c:pt idx="2315">
                  <c:v>105.020475</c:v>
                </c:pt>
                <c:pt idx="2316">
                  <c:v>74.419375000000002</c:v>
                </c:pt>
                <c:pt idx="2317">
                  <c:v>124.34467500000001</c:v>
                </c:pt>
                <c:pt idx="2318">
                  <c:v>153.06757500000001</c:v>
                </c:pt>
                <c:pt idx="2319">
                  <c:v>128.00357499999998</c:v>
                </c:pt>
                <c:pt idx="2320">
                  <c:v>107.39667499999999</c:v>
                </c:pt>
                <c:pt idx="2321">
                  <c:v>145.78200000000001</c:v>
                </c:pt>
                <c:pt idx="2322">
                  <c:v>144.356875</c:v>
                </c:pt>
                <c:pt idx="2323">
                  <c:v>89.064149999999998</c:v>
                </c:pt>
                <c:pt idx="2324">
                  <c:v>102.16225</c:v>
                </c:pt>
                <c:pt idx="2325">
                  <c:v>221.77169999999998</c:v>
                </c:pt>
              </c:numCache>
            </c:numRef>
          </c:val>
          <c:smooth val="0"/>
          <c:extLst xmlns:c16r2="http://schemas.microsoft.com/office/drawing/2015/06/chart">
            <c:ext xmlns:c16="http://schemas.microsoft.com/office/drawing/2014/chart" uri="{C3380CC4-5D6E-409C-BE32-E72D297353CC}">
              <c16:uniqueId val="{00000004-D32F-411E-8D19-FB25DBF8795E}"/>
            </c:ext>
          </c:extLst>
        </c:ser>
        <c:dLbls>
          <c:showLegendKey val="0"/>
          <c:showVal val="0"/>
          <c:showCatName val="0"/>
          <c:showSerName val="0"/>
          <c:showPercent val="0"/>
          <c:showBubbleSize val="0"/>
        </c:dLbls>
        <c:marker val="1"/>
        <c:smooth val="0"/>
        <c:axId val="554710912"/>
        <c:axId val="554712448"/>
      </c:lineChart>
      <c:dateAx>
        <c:axId val="554710912"/>
        <c:scaling>
          <c:orientation val="minMax"/>
        </c:scaling>
        <c:delete val="0"/>
        <c:axPos val="b"/>
        <c:numFmt formatCode="m/d/yyyy" sourceLinked="1"/>
        <c:majorTickMark val="none"/>
        <c:minorTickMark val="none"/>
        <c:tickLblPos val="nextTo"/>
        <c:crossAx val="554712448"/>
        <c:crosses val="autoZero"/>
        <c:auto val="1"/>
        <c:lblOffset val="100"/>
        <c:baseTimeUnit val="days"/>
      </c:dateAx>
      <c:valAx>
        <c:axId val="554712448"/>
        <c:scaling>
          <c:orientation val="minMax"/>
        </c:scaling>
        <c:delete val="0"/>
        <c:axPos val="l"/>
        <c:majorGridlines/>
        <c:numFmt formatCode="_(* #,##0.00_);_(* \(#,##0.00\);_(* &quot;-&quot;??_);_(@_)" sourceLinked="1"/>
        <c:majorTickMark val="none"/>
        <c:minorTickMark val="none"/>
        <c:tickLblPos val="nextTo"/>
        <c:spPr>
          <a:ln w="9525">
            <a:noFill/>
          </a:ln>
        </c:spPr>
        <c:crossAx val="554710912"/>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a:lstStyle/>
          <a:p>
            <a:pPr>
              <a:defRPr/>
            </a:pPr>
            <a:r>
              <a:rPr lang="en-US" sz="1400" b="1" i="0" baseline="0" dirty="0">
                <a:effectLst/>
              </a:rPr>
              <a:t>Historical periods length (in consecutive bd) of first VIX future above 1m-high and corresponding first VIX future move (%)</a:t>
            </a:r>
            <a:endParaRPr lang="en-US" sz="1400" dirty="0">
              <a:effectLst/>
            </a:endParaRPr>
          </a:p>
        </c:rich>
      </c:tx>
      <c:layout/>
      <c:overlay val="0"/>
    </c:title>
    <c:autoTitleDeleted val="0"/>
    <c:plotArea>
      <c:layout/>
      <c:scatterChart>
        <c:scatterStyle val="lineMarker"/>
        <c:varyColors val="0"/>
        <c:ser>
          <c:idx val="0"/>
          <c:order val="0"/>
          <c:tx>
            <c:strRef>
              <c:f>'UX1-max'!$X$257</c:f>
              <c:strCache>
                <c:ptCount val="1"/>
                <c:pt idx="0">
                  <c:v>UX1 % change over the period </c:v>
                </c:pt>
              </c:strCache>
            </c:strRef>
          </c:tx>
          <c:spPr>
            <a:ln w="28575">
              <a:noFill/>
            </a:ln>
          </c:spPr>
          <c:xVal>
            <c:numRef>
              <c:f>'UX1-max'!$W$258:$W$355</c:f>
              <c:numCache>
                <c:formatCode>General</c:formatCode>
                <c:ptCount val="98"/>
                <c:pt idx="0">
                  <c:v>7</c:v>
                </c:pt>
                <c:pt idx="1">
                  <c:v>6</c:v>
                </c:pt>
                <c:pt idx="2">
                  <c:v>4</c:v>
                </c:pt>
                <c:pt idx="3">
                  <c:v>4</c:v>
                </c:pt>
                <c:pt idx="4">
                  <c:v>4</c:v>
                </c:pt>
                <c:pt idx="5">
                  <c:v>4</c:v>
                </c:pt>
                <c:pt idx="6">
                  <c:v>4</c:v>
                </c:pt>
                <c:pt idx="7">
                  <c:v>4</c:v>
                </c:pt>
                <c:pt idx="8">
                  <c:v>4</c:v>
                </c:pt>
                <c:pt idx="9">
                  <c:v>4</c:v>
                </c:pt>
                <c:pt idx="10">
                  <c:v>4</c:v>
                </c:pt>
                <c:pt idx="11">
                  <c:v>4</c:v>
                </c:pt>
                <c:pt idx="12">
                  <c:v>4</c:v>
                </c:pt>
                <c:pt idx="13">
                  <c:v>4</c:v>
                </c:pt>
                <c:pt idx="14">
                  <c:v>3</c:v>
                </c:pt>
                <c:pt idx="15">
                  <c:v>3</c:v>
                </c:pt>
                <c:pt idx="16">
                  <c:v>3</c:v>
                </c:pt>
                <c:pt idx="17">
                  <c:v>3</c:v>
                </c:pt>
                <c:pt idx="18">
                  <c:v>3</c:v>
                </c:pt>
                <c:pt idx="19">
                  <c:v>3</c:v>
                </c:pt>
                <c:pt idx="20">
                  <c:v>3</c:v>
                </c:pt>
                <c:pt idx="21">
                  <c:v>3</c:v>
                </c:pt>
                <c:pt idx="22">
                  <c:v>3</c:v>
                </c:pt>
                <c:pt idx="23">
                  <c:v>3</c:v>
                </c:pt>
                <c:pt idx="24">
                  <c:v>3</c:v>
                </c:pt>
                <c:pt idx="25">
                  <c:v>2</c:v>
                </c:pt>
                <c:pt idx="26">
                  <c:v>2</c:v>
                </c:pt>
                <c:pt idx="27">
                  <c:v>2</c:v>
                </c:pt>
                <c:pt idx="28">
                  <c:v>2</c:v>
                </c:pt>
                <c:pt idx="29">
                  <c:v>2</c:v>
                </c:pt>
                <c:pt idx="30">
                  <c:v>2</c:v>
                </c:pt>
                <c:pt idx="31">
                  <c:v>2</c:v>
                </c:pt>
                <c:pt idx="32">
                  <c:v>2</c:v>
                </c:pt>
                <c:pt idx="33">
                  <c:v>2</c:v>
                </c:pt>
                <c:pt idx="34">
                  <c:v>2</c:v>
                </c:pt>
                <c:pt idx="35">
                  <c:v>2</c:v>
                </c:pt>
                <c:pt idx="36">
                  <c:v>2</c:v>
                </c:pt>
                <c:pt idx="37">
                  <c:v>2</c:v>
                </c:pt>
                <c:pt idx="38">
                  <c:v>2</c:v>
                </c:pt>
                <c:pt idx="39">
                  <c:v>2</c:v>
                </c:pt>
                <c:pt idx="40">
                  <c:v>2</c:v>
                </c:pt>
                <c:pt idx="41">
                  <c:v>2</c:v>
                </c:pt>
                <c:pt idx="42">
                  <c:v>2</c:v>
                </c:pt>
                <c:pt idx="43">
                  <c:v>2</c:v>
                </c:pt>
                <c:pt idx="44">
                  <c:v>2</c:v>
                </c:pt>
                <c:pt idx="45">
                  <c:v>2</c:v>
                </c:pt>
                <c:pt idx="46">
                  <c:v>2</c:v>
                </c:pt>
                <c:pt idx="47">
                  <c:v>1</c:v>
                </c:pt>
                <c:pt idx="48">
                  <c:v>1</c:v>
                </c:pt>
                <c:pt idx="49">
                  <c:v>1</c:v>
                </c:pt>
                <c:pt idx="50">
                  <c:v>1</c:v>
                </c:pt>
                <c:pt idx="51">
                  <c:v>1</c:v>
                </c:pt>
                <c:pt idx="52">
                  <c:v>1</c:v>
                </c:pt>
                <c:pt idx="53">
                  <c:v>1</c:v>
                </c:pt>
                <c:pt idx="54">
                  <c:v>1</c:v>
                </c:pt>
                <c:pt idx="55">
                  <c:v>1</c:v>
                </c:pt>
                <c:pt idx="56">
                  <c:v>1</c:v>
                </c:pt>
                <c:pt idx="57">
                  <c:v>1</c:v>
                </c:pt>
                <c:pt idx="58">
                  <c:v>1</c:v>
                </c:pt>
                <c:pt idx="59">
                  <c:v>1</c:v>
                </c:pt>
                <c:pt idx="60">
                  <c:v>1</c:v>
                </c:pt>
                <c:pt idx="61">
                  <c:v>1</c:v>
                </c:pt>
                <c:pt idx="62">
                  <c:v>1</c:v>
                </c:pt>
                <c:pt idx="63">
                  <c:v>1</c:v>
                </c:pt>
                <c:pt idx="64">
                  <c:v>1</c:v>
                </c:pt>
                <c:pt idx="65">
                  <c:v>1</c:v>
                </c:pt>
                <c:pt idx="66">
                  <c:v>1</c:v>
                </c:pt>
                <c:pt idx="67">
                  <c:v>1</c:v>
                </c:pt>
                <c:pt idx="68">
                  <c:v>1</c:v>
                </c:pt>
                <c:pt idx="69">
                  <c:v>1</c:v>
                </c:pt>
                <c:pt idx="70">
                  <c:v>1</c:v>
                </c:pt>
                <c:pt idx="71">
                  <c:v>1</c:v>
                </c:pt>
                <c:pt idx="72">
                  <c:v>1</c:v>
                </c:pt>
                <c:pt idx="73">
                  <c:v>1</c:v>
                </c:pt>
                <c:pt idx="74">
                  <c:v>1</c:v>
                </c:pt>
                <c:pt idx="75">
                  <c:v>1</c:v>
                </c:pt>
                <c:pt idx="76">
                  <c:v>1</c:v>
                </c:pt>
                <c:pt idx="77">
                  <c:v>1</c:v>
                </c:pt>
                <c:pt idx="78">
                  <c:v>1</c:v>
                </c:pt>
                <c:pt idx="79">
                  <c:v>1</c:v>
                </c:pt>
                <c:pt idx="80">
                  <c:v>1</c:v>
                </c:pt>
                <c:pt idx="81">
                  <c:v>1</c:v>
                </c:pt>
                <c:pt idx="82">
                  <c:v>1</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numCache>
            </c:numRef>
          </c:xVal>
          <c:yVal>
            <c:numRef>
              <c:f>'UX1-max'!$X$258:$X$355</c:f>
              <c:numCache>
                <c:formatCode>0.00%</c:formatCode>
                <c:ptCount val="98"/>
                <c:pt idx="0">
                  <c:v>0.6630499039854556</c:v>
                </c:pt>
                <c:pt idx="1">
                  <c:v>0.2969406221887369</c:v>
                </c:pt>
                <c:pt idx="2">
                  <c:v>9.3238481612614624E-2</c:v>
                </c:pt>
                <c:pt idx="3">
                  <c:v>9.8474324934844565E-2</c:v>
                </c:pt>
                <c:pt idx="4">
                  <c:v>9.5955607131349374E-2</c:v>
                </c:pt>
                <c:pt idx="5">
                  <c:v>0.22677423079132375</c:v>
                </c:pt>
                <c:pt idx="6">
                  <c:v>0.23771267824546533</c:v>
                </c:pt>
                <c:pt idx="7">
                  <c:v>0.52546297152067789</c:v>
                </c:pt>
                <c:pt idx="8">
                  <c:v>0.30555539704965989</c:v>
                </c:pt>
                <c:pt idx="9">
                  <c:v>6.8493520726728166E-2</c:v>
                </c:pt>
                <c:pt idx="10">
                  <c:v>0.15131719278652478</c:v>
                </c:pt>
                <c:pt idx="11">
                  <c:v>0.1707327883696044</c:v>
                </c:pt>
                <c:pt idx="12">
                  <c:v>0.46175942963608141</c:v>
                </c:pt>
                <c:pt idx="13">
                  <c:v>0.165801646302523</c:v>
                </c:pt>
                <c:pt idx="14">
                  <c:v>1.7988246121582511E-2</c:v>
                </c:pt>
                <c:pt idx="15">
                  <c:v>3.4455498946337433E-2</c:v>
                </c:pt>
                <c:pt idx="16">
                  <c:v>0.38706807151174255</c:v>
                </c:pt>
                <c:pt idx="17">
                  <c:v>0.33151177597427878</c:v>
                </c:pt>
                <c:pt idx="18">
                  <c:v>9.1317344539801476E-2</c:v>
                </c:pt>
                <c:pt idx="19">
                  <c:v>1.6129235525906702E-2</c:v>
                </c:pt>
                <c:pt idx="20">
                  <c:v>3.7383045521466415E-2</c:v>
                </c:pt>
                <c:pt idx="21">
                  <c:v>0.1009760600568803</c:v>
                </c:pt>
                <c:pt idx="22">
                  <c:v>0.32267404881181</c:v>
                </c:pt>
                <c:pt idx="23">
                  <c:v>0.33333214443667702</c:v>
                </c:pt>
                <c:pt idx="24">
                  <c:v>0.15302271852137087</c:v>
                </c:pt>
                <c:pt idx="25">
                  <c:v>6.3199506041525452E-2</c:v>
                </c:pt>
                <c:pt idx="26">
                  <c:v>0.16580693648917694</c:v>
                </c:pt>
                <c:pt idx="27">
                  <c:v>0.10396038285803931</c:v>
                </c:pt>
                <c:pt idx="28">
                  <c:v>8.6198272329040149E-2</c:v>
                </c:pt>
                <c:pt idx="29">
                  <c:v>0.31240952879664813</c:v>
                </c:pt>
                <c:pt idx="30">
                  <c:v>0.17279693962263534</c:v>
                </c:pt>
                <c:pt idx="31">
                  <c:v>4.1775502910297066E-2</c:v>
                </c:pt>
                <c:pt idx="32">
                  <c:v>7.012658334057156E-4</c:v>
                </c:pt>
                <c:pt idx="33">
                  <c:v>1.149430463090711E-2</c:v>
                </c:pt>
                <c:pt idx="34">
                  <c:v>0.19623637194234153</c:v>
                </c:pt>
                <c:pt idx="35">
                  <c:v>0.12925164646116602</c:v>
                </c:pt>
                <c:pt idx="36">
                  <c:v>9.7500061713018837E-2</c:v>
                </c:pt>
                <c:pt idx="37">
                  <c:v>0.10335915934151452</c:v>
                </c:pt>
                <c:pt idx="38">
                  <c:v>0.1866463665604178</c:v>
                </c:pt>
                <c:pt idx="39">
                  <c:v>6.8801831253239659E-2</c:v>
                </c:pt>
                <c:pt idx="40">
                  <c:v>6.2305212593810083E-2</c:v>
                </c:pt>
                <c:pt idx="41">
                  <c:v>0.15476084789909644</c:v>
                </c:pt>
                <c:pt idx="42">
                  <c:v>0.19330907668495473</c:v>
                </c:pt>
                <c:pt idx="43">
                  <c:v>9.2885879697772553E-2</c:v>
                </c:pt>
                <c:pt idx="44">
                  <c:v>0.21698873609400637</c:v>
                </c:pt>
                <c:pt idx="45">
                  <c:v>0.30115774929725081</c:v>
                </c:pt>
                <c:pt idx="46">
                  <c:v>2.9772849622115211E-2</c:v>
                </c:pt>
                <c:pt idx="47">
                  <c:v>0.11189803806175307</c:v>
                </c:pt>
                <c:pt idx="48">
                  <c:v>8.3992666201496216E-2</c:v>
                </c:pt>
                <c:pt idx="49">
                  <c:v>2.2095959602897609E-2</c:v>
                </c:pt>
                <c:pt idx="50">
                  <c:v>9.6644250717790522E-2</c:v>
                </c:pt>
                <c:pt idx="51">
                  <c:v>0.27782575450346642</c:v>
                </c:pt>
                <c:pt idx="52">
                  <c:v>2.0149608495591793E-2</c:v>
                </c:pt>
                <c:pt idx="53">
                  <c:v>2.5959407997170055E-2</c:v>
                </c:pt>
                <c:pt idx="54">
                  <c:v>3.7156028159886861E-2</c:v>
                </c:pt>
                <c:pt idx="55">
                  <c:v>6.9767499877023423E-2</c:v>
                </c:pt>
                <c:pt idx="56">
                  <c:v>1.7769348099050199E-2</c:v>
                </c:pt>
                <c:pt idx="57">
                  <c:v>4.2748053645780493E-2</c:v>
                </c:pt>
                <c:pt idx="58">
                  <c:v>3.4846067025369631E-2</c:v>
                </c:pt>
                <c:pt idx="59">
                  <c:v>9.221235069714484E-2</c:v>
                </c:pt>
                <c:pt idx="60">
                  <c:v>7.0946799680181938E-3</c:v>
                </c:pt>
                <c:pt idx="61">
                  <c:v>3.1215177682922281E-2</c:v>
                </c:pt>
                <c:pt idx="62">
                  <c:v>7.8873254296272371E-2</c:v>
                </c:pt>
                <c:pt idx="63">
                  <c:v>4.6255456318419041E-2</c:v>
                </c:pt>
                <c:pt idx="64">
                  <c:v>5.5394807941441165E-2</c:v>
                </c:pt>
                <c:pt idx="65">
                  <c:v>1.8117413913911119E-2</c:v>
                </c:pt>
                <c:pt idx="66">
                  <c:v>4.9393389395825806E-2</c:v>
                </c:pt>
                <c:pt idx="67">
                  <c:v>4.7212031816589596E-2</c:v>
                </c:pt>
                <c:pt idx="68">
                  <c:v>3.4201369410276308E-2</c:v>
                </c:pt>
                <c:pt idx="69">
                  <c:v>0.17299921009579988</c:v>
                </c:pt>
                <c:pt idx="70">
                  <c:v>0.14141057995972456</c:v>
                </c:pt>
                <c:pt idx="71">
                  <c:v>0.13383164870327943</c:v>
                </c:pt>
                <c:pt idx="72">
                  <c:v>0.12631364908120402</c:v>
                </c:pt>
                <c:pt idx="73">
                  <c:v>7.0175433229611645E-2</c:v>
                </c:pt>
                <c:pt idx="74">
                  <c:v>0.16155094699493808</c:v>
                </c:pt>
                <c:pt idx="75">
                  <c:v>8.8019529405475638E-2</c:v>
                </c:pt>
                <c:pt idx="76">
                  <c:v>5.6871898795136537E-2</c:v>
                </c:pt>
                <c:pt idx="77">
                  <c:v>0.14903128951493549</c:v>
                </c:pt>
                <c:pt idx="78">
                  <c:v>5.1999954955137963E-2</c:v>
                </c:pt>
                <c:pt idx="79">
                  <c:v>0.17202580086814231</c:v>
                </c:pt>
                <c:pt idx="80">
                  <c:v>2.678574796194164E-2</c:v>
                </c:pt>
                <c:pt idx="81">
                  <c:v>0.14615379059024944</c:v>
                </c:pt>
                <c:pt idx="82">
                  <c:v>0.18855228381625674</c:v>
                </c:pt>
                <c:pt idx="83">
                  <c:v>0.16610176325465018</c:v>
                </c:pt>
                <c:pt idx="84">
                  <c:v>0.16987251335496339</c:v>
                </c:pt>
                <c:pt idx="85">
                  <c:v>0.11331533979586982</c:v>
                </c:pt>
                <c:pt idx="86">
                  <c:v>6.0525650315646495E-2</c:v>
                </c:pt>
                <c:pt idx="87">
                  <c:v>0.16967740000599818</c:v>
                </c:pt>
                <c:pt idx="88">
                  <c:v>8.8340653636159464E-2</c:v>
                </c:pt>
                <c:pt idx="89">
                  <c:v>2.5973059462677722E-2</c:v>
                </c:pt>
                <c:pt idx="90">
                  <c:v>0.12500085682754455</c:v>
                </c:pt>
                <c:pt idx="91">
                  <c:v>5.2747640267276075E-2</c:v>
                </c:pt>
                <c:pt idx="92">
                  <c:v>4.9608243341206851E-2</c:v>
                </c:pt>
                <c:pt idx="93">
                  <c:v>2.686115349404954E-2</c:v>
                </c:pt>
                <c:pt idx="94">
                  <c:v>0.19621693013946498</c:v>
                </c:pt>
                <c:pt idx="95">
                  <c:v>0.21162401484952681</c:v>
                </c:pt>
                <c:pt idx="96">
                  <c:v>0.24637902279650448</c:v>
                </c:pt>
                <c:pt idx="97">
                  <c:v>7.0778605838514516E-2</c:v>
                </c:pt>
              </c:numCache>
            </c:numRef>
          </c:yVal>
          <c:smooth val="0"/>
          <c:extLst xmlns:c16r2="http://schemas.microsoft.com/office/drawing/2015/06/chart">
            <c:ext xmlns:c16="http://schemas.microsoft.com/office/drawing/2014/chart" uri="{C3380CC4-5D6E-409C-BE32-E72D297353CC}">
              <c16:uniqueId val="{00000000-FCFB-4635-826E-9532E5B9C30B}"/>
            </c:ext>
          </c:extLst>
        </c:ser>
        <c:dLbls>
          <c:showLegendKey val="0"/>
          <c:showVal val="0"/>
          <c:showCatName val="0"/>
          <c:showSerName val="0"/>
          <c:showPercent val="0"/>
          <c:showBubbleSize val="0"/>
        </c:dLbls>
        <c:axId val="554760832"/>
        <c:axId val="554763008"/>
      </c:scatterChart>
      <c:valAx>
        <c:axId val="554760832"/>
        <c:scaling>
          <c:orientation val="minMax"/>
        </c:scaling>
        <c:delete val="0"/>
        <c:axPos val="b"/>
        <c:title>
          <c:tx>
            <c:rich>
              <a:bodyPr/>
              <a:lstStyle/>
              <a:p>
                <a:pPr>
                  <a:defRPr/>
                </a:pPr>
                <a:r>
                  <a:rPr lang="en-US" sz="1050" b="1" i="0" baseline="0" dirty="0">
                    <a:effectLst/>
                  </a:rPr>
                  <a:t>Historical number of consecutive days of VIX above its highest level on previous 22 bd</a:t>
                </a:r>
                <a:endParaRPr lang="en-US" sz="1050" dirty="0">
                  <a:effectLst/>
                </a:endParaRPr>
              </a:p>
            </c:rich>
          </c:tx>
          <c:layout/>
          <c:overlay val="0"/>
        </c:title>
        <c:numFmt formatCode="General" sourceLinked="1"/>
        <c:majorTickMark val="none"/>
        <c:minorTickMark val="none"/>
        <c:tickLblPos val="nextTo"/>
        <c:crossAx val="554763008"/>
        <c:crosses val="autoZero"/>
        <c:crossBetween val="midCat"/>
      </c:valAx>
      <c:valAx>
        <c:axId val="554763008"/>
        <c:scaling>
          <c:orientation val="minMax"/>
        </c:scaling>
        <c:delete val="0"/>
        <c:axPos val="l"/>
        <c:majorGridlines/>
        <c:title>
          <c:tx>
            <c:rich>
              <a:bodyPr/>
              <a:lstStyle/>
              <a:p>
                <a:pPr>
                  <a:defRPr/>
                </a:pPr>
                <a:r>
                  <a:rPr lang="en-US" sz="1000" b="1" i="0" u="none" strike="noStrike" baseline="0" dirty="0">
                    <a:effectLst/>
                  </a:rPr>
                  <a:t>Corresponding first VIX future movements (%)</a:t>
                </a:r>
                <a:endParaRPr lang="en-US" dirty="0"/>
              </a:p>
            </c:rich>
          </c:tx>
          <c:layout/>
          <c:overlay val="0"/>
        </c:title>
        <c:numFmt formatCode="0.00%" sourceLinked="1"/>
        <c:majorTickMark val="none"/>
        <c:minorTickMark val="none"/>
        <c:tickLblPos val="nextTo"/>
        <c:crossAx val="554760832"/>
        <c:crosses val="autoZero"/>
        <c:crossBetween val="midCat"/>
      </c:valAx>
    </c:plotArea>
    <c:legend>
      <c:legendPos val="b"/>
      <c:layout/>
      <c:overlay val="0"/>
    </c:legend>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a:lstStyle/>
          <a:p>
            <a:pPr>
              <a:defRPr/>
            </a:pPr>
            <a:r>
              <a:rPr lang="en-US" sz="1000" b="1" i="0" baseline="0" dirty="0">
                <a:effectLst/>
              </a:rPr>
              <a:t>Historical periods length (in consecutive bd) of first VIX future closing below its 1m-low and corresponding first VIX future move (%)</a:t>
            </a:r>
            <a:endParaRPr lang="en-US" sz="1000" dirty="0">
              <a:effectLst/>
            </a:endParaRPr>
          </a:p>
        </c:rich>
      </c:tx>
      <c:layout/>
      <c:overlay val="0"/>
    </c:title>
    <c:autoTitleDeleted val="0"/>
    <c:plotArea>
      <c:layout/>
      <c:scatterChart>
        <c:scatterStyle val="lineMarker"/>
        <c:varyColors val="0"/>
        <c:ser>
          <c:idx val="0"/>
          <c:order val="0"/>
          <c:tx>
            <c:strRef>
              <c:f>'UX1-min'!$X$257</c:f>
              <c:strCache>
                <c:ptCount val="1"/>
                <c:pt idx="0">
                  <c:v>UX1 % change over the period </c:v>
                </c:pt>
              </c:strCache>
            </c:strRef>
          </c:tx>
          <c:spPr>
            <a:ln w="28575">
              <a:noFill/>
            </a:ln>
          </c:spPr>
          <c:xVal>
            <c:numRef>
              <c:f>'UX1-min'!$W$258:$W$539</c:f>
              <c:numCache>
                <c:formatCode>General</c:formatCode>
                <c:ptCount val="282"/>
                <c:pt idx="0">
                  <c:v>11</c:v>
                </c:pt>
                <c:pt idx="1">
                  <c:v>9</c:v>
                </c:pt>
                <c:pt idx="2">
                  <c:v>8</c:v>
                </c:pt>
                <c:pt idx="3">
                  <c:v>8</c:v>
                </c:pt>
                <c:pt idx="4">
                  <c:v>7</c:v>
                </c:pt>
                <c:pt idx="5">
                  <c:v>7</c:v>
                </c:pt>
                <c:pt idx="6">
                  <c:v>7</c:v>
                </c:pt>
                <c:pt idx="7">
                  <c:v>7</c:v>
                </c:pt>
                <c:pt idx="8">
                  <c:v>6</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4</c:v>
                </c:pt>
                <c:pt idx="27">
                  <c:v>4</c:v>
                </c:pt>
                <c:pt idx="28">
                  <c:v>4</c:v>
                </c:pt>
                <c:pt idx="29">
                  <c:v>4</c:v>
                </c:pt>
                <c:pt idx="30">
                  <c:v>4</c:v>
                </c:pt>
                <c:pt idx="31">
                  <c:v>4</c:v>
                </c:pt>
                <c:pt idx="32">
                  <c:v>4</c:v>
                </c:pt>
                <c:pt idx="33">
                  <c:v>4</c:v>
                </c:pt>
                <c:pt idx="34">
                  <c:v>4</c:v>
                </c:pt>
                <c:pt idx="35">
                  <c:v>4</c:v>
                </c:pt>
                <c:pt idx="36">
                  <c:v>4</c:v>
                </c:pt>
                <c:pt idx="37">
                  <c:v>4</c:v>
                </c:pt>
                <c:pt idx="38">
                  <c:v>4</c:v>
                </c:pt>
                <c:pt idx="39">
                  <c:v>4</c:v>
                </c:pt>
                <c:pt idx="40">
                  <c:v>4</c:v>
                </c:pt>
                <c:pt idx="41">
                  <c:v>4</c:v>
                </c:pt>
                <c:pt idx="42">
                  <c:v>4</c:v>
                </c:pt>
                <c:pt idx="43">
                  <c:v>4</c:v>
                </c:pt>
                <c:pt idx="44">
                  <c:v>4</c:v>
                </c:pt>
                <c:pt idx="45">
                  <c:v>4</c:v>
                </c:pt>
                <c:pt idx="46">
                  <c:v>3</c:v>
                </c:pt>
                <c:pt idx="47">
                  <c:v>3</c:v>
                </c:pt>
                <c:pt idx="48">
                  <c:v>3</c:v>
                </c:pt>
                <c:pt idx="49">
                  <c:v>3</c:v>
                </c:pt>
                <c:pt idx="50">
                  <c:v>3</c:v>
                </c:pt>
                <c:pt idx="51">
                  <c:v>3</c:v>
                </c:pt>
                <c:pt idx="52">
                  <c:v>3</c:v>
                </c:pt>
                <c:pt idx="53">
                  <c:v>3</c:v>
                </c:pt>
                <c:pt idx="54">
                  <c:v>3</c:v>
                </c:pt>
                <c:pt idx="55">
                  <c:v>3</c:v>
                </c:pt>
                <c:pt idx="56">
                  <c:v>3</c:v>
                </c:pt>
                <c:pt idx="57">
                  <c:v>3</c:v>
                </c:pt>
                <c:pt idx="58">
                  <c:v>3</c:v>
                </c:pt>
                <c:pt idx="59">
                  <c:v>3</c:v>
                </c:pt>
                <c:pt idx="60">
                  <c:v>3</c:v>
                </c:pt>
                <c:pt idx="61">
                  <c:v>3</c:v>
                </c:pt>
                <c:pt idx="62">
                  <c:v>3</c:v>
                </c:pt>
                <c:pt idx="63">
                  <c:v>3</c:v>
                </c:pt>
                <c:pt idx="64">
                  <c:v>3</c:v>
                </c:pt>
                <c:pt idx="65">
                  <c:v>3</c:v>
                </c:pt>
                <c:pt idx="66">
                  <c:v>3</c:v>
                </c:pt>
                <c:pt idx="67">
                  <c:v>3</c:v>
                </c:pt>
                <c:pt idx="68">
                  <c:v>3</c:v>
                </c:pt>
                <c:pt idx="69">
                  <c:v>3</c:v>
                </c:pt>
                <c:pt idx="70">
                  <c:v>3</c:v>
                </c:pt>
                <c:pt idx="71">
                  <c:v>3</c:v>
                </c:pt>
                <c:pt idx="72">
                  <c:v>3</c:v>
                </c:pt>
                <c:pt idx="73">
                  <c:v>3</c:v>
                </c:pt>
                <c:pt idx="74">
                  <c:v>3</c:v>
                </c:pt>
                <c:pt idx="75">
                  <c:v>3</c:v>
                </c:pt>
                <c:pt idx="76">
                  <c:v>3</c:v>
                </c:pt>
                <c:pt idx="77">
                  <c:v>3</c:v>
                </c:pt>
                <c:pt idx="78">
                  <c:v>3</c:v>
                </c:pt>
                <c:pt idx="79">
                  <c:v>3</c:v>
                </c:pt>
                <c:pt idx="80">
                  <c:v>3</c:v>
                </c:pt>
                <c:pt idx="81">
                  <c:v>3</c:v>
                </c:pt>
                <c:pt idx="82">
                  <c:v>3</c:v>
                </c:pt>
                <c:pt idx="83">
                  <c:v>3</c:v>
                </c:pt>
                <c:pt idx="84">
                  <c:v>3</c:v>
                </c:pt>
                <c:pt idx="85">
                  <c:v>3</c:v>
                </c:pt>
                <c:pt idx="86">
                  <c:v>3</c:v>
                </c:pt>
                <c:pt idx="87">
                  <c:v>3</c:v>
                </c:pt>
                <c:pt idx="88">
                  <c:v>3</c:v>
                </c:pt>
                <c:pt idx="89">
                  <c:v>3</c:v>
                </c:pt>
                <c:pt idx="90">
                  <c:v>3</c:v>
                </c:pt>
                <c:pt idx="91">
                  <c:v>2</c:v>
                </c:pt>
                <c:pt idx="92">
                  <c:v>2</c:v>
                </c:pt>
                <c:pt idx="93">
                  <c:v>2</c:v>
                </c:pt>
                <c:pt idx="94">
                  <c:v>2</c:v>
                </c:pt>
                <c:pt idx="95">
                  <c:v>2</c:v>
                </c:pt>
                <c:pt idx="96">
                  <c:v>2</c:v>
                </c:pt>
                <c:pt idx="97">
                  <c:v>2</c:v>
                </c:pt>
                <c:pt idx="98">
                  <c:v>2</c:v>
                </c:pt>
                <c:pt idx="99">
                  <c:v>2</c:v>
                </c:pt>
                <c:pt idx="100">
                  <c:v>2</c:v>
                </c:pt>
                <c:pt idx="101">
                  <c:v>2</c:v>
                </c:pt>
                <c:pt idx="102">
                  <c:v>2</c:v>
                </c:pt>
                <c:pt idx="103">
                  <c:v>2</c:v>
                </c:pt>
                <c:pt idx="104">
                  <c:v>2</c:v>
                </c:pt>
                <c:pt idx="105">
                  <c:v>2</c:v>
                </c:pt>
                <c:pt idx="106">
                  <c:v>2</c:v>
                </c:pt>
                <c:pt idx="107">
                  <c:v>2</c:v>
                </c:pt>
                <c:pt idx="108">
                  <c:v>2</c:v>
                </c:pt>
                <c:pt idx="109">
                  <c:v>2</c:v>
                </c:pt>
                <c:pt idx="110">
                  <c:v>2</c:v>
                </c:pt>
                <c:pt idx="111">
                  <c:v>2</c:v>
                </c:pt>
                <c:pt idx="112">
                  <c:v>2</c:v>
                </c:pt>
                <c:pt idx="113">
                  <c:v>2</c:v>
                </c:pt>
                <c:pt idx="114">
                  <c:v>2</c:v>
                </c:pt>
                <c:pt idx="115">
                  <c:v>2</c:v>
                </c:pt>
                <c:pt idx="116">
                  <c:v>2</c:v>
                </c:pt>
                <c:pt idx="117">
                  <c:v>2</c:v>
                </c:pt>
                <c:pt idx="118">
                  <c:v>2</c:v>
                </c:pt>
                <c:pt idx="119">
                  <c:v>2</c:v>
                </c:pt>
                <c:pt idx="120">
                  <c:v>2</c:v>
                </c:pt>
                <c:pt idx="121">
                  <c:v>2</c:v>
                </c:pt>
                <c:pt idx="122">
                  <c:v>2</c:v>
                </c:pt>
                <c:pt idx="123">
                  <c:v>2</c:v>
                </c:pt>
                <c:pt idx="124">
                  <c:v>2</c:v>
                </c:pt>
                <c:pt idx="125">
                  <c:v>2</c:v>
                </c:pt>
                <c:pt idx="126">
                  <c:v>2</c:v>
                </c:pt>
                <c:pt idx="127">
                  <c:v>2</c:v>
                </c:pt>
                <c:pt idx="128">
                  <c:v>2</c:v>
                </c:pt>
                <c:pt idx="129">
                  <c:v>2</c:v>
                </c:pt>
                <c:pt idx="130">
                  <c:v>2</c:v>
                </c:pt>
                <c:pt idx="131">
                  <c:v>2</c:v>
                </c:pt>
                <c:pt idx="132">
                  <c:v>2</c:v>
                </c:pt>
                <c:pt idx="133">
                  <c:v>2</c:v>
                </c:pt>
                <c:pt idx="134">
                  <c:v>2</c:v>
                </c:pt>
                <c:pt idx="135">
                  <c:v>2</c:v>
                </c:pt>
                <c:pt idx="136">
                  <c:v>2</c:v>
                </c:pt>
                <c:pt idx="137">
                  <c:v>2</c:v>
                </c:pt>
                <c:pt idx="138">
                  <c:v>2</c:v>
                </c:pt>
                <c:pt idx="139">
                  <c:v>2</c:v>
                </c:pt>
                <c:pt idx="140">
                  <c:v>2</c:v>
                </c:pt>
                <c:pt idx="141">
                  <c:v>2</c:v>
                </c:pt>
                <c:pt idx="142">
                  <c:v>2</c:v>
                </c:pt>
                <c:pt idx="143">
                  <c:v>2</c:v>
                </c:pt>
                <c:pt idx="144">
                  <c:v>2</c:v>
                </c:pt>
                <c:pt idx="145">
                  <c:v>2</c:v>
                </c:pt>
                <c:pt idx="146">
                  <c:v>2</c:v>
                </c:pt>
                <c:pt idx="147">
                  <c:v>2</c:v>
                </c:pt>
                <c:pt idx="148">
                  <c:v>2</c:v>
                </c:pt>
                <c:pt idx="149">
                  <c:v>2</c:v>
                </c:pt>
                <c:pt idx="150">
                  <c:v>2</c:v>
                </c:pt>
                <c:pt idx="151">
                  <c:v>2</c:v>
                </c:pt>
                <c:pt idx="152">
                  <c:v>2</c:v>
                </c:pt>
                <c:pt idx="153">
                  <c:v>2</c:v>
                </c:pt>
                <c:pt idx="154">
                  <c:v>2</c:v>
                </c:pt>
                <c:pt idx="155">
                  <c:v>2</c:v>
                </c:pt>
                <c:pt idx="156">
                  <c:v>2</c:v>
                </c:pt>
                <c:pt idx="157">
                  <c:v>2</c:v>
                </c:pt>
                <c:pt idx="158">
                  <c:v>2</c:v>
                </c:pt>
                <c:pt idx="159">
                  <c:v>2</c:v>
                </c:pt>
                <c:pt idx="160">
                  <c:v>2</c:v>
                </c:pt>
                <c:pt idx="161">
                  <c:v>2</c:v>
                </c:pt>
                <c:pt idx="162">
                  <c:v>2</c:v>
                </c:pt>
                <c:pt idx="163">
                  <c:v>2</c:v>
                </c:pt>
                <c:pt idx="164">
                  <c:v>2</c:v>
                </c:pt>
                <c:pt idx="165">
                  <c:v>2</c:v>
                </c:pt>
                <c:pt idx="166">
                  <c:v>1</c:v>
                </c:pt>
                <c:pt idx="167">
                  <c:v>1</c:v>
                </c:pt>
                <c:pt idx="168">
                  <c:v>1</c:v>
                </c:pt>
                <c:pt idx="169">
                  <c:v>1</c:v>
                </c:pt>
                <c:pt idx="170">
                  <c:v>1</c:v>
                </c:pt>
                <c:pt idx="171">
                  <c:v>1</c:v>
                </c:pt>
                <c:pt idx="172">
                  <c:v>1</c:v>
                </c:pt>
                <c:pt idx="173">
                  <c:v>1</c:v>
                </c:pt>
                <c:pt idx="174">
                  <c:v>1</c:v>
                </c:pt>
                <c:pt idx="175">
                  <c:v>1</c:v>
                </c:pt>
                <c:pt idx="176">
                  <c:v>1</c:v>
                </c:pt>
                <c:pt idx="177">
                  <c:v>1</c:v>
                </c:pt>
                <c:pt idx="178">
                  <c:v>1</c:v>
                </c:pt>
                <c:pt idx="179">
                  <c:v>1</c:v>
                </c:pt>
                <c:pt idx="180">
                  <c:v>1</c:v>
                </c:pt>
                <c:pt idx="181">
                  <c:v>1</c:v>
                </c:pt>
                <c:pt idx="182">
                  <c:v>1</c:v>
                </c:pt>
                <c:pt idx="183">
                  <c:v>1</c:v>
                </c:pt>
                <c:pt idx="184">
                  <c:v>1</c:v>
                </c:pt>
                <c:pt idx="185">
                  <c:v>1</c:v>
                </c:pt>
                <c:pt idx="186">
                  <c:v>1</c:v>
                </c:pt>
                <c:pt idx="187">
                  <c:v>1</c:v>
                </c:pt>
                <c:pt idx="188">
                  <c:v>1</c:v>
                </c:pt>
                <c:pt idx="189">
                  <c:v>1</c:v>
                </c:pt>
                <c:pt idx="190">
                  <c:v>1</c:v>
                </c:pt>
                <c:pt idx="191">
                  <c:v>1</c:v>
                </c:pt>
                <c:pt idx="192">
                  <c:v>1</c:v>
                </c:pt>
                <c:pt idx="193">
                  <c:v>1</c:v>
                </c:pt>
                <c:pt idx="194">
                  <c:v>1</c:v>
                </c:pt>
                <c:pt idx="195">
                  <c:v>1</c:v>
                </c:pt>
                <c:pt idx="196">
                  <c:v>1</c:v>
                </c:pt>
                <c:pt idx="197">
                  <c:v>1</c:v>
                </c:pt>
                <c:pt idx="198">
                  <c:v>1</c:v>
                </c:pt>
                <c:pt idx="199">
                  <c:v>1</c:v>
                </c:pt>
                <c:pt idx="200">
                  <c:v>1</c:v>
                </c:pt>
                <c:pt idx="201">
                  <c:v>1</c:v>
                </c:pt>
                <c:pt idx="202">
                  <c:v>1</c:v>
                </c:pt>
                <c:pt idx="203">
                  <c:v>1</c:v>
                </c:pt>
                <c:pt idx="204">
                  <c:v>1</c:v>
                </c:pt>
                <c:pt idx="205">
                  <c:v>1</c:v>
                </c:pt>
                <c:pt idx="206">
                  <c:v>1</c:v>
                </c:pt>
                <c:pt idx="207">
                  <c:v>1</c:v>
                </c:pt>
                <c:pt idx="208">
                  <c:v>1</c:v>
                </c:pt>
                <c:pt idx="209">
                  <c:v>1</c:v>
                </c:pt>
                <c:pt idx="210">
                  <c:v>1</c:v>
                </c:pt>
                <c:pt idx="211">
                  <c:v>1</c:v>
                </c:pt>
                <c:pt idx="212">
                  <c:v>1</c:v>
                </c:pt>
                <c:pt idx="213">
                  <c:v>1</c:v>
                </c:pt>
                <c:pt idx="214">
                  <c:v>1</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1</c:v>
                </c:pt>
                <c:pt idx="238">
                  <c:v>1</c:v>
                </c:pt>
                <c:pt idx="239">
                  <c:v>1</c:v>
                </c:pt>
                <c:pt idx="240">
                  <c:v>1</c:v>
                </c:pt>
                <c:pt idx="241">
                  <c:v>1</c:v>
                </c:pt>
                <c:pt idx="242">
                  <c:v>1</c:v>
                </c:pt>
                <c:pt idx="243">
                  <c:v>1</c:v>
                </c:pt>
                <c:pt idx="244">
                  <c:v>1</c:v>
                </c:pt>
                <c:pt idx="245">
                  <c:v>1</c:v>
                </c:pt>
                <c:pt idx="246">
                  <c:v>1</c:v>
                </c:pt>
                <c:pt idx="247">
                  <c:v>1</c:v>
                </c:pt>
                <c:pt idx="248">
                  <c:v>1</c:v>
                </c:pt>
                <c:pt idx="249">
                  <c:v>1</c:v>
                </c:pt>
                <c:pt idx="250">
                  <c:v>1</c:v>
                </c:pt>
                <c:pt idx="251">
                  <c:v>1</c:v>
                </c:pt>
                <c:pt idx="252">
                  <c:v>1</c:v>
                </c:pt>
                <c:pt idx="253">
                  <c:v>1</c:v>
                </c:pt>
                <c:pt idx="254">
                  <c:v>1</c:v>
                </c:pt>
                <c:pt idx="255">
                  <c:v>1</c:v>
                </c:pt>
                <c:pt idx="256">
                  <c:v>1</c:v>
                </c:pt>
                <c:pt idx="257">
                  <c:v>1</c:v>
                </c:pt>
                <c:pt idx="258">
                  <c:v>1</c:v>
                </c:pt>
                <c:pt idx="259">
                  <c:v>1</c:v>
                </c:pt>
                <c:pt idx="260">
                  <c:v>1</c:v>
                </c:pt>
                <c:pt idx="261">
                  <c:v>1</c:v>
                </c:pt>
                <c:pt idx="262">
                  <c:v>1</c:v>
                </c:pt>
                <c:pt idx="263">
                  <c:v>1</c:v>
                </c:pt>
                <c:pt idx="264">
                  <c:v>1</c:v>
                </c:pt>
                <c:pt idx="265">
                  <c:v>1</c:v>
                </c:pt>
                <c:pt idx="266">
                  <c:v>1</c:v>
                </c:pt>
                <c:pt idx="267">
                  <c:v>1</c:v>
                </c:pt>
                <c:pt idx="268">
                  <c:v>1</c:v>
                </c:pt>
                <c:pt idx="269">
                  <c:v>1</c:v>
                </c:pt>
                <c:pt idx="270">
                  <c:v>1</c:v>
                </c:pt>
                <c:pt idx="271">
                  <c:v>1</c:v>
                </c:pt>
                <c:pt idx="272">
                  <c:v>1</c:v>
                </c:pt>
                <c:pt idx="273">
                  <c:v>1</c:v>
                </c:pt>
                <c:pt idx="274">
                  <c:v>1</c:v>
                </c:pt>
                <c:pt idx="275">
                  <c:v>1</c:v>
                </c:pt>
                <c:pt idx="276">
                  <c:v>1</c:v>
                </c:pt>
                <c:pt idx="277">
                  <c:v>1</c:v>
                </c:pt>
                <c:pt idx="278">
                  <c:v>1</c:v>
                </c:pt>
                <c:pt idx="279">
                  <c:v>1</c:v>
                </c:pt>
                <c:pt idx="280">
                  <c:v>1</c:v>
                </c:pt>
                <c:pt idx="281">
                  <c:v>1</c:v>
                </c:pt>
              </c:numCache>
            </c:numRef>
          </c:xVal>
          <c:yVal>
            <c:numRef>
              <c:f>'UX1-min'!$X$258:$X$539</c:f>
              <c:numCache>
                <c:formatCode>0.00%</c:formatCode>
                <c:ptCount val="282"/>
                <c:pt idx="0">
                  <c:v>-0.10445578067187078</c:v>
                </c:pt>
                <c:pt idx="1">
                  <c:v>-0.1206712756622612</c:v>
                </c:pt>
                <c:pt idx="2">
                  <c:v>-7.988977655773094E-2</c:v>
                </c:pt>
                <c:pt idx="3">
                  <c:v>-0.13146560979158398</c:v>
                </c:pt>
                <c:pt idx="4">
                  <c:v>-6.9051536285312506E-2</c:v>
                </c:pt>
                <c:pt idx="5">
                  <c:v>-9.5744649163231624E-2</c:v>
                </c:pt>
                <c:pt idx="6">
                  <c:v>-8.2706754396167842E-2</c:v>
                </c:pt>
                <c:pt idx="7">
                  <c:v>-0.1200787046335945</c:v>
                </c:pt>
                <c:pt idx="8">
                  <c:v>-0.12684987821972246</c:v>
                </c:pt>
                <c:pt idx="9">
                  <c:v>-6.1823746594821864E-2</c:v>
                </c:pt>
                <c:pt idx="10">
                  <c:v>-6.3616818208953388E-2</c:v>
                </c:pt>
                <c:pt idx="11">
                  <c:v>-8.3876236500162918E-2</c:v>
                </c:pt>
                <c:pt idx="12">
                  <c:v>-0.10344827256513062</c:v>
                </c:pt>
                <c:pt idx="13">
                  <c:v>-3.5320036139150489E-2</c:v>
                </c:pt>
                <c:pt idx="14">
                  <c:v>-9.5127582411692113E-2</c:v>
                </c:pt>
                <c:pt idx="15">
                  <c:v>-7.9155662901885485E-2</c:v>
                </c:pt>
                <c:pt idx="16">
                  <c:v>-7.7849665001883075E-2</c:v>
                </c:pt>
                <c:pt idx="17">
                  <c:v>-0.15224912163459592</c:v>
                </c:pt>
                <c:pt idx="18">
                  <c:v>-7.6446315702413156E-2</c:v>
                </c:pt>
                <c:pt idx="19">
                  <c:v>-3.7267537689106803E-2</c:v>
                </c:pt>
                <c:pt idx="20">
                  <c:v>-5.7626629184015767E-2</c:v>
                </c:pt>
                <c:pt idx="21">
                  <c:v>-9.090859969579157E-2</c:v>
                </c:pt>
                <c:pt idx="22">
                  <c:v>-6.0897548596194902E-2</c:v>
                </c:pt>
                <c:pt idx="23">
                  <c:v>-8.7412546593173879E-2</c:v>
                </c:pt>
                <c:pt idx="24">
                  <c:v>-8.5343085731837756E-2</c:v>
                </c:pt>
                <c:pt idx="25">
                  <c:v>-7.9347477302327316E-2</c:v>
                </c:pt>
                <c:pt idx="26">
                  <c:v>-4.2442265266675175E-2</c:v>
                </c:pt>
                <c:pt idx="27">
                  <c:v>-5.5684491527166126E-2</c:v>
                </c:pt>
                <c:pt idx="28">
                  <c:v>-3.2539668642681673E-2</c:v>
                </c:pt>
                <c:pt idx="29">
                  <c:v>-6.2244054169159284E-2</c:v>
                </c:pt>
                <c:pt idx="30">
                  <c:v>-3.0944662304636071E-2</c:v>
                </c:pt>
                <c:pt idx="31">
                  <c:v>-6.0384237007618732E-2</c:v>
                </c:pt>
                <c:pt idx="32">
                  <c:v>-0.12598428178426979</c:v>
                </c:pt>
                <c:pt idx="33">
                  <c:v>-9.0784028902352654E-2</c:v>
                </c:pt>
                <c:pt idx="34">
                  <c:v>-7.6446244604388952E-2</c:v>
                </c:pt>
                <c:pt idx="35">
                  <c:v>-3.9215654105635281E-2</c:v>
                </c:pt>
                <c:pt idx="36">
                  <c:v>-6.776561845667825E-2</c:v>
                </c:pt>
                <c:pt idx="37">
                  <c:v>-3.3730074556889145E-2</c:v>
                </c:pt>
                <c:pt idx="38">
                  <c:v>-7.3008782613481871E-2</c:v>
                </c:pt>
                <c:pt idx="39">
                  <c:v>-3.674532114544915E-2</c:v>
                </c:pt>
                <c:pt idx="40">
                  <c:v>-0.13705594479456393</c:v>
                </c:pt>
                <c:pt idx="41">
                  <c:v>-0.16203701584200553</c:v>
                </c:pt>
                <c:pt idx="42">
                  <c:v>-5.9523719113376235E-2</c:v>
                </c:pt>
                <c:pt idx="43">
                  <c:v>-3.5332342666116769E-2</c:v>
                </c:pt>
                <c:pt idx="44">
                  <c:v>-4.2704741126516024E-2</c:v>
                </c:pt>
                <c:pt idx="45">
                  <c:v>-6.7194559077165802E-2</c:v>
                </c:pt>
                <c:pt idx="46">
                  <c:v>-2.6714782667259629E-2</c:v>
                </c:pt>
                <c:pt idx="47">
                  <c:v>-3.4794713161431221E-2</c:v>
                </c:pt>
                <c:pt idx="48">
                  <c:v>-8.4475627318615645E-2</c:v>
                </c:pt>
                <c:pt idx="49">
                  <c:v>-7.0774360434872646E-2</c:v>
                </c:pt>
                <c:pt idx="50">
                  <c:v>-3.3477347926536782E-2</c:v>
                </c:pt>
                <c:pt idx="51">
                  <c:v>-2.9126210896582558E-2</c:v>
                </c:pt>
                <c:pt idx="52">
                  <c:v>-1.1570262951705292E-2</c:v>
                </c:pt>
                <c:pt idx="53">
                  <c:v>-4.3235682600268381E-2</c:v>
                </c:pt>
                <c:pt idx="54">
                  <c:v>-3.2740256474883954E-2</c:v>
                </c:pt>
                <c:pt idx="55">
                  <c:v>-3.0962311718102088E-2</c:v>
                </c:pt>
                <c:pt idx="56">
                  <c:v>-0.13439070276921922</c:v>
                </c:pt>
                <c:pt idx="57">
                  <c:v>-1.0638347237153891E-2</c:v>
                </c:pt>
                <c:pt idx="58">
                  <c:v>-3.546711746920294E-2</c:v>
                </c:pt>
                <c:pt idx="59">
                  <c:v>-4.6753225212082763E-2</c:v>
                </c:pt>
                <c:pt idx="60">
                  <c:v>-0.12147176389434891</c:v>
                </c:pt>
                <c:pt idx="61">
                  <c:v>-0.16486835151771276</c:v>
                </c:pt>
                <c:pt idx="62">
                  <c:v>-5.6701018771009845E-2</c:v>
                </c:pt>
                <c:pt idx="63">
                  <c:v>-0.13087246529747407</c:v>
                </c:pt>
                <c:pt idx="64">
                  <c:v>-0.11413043033917777</c:v>
                </c:pt>
                <c:pt idx="65">
                  <c:v>-7.3076925979086244E-2</c:v>
                </c:pt>
                <c:pt idx="66">
                  <c:v>-3.8990841240130719E-2</c:v>
                </c:pt>
                <c:pt idx="67">
                  <c:v>-7.6923084666515637E-2</c:v>
                </c:pt>
                <c:pt idx="68">
                  <c:v>-0.1138614191416856</c:v>
                </c:pt>
                <c:pt idx="69">
                  <c:v>-2.8248581150877725E-2</c:v>
                </c:pt>
                <c:pt idx="70">
                  <c:v>-0.17047444957236063</c:v>
                </c:pt>
                <c:pt idx="71">
                  <c:v>-5.3299512116352456E-2</c:v>
                </c:pt>
                <c:pt idx="72">
                  <c:v>-5.1313389575538493E-2</c:v>
                </c:pt>
                <c:pt idx="73">
                  <c:v>-3.2164025890307348E-2</c:v>
                </c:pt>
                <c:pt idx="74">
                  <c:v>-0.13285014481109</c:v>
                </c:pt>
                <c:pt idx="75">
                  <c:v>-9.4628856219493018E-2</c:v>
                </c:pt>
                <c:pt idx="76">
                  <c:v>-4.1343755442187734E-2</c:v>
                </c:pt>
                <c:pt idx="77">
                  <c:v>-0.20316615051077716</c:v>
                </c:pt>
                <c:pt idx="78">
                  <c:v>-4.2483965998711251E-2</c:v>
                </c:pt>
                <c:pt idx="79">
                  <c:v>-6.4846676816749729E-2</c:v>
                </c:pt>
                <c:pt idx="80">
                  <c:v>-8.7108038492302517E-2</c:v>
                </c:pt>
                <c:pt idx="81">
                  <c:v>-4.8949862582987468E-2</c:v>
                </c:pt>
                <c:pt idx="82">
                  <c:v>-5.0168338360103759E-2</c:v>
                </c:pt>
                <c:pt idx="83">
                  <c:v>-6.7494494109378689E-2</c:v>
                </c:pt>
                <c:pt idx="84">
                  <c:v>-4.3681292288267004E-2</c:v>
                </c:pt>
                <c:pt idx="85">
                  <c:v>-1.8548592948279253E-2</c:v>
                </c:pt>
                <c:pt idx="86">
                  <c:v>-0.12111205126999794</c:v>
                </c:pt>
                <c:pt idx="87">
                  <c:v>-3.6244523679000253E-2</c:v>
                </c:pt>
                <c:pt idx="88">
                  <c:v>-9.2264128271170767E-2</c:v>
                </c:pt>
                <c:pt idx="89">
                  <c:v>-9.2654540386089695E-2</c:v>
                </c:pt>
                <c:pt idx="90">
                  <c:v>-0.14668183485694597</c:v>
                </c:pt>
                <c:pt idx="91">
                  <c:v>-6.9875775709017207E-2</c:v>
                </c:pt>
                <c:pt idx="92">
                  <c:v>-4.3764095460633512E-3</c:v>
                </c:pt>
                <c:pt idx="93">
                  <c:v>-6.8130849748679317E-3</c:v>
                </c:pt>
                <c:pt idx="94">
                  <c:v>-5.8593750637325505E-2</c:v>
                </c:pt>
                <c:pt idx="95">
                  <c:v>-9.128614513624244E-3</c:v>
                </c:pt>
                <c:pt idx="96">
                  <c:v>-1.4937057061294421E-2</c:v>
                </c:pt>
                <c:pt idx="97">
                  <c:v>-1.1570255098960328E-2</c:v>
                </c:pt>
                <c:pt idx="98">
                  <c:v>-1.6986614965130226E-2</c:v>
                </c:pt>
                <c:pt idx="99">
                  <c:v>-4.4985301113640602E-2</c:v>
                </c:pt>
                <c:pt idx="100">
                  <c:v>-0.106725194960846</c:v>
                </c:pt>
                <c:pt idx="101">
                  <c:v>-2.832414516072692E-2</c:v>
                </c:pt>
                <c:pt idx="102">
                  <c:v>-5.3090300138360275E-2</c:v>
                </c:pt>
                <c:pt idx="103">
                  <c:v>-3.1651028738937798E-2</c:v>
                </c:pt>
                <c:pt idx="104">
                  <c:v>-7.0048297277669619E-2</c:v>
                </c:pt>
                <c:pt idx="105">
                  <c:v>-8.0524236472056063E-3</c:v>
                </c:pt>
                <c:pt idx="106">
                  <c:v>-5.0228308554194766E-2</c:v>
                </c:pt>
                <c:pt idx="107">
                  <c:v>-4.6642625207480949E-2</c:v>
                </c:pt>
                <c:pt idx="108">
                  <c:v>-3.9649376692813564E-2</c:v>
                </c:pt>
                <c:pt idx="109">
                  <c:v>-1.2612649074273034E-2</c:v>
                </c:pt>
                <c:pt idx="110">
                  <c:v>-5.5261870369507561E-2</c:v>
                </c:pt>
                <c:pt idx="111">
                  <c:v>-9.8039215176392122E-2</c:v>
                </c:pt>
                <c:pt idx="112">
                  <c:v>-8.4337375161815914E-2</c:v>
                </c:pt>
                <c:pt idx="113">
                  <c:v>-2.4711696292816446E-2</c:v>
                </c:pt>
                <c:pt idx="114">
                  <c:v>-5.4876115491056969E-2</c:v>
                </c:pt>
                <c:pt idx="115">
                  <c:v>-1.9493573538176124E-3</c:v>
                </c:pt>
                <c:pt idx="116">
                  <c:v>-2.1484343127648662E-2</c:v>
                </c:pt>
                <c:pt idx="117">
                  <c:v>-2.9644265279922897E-2</c:v>
                </c:pt>
                <c:pt idx="118">
                  <c:v>-2.8205180934207687E-2</c:v>
                </c:pt>
                <c:pt idx="119">
                  <c:v>-5.0997768999111237E-2</c:v>
                </c:pt>
                <c:pt idx="120">
                  <c:v>-1.0781637252010864E-2</c:v>
                </c:pt>
                <c:pt idx="121">
                  <c:v>-5.8138648087339151E-3</c:v>
                </c:pt>
                <c:pt idx="122">
                  <c:v>-2.5316420839487024E-2</c:v>
                </c:pt>
                <c:pt idx="123">
                  <c:v>-4.8148148413335368E-2</c:v>
                </c:pt>
                <c:pt idx="124">
                  <c:v>-0.1415313211033907</c:v>
                </c:pt>
                <c:pt idx="125">
                  <c:v>-3.4146317936377679E-2</c:v>
                </c:pt>
                <c:pt idx="126">
                  <c:v>-2.3622021328227889E-2</c:v>
                </c:pt>
                <c:pt idx="127">
                  <c:v>-3.2258114703874366E-2</c:v>
                </c:pt>
                <c:pt idx="128">
                  <c:v>-4.938271768739478E-2</c:v>
                </c:pt>
                <c:pt idx="129">
                  <c:v>-6.2500103914673588E-2</c:v>
                </c:pt>
                <c:pt idx="130">
                  <c:v>-2.3188392945816757E-2</c:v>
                </c:pt>
                <c:pt idx="131">
                  <c:v>-1.1080125496327992E-2</c:v>
                </c:pt>
                <c:pt idx="132">
                  <c:v>-7.349092629887638E-2</c:v>
                </c:pt>
                <c:pt idx="133">
                  <c:v>-0.13076920244122278</c:v>
                </c:pt>
                <c:pt idx="134">
                  <c:v>-8.2352825918705269E-2</c:v>
                </c:pt>
                <c:pt idx="135">
                  <c:v>-7.8224127990734374E-2</c:v>
                </c:pt>
                <c:pt idx="136">
                  <c:v>-2.0348936147931328E-2</c:v>
                </c:pt>
                <c:pt idx="137">
                  <c:v>-7.4928054515247908E-2</c:v>
                </c:pt>
                <c:pt idx="138">
                  <c:v>-5.1204519648971346E-2</c:v>
                </c:pt>
                <c:pt idx="139">
                  <c:v>-8.611100003057981E-2</c:v>
                </c:pt>
                <c:pt idx="140">
                  <c:v>-9.8901641367394738E-2</c:v>
                </c:pt>
                <c:pt idx="141">
                  <c:v>-3.105593094899791E-2</c:v>
                </c:pt>
                <c:pt idx="142">
                  <c:v>-2.2435632088749081E-2</c:v>
                </c:pt>
                <c:pt idx="143">
                  <c:v>-5.7970603674540634E-2</c:v>
                </c:pt>
                <c:pt idx="144">
                  <c:v>-3.4615611796947103E-2</c:v>
                </c:pt>
                <c:pt idx="145">
                  <c:v>-2.8070683397174761E-2</c:v>
                </c:pt>
                <c:pt idx="146">
                  <c:v>-2.1660717640428474E-2</c:v>
                </c:pt>
                <c:pt idx="147">
                  <c:v>-1.3651732676087972E-2</c:v>
                </c:pt>
                <c:pt idx="148">
                  <c:v>-6.9620940782126869E-2</c:v>
                </c:pt>
                <c:pt idx="149">
                  <c:v>-0.17051945838082472</c:v>
                </c:pt>
                <c:pt idx="150">
                  <c:v>-2.2058620315785173E-2</c:v>
                </c:pt>
                <c:pt idx="151">
                  <c:v>-7.0512607948004874E-2</c:v>
                </c:pt>
                <c:pt idx="152">
                  <c:v>-3.9146799825283296E-2</c:v>
                </c:pt>
                <c:pt idx="153">
                  <c:v>-9.7744197861293791E-2</c:v>
                </c:pt>
                <c:pt idx="154">
                  <c:v>-4.561258917763409E-2</c:v>
                </c:pt>
                <c:pt idx="155">
                  <c:v>-0.1117076097983654</c:v>
                </c:pt>
                <c:pt idx="156">
                  <c:v>-2.2399234083293484E-2</c:v>
                </c:pt>
                <c:pt idx="157">
                  <c:v>-5.9098510348013084E-2</c:v>
                </c:pt>
                <c:pt idx="158">
                  <c:v>-0.11165737897375697</c:v>
                </c:pt>
                <c:pt idx="159">
                  <c:v>-8.7524175300376414E-2</c:v>
                </c:pt>
                <c:pt idx="160">
                  <c:v>-0.10708197104156933</c:v>
                </c:pt>
                <c:pt idx="161">
                  <c:v>-0.11727214024346501</c:v>
                </c:pt>
                <c:pt idx="162">
                  <c:v>-1.4398461274505347E-2</c:v>
                </c:pt>
                <c:pt idx="163">
                  <c:v>-8.7770933943487894E-2</c:v>
                </c:pt>
                <c:pt idx="164">
                  <c:v>-0.1405555555555556</c:v>
                </c:pt>
                <c:pt idx="165">
                  <c:v>-4.3276661514683214E-2</c:v>
                </c:pt>
                <c:pt idx="166">
                  <c:v>-2.818993290169285E-2</c:v>
                </c:pt>
                <c:pt idx="167">
                  <c:v>-1.5647312570001088E-2</c:v>
                </c:pt>
                <c:pt idx="168">
                  <c:v>-2.5723515061346736E-2</c:v>
                </c:pt>
                <c:pt idx="169">
                  <c:v>-2.1785004096039055E-2</c:v>
                </c:pt>
                <c:pt idx="170">
                  <c:v>-1.3798072910692991E-2</c:v>
                </c:pt>
                <c:pt idx="171">
                  <c:v>-3.4454510133159574E-2</c:v>
                </c:pt>
                <c:pt idx="172">
                  <c:v>-1.0350281748439228E-2</c:v>
                </c:pt>
                <c:pt idx="173">
                  <c:v>-5.6315720375472228E-3</c:v>
                </c:pt>
                <c:pt idx="174">
                  <c:v>-1.5715475713478231E-2</c:v>
                </c:pt>
                <c:pt idx="175">
                  <c:v>-1.5297858001389603E-2</c:v>
                </c:pt>
                <c:pt idx="176">
                  <c:v>-3.3043489999073278E-2</c:v>
                </c:pt>
                <c:pt idx="177">
                  <c:v>-1.7985612305358598E-2</c:v>
                </c:pt>
                <c:pt idx="178">
                  <c:v>-2.0565494375759909E-2</c:v>
                </c:pt>
                <c:pt idx="179">
                  <c:v>-5.2500042558149343E-2</c:v>
                </c:pt>
                <c:pt idx="180">
                  <c:v>-1.8471828676994102E-2</c:v>
                </c:pt>
                <c:pt idx="181">
                  <c:v>-1.8817196183574587E-2</c:v>
                </c:pt>
                <c:pt idx="182">
                  <c:v>-6.0606031060171484E-2</c:v>
                </c:pt>
                <c:pt idx="183">
                  <c:v>-4.4215111649535871E-2</c:v>
                </c:pt>
                <c:pt idx="184">
                  <c:v>-2.1180069383504134E-2</c:v>
                </c:pt>
                <c:pt idx="185">
                  <c:v>-2.1770214945128282E-3</c:v>
                </c:pt>
                <c:pt idx="186">
                  <c:v>-2.8653267837590445E-2</c:v>
                </c:pt>
                <c:pt idx="187">
                  <c:v>-1.106200099374699E-2</c:v>
                </c:pt>
                <c:pt idx="188">
                  <c:v>-0.15488908954175684</c:v>
                </c:pt>
                <c:pt idx="189">
                  <c:v>-2.5898509830849688E-2</c:v>
                </c:pt>
                <c:pt idx="190">
                  <c:v>-6.1256545874098067E-2</c:v>
                </c:pt>
                <c:pt idx="191">
                  <c:v>-4.8522089596883394E-2</c:v>
                </c:pt>
                <c:pt idx="192">
                  <c:v>-0.11478754919265347</c:v>
                </c:pt>
                <c:pt idx="193">
                  <c:v>-3.1406414254568152E-2</c:v>
                </c:pt>
                <c:pt idx="194">
                  <c:v>-9.7744384042171895E-2</c:v>
                </c:pt>
                <c:pt idx="195">
                  <c:v>-7.3848991189325811E-3</c:v>
                </c:pt>
                <c:pt idx="196">
                  <c:v>-7.7170413273699445E-2</c:v>
                </c:pt>
                <c:pt idx="197">
                  <c:v>-4.2726342363299981E-2</c:v>
                </c:pt>
                <c:pt idx="198">
                  <c:v>-1.886789035872596E-2</c:v>
                </c:pt>
                <c:pt idx="199">
                  <c:v>-9.1420572317809728E-2</c:v>
                </c:pt>
                <c:pt idx="200">
                  <c:v>-0.11051546227347808</c:v>
                </c:pt>
                <c:pt idx="201">
                  <c:v>-2.96508499517215E-2</c:v>
                </c:pt>
                <c:pt idx="202">
                  <c:v>-3.8307377974427542E-2</c:v>
                </c:pt>
                <c:pt idx="203">
                  <c:v>-5.7142803641949444E-2</c:v>
                </c:pt>
                <c:pt idx="204">
                  <c:v>-1.2683093304361289E-2</c:v>
                </c:pt>
                <c:pt idx="205">
                  <c:v>-4.7508673838384217E-2</c:v>
                </c:pt>
                <c:pt idx="206">
                  <c:v>-4.9883939378635236E-2</c:v>
                </c:pt>
                <c:pt idx="207">
                  <c:v>-5.9354827253549076E-2</c:v>
                </c:pt>
                <c:pt idx="208">
                  <c:v>-2.5718555398547071E-2</c:v>
                </c:pt>
                <c:pt idx="209">
                  <c:v>-7.764041750234524E-3</c:v>
                </c:pt>
                <c:pt idx="210">
                  <c:v>-1.0954623477299768E-2</c:v>
                </c:pt>
                <c:pt idx="211">
                  <c:v>-4.7463206770937579E-2</c:v>
                </c:pt>
                <c:pt idx="212">
                  <c:v>-3.5273377093388812E-2</c:v>
                </c:pt>
                <c:pt idx="213">
                  <c:v>-2.3465700793509774E-2</c:v>
                </c:pt>
                <c:pt idx="214">
                  <c:v>-4.0665433635941231E-2</c:v>
                </c:pt>
                <c:pt idx="215">
                  <c:v>-4.2592647599946673E-2</c:v>
                </c:pt>
                <c:pt idx="216">
                  <c:v>-3.6659873346520093E-2</c:v>
                </c:pt>
                <c:pt idx="217">
                  <c:v>-6.3745026615917147E-2</c:v>
                </c:pt>
                <c:pt idx="218">
                  <c:v>-4.1257352764486256E-2</c:v>
                </c:pt>
                <c:pt idx="219">
                  <c:v>-3.712870652115121E-2</c:v>
                </c:pt>
                <c:pt idx="220">
                  <c:v>-2.339189593943369E-2</c:v>
                </c:pt>
                <c:pt idx="221">
                  <c:v>-6.7669116503366072E-2</c:v>
                </c:pt>
                <c:pt idx="222">
                  <c:v>-1.0695185381745482E-2</c:v>
                </c:pt>
                <c:pt idx="223">
                  <c:v>-6.8627380353291828E-2</c:v>
                </c:pt>
                <c:pt idx="224">
                  <c:v>-6.2868284265804805E-2</c:v>
                </c:pt>
                <c:pt idx="225">
                  <c:v>-4.1928964661106984E-3</c:v>
                </c:pt>
                <c:pt idx="226">
                  <c:v>-3.0060135768249101E-2</c:v>
                </c:pt>
                <c:pt idx="227">
                  <c:v>-5.1724017371864488E-2</c:v>
                </c:pt>
                <c:pt idx="228">
                  <c:v>-8.264452415833147E-2</c:v>
                </c:pt>
                <c:pt idx="229">
                  <c:v>-1.179964592059313E-2</c:v>
                </c:pt>
                <c:pt idx="230">
                  <c:v>-6.3670308673465806E-2</c:v>
                </c:pt>
                <c:pt idx="231">
                  <c:v>-0.19135798302748364</c:v>
                </c:pt>
                <c:pt idx="232">
                  <c:v>-4.8951045852355379E-2</c:v>
                </c:pt>
                <c:pt idx="233">
                  <c:v>-3.676578503640426E-3</c:v>
                </c:pt>
                <c:pt idx="234">
                  <c:v>-6.7113874833952267E-3</c:v>
                </c:pt>
                <c:pt idx="235">
                  <c:v>-6.1926477862972992E-2</c:v>
                </c:pt>
                <c:pt idx="236">
                  <c:v>-1.8868016133397902E-2</c:v>
                </c:pt>
                <c:pt idx="237">
                  <c:v>-4.7308716511838551E-2</c:v>
                </c:pt>
                <c:pt idx="238">
                  <c:v>-0.10240965140134699</c:v>
                </c:pt>
                <c:pt idx="239">
                  <c:v>-9.3455269803312292E-3</c:v>
                </c:pt>
                <c:pt idx="240">
                  <c:v>-0.11864409027638249</c:v>
                </c:pt>
                <c:pt idx="241">
                  <c:v>-5.8441238629859102E-2</c:v>
                </c:pt>
                <c:pt idx="242">
                  <c:v>-4.0540309695258632E-2</c:v>
                </c:pt>
                <c:pt idx="243">
                  <c:v>-2.8168846907563369E-2</c:v>
                </c:pt>
                <c:pt idx="244">
                  <c:v>-2.0413572336560239E-2</c:v>
                </c:pt>
                <c:pt idx="245">
                  <c:v>-2.7776755442951627E-2</c:v>
                </c:pt>
                <c:pt idx="246">
                  <c:v>-3.4603086945908378E-2</c:v>
                </c:pt>
                <c:pt idx="247">
                  <c:v>-1.7921689244084955E-2</c:v>
                </c:pt>
                <c:pt idx="248">
                  <c:v>-7.266357245854356E-2</c:v>
                </c:pt>
                <c:pt idx="249">
                  <c:v>-3.2846645944430125E-2</c:v>
                </c:pt>
                <c:pt idx="250">
                  <c:v>-1.1322368065418103E-2</c:v>
                </c:pt>
                <c:pt idx="251">
                  <c:v>-2.8070345899727938E-2</c:v>
                </c:pt>
                <c:pt idx="252">
                  <c:v>-3.447801357715146E-3</c:v>
                </c:pt>
                <c:pt idx="253">
                  <c:v>-2.0133579780485716E-2</c:v>
                </c:pt>
                <c:pt idx="254">
                  <c:v>-1.3697315025272062E-2</c:v>
                </c:pt>
                <c:pt idx="255">
                  <c:v>-1.8517427258977415E-2</c:v>
                </c:pt>
                <c:pt idx="256">
                  <c:v>-2.0479274647827742E-2</c:v>
                </c:pt>
                <c:pt idx="257">
                  <c:v>-1.1153213479428908E-2</c:v>
                </c:pt>
                <c:pt idx="258">
                  <c:v>-7.5183078695959032E-3</c:v>
                </c:pt>
                <c:pt idx="259">
                  <c:v>-7.970940280355876E-2</c:v>
                </c:pt>
                <c:pt idx="260">
                  <c:v>-2.3253743811669378E-2</c:v>
                </c:pt>
                <c:pt idx="261">
                  <c:v>-3.5972079698242225E-2</c:v>
                </c:pt>
                <c:pt idx="262">
                  <c:v>-1.1110309761638713E-2</c:v>
                </c:pt>
                <c:pt idx="263">
                  <c:v>-2.2220619523277297E-2</c:v>
                </c:pt>
                <c:pt idx="264">
                  <c:v>-2.4307389533243164E-2</c:v>
                </c:pt>
                <c:pt idx="265">
                  <c:v>-5.4055760266075656E-2</c:v>
                </c:pt>
                <c:pt idx="266">
                  <c:v>-4.726773027181376E-2</c:v>
                </c:pt>
                <c:pt idx="267">
                  <c:v>-5.4365281824936794E-2</c:v>
                </c:pt>
                <c:pt idx="268">
                  <c:v>-2.7737107832109628E-2</c:v>
                </c:pt>
                <c:pt idx="269">
                  <c:v>-1.025747098339169E-2</c:v>
                </c:pt>
                <c:pt idx="270">
                  <c:v>-8.2936029298888075E-2</c:v>
                </c:pt>
                <c:pt idx="271">
                  <c:v>-3.6971932604668939E-2</c:v>
                </c:pt>
                <c:pt idx="272">
                  <c:v>-1.3868274279287903E-2</c:v>
                </c:pt>
                <c:pt idx="273">
                  <c:v>-3.5141693962258518E-3</c:v>
                </c:pt>
                <c:pt idx="274">
                  <c:v>-7.1607904540792484E-3</c:v>
                </c:pt>
                <c:pt idx="275">
                  <c:v>-4.9032692866770665E-2</c:v>
                </c:pt>
                <c:pt idx="276">
                  <c:v>-4.5110104024661354E-2</c:v>
                </c:pt>
                <c:pt idx="277">
                  <c:v>-6.2780405920952298E-2</c:v>
                </c:pt>
                <c:pt idx="278">
                  <c:v>-2.6812481297097256E-2</c:v>
                </c:pt>
                <c:pt idx="279">
                  <c:v>-4.9780380673499144E-2</c:v>
                </c:pt>
                <c:pt idx="280">
                  <c:v>-1.5220700152207001E-2</c:v>
                </c:pt>
                <c:pt idx="281">
                  <c:v>-7.6311605723370382E-2</c:v>
                </c:pt>
              </c:numCache>
            </c:numRef>
          </c:yVal>
          <c:smooth val="0"/>
          <c:extLst xmlns:c16r2="http://schemas.microsoft.com/office/drawing/2015/06/chart">
            <c:ext xmlns:c16="http://schemas.microsoft.com/office/drawing/2014/chart" uri="{C3380CC4-5D6E-409C-BE32-E72D297353CC}">
              <c16:uniqueId val="{00000000-C780-469E-82B4-7CB67CC33793}"/>
            </c:ext>
          </c:extLst>
        </c:ser>
        <c:dLbls>
          <c:showLegendKey val="0"/>
          <c:showVal val="0"/>
          <c:showCatName val="0"/>
          <c:showSerName val="0"/>
          <c:showPercent val="0"/>
          <c:showBubbleSize val="0"/>
        </c:dLbls>
        <c:axId val="554802560"/>
        <c:axId val="554804736"/>
      </c:scatterChart>
      <c:valAx>
        <c:axId val="554802560"/>
        <c:scaling>
          <c:orientation val="minMax"/>
        </c:scaling>
        <c:delete val="0"/>
        <c:axPos val="b"/>
        <c:title>
          <c:tx>
            <c:rich>
              <a:bodyPr/>
              <a:lstStyle/>
              <a:p>
                <a:pPr>
                  <a:defRPr/>
                </a:pPr>
                <a:r>
                  <a:rPr lang="en-US" sz="1200" b="1" i="0" baseline="0" dirty="0">
                    <a:effectLst/>
                  </a:rPr>
                  <a:t>Historical number of consecutive days of VIX above its highest level on previous 22 bd</a:t>
                </a:r>
                <a:endParaRPr lang="en-US" sz="1200" dirty="0">
                  <a:effectLst/>
                </a:endParaRPr>
              </a:p>
            </c:rich>
          </c:tx>
          <c:layout/>
          <c:overlay val="0"/>
        </c:title>
        <c:numFmt formatCode="General" sourceLinked="1"/>
        <c:majorTickMark val="out"/>
        <c:minorTickMark val="none"/>
        <c:tickLblPos val="nextTo"/>
        <c:crossAx val="554804736"/>
        <c:crosses val="autoZero"/>
        <c:crossBetween val="midCat"/>
      </c:valAx>
      <c:valAx>
        <c:axId val="554804736"/>
        <c:scaling>
          <c:orientation val="minMax"/>
        </c:scaling>
        <c:delete val="0"/>
        <c:axPos val="l"/>
        <c:majorGridlines/>
        <c:title>
          <c:tx>
            <c:rich>
              <a:bodyPr rot="0" vert="wordArtVert"/>
              <a:lstStyle/>
              <a:p>
                <a:pPr>
                  <a:defRPr/>
                </a:pPr>
                <a:r>
                  <a:rPr lang="en-US" dirty="0"/>
                  <a:t>first</a:t>
                </a:r>
                <a:r>
                  <a:rPr lang="en-US" baseline="0" dirty="0"/>
                  <a:t> VIX Futures move</a:t>
                </a:r>
                <a:endParaRPr lang="en-US" dirty="0"/>
              </a:p>
            </c:rich>
          </c:tx>
          <c:layout/>
          <c:overlay val="0"/>
        </c:title>
        <c:numFmt formatCode="0.00%" sourceLinked="1"/>
        <c:majorTickMark val="out"/>
        <c:minorTickMark val="none"/>
        <c:tickLblPos val="nextTo"/>
        <c:crossAx val="554802560"/>
        <c:crosses val="autoZero"/>
        <c:crossBetween val="midCat"/>
      </c:valAx>
    </c:plotArea>
    <c:legend>
      <c:legendPos val="b"/>
      <c:layout/>
      <c:overlay val="0"/>
    </c:legend>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Historical simulation</a:t>
            </a:r>
          </a:p>
        </c:rich>
      </c:tx>
      <c:layout/>
      <c:overlay val="0"/>
    </c:title>
    <c:autoTitleDeleted val="0"/>
    <c:plotArea>
      <c:layout/>
      <c:lineChart>
        <c:grouping val="standard"/>
        <c:varyColors val="0"/>
        <c:ser>
          <c:idx val="0"/>
          <c:order val="0"/>
          <c:tx>
            <c:strRef>
              <c:f>'1M'!$O$30</c:f>
              <c:strCache>
                <c:ptCount val="1"/>
                <c:pt idx="0">
                  <c:v>Basic Mean Reversion Strategy</c:v>
                </c:pt>
              </c:strCache>
            </c:strRef>
          </c:tx>
          <c:marker>
            <c:symbol val="none"/>
          </c:marker>
          <c:cat>
            <c:numRef>
              <c:f>'1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1M'!$O$31:$O$2763</c:f>
              <c:numCache>
                <c:formatCode>General</c:formatCode>
                <c:ptCount val="2733"/>
                <c:pt idx="0">
                  <c:v>100</c:v>
                </c:pt>
                <c:pt idx="1">
                  <c:v>100</c:v>
                </c:pt>
                <c:pt idx="2">
                  <c:v>103.78064642316403</c:v>
                </c:pt>
                <c:pt idx="3">
                  <c:v>101.07551644937126</c:v>
                </c:pt>
                <c:pt idx="4">
                  <c:v>106.51731705387762</c:v>
                </c:pt>
                <c:pt idx="5">
                  <c:v>103.14174767442434</c:v>
                </c:pt>
                <c:pt idx="6">
                  <c:v>102.03291314007427</c:v>
                </c:pt>
                <c:pt idx="7">
                  <c:v>100.81838971117189</c:v>
                </c:pt>
                <c:pt idx="8">
                  <c:v>100.66058333344105</c:v>
                </c:pt>
                <c:pt idx="9">
                  <c:v>102.19582680598882</c:v>
                </c:pt>
                <c:pt idx="10">
                  <c:v>101.77577586552201</c:v>
                </c:pt>
                <c:pt idx="11">
                  <c:v>103.61712514795383</c:v>
                </c:pt>
                <c:pt idx="12">
                  <c:v>103.98673213663096</c:v>
                </c:pt>
                <c:pt idx="13">
                  <c:v>103.64081398411417</c:v>
                </c:pt>
                <c:pt idx="14">
                  <c:v>103.44515615592255</c:v>
                </c:pt>
                <c:pt idx="15">
                  <c:v>103.96602437363609</c:v>
                </c:pt>
                <c:pt idx="16">
                  <c:v>102.26982067962018</c:v>
                </c:pt>
                <c:pt idx="17">
                  <c:v>104.89026754662126</c:v>
                </c:pt>
                <c:pt idx="18">
                  <c:v>105.57533014514159</c:v>
                </c:pt>
                <c:pt idx="19">
                  <c:v>107.39791928020963</c:v>
                </c:pt>
                <c:pt idx="20">
                  <c:v>107.64963122531114</c:v>
                </c:pt>
                <c:pt idx="21">
                  <c:v>109.02076147505878</c:v>
                </c:pt>
                <c:pt idx="22">
                  <c:v>112.88060245324968</c:v>
                </c:pt>
                <c:pt idx="23">
                  <c:v>117.84849472629503</c:v>
                </c:pt>
                <c:pt idx="24">
                  <c:v>118.64905415273471</c:v>
                </c:pt>
                <c:pt idx="25">
                  <c:v>117.29718813379441</c:v>
                </c:pt>
                <c:pt idx="26">
                  <c:v>114.66015422212229</c:v>
                </c:pt>
                <c:pt idx="27">
                  <c:v>114.06235285074526</c:v>
                </c:pt>
                <c:pt idx="28">
                  <c:v>115.16106662150662</c:v>
                </c:pt>
                <c:pt idx="29">
                  <c:v>110.84325164462798</c:v>
                </c:pt>
                <c:pt idx="30">
                  <c:v>111.42640311126917</c:v>
                </c:pt>
                <c:pt idx="31">
                  <c:v>112.27115565238594</c:v>
                </c:pt>
                <c:pt idx="32">
                  <c:v>109.4773046220818</c:v>
                </c:pt>
                <c:pt idx="33">
                  <c:v>108.54068127049869</c:v>
                </c:pt>
                <c:pt idx="34">
                  <c:v>108.45404636290344</c:v>
                </c:pt>
                <c:pt idx="35">
                  <c:v>105.66214547934891</c:v>
                </c:pt>
                <c:pt idx="36">
                  <c:v>102.69525341286487</c:v>
                </c:pt>
                <c:pt idx="37">
                  <c:v>103.61943809930754</c:v>
                </c:pt>
                <c:pt idx="38">
                  <c:v>103.44820086868546</c:v>
                </c:pt>
                <c:pt idx="39">
                  <c:v>104.83394275140648</c:v>
                </c:pt>
                <c:pt idx="40">
                  <c:v>102.93407252789167</c:v>
                </c:pt>
                <c:pt idx="41">
                  <c:v>102.63816370933897</c:v>
                </c:pt>
                <c:pt idx="42">
                  <c:v>101.39740578316422</c:v>
                </c:pt>
                <c:pt idx="43">
                  <c:v>101.17586545424538</c:v>
                </c:pt>
                <c:pt idx="44">
                  <c:v>102.12368233970274</c:v>
                </c:pt>
                <c:pt idx="45">
                  <c:v>102.12157654160269</c:v>
                </c:pt>
                <c:pt idx="46">
                  <c:v>101.38615242080222</c:v>
                </c:pt>
                <c:pt idx="47">
                  <c:v>101.32527727431587</c:v>
                </c:pt>
                <c:pt idx="48">
                  <c:v>101.79901767929968</c:v>
                </c:pt>
                <c:pt idx="49">
                  <c:v>103.98538484545715</c:v>
                </c:pt>
                <c:pt idx="50">
                  <c:v>103.50284339200363</c:v>
                </c:pt>
                <c:pt idx="51">
                  <c:v>105.03685990253543</c:v>
                </c:pt>
                <c:pt idx="52">
                  <c:v>103.66963466059062</c:v>
                </c:pt>
                <c:pt idx="53">
                  <c:v>103.43268193395519</c:v>
                </c:pt>
                <c:pt idx="54">
                  <c:v>103.18405944973019</c:v>
                </c:pt>
                <c:pt idx="55">
                  <c:v>104.27137390083077</c:v>
                </c:pt>
                <c:pt idx="56">
                  <c:v>103.82340614504105</c:v>
                </c:pt>
                <c:pt idx="57">
                  <c:v>104.23874469902076</c:v>
                </c:pt>
                <c:pt idx="58">
                  <c:v>102.25228431405671</c:v>
                </c:pt>
                <c:pt idx="59">
                  <c:v>102.59617141984921</c:v>
                </c:pt>
                <c:pt idx="60">
                  <c:v>101.19460170297998</c:v>
                </c:pt>
                <c:pt idx="61">
                  <c:v>99.605235028493652</c:v>
                </c:pt>
                <c:pt idx="62">
                  <c:v>98.317059371486707</c:v>
                </c:pt>
                <c:pt idx="63">
                  <c:v>97.407415325564685</c:v>
                </c:pt>
                <c:pt idx="64">
                  <c:v>96.800902388648908</c:v>
                </c:pt>
                <c:pt idx="65">
                  <c:v>95.51494373441389</c:v>
                </c:pt>
                <c:pt idx="66">
                  <c:v>94.529799633611105</c:v>
                </c:pt>
                <c:pt idx="67">
                  <c:v>94.07428190366079</c:v>
                </c:pt>
                <c:pt idx="68">
                  <c:v>92.637616614425895</c:v>
                </c:pt>
                <c:pt idx="69">
                  <c:v>93.314555267872876</c:v>
                </c:pt>
                <c:pt idx="70">
                  <c:v>93.993074460121193</c:v>
                </c:pt>
                <c:pt idx="71">
                  <c:v>93.0093224062894</c:v>
                </c:pt>
                <c:pt idx="72">
                  <c:v>91.571620931432975</c:v>
                </c:pt>
                <c:pt idx="73">
                  <c:v>93.004041142193856</c:v>
                </c:pt>
                <c:pt idx="74">
                  <c:v>94.058557244073754</c:v>
                </c:pt>
                <c:pt idx="75">
                  <c:v>93.678458780322984</c:v>
                </c:pt>
                <c:pt idx="76">
                  <c:v>93.012939265723347</c:v>
                </c:pt>
                <c:pt idx="77">
                  <c:v>91.99215524069028</c:v>
                </c:pt>
                <c:pt idx="78">
                  <c:v>91.316900734786742</c:v>
                </c:pt>
                <c:pt idx="79">
                  <c:v>90.601104942065476</c:v>
                </c:pt>
                <c:pt idx="80">
                  <c:v>93.975986122068463</c:v>
                </c:pt>
                <c:pt idx="81">
                  <c:v>96.317679632060745</c:v>
                </c:pt>
                <c:pt idx="82">
                  <c:v>95.274973762032843</c:v>
                </c:pt>
                <c:pt idx="83">
                  <c:v>97.805453232456344</c:v>
                </c:pt>
                <c:pt idx="84">
                  <c:v>97.120891332977251</c:v>
                </c:pt>
                <c:pt idx="85">
                  <c:v>99.155486606186727</c:v>
                </c:pt>
                <c:pt idx="86">
                  <c:v>98.336485982000823</c:v>
                </c:pt>
                <c:pt idx="87">
                  <c:v>98.323415149323864</c:v>
                </c:pt>
                <c:pt idx="88">
                  <c:v>98.05376499898901</c:v>
                </c:pt>
                <c:pt idx="89">
                  <c:v>97.516754848150967</c:v>
                </c:pt>
                <c:pt idx="90">
                  <c:v>97.553495115050694</c:v>
                </c:pt>
                <c:pt idx="91">
                  <c:v>97.592198619070558</c:v>
                </c:pt>
                <c:pt idx="92">
                  <c:v>97.605193776170424</c:v>
                </c:pt>
                <c:pt idx="93">
                  <c:v>97.87604320145438</c:v>
                </c:pt>
                <c:pt idx="94">
                  <c:v>97.245011020105736</c:v>
                </c:pt>
                <c:pt idx="95">
                  <c:v>97.058716447228647</c:v>
                </c:pt>
                <c:pt idx="96">
                  <c:v>95.539682691813709</c:v>
                </c:pt>
                <c:pt idx="97">
                  <c:v>95.379223610733121</c:v>
                </c:pt>
                <c:pt idx="98">
                  <c:v>95.520171570347827</c:v>
                </c:pt>
                <c:pt idx="99">
                  <c:v>94.88191364887895</c:v>
                </c:pt>
                <c:pt idx="100">
                  <c:v>94.676402078740026</c:v>
                </c:pt>
                <c:pt idx="101">
                  <c:v>94.622705714419723</c:v>
                </c:pt>
                <c:pt idx="102">
                  <c:v>93.061208201138626</c:v>
                </c:pt>
                <c:pt idx="103">
                  <c:v>92.650556314647503</c:v>
                </c:pt>
                <c:pt idx="104">
                  <c:v>93.532051959561514</c:v>
                </c:pt>
                <c:pt idx="105">
                  <c:v>93.462213548390835</c:v>
                </c:pt>
                <c:pt idx="106">
                  <c:v>93.054827473449592</c:v>
                </c:pt>
                <c:pt idx="107">
                  <c:v>92.171575204367528</c:v>
                </c:pt>
                <c:pt idx="108">
                  <c:v>92.916250260189557</c:v>
                </c:pt>
                <c:pt idx="109">
                  <c:v>92.710987906380012</c:v>
                </c:pt>
                <c:pt idx="110">
                  <c:v>95.357482467213487</c:v>
                </c:pt>
                <c:pt idx="111">
                  <c:v>96.233806528920354</c:v>
                </c:pt>
                <c:pt idx="112">
                  <c:v>97.369336152903614</c:v>
                </c:pt>
                <c:pt idx="113">
                  <c:v>98.761837648333142</c:v>
                </c:pt>
                <c:pt idx="114">
                  <c:v>99.620641926975253</c:v>
                </c:pt>
                <c:pt idx="115">
                  <c:v>98.021147580408069</c:v>
                </c:pt>
                <c:pt idx="116">
                  <c:v>95.936594079016558</c:v>
                </c:pt>
                <c:pt idx="117">
                  <c:v>94.400122801330525</c:v>
                </c:pt>
                <c:pt idx="118">
                  <c:v>93.813197226683727</c:v>
                </c:pt>
                <c:pt idx="119">
                  <c:v>96.146306355839741</c:v>
                </c:pt>
                <c:pt idx="120">
                  <c:v>100.66385604452655</c:v>
                </c:pt>
                <c:pt idx="121">
                  <c:v>102.84178382217672</c:v>
                </c:pt>
                <c:pt idx="122">
                  <c:v>102.74904907650159</c:v>
                </c:pt>
                <c:pt idx="123">
                  <c:v>99.018562292727168</c:v>
                </c:pt>
                <c:pt idx="124">
                  <c:v>98.534605689081346</c:v>
                </c:pt>
                <c:pt idx="125">
                  <c:v>97.590653487735125</c:v>
                </c:pt>
                <c:pt idx="126">
                  <c:v>93.690251893964927</c:v>
                </c:pt>
                <c:pt idx="127">
                  <c:v>96.870428107090547</c:v>
                </c:pt>
                <c:pt idx="128">
                  <c:v>96.731916990773087</c:v>
                </c:pt>
                <c:pt idx="129">
                  <c:v>96.404389384381929</c:v>
                </c:pt>
                <c:pt idx="130">
                  <c:v>97.833809057879165</c:v>
                </c:pt>
                <c:pt idx="131">
                  <c:v>94.080661604927684</c:v>
                </c:pt>
                <c:pt idx="132">
                  <c:v>93.896887782406921</c:v>
                </c:pt>
                <c:pt idx="133">
                  <c:v>96.497777161778117</c:v>
                </c:pt>
                <c:pt idx="134">
                  <c:v>97.181150795413814</c:v>
                </c:pt>
                <c:pt idx="135">
                  <c:v>96.264134864150989</c:v>
                </c:pt>
                <c:pt idx="136">
                  <c:v>99.663710160772553</c:v>
                </c:pt>
                <c:pt idx="137">
                  <c:v>96.715284799465124</c:v>
                </c:pt>
                <c:pt idx="138">
                  <c:v>96.533857355740281</c:v>
                </c:pt>
                <c:pt idx="139">
                  <c:v>95.596944719412903</c:v>
                </c:pt>
                <c:pt idx="140">
                  <c:v>93.812873350645248</c:v>
                </c:pt>
                <c:pt idx="141">
                  <c:v>89.704678570608166</c:v>
                </c:pt>
                <c:pt idx="142">
                  <c:v>89.155265274345311</c:v>
                </c:pt>
                <c:pt idx="143">
                  <c:v>88.546661067099123</c:v>
                </c:pt>
                <c:pt idx="144">
                  <c:v>88.950277483771927</c:v>
                </c:pt>
                <c:pt idx="145">
                  <c:v>87.059692923216048</c:v>
                </c:pt>
                <c:pt idx="146">
                  <c:v>83.613730438935391</c:v>
                </c:pt>
                <c:pt idx="147">
                  <c:v>81.053366858021249</c:v>
                </c:pt>
                <c:pt idx="148">
                  <c:v>82.132886297797583</c:v>
                </c:pt>
                <c:pt idx="149">
                  <c:v>81.683748253439802</c:v>
                </c:pt>
                <c:pt idx="150">
                  <c:v>81.427508324826078</c:v>
                </c:pt>
                <c:pt idx="151">
                  <c:v>79.257248859038924</c:v>
                </c:pt>
                <c:pt idx="152">
                  <c:v>76.89147936386432</c:v>
                </c:pt>
                <c:pt idx="153">
                  <c:v>77.07787271815792</c:v>
                </c:pt>
                <c:pt idx="154">
                  <c:v>76.630804742016196</c:v>
                </c:pt>
                <c:pt idx="155">
                  <c:v>76.183188884718135</c:v>
                </c:pt>
                <c:pt idx="156">
                  <c:v>76.30981936654041</c:v>
                </c:pt>
                <c:pt idx="157">
                  <c:v>76.947580836126306</c:v>
                </c:pt>
                <c:pt idx="158">
                  <c:v>77.265185140537625</c:v>
                </c:pt>
                <c:pt idx="159">
                  <c:v>77.774904379846276</c:v>
                </c:pt>
                <c:pt idx="160">
                  <c:v>77.171295668488</c:v>
                </c:pt>
                <c:pt idx="161">
                  <c:v>77.336965227561095</c:v>
                </c:pt>
                <c:pt idx="162">
                  <c:v>77.374533110911585</c:v>
                </c:pt>
                <c:pt idx="163">
                  <c:v>77.123446672696858</c:v>
                </c:pt>
                <c:pt idx="164">
                  <c:v>79.34348037716515</c:v>
                </c:pt>
                <c:pt idx="165">
                  <c:v>79.338455063457872</c:v>
                </c:pt>
                <c:pt idx="166">
                  <c:v>79.896875904935158</c:v>
                </c:pt>
                <c:pt idx="167">
                  <c:v>80.197607642715568</c:v>
                </c:pt>
                <c:pt idx="168">
                  <c:v>80.032360481722293</c:v>
                </c:pt>
                <c:pt idx="169">
                  <c:v>78.924853131127691</c:v>
                </c:pt>
                <c:pt idx="170">
                  <c:v>77.639466845041014</c:v>
                </c:pt>
                <c:pt idx="171">
                  <c:v>78.548165139633653</c:v>
                </c:pt>
                <c:pt idx="172">
                  <c:v>78.242392452248595</c:v>
                </c:pt>
                <c:pt idx="173">
                  <c:v>77.512757690111002</c:v>
                </c:pt>
                <c:pt idx="174">
                  <c:v>76.478477845812222</c:v>
                </c:pt>
                <c:pt idx="175">
                  <c:v>75.808037124136391</c:v>
                </c:pt>
                <c:pt idx="176">
                  <c:v>74.1664996969497</c:v>
                </c:pt>
                <c:pt idx="177">
                  <c:v>75.620788542470308</c:v>
                </c:pt>
                <c:pt idx="178">
                  <c:v>74.827902652692018</c:v>
                </c:pt>
                <c:pt idx="179">
                  <c:v>74.8261837120438</c:v>
                </c:pt>
                <c:pt idx="180">
                  <c:v>75.615746867997842</c:v>
                </c:pt>
                <c:pt idx="181">
                  <c:v>73.002361517746422</c:v>
                </c:pt>
                <c:pt idx="182">
                  <c:v>72.197719711126723</c:v>
                </c:pt>
                <c:pt idx="183">
                  <c:v>72.086883530369974</c:v>
                </c:pt>
                <c:pt idx="184">
                  <c:v>70.441484263710038</c:v>
                </c:pt>
                <c:pt idx="185">
                  <c:v>69.036432362808569</c:v>
                </c:pt>
                <c:pt idx="186">
                  <c:v>68.363150509709754</c:v>
                </c:pt>
                <c:pt idx="187">
                  <c:v>68.178904065614461</c:v>
                </c:pt>
                <c:pt idx="188">
                  <c:v>68.84871424254564</c:v>
                </c:pt>
                <c:pt idx="189">
                  <c:v>68.635223994621697</c:v>
                </c:pt>
                <c:pt idx="190">
                  <c:v>69.37675808402507</c:v>
                </c:pt>
                <c:pt idx="191">
                  <c:v>70.329106074080102</c:v>
                </c:pt>
                <c:pt idx="192">
                  <c:v>69.479006650469714</c:v>
                </c:pt>
                <c:pt idx="193">
                  <c:v>67.079008512363231</c:v>
                </c:pt>
                <c:pt idx="194">
                  <c:v>66.911259116267161</c:v>
                </c:pt>
                <c:pt idx="195">
                  <c:v>67.644589239290895</c:v>
                </c:pt>
                <c:pt idx="196">
                  <c:v>68.83989364487816</c:v>
                </c:pt>
                <c:pt idx="197">
                  <c:v>70.904477797879395</c:v>
                </c:pt>
                <c:pt idx="198">
                  <c:v>71.425986484573187</c:v>
                </c:pt>
                <c:pt idx="199">
                  <c:v>70.118922844336367</c:v>
                </c:pt>
                <c:pt idx="200">
                  <c:v>71.067950609311694</c:v>
                </c:pt>
                <c:pt idx="201">
                  <c:v>70.84199241389382</c:v>
                </c:pt>
                <c:pt idx="202">
                  <c:v>71.960652718023184</c:v>
                </c:pt>
                <c:pt idx="203">
                  <c:v>72.014104050411575</c:v>
                </c:pt>
                <c:pt idx="204">
                  <c:v>71.622297532601422</c:v>
                </c:pt>
                <c:pt idx="205">
                  <c:v>72.579609694754865</c:v>
                </c:pt>
                <c:pt idx="206">
                  <c:v>70.351121632727413</c:v>
                </c:pt>
                <c:pt idx="207">
                  <c:v>70.427828333810581</c:v>
                </c:pt>
                <c:pt idx="208">
                  <c:v>69.900144474709137</c:v>
                </c:pt>
                <c:pt idx="209">
                  <c:v>71.096399743490053</c:v>
                </c:pt>
                <c:pt idx="210">
                  <c:v>70.332172014885231</c:v>
                </c:pt>
                <c:pt idx="211">
                  <c:v>70.428374326754138</c:v>
                </c:pt>
                <c:pt idx="212">
                  <c:v>68.998655641732881</c:v>
                </c:pt>
                <c:pt idx="213">
                  <c:v>68.394722806199738</c:v>
                </c:pt>
                <c:pt idx="214">
                  <c:v>67.487418845468753</c:v>
                </c:pt>
                <c:pt idx="215">
                  <c:v>66.129275258248242</c:v>
                </c:pt>
                <c:pt idx="216">
                  <c:v>66.180599745271948</c:v>
                </c:pt>
                <c:pt idx="217">
                  <c:v>65.638016038342244</c:v>
                </c:pt>
                <c:pt idx="218">
                  <c:v>64.877384217453255</c:v>
                </c:pt>
                <c:pt idx="219">
                  <c:v>66.12337578225663</c:v>
                </c:pt>
                <c:pt idx="220">
                  <c:v>65.361161865949626</c:v>
                </c:pt>
                <c:pt idx="221">
                  <c:v>65.467992503404645</c:v>
                </c:pt>
                <c:pt idx="222">
                  <c:v>65.684715242854665</c:v>
                </c:pt>
                <c:pt idx="223">
                  <c:v>66.931759795059349</c:v>
                </c:pt>
                <c:pt idx="224">
                  <c:v>67.2675848354111</c:v>
                </c:pt>
                <c:pt idx="225">
                  <c:v>68.041888803219365</c:v>
                </c:pt>
                <c:pt idx="226">
                  <c:v>67.317523616317914</c:v>
                </c:pt>
                <c:pt idx="227">
                  <c:v>67.867809991104295</c:v>
                </c:pt>
                <c:pt idx="228">
                  <c:v>69.648871811940722</c:v>
                </c:pt>
                <c:pt idx="229">
                  <c:v>69.80982966747743</c:v>
                </c:pt>
                <c:pt idx="230">
                  <c:v>69.454432183865976</c:v>
                </c:pt>
                <c:pt idx="231">
                  <c:v>69.272530178829641</c:v>
                </c:pt>
                <c:pt idx="232">
                  <c:v>69.383411558516912</c:v>
                </c:pt>
                <c:pt idx="233">
                  <c:v>69.883929865025351</c:v>
                </c:pt>
                <c:pt idx="234">
                  <c:v>70.216659504663667</c:v>
                </c:pt>
                <c:pt idx="235">
                  <c:v>69.158781160853238</c:v>
                </c:pt>
                <c:pt idx="236">
                  <c:v>69.267765015439252</c:v>
                </c:pt>
                <c:pt idx="237">
                  <c:v>68.766789027311418</c:v>
                </c:pt>
                <c:pt idx="238">
                  <c:v>68.876970405118556</c:v>
                </c:pt>
                <c:pt idx="239">
                  <c:v>68.709817044488332</c:v>
                </c:pt>
                <c:pt idx="240">
                  <c:v>67.133327934850215</c:v>
                </c:pt>
                <c:pt idx="241">
                  <c:v>66.792255848584674</c:v>
                </c:pt>
                <c:pt idx="242">
                  <c:v>67.459446158860885</c:v>
                </c:pt>
                <c:pt idx="243">
                  <c:v>67.290985521067341</c:v>
                </c:pt>
                <c:pt idx="244">
                  <c:v>66.789692539072476</c:v>
                </c:pt>
                <c:pt idx="245">
                  <c:v>66.232018739365031</c:v>
                </c:pt>
                <c:pt idx="246">
                  <c:v>66.342116128773768</c:v>
                </c:pt>
                <c:pt idx="247">
                  <c:v>67.176712867909274</c:v>
                </c:pt>
                <c:pt idx="248">
                  <c:v>68.45494145616307</c:v>
                </c:pt>
                <c:pt idx="249">
                  <c:v>68.729487026612404</c:v>
                </c:pt>
                <c:pt idx="250">
                  <c:v>68.433901737646863</c:v>
                </c:pt>
                <c:pt idx="251">
                  <c:v>68.758767922447433</c:v>
                </c:pt>
                <c:pt idx="252">
                  <c:v>68.545670422575839</c:v>
                </c:pt>
                <c:pt idx="253">
                  <c:v>70.497620520589663</c:v>
                </c:pt>
                <c:pt idx="254">
                  <c:v>70.549063814355648</c:v>
                </c:pt>
                <c:pt idx="255">
                  <c:v>69.94528843344554</c:v>
                </c:pt>
                <c:pt idx="256">
                  <c:v>70.814109820566728</c:v>
                </c:pt>
                <c:pt idx="257">
                  <c:v>70.509849029464149</c:v>
                </c:pt>
                <c:pt idx="258">
                  <c:v>70.509235414776597</c:v>
                </c:pt>
                <c:pt idx="259">
                  <c:v>69.557162292186206</c:v>
                </c:pt>
                <c:pt idx="260">
                  <c:v>69.163068483278721</c:v>
                </c:pt>
                <c:pt idx="261">
                  <c:v>68.490183621909779</c:v>
                </c:pt>
                <c:pt idx="262">
                  <c:v>70.168772059521416</c:v>
                </c:pt>
                <c:pt idx="263">
                  <c:v>68.932970342270124</c:v>
                </c:pt>
                <c:pt idx="264">
                  <c:v>68.561565216301418</c:v>
                </c:pt>
                <c:pt idx="265">
                  <c:v>67.534499013224391</c:v>
                </c:pt>
                <c:pt idx="266">
                  <c:v>67.090304477051859</c:v>
                </c:pt>
                <c:pt idx="267">
                  <c:v>66.890938186080973</c:v>
                </c:pt>
                <c:pt idx="268">
                  <c:v>66.226213263368209</c:v>
                </c:pt>
                <c:pt idx="269">
                  <c:v>66.335515010117945</c:v>
                </c:pt>
                <c:pt idx="270">
                  <c:v>68.439398983236643</c:v>
                </c:pt>
                <c:pt idx="271">
                  <c:v>71.487082915592367</c:v>
                </c:pt>
                <c:pt idx="272">
                  <c:v>71.593913322313028</c:v>
                </c:pt>
                <c:pt idx="273">
                  <c:v>72.456191724702876</c:v>
                </c:pt>
                <c:pt idx="274">
                  <c:v>65.214183013329944</c:v>
                </c:pt>
                <c:pt idx="275">
                  <c:v>64.250122979398753</c:v>
                </c:pt>
                <c:pt idx="276">
                  <c:v>63.237979595114126</c:v>
                </c:pt>
                <c:pt idx="277">
                  <c:v>59.065325200155378</c:v>
                </c:pt>
                <c:pt idx="278">
                  <c:v>59.541503918761101</c:v>
                </c:pt>
                <c:pt idx="279">
                  <c:v>57.721215325029519</c:v>
                </c:pt>
                <c:pt idx="280">
                  <c:v>60.533871808321678</c:v>
                </c:pt>
                <c:pt idx="281">
                  <c:v>62.492759272542365</c:v>
                </c:pt>
                <c:pt idx="282">
                  <c:v>56.448729060803693</c:v>
                </c:pt>
                <c:pt idx="283">
                  <c:v>56.545845807250757</c:v>
                </c:pt>
                <c:pt idx="284">
                  <c:v>59.177004199954489</c:v>
                </c:pt>
                <c:pt idx="285">
                  <c:v>59.87616344119013</c:v>
                </c:pt>
                <c:pt idx="286">
                  <c:v>61.281835952151134</c:v>
                </c:pt>
                <c:pt idx="287">
                  <c:v>62.46078117933213</c:v>
                </c:pt>
                <c:pt idx="288">
                  <c:v>62.045548471152031</c:v>
                </c:pt>
                <c:pt idx="289">
                  <c:v>61.139995300809048</c:v>
                </c:pt>
                <c:pt idx="290">
                  <c:v>60.388529640065642</c:v>
                </c:pt>
                <c:pt idx="291">
                  <c:v>57.875898526809941</c:v>
                </c:pt>
                <c:pt idx="292">
                  <c:v>49.765074555488582</c:v>
                </c:pt>
                <c:pt idx="293">
                  <c:v>47.738886550942773</c:v>
                </c:pt>
                <c:pt idx="294">
                  <c:v>59.923292457892643</c:v>
                </c:pt>
                <c:pt idx="295">
                  <c:v>58.081599164535916</c:v>
                </c:pt>
                <c:pt idx="296">
                  <c:v>58.053569739752078</c:v>
                </c:pt>
                <c:pt idx="297">
                  <c:v>57.86579283109004</c:v>
                </c:pt>
                <c:pt idx="298">
                  <c:v>57.24154638969047</c:v>
                </c:pt>
                <c:pt idx="299">
                  <c:v>57.315108070686286</c:v>
                </c:pt>
                <c:pt idx="300">
                  <c:v>57.184995360616234</c:v>
                </c:pt>
                <c:pt idx="301">
                  <c:v>57.000638139746506</c:v>
                </c:pt>
                <c:pt idx="302">
                  <c:v>57.48516071635791</c:v>
                </c:pt>
                <c:pt idx="303">
                  <c:v>57.516615162131252</c:v>
                </c:pt>
                <c:pt idx="304">
                  <c:v>56.567072490312974</c:v>
                </c:pt>
                <c:pt idx="305">
                  <c:v>56.511870340282904</c:v>
                </c:pt>
                <c:pt idx="306">
                  <c:v>56.023909224155254</c:v>
                </c:pt>
                <c:pt idx="307">
                  <c:v>57.095336637189014</c:v>
                </c:pt>
                <c:pt idx="308">
                  <c:v>56.709147649043246</c:v>
                </c:pt>
                <c:pt idx="309">
                  <c:v>56.816909859399189</c:v>
                </c:pt>
                <c:pt idx="310">
                  <c:v>56.783248656494131</c:v>
                </c:pt>
                <c:pt idx="311">
                  <c:v>56.590249417042621</c:v>
                </c:pt>
                <c:pt idx="312">
                  <c:v>56.777327255443424</c:v>
                </c:pt>
                <c:pt idx="313">
                  <c:v>57.946940261795305</c:v>
                </c:pt>
                <c:pt idx="314">
                  <c:v>57.880619104954221</c:v>
                </c:pt>
                <c:pt idx="315">
                  <c:v>58.102257121621712</c:v>
                </c:pt>
                <c:pt idx="316">
                  <c:v>58.926914418763594</c:v>
                </c:pt>
                <c:pt idx="317">
                  <c:v>62.065340984697414</c:v>
                </c:pt>
                <c:pt idx="318">
                  <c:v>60.079866366783492</c:v>
                </c:pt>
                <c:pt idx="319">
                  <c:v>59.705817263799496</c:v>
                </c:pt>
                <c:pt idx="320">
                  <c:v>61.75589999745079</c:v>
                </c:pt>
                <c:pt idx="321">
                  <c:v>62.681358739982258</c:v>
                </c:pt>
                <c:pt idx="322">
                  <c:v>62.342048006242095</c:v>
                </c:pt>
                <c:pt idx="323">
                  <c:v>63.10829876219438</c:v>
                </c:pt>
                <c:pt idx="324">
                  <c:v>61.261957488951865</c:v>
                </c:pt>
                <c:pt idx="325">
                  <c:v>61.463317049380322</c:v>
                </c:pt>
                <c:pt idx="326">
                  <c:v>62.828948877481899</c:v>
                </c:pt>
                <c:pt idx="327">
                  <c:v>61.820132291143551</c:v>
                </c:pt>
                <c:pt idx="328">
                  <c:v>61.623213023088219</c:v>
                </c:pt>
                <c:pt idx="329">
                  <c:v>62.075797732026246</c:v>
                </c:pt>
                <c:pt idx="330">
                  <c:v>62.426041538652385</c:v>
                </c:pt>
                <c:pt idx="331">
                  <c:v>62.360312212595048</c:v>
                </c:pt>
                <c:pt idx="332">
                  <c:v>62.344657912272368</c:v>
                </c:pt>
                <c:pt idx="333">
                  <c:v>62.434236977822309</c:v>
                </c:pt>
                <c:pt idx="334">
                  <c:v>62.396136622245443</c:v>
                </c:pt>
                <c:pt idx="335">
                  <c:v>62.105194788940516</c:v>
                </c:pt>
                <c:pt idx="336">
                  <c:v>62.091884599770822</c:v>
                </c:pt>
                <c:pt idx="337">
                  <c:v>58.989757675823078</c:v>
                </c:pt>
                <c:pt idx="338">
                  <c:v>58.521715431805092</c:v>
                </c:pt>
                <c:pt idx="339">
                  <c:v>57.564750560714849</c:v>
                </c:pt>
                <c:pt idx="340">
                  <c:v>56.897671023101296</c:v>
                </c:pt>
                <c:pt idx="341">
                  <c:v>56.5221740943756</c:v>
                </c:pt>
                <c:pt idx="342">
                  <c:v>57.892851827298109</c:v>
                </c:pt>
                <c:pt idx="343">
                  <c:v>57.598844035854235</c:v>
                </c:pt>
                <c:pt idx="344">
                  <c:v>56.268359161774434</c:v>
                </c:pt>
                <c:pt idx="345">
                  <c:v>55.309691522634644</c:v>
                </c:pt>
                <c:pt idx="346">
                  <c:v>56.346499612047587</c:v>
                </c:pt>
                <c:pt idx="347">
                  <c:v>55.928636665455556</c:v>
                </c:pt>
                <c:pt idx="348">
                  <c:v>55.040287090484895</c:v>
                </c:pt>
                <c:pt idx="349">
                  <c:v>53.863846221720586</c:v>
                </c:pt>
                <c:pt idx="350">
                  <c:v>54.027711095724456</c:v>
                </c:pt>
                <c:pt idx="351">
                  <c:v>56.9387676709608</c:v>
                </c:pt>
                <c:pt idx="352">
                  <c:v>57.514302347631634</c:v>
                </c:pt>
                <c:pt idx="353">
                  <c:v>57.804594427432171</c:v>
                </c:pt>
                <c:pt idx="354">
                  <c:v>58.121233583836499</c:v>
                </c:pt>
                <c:pt idx="355">
                  <c:v>62.057025498929725</c:v>
                </c:pt>
                <c:pt idx="356">
                  <c:v>63.064201986745651</c:v>
                </c:pt>
                <c:pt idx="357">
                  <c:v>63.257271644457767</c:v>
                </c:pt>
                <c:pt idx="358">
                  <c:v>63.121579053789638</c:v>
                </c:pt>
                <c:pt idx="359">
                  <c:v>62.537238356942645</c:v>
                </c:pt>
                <c:pt idx="360">
                  <c:v>62.266412349632304</c:v>
                </c:pt>
                <c:pt idx="361">
                  <c:v>61.052833855014576</c:v>
                </c:pt>
                <c:pt idx="362">
                  <c:v>62.712441977081795</c:v>
                </c:pt>
                <c:pt idx="363">
                  <c:v>62.843448847845053</c:v>
                </c:pt>
                <c:pt idx="364">
                  <c:v>60.974736357532834</c:v>
                </c:pt>
                <c:pt idx="365">
                  <c:v>60.460499945471362</c:v>
                </c:pt>
                <c:pt idx="366">
                  <c:v>60.328495741001845</c:v>
                </c:pt>
                <c:pt idx="367">
                  <c:v>60.191387290482183</c:v>
                </c:pt>
                <c:pt idx="368">
                  <c:v>59.825735629969138</c:v>
                </c:pt>
                <c:pt idx="369">
                  <c:v>61.057984977474618</c:v>
                </c:pt>
                <c:pt idx="370">
                  <c:v>61.603230390401976</c:v>
                </c:pt>
                <c:pt idx="371">
                  <c:v>60.360209323181408</c:v>
                </c:pt>
                <c:pt idx="372">
                  <c:v>60.364041932713917</c:v>
                </c:pt>
                <c:pt idx="373">
                  <c:v>59.740328534954919</c:v>
                </c:pt>
                <c:pt idx="374">
                  <c:v>58.54256282372895</c:v>
                </c:pt>
                <c:pt idx="375">
                  <c:v>56.098711572618377</c:v>
                </c:pt>
                <c:pt idx="376">
                  <c:v>55.614906888918682</c:v>
                </c:pt>
                <c:pt idx="377">
                  <c:v>54.369468858950846</c:v>
                </c:pt>
                <c:pt idx="378">
                  <c:v>53.653062954643502</c:v>
                </c:pt>
                <c:pt idx="379">
                  <c:v>52.517996327731019</c:v>
                </c:pt>
                <c:pt idx="380">
                  <c:v>53.103287331685841</c:v>
                </c:pt>
                <c:pt idx="381">
                  <c:v>52.850107093089242</c:v>
                </c:pt>
                <c:pt idx="382">
                  <c:v>52.555709103237973</c:v>
                </c:pt>
                <c:pt idx="383">
                  <c:v>51.547610463725789</c:v>
                </c:pt>
                <c:pt idx="384">
                  <c:v>50.16019826838032</c:v>
                </c:pt>
                <c:pt idx="385">
                  <c:v>49.443657652313398</c:v>
                </c:pt>
                <c:pt idx="386">
                  <c:v>48.224905732386809</c:v>
                </c:pt>
                <c:pt idx="387">
                  <c:v>47.214984484007978</c:v>
                </c:pt>
                <c:pt idx="388">
                  <c:v>47.464627586119597</c:v>
                </c:pt>
                <c:pt idx="389">
                  <c:v>47.631939041588119</c:v>
                </c:pt>
                <c:pt idx="390">
                  <c:v>47.463702019358571</c:v>
                </c:pt>
                <c:pt idx="391">
                  <c:v>48.470522022472309</c:v>
                </c:pt>
                <c:pt idx="392">
                  <c:v>48.887917472711244</c:v>
                </c:pt>
                <c:pt idx="393">
                  <c:v>48.390280749747383</c:v>
                </c:pt>
                <c:pt idx="394">
                  <c:v>48.884982834004802</c:v>
                </c:pt>
                <c:pt idx="395">
                  <c:v>48.856573126409103</c:v>
                </c:pt>
                <c:pt idx="396">
                  <c:v>47.620853491980888</c:v>
                </c:pt>
                <c:pt idx="397">
                  <c:v>47.923681969783424</c:v>
                </c:pt>
                <c:pt idx="398">
                  <c:v>48.245997015541725</c:v>
                </c:pt>
                <c:pt idx="399">
                  <c:v>48.326026567700275</c:v>
                </c:pt>
                <c:pt idx="400">
                  <c:v>47.316533341191104</c:v>
                </c:pt>
                <c:pt idx="401">
                  <c:v>46.910634094545003</c:v>
                </c:pt>
                <c:pt idx="402">
                  <c:v>46.748274177722124</c:v>
                </c:pt>
                <c:pt idx="403">
                  <c:v>47.111245863376162</c:v>
                </c:pt>
                <c:pt idx="404">
                  <c:v>46.141575021986746</c:v>
                </c:pt>
                <c:pt idx="405">
                  <c:v>46.422067894483675</c:v>
                </c:pt>
                <c:pt idx="406">
                  <c:v>46.86547793244582</c:v>
                </c:pt>
                <c:pt idx="407">
                  <c:v>47.227791212180399</c:v>
                </c:pt>
                <c:pt idx="408">
                  <c:v>49.654184320090863</c:v>
                </c:pt>
                <c:pt idx="409">
                  <c:v>50.051749638239123</c:v>
                </c:pt>
                <c:pt idx="410">
                  <c:v>52.224133048548914</c:v>
                </c:pt>
                <c:pt idx="411">
                  <c:v>52.629101388949486</c:v>
                </c:pt>
                <c:pt idx="412">
                  <c:v>53.552641628737952</c:v>
                </c:pt>
                <c:pt idx="413">
                  <c:v>52.80554708318023</c:v>
                </c:pt>
                <c:pt idx="414">
                  <c:v>52.719355932542484</c:v>
                </c:pt>
                <c:pt idx="415">
                  <c:v>52.745696578466223</c:v>
                </c:pt>
                <c:pt idx="416">
                  <c:v>53.997745835705622</c:v>
                </c:pt>
                <c:pt idx="417">
                  <c:v>53.93712740437379</c:v>
                </c:pt>
                <c:pt idx="418">
                  <c:v>56.234235074564253</c:v>
                </c:pt>
                <c:pt idx="419">
                  <c:v>57.276752192926793</c:v>
                </c:pt>
                <c:pt idx="420">
                  <c:v>54.914506713013701</c:v>
                </c:pt>
                <c:pt idx="421">
                  <c:v>53.983460309530948</c:v>
                </c:pt>
                <c:pt idx="422">
                  <c:v>54.757043004212612</c:v>
                </c:pt>
                <c:pt idx="423">
                  <c:v>54.884559380806898</c:v>
                </c:pt>
                <c:pt idx="424">
                  <c:v>53.376456790934547</c:v>
                </c:pt>
                <c:pt idx="425">
                  <c:v>53.20090786680867</c:v>
                </c:pt>
                <c:pt idx="426">
                  <c:v>53.588229490496232</c:v>
                </c:pt>
                <c:pt idx="427">
                  <c:v>54.362762113503834</c:v>
                </c:pt>
                <c:pt idx="428">
                  <c:v>52.853347947746187</c:v>
                </c:pt>
                <c:pt idx="429">
                  <c:v>52.320339156395676</c:v>
                </c:pt>
                <c:pt idx="430">
                  <c:v>52.829318674948169</c:v>
                </c:pt>
                <c:pt idx="431">
                  <c:v>53.742127831698156</c:v>
                </c:pt>
                <c:pt idx="432">
                  <c:v>53.346838520600151</c:v>
                </c:pt>
                <c:pt idx="433">
                  <c:v>53.143502745450597</c:v>
                </c:pt>
                <c:pt idx="434">
                  <c:v>53.628398745405164</c:v>
                </c:pt>
                <c:pt idx="435">
                  <c:v>53.296064193856786</c:v>
                </c:pt>
                <c:pt idx="436">
                  <c:v>53.235529707657442</c:v>
                </c:pt>
                <c:pt idx="437">
                  <c:v>53.140221647932037</c:v>
                </c:pt>
                <c:pt idx="438">
                  <c:v>52.845007273038043</c:v>
                </c:pt>
                <c:pt idx="439">
                  <c:v>51.917412484068677</c:v>
                </c:pt>
                <c:pt idx="440">
                  <c:v>51.137147978345304</c:v>
                </c:pt>
                <c:pt idx="441">
                  <c:v>51.178442634827412</c:v>
                </c:pt>
                <c:pt idx="442">
                  <c:v>51.822913312742592</c:v>
                </c:pt>
                <c:pt idx="443">
                  <c:v>50.231554792466298</c:v>
                </c:pt>
                <c:pt idx="444">
                  <c:v>50.915678354665516</c:v>
                </c:pt>
                <c:pt idx="445">
                  <c:v>49.281404609771528</c:v>
                </c:pt>
                <c:pt idx="446">
                  <c:v>48.633445153589363</c:v>
                </c:pt>
                <c:pt idx="447">
                  <c:v>50.823131714395778</c:v>
                </c:pt>
                <c:pt idx="448">
                  <c:v>51.032901239939193</c:v>
                </c:pt>
                <c:pt idx="449">
                  <c:v>50.917153397712276</c:v>
                </c:pt>
                <c:pt idx="450">
                  <c:v>51.104681207205459</c:v>
                </c:pt>
                <c:pt idx="451">
                  <c:v>51.139662617239601</c:v>
                </c:pt>
                <c:pt idx="452">
                  <c:v>50.648036202302436</c:v>
                </c:pt>
                <c:pt idx="453">
                  <c:v>50.418628664246157</c:v>
                </c:pt>
                <c:pt idx="454">
                  <c:v>50.192094817633674</c:v>
                </c:pt>
                <c:pt idx="455">
                  <c:v>50.191700446129865</c:v>
                </c:pt>
                <c:pt idx="456">
                  <c:v>49.247235023481672</c:v>
                </c:pt>
                <c:pt idx="457">
                  <c:v>49.515043561917793</c:v>
                </c:pt>
                <c:pt idx="458">
                  <c:v>50.465863255561992</c:v>
                </c:pt>
                <c:pt idx="459">
                  <c:v>51.373768860554229</c:v>
                </c:pt>
                <c:pt idx="460">
                  <c:v>50.561614745720966</c:v>
                </c:pt>
                <c:pt idx="461">
                  <c:v>51.923550106080377</c:v>
                </c:pt>
                <c:pt idx="462">
                  <c:v>51.381125918348083</c:v>
                </c:pt>
                <c:pt idx="463">
                  <c:v>51.415359486537284</c:v>
                </c:pt>
                <c:pt idx="464">
                  <c:v>50.570199474698015</c:v>
                </c:pt>
                <c:pt idx="465">
                  <c:v>49.990173481847677</c:v>
                </c:pt>
                <c:pt idx="466">
                  <c:v>49.588638316574581</c:v>
                </c:pt>
                <c:pt idx="467">
                  <c:v>51.544625313074285</c:v>
                </c:pt>
                <c:pt idx="468">
                  <c:v>50.873052000200289</c:v>
                </c:pt>
                <c:pt idx="469">
                  <c:v>58.136558636047305</c:v>
                </c:pt>
                <c:pt idx="470">
                  <c:v>53.086185834596328</c:v>
                </c:pt>
                <c:pt idx="471">
                  <c:v>50.270419221993883</c:v>
                </c:pt>
                <c:pt idx="472">
                  <c:v>47.592542541116046</c:v>
                </c:pt>
                <c:pt idx="473">
                  <c:v>44.986453305859222</c:v>
                </c:pt>
                <c:pt idx="474">
                  <c:v>48.098133639172147</c:v>
                </c:pt>
                <c:pt idx="475">
                  <c:v>50.202890793582931</c:v>
                </c:pt>
                <c:pt idx="476">
                  <c:v>51.465003598999907</c:v>
                </c:pt>
                <c:pt idx="477">
                  <c:v>51.571111657445627</c:v>
                </c:pt>
                <c:pt idx="478">
                  <c:v>51.433311650925098</c:v>
                </c:pt>
                <c:pt idx="479">
                  <c:v>53.025153354662905</c:v>
                </c:pt>
                <c:pt idx="480">
                  <c:v>53.671690292298976</c:v>
                </c:pt>
                <c:pt idx="481">
                  <c:v>53.930560116869792</c:v>
                </c:pt>
                <c:pt idx="482">
                  <c:v>53.440676663851484</c:v>
                </c:pt>
                <c:pt idx="483">
                  <c:v>53.929812684332305</c:v>
                </c:pt>
                <c:pt idx="484">
                  <c:v>54.399365880703385</c:v>
                </c:pt>
                <c:pt idx="485">
                  <c:v>54.64783557769546</c:v>
                </c:pt>
                <c:pt idx="486">
                  <c:v>54.650823380680414</c:v>
                </c:pt>
                <c:pt idx="487">
                  <c:v>54.583937805473276</c:v>
                </c:pt>
                <c:pt idx="488">
                  <c:v>54.635785426957831</c:v>
                </c:pt>
                <c:pt idx="489">
                  <c:v>55.254255367763442</c:v>
                </c:pt>
                <c:pt idx="490">
                  <c:v>56.100514133737519</c:v>
                </c:pt>
                <c:pt idx="491">
                  <c:v>56.003591521825449</c:v>
                </c:pt>
                <c:pt idx="492">
                  <c:v>56.059570886830819</c:v>
                </c:pt>
                <c:pt idx="493">
                  <c:v>55.85740277198429</c:v>
                </c:pt>
                <c:pt idx="494">
                  <c:v>56.590003126951757</c:v>
                </c:pt>
                <c:pt idx="495">
                  <c:v>57.185669648120964</c:v>
                </c:pt>
                <c:pt idx="496">
                  <c:v>57.146269363954183</c:v>
                </c:pt>
                <c:pt idx="497">
                  <c:v>56.868036347461228</c:v>
                </c:pt>
                <c:pt idx="498">
                  <c:v>55.936259166790286</c:v>
                </c:pt>
                <c:pt idx="499">
                  <c:v>57.251507376394329</c:v>
                </c:pt>
                <c:pt idx="500">
                  <c:v>55.573208499682472</c:v>
                </c:pt>
                <c:pt idx="501">
                  <c:v>55.035774844430868</c:v>
                </c:pt>
                <c:pt idx="502">
                  <c:v>52.578778311622301</c:v>
                </c:pt>
                <c:pt idx="503">
                  <c:v>53.262823622325051</c:v>
                </c:pt>
                <c:pt idx="504">
                  <c:v>53.220750964469751</c:v>
                </c:pt>
                <c:pt idx="505">
                  <c:v>52.774793320266674</c:v>
                </c:pt>
                <c:pt idx="506">
                  <c:v>52.811597143444793</c:v>
                </c:pt>
                <c:pt idx="507">
                  <c:v>53.578282423219157</c:v>
                </c:pt>
                <c:pt idx="508">
                  <c:v>53.53149026420418</c:v>
                </c:pt>
                <c:pt idx="509">
                  <c:v>53.326238388945022</c:v>
                </c:pt>
                <c:pt idx="510">
                  <c:v>53.329563969616096</c:v>
                </c:pt>
                <c:pt idx="511">
                  <c:v>53.223679581050646</c:v>
                </c:pt>
                <c:pt idx="512">
                  <c:v>53.404306207358879</c:v>
                </c:pt>
                <c:pt idx="513">
                  <c:v>53.41027691542471</c:v>
                </c:pt>
                <c:pt idx="514">
                  <c:v>54.146063360818538</c:v>
                </c:pt>
                <c:pt idx="515">
                  <c:v>54.404207755672566</c:v>
                </c:pt>
                <c:pt idx="516">
                  <c:v>54.315615935424006</c:v>
                </c:pt>
                <c:pt idx="517">
                  <c:v>54.398409836510211</c:v>
                </c:pt>
                <c:pt idx="518">
                  <c:v>54.458554728331031</c:v>
                </c:pt>
                <c:pt idx="519">
                  <c:v>54.62696710514706</c:v>
                </c:pt>
                <c:pt idx="520">
                  <c:v>53.420471085586577</c:v>
                </c:pt>
                <c:pt idx="521">
                  <c:v>52.244806106023987</c:v>
                </c:pt>
                <c:pt idx="522">
                  <c:v>51.368354077618967</c:v>
                </c:pt>
                <c:pt idx="523">
                  <c:v>51.314839472626623</c:v>
                </c:pt>
                <c:pt idx="524">
                  <c:v>51.554145761543694</c:v>
                </c:pt>
                <c:pt idx="525">
                  <c:v>51.16303758357693</c:v>
                </c:pt>
                <c:pt idx="526">
                  <c:v>51.141355497701646</c:v>
                </c:pt>
                <c:pt idx="527">
                  <c:v>51.619622803983354</c:v>
                </c:pt>
                <c:pt idx="528">
                  <c:v>51.539649151741877</c:v>
                </c:pt>
                <c:pt idx="529">
                  <c:v>51.270673002679992</c:v>
                </c:pt>
                <c:pt idx="530">
                  <c:v>52.948131444760733</c:v>
                </c:pt>
                <c:pt idx="531">
                  <c:v>52.049421457984579</c:v>
                </c:pt>
                <c:pt idx="532">
                  <c:v>52.307040557188074</c:v>
                </c:pt>
                <c:pt idx="533">
                  <c:v>51.890524126607986</c:v>
                </c:pt>
                <c:pt idx="534">
                  <c:v>51.845559254851992</c:v>
                </c:pt>
                <c:pt idx="535">
                  <c:v>51.232647688409379</c:v>
                </c:pt>
                <c:pt idx="536">
                  <c:v>51.842596195398052</c:v>
                </c:pt>
                <c:pt idx="537">
                  <c:v>52.376090763267264</c:v>
                </c:pt>
                <c:pt idx="538">
                  <c:v>54.743476969721357</c:v>
                </c:pt>
                <c:pt idx="539">
                  <c:v>55.591251290649772</c:v>
                </c:pt>
                <c:pt idx="540">
                  <c:v>58.046683150091404</c:v>
                </c:pt>
                <c:pt idx="541">
                  <c:v>59.541917902780334</c:v>
                </c:pt>
                <c:pt idx="542">
                  <c:v>56.255413418182172</c:v>
                </c:pt>
                <c:pt idx="543">
                  <c:v>58.861745101756767</c:v>
                </c:pt>
                <c:pt idx="544">
                  <c:v>62.519655886915523</c:v>
                </c:pt>
                <c:pt idx="545">
                  <c:v>62.945376719427571</c:v>
                </c:pt>
                <c:pt idx="546">
                  <c:v>62.934758273183448</c:v>
                </c:pt>
                <c:pt idx="547">
                  <c:v>61.59653248925153</c:v>
                </c:pt>
                <c:pt idx="548">
                  <c:v>65.286040200891122</c:v>
                </c:pt>
                <c:pt idx="549">
                  <c:v>65.451177717020769</c:v>
                </c:pt>
                <c:pt idx="550">
                  <c:v>66.113203247633678</c:v>
                </c:pt>
                <c:pt idx="551">
                  <c:v>66.125782884445414</c:v>
                </c:pt>
                <c:pt idx="552">
                  <c:v>64.245774355647924</c:v>
                </c:pt>
                <c:pt idx="553">
                  <c:v>67.525545666993196</c:v>
                </c:pt>
                <c:pt idx="554">
                  <c:v>67.752173329073784</c:v>
                </c:pt>
                <c:pt idx="555">
                  <c:v>66.608016221253422</c:v>
                </c:pt>
                <c:pt idx="556">
                  <c:v>67.067791275313027</c:v>
                </c:pt>
                <c:pt idx="557">
                  <c:v>67.732966999881938</c:v>
                </c:pt>
                <c:pt idx="558">
                  <c:v>67.559223934423741</c:v>
                </c:pt>
                <c:pt idx="559">
                  <c:v>67.224978046781729</c:v>
                </c:pt>
                <c:pt idx="560">
                  <c:v>67.261036791748026</c:v>
                </c:pt>
                <c:pt idx="561">
                  <c:v>70.11689457889301</c:v>
                </c:pt>
                <c:pt idx="562">
                  <c:v>69.366058498647661</c:v>
                </c:pt>
                <c:pt idx="563">
                  <c:v>71.866719294562543</c:v>
                </c:pt>
                <c:pt idx="564">
                  <c:v>71.650435391085367</c:v>
                </c:pt>
                <c:pt idx="565">
                  <c:v>71.788694161251399</c:v>
                </c:pt>
                <c:pt idx="566">
                  <c:v>71.937012036658743</c:v>
                </c:pt>
                <c:pt idx="567">
                  <c:v>71.827404071582009</c:v>
                </c:pt>
                <c:pt idx="568">
                  <c:v>71.939488260509634</c:v>
                </c:pt>
                <c:pt idx="569">
                  <c:v>70.411054046220002</c:v>
                </c:pt>
                <c:pt idx="570">
                  <c:v>70.660573546036062</c:v>
                </c:pt>
                <c:pt idx="571">
                  <c:v>68.387924910575791</c:v>
                </c:pt>
                <c:pt idx="572">
                  <c:v>68.57460405112576</c:v>
                </c:pt>
                <c:pt idx="573">
                  <c:v>63.575895446481574</c:v>
                </c:pt>
                <c:pt idx="574">
                  <c:v>61.268307665323611</c:v>
                </c:pt>
                <c:pt idx="575">
                  <c:v>63.186654689772695</c:v>
                </c:pt>
                <c:pt idx="576">
                  <c:v>59.671922884430856</c:v>
                </c:pt>
                <c:pt idx="577">
                  <c:v>55.942406441844156</c:v>
                </c:pt>
                <c:pt idx="578">
                  <c:v>58.475233546618163</c:v>
                </c:pt>
                <c:pt idx="579">
                  <c:v>53.411462309398345</c:v>
                </c:pt>
                <c:pt idx="580">
                  <c:v>54.653315574503189</c:v>
                </c:pt>
                <c:pt idx="581">
                  <c:v>58.041579996370672</c:v>
                </c:pt>
                <c:pt idx="582">
                  <c:v>59.575077242547145</c:v>
                </c:pt>
                <c:pt idx="583">
                  <c:v>58.196200999531811</c:v>
                </c:pt>
                <c:pt idx="584">
                  <c:v>61.949044387619608</c:v>
                </c:pt>
                <c:pt idx="585">
                  <c:v>63.938925182735318</c:v>
                </c:pt>
                <c:pt idx="586">
                  <c:v>61.859653415956323</c:v>
                </c:pt>
                <c:pt idx="587">
                  <c:v>57.85380880061139</c:v>
                </c:pt>
                <c:pt idx="588">
                  <c:v>54.429794419204789</c:v>
                </c:pt>
                <c:pt idx="589">
                  <c:v>55.987232157864966</c:v>
                </c:pt>
                <c:pt idx="590">
                  <c:v>60.256245752033657</c:v>
                </c:pt>
                <c:pt idx="591">
                  <c:v>61.576477744899037</c:v>
                </c:pt>
                <c:pt idx="592">
                  <c:v>62.425763154694344</c:v>
                </c:pt>
                <c:pt idx="593">
                  <c:v>62.336497500902986</c:v>
                </c:pt>
                <c:pt idx="594">
                  <c:v>61.532359612192266</c:v>
                </c:pt>
                <c:pt idx="595">
                  <c:v>62.409813733537732</c:v>
                </c:pt>
                <c:pt idx="596">
                  <c:v>64.772873936682473</c:v>
                </c:pt>
                <c:pt idx="597">
                  <c:v>64.156202273292152</c:v>
                </c:pt>
                <c:pt idx="598">
                  <c:v>63.970520964061201</c:v>
                </c:pt>
                <c:pt idx="599">
                  <c:v>63.918143157550318</c:v>
                </c:pt>
                <c:pt idx="600">
                  <c:v>64.165970021679286</c:v>
                </c:pt>
                <c:pt idx="601">
                  <c:v>64.149262417669604</c:v>
                </c:pt>
                <c:pt idx="602">
                  <c:v>64.037179508836914</c:v>
                </c:pt>
                <c:pt idx="603">
                  <c:v>63.294254926661118</c:v>
                </c:pt>
                <c:pt idx="604">
                  <c:v>63.132470473133701</c:v>
                </c:pt>
                <c:pt idx="605">
                  <c:v>65.167705914846707</c:v>
                </c:pt>
                <c:pt idx="606">
                  <c:v>65.274077661202014</c:v>
                </c:pt>
                <c:pt idx="607">
                  <c:v>65.204168748331526</c:v>
                </c:pt>
                <c:pt idx="608">
                  <c:v>65.193669031593686</c:v>
                </c:pt>
                <c:pt idx="609">
                  <c:v>65.02824954988543</c:v>
                </c:pt>
                <c:pt idx="610">
                  <c:v>65.829690188532481</c:v>
                </c:pt>
                <c:pt idx="611">
                  <c:v>66.552213964093966</c:v>
                </c:pt>
                <c:pt idx="612">
                  <c:v>67.163863333705748</c:v>
                </c:pt>
                <c:pt idx="613">
                  <c:v>64.099044871430365</c:v>
                </c:pt>
                <c:pt idx="614">
                  <c:v>63.576458684519508</c:v>
                </c:pt>
                <c:pt idx="615">
                  <c:v>64.123682721492543</c:v>
                </c:pt>
                <c:pt idx="616">
                  <c:v>61.380764262706101</c:v>
                </c:pt>
                <c:pt idx="617">
                  <c:v>60.469052534539138</c:v>
                </c:pt>
                <c:pt idx="618">
                  <c:v>61.100453088023961</c:v>
                </c:pt>
                <c:pt idx="619">
                  <c:v>59.516606148114334</c:v>
                </c:pt>
                <c:pt idx="620">
                  <c:v>60.771209672267823</c:v>
                </c:pt>
                <c:pt idx="621">
                  <c:v>61.225544320063875</c:v>
                </c:pt>
                <c:pt idx="622">
                  <c:v>61.342280241565383</c:v>
                </c:pt>
                <c:pt idx="623">
                  <c:v>60.652573097951638</c:v>
                </c:pt>
                <c:pt idx="624">
                  <c:v>60.574456861595259</c:v>
                </c:pt>
                <c:pt idx="625">
                  <c:v>57.580831272382646</c:v>
                </c:pt>
                <c:pt idx="626">
                  <c:v>57.943631502603374</c:v>
                </c:pt>
                <c:pt idx="627">
                  <c:v>61.960383253044469</c:v>
                </c:pt>
                <c:pt idx="628">
                  <c:v>61.034187626832029</c:v>
                </c:pt>
                <c:pt idx="629">
                  <c:v>60.56031583057802</c:v>
                </c:pt>
                <c:pt idx="630">
                  <c:v>60.678463724215355</c:v>
                </c:pt>
                <c:pt idx="631">
                  <c:v>60.951183631705575</c:v>
                </c:pt>
                <c:pt idx="632">
                  <c:v>60.820408178479774</c:v>
                </c:pt>
                <c:pt idx="633">
                  <c:v>56.638695978981509</c:v>
                </c:pt>
                <c:pt idx="634">
                  <c:v>57.30858854939239</c:v>
                </c:pt>
                <c:pt idx="635">
                  <c:v>59.1341616704782</c:v>
                </c:pt>
                <c:pt idx="636">
                  <c:v>57.895764177028916</c:v>
                </c:pt>
                <c:pt idx="637">
                  <c:v>58.339041176293001</c:v>
                </c:pt>
                <c:pt idx="638">
                  <c:v>60.21494676388302</c:v>
                </c:pt>
                <c:pt idx="639">
                  <c:v>60.586572468925596</c:v>
                </c:pt>
                <c:pt idx="640">
                  <c:v>61.644816495883681</c:v>
                </c:pt>
                <c:pt idx="641">
                  <c:v>56.385775293394239</c:v>
                </c:pt>
                <c:pt idx="642">
                  <c:v>59.668444991718857</c:v>
                </c:pt>
                <c:pt idx="643">
                  <c:v>61.327229879558104</c:v>
                </c:pt>
                <c:pt idx="644">
                  <c:v>60.245950961616188</c:v>
                </c:pt>
                <c:pt idx="645">
                  <c:v>62.432880534403147</c:v>
                </c:pt>
                <c:pt idx="646">
                  <c:v>55.900222475024059</c:v>
                </c:pt>
                <c:pt idx="647">
                  <c:v>55.807704074291181</c:v>
                </c:pt>
                <c:pt idx="648">
                  <c:v>52.25830143708675</c:v>
                </c:pt>
                <c:pt idx="649">
                  <c:v>51.091521858983832</c:v>
                </c:pt>
                <c:pt idx="650">
                  <c:v>56.60703445169522</c:v>
                </c:pt>
                <c:pt idx="651">
                  <c:v>55.100883058457185</c:v>
                </c:pt>
                <c:pt idx="652">
                  <c:v>54.202124300295729</c:v>
                </c:pt>
                <c:pt idx="653">
                  <c:v>54.278879825998359</c:v>
                </c:pt>
                <c:pt idx="654">
                  <c:v>53.793006675605206</c:v>
                </c:pt>
                <c:pt idx="655">
                  <c:v>54.284801858854493</c:v>
                </c:pt>
                <c:pt idx="656">
                  <c:v>53.810864604395498</c:v>
                </c:pt>
                <c:pt idx="657">
                  <c:v>53.907446256111548</c:v>
                </c:pt>
                <c:pt idx="658">
                  <c:v>53.463592344549518</c:v>
                </c:pt>
                <c:pt idx="659">
                  <c:v>53.474333358200035</c:v>
                </c:pt>
                <c:pt idx="660">
                  <c:v>54.437360721188853</c:v>
                </c:pt>
                <c:pt idx="661">
                  <c:v>54.355690026994978</c:v>
                </c:pt>
                <c:pt idx="662">
                  <c:v>53.797508339213138</c:v>
                </c:pt>
                <c:pt idx="663">
                  <c:v>53.865690593719044</c:v>
                </c:pt>
                <c:pt idx="664">
                  <c:v>54.083378559736488</c:v>
                </c:pt>
                <c:pt idx="665">
                  <c:v>52.512441515443712</c:v>
                </c:pt>
                <c:pt idx="666">
                  <c:v>51.35386944026159</c:v>
                </c:pt>
                <c:pt idx="667">
                  <c:v>51.856480347920922</c:v>
                </c:pt>
                <c:pt idx="668">
                  <c:v>50.203553075709706</c:v>
                </c:pt>
                <c:pt idx="669">
                  <c:v>54.069153484021541</c:v>
                </c:pt>
                <c:pt idx="670">
                  <c:v>52.337889646771977</c:v>
                </c:pt>
                <c:pt idx="671">
                  <c:v>52.187079682034181</c:v>
                </c:pt>
                <c:pt idx="672">
                  <c:v>52.961677716086214</c:v>
                </c:pt>
                <c:pt idx="673">
                  <c:v>53.739452090958203</c:v>
                </c:pt>
                <c:pt idx="674">
                  <c:v>53.755109135577094</c:v>
                </c:pt>
                <c:pt idx="675">
                  <c:v>53.888357500234839</c:v>
                </c:pt>
                <c:pt idx="676">
                  <c:v>53.926161203300303</c:v>
                </c:pt>
                <c:pt idx="677">
                  <c:v>54.184829497850465</c:v>
                </c:pt>
                <c:pt idx="678">
                  <c:v>54.016439501453526</c:v>
                </c:pt>
                <c:pt idx="679">
                  <c:v>53.111354150116277</c:v>
                </c:pt>
                <c:pt idx="680">
                  <c:v>54.768571105171837</c:v>
                </c:pt>
                <c:pt idx="681">
                  <c:v>54.981693300682622</c:v>
                </c:pt>
                <c:pt idx="682">
                  <c:v>55.620952371379119</c:v>
                </c:pt>
                <c:pt idx="683">
                  <c:v>56.84845093289902</c:v>
                </c:pt>
                <c:pt idx="684">
                  <c:v>56.475587463950795</c:v>
                </c:pt>
                <c:pt idx="685">
                  <c:v>54.976544211016275</c:v>
                </c:pt>
                <c:pt idx="686">
                  <c:v>55.170724138807252</c:v>
                </c:pt>
                <c:pt idx="687">
                  <c:v>51.823260952705027</c:v>
                </c:pt>
                <c:pt idx="688">
                  <c:v>52.995918367648891</c:v>
                </c:pt>
                <c:pt idx="689">
                  <c:v>54.727834137704853</c:v>
                </c:pt>
                <c:pt idx="690">
                  <c:v>52.091669506569509</c:v>
                </c:pt>
                <c:pt idx="691">
                  <c:v>52.360115800557132</c:v>
                </c:pt>
                <c:pt idx="692">
                  <c:v>51.97234928477495</c:v>
                </c:pt>
                <c:pt idx="693">
                  <c:v>51.805743511023365</c:v>
                </c:pt>
                <c:pt idx="694">
                  <c:v>52.119203581219793</c:v>
                </c:pt>
                <c:pt idx="695">
                  <c:v>52.270714144227256</c:v>
                </c:pt>
                <c:pt idx="696">
                  <c:v>51.174935672190507</c:v>
                </c:pt>
                <c:pt idx="697">
                  <c:v>53.627387874703331</c:v>
                </c:pt>
                <c:pt idx="698">
                  <c:v>53.56078839684335</c:v>
                </c:pt>
                <c:pt idx="699">
                  <c:v>53.302053923011655</c:v>
                </c:pt>
                <c:pt idx="700">
                  <c:v>53.591288659133902</c:v>
                </c:pt>
                <c:pt idx="701">
                  <c:v>53.51317192650167</c:v>
                </c:pt>
                <c:pt idx="702">
                  <c:v>53.437726525127509</c:v>
                </c:pt>
                <c:pt idx="703">
                  <c:v>53.312334664855982</c:v>
                </c:pt>
                <c:pt idx="704">
                  <c:v>52.890909694867915</c:v>
                </c:pt>
                <c:pt idx="705">
                  <c:v>54.208897509609102</c:v>
                </c:pt>
                <c:pt idx="706">
                  <c:v>57.501096718501039</c:v>
                </c:pt>
                <c:pt idx="707">
                  <c:v>58.001858590344504</c:v>
                </c:pt>
                <c:pt idx="708">
                  <c:v>58.881618488377796</c:v>
                </c:pt>
                <c:pt idx="709">
                  <c:v>57.22299896398664</c:v>
                </c:pt>
                <c:pt idx="710">
                  <c:v>58.495537087271174</c:v>
                </c:pt>
                <c:pt idx="711">
                  <c:v>59.027046935388448</c:v>
                </c:pt>
                <c:pt idx="712">
                  <c:v>60.674722785686463</c:v>
                </c:pt>
                <c:pt idx="713">
                  <c:v>60.172274214168787</c:v>
                </c:pt>
                <c:pt idx="714">
                  <c:v>59.820014010860859</c:v>
                </c:pt>
                <c:pt idx="715">
                  <c:v>59.671301154003523</c:v>
                </c:pt>
                <c:pt idx="716">
                  <c:v>59.289147920788146</c:v>
                </c:pt>
                <c:pt idx="717">
                  <c:v>59.192425339561879</c:v>
                </c:pt>
                <c:pt idx="718">
                  <c:v>57.911556125633126</c:v>
                </c:pt>
                <c:pt idx="719">
                  <c:v>56.27879833380333</c:v>
                </c:pt>
                <c:pt idx="720">
                  <c:v>55.204220176340826</c:v>
                </c:pt>
                <c:pt idx="721">
                  <c:v>55.597722681746809</c:v>
                </c:pt>
                <c:pt idx="722">
                  <c:v>57.226596394204421</c:v>
                </c:pt>
                <c:pt idx="723">
                  <c:v>60.761735073317766</c:v>
                </c:pt>
                <c:pt idx="724">
                  <c:v>60.779530623836962</c:v>
                </c:pt>
                <c:pt idx="725">
                  <c:v>61.589785753358825</c:v>
                </c:pt>
                <c:pt idx="726">
                  <c:v>63.718723636925084</c:v>
                </c:pt>
                <c:pt idx="727">
                  <c:v>58.98973442879354</c:v>
                </c:pt>
                <c:pt idx="728">
                  <c:v>58.888111926728932</c:v>
                </c:pt>
                <c:pt idx="729">
                  <c:v>56.899680413847499</c:v>
                </c:pt>
                <c:pt idx="730">
                  <c:v>60.258490719411938</c:v>
                </c:pt>
                <c:pt idx="731">
                  <c:v>58.935170836347673</c:v>
                </c:pt>
                <c:pt idx="732">
                  <c:v>58.796797325222322</c:v>
                </c:pt>
                <c:pt idx="733">
                  <c:v>57.198955687806816</c:v>
                </c:pt>
                <c:pt idx="734">
                  <c:v>57.166358295459915</c:v>
                </c:pt>
                <c:pt idx="735">
                  <c:v>61.773390948619273</c:v>
                </c:pt>
                <c:pt idx="736">
                  <c:v>58.909357378960664</c:v>
                </c:pt>
                <c:pt idx="737">
                  <c:v>58.224426142623891</c:v>
                </c:pt>
                <c:pt idx="738">
                  <c:v>58.224609922732427</c:v>
                </c:pt>
                <c:pt idx="739">
                  <c:v>58.183536597078501</c:v>
                </c:pt>
                <c:pt idx="740">
                  <c:v>58.840784715807835</c:v>
                </c:pt>
                <c:pt idx="741">
                  <c:v>58.53660230774647</c:v>
                </c:pt>
                <c:pt idx="742">
                  <c:v>58.485226794708041</c:v>
                </c:pt>
                <c:pt idx="743">
                  <c:v>58.13031238615558</c:v>
                </c:pt>
                <c:pt idx="744">
                  <c:v>56.944278111736089</c:v>
                </c:pt>
                <c:pt idx="745">
                  <c:v>57.714658197057503</c:v>
                </c:pt>
                <c:pt idx="746">
                  <c:v>56.790259526611116</c:v>
                </c:pt>
                <c:pt idx="747">
                  <c:v>56.151909868293508</c:v>
                </c:pt>
                <c:pt idx="748">
                  <c:v>54.074892137613823</c:v>
                </c:pt>
                <c:pt idx="749">
                  <c:v>54.08549637299982</c:v>
                </c:pt>
                <c:pt idx="750">
                  <c:v>55.518637370429772</c:v>
                </c:pt>
                <c:pt idx="751">
                  <c:v>53.682795106496755</c:v>
                </c:pt>
                <c:pt idx="752">
                  <c:v>54.706745646767317</c:v>
                </c:pt>
                <c:pt idx="753">
                  <c:v>54.457991317891334</c:v>
                </c:pt>
                <c:pt idx="754">
                  <c:v>54.051538492907603</c:v>
                </c:pt>
                <c:pt idx="755">
                  <c:v>53.342797884533738</c:v>
                </c:pt>
                <c:pt idx="756">
                  <c:v>53.389791618195638</c:v>
                </c:pt>
                <c:pt idx="757">
                  <c:v>51.408032052725503</c:v>
                </c:pt>
                <c:pt idx="758">
                  <c:v>50.755563982027859</c:v>
                </c:pt>
                <c:pt idx="759">
                  <c:v>51.170944748453067</c:v>
                </c:pt>
                <c:pt idx="760">
                  <c:v>50.614319271438468</c:v>
                </c:pt>
                <c:pt idx="761">
                  <c:v>49.154414132225838</c:v>
                </c:pt>
                <c:pt idx="762">
                  <c:v>47.901022700194339</c:v>
                </c:pt>
                <c:pt idx="763">
                  <c:v>47.551066754795912</c:v>
                </c:pt>
                <c:pt idx="764">
                  <c:v>48.175368356754568</c:v>
                </c:pt>
                <c:pt idx="765">
                  <c:v>49.169429523792097</c:v>
                </c:pt>
                <c:pt idx="766">
                  <c:v>45.972572731294456</c:v>
                </c:pt>
                <c:pt idx="767">
                  <c:v>45.679432731063194</c:v>
                </c:pt>
                <c:pt idx="768">
                  <c:v>45.703240068624488</c:v>
                </c:pt>
                <c:pt idx="769">
                  <c:v>43.683693404182797</c:v>
                </c:pt>
                <c:pt idx="770">
                  <c:v>45.722045131369512</c:v>
                </c:pt>
                <c:pt idx="771">
                  <c:v>45.64771237778163</c:v>
                </c:pt>
                <c:pt idx="772">
                  <c:v>45.871827842051623</c:v>
                </c:pt>
                <c:pt idx="773">
                  <c:v>44.753977268115378</c:v>
                </c:pt>
                <c:pt idx="774">
                  <c:v>44.615934466128927</c:v>
                </c:pt>
                <c:pt idx="775">
                  <c:v>43.581652556296781</c:v>
                </c:pt>
                <c:pt idx="776">
                  <c:v>41.507689757830036</c:v>
                </c:pt>
                <c:pt idx="777">
                  <c:v>42.046204746245252</c:v>
                </c:pt>
                <c:pt idx="778">
                  <c:v>41.251672854386072</c:v>
                </c:pt>
                <c:pt idx="779">
                  <c:v>43.462853042699095</c:v>
                </c:pt>
                <c:pt idx="780">
                  <c:v>46.21329199442944</c:v>
                </c:pt>
                <c:pt idx="781">
                  <c:v>45.791225153718074</c:v>
                </c:pt>
                <c:pt idx="782">
                  <c:v>44.631986088385389</c:v>
                </c:pt>
                <c:pt idx="783">
                  <c:v>45.54738838095556</c:v>
                </c:pt>
                <c:pt idx="784">
                  <c:v>45.848132945399755</c:v>
                </c:pt>
                <c:pt idx="785">
                  <c:v>47.091478026493604</c:v>
                </c:pt>
                <c:pt idx="786">
                  <c:v>47.489607065038633</c:v>
                </c:pt>
                <c:pt idx="787">
                  <c:v>49.883158290994963</c:v>
                </c:pt>
                <c:pt idx="788">
                  <c:v>50.907601145119735</c:v>
                </c:pt>
                <c:pt idx="789">
                  <c:v>50.951234559265579</c:v>
                </c:pt>
                <c:pt idx="790">
                  <c:v>50.947636856402283</c:v>
                </c:pt>
                <c:pt idx="791">
                  <c:v>49.645456565457124</c:v>
                </c:pt>
                <c:pt idx="792">
                  <c:v>49.05746928543104</c:v>
                </c:pt>
                <c:pt idx="793">
                  <c:v>48.84138620750592</c:v>
                </c:pt>
                <c:pt idx="794">
                  <c:v>47.211373424185574</c:v>
                </c:pt>
                <c:pt idx="795">
                  <c:v>48.486292525215056</c:v>
                </c:pt>
                <c:pt idx="796">
                  <c:v>50.23980029718512</c:v>
                </c:pt>
                <c:pt idx="797">
                  <c:v>50.471604191595759</c:v>
                </c:pt>
                <c:pt idx="798">
                  <c:v>50.421816396849628</c:v>
                </c:pt>
                <c:pt idx="799">
                  <c:v>50.614700701637425</c:v>
                </c:pt>
                <c:pt idx="800">
                  <c:v>50.42927048178197</c:v>
                </c:pt>
                <c:pt idx="801">
                  <c:v>50.348831271828594</c:v>
                </c:pt>
                <c:pt idx="802">
                  <c:v>50.315150914603613</c:v>
                </c:pt>
                <c:pt idx="803">
                  <c:v>50.272586491942434</c:v>
                </c:pt>
                <c:pt idx="804">
                  <c:v>50.375227035627333</c:v>
                </c:pt>
                <c:pt idx="805">
                  <c:v>49.839307704561222</c:v>
                </c:pt>
                <c:pt idx="806">
                  <c:v>49.703344591269477</c:v>
                </c:pt>
                <c:pt idx="807">
                  <c:v>50.052571806800422</c:v>
                </c:pt>
                <c:pt idx="808">
                  <c:v>50.039675183053639</c:v>
                </c:pt>
                <c:pt idx="809">
                  <c:v>49.202231840076692</c:v>
                </c:pt>
                <c:pt idx="810">
                  <c:v>49.253682259384398</c:v>
                </c:pt>
                <c:pt idx="811">
                  <c:v>48.592079340148864</c:v>
                </c:pt>
                <c:pt idx="812">
                  <c:v>50.632307503504428</c:v>
                </c:pt>
                <c:pt idx="813">
                  <c:v>47.389646032204084</c:v>
                </c:pt>
                <c:pt idx="814">
                  <c:v>47.336027848997865</c:v>
                </c:pt>
                <c:pt idx="815">
                  <c:v>46.842485666480997</c:v>
                </c:pt>
                <c:pt idx="816">
                  <c:v>46.292250692678806</c:v>
                </c:pt>
                <c:pt idx="817">
                  <c:v>45.9987980663429</c:v>
                </c:pt>
                <c:pt idx="818">
                  <c:v>48.41661596897935</c:v>
                </c:pt>
                <c:pt idx="819">
                  <c:v>49.300345588228858</c:v>
                </c:pt>
                <c:pt idx="820">
                  <c:v>49.128093596115221</c:v>
                </c:pt>
                <c:pt idx="821">
                  <c:v>48.53319731791369</c:v>
                </c:pt>
                <c:pt idx="822">
                  <c:v>47.503573128293795</c:v>
                </c:pt>
                <c:pt idx="823">
                  <c:v>47.391956159660424</c:v>
                </c:pt>
                <c:pt idx="824">
                  <c:v>49.744699470502333</c:v>
                </c:pt>
                <c:pt idx="825">
                  <c:v>49.528008133611941</c:v>
                </c:pt>
                <c:pt idx="826">
                  <c:v>50.170126050600182</c:v>
                </c:pt>
                <c:pt idx="827">
                  <c:v>48.541753437280782</c:v>
                </c:pt>
                <c:pt idx="828">
                  <c:v>49.267536741152533</c:v>
                </c:pt>
                <c:pt idx="829">
                  <c:v>50.869594118506846</c:v>
                </c:pt>
                <c:pt idx="830">
                  <c:v>51.233289455206041</c:v>
                </c:pt>
                <c:pt idx="831">
                  <c:v>51.068417048123173</c:v>
                </c:pt>
                <c:pt idx="832">
                  <c:v>51.064788926438681</c:v>
                </c:pt>
                <c:pt idx="833">
                  <c:v>50.934017114124885</c:v>
                </c:pt>
                <c:pt idx="834">
                  <c:v>52.822538367266723</c:v>
                </c:pt>
                <c:pt idx="835">
                  <c:v>51.344558852738885</c:v>
                </c:pt>
                <c:pt idx="836">
                  <c:v>50.233048836633635</c:v>
                </c:pt>
                <c:pt idx="837">
                  <c:v>52.62504293036119</c:v>
                </c:pt>
                <c:pt idx="838">
                  <c:v>53.164730024597411</c:v>
                </c:pt>
                <c:pt idx="839">
                  <c:v>52.658819637242722</c:v>
                </c:pt>
                <c:pt idx="840">
                  <c:v>52.598128872645844</c:v>
                </c:pt>
                <c:pt idx="841">
                  <c:v>52.892174918942807</c:v>
                </c:pt>
                <c:pt idx="842">
                  <c:v>53.718690624160395</c:v>
                </c:pt>
                <c:pt idx="843">
                  <c:v>53.552356171995399</c:v>
                </c:pt>
                <c:pt idx="844">
                  <c:v>53.770076584971548</c:v>
                </c:pt>
                <c:pt idx="845">
                  <c:v>53.784169286991599</c:v>
                </c:pt>
                <c:pt idx="846">
                  <c:v>54.071088552511014</c:v>
                </c:pt>
                <c:pt idx="847">
                  <c:v>53.691064474865996</c:v>
                </c:pt>
                <c:pt idx="848">
                  <c:v>53.919771245195918</c:v>
                </c:pt>
                <c:pt idx="849">
                  <c:v>54.008257795822573</c:v>
                </c:pt>
                <c:pt idx="850">
                  <c:v>54.61710894898259</c:v>
                </c:pt>
                <c:pt idx="851">
                  <c:v>55.50913294929849</c:v>
                </c:pt>
                <c:pt idx="852">
                  <c:v>54.940043137905107</c:v>
                </c:pt>
                <c:pt idx="853">
                  <c:v>54.910844158764839</c:v>
                </c:pt>
                <c:pt idx="854">
                  <c:v>54.164114926214879</c:v>
                </c:pt>
                <c:pt idx="855">
                  <c:v>56.553212747760846</c:v>
                </c:pt>
                <c:pt idx="856">
                  <c:v>51.792570964639815</c:v>
                </c:pt>
                <c:pt idx="857">
                  <c:v>51.407017359624781</c:v>
                </c:pt>
                <c:pt idx="858">
                  <c:v>50.749677830851077</c:v>
                </c:pt>
                <c:pt idx="859">
                  <c:v>50.597400613516307</c:v>
                </c:pt>
                <c:pt idx="860">
                  <c:v>48.808657284591483</c:v>
                </c:pt>
                <c:pt idx="861">
                  <c:v>49.463545946581355</c:v>
                </c:pt>
                <c:pt idx="862">
                  <c:v>46.592125285987741</c:v>
                </c:pt>
                <c:pt idx="863">
                  <c:v>47.861052219368084</c:v>
                </c:pt>
                <c:pt idx="864">
                  <c:v>48.891612502087298</c:v>
                </c:pt>
                <c:pt idx="865">
                  <c:v>47.708253141235204</c:v>
                </c:pt>
                <c:pt idx="866">
                  <c:v>47.840542062212272</c:v>
                </c:pt>
                <c:pt idx="867">
                  <c:v>48.13544403227953</c:v>
                </c:pt>
                <c:pt idx="868">
                  <c:v>49.620465210074791</c:v>
                </c:pt>
                <c:pt idx="869">
                  <c:v>48.069807490387532</c:v>
                </c:pt>
                <c:pt idx="870">
                  <c:v>44.561973269899354</c:v>
                </c:pt>
                <c:pt idx="871">
                  <c:v>46.419444638985915</c:v>
                </c:pt>
                <c:pt idx="872">
                  <c:v>44.549984416209213</c:v>
                </c:pt>
                <c:pt idx="873">
                  <c:v>42.509661937007557</c:v>
                </c:pt>
                <c:pt idx="874">
                  <c:v>40.986457735131367</c:v>
                </c:pt>
                <c:pt idx="875">
                  <c:v>39.015923632998266</c:v>
                </c:pt>
                <c:pt idx="876">
                  <c:v>34.355393388419635</c:v>
                </c:pt>
                <c:pt idx="877">
                  <c:v>31.282887355729546</c:v>
                </c:pt>
                <c:pt idx="878">
                  <c:v>26.648862382306394</c:v>
                </c:pt>
                <c:pt idx="879">
                  <c:v>24.393124507962884</c:v>
                </c:pt>
                <c:pt idx="880">
                  <c:v>26.999536848801025</c:v>
                </c:pt>
                <c:pt idx="881">
                  <c:v>27.840913391951137</c:v>
                </c:pt>
                <c:pt idx="882">
                  <c:v>23.065640896573225</c:v>
                </c:pt>
                <c:pt idx="883">
                  <c:v>21.722961790150819</c:v>
                </c:pt>
                <c:pt idx="884">
                  <c:v>19.867687160693883</c:v>
                </c:pt>
                <c:pt idx="885">
                  <c:v>20.637697675045803</c:v>
                </c:pt>
                <c:pt idx="886">
                  <c:v>21.178865662487571</c:v>
                </c:pt>
                <c:pt idx="887">
                  <c:v>19.748090522713124</c:v>
                </c:pt>
                <c:pt idx="888">
                  <c:v>19.434403751703474</c:v>
                </c:pt>
                <c:pt idx="889">
                  <c:v>18.137665085021183</c:v>
                </c:pt>
                <c:pt idx="890">
                  <c:v>17.493653602989117</c:v>
                </c:pt>
                <c:pt idx="891">
                  <c:v>18.704835234211696</c:v>
                </c:pt>
                <c:pt idx="892">
                  <c:v>17.924784018873229</c:v>
                </c:pt>
                <c:pt idx="893">
                  <c:v>18.015198803257046</c:v>
                </c:pt>
                <c:pt idx="894">
                  <c:v>18.110240713104233</c:v>
                </c:pt>
                <c:pt idx="895">
                  <c:v>18.315736858343122</c:v>
                </c:pt>
                <c:pt idx="896">
                  <c:v>18.610408569266223</c:v>
                </c:pt>
                <c:pt idx="897">
                  <c:v>18.67449682570949</c:v>
                </c:pt>
                <c:pt idx="898">
                  <c:v>19.816495368178799</c:v>
                </c:pt>
                <c:pt idx="899">
                  <c:v>19.613791090260978</c:v>
                </c:pt>
                <c:pt idx="900">
                  <c:v>19.484400921474641</c:v>
                </c:pt>
                <c:pt idx="901">
                  <c:v>19.4428046727432</c:v>
                </c:pt>
                <c:pt idx="902">
                  <c:v>19.139427496681069</c:v>
                </c:pt>
                <c:pt idx="903">
                  <c:v>19.698172281026352</c:v>
                </c:pt>
                <c:pt idx="904">
                  <c:v>18.796975482668682</c:v>
                </c:pt>
                <c:pt idx="905">
                  <c:v>18.633306393616081</c:v>
                </c:pt>
                <c:pt idx="906">
                  <c:v>18.488357005199671</c:v>
                </c:pt>
                <c:pt idx="907">
                  <c:v>17.553768111472181</c:v>
                </c:pt>
                <c:pt idx="908">
                  <c:v>17.131277404455382</c:v>
                </c:pt>
                <c:pt idx="909">
                  <c:v>17.749462739591692</c:v>
                </c:pt>
                <c:pt idx="910">
                  <c:v>18.67821089413167</c:v>
                </c:pt>
                <c:pt idx="911">
                  <c:v>18.900496777161756</c:v>
                </c:pt>
                <c:pt idx="912">
                  <c:v>19.025011322954359</c:v>
                </c:pt>
                <c:pt idx="913">
                  <c:v>19.018912191981943</c:v>
                </c:pt>
                <c:pt idx="914">
                  <c:v>20.008511316560693</c:v>
                </c:pt>
                <c:pt idx="915">
                  <c:v>19.660232573232022</c:v>
                </c:pt>
                <c:pt idx="916">
                  <c:v>19.6460518318402</c:v>
                </c:pt>
                <c:pt idx="917">
                  <c:v>19.699682708316836</c:v>
                </c:pt>
                <c:pt idx="918">
                  <c:v>19.632084846457545</c:v>
                </c:pt>
                <c:pt idx="919">
                  <c:v>19.777378733965346</c:v>
                </c:pt>
                <c:pt idx="920">
                  <c:v>19.756032669022058</c:v>
                </c:pt>
                <c:pt idx="921">
                  <c:v>19.663320581073862</c:v>
                </c:pt>
                <c:pt idx="922">
                  <c:v>19.652954859083426</c:v>
                </c:pt>
                <c:pt idx="923">
                  <c:v>19.598226213406107</c:v>
                </c:pt>
                <c:pt idx="924">
                  <c:v>19.626744666006111</c:v>
                </c:pt>
                <c:pt idx="925">
                  <c:v>19.224525592913164</c:v>
                </c:pt>
                <c:pt idx="926">
                  <c:v>19.200049755921363</c:v>
                </c:pt>
                <c:pt idx="927">
                  <c:v>18.767174498377166</c:v>
                </c:pt>
                <c:pt idx="928">
                  <c:v>18.122055619413072</c:v>
                </c:pt>
                <c:pt idx="929">
                  <c:v>17.51682223949495</c:v>
                </c:pt>
                <c:pt idx="930">
                  <c:v>17.755839012846621</c:v>
                </c:pt>
                <c:pt idx="931">
                  <c:v>17.593697332531942</c:v>
                </c:pt>
                <c:pt idx="932">
                  <c:v>17.370202501595223</c:v>
                </c:pt>
                <c:pt idx="933">
                  <c:v>17.827536505694948</c:v>
                </c:pt>
                <c:pt idx="934">
                  <c:v>16.995525715126398</c:v>
                </c:pt>
                <c:pt idx="935">
                  <c:v>16.466099534125817</c:v>
                </c:pt>
                <c:pt idx="936">
                  <c:v>15.178415293004232</c:v>
                </c:pt>
                <c:pt idx="937">
                  <c:v>15.670015804912968</c:v>
                </c:pt>
                <c:pt idx="938">
                  <c:v>15.500272041680995</c:v>
                </c:pt>
                <c:pt idx="939">
                  <c:v>17.064441234486697</c:v>
                </c:pt>
                <c:pt idx="940">
                  <c:v>16.844994145845554</c:v>
                </c:pt>
                <c:pt idx="941">
                  <c:v>16.700935901578951</c:v>
                </c:pt>
                <c:pt idx="942">
                  <c:v>16.588434899269892</c:v>
                </c:pt>
                <c:pt idx="943">
                  <c:v>16.867452425001542</c:v>
                </c:pt>
                <c:pt idx="944">
                  <c:v>15.002643032932658</c:v>
                </c:pt>
                <c:pt idx="945">
                  <c:v>14.573189974514147</c:v>
                </c:pt>
                <c:pt idx="946">
                  <c:v>14.980901753202735</c:v>
                </c:pt>
                <c:pt idx="947">
                  <c:v>13.087685305642148</c:v>
                </c:pt>
                <c:pt idx="948">
                  <c:v>13.929264526902458</c:v>
                </c:pt>
                <c:pt idx="949">
                  <c:v>14.088018284024628</c:v>
                </c:pt>
                <c:pt idx="950">
                  <c:v>14.161007727681124</c:v>
                </c:pt>
                <c:pt idx="951">
                  <c:v>14.537914768287663</c:v>
                </c:pt>
                <c:pt idx="952">
                  <c:v>14.747826363585011</c:v>
                </c:pt>
                <c:pt idx="953">
                  <c:v>14.541161680405551</c:v>
                </c:pt>
                <c:pt idx="954">
                  <c:v>14.736870284586592</c:v>
                </c:pt>
                <c:pt idx="955">
                  <c:v>15.24540471671871</c:v>
                </c:pt>
                <c:pt idx="956">
                  <c:v>15.325079005390169</c:v>
                </c:pt>
                <c:pt idx="957">
                  <c:v>15.008913342511093</c:v>
                </c:pt>
                <c:pt idx="958">
                  <c:v>15.077994939257543</c:v>
                </c:pt>
                <c:pt idx="959">
                  <c:v>14.980688182843943</c:v>
                </c:pt>
                <c:pt idx="960">
                  <c:v>14.904661969364858</c:v>
                </c:pt>
                <c:pt idx="961">
                  <c:v>14.892745152198692</c:v>
                </c:pt>
                <c:pt idx="962">
                  <c:v>15.229854564561654</c:v>
                </c:pt>
                <c:pt idx="963">
                  <c:v>15.147207731394325</c:v>
                </c:pt>
                <c:pt idx="964">
                  <c:v>15.402421665335998</c:v>
                </c:pt>
                <c:pt idx="965">
                  <c:v>15.354122534842515</c:v>
                </c:pt>
                <c:pt idx="966">
                  <c:v>15.539335456022309</c:v>
                </c:pt>
                <c:pt idx="967">
                  <c:v>15.555204042289853</c:v>
                </c:pt>
                <c:pt idx="968">
                  <c:v>15.577054823871485</c:v>
                </c:pt>
                <c:pt idx="969">
                  <c:v>15.02542955023919</c:v>
                </c:pt>
                <c:pt idx="970">
                  <c:v>14.539188984856164</c:v>
                </c:pt>
                <c:pt idx="971">
                  <c:v>15.87733209992785</c:v>
                </c:pt>
                <c:pt idx="972">
                  <c:v>16.248725402538607</c:v>
                </c:pt>
                <c:pt idx="973">
                  <c:v>16.215845233239097</c:v>
                </c:pt>
                <c:pt idx="974">
                  <c:v>16.256909471776499</c:v>
                </c:pt>
                <c:pt idx="975">
                  <c:v>16.461023993686684</c:v>
                </c:pt>
                <c:pt idx="976">
                  <c:v>16.482025869063975</c:v>
                </c:pt>
                <c:pt idx="977">
                  <c:v>17.428879202483706</c:v>
                </c:pt>
                <c:pt idx="978">
                  <c:v>16.597056949447115</c:v>
                </c:pt>
                <c:pt idx="979">
                  <c:v>16.487142501630284</c:v>
                </c:pt>
                <c:pt idx="980">
                  <c:v>16.417139302148534</c:v>
                </c:pt>
                <c:pt idx="981">
                  <c:v>16.632620805991412</c:v>
                </c:pt>
                <c:pt idx="982">
                  <c:v>16.687127714423795</c:v>
                </c:pt>
                <c:pt idx="983">
                  <c:v>16.310368457475839</c:v>
                </c:pt>
                <c:pt idx="984">
                  <c:v>16.450404894448408</c:v>
                </c:pt>
                <c:pt idx="985">
                  <c:v>17.03451020093722</c:v>
                </c:pt>
                <c:pt idx="986">
                  <c:v>16.393893740920664</c:v>
                </c:pt>
                <c:pt idx="987">
                  <c:v>16.325904159595105</c:v>
                </c:pt>
                <c:pt idx="988">
                  <c:v>17.033272783301175</c:v>
                </c:pt>
                <c:pt idx="989">
                  <c:v>17.886532697737014</c:v>
                </c:pt>
                <c:pt idx="990">
                  <c:v>18.058546767317818</c:v>
                </c:pt>
                <c:pt idx="991">
                  <c:v>17.805860011121506</c:v>
                </c:pt>
                <c:pt idx="992">
                  <c:v>17.838049216656319</c:v>
                </c:pt>
                <c:pt idx="993">
                  <c:v>17.983886657463085</c:v>
                </c:pt>
                <c:pt idx="994">
                  <c:v>17.988883661226183</c:v>
                </c:pt>
                <c:pt idx="995">
                  <c:v>18.478127390062607</c:v>
                </c:pt>
                <c:pt idx="996">
                  <c:v>18.453854469979902</c:v>
                </c:pt>
                <c:pt idx="997">
                  <c:v>18.810000496494588</c:v>
                </c:pt>
                <c:pt idx="998">
                  <c:v>18.88430363812703</c:v>
                </c:pt>
                <c:pt idx="999">
                  <c:v>18.819849802903342</c:v>
                </c:pt>
                <c:pt idx="1000">
                  <c:v>18.842446732143948</c:v>
                </c:pt>
                <c:pt idx="1001">
                  <c:v>18.771402760367931</c:v>
                </c:pt>
                <c:pt idx="1002">
                  <c:v>18.597478368597102</c:v>
                </c:pt>
                <c:pt idx="1003">
                  <c:v>18.105456696816166</c:v>
                </c:pt>
                <c:pt idx="1004">
                  <c:v>18.02587541338519</c:v>
                </c:pt>
                <c:pt idx="1005">
                  <c:v>17.970111262849993</c:v>
                </c:pt>
                <c:pt idx="1006">
                  <c:v>17.606979607516362</c:v>
                </c:pt>
                <c:pt idx="1007">
                  <c:v>16.948203802186203</c:v>
                </c:pt>
                <c:pt idx="1008">
                  <c:v>16.606484925624788</c:v>
                </c:pt>
                <c:pt idx="1009">
                  <c:v>17.921566476293705</c:v>
                </c:pt>
                <c:pt idx="1010">
                  <c:v>17.192504666588679</c:v>
                </c:pt>
                <c:pt idx="1011">
                  <c:v>17.2140463567093</c:v>
                </c:pt>
                <c:pt idx="1012">
                  <c:v>16.979514889622937</c:v>
                </c:pt>
                <c:pt idx="1013">
                  <c:v>16.961850255685679</c:v>
                </c:pt>
                <c:pt idx="1014">
                  <c:v>17.113374281762766</c:v>
                </c:pt>
                <c:pt idx="1015">
                  <c:v>17.042928048347946</c:v>
                </c:pt>
                <c:pt idx="1016">
                  <c:v>17.227799784551067</c:v>
                </c:pt>
                <c:pt idx="1017">
                  <c:v>17.205687718660922</c:v>
                </c:pt>
                <c:pt idx="1018">
                  <c:v>16.909081853335785</c:v>
                </c:pt>
                <c:pt idx="1019">
                  <c:v>16.468205748729559</c:v>
                </c:pt>
                <c:pt idx="1020">
                  <c:v>16.359042411143019</c:v>
                </c:pt>
                <c:pt idx="1021">
                  <c:v>15.625695763525462</c:v>
                </c:pt>
                <c:pt idx="1022">
                  <c:v>15.931469799027845</c:v>
                </c:pt>
                <c:pt idx="1023">
                  <c:v>15.221664500928281</c:v>
                </c:pt>
                <c:pt idx="1024">
                  <c:v>15.338354742439762</c:v>
                </c:pt>
                <c:pt idx="1025">
                  <c:v>15.101753479648504</c:v>
                </c:pt>
                <c:pt idx="1026">
                  <c:v>15.786610065813068</c:v>
                </c:pt>
                <c:pt idx="1027">
                  <c:v>14.934258925027466</c:v>
                </c:pt>
                <c:pt idx="1028">
                  <c:v>15.018132627559693</c:v>
                </c:pt>
                <c:pt idx="1029">
                  <c:v>13.933005901439152</c:v>
                </c:pt>
                <c:pt idx="1030">
                  <c:v>13.829740318788994</c:v>
                </c:pt>
                <c:pt idx="1031">
                  <c:v>13.85779918089956</c:v>
                </c:pt>
                <c:pt idx="1032">
                  <c:v>14.63010112138242</c:v>
                </c:pt>
                <c:pt idx="1033">
                  <c:v>14.878199813662681</c:v>
                </c:pt>
                <c:pt idx="1034">
                  <c:v>14.798510240671755</c:v>
                </c:pt>
                <c:pt idx="1035">
                  <c:v>14.659311836523546</c:v>
                </c:pt>
                <c:pt idx="1036">
                  <c:v>14.504419599527884</c:v>
                </c:pt>
                <c:pt idx="1037">
                  <c:v>14.523174556659738</c:v>
                </c:pt>
                <c:pt idx="1038">
                  <c:v>14.484701558173619</c:v>
                </c:pt>
                <c:pt idx="1039">
                  <c:v>14.46656271432208</c:v>
                </c:pt>
                <c:pt idx="1040">
                  <c:v>15.133827390795943</c:v>
                </c:pt>
                <c:pt idx="1041">
                  <c:v>14.982369438330972</c:v>
                </c:pt>
                <c:pt idx="1042">
                  <c:v>14.957244134086611</c:v>
                </c:pt>
                <c:pt idx="1043">
                  <c:v>14.922703776815881</c:v>
                </c:pt>
                <c:pt idx="1044">
                  <c:v>14.783813072303115</c:v>
                </c:pt>
                <c:pt idx="1045">
                  <c:v>14.781573502111323</c:v>
                </c:pt>
                <c:pt idx="1046">
                  <c:v>14.306734986300818</c:v>
                </c:pt>
                <c:pt idx="1047">
                  <c:v>14.084599511349026</c:v>
                </c:pt>
                <c:pt idx="1048">
                  <c:v>14.733687329543651</c:v>
                </c:pt>
                <c:pt idx="1049">
                  <c:v>15.22564460465588</c:v>
                </c:pt>
                <c:pt idx="1050">
                  <c:v>15.264842676837825</c:v>
                </c:pt>
                <c:pt idx="1051">
                  <c:v>15.267463202483972</c:v>
                </c:pt>
                <c:pt idx="1052">
                  <c:v>15.519536811077455</c:v>
                </c:pt>
                <c:pt idx="1053">
                  <c:v>15.225687741063638</c:v>
                </c:pt>
                <c:pt idx="1054">
                  <c:v>15.100082177234727</c:v>
                </c:pt>
                <c:pt idx="1055">
                  <c:v>15.659606353196772</c:v>
                </c:pt>
                <c:pt idx="1056">
                  <c:v>15.885214335413755</c:v>
                </c:pt>
                <c:pt idx="1057">
                  <c:v>15.580939864081559</c:v>
                </c:pt>
                <c:pt idx="1058">
                  <c:v>14.975816302867001</c:v>
                </c:pt>
                <c:pt idx="1059">
                  <c:v>15.301887579256501</c:v>
                </c:pt>
                <c:pt idx="1060">
                  <c:v>15.082943109252913</c:v>
                </c:pt>
                <c:pt idx="1061">
                  <c:v>15.982536792841424</c:v>
                </c:pt>
                <c:pt idx="1062">
                  <c:v>15.816795175188364</c:v>
                </c:pt>
                <c:pt idx="1063">
                  <c:v>15.967693657805757</c:v>
                </c:pt>
                <c:pt idx="1064">
                  <c:v>16.05769087334598</c:v>
                </c:pt>
                <c:pt idx="1065">
                  <c:v>16.441886148995771</c:v>
                </c:pt>
                <c:pt idx="1066">
                  <c:v>16.405068133669356</c:v>
                </c:pt>
                <c:pt idx="1067">
                  <c:v>17.085615521515845</c:v>
                </c:pt>
                <c:pt idx="1068">
                  <c:v>17.280847011918944</c:v>
                </c:pt>
                <c:pt idx="1069">
                  <c:v>16.920675613787271</c:v>
                </c:pt>
                <c:pt idx="1070">
                  <c:v>16.563261396254145</c:v>
                </c:pt>
                <c:pt idx="1071">
                  <c:v>16.591110911780788</c:v>
                </c:pt>
                <c:pt idx="1072">
                  <c:v>16.247783449083741</c:v>
                </c:pt>
                <c:pt idx="1073">
                  <c:v>15.932385287791545</c:v>
                </c:pt>
                <c:pt idx="1074">
                  <c:v>15.559855833753028</c:v>
                </c:pt>
                <c:pt idx="1075">
                  <c:v>15.015606710114783</c:v>
                </c:pt>
                <c:pt idx="1076">
                  <c:v>14.871447027743875</c:v>
                </c:pt>
                <c:pt idx="1077">
                  <c:v>15.071327249127581</c:v>
                </c:pt>
                <c:pt idx="1078">
                  <c:v>15.614249779421405</c:v>
                </c:pt>
                <c:pt idx="1079">
                  <c:v>15.813194254182999</c:v>
                </c:pt>
                <c:pt idx="1080">
                  <c:v>15.676903094045443</c:v>
                </c:pt>
                <c:pt idx="1081">
                  <c:v>15.641700651948325</c:v>
                </c:pt>
                <c:pt idx="1082">
                  <c:v>15.52704214592038</c:v>
                </c:pt>
                <c:pt idx="1083">
                  <c:v>15.527487933246011</c:v>
                </c:pt>
                <c:pt idx="1084">
                  <c:v>15.428578576354139</c:v>
                </c:pt>
                <c:pt idx="1085">
                  <c:v>15.614413748005004</c:v>
                </c:pt>
                <c:pt idx="1086">
                  <c:v>15.185853699289648</c:v>
                </c:pt>
                <c:pt idx="1087">
                  <c:v>15.161897946971676</c:v>
                </c:pt>
                <c:pt idx="1088">
                  <c:v>15.487986404292521</c:v>
                </c:pt>
                <c:pt idx="1089">
                  <c:v>15.102944242697024</c:v>
                </c:pt>
                <c:pt idx="1090">
                  <c:v>14.927676807096612</c:v>
                </c:pt>
                <c:pt idx="1091">
                  <c:v>15.180854497839841</c:v>
                </c:pt>
                <c:pt idx="1092">
                  <c:v>16.03853555425879</c:v>
                </c:pt>
                <c:pt idx="1093">
                  <c:v>15.763065958617974</c:v>
                </c:pt>
                <c:pt idx="1094">
                  <c:v>16.187620174473018</c:v>
                </c:pt>
                <c:pt idx="1095">
                  <c:v>16.36831897769196</c:v>
                </c:pt>
                <c:pt idx="1096">
                  <c:v>16.19301209051741</c:v>
                </c:pt>
                <c:pt idx="1097">
                  <c:v>16.204875240496573</c:v>
                </c:pt>
                <c:pt idx="1098">
                  <c:v>16.411806872263821</c:v>
                </c:pt>
                <c:pt idx="1099">
                  <c:v>16.736624254239096</c:v>
                </c:pt>
                <c:pt idx="1100">
                  <c:v>16.506607220238511</c:v>
                </c:pt>
                <c:pt idx="1101">
                  <c:v>16.450060892907651</c:v>
                </c:pt>
                <c:pt idx="1102">
                  <c:v>16.573753540485853</c:v>
                </c:pt>
                <c:pt idx="1103">
                  <c:v>16.681865264353096</c:v>
                </c:pt>
                <c:pt idx="1104">
                  <c:v>16.463317885158244</c:v>
                </c:pt>
                <c:pt idx="1105">
                  <c:v>17.291101161339288</c:v>
                </c:pt>
                <c:pt idx="1106">
                  <c:v>18.095488982990663</c:v>
                </c:pt>
                <c:pt idx="1107">
                  <c:v>18.39838972637677</c:v>
                </c:pt>
                <c:pt idx="1108">
                  <c:v>17.864932151080385</c:v>
                </c:pt>
                <c:pt idx="1109">
                  <c:v>16.828087422654971</c:v>
                </c:pt>
                <c:pt idx="1110">
                  <c:v>17.041297826388703</c:v>
                </c:pt>
                <c:pt idx="1111">
                  <c:v>16.64093233424537</c:v>
                </c:pt>
                <c:pt idx="1112">
                  <c:v>16.701592565165072</c:v>
                </c:pt>
                <c:pt idx="1113">
                  <c:v>15.963264300265733</c:v>
                </c:pt>
                <c:pt idx="1114">
                  <c:v>16.053985061499642</c:v>
                </c:pt>
                <c:pt idx="1115">
                  <c:v>16.453593800685539</c:v>
                </c:pt>
                <c:pt idx="1116">
                  <c:v>16.421936974788785</c:v>
                </c:pt>
                <c:pt idx="1117">
                  <c:v>16.071954291567618</c:v>
                </c:pt>
                <c:pt idx="1118">
                  <c:v>16.157411608332495</c:v>
                </c:pt>
                <c:pt idx="1119">
                  <c:v>16.434158069008948</c:v>
                </c:pt>
                <c:pt idx="1120">
                  <c:v>16.437333162725061</c:v>
                </c:pt>
                <c:pt idx="1121">
                  <c:v>16.570807266681953</c:v>
                </c:pt>
                <c:pt idx="1122">
                  <c:v>16.551956570852873</c:v>
                </c:pt>
                <c:pt idx="1123">
                  <c:v>16.663432753295826</c:v>
                </c:pt>
                <c:pt idx="1124">
                  <c:v>17.055928965860836</c:v>
                </c:pt>
                <c:pt idx="1125">
                  <c:v>17.045863846893923</c:v>
                </c:pt>
                <c:pt idx="1126">
                  <c:v>17.647409222962708</c:v>
                </c:pt>
                <c:pt idx="1127">
                  <c:v>18.172733686083969</c:v>
                </c:pt>
                <c:pt idx="1128">
                  <c:v>18.194834792362943</c:v>
                </c:pt>
                <c:pt idx="1129">
                  <c:v>17.976595595992858</c:v>
                </c:pt>
                <c:pt idx="1130">
                  <c:v>17.606813947237853</c:v>
                </c:pt>
                <c:pt idx="1131">
                  <c:v>17.2474500165061</c:v>
                </c:pt>
                <c:pt idx="1132">
                  <c:v>16.888102516099316</c:v>
                </c:pt>
                <c:pt idx="1133">
                  <c:v>16.67219552421253</c:v>
                </c:pt>
                <c:pt idx="1134">
                  <c:v>16.026352938424331</c:v>
                </c:pt>
                <c:pt idx="1135">
                  <c:v>16.282439474945164</c:v>
                </c:pt>
                <c:pt idx="1136">
                  <c:v>15.863540633761325</c:v>
                </c:pt>
                <c:pt idx="1137">
                  <c:v>15.798288887817552</c:v>
                </c:pt>
                <c:pt idx="1138">
                  <c:v>15.798147888940859</c:v>
                </c:pt>
                <c:pt idx="1139">
                  <c:v>15.218989926280276</c:v>
                </c:pt>
                <c:pt idx="1140">
                  <c:v>15.475165510956812</c:v>
                </c:pt>
                <c:pt idx="1141">
                  <c:v>15.796319114275368</c:v>
                </c:pt>
                <c:pt idx="1142">
                  <c:v>15.859940056148721</c:v>
                </c:pt>
                <c:pt idx="1143">
                  <c:v>16.381470828292926</c:v>
                </c:pt>
                <c:pt idx="1144">
                  <c:v>16.338232469610109</c:v>
                </c:pt>
                <c:pt idx="1145">
                  <c:v>14.475102642878342</c:v>
                </c:pt>
                <c:pt idx="1146">
                  <c:v>14.426015677768268</c:v>
                </c:pt>
                <c:pt idx="1147">
                  <c:v>14.352224167971718</c:v>
                </c:pt>
                <c:pt idx="1148">
                  <c:v>14.607488976292052</c:v>
                </c:pt>
                <c:pt idx="1149">
                  <c:v>15.506653079819552</c:v>
                </c:pt>
                <c:pt idx="1150">
                  <c:v>15.983521618690176</c:v>
                </c:pt>
                <c:pt idx="1151">
                  <c:v>15.768871810596247</c:v>
                </c:pt>
                <c:pt idx="1152">
                  <c:v>15.750304127988869</c:v>
                </c:pt>
                <c:pt idx="1153">
                  <c:v>15.840290886476099</c:v>
                </c:pt>
                <c:pt idx="1154">
                  <c:v>16.610314863421589</c:v>
                </c:pt>
                <c:pt idx="1155">
                  <c:v>16.355427218773208</c:v>
                </c:pt>
                <c:pt idx="1156">
                  <c:v>16.21456867656568</c:v>
                </c:pt>
                <c:pt idx="1157">
                  <c:v>16.180435832374105</c:v>
                </c:pt>
                <c:pt idx="1158">
                  <c:v>15.860932398249437</c:v>
                </c:pt>
                <c:pt idx="1159">
                  <c:v>15.927375252395343</c:v>
                </c:pt>
                <c:pt idx="1160">
                  <c:v>15.722408782249506</c:v>
                </c:pt>
                <c:pt idx="1161">
                  <c:v>15.422712795272531</c:v>
                </c:pt>
                <c:pt idx="1162">
                  <c:v>15.368917954897926</c:v>
                </c:pt>
                <c:pt idx="1163">
                  <c:v>15.114145773735888</c:v>
                </c:pt>
                <c:pt idx="1164">
                  <c:v>16.263254483414805</c:v>
                </c:pt>
                <c:pt idx="1165">
                  <c:v>16.294344811580494</c:v>
                </c:pt>
                <c:pt idx="1166">
                  <c:v>16.215466435675236</c:v>
                </c:pt>
                <c:pt idx="1167">
                  <c:v>16.235395350846183</c:v>
                </c:pt>
                <c:pt idx="1168">
                  <c:v>16.455019744387226</c:v>
                </c:pt>
                <c:pt idx="1169">
                  <c:v>16.141581448592955</c:v>
                </c:pt>
                <c:pt idx="1170">
                  <c:v>16.11473417540326</c:v>
                </c:pt>
                <c:pt idx="1171">
                  <c:v>16.471717380301126</c:v>
                </c:pt>
                <c:pt idx="1172">
                  <c:v>16.318016098172052</c:v>
                </c:pt>
                <c:pt idx="1173">
                  <c:v>16.461849465391388</c:v>
                </c:pt>
                <c:pt idx="1174">
                  <c:v>16.440344048329749</c:v>
                </c:pt>
                <c:pt idx="1175">
                  <c:v>16.239254337569129</c:v>
                </c:pt>
                <c:pt idx="1176">
                  <c:v>16.119498924892394</c:v>
                </c:pt>
                <c:pt idx="1177">
                  <c:v>15.490388595923015</c:v>
                </c:pt>
                <c:pt idx="1178">
                  <c:v>15.708790232361748</c:v>
                </c:pt>
                <c:pt idx="1179">
                  <c:v>15.483419066914758</c:v>
                </c:pt>
                <c:pt idx="1180">
                  <c:v>14.936835357937305</c:v>
                </c:pt>
                <c:pt idx="1181">
                  <c:v>14.550209904591794</c:v>
                </c:pt>
                <c:pt idx="1182">
                  <c:v>14.420904611482404</c:v>
                </c:pt>
                <c:pt idx="1183">
                  <c:v>14.195800618028446</c:v>
                </c:pt>
                <c:pt idx="1184">
                  <c:v>14.034727706270372</c:v>
                </c:pt>
                <c:pt idx="1185">
                  <c:v>14.13072644173617</c:v>
                </c:pt>
                <c:pt idx="1186">
                  <c:v>14.387435140915668</c:v>
                </c:pt>
                <c:pt idx="1187">
                  <c:v>14.740122153147709</c:v>
                </c:pt>
                <c:pt idx="1188">
                  <c:v>14.193396318627736</c:v>
                </c:pt>
                <c:pt idx="1189">
                  <c:v>14.253392024468969</c:v>
                </c:pt>
                <c:pt idx="1190">
                  <c:v>13.781004980628824</c:v>
                </c:pt>
                <c:pt idx="1191">
                  <c:v>13.544529870832093</c:v>
                </c:pt>
                <c:pt idx="1192">
                  <c:v>13.179750548582218</c:v>
                </c:pt>
                <c:pt idx="1193">
                  <c:v>12.914051288880531</c:v>
                </c:pt>
                <c:pt idx="1194">
                  <c:v>13.410174646689974</c:v>
                </c:pt>
                <c:pt idx="1195">
                  <c:v>12.846143946881359</c:v>
                </c:pt>
                <c:pt idx="1196">
                  <c:v>12.546979491509003</c:v>
                </c:pt>
                <c:pt idx="1197">
                  <c:v>12.860013122177744</c:v>
                </c:pt>
                <c:pt idx="1198">
                  <c:v>12.289016759417363</c:v>
                </c:pt>
                <c:pt idx="1199">
                  <c:v>12.202279818524485</c:v>
                </c:pt>
                <c:pt idx="1200">
                  <c:v>12.914842745083144</c:v>
                </c:pt>
                <c:pt idx="1201">
                  <c:v>14.110586194527873</c:v>
                </c:pt>
                <c:pt idx="1202">
                  <c:v>14.100476100418602</c:v>
                </c:pt>
                <c:pt idx="1203">
                  <c:v>13.957329601581909</c:v>
                </c:pt>
                <c:pt idx="1204">
                  <c:v>14.41189839931193</c:v>
                </c:pt>
                <c:pt idx="1205">
                  <c:v>14.259160777210884</c:v>
                </c:pt>
                <c:pt idx="1206">
                  <c:v>14.001635296133642</c:v>
                </c:pt>
                <c:pt idx="1207">
                  <c:v>14.648524620713941</c:v>
                </c:pt>
                <c:pt idx="1208">
                  <c:v>15.237363337978911</c:v>
                </c:pt>
                <c:pt idx="1209">
                  <c:v>15.205718106550572</c:v>
                </c:pt>
                <c:pt idx="1210">
                  <c:v>17.529034703620553</c:v>
                </c:pt>
                <c:pt idx="1211">
                  <c:v>17.865788731201384</c:v>
                </c:pt>
                <c:pt idx="1212">
                  <c:v>17.657780505181758</c:v>
                </c:pt>
                <c:pt idx="1213">
                  <c:v>18.12046000067588</c:v>
                </c:pt>
                <c:pt idx="1214">
                  <c:v>18.148381068519029</c:v>
                </c:pt>
                <c:pt idx="1215">
                  <c:v>18.50379496296145</c:v>
                </c:pt>
                <c:pt idx="1216">
                  <c:v>18.517042887929158</c:v>
                </c:pt>
                <c:pt idx="1217">
                  <c:v>18.476229933289581</c:v>
                </c:pt>
                <c:pt idx="1218">
                  <c:v>18.453132057436218</c:v>
                </c:pt>
                <c:pt idx="1219">
                  <c:v>18.002010246979953</c:v>
                </c:pt>
                <c:pt idx="1220">
                  <c:v>17.637839054405763</c:v>
                </c:pt>
                <c:pt idx="1221">
                  <c:v>17.304194988247005</c:v>
                </c:pt>
                <c:pt idx="1222">
                  <c:v>17.881665503748376</c:v>
                </c:pt>
                <c:pt idx="1223">
                  <c:v>17.426082826355405</c:v>
                </c:pt>
                <c:pt idx="1224">
                  <c:v>17.313519849832701</c:v>
                </c:pt>
                <c:pt idx="1225">
                  <c:v>16.893893961398255</c:v>
                </c:pt>
                <c:pt idx="1226">
                  <c:v>16.634072339607815</c:v>
                </c:pt>
                <c:pt idx="1227">
                  <c:v>16.492291837186333</c:v>
                </c:pt>
                <c:pt idx="1228">
                  <c:v>16.355901544072115</c:v>
                </c:pt>
                <c:pt idx="1229">
                  <c:v>16.355583769719871</c:v>
                </c:pt>
                <c:pt idx="1230">
                  <c:v>15.661664910762012</c:v>
                </c:pt>
                <c:pt idx="1231">
                  <c:v>15.549447620046495</c:v>
                </c:pt>
                <c:pt idx="1232">
                  <c:v>15.664106688182084</c:v>
                </c:pt>
                <c:pt idx="1233">
                  <c:v>15.748495216936973</c:v>
                </c:pt>
                <c:pt idx="1234">
                  <c:v>15.748307938906217</c:v>
                </c:pt>
                <c:pt idx="1235">
                  <c:v>15.638944002417407</c:v>
                </c:pt>
                <c:pt idx="1236">
                  <c:v>15.674894018579543</c:v>
                </c:pt>
                <c:pt idx="1237">
                  <c:v>15.23717171700955</c:v>
                </c:pt>
                <c:pt idx="1238">
                  <c:v>14.847535720726553</c:v>
                </c:pt>
                <c:pt idx="1239">
                  <c:v>14.613669730927496</c:v>
                </c:pt>
                <c:pt idx="1240">
                  <c:v>14.908414720215854</c:v>
                </c:pt>
                <c:pt idx="1241">
                  <c:v>14.68634062084868</c:v>
                </c:pt>
                <c:pt idx="1242">
                  <c:v>14.353757495938993</c:v>
                </c:pt>
                <c:pt idx="1243">
                  <c:v>14.685135587877671</c:v>
                </c:pt>
                <c:pt idx="1244">
                  <c:v>14.83197801911324</c:v>
                </c:pt>
                <c:pt idx="1245">
                  <c:v>14.684067611009038</c:v>
                </c:pt>
                <c:pt idx="1246">
                  <c:v>14.500002245069144</c:v>
                </c:pt>
                <c:pt idx="1247">
                  <c:v>14.266469848827279</c:v>
                </c:pt>
                <c:pt idx="1248">
                  <c:v>14.146530286838638</c:v>
                </c:pt>
                <c:pt idx="1249">
                  <c:v>14.034308361158851</c:v>
                </c:pt>
                <c:pt idx="1250">
                  <c:v>13.436859978693963</c:v>
                </c:pt>
                <c:pt idx="1251">
                  <c:v>13.025030459088109</c:v>
                </c:pt>
                <c:pt idx="1252">
                  <c:v>13.360044022000654</c:v>
                </c:pt>
                <c:pt idx="1253">
                  <c:v>13.02341893474013</c:v>
                </c:pt>
                <c:pt idx="1254">
                  <c:v>12.836116206899616</c:v>
                </c:pt>
                <c:pt idx="1255">
                  <c:v>12.761084259107744</c:v>
                </c:pt>
                <c:pt idx="1256">
                  <c:v>12.798234046844108</c:v>
                </c:pt>
                <c:pt idx="1257">
                  <c:v>12.462336902815474</c:v>
                </c:pt>
                <c:pt idx="1258">
                  <c:v>12.461617500263447</c:v>
                </c:pt>
                <c:pt idx="1259">
                  <c:v>12.8813094098745</c:v>
                </c:pt>
                <c:pt idx="1260">
                  <c:v>12.589799832648563</c:v>
                </c:pt>
                <c:pt idx="1261">
                  <c:v>12.522337055046416</c:v>
                </c:pt>
                <c:pt idx="1262">
                  <c:v>12.560912269897109</c:v>
                </c:pt>
                <c:pt idx="1263">
                  <c:v>12.525300062093853</c:v>
                </c:pt>
                <c:pt idx="1264">
                  <c:v>12.424486603616277</c:v>
                </c:pt>
                <c:pt idx="1265">
                  <c:v>12.592165754046139</c:v>
                </c:pt>
                <c:pt idx="1266">
                  <c:v>14.136429483375396</c:v>
                </c:pt>
                <c:pt idx="1267">
                  <c:v>13.9833871853875</c:v>
                </c:pt>
                <c:pt idx="1268">
                  <c:v>14.699492319971844</c:v>
                </c:pt>
                <c:pt idx="1269">
                  <c:v>13.238975769236392</c:v>
                </c:pt>
                <c:pt idx="1270">
                  <c:v>13.367564573869844</c:v>
                </c:pt>
                <c:pt idx="1271">
                  <c:v>11.751135704850238</c:v>
                </c:pt>
                <c:pt idx="1272">
                  <c:v>11.386159863651107</c:v>
                </c:pt>
                <c:pt idx="1273">
                  <c:v>8.9958897248445098</c:v>
                </c:pt>
                <c:pt idx="1274">
                  <c:v>7.8364563886317375</c:v>
                </c:pt>
                <c:pt idx="1275">
                  <c:v>9.1423006448113995</c:v>
                </c:pt>
                <c:pt idx="1276">
                  <c:v>9.2555118290586122</c:v>
                </c:pt>
                <c:pt idx="1277">
                  <c:v>9.6163306621549918</c:v>
                </c:pt>
                <c:pt idx="1278">
                  <c:v>9.4942068677946612</c:v>
                </c:pt>
                <c:pt idx="1279">
                  <c:v>9.453472812505554</c:v>
                </c:pt>
                <c:pt idx="1280">
                  <c:v>9.4489331620938533</c:v>
                </c:pt>
                <c:pt idx="1281">
                  <c:v>9.290196458584381</c:v>
                </c:pt>
                <c:pt idx="1282">
                  <c:v>9.2533374976772205</c:v>
                </c:pt>
                <c:pt idx="1283">
                  <c:v>8.8915194210068851</c:v>
                </c:pt>
                <c:pt idx="1284">
                  <c:v>8.9042640119169985</c:v>
                </c:pt>
                <c:pt idx="1285">
                  <c:v>8.9902546957122595</c:v>
                </c:pt>
                <c:pt idx="1286">
                  <c:v>9.1739382522902577</c:v>
                </c:pt>
                <c:pt idx="1287">
                  <c:v>9.278585158937485</c:v>
                </c:pt>
                <c:pt idx="1288">
                  <c:v>9.50701749700929</c:v>
                </c:pt>
                <c:pt idx="1289">
                  <c:v>9.4820672802868362</c:v>
                </c:pt>
                <c:pt idx="1290">
                  <c:v>9.6423637097061139</c:v>
                </c:pt>
                <c:pt idx="1291">
                  <c:v>9.4792372279127957</c:v>
                </c:pt>
                <c:pt idx="1292">
                  <c:v>9.4740518420980173</c:v>
                </c:pt>
                <c:pt idx="1293">
                  <c:v>9.8360268775577886</c:v>
                </c:pt>
                <c:pt idx="1294">
                  <c:v>10.003056438758625</c:v>
                </c:pt>
                <c:pt idx="1295">
                  <c:v>10.079177026082442</c:v>
                </c:pt>
                <c:pt idx="1296">
                  <c:v>10.07951587736496</c:v>
                </c:pt>
                <c:pt idx="1297">
                  <c:v>10.279103285151384</c:v>
                </c:pt>
                <c:pt idx="1298">
                  <c:v>10.330073298138121</c:v>
                </c:pt>
                <c:pt idx="1299">
                  <c:v>10.278556860406958</c:v>
                </c:pt>
                <c:pt idx="1300">
                  <c:v>10.077991648931194</c:v>
                </c:pt>
                <c:pt idx="1301">
                  <c:v>9.9518764798933486</c:v>
                </c:pt>
                <c:pt idx="1302">
                  <c:v>9.8209796626909203</c:v>
                </c:pt>
                <c:pt idx="1303">
                  <c:v>9.6825331616601247</c:v>
                </c:pt>
                <c:pt idx="1304">
                  <c:v>9.7607521421118957</c:v>
                </c:pt>
                <c:pt idx="1305">
                  <c:v>10.226618466056012</c:v>
                </c:pt>
                <c:pt idx="1306">
                  <c:v>10.31298542361168</c:v>
                </c:pt>
                <c:pt idx="1307">
                  <c:v>10.449051948572583</c:v>
                </c:pt>
                <c:pt idx="1308">
                  <c:v>10.446912995266532</c:v>
                </c:pt>
                <c:pt idx="1309">
                  <c:v>10.365003102108687</c:v>
                </c:pt>
                <c:pt idx="1310">
                  <c:v>9.942908747230172</c:v>
                </c:pt>
                <c:pt idx="1311">
                  <c:v>9.8833430210009841</c:v>
                </c:pt>
                <c:pt idx="1312">
                  <c:v>10.032653827006552</c:v>
                </c:pt>
                <c:pt idx="1313">
                  <c:v>10.42337346319059</c:v>
                </c:pt>
                <c:pt idx="1314">
                  <c:v>11.07169924137972</c:v>
                </c:pt>
                <c:pt idx="1315">
                  <c:v>11.48833079568025</c:v>
                </c:pt>
                <c:pt idx="1316">
                  <c:v>11.366176578177601</c:v>
                </c:pt>
                <c:pt idx="1317">
                  <c:v>11.141680876206951</c:v>
                </c:pt>
                <c:pt idx="1318">
                  <c:v>10.847472772744664</c:v>
                </c:pt>
                <c:pt idx="1319">
                  <c:v>10.825862840991885</c:v>
                </c:pt>
                <c:pt idx="1320">
                  <c:v>11.22444349846076</c:v>
                </c:pt>
                <c:pt idx="1321">
                  <c:v>11.118632929223883</c:v>
                </c:pt>
                <c:pt idx="1322">
                  <c:v>11.581735442909524</c:v>
                </c:pt>
                <c:pt idx="1323">
                  <c:v>11.490429859829465</c:v>
                </c:pt>
                <c:pt idx="1324">
                  <c:v>11.524467033584111</c:v>
                </c:pt>
                <c:pt idx="1325">
                  <c:v>11.500326819518689</c:v>
                </c:pt>
                <c:pt idx="1326">
                  <c:v>11.233111253818537</c:v>
                </c:pt>
                <c:pt idx="1327">
                  <c:v>11.16832192676676</c:v>
                </c:pt>
                <c:pt idx="1328">
                  <c:v>10.834799690525108</c:v>
                </c:pt>
                <c:pt idx="1329">
                  <c:v>10.785461806649062</c:v>
                </c:pt>
                <c:pt idx="1330">
                  <c:v>10.91241618026978</c:v>
                </c:pt>
                <c:pt idx="1331">
                  <c:v>10.912133186845654</c:v>
                </c:pt>
                <c:pt idx="1332">
                  <c:v>10.785001748015114</c:v>
                </c:pt>
                <c:pt idx="1333">
                  <c:v>10.10668994718317</c:v>
                </c:pt>
                <c:pt idx="1334">
                  <c:v>10.208983938784574</c:v>
                </c:pt>
                <c:pt idx="1335">
                  <c:v>10.060346245039192</c:v>
                </c:pt>
                <c:pt idx="1336">
                  <c:v>10.081204198080561</c:v>
                </c:pt>
                <c:pt idx="1337">
                  <c:v>10.038799317875464</c:v>
                </c:pt>
                <c:pt idx="1338">
                  <c:v>9.7845608860281885</c:v>
                </c:pt>
                <c:pt idx="1339">
                  <c:v>9.8475511531012891</c:v>
                </c:pt>
                <c:pt idx="1340">
                  <c:v>10.885108992823227</c:v>
                </c:pt>
                <c:pt idx="1341">
                  <c:v>11.07318128045813</c:v>
                </c:pt>
                <c:pt idx="1342">
                  <c:v>10.784513214854067</c:v>
                </c:pt>
                <c:pt idx="1343">
                  <c:v>10.906950490047354</c:v>
                </c:pt>
                <c:pt idx="1344">
                  <c:v>11.23011140087708</c:v>
                </c:pt>
                <c:pt idx="1345">
                  <c:v>11.400976044195328</c:v>
                </c:pt>
                <c:pt idx="1346">
                  <c:v>11.1471598108053</c:v>
                </c:pt>
                <c:pt idx="1347">
                  <c:v>11.163518976049208</c:v>
                </c:pt>
                <c:pt idx="1348">
                  <c:v>11.324664245186796</c:v>
                </c:pt>
                <c:pt idx="1349">
                  <c:v>11.202930597398961</c:v>
                </c:pt>
                <c:pt idx="1350">
                  <c:v>11.099378805453329</c:v>
                </c:pt>
                <c:pt idx="1351">
                  <c:v>11.081541648917684</c:v>
                </c:pt>
                <c:pt idx="1352">
                  <c:v>10.741206820917037</c:v>
                </c:pt>
                <c:pt idx="1353">
                  <c:v>10.759788903639631</c:v>
                </c:pt>
                <c:pt idx="1354">
                  <c:v>10.529950410821327</c:v>
                </c:pt>
                <c:pt idx="1355">
                  <c:v>10.108506397980602</c:v>
                </c:pt>
                <c:pt idx="1356">
                  <c:v>9.8457106768425007</c:v>
                </c:pt>
                <c:pt idx="1357">
                  <c:v>9.2897891398362198</c:v>
                </c:pt>
                <c:pt idx="1358">
                  <c:v>9.62323353500528</c:v>
                </c:pt>
                <c:pt idx="1359">
                  <c:v>9.3863185133348264</c:v>
                </c:pt>
                <c:pt idx="1360">
                  <c:v>9.3464564893442823</c:v>
                </c:pt>
                <c:pt idx="1361">
                  <c:v>9.1597805375698282</c:v>
                </c:pt>
                <c:pt idx="1362">
                  <c:v>8.7183509017546825</c:v>
                </c:pt>
                <c:pt idx="1363">
                  <c:v>8.7174274005476029</c:v>
                </c:pt>
                <c:pt idx="1364">
                  <c:v>8.5478280560869031</c:v>
                </c:pt>
                <c:pt idx="1365">
                  <c:v>8.5135424925420526</c:v>
                </c:pt>
                <c:pt idx="1366">
                  <c:v>8.4965086332657336</c:v>
                </c:pt>
                <c:pt idx="1367">
                  <c:v>8.2590441004404269</c:v>
                </c:pt>
                <c:pt idx="1368">
                  <c:v>8.2924541558685601</c:v>
                </c:pt>
                <c:pt idx="1369">
                  <c:v>8.4619594838903218</c:v>
                </c:pt>
                <c:pt idx="1370">
                  <c:v>8.7498619107055706</c:v>
                </c:pt>
                <c:pt idx="1371">
                  <c:v>8.5072072028317045</c:v>
                </c:pt>
                <c:pt idx="1372">
                  <c:v>8.4735689962344924</c:v>
                </c:pt>
                <c:pt idx="1373">
                  <c:v>8.4459447796558891</c:v>
                </c:pt>
                <c:pt idx="1374">
                  <c:v>8.507858906754592</c:v>
                </c:pt>
                <c:pt idx="1375">
                  <c:v>8.6117110702828654</c:v>
                </c:pt>
                <c:pt idx="1376">
                  <c:v>8.5999266979313251</c:v>
                </c:pt>
                <c:pt idx="1377">
                  <c:v>8.4778151464740574</c:v>
                </c:pt>
                <c:pt idx="1378">
                  <c:v>8.4781867105544233</c:v>
                </c:pt>
                <c:pt idx="1379">
                  <c:v>8.5380446777438355</c:v>
                </c:pt>
                <c:pt idx="1380">
                  <c:v>8.4003058270938507</c:v>
                </c:pt>
                <c:pt idx="1381">
                  <c:v>8.0340401049091312</c:v>
                </c:pt>
                <c:pt idx="1382">
                  <c:v>7.7953602749268391</c:v>
                </c:pt>
                <c:pt idx="1383">
                  <c:v>7.5569662447774872</c:v>
                </c:pt>
                <c:pt idx="1384">
                  <c:v>7.5564589000154276</c:v>
                </c:pt>
                <c:pt idx="1385">
                  <c:v>7.8857954481937922</c:v>
                </c:pt>
                <c:pt idx="1386">
                  <c:v>7.8361600962915681</c:v>
                </c:pt>
                <c:pt idx="1387">
                  <c:v>7.5916824287102509</c:v>
                </c:pt>
                <c:pt idx="1388">
                  <c:v>7.7575409171540688</c:v>
                </c:pt>
                <c:pt idx="1389">
                  <c:v>7.3501275055660953</c:v>
                </c:pt>
                <c:pt idx="1390">
                  <c:v>7.2699974798095246</c:v>
                </c:pt>
                <c:pt idx="1391">
                  <c:v>6.9622322796861535</c:v>
                </c:pt>
                <c:pt idx="1392">
                  <c:v>6.9121116970391725</c:v>
                </c:pt>
                <c:pt idx="1393">
                  <c:v>7.0604729789715028</c:v>
                </c:pt>
                <c:pt idx="1394">
                  <c:v>7.2086073472124603</c:v>
                </c:pt>
                <c:pt idx="1395">
                  <c:v>7.1752823001098491</c:v>
                </c:pt>
                <c:pt idx="1396">
                  <c:v>7.1707216469941688</c:v>
                </c:pt>
                <c:pt idx="1397">
                  <c:v>7.1302048950931338</c:v>
                </c:pt>
                <c:pt idx="1398">
                  <c:v>7.063578921590274</c:v>
                </c:pt>
                <c:pt idx="1399">
                  <c:v>6.9064787445630502</c:v>
                </c:pt>
                <c:pt idx="1400">
                  <c:v>6.4942821147560927</c:v>
                </c:pt>
                <c:pt idx="1401">
                  <c:v>6.509446263641304</c:v>
                </c:pt>
                <c:pt idx="1402">
                  <c:v>6.562044954172876</c:v>
                </c:pt>
                <c:pt idx="1403">
                  <c:v>6.6321100390546928</c:v>
                </c:pt>
                <c:pt idx="1404">
                  <c:v>6.5442280166877049</c:v>
                </c:pt>
                <c:pt idx="1405">
                  <c:v>6.6493073840589174</c:v>
                </c:pt>
                <c:pt idx="1406">
                  <c:v>7.0281293974277146</c:v>
                </c:pt>
                <c:pt idx="1407">
                  <c:v>6.9387389431254558</c:v>
                </c:pt>
                <c:pt idx="1408">
                  <c:v>6.7252220235808631</c:v>
                </c:pt>
                <c:pt idx="1409">
                  <c:v>6.8139220396622404</c:v>
                </c:pt>
                <c:pt idx="1410">
                  <c:v>7.2815354306411662</c:v>
                </c:pt>
                <c:pt idx="1411">
                  <c:v>7.3681511001799844</c:v>
                </c:pt>
                <c:pt idx="1412">
                  <c:v>7.1761949727068348</c:v>
                </c:pt>
                <c:pt idx="1413">
                  <c:v>7.5052703080733769</c:v>
                </c:pt>
                <c:pt idx="1414">
                  <c:v>7.1613623502555726</c:v>
                </c:pt>
                <c:pt idx="1415">
                  <c:v>7.4118891969695575</c:v>
                </c:pt>
                <c:pt idx="1416">
                  <c:v>7.4739453538585598</c:v>
                </c:pt>
                <c:pt idx="1417">
                  <c:v>7.4301571685889405</c:v>
                </c:pt>
                <c:pt idx="1418">
                  <c:v>7.5291965790076691</c:v>
                </c:pt>
                <c:pt idx="1419">
                  <c:v>8.2212615502300164</c:v>
                </c:pt>
                <c:pt idx="1420">
                  <c:v>8.3530392449787847</c:v>
                </c:pt>
                <c:pt idx="1421">
                  <c:v>8.229329836585956</c:v>
                </c:pt>
                <c:pt idx="1422">
                  <c:v>8.2218452941323719</c:v>
                </c:pt>
                <c:pt idx="1423">
                  <c:v>8.0439387140276217</c:v>
                </c:pt>
                <c:pt idx="1424">
                  <c:v>7.9551629020952008</c:v>
                </c:pt>
                <c:pt idx="1425">
                  <c:v>7.9770676620077161</c:v>
                </c:pt>
                <c:pt idx="1426">
                  <c:v>8.0875043454345761</c:v>
                </c:pt>
                <c:pt idx="1427">
                  <c:v>8.2477282539437855</c:v>
                </c:pt>
                <c:pt idx="1428">
                  <c:v>8.3397307511299168</c:v>
                </c:pt>
                <c:pt idx="1429">
                  <c:v>8.295707103439927</c:v>
                </c:pt>
                <c:pt idx="1430">
                  <c:v>8.3157220835477261</c:v>
                </c:pt>
                <c:pt idx="1431">
                  <c:v>8.2953334022568193</c:v>
                </c:pt>
                <c:pt idx="1432">
                  <c:v>8.2646263306687899</c:v>
                </c:pt>
                <c:pt idx="1433">
                  <c:v>8.2586641908192249</c:v>
                </c:pt>
                <c:pt idx="1434">
                  <c:v>8.4312458987153818</c:v>
                </c:pt>
                <c:pt idx="1435">
                  <c:v>8.5970509957781491</c:v>
                </c:pt>
                <c:pt idx="1436">
                  <c:v>8.5967295011348241</c:v>
                </c:pt>
                <c:pt idx="1437">
                  <c:v>8.6195627140084543</c:v>
                </c:pt>
                <c:pt idx="1438">
                  <c:v>8.6386927156329651</c:v>
                </c:pt>
                <c:pt idx="1439">
                  <c:v>8.6610365826671618</c:v>
                </c:pt>
                <c:pt idx="1440">
                  <c:v>8.6823530200211323</c:v>
                </c:pt>
                <c:pt idx="1441">
                  <c:v>8.6150416371012781</c:v>
                </c:pt>
                <c:pt idx="1442">
                  <c:v>8.4268461448009546</c:v>
                </c:pt>
                <c:pt idx="1443">
                  <c:v>8.4039266045895822</c:v>
                </c:pt>
                <c:pt idx="1444">
                  <c:v>8.4264074174186891</c:v>
                </c:pt>
                <c:pt idx="1445">
                  <c:v>8.4038276036139745</c:v>
                </c:pt>
                <c:pt idx="1446">
                  <c:v>8.0883538660495784</c:v>
                </c:pt>
                <c:pt idx="1447">
                  <c:v>7.6596113445829213</c:v>
                </c:pt>
                <c:pt idx="1448">
                  <c:v>7.636191621436593</c:v>
                </c:pt>
                <c:pt idx="1449">
                  <c:v>7.2800504137750774</c:v>
                </c:pt>
                <c:pt idx="1450">
                  <c:v>7.0616927797393538</c:v>
                </c:pt>
                <c:pt idx="1451">
                  <c:v>7.4172801194862279</c:v>
                </c:pt>
                <c:pt idx="1452">
                  <c:v>7.3768987054172488</c:v>
                </c:pt>
                <c:pt idx="1453">
                  <c:v>7.4559206410363092</c:v>
                </c:pt>
                <c:pt idx="1454">
                  <c:v>7.2777526999063999</c:v>
                </c:pt>
                <c:pt idx="1455">
                  <c:v>7.2013735258158134</c:v>
                </c:pt>
                <c:pt idx="1456">
                  <c:v>6.9434267833935897</c:v>
                </c:pt>
                <c:pt idx="1457">
                  <c:v>6.8241891705177151</c:v>
                </c:pt>
                <c:pt idx="1458">
                  <c:v>7.6744846071868418</c:v>
                </c:pt>
                <c:pt idx="1459">
                  <c:v>7.5537031592519552</c:v>
                </c:pt>
                <c:pt idx="1460">
                  <c:v>7.9686666399931037</c:v>
                </c:pt>
                <c:pt idx="1461">
                  <c:v>7.9348209540816113</c:v>
                </c:pt>
                <c:pt idx="1462">
                  <c:v>7.8583212694512659</c:v>
                </c:pt>
                <c:pt idx="1463">
                  <c:v>7.8088102788585942</c:v>
                </c:pt>
                <c:pt idx="1464">
                  <c:v>7.7426782529289424</c:v>
                </c:pt>
                <c:pt idx="1465">
                  <c:v>7.7062109169138271</c:v>
                </c:pt>
                <c:pt idx="1466">
                  <c:v>7.7038834803448015</c:v>
                </c:pt>
                <c:pt idx="1467">
                  <c:v>7.7219197981369323</c:v>
                </c:pt>
                <c:pt idx="1468">
                  <c:v>7.6386936056901096</c:v>
                </c:pt>
                <c:pt idx="1469">
                  <c:v>7.5723830957427056</c:v>
                </c:pt>
                <c:pt idx="1470">
                  <c:v>7.6358647105984501</c:v>
                </c:pt>
                <c:pt idx="1471">
                  <c:v>7.7148782464201728</c:v>
                </c:pt>
                <c:pt idx="1472">
                  <c:v>7.7352687238849684</c:v>
                </c:pt>
                <c:pt idx="1473">
                  <c:v>7.7300801455952461</c:v>
                </c:pt>
                <c:pt idx="1474">
                  <c:v>7.4822580766965547</c:v>
                </c:pt>
                <c:pt idx="1475">
                  <c:v>7.3197108267291702</c:v>
                </c:pt>
                <c:pt idx="1476">
                  <c:v>7.4421671442559489</c:v>
                </c:pt>
                <c:pt idx="1477">
                  <c:v>8.0208973246085034</c:v>
                </c:pt>
                <c:pt idx="1478">
                  <c:v>8.397680720852275</c:v>
                </c:pt>
                <c:pt idx="1479">
                  <c:v>8.0460594125649383</c:v>
                </c:pt>
                <c:pt idx="1480">
                  <c:v>8.0256022814240371</c:v>
                </c:pt>
                <c:pt idx="1481">
                  <c:v>8.3831944635285449</c:v>
                </c:pt>
                <c:pt idx="1482">
                  <c:v>8.3020633643072266</c:v>
                </c:pt>
                <c:pt idx="1483">
                  <c:v>8.4229708711832707</c:v>
                </c:pt>
                <c:pt idx="1484">
                  <c:v>8.3650615131340835</c:v>
                </c:pt>
                <c:pt idx="1485">
                  <c:v>8.3222054939303955</c:v>
                </c:pt>
                <c:pt idx="1486">
                  <c:v>8.3709335067781847</c:v>
                </c:pt>
                <c:pt idx="1487">
                  <c:v>8.4198663240747997</c:v>
                </c:pt>
                <c:pt idx="1488">
                  <c:v>8.3422477442967899</c:v>
                </c:pt>
                <c:pt idx="1489">
                  <c:v>8.1745339497972722</c:v>
                </c:pt>
                <c:pt idx="1490">
                  <c:v>7.9920531122104972</c:v>
                </c:pt>
                <c:pt idx="1491">
                  <c:v>8.1581888597278116</c:v>
                </c:pt>
                <c:pt idx="1492">
                  <c:v>8.4229274005131902</c:v>
                </c:pt>
                <c:pt idx="1493">
                  <c:v>8.8171421947423116</c:v>
                </c:pt>
                <c:pt idx="1494">
                  <c:v>8.8206608596732146</c:v>
                </c:pt>
                <c:pt idx="1495">
                  <c:v>8.6673658785095373</c:v>
                </c:pt>
                <c:pt idx="1496">
                  <c:v>8.5387607179958778</c:v>
                </c:pt>
                <c:pt idx="1497">
                  <c:v>8.4484106847322131</c:v>
                </c:pt>
                <c:pt idx="1498">
                  <c:v>8.6827507617612465</c:v>
                </c:pt>
                <c:pt idx="1499">
                  <c:v>8.3828124148875851</c:v>
                </c:pt>
                <c:pt idx="1500">
                  <c:v>8.251485778892107</c:v>
                </c:pt>
                <c:pt idx="1501">
                  <c:v>8.2701857632557303</c:v>
                </c:pt>
                <c:pt idx="1502">
                  <c:v>8.1630113219481597</c:v>
                </c:pt>
                <c:pt idx="1503">
                  <c:v>8.0128015085379172</c:v>
                </c:pt>
                <c:pt idx="1504">
                  <c:v>7.954385622428835</c:v>
                </c:pt>
                <c:pt idx="1505">
                  <c:v>7.8664255554054172</c:v>
                </c:pt>
                <c:pt idx="1506">
                  <c:v>7.8853521402410847</c:v>
                </c:pt>
                <c:pt idx="1507">
                  <c:v>7.9871240680524975</c:v>
                </c:pt>
                <c:pt idx="1508">
                  <c:v>7.89414957728403</c:v>
                </c:pt>
                <c:pt idx="1509">
                  <c:v>7.9430881099457702</c:v>
                </c:pt>
                <c:pt idx="1510">
                  <c:v>7.8538318810955383</c:v>
                </c:pt>
                <c:pt idx="1511">
                  <c:v>7.8382749260733284</c:v>
                </c:pt>
                <c:pt idx="1512">
                  <c:v>7.719239146598837</c:v>
                </c:pt>
                <c:pt idx="1513">
                  <c:v>7.9276872554665641</c:v>
                </c:pt>
                <c:pt idx="1514">
                  <c:v>7.4954930438700149</c:v>
                </c:pt>
                <c:pt idx="1515">
                  <c:v>7.1545097687319625</c:v>
                </c:pt>
                <c:pt idx="1516">
                  <c:v>7.0538811139573028</c:v>
                </c:pt>
                <c:pt idx="1517">
                  <c:v>6.8763355154145778</c:v>
                </c:pt>
                <c:pt idx="1518">
                  <c:v>6.8168464277776666</c:v>
                </c:pt>
                <c:pt idx="1519">
                  <c:v>6.6985065541966353</c:v>
                </c:pt>
                <c:pt idx="1520">
                  <c:v>6.5997431399056721</c:v>
                </c:pt>
                <c:pt idx="1521">
                  <c:v>6.5798295612587694</c:v>
                </c:pt>
                <c:pt idx="1522">
                  <c:v>6.7964855940828643</c:v>
                </c:pt>
                <c:pt idx="1523">
                  <c:v>6.9732943219220678</c:v>
                </c:pt>
                <c:pt idx="1524">
                  <c:v>7.0713873846580793</c:v>
                </c:pt>
                <c:pt idx="1525">
                  <c:v>6.9926062134145939</c:v>
                </c:pt>
                <c:pt idx="1526">
                  <c:v>7.040978795459953</c:v>
                </c:pt>
                <c:pt idx="1527">
                  <c:v>7.3124047744407168</c:v>
                </c:pt>
                <c:pt idx="1528">
                  <c:v>7.6470241466864159</c:v>
                </c:pt>
                <c:pt idx="1529">
                  <c:v>7.6295227782119657</c:v>
                </c:pt>
                <c:pt idx="1530">
                  <c:v>7.3686637463589033</c:v>
                </c:pt>
                <c:pt idx="1531">
                  <c:v>7.3981642517005879</c:v>
                </c:pt>
                <c:pt idx="1532">
                  <c:v>7.5460302309826268</c:v>
                </c:pt>
                <c:pt idx="1533">
                  <c:v>7.4316394928667346</c:v>
                </c:pt>
                <c:pt idx="1534">
                  <c:v>7.3670741734037284</c:v>
                </c:pt>
                <c:pt idx="1535">
                  <c:v>7.2567112451876152</c:v>
                </c:pt>
                <c:pt idx="1536">
                  <c:v>7.4150961991852586</c:v>
                </c:pt>
                <c:pt idx="1537">
                  <c:v>7.6201316893376747</c:v>
                </c:pt>
                <c:pt idx="1538">
                  <c:v>7.5244855396830879</c:v>
                </c:pt>
                <c:pt idx="1539">
                  <c:v>7.5398931826078126</c:v>
                </c:pt>
                <c:pt idx="1540">
                  <c:v>7.4790498672442114</c:v>
                </c:pt>
                <c:pt idx="1541">
                  <c:v>7.3573142448524962</c:v>
                </c:pt>
                <c:pt idx="1542">
                  <c:v>7.116470076821436</c:v>
                </c:pt>
                <c:pt idx="1543">
                  <c:v>7.7179642997494398</c:v>
                </c:pt>
                <c:pt idx="1544">
                  <c:v>7.6520332996890605</c:v>
                </c:pt>
                <c:pt idx="1545">
                  <c:v>7.613734585623785</c:v>
                </c:pt>
                <c:pt idx="1546">
                  <c:v>7.6003514290227683</c:v>
                </c:pt>
                <c:pt idx="1547">
                  <c:v>7.6086616710250832</c:v>
                </c:pt>
                <c:pt idx="1548">
                  <c:v>7.5063122968878924</c:v>
                </c:pt>
                <c:pt idx="1549">
                  <c:v>7.6715902304620434</c:v>
                </c:pt>
                <c:pt idx="1550">
                  <c:v>7.4212857497414539</c:v>
                </c:pt>
                <c:pt idx="1551">
                  <c:v>7.3994825377152553</c:v>
                </c:pt>
                <c:pt idx="1552">
                  <c:v>7.6161925420703698</c:v>
                </c:pt>
                <c:pt idx="1553">
                  <c:v>6.9176790474695098</c:v>
                </c:pt>
                <c:pt idx="1554">
                  <c:v>6.9821642735330496</c:v>
                </c:pt>
                <c:pt idx="1555">
                  <c:v>7.1217079730080322</c:v>
                </c:pt>
                <c:pt idx="1556">
                  <c:v>7.4533652883364665</c:v>
                </c:pt>
                <c:pt idx="1557">
                  <c:v>7.6348336003383297</c:v>
                </c:pt>
                <c:pt idx="1558">
                  <c:v>7.589965537552243</c:v>
                </c:pt>
                <c:pt idx="1559">
                  <c:v>7.5446568961740148</c:v>
                </c:pt>
                <c:pt idx="1560">
                  <c:v>7.5274386548860592</c:v>
                </c:pt>
                <c:pt idx="1561">
                  <c:v>7.4524996699256469</c:v>
                </c:pt>
                <c:pt idx="1562">
                  <c:v>7.600349562154797</c:v>
                </c:pt>
                <c:pt idx="1563">
                  <c:v>7.605819089123905</c:v>
                </c:pt>
                <c:pt idx="1564">
                  <c:v>7.3344834191771184</c:v>
                </c:pt>
                <c:pt idx="1565">
                  <c:v>7.0196616256165978</c:v>
                </c:pt>
                <c:pt idx="1566">
                  <c:v>7.0190072470857734</c:v>
                </c:pt>
                <c:pt idx="1567">
                  <c:v>7.143237649865859</c:v>
                </c:pt>
                <c:pt idx="1568">
                  <c:v>6.935910391417722</c:v>
                </c:pt>
                <c:pt idx="1569">
                  <c:v>7.0803973728463685</c:v>
                </c:pt>
                <c:pt idx="1570">
                  <c:v>7.8046729665786385</c:v>
                </c:pt>
                <c:pt idx="1571">
                  <c:v>8.0810833929483312</c:v>
                </c:pt>
                <c:pt idx="1572">
                  <c:v>7.9856845740644964</c:v>
                </c:pt>
                <c:pt idx="1573">
                  <c:v>7.6770766860241535</c:v>
                </c:pt>
                <c:pt idx="1574">
                  <c:v>7.8437364346985614</c:v>
                </c:pt>
                <c:pt idx="1575">
                  <c:v>7.5327161731955492</c:v>
                </c:pt>
                <c:pt idx="1576">
                  <c:v>7.9804360824304039</c:v>
                </c:pt>
                <c:pt idx="1577">
                  <c:v>8.1410195733473394</c:v>
                </c:pt>
                <c:pt idx="1578">
                  <c:v>8.3402630817435952</c:v>
                </c:pt>
                <c:pt idx="1579">
                  <c:v>8.3354184680525343</c:v>
                </c:pt>
                <c:pt idx="1580">
                  <c:v>8.6927334798467637</c:v>
                </c:pt>
                <c:pt idx="1581">
                  <c:v>8.8124000870614978</c:v>
                </c:pt>
                <c:pt idx="1582">
                  <c:v>8.9319415980263148</c:v>
                </c:pt>
                <c:pt idx="1583">
                  <c:v>8.9274677276432701</c:v>
                </c:pt>
                <c:pt idx="1584">
                  <c:v>9.0035661536441598</c:v>
                </c:pt>
                <c:pt idx="1585">
                  <c:v>9.1638450688169684</c:v>
                </c:pt>
                <c:pt idx="1586">
                  <c:v>8.6097060190347481</c:v>
                </c:pt>
                <c:pt idx="1587">
                  <c:v>8.6698542996787769</c:v>
                </c:pt>
                <c:pt idx="1588">
                  <c:v>6.5136359878474659</c:v>
                </c:pt>
                <c:pt idx="1589">
                  <c:v>6.137272822069459</c:v>
                </c:pt>
                <c:pt idx="1590">
                  <c:v>4.5789789369726464</c:v>
                </c:pt>
                <c:pt idx="1591">
                  <c:v>5.3343644031785864</c:v>
                </c:pt>
                <c:pt idx="1592">
                  <c:v>4.3704872359984579</c:v>
                </c:pt>
                <c:pt idx="1593">
                  <c:v>4.4274998750116872</c:v>
                </c:pt>
                <c:pt idx="1594">
                  <c:v>4.3997569524644469</c:v>
                </c:pt>
                <c:pt idx="1595">
                  <c:v>4.5107225019444819</c:v>
                </c:pt>
                <c:pt idx="1596">
                  <c:v>4.4926393234153874</c:v>
                </c:pt>
                <c:pt idx="1597">
                  <c:v>4.4412697743538549</c:v>
                </c:pt>
                <c:pt idx="1598">
                  <c:v>4.2714572439540142</c:v>
                </c:pt>
                <c:pt idx="1599">
                  <c:v>4.2286200972958996</c:v>
                </c:pt>
                <c:pt idx="1600">
                  <c:v>4.167854697697762</c:v>
                </c:pt>
                <c:pt idx="1601">
                  <c:v>4.2823151392566707</c:v>
                </c:pt>
                <c:pt idx="1602">
                  <c:v>4.3274132351033634</c:v>
                </c:pt>
                <c:pt idx="1603">
                  <c:v>4.2836477664178627</c:v>
                </c:pt>
                <c:pt idx="1604">
                  <c:v>4.3004561353147421</c:v>
                </c:pt>
                <c:pt idx="1605">
                  <c:v>4.3646509728073051</c:v>
                </c:pt>
                <c:pt idx="1606">
                  <c:v>4.3493220821435745</c:v>
                </c:pt>
                <c:pt idx="1607">
                  <c:v>4.339515690103962</c:v>
                </c:pt>
                <c:pt idx="1608">
                  <c:v>4.3431183566305034</c:v>
                </c:pt>
                <c:pt idx="1609">
                  <c:v>4.3867583099366065</c:v>
                </c:pt>
                <c:pt idx="1610">
                  <c:v>4.406441926584364</c:v>
                </c:pt>
                <c:pt idx="1611">
                  <c:v>4.4264783088735991</c:v>
                </c:pt>
                <c:pt idx="1612">
                  <c:v>4.3878065207911066</c:v>
                </c:pt>
                <c:pt idx="1613">
                  <c:v>4.3719109860446279</c:v>
                </c:pt>
                <c:pt idx="1614">
                  <c:v>4.3767987131733568</c:v>
                </c:pt>
                <c:pt idx="1615">
                  <c:v>4.41387352336137</c:v>
                </c:pt>
                <c:pt idx="1616">
                  <c:v>4.5876293473717569</c:v>
                </c:pt>
                <c:pt idx="1617">
                  <c:v>4.7617846333059211</c:v>
                </c:pt>
                <c:pt idx="1618">
                  <c:v>4.7677092365264517</c:v>
                </c:pt>
                <c:pt idx="1619">
                  <c:v>4.8325457169964574</c:v>
                </c:pt>
                <c:pt idx="1620">
                  <c:v>4.8096394043267079</c:v>
                </c:pt>
                <c:pt idx="1621">
                  <c:v>4.9907115289593449</c:v>
                </c:pt>
                <c:pt idx="1622">
                  <c:v>5.1641066052064284</c:v>
                </c:pt>
                <c:pt idx="1623">
                  <c:v>5.1342435425268347</c:v>
                </c:pt>
                <c:pt idx="1624">
                  <c:v>5.2976774619044855</c:v>
                </c:pt>
                <c:pt idx="1625">
                  <c:v>5.393134512954858</c:v>
                </c:pt>
                <c:pt idx="1626">
                  <c:v>5.1771698177730574</c:v>
                </c:pt>
                <c:pt idx="1627">
                  <c:v>5.2200385009811496</c:v>
                </c:pt>
                <c:pt idx="1628">
                  <c:v>4.7888699604839742</c:v>
                </c:pt>
                <c:pt idx="1629">
                  <c:v>4.6035173697187517</c:v>
                </c:pt>
                <c:pt idx="1630">
                  <c:v>5.010295176015652</c:v>
                </c:pt>
                <c:pt idx="1631">
                  <c:v>5.2972891659239441</c:v>
                </c:pt>
                <c:pt idx="1632">
                  <c:v>5.3106322299067896</c:v>
                </c:pt>
                <c:pt idx="1633">
                  <c:v>5.3081314700163338</c:v>
                </c:pt>
                <c:pt idx="1634">
                  <c:v>5.1720161461785157</c:v>
                </c:pt>
                <c:pt idx="1635">
                  <c:v>5.1623037151489797</c:v>
                </c:pt>
                <c:pt idx="1636">
                  <c:v>4.8618824311520932</c:v>
                </c:pt>
                <c:pt idx="1637">
                  <c:v>4.8416088919156604</c:v>
                </c:pt>
                <c:pt idx="1638">
                  <c:v>4.5531068346697854</c:v>
                </c:pt>
                <c:pt idx="1639">
                  <c:v>5.1109861904687026</c:v>
                </c:pt>
                <c:pt idx="1640">
                  <c:v>4.8071360038224196</c:v>
                </c:pt>
                <c:pt idx="1641">
                  <c:v>4.8981847787235679</c:v>
                </c:pt>
                <c:pt idx="1642">
                  <c:v>4.9117560992604643</c:v>
                </c:pt>
                <c:pt idx="1643">
                  <c:v>4.9607518227906304</c:v>
                </c:pt>
                <c:pt idx="1644">
                  <c:v>5.0350728932564452</c:v>
                </c:pt>
                <c:pt idx="1645">
                  <c:v>5.0834618506446061</c:v>
                </c:pt>
                <c:pt idx="1646">
                  <c:v>4.9641373135935769</c:v>
                </c:pt>
                <c:pt idx="1647">
                  <c:v>5.0382263063547237</c:v>
                </c:pt>
                <c:pt idx="1648">
                  <c:v>5.0368565563960885</c:v>
                </c:pt>
                <c:pt idx="1649">
                  <c:v>5.554025960764144</c:v>
                </c:pt>
                <c:pt idx="1650">
                  <c:v>6.0955115440400407</c:v>
                </c:pt>
                <c:pt idx="1651">
                  <c:v>6.0700785711195815</c:v>
                </c:pt>
                <c:pt idx="1652">
                  <c:v>6.1909417591618361</c:v>
                </c:pt>
                <c:pt idx="1653">
                  <c:v>6.165889927896675</c:v>
                </c:pt>
                <c:pt idx="1654">
                  <c:v>6.168050434230957</c:v>
                </c:pt>
                <c:pt idx="1655">
                  <c:v>6.2274704148054045</c:v>
                </c:pt>
                <c:pt idx="1656">
                  <c:v>6.081797360828749</c:v>
                </c:pt>
                <c:pt idx="1657">
                  <c:v>5.9976675270338227</c:v>
                </c:pt>
                <c:pt idx="1658">
                  <c:v>6.1103326067559411</c:v>
                </c:pt>
                <c:pt idx="1659">
                  <c:v>6.0872780426076707</c:v>
                </c:pt>
                <c:pt idx="1660">
                  <c:v>6.0850268797030571</c:v>
                </c:pt>
                <c:pt idx="1661">
                  <c:v>6.0724390129309773</c:v>
                </c:pt>
                <c:pt idx="1662">
                  <c:v>6.064241978525307</c:v>
                </c:pt>
                <c:pt idx="1663">
                  <c:v>6.1155611928678404</c:v>
                </c:pt>
                <c:pt idx="1664">
                  <c:v>6.0842466470577214</c:v>
                </c:pt>
                <c:pt idx="1665">
                  <c:v>6.0957362201212346</c:v>
                </c:pt>
                <c:pt idx="1666">
                  <c:v>6.0616860874694236</c:v>
                </c:pt>
                <c:pt idx="1667">
                  <c:v>6.0569912895910303</c:v>
                </c:pt>
                <c:pt idx="1668">
                  <c:v>6.1261314651301646</c:v>
                </c:pt>
                <c:pt idx="1669">
                  <c:v>6.1574538024137988</c:v>
                </c:pt>
                <c:pt idx="1670">
                  <c:v>6.11497810579493</c:v>
                </c:pt>
                <c:pt idx="1671">
                  <c:v>6.0962032517955658</c:v>
                </c:pt>
                <c:pt idx="1672">
                  <c:v>6.076290543138243</c:v>
                </c:pt>
                <c:pt idx="1673">
                  <c:v>6.0761433504254008</c:v>
                </c:pt>
                <c:pt idx="1674">
                  <c:v>6.1134462997148509</c:v>
                </c:pt>
                <c:pt idx="1675">
                  <c:v>6.16741695761963</c:v>
                </c:pt>
                <c:pt idx="1676">
                  <c:v>6.2899585489426579</c:v>
                </c:pt>
                <c:pt idx="1677">
                  <c:v>6.1427957443137888</c:v>
                </c:pt>
                <c:pt idx="1678">
                  <c:v>6.115569997708076</c:v>
                </c:pt>
                <c:pt idx="1679">
                  <c:v>6.0278754164745125</c:v>
                </c:pt>
                <c:pt idx="1680">
                  <c:v>6.0238039130494538</c:v>
                </c:pt>
                <c:pt idx="1681">
                  <c:v>5.9558239354642151</c:v>
                </c:pt>
                <c:pt idx="1682">
                  <c:v>5.9516563397354965</c:v>
                </c:pt>
                <c:pt idx="1683">
                  <c:v>5.8791474621700477</c:v>
                </c:pt>
                <c:pt idx="1684">
                  <c:v>5.6424211245429747</c:v>
                </c:pt>
                <c:pt idx="1685">
                  <c:v>5.2914344759866614</c:v>
                </c:pt>
                <c:pt idx="1686">
                  <c:v>5.4179712453653286</c:v>
                </c:pt>
                <c:pt idx="1687">
                  <c:v>5.5471922595840235</c:v>
                </c:pt>
                <c:pt idx="1688">
                  <c:v>5.4929397358277274</c:v>
                </c:pt>
                <c:pt idx="1689">
                  <c:v>5.7096655274047849</c:v>
                </c:pt>
                <c:pt idx="1690">
                  <c:v>5.5755347324603317</c:v>
                </c:pt>
                <c:pt idx="1691">
                  <c:v>5.5829186956478214</c:v>
                </c:pt>
                <c:pt idx="1692">
                  <c:v>5.4365165095422761</c:v>
                </c:pt>
                <c:pt idx="1693">
                  <c:v>5.4562024044978408</c:v>
                </c:pt>
                <c:pt idx="1694">
                  <c:v>5.3869392128666185</c:v>
                </c:pt>
                <c:pt idx="1695">
                  <c:v>5.2759396149228497</c:v>
                </c:pt>
                <c:pt idx="1696">
                  <c:v>5.2387992765532969</c:v>
                </c:pt>
                <c:pt idx="1697">
                  <c:v>5.1215828307299764</c:v>
                </c:pt>
                <c:pt idx="1698">
                  <c:v>5.2588290910173523</c:v>
                </c:pt>
                <c:pt idx="1699">
                  <c:v>5.0866610403002834</c:v>
                </c:pt>
                <c:pt idx="1700">
                  <c:v>5.1612565767683538</c:v>
                </c:pt>
                <c:pt idx="1701">
                  <c:v>5.1289657007661784</c:v>
                </c:pt>
                <c:pt idx="1702">
                  <c:v>5.0057193827585973</c:v>
                </c:pt>
                <c:pt idx="1703">
                  <c:v>4.9247539079939395</c:v>
                </c:pt>
                <c:pt idx="1704">
                  <c:v>4.7889012007126341</c:v>
                </c:pt>
                <c:pt idx="1705">
                  <c:v>4.6666630909309115</c:v>
                </c:pt>
                <c:pt idx="1706">
                  <c:v>4.6444957577047763</c:v>
                </c:pt>
                <c:pt idx="1707">
                  <c:v>4.5129996297923078</c:v>
                </c:pt>
                <c:pt idx="1708">
                  <c:v>4.5017649052494066</c:v>
                </c:pt>
                <c:pt idx="1709">
                  <c:v>4.4141155043432541</c:v>
                </c:pt>
                <c:pt idx="1710">
                  <c:v>4.5344113390727845</c:v>
                </c:pt>
                <c:pt idx="1711">
                  <c:v>4.5779491534499197</c:v>
                </c:pt>
                <c:pt idx="1712">
                  <c:v>4.3478594052895918</c:v>
                </c:pt>
                <c:pt idx="1713">
                  <c:v>4.2587324671867721</c:v>
                </c:pt>
                <c:pt idx="1714">
                  <c:v>3.9875298124332117</c:v>
                </c:pt>
                <c:pt idx="1715">
                  <c:v>4.0203026318260457</c:v>
                </c:pt>
                <c:pt idx="1716">
                  <c:v>4.0868626068823453</c:v>
                </c:pt>
                <c:pt idx="1717">
                  <c:v>4.2644038503472785</c:v>
                </c:pt>
                <c:pt idx="1718">
                  <c:v>4.4416789677160757</c:v>
                </c:pt>
                <c:pt idx="1719">
                  <c:v>4.5543003678909528</c:v>
                </c:pt>
                <c:pt idx="1720">
                  <c:v>4.7826842826806804</c:v>
                </c:pt>
                <c:pt idx="1721">
                  <c:v>4.6594052408193241</c:v>
                </c:pt>
                <c:pt idx="1722">
                  <c:v>4.4940627451280433</c:v>
                </c:pt>
                <c:pt idx="1723">
                  <c:v>4.7240018663192176</c:v>
                </c:pt>
                <c:pt idx="1724">
                  <c:v>4.7635563090103323</c:v>
                </c:pt>
                <c:pt idx="1725">
                  <c:v>4.7665302177443527</c:v>
                </c:pt>
                <c:pt idx="1726">
                  <c:v>4.8187556998125007</c:v>
                </c:pt>
                <c:pt idx="1727">
                  <c:v>4.8682853940279696</c:v>
                </c:pt>
                <c:pt idx="1728">
                  <c:v>4.9551751341196679</c:v>
                </c:pt>
                <c:pt idx="1729">
                  <c:v>5.0307147377938843</c:v>
                </c:pt>
                <c:pt idx="1730">
                  <c:v>4.9324733627533375</c:v>
                </c:pt>
                <c:pt idx="1731">
                  <c:v>4.9398704324890934</c:v>
                </c:pt>
                <c:pt idx="1732">
                  <c:v>4.8025340239170431</c:v>
                </c:pt>
                <c:pt idx="1733">
                  <c:v>4.8385704268485306</c:v>
                </c:pt>
                <c:pt idx="1734">
                  <c:v>4.7903163031289511</c:v>
                </c:pt>
                <c:pt idx="1735">
                  <c:v>5.037844336576101</c:v>
                </c:pt>
                <c:pt idx="1736">
                  <c:v>4.8271671836026284</c:v>
                </c:pt>
                <c:pt idx="1737">
                  <c:v>4.9669420746030539</c:v>
                </c:pt>
                <c:pt idx="1738">
                  <c:v>4.9457114317319633</c:v>
                </c:pt>
                <c:pt idx="1739">
                  <c:v>4.7891104604562322</c:v>
                </c:pt>
                <c:pt idx="1740">
                  <c:v>4.6552017261187615</c:v>
                </c:pt>
                <c:pt idx="1741">
                  <c:v>4.8704028480972577</c:v>
                </c:pt>
                <c:pt idx="1742">
                  <c:v>4.6646843840217205</c:v>
                </c:pt>
                <c:pt idx="1743">
                  <c:v>4.6379187156565997</c:v>
                </c:pt>
                <c:pt idx="1744">
                  <c:v>4.2919995625032321</c:v>
                </c:pt>
                <c:pt idx="1745">
                  <c:v>4.0981592753426934</c:v>
                </c:pt>
                <c:pt idx="1746">
                  <c:v>3.8831904780105875</c:v>
                </c:pt>
                <c:pt idx="1747">
                  <c:v>3.936379067175932</c:v>
                </c:pt>
                <c:pt idx="1748">
                  <c:v>3.6466614817617806</c:v>
                </c:pt>
                <c:pt idx="1749">
                  <c:v>3.3457585866505686</c:v>
                </c:pt>
                <c:pt idx="1750">
                  <c:v>3.7740952482589294</c:v>
                </c:pt>
                <c:pt idx="1751">
                  <c:v>3.7837527502829573</c:v>
                </c:pt>
                <c:pt idx="1752">
                  <c:v>3.7202857798542555</c:v>
                </c:pt>
                <c:pt idx="1753">
                  <c:v>3.6976929974880091</c:v>
                </c:pt>
                <c:pt idx="1754">
                  <c:v>3.7139265441551603</c:v>
                </c:pt>
                <c:pt idx="1755">
                  <c:v>3.731630231532002</c:v>
                </c:pt>
                <c:pt idx="1756">
                  <c:v>3.7530597329647155</c:v>
                </c:pt>
                <c:pt idx="1757">
                  <c:v>3.7507223316523679</c:v>
                </c:pt>
                <c:pt idx="1758">
                  <c:v>3.6653313446954132</c:v>
                </c:pt>
                <c:pt idx="1759">
                  <c:v>3.4907738203107295</c:v>
                </c:pt>
                <c:pt idx="1760">
                  <c:v>3.559179672414825</c:v>
                </c:pt>
                <c:pt idx="1761">
                  <c:v>3.9885055177074977</c:v>
                </c:pt>
                <c:pt idx="1762">
                  <c:v>3.648422078182469</c:v>
                </c:pt>
                <c:pt idx="1763">
                  <c:v>3.6357537585476214</c:v>
                </c:pt>
                <c:pt idx="1764">
                  <c:v>3.7193829313482389</c:v>
                </c:pt>
                <c:pt idx="1765">
                  <c:v>3.698783890334377</c:v>
                </c:pt>
                <c:pt idx="1766">
                  <c:v>3.6868874918871031</c:v>
                </c:pt>
                <c:pt idx="1767">
                  <c:v>3.6651418635191271</c:v>
                </c:pt>
                <c:pt idx="1768">
                  <c:v>3.7049441805635746</c:v>
                </c:pt>
                <c:pt idx="1769">
                  <c:v>3.6344838120643304</c:v>
                </c:pt>
                <c:pt idx="1770">
                  <c:v>3.602884183106871</c:v>
                </c:pt>
                <c:pt idx="1771">
                  <c:v>3.564717630664354</c:v>
                </c:pt>
                <c:pt idx="1772">
                  <c:v>3.5689604303318174</c:v>
                </c:pt>
                <c:pt idx="1773">
                  <c:v>3.6438054813775325</c:v>
                </c:pt>
                <c:pt idx="1774">
                  <c:v>3.5723802797590549</c:v>
                </c:pt>
                <c:pt idx="1775">
                  <c:v>3.5743297989569407</c:v>
                </c:pt>
                <c:pt idx="1776">
                  <c:v>3.6587934737942018</c:v>
                </c:pt>
                <c:pt idx="1777">
                  <c:v>3.7588157790891374</c:v>
                </c:pt>
                <c:pt idx="1778">
                  <c:v>3.7563549275460879</c:v>
                </c:pt>
                <c:pt idx="1779">
                  <c:v>3.7314642046392921</c:v>
                </c:pt>
                <c:pt idx="1780">
                  <c:v>3.6725679219238017</c:v>
                </c:pt>
                <c:pt idx="1781">
                  <c:v>3.767687354508789</c:v>
                </c:pt>
                <c:pt idx="1782">
                  <c:v>3.6541563799960985</c:v>
                </c:pt>
                <c:pt idx="1783">
                  <c:v>3.5902728440324552</c:v>
                </c:pt>
                <c:pt idx="1784">
                  <c:v>3.4906630008377353</c:v>
                </c:pt>
                <c:pt idx="1785">
                  <c:v>3.415426509270866</c:v>
                </c:pt>
                <c:pt idx="1786">
                  <c:v>3.1633109979517235</c:v>
                </c:pt>
                <c:pt idx="1787">
                  <c:v>2.9213234491977667</c:v>
                </c:pt>
                <c:pt idx="1788">
                  <c:v>3.3300256711665837</c:v>
                </c:pt>
                <c:pt idx="1789">
                  <c:v>3.2328752894247028</c:v>
                </c:pt>
                <c:pt idx="1790">
                  <c:v>3.2325554730357857</c:v>
                </c:pt>
                <c:pt idx="1791">
                  <c:v>3.2576921979057096</c:v>
                </c:pt>
                <c:pt idx="1792">
                  <c:v>3.2473950777002631</c:v>
                </c:pt>
                <c:pt idx="1793">
                  <c:v>3.2269631763973727</c:v>
                </c:pt>
                <c:pt idx="1794">
                  <c:v>3.2619135145193083</c:v>
                </c:pt>
                <c:pt idx="1795">
                  <c:v>3.2815981701104495</c:v>
                </c:pt>
                <c:pt idx="1796">
                  <c:v>3.2344080052771842</c:v>
                </c:pt>
                <c:pt idx="1797">
                  <c:v>3.2549721334384962</c:v>
                </c:pt>
                <c:pt idx="1798">
                  <c:v>3.3500036892825231</c:v>
                </c:pt>
                <c:pt idx="1799">
                  <c:v>3.4810014036012005</c:v>
                </c:pt>
                <c:pt idx="1800">
                  <c:v>3.4821099838186074</c:v>
                </c:pt>
                <c:pt idx="1801">
                  <c:v>3.3901635277253797</c:v>
                </c:pt>
                <c:pt idx="1802">
                  <c:v>3.6079534974683312</c:v>
                </c:pt>
                <c:pt idx="1803">
                  <c:v>3.478661472838481</c:v>
                </c:pt>
                <c:pt idx="1804">
                  <c:v>3.4801728908708927</c:v>
                </c:pt>
                <c:pt idx="1805">
                  <c:v>3.3990271404009431</c:v>
                </c:pt>
                <c:pt idx="1806">
                  <c:v>3.4078053084348663</c:v>
                </c:pt>
                <c:pt idx="1807">
                  <c:v>3.3285279500643288</c:v>
                </c:pt>
                <c:pt idx="1808">
                  <c:v>3.3341306769052252</c:v>
                </c:pt>
                <c:pt idx="1809">
                  <c:v>3.1774870675311493</c:v>
                </c:pt>
                <c:pt idx="1810">
                  <c:v>3.5054619989317075</c:v>
                </c:pt>
                <c:pt idx="1811">
                  <c:v>3.2865491801000091</c:v>
                </c:pt>
                <c:pt idx="1812">
                  <c:v>3.2907054456278524</c:v>
                </c:pt>
                <c:pt idx="1813">
                  <c:v>3.2499931099008541</c:v>
                </c:pt>
                <c:pt idx="1814">
                  <c:v>3.2473208858087665</c:v>
                </c:pt>
                <c:pt idx="1815">
                  <c:v>3.2339321745179208</c:v>
                </c:pt>
                <c:pt idx="1816">
                  <c:v>3.1880498029735627</c:v>
                </c:pt>
                <c:pt idx="1817">
                  <c:v>3.1499326770206402</c:v>
                </c:pt>
                <c:pt idx="1818">
                  <c:v>3.1064224643843397</c:v>
                </c:pt>
                <c:pt idx="1819">
                  <c:v>3.255061983364719</c:v>
                </c:pt>
                <c:pt idx="1820">
                  <c:v>3.1772842978955849</c:v>
                </c:pt>
                <c:pt idx="1821">
                  <c:v>3.1878683298194113</c:v>
                </c:pt>
                <c:pt idx="1822">
                  <c:v>3.262888260936371</c:v>
                </c:pt>
                <c:pt idx="1823">
                  <c:v>3.1989876656837031</c:v>
                </c:pt>
                <c:pt idx="1824">
                  <c:v>3.1990281583243769</c:v>
                </c:pt>
                <c:pt idx="1825">
                  <c:v>3.1429932685551711</c:v>
                </c:pt>
                <c:pt idx="1826">
                  <c:v>3.1410355371150409</c:v>
                </c:pt>
                <c:pt idx="1827">
                  <c:v>3.0877345664071907</c:v>
                </c:pt>
                <c:pt idx="1828">
                  <c:v>3.093690627270353</c:v>
                </c:pt>
                <c:pt idx="1829">
                  <c:v>3.0423724497722029</c:v>
                </c:pt>
                <c:pt idx="1830">
                  <c:v>3.1325071408220659</c:v>
                </c:pt>
                <c:pt idx="1831">
                  <c:v>3.3227702701942836</c:v>
                </c:pt>
                <c:pt idx="1832">
                  <c:v>3.3659468220772575</c:v>
                </c:pt>
                <c:pt idx="1833">
                  <c:v>3.4379308679785199</c:v>
                </c:pt>
                <c:pt idx="1834">
                  <c:v>3.7530995081960512</c:v>
                </c:pt>
                <c:pt idx="1835">
                  <c:v>3.8331789038053277</c:v>
                </c:pt>
                <c:pt idx="1836">
                  <c:v>3.8627082272262765</c:v>
                </c:pt>
                <c:pt idx="1837">
                  <c:v>3.8947288184641908</c:v>
                </c:pt>
                <c:pt idx="1838">
                  <c:v>3.8906775533337274</c:v>
                </c:pt>
                <c:pt idx="1839">
                  <c:v>3.9168420171991651</c:v>
                </c:pt>
                <c:pt idx="1840">
                  <c:v>3.9034118370636199</c:v>
                </c:pt>
                <c:pt idx="1841">
                  <c:v>3.843661891328209</c:v>
                </c:pt>
                <c:pt idx="1842">
                  <c:v>4.0233468085422652</c:v>
                </c:pt>
                <c:pt idx="1843">
                  <c:v>3.8291680788694928</c:v>
                </c:pt>
                <c:pt idx="1844">
                  <c:v>3.7903660336028873</c:v>
                </c:pt>
                <c:pt idx="1845">
                  <c:v>3.7465902070482722</c:v>
                </c:pt>
                <c:pt idx="1846">
                  <c:v>3.6322092602377287</c:v>
                </c:pt>
                <c:pt idx="1847">
                  <c:v>3.766226091810684</c:v>
                </c:pt>
                <c:pt idx="1848">
                  <c:v>3.7201757931928006</c:v>
                </c:pt>
                <c:pt idx="1849">
                  <c:v>3.6823859150135481</c:v>
                </c:pt>
                <c:pt idx="1850">
                  <c:v>3.6375402659081053</c:v>
                </c:pt>
                <c:pt idx="1851">
                  <c:v>3.6415980570315032</c:v>
                </c:pt>
                <c:pt idx="1852">
                  <c:v>3.7064630672405672</c:v>
                </c:pt>
                <c:pt idx="1853">
                  <c:v>3.7380663197804593</c:v>
                </c:pt>
                <c:pt idx="1854">
                  <c:v>3.7430042975731808</c:v>
                </c:pt>
                <c:pt idx="1855">
                  <c:v>3.7545486717629943</c:v>
                </c:pt>
                <c:pt idx="1856">
                  <c:v>3.7278970082836369</c:v>
                </c:pt>
                <c:pt idx="1857">
                  <c:v>3.7316805123039964</c:v>
                </c:pt>
                <c:pt idx="1858">
                  <c:v>3.729700542650634</c:v>
                </c:pt>
                <c:pt idx="1859">
                  <c:v>3.7044344144363475</c:v>
                </c:pt>
                <c:pt idx="1860">
                  <c:v>3.7767665091446894</c:v>
                </c:pt>
                <c:pt idx="1861">
                  <c:v>3.8324653987703239</c:v>
                </c:pt>
                <c:pt idx="1862">
                  <c:v>3.8239633851989288</c:v>
                </c:pt>
                <c:pt idx="1863">
                  <c:v>3.5591213790591416</c:v>
                </c:pt>
                <c:pt idx="1864">
                  <c:v>3.3344037275890672</c:v>
                </c:pt>
                <c:pt idx="1865">
                  <c:v>3.6430987230558927</c:v>
                </c:pt>
                <c:pt idx="1866">
                  <c:v>3.664436455737103</c:v>
                </c:pt>
                <c:pt idx="1867">
                  <c:v>3.4877865896653435</c:v>
                </c:pt>
                <c:pt idx="1868">
                  <c:v>3.3105045535643329</c:v>
                </c:pt>
                <c:pt idx="1869">
                  <c:v>3.4904537325382252</c:v>
                </c:pt>
                <c:pt idx="1870">
                  <c:v>3.3894441150201975</c:v>
                </c:pt>
                <c:pt idx="1871">
                  <c:v>3.3129120664212905</c:v>
                </c:pt>
                <c:pt idx="1872">
                  <c:v>3.2836571253415037</c:v>
                </c:pt>
                <c:pt idx="1873">
                  <c:v>3.3411113641437153</c:v>
                </c:pt>
                <c:pt idx="1874">
                  <c:v>3.2891278070203014</c:v>
                </c:pt>
                <c:pt idx="1875">
                  <c:v>3.2749826739332204</c:v>
                </c:pt>
                <c:pt idx="1876">
                  <c:v>3.4225824177293398</c:v>
                </c:pt>
                <c:pt idx="1877">
                  <c:v>3.4880617764751207</c:v>
                </c:pt>
                <c:pt idx="1878">
                  <c:v>3.5908855053959576</c:v>
                </c:pt>
                <c:pt idx="1879">
                  <c:v>3.5445818656316996</c:v>
                </c:pt>
                <c:pt idx="1880">
                  <c:v>3.5659080401842211</c:v>
                </c:pt>
                <c:pt idx="1881">
                  <c:v>3.5613060153413385</c:v>
                </c:pt>
                <c:pt idx="1882">
                  <c:v>3.5641059864197775</c:v>
                </c:pt>
                <c:pt idx="1883">
                  <c:v>3.5682372613824684</c:v>
                </c:pt>
                <c:pt idx="1884">
                  <c:v>3.5672638453560235</c:v>
                </c:pt>
                <c:pt idx="1885">
                  <c:v>3.5798946610334337</c:v>
                </c:pt>
                <c:pt idx="1886">
                  <c:v>3.6759888414497639</c:v>
                </c:pt>
                <c:pt idx="1887">
                  <c:v>3.6814659188328633</c:v>
                </c:pt>
                <c:pt idx="1888">
                  <c:v>3.7019058461525494</c:v>
                </c:pt>
                <c:pt idx="1889">
                  <c:v>3.6660220597549364</c:v>
                </c:pt>
                <c:pt idx="1890">
                  <c:v>3.6365102340161761</c:v>
                </c:pt>
                <c:pt idx="1891">
                  <c:v>3.6548444250353906</c:v>
                </c:pt>
                <c:pt idx="1892">
                  <c:v>3.6209156910549747</c:v>
                </c:pt>
                <c:pt idx="1893">
                  <c:v>3.6582586115956812</c:v>
                </c:pt>
                <c:pt idx="1894">
                  <c:v>3.8303184027451325</c:v>
                </c:pt>
                <c:pt idx="1895">
                  <c:v>3.7952607299888013</c:v>
                </c:pt>
                <c:pt idx="1896">
                  <c:v>3.7013769362199054</c:v>
                </c:pt>
                <c:pt idx="1897">
                  <c:v>3.6978243333225196</c:v>
                </c:pt>
                <c:pt idx="1898">
                  <c:v>3.7783027039916974</c:v>
                </c:pt>
                <c:pt idx="1899">
                  <c:v>3.7873403303620305</c:v>
                </c:pt>
                <c:pt idx="1900">
                  <c:v>3.6819426795183023</c:v>
                </c:pt>
                <c:pt idx="1901">
                  <c:v>3.9386648925783692</c:v>
                </c:pt>
                <c:pt idx="1902">
                  <c:v>3.7252455956120802</c:v>
                </c:pt>
                <c:pt idx="1903">
                  <c:v>3.7523783811382612</c:v>
                </c:pt>
                <c:pt idx="1904">
                  <c:v>3.7249993568662116</c:v>
                </c:pt>
                <c:pt idx="1905">
                  <c:v>3.7260113423924497</c:v>
                </c:pt>
                <c:pt idx="1906">
                  <c:v>3.6774284805200628</c:v>
                </c:pt>
                <c:pt idx="1907">
                  <c:v>3.6636421173274076</c:v>
                </c:pt>
                <c:pt idx="1908">
                  <c:v>3.7178911864944086</c:v>
                </c:pt>
                <c:pt idx="1909">
                  <c:v>3.7252785777103403</c:v>
                </c:pt>
                <c:pt idx="1910">
                  <c:v>3.8040229742597145</c:v>
                </c:pt>
                <c:pt idx="1911">
                  <c:v>3.8228096045573912</c:v>
                </c:pt>
                <c:pt idx="1912">
                  <c:v>3.8270466905074603</c:v>
                </c:pt>
                <c:pt idx="1913">
                  <c:v>3.8546090839391711</c:v>
                </c:pt>
                <c:pt idx="1914">
                  <c:v>3.8373138731902259</c:v>
                </c:pt>
                <c:pt idx="1915">
                  <c:v>3.8425045389377606</c:v>
                </c:pt>
                <c:pt idx="1916">
                  <c:v>3.7711824935916067</c:v>
                </c:pt>
                <c:pt idx="1917">
                  <c:v>3.6877068393329906</c:v>
                </c:pt>
                <c:pt idx="1918">
                  <c:v>3.7961166322337481</c:v>
                </c:pt>
                <c:pt idx="1919">
                  <c:v>3.6572131694855203</c:v>
                </c:pt>
                <c:pt idx="1920">
                  <c:v>3.6247803977354902</c:v>
                </c:pt>
                <c:pt idx="1921">
                  <c:v>3.6732411375496303</c:v>
                </c:pt>
                <c:pt idx="1922">
                  <c:v>3.8077818888747688</c:v>
                </c:pt>
                <c:pt idx="1923">
                  <c:v>3.8152807776265631</c:v>
                </c:pt>
                <c:pt idx="1924">
                  <c:v>3.8349131989071248</c:v>
                </c:pt>
                <c:pt idx="1925">
                  <c:v>3.8090922171126356</c:v>
                </c:pt>
                <c:pt idx="1926">
                  <c:v>3.8170324684669894</c:v>
                </c:pt>
                <c:pt idx="1927">
                  <c:v>3.8142462530819818</c:v>
                </c:pt>
                <c:pt idx="1928">
                  <c:v>3.8173964494541073</c:v>
                </c:pt>
                <c:pt idx="1929">
                  <c:v>3.8144368887745999</c:v>
                </c:pt>
                <c:pt idx="1930">
                  <c:v>3.8648883322354779</c:v>
                </c:pt>
                <c:pt idx="1931">
                  <c:v>3.8643408666830212</c:v>
                </c:pt>
                <c:pt idx="1932">
                  <c:v>3.9539020885633072</c:v>
                </c:pt>
                <c:pt idx="1933">
                  <c:v>3.9773178680563599</c:v>
                </c:pt>
                <c:pt idx="1934">
                  <c:v>4.0805960899046871</c:v>
                </c:pt>
                <c:pt idx="1935">
                  <c:v>4.1715434887238425</c:v>
                </c:pt>
                <c:pt idx="1936">
                  <c:v>4.071368127636835</c:v>
                </c:pt>
                <c:pt idx="1937">
                  <c:v>3.9776884455943282</c:v>
                </c:pt>
                <c:pt idx="1938">
                  <c:v>3.7962094411589784</c:v>
                </c:pt>
                <c:pt idx="1939">
                  <c:v>3.8736987967001015</c:v>
                </c:pt>
                <c:pt idx="1940">
                  <c:v>3.214385432537529</c:v>
                </c:pt>
                <c:pt idx="1941">
                  <c:v>3.8819471926457165</c:v>
                </c:pt>
                <c:pt idx="1942">
                  <c:v>4.3407392635772482</c:v>
                </c:pt>
                <c:pt idx="1943">
                  <c:v>4.3425150029520916</c:v>
                </c:pt>
                <c:pt idx="1944">
                  <c:v>4.2324431646246721</c:v>
                </c:pt>
                <c:pt idx="1945">
                  <c:v>4.1478603801468292</c:v>
                </c:pt>
                <c:pt idx="1946">
                  <c:v>4.1279719234347922</c:v>
                </c:pt>
                <c:pt idx="1947">
                  <c:v>4.1376745276049549</c:v>
                </c:pt>
                <c:pt idx="1948">
                  <c:v>4.0413713461464917</c:v>
                </c:pt>
                <c:pt idx="1949">
                  <c:v>4.0263815955328122</c:v>
                </c:pt>
                <c:pt idx="1950">
                  <c:v>4.019027364814888</c:v>
                </c:pt>
                <c:pt idx="1951">
                  <c:v>4.0001279628920745</c:v>
                </c:pt>
                <c:pt idx="1952">
                  <c:v>3.9761276518508004</c:v>
                </c:pt>
                <c:pt idx="1953">
                  <c:v>3.9875770885705961</c:v>
                </c:pt>
                <c:pt idx="1954">
                  <c:v>3.9175111570118544</c:v>
                </c:pt>
                <c:pt idx="1955">
                  <c:v>3.8932741420589934</c:v>
                </c:pt>
                <c:pt idx="1956">
                  <c:v>3.8554212244035764</c:v>
                </c:pt>
                <c:pt idx="1957">
                  <c:v>3.887578884258335</c:v>
                </c:pt>
                <c:pt idx="1958">
                  <c:v>3.9083264235605273</c:v>
                </c:pt>
                <c:pt idx="1959">
                  <c:v>3.9549452861339409</c:v>
                </c:pt>
                <c:pt idx="1960">
                  <c:v>3.9171958586061564</c:v>
                </c:pt>
                <c:pt idx="1961">
                  <c:v>3.93180113971628</c:v>
                </c:pt>
                <c:pt idx="1962">
                  <c:v>3.9168611935352184</c:v>
                </c:pt>
                <c:pt idx="1963">
                  <c:v>3.9951486284002984</c:v>
                </c:pt>
                <c:pt idx="1964">
                  <c:v>3.812956839488006</c:v>
                </c:pt>
                <c:pt idx="1965">
                  <c:v>3.7940686738130376</c:v>
                </c:pt>
                <c:pt idx="1966">
                  <c:v>3.8511505422629213</c:v>
                </c:pt>
                <c:pt idx="1967">
                  <c:v>3.8418862886326801</c:v>
                </c:pt>
                <c:pt idx="1968">
                  <c:v>3.809650679821492</c:v>
                </c:pt>
                <c:pt idx="1969">
                  <c:v>3.7971065996052191</c:v>
                </c:pt>
                <c:pt idx="1970">
                  <c:v>3.7643856252030354</c:v>
                </c:pt>
                <c:pt idx="1971">
                  <c:v>3.7541082687673364</c:v>
                </c:pt>
                <c:pt idx="1972">
                  <c:v>3.7067521505571577</c:v>
                </c:pt>
                <c:pt idx="1973">
                  <c:v>3.6958500100692735</c:v>
                </c:pt>
                <c:pt idx="1974">
                  <c:v>3.5680069644913903</c:v>
                </c:pt>
                <c:pt idx="1975">
                  <c:v>3.8656944036594845</c:v>
                </c:pt>
                <c:pt idx="1976">
                  <c:v>3.8895832970497102</c:v>
                </c:pt>
                <c:pt idx="1977">
                  <c:v>3.960773896206077</c:v>
                </c:pt>
                <c:pt idx="1978">
                  <c:v>3.5028460653911817</c:v>
                </c:pt>
                <c:pt idx="1979">
                  <c:v>3.501015272795716</c:v>
                </c:pt>
                <c:pt idx="1980">
                  <c:v>3.832343959637345</c:v>
                </c:pt>
                <c:pt idx="1981">
                  <c:v>3.6764339086413078</c:v>
                </c:pt>
                <c:pt idx="1982">
                  <c:v>3.6676336714851883</c:v>
                </c:pt>
                <c:pt idx="1983">
                  <c:v>3.7602522214488849</c:v>
                </c:pt>
                <c:pt idx="1984">
                  <c:v>3.7966482098206207</c:v>
                </c:pt>
                <c:pt idx="1985">
                  <c:v>3.8028238309173825</c:v>
                </c:pt>
                <c:pt idx="1986">
                  <c:v>3.7317496479697807</c:v>
                </c:pt>
                <c:pt idx="1987">
                  <c:v>3.6831890177726154</c:v>
                </c:pt>
                <c:pt idx="1988">
                  <c:v>3.5471967854740503</c:v>
                </c:pt>
                <c:pt idx="1989">
                  <c:v>3.5981952993441975</c:v>
                </c:pt>
                <c:pt idx="1990">
                  <c:v>3.52177543075357</c:v>
                </c:pt>
                <c:pt idx="1991">
                  <c:v>3.4508576989735711</c:v>
                </c:pt>
                <c:pt idx="1992">
                  <c:v>3.4661813421137602</c:v>
                </c:pt>
                <c:pt idx="1993">
                  <c:v>3.5808006839408035</c:v>
                </c:pt>
                <c:pt idx="1994">
                  <c:v>3.5788948040793658</c:v>
                </c:pt>
                <c:pt idx="1995">
                  <c:v>3.5535644739550514</c:v>
                </c:pt>
                <c:pt idx="1996">
                  <c:v>3.5585977233995663</c:v>
                </c:pt>
                <c:pt idx="1997">
                  <c:v>3.5433156493992257</c:v>
                </c:pt>
                <c:pt idx="1998">
                  <c:v>3.5366074096037901</c:v>
                </c:pt>
                <c:pt idx="1999">
                  <c:v>3.5287139188923553</c:v>
                </c:pt>
                <c:pt idx="2000">
                  <c:v>3.543216161164918</c:v>
                </c:pt>
                <c:pt idx="2001">
                  <c:v>3.5149150044339441</c:v>
                </c:pt>
                <c:pt idx="2002">
                  <c:v>3.5347861818286774</c:v>
                </c:pt>
                <c:pt idx="2003">
                  <c:v>3.4343261170843613</c:v>
                </c:pt>
                <c:pt idx="2004">
                  <c:v>3.5087987086846257</c:v>
                </c:pt>
                <c:pt idx="2005">
                  <c:v>3.4082400193719153</c:v>
                </c:pt>
                <c:pt idx="2006">
                  <c:v>3.3908765198354889</c:v>
                </c:pt>
                <c:pt idx="2007">
                  <c:v>3.3448944063064836</c:v>
                </c:pt>
                <c:pt idx="2008">
                  <c:v>3.3430707955060086</c:v>
                </c:pt>
                <c:pt idx="2009">
                  <c:v>3.2260368955877432</c:v>
                </c:pt>
                <c:pt idx="2010">
                  <c:v>3.2373508483861348</c:v>
                </c:pt>
                <c:pt idx="2011">
                  <c:v>3.1591674914139269</c:v>
                </c:pt>
                <c:pt idx="2012">
                  <c:v>3.7171528840217123</c:v>
                </c:pt>
                <c:pt idx="2013">
                  <c:v>3.2915331056642732</c:v>
                </c:pt>
                <c:pt idx="2014">
                  <c:v>2.9299516504847523</c:v>
                </c:pt>
                <c:pt idx="2015">
                  <c:v>2.9549487954883578</c:v>
                </c:pt>
                <c:pt idx="2016">
                  <c:v>3.0624601803546572</c:v>
                </c:pt>
                <c:pt idx="2017">
                  <c:v>3.1584028221589757</c:v>
                </c:pt>
                <c:pt idx="2018">
                  <c:v>3.1914378713238256</c:v>
                </c:pt>
                <c:pt idx="2019">
                  <c:v>3.1905212256413051</c:v>
                </c:pt>
                <c:pt idx="2020">
                  <c:v>3.1994441473581947</c:v>
                </c:pt>
                <c:pt idx="2021">
                  <c:v>3.199198057056865</c:v>
                </c:pt>
                <c:pt idx="2022">
                  <c:v>3.1961018936805163</c:v>
                </c:pt>
                <c:pt idx="2023">
                  <c:v>3.1775293762741925</c:v>
                </c:pt>
                <c:pt idx="2024">
                  <c:v>3.2123433090912754</c:v>
                </c:pt>
                <c:pt idx="2025">
                  <c:v>3.1669192313884</c:v>
                </c:pt>
                <c:pt idx="2026">
                  <c:v>3.1648208815864738</c:v>
                </c:pt>
                <c:pt idx="2027">
                  <c:v>3.1522475901899103</c:v>
                </c:pt>
                <c:pt idx="2028">
                  <c:v>3.1494384554368406</c:v>
                </c:pt>
                <c:pt idx="2029">
                  <c:v>3.1594199030429211</c:v>
                </c:pt>
                <c:pt idx="2030">
                  <c:v>3.1731262064981163</c:v>
                </c:pt>
                <c:pt idx="2031">
                  <c:v>3.1560966174373455</c:v>
                </c:pt>
                <c:pt idx="2032">
                  <c:v>3.1513618642564363</c:v>
                </c:pt>
                <c:pt idx="2033">
                  <c:v>3.1457027130580637</c:v>
                </c:pt>
                <c:pt idx="2034">
                  <c:v>3.1583099865555955</c:v>
                </c:pt>
                <c:pt idx="2035">
                  <c:v>3.191871084883283</c:v>
                </c:pt>
                <c:pt idx="2036">
                  <c:v>3.1671702719479589</c:v>
                </c:pt>
                <c:pt idx="2037">
                  <c:v>3.163208142845948</c:v>
                </c:pt>
                <c:pt idx="2038">
                  <c:v>3.181052803920084</c:v>
                </c:pt>
                <c:pt idx="2039">
                  <c:v>3.1741379700745456</c:v>
                </c:pt>
                <c:pt idx="2040">
                  <c:v>3.137389025627622</c:v>
                </c:pt>
                <c:pt idx="2041">
                  <c:v>3.1348794093328638</c:v>
                </c:pt>
                <c:pt idx="2042">
                  <c:v>3.191116826690469</c:v>
                </c:pt>
                <c:pt idx="2043">
                  <c:v>3.1489900095488683</c:v>
                </c:pt>
                <c:pt idx="2044">
                  <c:v>3.1408608636109907</c:v>
                </c:pt>
                <c:pt idx="2045">
                  <c:v>3.0812394662718954</c:v>
                </c:pt>
                <c:pt idx="2046">
                  <c:v>3.0849283756193073</c:v>
                </c:pt>
                <c:pt idx="2047">
                  <c:v>3.0616050769493741</c:v>
                </c:pt>
                <c:pt idx="2048">
                  <c:v>2.8809094383004115</c:v>
                </c:pt>
                <c:pt idx="2049">
                  <c:v>2.9650224956012257</c:v>
                </c:pt>
                <c:pt idx="2050">
                  <c:v>3.0991956057512913</c:v>
                </c:pt>
                <c:pt idx="2051">
                  <c:v>3.1381193125061304</c:v>
                </c:pt>
                <c:pt idx="2052">
                  <c:v>3.1989038290880192</c:v>
                </c:pt>
                <c:pt idx="2053">
                  <c:v>3.4224285722314596</c:v>
                </c:pt>
                <c:pt idx="2054">
                  <c:v>3.6795689955113238</c:v>
                </c:pt>
                <c:pt idx="2055">
                  <c:v>3.5541971590294397</c:v>
                </c:pt>
                <c:pt idx="2056">
                  <c:v>3.5776446476576687</c:v>
                </c:pt>
                <c:pt idx="2057">
                  <c:v>3.5954759145340374</c:v>
                </c:pt>
                <c:pt idx="2058">
                  <c:v>3.5947381093681474</c:v>
                </c:pt>
                <c:pt idx="2059">
                  <c:v>3.6049228955321735</c:v>
                </c:pt>
                <c:pt idx="2060">
                  <c:v>3.594923847378265</c:v>
                </c:pt>
                <c:pt idx="2061">
                  <c:v>3.368812550803375</c:v>
                </c:pt>
                <c:pt idx="2062">
                  <c:v>3.4273191594165602</c:v>
                </c:pt>
                <c:pt idx="2063">
                  <c:v>3.5176849048081058</c:v>
                </c:pt>
                <c:pt idx="2064">
                  <c:v>3.5663215921162434</c:v>
                </c:pt>
                <c:pt idx="2065">
                  <c:v>3.5681327010853687</c:v>
                </c:pt>
                <c:pt idx="2066">
                  <c:v>3.5473625912854345</c:v>
                </c:pt>
                <c:pt idx="2067">
                  <c:v>3.543698984490689</c:v>
                </c:pt>
                <c:pt idx="2068">
                  <c:v>3.5062598357174291</c:v>
                </c:pt>
                <c:pt idx="2069">
                  <c:v>3.3650242352378852</c:v>
                </c:pt>
                <c:pt idx="2070">
                  <c:v>3.267348680322812</c:v>
                </c:pt>
                <c:pt idx="2071">
                  <c:v>3.2121752232635794</c:v>
                </c:pt>
                <c:pt idx="2072">
                  <c:v>3.1588813510696476</c:v>
                </c:pt>
                <c:pt idx="2073">
                  <c:v>3.0843141231919766</c:v>
                </c:pt>
                <c:pt idx="2074">
                  <c:v>3.1129790760937586</c:v>
                </c:pt>
                <c:pt idx="2075">
                  <c:v>3.0264391117986431</c:v>
                </c:pt>
                <c:pt idx="2076">
                  <c:v>3.1127282849146631</c:v>
                </c:pt>
                <c:pt idx="2077">
                  <c:v>2.997242545909927</c:v>
                </c:pt>
                <c:pt idx="2078">
                  <c:v>2.9748159267350642</c:v>
                </c:pt>
                <c:pt idx="2079">
                  <c:v>2.8767438207537679</c:v>
                </c:pt>
                <c:pt idx="2080">
                  <c:v>2.8469658160618967</c:v>
                </c:pt>
                <c:pt idx="2081">
                  <c:v>2.8356531967243095</c:v>
                </c:pt>
                <c:pt idx="2082">
                  <c:v>2.8646654789544659</c:v>
                </c:pt>
                <c:pt idx="2083">
                  <c:v>2.8065285872800367</c:v>
                </c:pt>
                <c:pt idx="2084">
                  <c:v>2.7967278163598084</c:v>
                </c:pt>
                <c:pt idx="2085">
                  <c:v>2.8354188913554461</c:v>
                </c:pt>
                <c:pt idx="2086">
                  <c:v>2.7675894508772685</c:v>
                </c:pt>
                <c:pt idx="2087">
                  <c:v>2.711357646269736</c:v>
                </c:pt>
                <c:pt idx="2088">
                  <c:v>2.6509630004001759</c:v>
                </c:pt>
                <c:pt idx="2089">
                  <c:v>2.5631228593036339</c:v>
                </c:pt>
                <c:pt idx="2090">
                  <c:v>2.5434432320619673</c:v>
                </c:pt>
                <c:pt idx="2091">
                  <c:v>2.6116184266472806</c:v>
                </c:pt>
                <c:pt idx="2092">
                  <c:v>2.6406983581843066</c:v>
                </c:pt>
                <c:pt idx="2093">
                  <c:v>2.5821628316416967</c:v>
                </c:pt>
                <c:pt idx="2094">
                  <c:v>2.6405060709738137</c:v>
                </c:pt>
                <c:pt idx="2095">
                  <c:v>2.6013970407899309</c:v>
                </c:pt>
                <c:pt idx="2096">
                  <c:v>2.583735285999913</c:v>
                </c:pt>
                <c:pt idx="2097">
                  <c:v>2.610230885893321</c:v>
                </c:pt>
                <c:pt idx="2098">
                  <c:v>2.7838071226460857</c:v>
                </c:pt>
                <c:pt idx="2099">
                  <c:v>2.7787254397202807</c:v>
                </c:pt>
                <c:pt idx="2100">
                  <c:v>2.7106969839495756</c:v>
                </c:pt>
                <c:pt idx="2101">
                  <c:v>2.761549079692831</c:v>
                </c:pt>
                <c:pt idx="2102">
                  <c:v>2.682030567711327</c:v>
                </c:pt>
                <c:pt idx="2103">
                  <c:v>2.7901411145139581</c:v>
                </c:pt>
                <c:pt idx="2104">
                  <c:v>2.8350451207531076</c:v>
                </c:pt>
                <c:pt idx="2105">
                  <c:v>2.7996744897950472</c:v>
                </c:pt>
                <c:pt idx="2106">
                  <c:v>2.8809145848144366</c:v>
                </c:pt>
                <c:pt idx="2107">
                  <c:v>2.8550845577455135</c:v>
                </c:pt>
                <c:pt idx="2108">
                  <c:v>2.8535104728513718</c:v>
                </c:pt>
                <c:pt idx="2109">
                  <c:v>2.8288425828713577</c:v>
                </c:pt>
                <c:pt idx="2110">
                  <c:v>2.9338595890420187</c:v>
                </c:pt>
                <c:pt idx="2111">
                  <c:v>2.959734951692405</c:v>
                </c:pt>
                <c:pt idx="2112">
                  <c:v>2.9880024393040108</c:v>
                </c:pt>
                <c:pt idx="2113">
                  <c:v>2.9815150979173213</c:v>
                </c:pt>
                <c:pt idx="2114">
                  <c:v>2.9486225637731351</c:v>
                </c:pt>
                <c:pt idx="2115">
                  <c:v>2.9177577138314326</c:v>
                </c:pt>
                <c:pt idx="2116">
                  <c:v>2.7973385661510761</c:v>
                </c:pt>
                <c:pt idx="2117">
                  <c:v>2.8451632928075439</c:v>
                </c:pt>
                <c:pt idx="2118">
                  <c:v>2.8450557342286387</c:v>
                </c:pt>
                <c:pt idx="2119">
                  <c:v>2.8000369137619066</c:v>
                </c:pt>
                <c:pt idx="2120">
                  <c:v>2.7819319113546874</c:v>
                </c:pt>
                <c:pt idx="2121">
                  <c:v>2.6468471888994927</c:v>
                </c:pt>
                <c:pt idx="2122">
                  <c:v>2.6555678303822186</c:v>
                </c:pt>
                <c:pt idx="2123">
                  <c:v>2.7005597402395871</c:v>
                </c:pt>
                <c:pt idx="2124">
                  <c:v>2.763468701689991</c:v>
                </c:pt>
                <c:pt idx="2125">
                  <c:v>2.7148064694521126</c:v>
                </c:pt>
                <c:pt idx="2126">
                  <c:v>2.7101301898034276</c:v>
                </c:pt>
                <c:pt idx="2127">
                  <c:v>2.6893025452374735</c:v>
                </c:pt>
                <c:pt idx="2128">
                  <c:v>2.7560157554023332</c:v>
                </c:pt>
                <c:pt idx="2129">
                  <c:v>2.8698915463237036</c:v>
                </c:pt>
                <c:pt idx="2130">
                  <c:v>2.9720427389229265</c:v>
                </c:pt>
                <c:pt idx="2131">
                  <c:v>2.7977109692981164</c:v>
                </c:pt>
                <c:pt idx="2132">
                  <c:v>2.7162009854452984</c:v>
                </c:pt>
                <c:pt idx="2133">
                  <c:v>2.7842841074163029</c:v>
                </c:pt>
                <c:pt idx="2134">
                  <c:v>2.502379352840804</c:v>
                </c:pt>
                <c:pt idx="2135">
                  <c:v>2.3800838636013464</c:v>
                </c:pt>
                <c:pt idx="2136">
                  <c:v>2.4473045920049561</c:v>
                </c:pt>
                <c:pt idx="2137">
                  <c:v>2.7652377798745511</c:v>
                </c:pt>
                <c:pt idx="2138">
                  <c:v>2.8382988498916917</c:v>
                </c:pt>
                <c:pt idx="2139">
                  <c:v>2.8455287520443213</c:v>
                </c:pt>
                <c:pt idx="2140">
                  <c:v>2.9149717582445049</c:v>
                </c:pt>
                <c:pt idx="2141">
                  <c:v>2.7674037562789744</c:v>
                </c:pt>
                <c:pt idx="2142">
                  <c:v>2.729073219694941</c:v>
                </c:pt>
                <c:pt idx="2143">
                  <c:v>2.6884823218456826</c:v>
                </c:pt>
                <c:pt idx="2144">
                  <c:v>2.735003202371614</c:v>
                </c:pt>
                <c:pt idx="2145">
                  <c:v>2.7348983742354696</c:v>
                </c:pt>
                <c:pt idx="2146">
                  <c:v>2.7508396807214952</c:v>
                </c:pt>
                <c:pt idx="2147">
                  <c:v>2.7185375284033424</c:v>
                </c:pt>
                <c:pt idx="2148">
                  <c:v>2.7208641121377211</c:v>
                </c:pt>
                <c:pt idx="2149">
                  <c:v>2.7247029127989855</c:v>
                </c:pt>
                <c:pt idx="2150">
                  <c:v>2.7182551595419868</c:v>
                </c:pt>
                <c:pt idx="2151">
                  <c:v>2.7210020172016187</c:v>
                </c:pt>
                <c:pt idx="2152">
                  <c:v>2.7195496436068671</c:v>
                </c:pt>
                <c:pt idx="2153">
                  <c:v>2.7189928828360834</c:v>
                </c:pt>
                <c:pt idx="2154">
                  <c:v>2.7173496958995784</c:v>
                </c:pt>
                <c:pt idx="2155">
                  <c:v>2.7176458640444263</c:v>
                </c:pt>
                <c:pt idx="2156">
                  <c:v>2.6919506811435112</c:v>
                </c:pt>
                <c:pt idx="2157">
                  <c:v>2.727969855089341</c:v>
                </c:pt>
                <c:pt idx="2158">
                  <c:v>2.663253896981892</c:v>
                </c:pt>
                <c:pt idx="2159">
                  <c:v>2.6574755720068497</c:v>
                </c:pt>
                <c:pt idx="2160">
                  <c:v>2.6613280990696979</c:v>
                </c:pt>
                <c:pt idx="2161">
                  <c:v>2.6405589328773424</c:v>
                </c:pt>
                <c:pt idx="2162">
                  <c:v>2.6030235393034289</c:v>
                </c:pt>
                <c:pt idx="2163">
                  <c:v>2.5579895815204883</c:v>
                </c:pt>
                <c:pt idx="2164">
                  <c:v>2.5489736532353859</c:v>
                </c:pt>
                <c:pt idx="2165">
                  <c:v>2.5846092993069267</c:v>
                </c:pt>
                <c:pt idx="2166">
                  <c:v>2.5221390674438462</c:v>
                </c:pt>
                <c:pt idx="2167">
                  <c:v>2.4418003641334609</c:v>
                </c:pt>
                <c:pt idx="2168">
                  <c:v>2.4237999866859665</c:v>
                </c:pt>
                <c:pt idx="2169">
                  <c:v>2.4326715741641216</c:v>
                </c:pt>
                <c:pt idx="2170">
                  <c:v>2.4504799048956056</c:v>
                </c:pt>
                <c:pt idx="2171">
                  <c:v>2.4682610145025734</c:v>
                </c:pt>
                <c:pt idx="2172">
                  <c:v>2.4860418577569257</c:v>
                </c:pt>
                <c:pt idx="2173">
                  <c:v>2.5318779792938333</c:v>
                </c:pt>
                <c:pt idx="2174">
                  <c:v>2.5346674609897586</c:v>
                </c:pt>
                <c:pt idx="2175">
                  <c:v>2.5976986792489209</c:v>
                </c:pt>
                <c:pt idx="2176">
                  <c:v>2.5428499500400084</c:v>
                </c:pt>
                <c:pt idx="2177">
                  <c:v>2.6444358585984094</c:v>
                </c:pt>
                <c:pt idx="2178">
                  <c:v>2.6819473708584778</c:v>
                </c:pt>
                <c:pt idx="2179">
                  <c:v>2.6874474039568454</c:v>
                </c:pt>
                <c:pt idx="2180">
                  <c:v>2.8665984836270173</c:v>
                </c:pt>
                <c:pt idx="2181">
                  <c:v>2.9277913776249793</c:v>
                </c:pt>
                <c:pt idx="2182">
                  <c:v>2.916938457511705</c:v>
                </c:pt>
                <c:pt idx="2183">
                  <c:v>2.8698885794192752</c:v>
                </c:pt>
                <c:pt idx="2184">
                  <c:v>2.9062331531002776</c:v>
                </c:pt>
                <c:pt idx="2185">
                  <c:v>3.1023940332914171</c:v>
                </c:pt>
                <c:pt idx="2186">
                  <c:v>3.1126298935058596</c:v>
                </c:pt>
                <c:pt idx="2187">
                  <c:v>3.1016603454460028</c:v>
                </c:pt>
                <c:pt idx="2188">
                  <c:v>3.0199534405056601</c:v>
                </c:pt>
                <c:pt idx="2189">
                  <c:v>2.9296486101378227</c:v>
                </c:pt>
                <c:pt idx="2190">
                  <c:v>2.9283073790507013</c:v>
                </c:pt>
                <c:pt idx="2191">
                  <c:v>2.9938682342055492</c:v>
                </c:pt>
                <c:pt idx="2192">
                  <c:v>3.037430988066252</c:v>
                </c:pt>
                <c:pt idx="2193">
                  <c:v>3.0482582150835147</c:v>
                </c:pt>
                <c:pt idx="2194">
                  <c:v>3.0831565652219748</c:v>
                </c:pt>
                <c:pt idx="2195">
                  <c:v>3.0709530077953038</c:v>
                </c:pt>
                <c:pt idx="2196">
                  <c:v>3.0797673397479484</c:v>
                </c:pt>
                <c:pt idx="2197">
                  <c:v>3.0909441200921393</c:v>
                </c:pt>
                <c:pt idx="2198">
                  <c:v>3.0892779945643483</c:v>
                </c:pt>
                <c:pt idx="2199">
                  <c:v>3.0828877712452503</c:v>
                </c:pt>
                <c:pt idx="2200">
                  <c:v>3.0650418674228708</c:v>
                </c:pt>
                <c:pt idx="2201">
                  <c:v>3.1097335693516044</c:v>
                </c:pt>
                <c:pt idx="2202">
                  <c:v>2.9477219994248487</c:v>
                </c:pt>
                <c:pt idx="2203">
                  <c:v>2.941702332604911</c:v>
                </c:pt>
                <c:pt idx="2204">
                  <c:v>3.0023840794511911</c:v>
                </c:pt>
                <c:pt idx="2205">
                  <c:v>2.9917400304091237</c:v>
                </c:pt>
                <c:pt idx="2206">
                  <c:v>2.9784160255878906</c:v>
                </c:pt>
                <c:pt idx="2207">
                  <c:v>2.9597418084234506</c:v>
                </c:pt>
                <c:pt idx="2208">
                  <c:v>3.0036952673776391</c:v>
                </c:pt>
                <c:pt idx="2209">
                  <c:v>3.4242895460448168</c:v>
                </c:pt>
                <c:pt idx="2210">
                  <c:v>3.4163466408774688</c:v>
                </c:pt>
                <c:pt idx="2211">
                  <c:v>3.6001658857510415</c:v>
                </c:pt>
                <c:pt idx="2212">
                  <c:v>3.315497066211325</c:v>
                </c:pt>
                <c:pt idx="2213">
                  <c:v>3.2780728256968521</c:v>
                </c:pt>
                <c:pt idx="2214">
                  <c:v>3.0888218660523843</c:v>
                </c:pt>
                <c:pt idx="2215">
                  <c:v>2.8076300578568101</c:v>
                </c:pt>
                <c:pt idx="2216">
                  <c:v>2.887499157334025</c:v>
                </c:pt>
                <c:pt idx="2217">
                  <c:v>2.8099036983303476</c:v>
                </c:pt>
                <c:pt idx="2218">
                  <c:v>3.1252094989375334</c:v>
                </c:pt>
                <c:pt idx="2219">
                  <c:v>3.4001934780353662</c:v>
                </c:pt>
                <c:pt idx="2220">
                  <c:v>3.3953296580250791</c:v>
                </c:pt>
                <c:pt idx="2221">
                  <c:v>3.3024299582796166</c:v>
                </c:pt>
                <c:pt idx="2222">
                  <c:v>3.2362794762266649</c:v>
                </c:pt>
                <c:pt idx="2223">
                  <c:v>3.2438785579749947</c:v>
                </c:pt>
                <c:pt idx="2224">
                  <c:v>3.1887191658357836</c:v>
                </c:pt>
                <c:pt idx="2225">
                  <c:v>3.1380287104587583</c:v>
                </c:pt>
                <c:pt idx="2226">
                  <c:v>3.3247798308355891</c:v>
                </c:pt>
                <c:pt idx="2227">
                  <c:v>3.2455577736650101</c:v>
                </c:pt>
                <c:pt idx="2228">
                  <c:v>3.2490016230046663</c:v>
                </c:pt>
                <c:pt idx="2229">
                  <c:v>3.2426694608740356</c:v>
                </c:pt>
                <c:pt idx="2230">
                  <c:v>3.2411489352760299</c:v>
                </c:pt>
                <c:pt idx="2231">
                  <c:v>3.2454272447979697</c:v>
                </c:pt>
                <c:pt idx="2232">
                  <c:v>3.243372524408958</c:v>
                </c:pt>
                <c:pt idx="2233">
                  <c:v>3.2348431610248554</c:v>
                </c:pt>
                <c:pt idx="2234">
                  <c:v>3.2110987039703014</c:v>
                </c:pt>
                <c:pt idx="2235">
                  <c:v>3.2582656863757924</c:v>
                </c:pt>
                <c:pt idx="2236">
                  <c:v>3.2438473454256211</c:v>
                </c:pt>
                <c:pt idx="2237">
                  <c:v>3.2346608222506568</c:v>
                </c:pt>
                <c:pt idx="2238">
                  <c:v>3.2400826339904145</c:v>
                </c:pt>
                <c:pt idx="2239">
                  <c:v>3.2340707485200411</c:v>
                </c:pt>
                <c:pt idx="2240">
                  <c:v>3.2219883148177537</c:v>
                </c:pt>
                <c:pt idx="2241">
                  <c:v>3.2193788339840648</c:v>
                </c:pt>
                <c:pt idx="2242">
                  <c:v>3.1930806995396619</c:v>
                </c:pt>
                <c:pt idx="2243">
                  <c:v>3.2007437520009976</c:v>
                </c:pt>
                <c:pt idx="2244">
                  <c:v>3.2905067897625955</c:v>
                </c:pt>
                <c:pt idx="2245">
                  <c:v>3.3891837119112775</c:v>
                </c:pt>
                <c:pt idx="2246">
                  <c:v>3.3810303493504357</c:v>
                </c:pt>
                <c:pt idx="2247">
                  <c:v>3.3507817451875117</c:v>
                </c:pt>
                <c:pt idx="2248">
                  <c:v>3.3559954346174647</c:v>
                </c:pt>
                <c:pt idx="2249">
                  <c:v>3.3493178185059311</c:v>
                </c:pt>
                <c:pt idx="2250">
                  <c:v>3.3398795097443594</c:v>
                </c:pt>
                <c:pt idx="2251">
                  <c:v>3.3539169492904359</c:v>
                </c:pt>
                <c:pt idx="2252">
                  <c:v>3.3263608661730042</c:v>
                </c:pt>
                <c:pt idx="2253">
                  <c:v>3.3224617727661538</c:v>
                </c:pt>
                <c:pt idx="2254">
                  <c:v>3.2941384925327903</c:v>
                </c:pt>
                <c:pt idx="2255">
                  <c:v>3.2538755048416381</c:v>
                </c:pt>
                <c:pt idx="2256">
                  <c:v>3.2695320498223452</c:v>
                </c:pt>
                <c:pt idx="2257">
                  <c:v>3.2352388200774427</c:v>
                </c:pt>
                <c:pt idx="2258">
                  <c:v>3.3247261724730492</c:v>
                </c:pt>
                <c:pt idx="2259">
                  <c:v>3.4700523843673596</c:v>
                </c:pt>
                <c:pt idx="2260">
                  <c:v>3.3967382469203056</c:v>
                </c:pt>
                <c:pt idx="2261">
                  <c:v>3.4726301023137913</c:v>
                </c:pt>
                <c:pt idx="2262">
                  <c:v>3.4687628650606985</c:v>
                </c:pt>
                <c:pt idx="2263">
                  <c:v>3.5412780644737758</c:v>
                </c:pt>
                <c:pt idx="2264">
                  <c:v>3.5260432588236399</c:v>
                </c:pt>
                <c:pt idx="2265">
                  <c:v>3.5683951356365111</c:v>
                </c:pt>
                <c:pt idx="2266">
                  <c:v>3.6876029227930887</c:v>
                </c:pt>
                <c:pt idx="2267">
                  <c:v>3.7569095204427705</c:v>
                </c:pt>
                <c:pt idx="2268">
                  <c:v>3.7567179200796237</c:v>
                </c:pt>
                <c:pt idx="2269">
                  <c:v>3.7354164859872023</c:v>
                </c:pt>
                <c:pt idx="2270">
                  <c:v>3.7617309620328006</c:v>
                </c:pt>
                <c:pt idx="2271">
                  <c:v>3.7833722824764324</c:v>
                </c:pt>
                <c:pt idx="2272">
                  <c:v>3.7976961618914515</c:v>
                </c:pt>
                <c:pt idx="2273">
                  <c:v>3.7356281358461034</c:v>
                </c:pt>
                <c:pt idx="2274">
                  <c:v>3.7151670679860778</c:v>
                </c:pt>
                <c:pt idx="2275">
                  <c:v>3.7118110411123504</c:v>
                </c:pt>
                <c:pt idx="2276">
                  <c:v>3.6891525091977231</c:v>
                </c:pt>
                <c:pt idx="2277">
                  <c:v>3.687885655456987</c:v>
                </c:pt>
                <c:pt idx="2278">
                  <c:v>3.6339328254616068</c:v>
                </c:pt>
                <c:pt idx="2279">
                  <c:v>3.6553763859493564</c:v>
                </c:pt>
                <c:pt idx="2280">
                  <c:v>3.5654627173318199</c:v>
                </c:pt>
                <c:pt idx="2281">
                  <c:v>3.5725951757664922</c:v>
                </c:pt>
                <c:pt idx="2282">
                  <c:v>3.4716044532627897</c:v>
                </c:pt>
                <c:pt idx="2283">
                  <c:v>3.3355005308353491</c:v>
                </c:pt>
                <c:pt idx="2284">
                  <c:v>3.3352132881859302</c:v>
                </c:pt>
                <c:pt idx="2285">
                  <c:v>3.2734457233046528</c:v>
                </c:pt>
                <c:pt idx="2286">
                  <c:v>3.3844869116199479</c:v>
                </c:pt>
                <c:pt idx="2287">
                  <c:v>3.32745526999474</c:v>
                </c:pt>
                <c:pt idx="2288">
                  <c:v>3.2591866631206883</c:v>
                </c:pt>
                <c:pt idx="2289">
                  <c:v>3.2703989832170146</c:v>
                </c:pt>
                <c:pt idx="2290">
                  <c:v>3.2022337358409136</c:v>
                </c:pt>
                <c:pt idx="2291">
                  <c:v>3.1907401443688159</c:v>
                </c:pt>
                <c:pt idx="2292">
                  <c:v>3.1566411405036541</c:v>
                </c:pt>
                <c:pt idx="2293">
                  <c:v>3.0543806657016477</c:v>
                </c:pt>
                <c:pt idx="2294">
                  <c:v>3.0541631386070192</c:v>
                </c:pt>
                <c:pt idx="2295">
                  <c:v>3.0201042871327286</c:v>
                </c:pt>
                <c:pt idx="2296">
                  <c:v>3.0200301932441254</c:v>
                </c:pt>
                <c:pt idx="2297">
                  <c:v>2.9973170117809604</c:v>
                </c:pt>
                <c:pt idx="2298">
                  <c:v>3.0199806000540454</c:v>
                </c:pt>
                <c:pt idx="2299">
                  <c:v>2.9972174447442179</c:v>
                </c:pt>
                <c:pt idx="2300">
                  <c:v>2.8722847726634302</c:v>
                </c:pt>
                <c:pt idx="2301">
                  <c:v>2.7244402784430477</c:v>
                </c:pt>
                <c:pt idx="2302">
                  <c:v>2.7695284830364697</c:v>
                </c:pt>
                <c:pt idx="2303">
                  <c:v>2.7353777392104894</c:v>
                </c:pt>
                <c:pt idx="2304">
                  <c:v>2.8374593746098338</c:v>
                </c:pt>
                <c:pt idx="2305">
                  <c:v>2.9961203972897459</c:v>
                </c:pt>
                <c:pt idx="2306">
                  <c:v>2.9263596336345716</c:v>
                </c:pt>
                <c:pt idx="2307">
                  <c:v>2.9140812863433108</c:v>
                </c:pt>
                <c:pt idx="2308">
                  <c:v>2.9468113549543826</c:v>
                </c:pt>
                <c:pt idx="2309">
                  <c:v>3.0438379725996834</c:v>
                </c:pt>
                <c:pt idx="2310">
                  <c:v>3.0429652227512389</c:v>
                </c:pt>
                <c:pt idx="2311">
                  <c:v>3.0611756749724917</c:v>
                </c:pt>
                <c:pt idx="2312">
                  <c:v>2.9899249597319657</c:v>
                </c:pt>
                <c:pt idx="2313">
                  <c:v>3.0982139869258414</c:v>
                </c:pt>
                <c:pt idx="2314">
                  <c:v>2.9914633349006978</c:v>
                </c:pt>
                <c:pt idx="2315">
                  <c:v>2.9957942897422924</c:v>
                </c:pt>
                <c:pt idx="2316">
                  <c:v>2.9680525184067412</c:v>
                </c:pt>
                <c:pt idx="2317">
                  <c:v>2.9362949140406749</c:v>
                </c:pt>
                <c:pt idx="2318">
                  <c:v>2.8865542133313844</c:v>
                </c:pt>
                <c:pt idx="2319">
                  <c:v>2.8588639678939409</c:v>
                </c:pt>
                <c:pt idx="2320">
                  <c:v>2.8213155033986799</c:v>
                </c:pt>
                <c:pt idx="2321">
                  <c:v>2.9049168473775637</c:v>
                </c:pt>
                <c:pt idx="2322">
                  <c:v>2.9645060753353176</c:v>
                </c:pt>
                <c:pt idx="2323">
                  <c:v>2.9379478102122016</c:v>
                </c:pt>
                <c:pt idx="2324">
                  <c:v>2.9308572819735632</c:v>
                </c:pt>
                <c:pt idx="2325">
                  <c:v>2.9246116214390656</c:v>
                </c:pt>
                <c:pt idx="2326">
                  <c:v>3.0168935757563236</c:v>
                </c:pt>
                <c:pt idx="2327">
                  <c:v>2.9575043217079213</c:v>
                </c:pt>
                <c:pt idx="2328">
                  <c:v>2.966792033255345</c:v>
                </c:pt>
                <c:pt idx="2329">
                  <c:v>2.7875088590107207</c:v>
                </c:pt>
                <c:pt idx="2330">
                  <c:v>2.7779357660488349</c:v>
                </c:pt>
                <c:pt idx="2331">
                  <c:v>2.6861729174000293</c:v>
                </c:pt>
                <c:pt idx="2332">
                  <c:v>2.688676981345639</c:v>
                </c:pt>
                <c:pt idx="2333">
                  <c:v>2.679317719159251</c:v>
                </c:pt>
                <c:pt idx="2334">
                  <c:v>2.6783676775926941</c:v>
                </c:pt>
                <c:pt idx="2335">
                  <c:v>2.6851088177829436</c:v>
                </c:pt>
                <c:pt idx="2336">
                  <c:v>2.6890876912896204</c:v>
                </c:pt>
                <c:pt idx="2337">
                  <c:v>2.6724925738877499</c:v>
                </c:pt>
                <c:pt idx="2338">
                  <c:v>2.6643023242161399</c:v>
                </c:pt>
                <c:pt idx="2339">
                  <c:v>2.5341775783235425</c:v>
                </c:pt>
                <c:pt idx="2340">
                  <c:v>2.4719008510645994</c:v>
                </c:pt>
                <c:pt idx="2341">
                  <c:v>2.6384051812663629</c:v>
                </c:pt>
                <c:pt idx="2342">
                  <c:v>2.4262256085152338</c:v>
                </c:pt>
                <c:pt idx="2343">
                  <c:v>2.4185075896289265</c:v>
                </c:pt>
                <c:pt idx="2344">
                  <c:v>2.3507993325279011</c:v>
                </c:pt>
                <c:pt idx="2345">
                  <c:v>2.4424315826981786</c:v>
                </c:pt>
                <c:pt idx="2346">
                  <c:v>2.625398301491694</c:v>
                </c:pt>
                <c:pt idx="2347">
                  <c:v>2.6407599593479416</c:v>
                </c:pt>
                <c:pt idx="2348">
                  <c:v>2.5745019923712826</c:v>
                </c:pt>
                <c:pt idx="2349">
                  <c:v>2.5167060967443948</c:v>
                </c:pt>
                <c:pt idx="2350">
                  <c:v>2.5137959733747395</c:v>
                </c:pt>
                <c:pt idx="2351">
                  <c:v>2.4233738864069294</c:v>
                </c:pt>
                <c:pt idx="2352">
                  <c:v>2.4412709561424903</c:v>
                </c:pt>
                <c:pt idx="2353">
                  <c:v>2.4412308667914608</c:v>
                </c:pt>
                <c:pt idx="2354">
                  <c:v>2.4231437418658714</c:v>
                </c:pt>
                <c:pt idx="2355">
                  <c:v>2.4411081235188004</c:v>
                </c:pt>
                <c:pt idx="2356">
                  <c:v>2.4188925434446724</c:v>
                </c:pt>
                <c:pt idx="2357">
                  <c:v>2.4254257725056494</c:v>
                </c:pt>
                <c:pt idx="2358">
                  <c:v>2.4320540298969724</c:v>
                </c:pt>
                <c:pt idx="2359">
                  <c:v>2.4320626886901988</c:v>
                </c:pt>
                <c:pt idx="2360">
                  <c:v>2.431077060487957</c:v>
                </c:pt>
                <c:pt idx="2361">
                  <c:v>2.4314257465316937</c:v>
                </c:pt>
                <c:pt idx="2362">
                  <c:v>2.4454333995283637</c:v>
                </c:pt>
                <c:pt idx="2363">
                  <c:v>2.4424991971475967</c:v>
                </c:pt>
                <c:pt idx="2364">
                  <c:v>2.435897428599386</c:v>
                </c:pt>
                <c:pt idx="2365">
                  <c:v>2.435170277425224</c:v>
                </c:pt>
                <c:pt idx="2366">
                  <c:v>2.4874746449004062</c:v>
                </c:pt>
                <c:pt idx="2367">
                  <c:v>2.4770899458420108</c:v>
                </c:pt>
                <c:pt idx="2368">
                  <c:v>2.4925676668432364</c:v>
                </c:pt>
                <c:pt idx="2369">
                  <c:v>2.4735870613456381</c:v>
                </c:pt>
                <c:pt idx="2370">
                  <c:v>2.4824975616417766</c:v>
                </c:pt>
                <c:pt idx="2371">
                  <c:v>2.6067252071883176</c:v>
                </c:pt>
                <c:pt idx="2372">
                  <c:v>2.6335730445170253</c:v>
                </c:pt>
                <c:pt idx="2373">
                  <c:v>2.5955623372647341</c:v>
                </c:pt>
                <c:pt idx="2374">
                  <c:v>2.6125816887547924</c:v>
                </c:pt>
                <c:pt idx="2375">
                  <c:v>2.7510094828799145</c:v>
                </c:pt>
                <c:pt idx="2376">
                  <c:v>2.8430078722894185</c:v>
                </c:pt>
                <c:pt idx="2377">
                  <c:v>2.9687518630685008</c:v>
                </c:pt>
                <c:pt idx="2378">
                  <c:v>2.7353883749988515</c:v>
                </c:pt>
                <c:pt idx="2379">
                  <c:v>2.7340936945190881</c:v>
                </c:pt>
                <c:pt idx="2380">
                  <c:v>2.5681340722696606</c:v>
                </c:pt>
                <c:pt idx="2381">
                  <c:v>2.5602268330593989</c:v>
                </c:pt>
                <c:pt idx="2382">
                  <c:v>2.4651826830574199</c:v>
                </c:pt>
                <c:pt idx="2383">
                  <c:v>2.5160332633320031</c:v>
                </c:pt>
                <c:pt idx="2384">
                  <c:v>2.7211551505382721</c:v>
                </c:pt>
                <c:pt idx="2385">
                  <c:v>2.6222098671483209</c:v>
                </c:pt>
                <c:pt idx="2386">
                  <c:v>2.7275041261572595</c:v>
                </c:pt>
                <c:pt idx="2387">
                  <c:v>2.7102877655051452</c:v>
                </c:pt>
                <c:pt idx="2388">
                  <c:v>2.4051348561323258</c:v>
                </c:pt>
                <c:pt idx="2389">
                  <c:v>2.5682218991715167</c:v>
                </c:pt>
                <c:pt idx="2390">
                  <c:v>2.3894528001183279</c:v>
                </c:pt>
                <c:pt idx="2391">
                  <c:v>2.5810006678279014</c:v>
                </c:pt>
                <c:pt idx="2392">
                  <c:v>2.2038802355854723</c:v>
                </c:pt>
                <c:pt idx="2393">
                  <c:v>2.3184020561322458</c:v>
                </c:pt>
                <c:pt idx="2394">
                  <c:v>2.4380941278709702</c:v>
                </c:pt>
                <c:pt idx="2395">
                  <c:v>2.5634335892607023</c:v>
                </c:pt>
                <c:pt idx="2396">
                  <c:v>2.6200821701119508</c:v>
                </c:pt>
                <c:pt idx="2397">
                  <c:v>2.6308049468035519</c:v>
                </c:pt>
                <c:pt idx="2398">
                  <c:v>2.5896417581143272</c:v>
                </c:pt>
                <c:pt idx="2399">
                  <c:v>2.5786292266453468</c:v>
                </c:pt>
                <c:pt idx="2400">
                  <c:v>2.5775915116890684</c:v>
                </c:pt>
                <c:pt idx="2401">
                  <c:v>2.4990209348330419</c:v>
                </c:pt>
                <c:pt idx="2402">
                  <c:v>2.5312646271837123</c:v>
                </c:pt>
                <c:pt idx="2403">
                  <c:v>2.5186656197344388</c:v>
                </c:pt>
                <c:pt idx="2404">
                  <c:v>2.5025873452398031</c:v>
                </c:pt>
                <c:pt idx="2405">
                  <c:v>2.507407397525995</c:v>
                </c:pt>
                <c:pt idx="2406">
                  <c:v>2.5039221317523359</c:v>
                </c:pt>
                <c:pt idx="2407">
                  <c:v>2.4912802208558382</c:v>
                </c:pt>
                <c:pt idx="2408">
                  <c:v>2.4816903333029798</c:v>
                </c:pt>
                <c:pt idx="2409">
                  <c:v>2.4772320825523098</c:v>
                </c:pt>
                <c:pt idx="2410">
                  <c:v>2.4336370989983647</c:v>
                </c:pt>
                <c:pt idx="2411">
                  <c:v>2.4395918394094167</c:v>
                </c:pt>
                <c:pt idx="2412">
                  <c:v>2.4744014660179188</c:v>
                </c:pt>
                <c:pt idx="2413">
                  <c:v>2.5074132966511629</c:v>
                </c:pt>
                <c:pt idx="2414">
                  <c:v>2.4740979803092866</c:v>
                </c:pt>
                <c:pt idx="2415">
                  <c:v>2.4742956393898483</c:v>
                </c:pt>
                <c:pt idx="2416">
                  <c:v>2.4695603353486111</c:v>
                </c:pt>
                <c:pt idx="2417">
                  <c:v>2.4795634163787237</c:v>
                </c:pt>
                <c:pt idx="2418">
                  <c:v>2.4640861428444585</c:v>
                </c:pt>
                <c:pt idx="2419">
                  <c:v>2.4671434253249038</c:v>
                </c:pt>
                <c:pt idx="2420">
                  <c:v>2.4399832704976765</c:v>
                </c:pt>
                <c:pt idx="2421">
                  <c:v>2.4282476561465414</c:v>
                </c:pt>
                <c:pt idx="2422">
                  <c:v>2.3841716831499364</c:v>
                </c:pt>
                <c:pt idx="2423">
                  <c:v>2.4932207072818686</c:v>
                </c:pt>
                <c:pt idx="2424">
                  <c:v>2.6188861680655102</c:v>
                </c:pt>
                <c:pt idx="2425">
                  <c:v>2.5470319350643913</c:v>
                </c:pt>
                <c:pt idx="2426">
                  <c:v>2.539903564332826</c:v>
                </c:pt>
                <c:pt idx="2427">
                  <c:v>2.4776785866623574</c:v>
                </c:pt>
                <c:pt idx="2428">
                  <c:v>2.4271264122651743</c:v>
                </c:pt>
                <c:pt idx="2429">
                  <c:v>2.6222741584156593</c:v>
                </c:pt>
                <c:pt idx="2430">
                  <c:v>2.6574782569117494</c:v>
                </c:pt>
                <c:pt idx="2431">
                  <c:v>2.5006256112887697</c:v>
                </c:pt>
                <c:pt idx="2432">
                  <c:v>2.3524271917383888</c:v>
                </c:pt>
                <c:pt idx="2433">
                  <c:v>2.2890879376114208</c:v>
                </c:pt>
                <c:pt idx="2434">
                  <c:v>2.3367717585836973</c:v>
                </c:pt>
                <c:pt idx="2435">
                  <c:v>2.1684123135142106</c:v>
                </c:pt>
                <c:pt idx="2436">
                  <c:v>2.4323823175365287</c:v>
                </c:pt>
                <c:pt idx="2437">
                  <c:v>2.4937412317659629</c:v>
                </c:pt>
                <c:pt idx="2438">
                  <c:v>2.5282769580759941</c:v>
                </c:pt>
                <c:pt idx="2439">
                  <c:v>2.5285436385991624</c:v>
                </c:pt>
                <c:pt idx="2440">
                  <c:v>2.5058602899620892</c:v>
                </c:pt>
                <c:pt idx="2441">
                  <c:v>2.5237864987994469</c:v>
                </c:pt>
                <c:pt idx="2442">
                  <c:v>2.483009929992448</c:v>
                </c:pt>
                <c:pt idx="2443">
                  <c:v>2.5016284099903792</c:v>
                </c:pt>
                <c:pt idx="2444">
                  <c:v>2.5308664830518937</c:v>
                </c:pt>
                <c:pt idx="2445">
                  <c:v>2.6161221179628766</c:v>
                </c:pt>
                <c:pt idx="2446">
                  <c:v>2.6106176286545679</c:v>
                </c:pt>
                <c:pt idx="2447">
                  <c:v>2.5104529744521908</c:v>
                </c:pt>
                <c:pt idx="2448">
                  <c:v>2.4674718274887684</c:v>
                </c:pt>
                <c:pt idx="2449">
                  <c:v>2.5621904244988389</c:v>
                </c:pt>
                <c:pt idx="2450">
                  <c:v>2.6998475832196958</c:v>
                </c:pt>
                <c:pt idx="2451">
                  <c:v>2.6255917279512726</c:v>
                </c:pt>
                <c:pt idx="2452">
                  <c:v>2.6169526473879547</c:v>
                </c:pt>
                <c:pt idx="2453">
                  <c:v>2.5863860348410026</c:v>
                </c:pt>
                <c:pt idx="2454">
                  <c:v>2.551721088588002</c:v>
                </c:pt>
                <c:pt idx="2455">
                  <c:v>2.4725334156212591</c:v>
                </c:pt>
                <c:pt idx="2456">
                  <c:v>2.5390540901628706</c:v>
                </c:pt>
                <c:pt idx="2457">
                  <c:v>2.5373955885224269</c:v>
                </c:pt>
                <c:pt idx="2458">
                  <c:v>2.6361759475280211</c:v>
                </c:pt>
                <c:pt idx="2459">
                  <c:v>2.7128019125106215</c:v>
                </c:pt>
                <c:pt idx="2460">
                  <c:v>2.726316499219362</c:v>
                </c:pt>
                <c:pt idx="2461">
                  <c:v>2.5849983031724433</c:v>
                </c:pt>
                <c:pt idx="2462">
                  <c:v>2.639447702106636</c:v>
                </c:pt>
                <c:pt idx="2463">
                  <c:v>3.0209916807625317</c:v>
                </c:pt>
                <c:pt idx="2464">
                  <c:v>2.8787337437313183</c:v>
                </c:pt>
                <c:pt idx="2465">
                  <c:v>2.7269653031892847</c:v>
                </c:pt>
                <c:pt idx="2466">
                  <c:v>2.7244942074107041</c:v>
                </c:pt>
                <c:pt idx="2467">
                  <c:v>2.8206212648498639</c:v>
                </c:pt>
                <c:pt idx="2468">
                  <c:v>2.7767365920934437</c:v>
                </c:pt>
                <c:pt idx="2469">
                  <c:v>2.7715762185527102</c:v>
                </c:pt>
                <c:pt idx="2470">
                  <c:v>2.7505296466983657</c:v>
                </c:pt>
                <c:pt idx="2471">
                  <c:v>2.7576925048374088</c:v>
                </c:pt>
                <c:pt idx="2472">
                  <c:v>2.75631507678606</c:v>
                </c:pt>
                <c:pt idx="2473">
                  <c:v>2.7574299746162296</c:v>
                </c:pt>
                <c:pt idx="2474">
                  <c:v>2.6734179241568681</c:v>
                </c:pt>
                <c:pt idx="2475">
                  <c:v>2.6532390941782937</c:v>
                </c:pt>
                <c:pt idx="2476">
                  <c:v>2.662161823341195</c:v>
                </c:pt>
                <c:pt idx="2477">
                  <c:v>2.6184106650386059</c:v>
                </c:pt>
                <c:pt idx="2478">
                  <c:v>2.5936882258051255</c:v>
                </c:pt>
                <c:pt idx="2479">
                  <c:v>2.5223839565718174</c:v>
                </c:pt>
                <c:pt idx="2480">
                  <c:v>2.5324306310890514</c:v>
                </c:pt>
                <c:pt idx="2481">
                  <c:v>2.4179337207689526</c:v>
                </c:pt>
                <c:pt idx="2482">
                  <c:v>2.4466967806454578</c:v>
                </c:pt>
                <c:pt idx="2483">
                  <c:v>2.3945443450736015</c:v>
                </c:pt>
                <c:pt idx="2484">
                  <c:v>2.3762210195926743</c:v>
                </c:pt>
                <c:pt idx="2485">
                  <c:v>2.3145906651489474</c:v>
                </c:pt>
                <c:pt idx="2486">
                  <c:v>2.3727120873870726</c:v>
                </c:pt>
                <c:pt idx="2487">
                  <c:v>2.3646067521806264</c:v>
                </c:pt>
                <c:pt idx="2488">
                  <c:v>2.3208085956973949</c:v>
                </c:pt>
                <c:pt idx="2489">
                  <c:v>2.4040430479222414</c:v>
                </c:pt>
                <c:pt idx="2490">
                  <c:v>2.3508437571688892</c:v>
                </c:pt>
                <c:pt idx="2491">
                  <c:v>2.2955738420513501</c:v>
                </c:pt>
                <c:pt idx="2492">
                  <c:v>2.2953067710708388</c:v>
                </c:pt>
                <c:pt idx="2493">
                  <c:v>2.4699486377475237</c:v>
                </c:pt>
                <c:pt idx="2494">
                  <c:v>2.3839517806312696</c:v>
                </c:pt>
                <c:pt idx="2495">
                  <c:v>2.3721081497806225</c:v>
                </c:pt>
                <c:pt idx="2496">
                  <c:v>2.3750523396093612</c:v>
                </c:pt>
                <c:pt idx="2497">
                  <c:v>2.362977074840491</c:v>
                </c:pt>
                <c:pt idx="2498">
                  <c:v>2.3622949731467635</c:v>
                </c:pt>
                <c:pt idx="2499">
                  <c:v>2.3089698804543373</c:v>
                </c:pt>
                <c:pt idx="2500">
                  <c:v>2.2949802178829768</c:v>
                </c:pt>
                <c:pt idx="2501">
                  <c:v>2.2662748954891541</c:v>
                </c:pt>
                <c:pt idx="2502">
                  <c:v>2.3661396929898135</c:v>
                </c:pt>
                <c:pt idx="2503">
                  <c:v>2.3516337454579239</c:v>
                </c:pt>
                <c:pt idx="2504">
                  <c:v>2.3400454561669308</c:v>
                </c:pt>
                <c:pt idx="2505">
                  <c:v>2.3242320292122098</c:v>
                </c:pt>
                <c:pt idx="2506">
                  <c:v>2.3492500455292271</c:v>
                </c:pt>
                <c:pt idx="2507">
                  <c:v>2.3223902502676563</c:v>
                </c:pt>
                <c:pt idx="2508">
                  <c:v>2.3205840052049087</c:v>
                </c:pt>
                <c:pt idx="2509">
                  <c:v>2.3087714023080466</c:v>
                </c:pt>
                <c:pt idx="2510">
                  <c:v>2.306844322243792</c:v>
                </c:pt>
                <c:pt idx="2511">
                  <c:v>2.2367541847870975</c:v>
                </c:pt>
                <c:pt idx="2512">
                  <c:v>2.1314166760540245</c:v>
                </c:pt>
                <c:pt idx="2513">
                  <c:v>2.0324254567893307</c:v>
                </c:pt>
                <c:pt idx="2514">
                  <c:v>2.117869531670542</c:v>
                </c:pt>
                <c:pt idx="2515">
                  <c:v>2.0583815280301905</c:v>
                </c:pt>
                <c:pt idx="2516">
                  <c:v>2.0187383411453195</c:v>
                </c:pt>
                <c:pt idx="2517">
                  <c:v>1.9923066673460992</c:v>
                </c:pt>
                <c:pt idx="2518">
                  <c:v>2.0646961516685236</c:v>
                </c:pt>
                <c:pt idx="2519">
                  <c:v>1.9986752811064312</c:v>
                </c:pt>
                <c:pt idx="2520">
                  <c:v>1.9925520490383017</c:v>
                </c:pt>
                <c:pt idx="2521">
                  <c:v>1.9655411630608128</c:v>
                </c:pt>
                <c:pt idx="2522">
                  <c:v>1.9391443287568366</c:v>
                </c:pt>
                <c:pt idx="2523">
                  <c:v>1.9259120326680108</c:v>
                </c:pt>
                <c:pt idx="2524">
                  <c:v>1.9917341708393215</c:v>
                </c:pt>
                <c:pt idx="2525">
                  <c:v>1.9059839322154777</c:v>
                </c:pt>
                <c:pt idx="2526">
                  <c:v>1.9046953042708168</c:v>
                </c:pt>
                <c:pt idx="2527">
                  <c:v>1.9575088465394499</c:v>
                </c:pt>
                <c:pt idx="2528">
                  <c:v>1.9698741572416711</c:v>
                </c:pt>
                <c:pt idx="2529">
                  <c:v>1.9668411051679042</c:v>
                </c:pt>
                <c:pt idx="2530">
                  <c:v>2.0256914163524771</c:v>
                </c:pt>
                <c:pt idx="2531">
                  <c:v>2.0582478995184541</c:v>
                </c:pt>
                <c:pt idx="2532">
                  <c:v>2.068899392231264</c:v>
                </c:pt>
                <c:pt idx="2533">
                  <c:v>2.1986816645798952</c:v>
                </c:pt>
                <c:pt idx="2534">
                  <c:v>2.1472887958827278</c:v>
                </c:pt>
                <c:pt idx="2535">
                  <c:v>2.1067718020936836</c:v>
                </c:pt>
                <c:pt idx="2536">
                  <c:v>2.1015723850199035</c:v>
                </c:pt>
                <c:pt idx="2537">
                  <c:v>2.0589071851223584</c:v>
                </c:pt>
                <c:pt idx="2538">
                  <c:v>2.051683288897304</c:v>
                </c:pt>
                <c:pt idx="2539">
                  <c:v>1.9779321999274559</c:v>
                </c:pt>
                <c:pt idx="2540">
                  <c:v>1.9645767855052203</c:v>
                </c:pt>
                <c:pt idx="2541">
                  <c:v>1.9645479388741924</c:v>
                </c:pt>
                <c:pt idx="2542">
                  <c:v>1.8919025295544381</c:v>
                </c:pt>
                <c:pt idx="2543">
                  <c:v>1.9049615862481801</c:v>
                </c:pt>
                <c:pt idx="2544">
                  <c:v>1.970952955039351</c:v>
                </c:pt>
                <c:pt idx="2545">
                  <c:v>1.9179817709625022</c:v>
                </c:pt>
                <c:pt idx="2546">
                  <c:v>1.913018477742459</c:v>
                </c:pt>
                <c:pt idx="2547">
                  <c:v>1.9245330142630239</c:v>
                </c:pt>
                <c:pt idx="2548">
                  <c:v>1.9205771101668139</c:v>
                </c:pt>
                <c:pt idx="2549">
                  <c:v>1.9263667467033108</c:v>
                </c:pt>
                <c:pt idx="2550">
                  <c:v>1.9162273136259222</c:v>
                </c:pt>
                <c:pt idx="2551">
                  <c:v>1.8813852434066514</c:v>
                </c:pt>
                <c:pt idx="2552">
                  <c:v>1.8638994898173018</c:v>
                </c:pt>
                <c:pt idx="2553">
                  <c:v>1.8164505571110294</c:v>
                </c:pt>
                <c:pt idx="2554">
                  <c:v>1.8209923106628341</c:v>
                </c:pt>
                <c:pt idx="2555">
                  <c:v>1.9342350895822487</c:v>
                </c:pt>
                <c:pt idx="2556">
                  <c:v>1.9444501631691797</c:v>
                </c:pt>
                <c:pt idx="2557">
                  <c:v>2.0361003410954965</c:v>
                </c:pt>
                <c:pt idx="2558">
                  <c:v>2.1219478159582561</c:v>
                </c:pt>
                <c:pt idx="2559">
                  <c:v>2.0909473919051091</c:v>
                </c:pt>
                <c:pt idx="2560">
                  <c:v>2.087765102640684</c:v>
                </c:pt>
                <c:pt idx="2561">
                  <c:v>2.0799589679938233</c:v>
                </c:pt>
                <c:pt idx="2562">
                  <c:v>2.0868232049292894</c:v>
                </c:pt>
                <c:pt idx="2563">
                  <c:v>1.9721634643662811</c:v>
                </c:pt>
                <c:pt idx="2564">
                  <c:v>1.9601670194900316</c:v>
                </c:pt>
                <c:pt idx="2565">
                  <c:v>2.0260945661519041</c:v>
                </c:pt>
                <c:pt idx="2566">
                  <c:v>2.0328748047286305</c:v>
                </c:pt>
                <c:pt idx="2567">
                  <c:v>2.0219657872082299</c:v>
                </c:pt>
                <c:pt idx="2568">
                  <c:v>2.2638414074520217</c:v>
                </c:pt>
                <c:pt idx="2569">
                  <c:v>2.2592280720420308</c:v>
                </c:pt>
                <c:pt idx="2570">
                  <c:v>2.4336622435718862</c:v>
                </c:pt>
                <c:pt idx="2571">
                  <c:v>2.2804136609161785</c:v>
                </c:pt>
                <c:pt idx="2572">
                  <c:v>2.2639778077794031</c:v>
                </c:pt>
                <c:pt idx="2573">
                  <c:v>2.34145856825837</c:v>
                </c:pt>
                <c:pt idx="2574">
                  <c:v>2.1245842918342976</c:v>
                </c:pt>
                <c:pt idx="2575">
                  <c:v>2.1116385577796577</c:v>
                </c:pt>
                <c:pt idx="2576">
                  <c:v>2.2814434467629203</c:v>
                </c:pt>
                <c:pt idx="2577">
                  <c:v>2.5193493705580461</c:v>
                </c:pt>
                <c:pt idx="2578">
                  <c:v>2.5120853172396047</c:v>
                </c:pt>
                <c:pt idx="2579">
                  <c:v>2.4961257102899754</c:v>
                </c:pt>
                <c:pt idx="2580">
                  <c:v>2.358815373114767</c:v>
                </c:pt>
                <c:pt idx="2581">
                  <c:v>2.3587829007414367</c:v>
                </c:pt>
                <c:pt idx="2582">
                  <c:v>2.3290128107437194</c:v>
                </c:pt>
                <c:pt idx="2583">
                  <c:v>2.3285505695372954</c:v>
                </c:pt>
                <c:pt idx="2584">
                  <c:v>2.3224222820009506</c:v>
                </c:pt>
                <c:pt idx="2585">
                  <c:v>2.3321687041466022</c:v>
                </c:pt>
                <c:pt idx="2586">
                  <c:v>2.3798281362674123</c:v>
                </c:pt>
                <c:pt idx="2587">
                  <c:v>2.4163312945694781</c:v>
                </c:pt>
                <c:pt idx="2588">
                  <c:v>2.4215088998005525</c:v>
                </c:pt>
                <c:pt idx="2589">
                  <c:v>2.4348598805527897</c:v>
                </c:pt>
                <c:pt idx="2590">
                  <c:v>2.4302553227992854</c:v>
                </c:pt>
                <c:pt idx="2591">
                  <c:v>2.4313087027590186</c:v>
                </c:pt>
                <c:pt idx="2592">
                  <c:v>2.4272517538312495</c:v>
                </c:pt>
                <c:pt idx="2593">
                  <c:v>2.4351034140228096</c:v>
                </c:pt>
                <c:pt idx="2594">
                  <c:v>2.4275821451687953</c:v>
                </c:pt>
                <c:pt idx="2595">
                  <c:v>2.4364422435208732</c:v>
                </c:pt>
                <c:pt idx="2596">
                  <c:v>2.4281443694882547</c:v>
                </c:pt>
                <c:pt idx="2597">
                  <c:v>2.4361425861740069</c:v>
                </c:pt>
                <c:pt idx="2598">
                  <c:v>2.4352153353843931</c:v>
                </c:pt>
                <c:pt idx="2599">
                  <c:v>2.4158292185918842</c:v>
                </c:pt>
                <c:pt idx="2600">
                  <c:v>2.421666980307589</c:v>
                </c:pt>
                <c:pt idx="2601">
                  <c:v>2.4161622101580966</c:v>
                </c:pt>
                <c:pt idx="2602">
                  <c:v>2.4164997750320003</c:v>
                </c:pt>
                <c:pt idx="2603">
                  <c:v>2.4116338709171985</c:v>
                </c:pt>
                <c:pt idx="2604">
                  <c:v>2.4103918374551112</c:v>
                </c:pt>
                <c:pt idx="2605">
                  <c:v>2.3665405975904519</c:v>
                </c:pt>
                <c:pt idx="2606">
                  <c:v>2.1090481394260734</c:v>
                </c:pt>
                <c:pt idx="2607">
                  <c:v>1.5545000691385946</c:v>
                </c:pt>
                <c:pt idx="2608">
                  <c:v>1.5412325608289812</c:v>
                </c:pt>
                <c:pt idx="2609">
                  <c:v>1.6385810966948053</c:v>
                </c:pt>
                <c:pt idx="2610">
                  <c:v>1.6072678289030327</c:v>
                </c:pt>
                <c:pt idx="2611">
                  <c:v>1.5905773515527477</c:v>
                </c:pt>
                <c:pt idx="2612">
                  <c:v>1.4603067357113761</c:v>
                </c:pt>
                <c:pt idx="2613">
                  <c:v>1.289766946251657</c:v>
                </c:pt>
                <c:pt idx="2614">
                  <c:v>1.4488734974168771</c:v>
                </c:pt>
                <c:pt idx="2615">
                  <c:v>1.4679357070126882</c:v>
                </c:pt>
                <c:pt idx="2616">
                  <c:v>1.4270471971145773</c:v>
                </c:pt>
                <c:pt idx="2617">
                  <c:v>1.4432149379700023</c:v>
                </c:pt>
                <c:pt idx="2618">
                  <c:v>1.4231508497795333</c:v>
                </c:pt>
                <c:pt idx="2619">
                  <c:v>1.4134242053087562</c:v>
                </c:pt>
                <c:pt idx="2620">
                  <c:v>1.4131821080895668</c:v>
                </c:pt>
                <c:pt idx="2621">
                  <c:v>1.412277954638834</c:v>
                </c:pt>
                <c:pt idx="2622">
                  <c:v>1.3740842166319454</c:v>
                </c:pt>
                <c:pt idx="2623">
                  <c:v>1.349766147213876</c:v>
                </c:pt>
                <c:pt idx="2624">
                  <c:v>1.3989859995894793</c:v>
                </c:pt>
                <c:pt idx="2625">
                  <c:v>1.440894430585443</c:v>
                </c:pt>
                <c:pt idx="2626">
                  <c:v>1.4032319859291236</c:v>
                </c:pt>
                <c:pt idx="2627">
                  <c:v>1.4217374895393269</c:v>
                </c:pt>
                <c:pt idx="2628">
                  <c:v>1.4082333416076178</c:v>
                </c:pt>
                <c:pt idx="2629">
                  <c:v>1.4061140079907304</c:v>
                </c:pt>
                <c:pt idx="2630">
                  <c:v>1.4069031472933009</c:v>
                </c:pt>
                <c:pt idx="2631">
                  <c:v>1.3905584888456042</c:v>
                </c:pt>
                <c:pt idx="2632">
                  <c:v>1.3930485630698193</c:v>
                </c:pt>
                <c:pt idx="2633">
                  <c:v>1.4171084970784189</c:v>
                </c:pt>
                <c:pt idx="2634">
                  <c:v>1.4380863635567118</c:v>
                </c:pt>
                <c:pt idx="2635">
                  <c:v>1.4542349098107807</c:v>
                </c:pt>
                <c:pt idx="2636">
                  <c:v>1.4559050949488719</c:v>
                </c:pt>
                <c:pt idx="2637">
                  <c:v>1.4631681879693632</c:v>
                </c:pt>
                <c:pt idx="2638">
                  <c:v>1.4255177191890545</c:v>
                </c:pt>
                <c:pt idx="2639">
                  <c:v>1.3843082487921141</c:v>
                </c:pt>
                <c:pt idx="2640">
                  <c:v>1.3687833265905796</c:v>
                </c:pt>
                <c:pt idx="2641">
                  <c:v>1.2588919884108651</c:v>
                </c:pt>
                <c:pt idx="2642">
                  <c:v>1.375343185067077</c:v>
                </c:pt>
                <c:pt idx="2643">
                  <c:v>1.3788225457889036</c:v>
                </c:pt>
                <c:pt idx="2644">
                  <c:v>1.3107596016556495</c:v>
                </c:pt>
                <c:pt idx="2645">
                  <c:v>1.2970214860810312</c:v>
                </c:pt>
                <c:pt idx="2646">
                  <c:v>1.2250419521169262</c:v>
                </c:pt>
                <c:pt idx="2647">
                  <c:v>1.29623604423973</c:v>
                </c:pt>
                <c:pt idx="2648">
                  <c:v>1.3873749856396345</c:v>
                </c:pt>
                <c:pt idx="2649">
                  <c:v>1.2846749580573074</c:v>
                </c:pt>
                <c:pt idx="2650">
                  <c:v>1.2801861356265207</c:v>
                </c:pt>
                <c:pt idx="2651">
                  <c:v>1.2940140784929146</c:v>
                </c:pt>
                <c:pt idx="2652">
                  <c:v>1.2823026221687317</c:v>
                </c:pt>
                <c:pt idx="2653">
                  <c:v>1.2750549689328763</c:v>
                </c:pt>
                <c:pt idx="2654">
                  <c:v>1.2787670849314112</c:v>
                </c:pt>
                <c:pt idx="2655">
                  <c:v>1.2899781208850662</c:v>
                </c:pt>
                <c:pt idx="2656">
                  <c:v>1.2787112323398162</c:v>
                </c:pt>
                <c:pt idx="2657">
                  <c:v>1.2778525629635782</c:v>
                </c:pt>
                <c:pt idx="2658">
                  <c:v>1.2914756169604065</c:v>
                </c:pt>
                <c:pt idx="2659">
                  <c:v>1.2824828875201757</c:v>
                </c:pt>
                <c:pt idx="2660">
                  <c:v>1.2861296040357157</c:v>
                </c:pt>
                <c:pt idx="2661">
                  <c:v>1.3013342480830563</c:v>
                </c:pt>
                <c:pt idx="2662">
                  <c:v>1.2849953360493032</c:v>
                </c:pt>
                <c:pt idx="2663">
                  <c:v>1.2689871861139879</c:v>
                </c:pt>
                <c:pt idx="2664">
                  <c:v>1.2690167266677654</c:v>
                </c:pt>
                <c:pt idx="2665">
                  <c:v>1.2429219437667383</c:v>
                </c:pt>
                <c:pt idx="2666">
                  <c:v>1.3525392207122604</c:v>
                </c:pt>
                <c:pt idx="2667">
                  <c:v>1.302767521411224</c:v>
                </c:pt>
                <c:pt idx="2668">
                  <c:v>1.3226775093536547</c:v>
                </c:pt>
                <c:pt idx="2669">
                  <c:v>1.3056373201956071</c:v>
                </c:pt>
                <c:pt idx="2670">
                  <c:v>1.3176888417422796</c:v>
                </c:pt>
                <c:pt idx="2671">
                  <c:v>1.3287290811440753</c:v>
                </c:pt>
                <c:pt idx="2672">
                  <c:v>1.3306790799073178</c:v>
                </c:pt>
                <c:pt idx="2673">
                  <c:v>1.3136679281834949</c:v>
                </c:pt>
                <c:pt idx="2674">
                  <c:v>1.3199073457503929</c:v>
                </c:pt>
                <c:pt idx="2675">
                  <c:v>1.3103397586322685</c:v>
                </c:pt>
                <c:pt idx="2676">
                  <c:v>1.2898256391577172</c:v>
                </c:pt>
                <c:pt idx="2677">
                  <c:v>1.3037963032478965</c:v>
                </c:pt>
                <c:pt idx="2678">
                  <c:v>1.3778254061365258</c:v>
                </c:pt>
                <c:pt idx="2679">
                  <c:v>1.3463339463945019</c:v>
                </c:pt>
                <c:pt idx="2680">
                  <c:v>1.3325562932935582</c:v>
                </c:pt>
                <c:pt idx="2681">
                  <c:v>1.3603532680637653</c:v>
                </c:pt>
                <c:pt idx="2682">
                  <c:v>1.3736537301606766</c:v>
                </c:pt>
                <c:pt idx="2683">
                  <c:v>1.365020795403032</c:v>
                </c:pt>
                <c:pt idx="2684">
                  <c:v>1.1698450875986828</c:v>
                </c:pt>
                <c:pt idx="2685">
                  <c:v>1.2230370704905396</c:v>
                </c:pt>
                <c:pt idx="2686">
                  <c:v>1.3148367717388572</c:v>
                </c:pt>
                <c:pt idx="2687">
                  <c:v>1.3578866739057993</c:v>
                </c:pt>
                <c:pt idx="2688">
                  <c:v>1.3244875271997758</c:v>
                </c:pt>
                <c:pt idx="2689">
                  <c:v>1.3157167736130184</c:v>
                </c:pt>
                <c:pt idx="2690">
                  <c:v>1.3491502188193936</c:v>
                </c:pt>
                <c:pt idx="2691">
                  <c:v>1.3808374406200279</c:v>
                </c:pt>
                <c:pt idx="2692">
                  <c:v>1.3795680543272162</c:v>
                </c:pt>
                <c:pt idx="2693">
                  <c:v>1.3866637992946333</c:v>
                </c:pt>
                <c:pt idx="2694">
                  <c:v>1.3778369372211163</c:v>
                </c:pt>
                <c:pt idx="2695">
                  <c:v>1.3718273211653744</c:v>
                </c:pt>
                <c:pt idx="2696">
                  <c:v>1.3869816776424502</c:v>
                </c:pt>
                <c:pt idx="2697">
                  <c:v>1.3901216284214086</c:v>
                </c:pt>
                <c:pt idx="2698">
                  <c:v>1.3906871399714635</c:v>
                </c:pt>
                <c:pt idx="2699">
                  <c:v>1.3911282625019517</c:v>
                </c:pt>
                <c:pt idx="2700">
                  <c:v>1.3697186189110171</c:v>
                </c:pt>
                <c:pt idx="2701">
                  <c:v>1.3076092449925956</c:v>
                </c:pt>
                <c:pt idx="2702">
                  <c:v>1.260651502918182</c:v>
                </c:pt>
                <c:pt idx="2703">
                  <c:v>1.3432321784286696</c:v>
                </c:pt>
                <c:pt idx="2704">
                  <c:v>1.4229457380313895</c:v>
                </c:pt>
                <c:pt idx="2705">
                  <c:v>1.3156518983524141</c:v>
                </c:pt>
                <c:pt idx="2706">
                  <c:v>1.3397018288223361</c:v>
                </c:pt>
                <c:pt idx="2707">
                  <c:v>1.2042375949222306</c:v>
                </c:pt>
                <c:pt idx="2708">
                  <c:v>1.2097270022019302</c:v>
                </c:pt>
                <c:pt idx="2709">
                  <c:v>1.1811066227230667</c:v>
                </c:pt>
                <c:pt idx="2710">
                  <c:v>1.170605376163425</c:v>
                </c:pt>
                <c:pt idx="2711">
                  <c:v>1.2355003300034353</c:v>
                </c:pt>
                <c:pt idx="2712">
                  <c:v>1.1967314917669567</c:v>
                </c:pt>
                <c:pt idx="2713">
                  <c:v>1.1913924879688707</c:v>
                </c:pt>
                <c:pt idx="2714">
                  <c:v>1.1811413873789367</c:v>
                </c:pt>
                <c:pt idx="2715">
                  <c:v>1.1787608992492147</c:v>
                </c:pt>
                <c:pt idx="2716">
                  <c:v>1.1819953023028411</c:v>
                </c:pt>
                <c:pt idx="2717">
                  <c:v>1.1812461812222226</c:v>
                </c:pt>
                <c:pt idx="2718">
                  <c:v>1.2206317564523124</c:v>
                </c:pt>
                <c:pt idx="2719">
                  <c:v>1.2118606992695611</c:v>
                </c:pt>
                <c:pt idx="2720">
                  <c:v>1.2111268741208165</c:v>
                </c:pt>
                <c:pt idx="2721">
                  <c:v>1.2145171042242031</c:v>
                </c:pt>
                <c:pt idx="2722">
                  <c:v>1.2113565124414434</c:v>
                </c:pt>
                <c:pt idx="2723">
                  <c:v>1.2005936676979614</c:v>
                </c:pt>
                <c:pt idx="2724">
                  <c:v>1.1954761377862457</c:v>
                </c:pt>
                <c:pt idx="2725">
                  <c:v>1.1306111088510109</c:v>
                </c:pt>
                <c:pt idx="2726">
                  <c:v>1.1696784649814282</c:v>
                </c:pt>
                <c:pt idx="2727">
                  <c:v>1.2295425513597327</c:v>
                </c:pt>
                <c:pt idx="2728">
                  <c:v>1.2634621407629307</c:v>
                </c:pt>
                <c:pt idx="2729">
                  <c:v>1.2633369584921899</c:v>
                </c:pt>
                <c:pt idx="2730">
                  <c:v>1.2554532876934279</c:v>
                </c:pt>
                <c:pt idx="2731">
                  <c:v>1.2214420428064647</c:v>
                </c:pt>
                <c:pt idx="2732">
                  <c:v>1.2500920318194595</c:v>
                </c:pt>
              </c:numCache>
            </c:numRef>
          </c:val>
          <c:smooth val="0"/>
          <c:extLst xmlns:c16r2="http://schemas.microsoft.com/office/drawing/2015/06/chart">
            <c:ext xmlns:c16="http://schemas.microsoft.com/office/drawing/2014/chart" uri="{C3380CC4-5D6E-409C-BE32-E72D297353CC}">
              <c16:uniqueId val="{00000000-EDD3-41F1-86B6-9F666E4354A9}"/>
            </c:ext>
          </c:extLst>
        </c:ser>
        <c:ser>
          <c:idx val="1"/>
          <c:order val="1"/>
          <c:tx>
            <c:strRef>
              <c:f>'1M'!$Q$30</c:f>
              <c:strCache>
                <c:ptCount val="1"/>
                <c:pt idx="0">
                  <c:v>Rolled First VIX future contract</c:v>
                </c:pt>
              </c:strCache>
            </c:strRef>
          </c:tx>
          <c:marker>
            <c:symbol val="none"/>
          </c:marker>
          <c:cat>
            <c:numRef>
              <c:f>'1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1M'!$Q$31:$Q$2763</c:f>
              <c:numCache>
                <c:formatCode>General</c:formatCode>
                <c:ptCount val="2733"/>
                <c:pt idx="0">
                  <c:v>100</c:v>
                </c:pt>
                <c:pt idx="1">
                  <c:v>100</c:v>
                </c:pt>
                <c:pt idx="2">
                  <c:v>96.217952259444203</c:v>
                </c:pt>
                <c:pt idx="3">
                  <c:v>98.717948656921919</c:v>
                </c:pt>
                <c:pt idx="4">
                  <c:v>93.397433938753395</c:v>
                </c:pt>
                <c:pt idx="5">
                  <c:v>96.346155749357479</c:v>
                </c:pt>
                <c:pt idx="6">
                  <c:v>92.435895431444862</c:v>
                </c:pt>
                <c:pt idx="7">
                  <c:v>94.615388513332022</c:v>
                </c:pt>
                <c:pt idx="8">
                  <c:v>94.743591570509878</c:v>
                </c:pt>
                <c:pt idx="9">
                  <c:v>99.679487164230494</c:v>
                </c:pt>
                <c:pt idx="10">
                  <c:v>98.717948656921934</c:v>
                </c:pt>
                <c:pt idx="11">
                  <c:v>95.833333134996295</c:v>
                </c:pt>
                <c:pt idx="12">
                  <c:v>95.128201174778866</c:v>
                </c:pt>
                <c:pt idx="13">
                  <c:v>91.089747319867342</c:v>
                </c:pt>
                <c:pt idx="14">
                  <c:v>90.320508638236106</c:v>
                </c:pt>
                <c:pt idx="15">
                  <c:v>90.961534309775132</c:v>
                </c:pt>
                <c:pt idx="16">
                  <c:v>89.48718314101977</c:v>
                </c:pt>
                <c:pt idx="17">
                  <c:v>92.435895431444877</c:v>
                </c:pt>
                <c:pt idx="18">
                  <c:v>93.076921102983903</c:v>
                </c:pt>
                <c:pt idx="19">
                  <c:v>98.782054945600365</c:v>
                </c:pt>
                <c:pt idx="20">
                  <c:v>100.89469949453434</c:v>
                </c:pt>
                <c:pt idx="21">
                  <c:v>99.358226561677526</c:v>
                </c:pt>
                <c:pt idx="22">
                  <c:v>95.837155054111804</c:v>
                </c:pt>
                <c:pt idx="23">
                  <c:v>91.611875476422782</c:v>
                </c:pt>
                <c:pt idx="24">
                  <c:v>89.947365224049037</c:v>
                </c:pt>
                <c:pt idx="25">
                  <c:v>88.666975584934221</c:v>
                </c:pt>
                <c:pt idx="26">
                  <c:v>86.746391558997402</c:v>
                </c:pt>
                <c:pt idx="27">
                  <c:v>86.298256829701771</c:v>
                </c:pt>
                <c:pt idx="28">
                  <c:v>87.130512172256346</c:v>
                </c:pt>
                <c:pt idx="29">
                  <c:v>83.865514870989074</c:v>
                </c:pt>
                <c:pt idx="30">
                  <c:v>84.313649167549301</c:v>
                </c:pt>
                <c:pt idx="31">
                  <c:v>84.953843987106708</c:v>
                </c:pt>
                <c:pt idx="32">
                  <c:v>82.841199438172708</c:v>
                </c:pt>
                <c:pt idx="33">
                  <c:v>82.136990935314032</c:v>
                </c:pt>
                <c:pt idx="34">
                  <c:v>82.072967731833799</c:v>
                </c:pt>
                <c:pt idx="35">
                  <c:v>79.960327942989295</c:v>
                </c:pt>
                <c:pt idx="36">
                  <c:v>77.719646074538375</c:v>
                </c:pt>
                <c:pt idx="37">
                  <c:v>78.423859337486547</c:v>
                </c:pt>
                <c:pt idx="38">
                  <c:v>78.295822450705018</c:v>
                </c:pt>
                <c:pt idx="39">
                  <c:v>79.34491674566722</c:v>
                </c:pt>
                <c:pt idx="40">
                  <c:v>77.909314436205079</c:v>
                </c:pt>
                <c:pt idx="41">
                  <c:v>77.688446717157362</c:v>
                </c:pt>
                <c:pt idx="42">
                  <c:v>76.749781737997225</c:v>
                </c:pt>
                <c:pt idx="43">
                  <c:v>76.584133220572312</c:v>
                </c:pt>
                <c:pt idx="44">
                  <c:v>77.301938702657452</c:v>
                </c:pt>
                <c:pt idx="45">
                  <c:v>77.301938702657452</c:v>
                </c:pt>
                <c:pt idx="46">
                  <c:v>76.639352422195131</c:v>
                </c:pt>
                <c:pt idx="47">
                  <c:v>76.639352422195131</c:v>
                </c:pt>
                <c:pt idx="48">
                  <c:v>77.081079205582469</c:v>
                </c:pt>
                <c:pt idx="49">
                  <c:v>78.737549234092342</c:v>
                </c:pt>
                <c:pt idx="50">
                  <c:v>77.964524983119787</c:v>
                </c:pt>
                <c:pt idx="51">
                  <c:v>76.58413322057234</c:v>
                </c:pt>
                <c:pt idx="52">
                  <c:v>77.578016968619906</c:v>
                </c:pt>
                <c:pt idx="53">
                  <c:v>77.743665486044833</c:v>
                </c:pt>
                <c:pt idx="54">
                  <c:v>77.633236170242739</c:v>
                </c:pt>
                <c:pt idx="55">
                  <c:v>76.41848470314747</c:v>
                </c:pt>
                <c:pt idx="56">
                  <c:v>77.081079205582512</c:v>
                </c:pt>
                <c:pt idx="57">
                  <c:v>77.633236170242753</c:v>
                </c:pt>
                <c:pt idx="58">
                  <c:v>75.590249472524846</c:v>
                </c:pt>
                <c:pt idx="59">
                  <c:v>74.706803694987528</c:v>
                </c:pt>
                <c:pt idx="60">
                  <c:v>73.933779444014988</c:v>
                </c:pt>
                <c:pt idx="61">
                  <c:v>72.774255400515273</c:v>
                </c:pt>
                <c:pt idx="62">
                  <c:v>71.835590421355136</c:v>
                </c:pt>
                <c:pt idx="63">
                  <c:v>71.17299591892008</c:v>
                </c:pt>
                <c:pt idx="64">
                  <c:v>70.731277357505505</c:v>
                </c:pt>
                <c:pt idx="65">
                  <c:v>69.792608483726696</c:v>
                </c:pt>
                <c:pt idx="66">
                  <c:v>69.074803001641556</c:v>
                </c:pt>
                <c:pt idx="67">
                  <c:v>68.743509861410402</c:v>
                </c:pt>
                <c:pt idx="68">
                  <c:v>67.694411239094109</c:v>
                </c:pt>
                <c:pt idx="69">
                  <c:v>68.191352896750175</c:v>
                </c:pt>
                <c:pt idx="70">
                  <c:v>68.68829498714166</c:v>
                </c:pt>
                <c:pt idx="71">
                  <c:v>67.970489505056534</c:v>
                </c:pt>
                <c:pt idx="72">
                  <c:v>66.921390882740241</c:v>
                </c:pt>
                <c:pt idx="73">
                  <c:v>67.970489505056548</c:v>
                </c:pt>
                <c:pt idx="74">
                  <c:v>68.743509861410431</c:v>
                </c:pt>
                <c:pt idx="75">
                  <c:v>68.467431162712614</c:v>
                </c:pt>
                <c:pt idx="76">
                  <c:v>68.743509861410431</c:v>
                </c:pt>
                <c:pt idx="77">
                  <c:v>70.123901623957892</c:v>
                </c:pt>
                <c:pt idx="78">
                  <c:v>70.56562840734523</c:v>
                </c:pt>
                <c:pt idx="79">
                  <c:v>71.117785372005457</c:v>
                </c:pt>
                <c:pt idx="80">
                  <c:v>68.467431162712629</c:v>
                </c:pt>
                <c:pt idx="81">
                  <c:v>66.755746259934014</c:v>
                </c:pt>
                <c:pt idx="82">
                  <c:v>66.148374853740435</c:v>
                </c:pt>
                <c:pt idx="83">
                  <c:v>67.939992909976681</c:v>
                </c:pt>
                <c:pt idx="84">
                  <c:v>67.468514701880508</c:v>
                </c:pt>
                <c:pt idx="85">
                  <c:v>68.882949326168998</c:v>
                </c:pt>
                <c:pt idx="86">
                  <c:v>68.317169850893308</c:v>
                </c:pt>
                <c:pt idx="87">
                  <c:v>67.798548149341599</c:v>
                </c:pt>
                <c:pt idx="88">
                  <c:v>67.562809045293506</c:v>
                </c:pt>
                <c:pt idx="89">
                  <c:v>67.138474330652897</c:v>
                </c:pt>
                <c:pt idx="90">
                  <c:v>67.185625180610373</c:v>
                </c:pt>
                <c:pt idx="91">
                  <c:v>67.23277603056782</c:v>
                </c:pt>
                <c:pt idx="92">
                  <c:v>67.327069941245426</c:v>
                </c:pt>
                <c:pt idx="93">
                  <c:v>67.704253805928587</c:v>
                </c:pt>
                <c:pt idx="94">
                  <c:v>66.949886076562279</c:v>
                </c:pt>
                <c:pt idx="95">
                  <c:v>67.421364284658466</c:v>
                </c:pt>
                <c:pt idx="96">
                  <c:v>66.525558718423596</c:v>
                </c:pt>
                <c:pt idx="97">
                  <c:v>66.855592165884701</c:v>
                </c:pt>
                <c:pt idx="98">
                  <c:v>67.091330837197376</c:v>
                </c:pt>
                <c:pt idx="99">
                  <c:v>66.431257451244065</c:v>
                </c:pt>
                <c:pt idx="100">
                  <c:v>65.629746228422221</c:v>
                </c:pt>
                <c:pt idx="101">
                  <c:v>65.724040139099827</c:v>
                </c:pt>
                <c:pt idx="102">
                  <c:v>64.639646318774339</c:v>
                </c:pt>
                <c:pt idx="103">
                  <c:v>64.356756797504204</c:v>
                </c:pt>
                <c:pt idx="104">
                  <c:v>64.96967976623543</c:v>
                </c:pt>
                <c:pt idx="105">
                  <c:v>64.922528916277955</c:v>
                </c:pt>
                <c:pt idx="106">
                  <c:v>64.639646318774325</c:v>
                </c:pt>
                <c:pt idx="107">
                  <c:v>64.026723350043085</c:v>
                </c:pt>
                <c:pt idx="108">
                  <c:v>64.545345051594794</c:v>
                </c:pt>
                <c:pt idx="109">
                  <c:v>64.403907647461637</c:v>
                </c:pt>
                <c:pt idx="110">
                  <c:v>66.242669197153432</c:v>
                </c:pt>
                <c:pt idx="111">
                  <c:v>66.855592165884673</c:v>
                </c:pt>
                <c:pt idx="112">
                  <c:v>65.771190989057274</c:v>
                </c:pt>
                <c:pt idx="113">
                  <c:v>64.828235005600348</c:v>
                </c:pt>
                <c:pt idx="114">
                  <c:v>64.262462454091164</c:v>
                </c:pt>
                <c:pt idx="115">
                  <c:v>63.319506470634245</c:v>
                </c:pt>
                <c:pt idx="116">
                  <c:v>61.99936618975876</c:v>
                </c:pt>
                <c:pt idx="117">
                  <c:v>61.009259356344373</c:v>
                </c:pt>
                <c:pt idx="118">
                  <c:v>60.632082848163137</c:v>
                </c:pt>
                <c:pt idx="119">
                  <c:v>62.140811383129233</c:v>
                </c:pt>
                <c:pt idx="120">
                  <c:v>65.063973676913022</c:v>
                </c:pt>
                <c:pt idx="121">
                  <c:v>66.478407868466121</c:v>
                </c:pt>
                <c:pt idx="122">
                  <c:v>66.242669197153432</c:v>
                </c:pt>
                <c:pt idx="123">
                  <c:v>68.647210222120918</c:v>
                </c:pt>
                <c:pt idx="124">
                  <c:v>68.977243236846618</c:v>
                </c:pt>
                <c:pt idx="125">
                  <c:v>69.637309699033395</c:v>
                </c:pt>
                <c:pt idx="126">
                  <c:v>72.419034588684028</c:v>
                </c:pt>
                <c:pt idx="127">
                  <c:v>69.954513839880221</c:v>
                </c:pt>
                <c:pt idx="128">
                  <c:v>70.049301934392744</c:v>
                </c:pt>
                <c:pt idx="129">
                  <c:v>70.286275199821858</c:v>
                </c:pt>
                <c:pt idx="130">
                  <c:v>69.243594043592836</c:v>
                </c:pt>
                <c:pt idx="131">
                  <c:v>71.897690548686242</c:v>
                </c:pt>
                <c:pt idx="132">
                  <c:v>71.613327130619524</c:v>
                </c:pt>
                <c:pt idx="133">
                  <c:v>69.480567309021964</c:v>
                </c:pt>
                <c:pt idx="134">
                  <c:v>68.911825759884678</c:v>
                </c:pt>
                <c:pt idx="135">
                  <c:v>68.106118301820203</c:v>
                </c:pt>
                <c:pt idx="136">
                  <c:v>70.85500939245722</c:v>
                </c:pt>
                <c:pt idx="137">
                  <c:v>68.769647512734579</c:v>
                </c:pt>
                <c:pt idx="138">
                  <c:v>68.580064832678445</c:v>
                </c:pt>
                <c:pt idx="139">
                  <c:v>67.774356941878551</c:v>
                </c:pt>
                <c:pt idx="140">
                  <c:v>65.831173309306024</c:v>
                </c:pt>
                <c:pt idx="141">
                  <c:v>62.987494124156477</c:v>
                </c:pt>
                <c:pt idx="142">
                  <c:v>62.608342611577235</c:v>
                </c:pt>
                <c:pt idx="143">
                  <c:v>62.181786233356576</c:v>
                </c:pt>
                <c:pt idx="144">
                  <c:v>62.466157007925219</c:v>
                </c:pt>
                <c:pt idx="145">
                  <c:v>61.139105077127553</c:v>
                </c:pt>
                <c:pt idx="146">
                  <c:v>58.721978375580015</c:v>
                </c:pt>
                <c:pt idx="147">
                  <c:v>56.928940947208481</c:v>
                </c:pt>
                <c:pt idx="148">
                  <c:v>57.690980642607244</c:v>
                </c:pt>
                <c:pt idx="149">
                  <c:v>57.377200304301368</c:v>
                </c:pt>
                <c:pt idx="150">
                  <c:v>57.19789595563465</c:v>
                </c:pt>
                <c:pt idx="151">
                  <c:v>55.673813535689277</c:v>
                </c:pt>
                <c:pt idx="152">
                  <c:v>54.015255126104762</c:v>
                </c:pt>
                <c:pt idx="153">
                  <c:v>54.149734144891767</c:v>
                </c:pt>
                <c:pt idx="154">
                  <c:v>53.835950777438036</c:v>
                </c:pt>
                <c:pt idx="155">
                  <c:v>53.522170439132154</c:v>
                </c:pt>
                <c:pt idx="156">
                  <c:v>53.611821098891589</c:v>
                </c:pt>
                <c:pt idx="157">
                  <c:v>54.060080455984469</c:v>
                </c:pt>
                <c:pt idx="158">
                  <c:v>54.284210134530916</c:v>
                </c:pt>
                <c:pt idx="159">
                  <c:v>54.642818831864361</c:v>
                </c:pt>
                <c:pt idx="160">
                  <c:v>53.92560446634532</c:v>
                </c:pt>
                <c:pt idx="161">
                  <c:v>52.760127281850131</c:v>
                </c:pt>
                <c:pt idx="162">
                  <c:v>53.029085752159546</c:v>
                </c:pt>
                <c:pt idx="163">
                  <c:v>52.939432063252262</c:v>
                </c:pt>
                <c:pt idx="164">
                  <c:v>54.463514483197635</c:v>
                </c:pt>
                <c:pt idx="165">
                  <c:v>54.463514483197635</c:v>
                </c:pt>
                <c:pt idx="166">
                  <c:v>53.835950777438029</c:v>
                </c:pt>
                <c:pt idx="167">
                  <c:v>53.611821098891596</c:v>
                </c:pt>
                <c:pt idx="168">
                  <c:v>52.356696716520233</c:v>
                </c:pt>
                <c:pt idx="169">
                  <c:v>50.787788966695139</c:v>
                </c:pt>
                <c:pt idx="170">
                  <c:v>50.025745809413124</c:v>
                </c:pt>
                <c:pt idx="171">
                  <c:v>50.612902413799489</c:v>
                </c:pt>
                <c:pt idx="172">
                  <c:v>50.417183545670703</c:v>
                </c:pt>
                <c:pt idx="173">
                  <c:v>49.947456617767074</c:v>
                </c:pt>
                <c:pt idx="174">
                  <c:v>49.282013418147095</c:v>
                </c:pt>
                <c:pt idx="175">
                  <c:v>48.8514326006404</c:v>
                </c:pt>
                <c:pt idx="176">
                  <c:v>47.794549068350406</c:v>
                </c:pt>
                <c:pt idx="177">
                  <c:v>48.734000327745235</c:v>
                </c:pt>
                <c:pt idx="178">
                  <c:v>48.225129885857086</c:v>
                </c:pt>
                <c:pt idx="179">
                  <c:v>48.225129885857086</c:v>
                </c:pt>
                <c:pt idx="180">
                  <c:v>48.734000327745235</c:v>
                </c:pt>
                <c:pt idx="181">
                  <c:v>47.050816677084356</c:v>
                </c:pt>
                <c:pt idx="182">
                  <c:v>46.346230396215262</c:v>
                </c:pt>
                <c:pt idx="183">
                  <c:v>46.307087314966147</c:v>
                </c:pt>
                <c:pt idx="184">
                  <c:v>45.250203782676138</c:v>
                </c:pt>
                <c:pt idx="185">
                  <c:v>44.349898633678265</c:v>
                </c:pt>
                <c:pt idx="186">
                  <c:v>43.91931478702373</c:v>
                </c:pt>
                <c:pt idx="187">
                  <c:v>43.801885110541001</c:v>
                </c:pt>
                <c:pt idx="188">
                  <c:v>44.232465928047681</c:v>
                </c:pt>
                <c:pt idx="189">
                  <c:v>44.096263324134199</c:v>
                </c:pt>
                <c:pt idx="190">
                  <c:v>44.572977630656268</c:v>
                </c:pt>
                <c:pt idx="191">
                  <c:v>45.185899733916692</c:v>
                </c:pt>
                <c:pt idx="192">
                  <c:v>44.641084125437892</c:v>
                </c:pt>
                <c:pt idx="193">
                  <c:v>46.071232237828958</c:v>
                </c:pt>
                <c:pt idx="194">
                  <c:v>46.786303697612048</c:v>
                </c:pt>
                <c:pt idx="195">
                  <c:v>46.173386787176511</c:v>
                </c:pt>
                <c:pt idx="196">
                  <c:v>45.356155585220989</c:v>
                </c:pt>
                <c:pt idx="197">
                  <c:v>43.99410877478666</c:v>
                </c:pt>
                <c:pt idx="198">
                  <c:v>43.313085369569507</c:v>
                </c:pt>
                <c:pt idx="199">
                  <c:v>42.666115211743154</c:v>
                </c:pt>
                <c:pt idx="200">
                  <c:v>43.244984067612762</c:v>
                </c:pt>
                <c:pt idx="201">
                  <c:v>43.108778867286837</c:v>
                </c:pt>
                <c:pt idx="202">
                  <c:v>43.789804868916441</c:v>
                </c:pt>
                <c:pt idx="203">
                  <c:v>43.82385292348237</c:v>
                </c:pt>
                <c:pt idx="204">
                  <c:v>43.585495770221343</c:v>
                </c:pt>
                <c:pt idx="205">
                  <c:v>44.334620477395248</c:v>
                </c:pt>
                <c:pt idx="206">
                  <c:v>42.461806113048048</c:v>
                </c:pt>
                <c:pt idx="207">
                  <c:v>42.257499610765386</c:v>
                </c:pt>
                <c:pt idx="208">
                  <c:v>42.126369098558513</c:v>
                </c:pt>
                <c:pt idx="209">
                  <c:v>42.847597950449213</c:v>
                </c:pt>
                <c:pt idx="210">
                  <c:v>42.388635315797153</c:v>
                </c:pt>
                <c:pt idx="211">
                  <c:v>42.585331300475161</c:v>
                </c:pt>
                <c:pt idx="212">
                  <c:v>41.765754672613163</c:v>
                </c:pt>
                <c:pt idx="213">
                  <c:v>41.306789874284064</c:v>
                </c:pt>
                <c:pt idx="214">
                  <c:v>40.78225960348383</c:v>
                </c:pt>
                <c:pt idx="215">
                  <c:v>39.962680811944793</c:v>
                </c:pt>
                <c:pt idx="216">
                  <c:v>39.995463115444956</c:v>
                </c:pt>
                <c:pt idx="217">
                  <c:v>39.667631425735181</c:v>
                </c:pt>
                <c:pt idx="218">
                  <c:v>39.208666627406082</c:v>
                </c:pt>
                <c:pt idx="219">
                  <c:v>39.962680811944779</c:v>
                </c:pt>
                <c:pt idx="220">
                  <c:v>39.503715580880275</c:v>
                </c:pt>
                <c:pt idx="221">
                  <c:v>39.569281053351418</c:v>
                </c:pt>
                <c:pt idx="222">
                  <c:v>39.700414161970741</c:v>
                </c:pt>
                <c:pt idx="223">
                  <c:v>40.45442791377404</c:v>
                </c:pt>
                <c:pt idx="224">
                  <c:v>40.782259603483816</c:v>
                </c:pt>
                <c:pt idx="225">
                  <c:v>40.15937896029984</c:v>
                </c:pt>
                <c:pt idx="226">
                  <c:v>40.585561455128769</c:v>
                </c:pt>
                <c:pt idx="227">
                  <c:v>40.028245851680516</c:v>
                </c:pt>
                <c:pt idx="228">
                  <c:v>38.946403006579878</c:v>
                </c:pt>
                <c:pt idx="229">
                  <c:v>37.733424456447487</c:v>
                </c:pt>
                <c:pt idx="230">
                  <c:v>37.635076247740777</c:v>
                </c:pt>
                <c:pt idx="231">
                  <c:v>37.536725875357028</c:v>
                </c:pt>
                <c:pt idx="232">
                  <c:v>37.597024957923772</c:v>
                </c:pt>
                <c:pt idx="233">
                  <c:v>37.868375156828222</c:v>
                </c:pt>
                <c:pt idx="234">
                  <c:v>38.049274568205512</c:v>
                </c:pt>
                <c:pt idx="235">
                  <c:v>37.476426792790271</c:v>
                </c:pt>
                <c:pt idx="236">
                  <c:v>37.536725875357021</c:v>
                </c:pt>
                <c:pt idx="237">
                  <c:v>37.265375676452571</c:v>
                </c:pt>
                <c:pt idx="238">
                  <c:v>37.325676922696353</c:v>
                </c:pt>
                <c:pt idx="239">
                  <c:v>37.235226135169185</c:v>
                </c:pt>
                <c:pt idx="240">
                  <c:v>36.360876023153679</c:v>
                </c:pt>
                <c:pt idx="241">
                  <c:v>36.179976611776389</c:v>
                </c:pt>
                <c:pt idx="242">
                  <c:v>36.541775434530969</c:v>
                </c:pt>
                <c:pt idx="243">
                  <c:v>36.451326810680847</c:v>
                </c:pt>
                <c:pt idx="244">
                  <c:v>36.179976611776397</c:v>
                </c:pt>
                <c:pt idx="245">
                  <c:v>35.878476871588575</c:v>
                </c:pt>
                <c:pt idx="246">
                  <c:v>35.938775954155318</c:v>
                </c:pt>
                <c:pt idx="247">
                  <c:v>36.391025564437058</c:v>
                </c:pt>
                <c:pt idx="248">
                  <c:v>37.084476265075281</c:v>
                </c:pt>
                <c:pt idx="249">
                  <c:v>38.019125026922133</c:v>
                </c:pt>
                <c:pt idx="250">
                  <c:v>38.079426273165915</c:v>
                </c:pt>
                <c:pt idx="251">
                  <c:v>37.898524698111594</c:v>
                </c:pt>
                <c:pt idx="252">
                  <c:v>38.015583953085844</c:v>
                </c:pt>
                <c:pt idx="253">
                  <c:v>36.932770049731687</c:v>
                </c:pt>
                <c:pt idx="254">
                  <c:v>36.903505019620418</c:v>
                </c:pt>
                <c:pt idx="255">
                  <c:v>36.405996478581052</c:v>
                </c:pt>
                <c:pt idx="256">
                  <c:v>36.991301840895858</c:v>
                </c:pt>
                <c:pt idx="257">
                  <c:v>36.844975392133307</c:v>
                </c:pt>
                <c:pt idx="258">
                  <c:v>36.844975392133307</c:v>
                </c:pt>
                <c:pt idx="259">
                  <c:v>36.347464254681491</c:v>
                </c:pt>
                <c:pt idx="260">
                  <c:v>36.142608611167219</c:v>
                </c:pt>
                <c:pt idx="261">
                  <c:v>35.791426086154992</c:v>
                </c:pt>
                <c:pt idx="262">
                  <c:v>36.669384345994892</c:v>
                </c:pt>
                <c:pt idx="263">
                  <c:v>36.025546759780525</c:v>
                </c:pt>
                <c:pt idx="264">
                  <c:v>36.31819965730562</c:v>
                </c:pt>
                <c:pt idx="265">
                  <c:v>35.879220743753379</c:v>
                </c:pt>
                <c:pt idx="266">
                  <c:v>35.410976800089863</c:v>
                </c:pt>
                <c:pt idx="267">
                  <c:v>35.352447172602744</c:v>
                </c:pt>
                <c:pt idx="268">
                  <c:v>35.001262483913486</c:v>
                </c:pt>
                <c:pt idx="269">
                  <c:v>35.059794275077643</c:v>
                </c:pt>
                <c:pt idx="270">
                  <c:v>36.171873208543076</c:v>
                </c:pt>
                <c:pt idx="271">
                  <c:v>37.785171821899155</c:v>
                </c:pt>
                <c:pt idx="272">
                  <c:v>37.558743020134798</c:v>
                </c:pt>
                <c:pt idx="273">
                  <c:v>37.105889743960155</c:v>
                </c:pt>
                <c:pt idx="274">
                  <c:v>40.813645469825275</c:v>
                </c:pt>
                <c:pt idx="275">
                  <c:v>41.408020533537453</c:v>
                </c:pt>
                <c:pt idx="276">
                  <c:v>42.059002148587602</c:v>
                </c:pt>
                <c:pt idx="277">
                  <c:v>44.832741339035643</c:v>
                </c:pt>
                <c:pt idx="278">
                  <c:v>44.464799404441891</c:v>
                </c:pt>
                <c:pt idx="279">
                  <c:v>45.823363993055281</c:v>
                </c:pt>
                <c:pt idx="280">
                  <c:v>43.587389420362783</c:v>
                </c:pt>
                <c:pt idx="281">
                  <c:v>42.172214385792735</c:v>
                </c:pt>
                <c:pt idx="282">
                  <c:v>46.247916373605669</c:v>
                </c:pt>
                <c:pt idx="283">
                  <c:v>45.002564454932816</c:v>
                </c:pt>
                <c:pt idx="284">
                  <c:v>42.823195568107472</c:v>
                </c:pt>
                <c:pt idx="285">
                  <c:v>41.691055886639766</c:v>
                </c:pt>
                <c:pt idx="286">
                  <c:v>44.917652680616513</c:v>
                </c:pt>
                <c:pt idx="287">
                  <c:v>46.191310255003096</c:v>
                </c:pt>
                <c:pt idx="288">
                  <c:v>47.181932909022741</c:v>
                </c:pt>
                <c:pt idx="289">
                  <c:v>48.483895706387649</c:v>
                </c:pt>
                <c:pt idx="290">
                  <c:v>49.333000467488425</c:v>
                </c:pt>
                <c:pt idx="291">
                  <c:v>51.54067457729208</c:v>
                </c:pt>
                <c:pt idx="292">
                  <c:v>58.81467289619291</c:v>
                </c:pt>
                <c:pt idx="293">
                  <c:v>61.192164929068866</c:v>
                </c:pt>
                <c:pt idx="294">
                  <c:v>45.568634295666648</c:v>
                </c:pt>
                <c:pt idx="295">
                  <c:v>46.94355238804971</c:v>
                </c:pt>
                <c:pt idx="296">
                  <c:v>47.364445125262272</c:v>
                </c:pt>
                <c:pt idx="297">
                  <c:v>46.6348965024347</c:v>
                </c:pt>
                <c:pt idx="298">
                  <c:v>43.969243365559315</c:v>
                </c:pt>
                <c:pt idx="299">
                  <c:v>44.221781258110973</c:v>
                </c:pt>
                <c:pt idx="300">
                  <c:v>44.025361358622689</c:v>
                </c:pt>
                <c:pt idx="301">
                  <c:v>43.660591374562976</c:v>
                </c:pt>
                <c:pt idx="302">
                  <c:v>44.698791988386901</c:v>
                </c:pt>
                <c:pt idx="303">
                  <c:v>44.782971574394395</c:v>
                </c:pt>
                <c:pt idx="304">
                  <c:v>40.237328454651312</c:v>
                </c:pt>
                <c:pt idx="305">
                  <c:v>39.339424987162829</c:v>
                </c:pt>
                <c:pt idx="306">
                  <c:v>38.497639945473118</c:v>
                </c:pt>
                <c:pt idx="307">
                  <c:v>40.405687193930866</c:v>
                </c:pt>
                <c:pt idx="308">
                  <c:v>39.732260458785319</c:v>
                </c:pt>
                <c:pt idx="309">
                  <c:v>40.293450775068727</c:v>
                </c:pt>
                <c:pt idx="310">
                  <c:v>40.181210028852526</c:v>
                </c:pt>
                <c:pt idx="311">
                  <c:v>39.002711835957747</c:v>
                </c:pt>
                <c:pt idx="312">
                  <c:v>40.517923180057593</c:v>
                </c:pt>
                <c:pt idx="313">
                  <c:v>45.905351774225792</c:v>
                </c:pt>
                <c:pt idx="314">
                  <c:v>47.115561250488163</c:v>
                </c:pt>
                <c:pt idx="315">
                  <c:v>46.64798198840996</c:v>
                </c:pt>
                <c:pt idx="316">
                  <c:v>45.932858167642607</c:v>
                </c:pt>
                <c:pt idx="317">
                  <c:v>43.484941043673786</c:v>
                </c:pt>
                <c:pt idx="318">
                  <c:v>44.915184790589812</c:v>
                </c:pt>
                <c:pt idx="319">
                  <c:v>45.960364561059428</c:v>
                </c:pt>
                <c:pt idx="320">
                  <c:v>42.38475281372461</c:v>
                </c:pt>
                <c:pt idx="321">
                  <c:v>41.229551796941806</c:v>
                </c:pt>
                <c:pt idx="322">
                  <c:v>40.899496279974947</c:v>
                </c:pt>
                <c:pt idx="323">
                  <c:v>41.6146201007423</c:v>
                </c:pt>
                <c:pt idx="324">
                  <c:v>40.184376353826266</c:v>
                </c:pt>
                <c:pt idx="325">
                  <c:v>40.459423411313566</c:v>
                </c:pt>
                <c:pt idx="326">
                  <c:v>41.422087896151375</c:v>
                </c:pt>
                <c:pt idx="327">
                  <c:v>40.514431870793118</c:v>
                </c:pt>
                <c:pt idx="328">
                  <c:v>40.156869960409438</c:v>
                </c:pt>
                <c:pt idx="329">
                  <c:v>40.816981427078559</c:v>
                </c:pt>
                <c:pt idx="330">
                  <c:v>41.339573043254987</c:v>
                </c:pt>
                <c:pt idx="331">
                  <c:v>41.20204973087904</c:v>
                </c:pt>
                <c:pt idx="332">
                  <c:v>41.147040838664076</c:v>
                </c:pt>
                <c:pt idx="333">
                  <c:v>40.624449222487634</c:v>
                </c:pt>
                <c:pt idx="334">
                  <c:v>40.860031243582945</c:v>
                </c:pt>
                <c:pt idx="335">
                  <c:v>39.36802187380551</c:v>
                </c:pt>
                <c:pt idx="336">
                  <c:v>39.080093581455102</c:v>
                </c:pt>
                <c:pt idx="337">
                  <c:v>37.143100661616522</c:v>
                </c:pt>
                <c:pt idx="338">
                  <c:v>36.855171936530716</c:v>
                </c:pt>
                <c:pt idx="339">
                  <c:v>36.253133561494231</c:v>
                </c:pt>
                <c:pt idx="340">
                  <c:v>35.834323147060623</c:v>
                </c:pt>
                <c:pt idx="341">
                  <c:v>35.598744587848579</c:v>
                </c:pt>
                <c:pt idx="342">
                  <c:v>36.462538552343318</c:v>
                </c:pt>
                <c:pt idx="343">
                  <c:v>36.27931059174044</c:v>
                </c:pt>
                <c:pt idx="344">
                  <c:v>35.441689762873239</c:v>
                </c:pt>
                <c:pt idx="345">
                  <c:v>34.839655282455418</c:v>
                </c:pt>
                <c:pt idx="346">
                  <c:v>35.49404425610107</c:v>
                </c:pt>
                <c:pt idx="347">
                  <c:v>35.232288666642809</c:v>
                </c:pt>
                <c:pt idx="348">
                  <c:v>34.630250291606323</c:v>
                </c:pt>
                <c:pt idx="349">
                  <c:v>33.897334121840707</c:v>
                </c:pt>
                <c:pt idx="350">
                  <c:v>34.002034886323621</c:v>
                </c:pt>
                <c:pt idx="351">
                  <c:v>35.834323147060616</c:v>
                </c:pt>
                <c:pt idx="352">
                  <c:v>36.20078296288505</c:v>
                </c:pt>
                <c:pt idx="353">
                  <c:v>35.808150011433071</c:v>
                </c:pt>
                <c:pt idx="354">
                  <c:v>35.598744587848564</c:v>
                </c:pt>
                <c:pt idx="355">
                  <c:v>32.902662362616823</c:v>
                </c:pt>
                <c:pt idx="356">
                  <c:v>31.986518232248319</c:v>
                </c:pt>
                <c:pt idx="357">
                  <c:v>32.195923655832829</c:v>
                </c:pt>
                <c:pt idx="358">
                  <c:v>32.1273234099517</c:v>
                </c:pt>
                <c:pt idx="359">
                  <c:v>31.830059283928559</c:v>
                </c:pt>
                <c:pt idx="360">
                  <c:v>31.692863119520386</c:v>
                </c:pt>
                <c:pt idx="361">
                  <c:v>31.075466964885969</c:v>
                </c:pt>
                <c:pt idx="362">
                  <c:v>31.921526999662401</c:v>
                </c:pt>
                <c:pt idx="363">
                  <c:v>31.990123783660266</c:v>
                </c:pt>
                <c:pt idx="364">
                  <c:v>30.869670554596667</c:v>
                </c:pt>
                <c:pt idx="365">
                  <c:v>30.229409959257378</c:v>
                </c:pt>
                <c:pt idx="366">
                  <c:v>30.206545518552506</c:v>
                </c:pt>
                <c:pt idx="367">
                  <c:v>30.137945705406793</c:v>
                </c:pt>
                <c:pt idx="368">
                  <c:v>29.955013303086954</c:v>
                </c:pt>
                <c:pt idx="369">
                  <c:v>30.57240599583811</c:v>
                </c:pt>
                <c:pt idx="370">
                  <c:v>30.846802652008531</c:v>
                </c:pt>
                <c:pt idx="371">
                  <c:v>29.086088827605643</c:v>
                </c:pt>
                <c:pt idx="372">
                  <c:v>28.765960260877634</c:v>
                </c:pt>
                <c:pt idx="373">
                  <c:v>28.537295948000203</c:v>
                </c:pt>
                <c:pt idx="374">
                  <c:v>27.96563559854205</c:v>
                </c:pt>
                <c:pt idx="375">
                  <c:v>26.799446564302194</c:v>
                </c:pt>
                <c:pt idx="376">
                  <c:v>26.570782251424763</c:v>
                </c:pt>
                <c:pt idx="377">
                  <c:v>25.976255730320101</c:v>
                </c:pt>
                <c:pt idx="378">
                  <c:v>25.635255036701501</c:v>
                </c:pt>
                <c:pt idx="379">
                  <c:v>25.093664172476405</c:v>
                </c:pt>
                <c:pt idx="380">
                  <c:v>25.374489113119282</c:v>
                </c:pt>
                <c:pt idx="381">
                  <c:v>25.254135876226194</c:v>
                </c:pt>
                <c:pt idx="382">
                  <c:v>25.113722756801646</c:v>
                </c:pt>
                <c:pt idx="383">
                  <c:v>24.63231110743553</c:v>
                </c:pt>
                <c:pt idx="384">
                  <c:v>23.97036700631735</c:v>
                </c:pt>
                <c:pt idx="385">
                  <c:v>23.629366745434151</c:v>
                </c:pt>
                <c:pt idx="386">
                  <c:v>23.047658712558565</c:v>
                </c:pt>
                <c:pt idx="387">
                  <c:v>22.566245332250823</c:v>
                </c:pt>
                <c:pt idx="388">
                  <c:v>22.686598136408499</c:v>
                </c:pt>
                <c:pt idx="389">
                  <c:v>22.766834204651097</c:v>
                </c:pt>
                <c:pt idx="390">
                  <c:v>22.686598136408502</c:v>
                </c:pt>
                <c:pt idx="391">
                  <c:v>23.168011949451653</c:v>
                </c:pt>
                <c:pt idx="392">
                  <c:v>23.368600821851931</c:v>
                </c:pt>
                <c:pt idx="393">
                  <c:v>23.067717296883817</c:v>
                </c:pt>
                <c:pt idx="394">
                  <c:v>22.305478975933202</c:v>
                </c:pt>
                <c:pt idx="395">
                  <c:v>22.425833511032508</c:v>
                </c:pt>
                <c:pt idx="396">
                  <c:v>21.904301231132649</c:v>
                </c:pt>
                <c:pt idx="397">
                  <c:v>22.044714350557197</c:v>
                </c:pt>
                <c:pt idx="398">
                  <c:v>22.193289292495031</c:v>
                </c:pt>
                <c:pt idx="399">
                  <c:v>22.230432270692525</c:v>
                </c:pt>
                <c:pt idx="400">
                  <c:v>21.766137470354199</c:v>
                </c:pt>
                <c:pt idx="401">
                  <c:v>21.580419982954275</c:v>
                </c:pt>
                <c:pt idx="402">
                  <c:v>21.506133593823872</c:v>
                </c:pt>
                <c:pt idx="403">
                  <c:v>21.673278510286529</c:v>
                </c:pt>
                <c:pt idx="404">
                  <c:v>21.227556713620871</c:v>
                </c:pt>
                <c:pt idx="405">
                  <c:v>21.357558651886031</c:v>
                </c:pt>
                <c:pt idx="406">
                  <c:v>21.561848277487812</c:v>
                </c:pt>
                <c:pt idx="407">
                  <c:v>21.728994492156694</c:v>
                </c:pt>
                <c:pt idx="408">
                  <c:v>23.140450598638129</c:v>
                </c:pt>
                <c:pt idx="409">
                  <c:v>22.286148252562686</c:v>
                </c:pt>
                <c:pt idx="410">
                  <c:v>21.283271397284814</c:v>
                </c:pt>
                <c:pt idx="411">
                  <c:v>21.116125182615935</c:v>
                </c:pt>
                <c:pt idx="412">
                  <c:v>21.636135532089025</c:v>
                </c:pt>
                <c:pt idx="413">
                  <c:v>21.338987379154986</c:v>
                </c:pt>
                <c:pt idx="414">
                  <c:v>21.394702062818933</c:v>
                </c:pt>
                <c:pt idx="415">
                  <c:v>21.450417611953693</c:v>
                </c:pt>
                <c:pt idx="416">
                  <c:v>22.286148252562679</c:v>
                </c:pt>
                <c:pt idx="417">
                  <c:v>22.249005274365182</c:v>
                </c:pt>
                <c:pt idx="418">
                  <c:v>21.227556713620864</c:v>
                </c:pt>
                <c:pt idx="419">
                  <c:v>20.763262346017942</c:v>
                </c:pt>
                <c:pt idx="420">
                  <c:v>19.574667137869337</c:v>
                </c:pt>
                <c:pt idx="421">
                  <c:v>19.258945981262624</c:v>
                </c:pt>
                <c:pt idx="422">
                  <c:v>19.535610170966244</c:v>
                </c:pt>
                <c:pt idx="423">
                  <c:v>19.581721157740454</c:v>
                </c:pt>
                <c:pt idx="424">
                  <c:v>19.04376180905173</c:v>
                </c:pt>
                <c:pt idx="425">
                  <c:v>18.982280493352786</c:v>
                </c:pt>
                <c:pt idx="426">
                  <c:v>19.120613453675407</c:v>
                </c:pt>
                <c:pt idx="427">
                  <c:v>19.397277643379031</c:v>
                </c:pt>
                <c:pt idx="428">
                  <c:v>18.859318294690301</c:v>
                </c:pt>
                <c:pt idx="429">
                  <c:v>18.367469932775784</c:v>
                </c:pt>
                <c:pt idx="430">
                  <c:v>18.582654104986684</c:v>
                </c:pt>
                <c:pt idx="431">
                  <c:v>18.905429281464514</c:v>
                </c:pt>
                <c:pt idx="432">
                  <c:v>18.767096753877297</c:v>
                </c:pt>
                <c:pt idx="433">
                  <c:v>18.613393897365341</c:v>
                </c:pt>
                <c:pt idx="434">
                  <c:v>19.0283919128624</c:v>
                </c:pt>
                <c:pt idx="435">
                  <c:v>18.828578069576235</c:v>
                </c:pt>
                <c:pt idx="436">
                  <c:v>18.78246665006662</c:v>
                </c:pt>
                <c:pt idx="437">
                  <c:v>18.290618720887508</c:v>
                </c:pt>
                <c:pt idx="438">
                  <c:v>16.87655451810749</c:v>
                </c:pt>
                <c:pt idx="439">
                  <c:v>16.601692238639028</c:v>
                </c:pt>
                <c:pt idx="440">
                  <c:v>16.354315581287842</c:v>
                </c:pt>
                <c:pt idx="441">
                  <c:v>16.36805839234648</c:v>
                </c:pt>
                <c:pt idx="442">
                  <c:v>16.574205318315528</c:v>
                </c:pt>
                <c:pt idx="443">
                  <c:v>16.065710058025331</c:v>
                </c:pt>
                <c:pt idx="444">
                  <c:v>16.285599795053017</c:v>
                </c:pt>
                <c:pt idx="445">
                  <c:v>15.763360858233373</c:v>
                </c:pt>
                <c:pt idx="446">
                  <c:v>15.557213932264322</c:v>
                </c:pt>
                <c:pt idx="447">
                  <c:v>16.258114172935745</c:v>
                </c:pt>
                <c:pt idx="448">
                  <c:v>16.326829526435155</c:v>
                </c:pt>
                <c:pt idx="449">
                  <c:v>16.230627252612244</c:v>
                </c:pt>
                <c:pt idx="450">
                  <c:v>15.942021729349735</c:v>
                </c:pt>
                <c:pt idx="451">
                  <c:v>15.818333400674142</c:v>
                </c:pt>
                <c:pt idx="452">
                  <c:v>15.502242255294361</c:v>
                </c:pt>
                <c:pt idx="453">
                  <c:v>15.392296737677405</c:v>
                </c:pt>
                <c:pt idx="454">
                  <c:v>15.337324195236631</c:v>
                </c:pt>
                <c:pt idx="455">
                  <c:v>15.337324195236631</c:v>
                </c:pt>
                <c:pt idx="456">
                  <c:v>15.048718671974122</c:v>
                </c:pt>
                <c:pt idx="457">
                  <c:v>15.131177269267582</c:v>
                </c:pt>
                <c:pt idx="458">
                  <c:v>15.421918774499529</c:v>
                </c:pt>
                <c:pt idx="459">
                  <c:v>15.700018780283902</c:v>
                </c:pt>
                <c:pt idx="460">
                  <c:v>15.15645983542732</c:v>
                </c:pt>
                <c:pt idx="461">
                  <c:v>14.70138705934967</c:v>
                </c:pt>
                <c:pt idx="462">
                  <c:v>14.600259391123165</c:v>
                </c:pt>
                <c:pt idx="463">
                  <c:v>14.612900025099924</c:v>
                </c:pt>
                <c:pt idx="464">
                  <c:v>14.372722353981228</c:v>
                </c:pt>
                <c:pt idx="465">
                  <c:v>14.208391083135524</c:v>
                </c:pt>
                <c:pt idx="466">
                  <c:v>14.094622348196852</c:v>
                </c:pt>
                <c:pt idx="467">
                  <c:v>14.650823225236412</c:v>
                </c:pt>
                <c:pt idx="468">
                  <c:v>14.461209388230973</c:v>
                </c:pt>
                <c:pt idx="469">
                  <c:v>18.721199105658766</c:v>
                </c:pt>
                <c:pt idx="470">
                  <c:v>17.065237973987657</c:v>
                </c:pt>
                <c:pt idx="471">
                  <c:v>17.899539289547</c:v>
                </c:pt>
                <c:pt idx="472">
                  <c:v>19.201552284219122</c:v>
                </c:pt>
                <c:pt idx="473">
                  <c:v>20.415080841053932</c:v>
                </c:pt>
                <c:pt idx="474">
                  <c:v>18.999298678707738</c:v>
                </c:pt>
                <c:pt idx="475">
                  <c:v>18.164997363148395</c:v>
                </c:pt>
                <c:pt idx="476">
                  <c:v>17.381260747173119</c:v>
                </c:pt>
                <c:pt idx="477">
                  <c:v>17.191647342903085</c:v>
                </c:pt>
                <c:pt idx="478">
                  <c:v>16.610164332439197</c:v>
                </c:pt>
                <c:pt idx="479">
                  <c:v>19.391166121224565</c:v>
                </c:pt>
                <c:pt idx="480">
                  <c:v>19.985290631136024</c:v>
                </c:pt>
                <c:pt idx="481">
                  <c:v>19.467012088762143</c:v>
                </c:pt>
                <c:pt idx="482">
                  <c:v>20.051148632742365</c:v>
                </c:pt>
                <c:pt idx="483">
                  <c:v>18.908271487618322</c:v>
                </c:pt>
                <c:pt idx="484">
                  <c:v>18.260641841031557</c:v>
                </c:pt>
                <c:pt idx="485">
                  <c:v>16.863792285481331</c:v>
                </c:pt>
                <c:pt idx="486">
                  <c:v>16.965381249651806</c:v>
                </c:pt>
                <c:pt idx="487">
                  <c:v>16.927284522617065</c:v>
                </c:pt>
                <c:pt idx="488">
                  <c:v>16.99077805795902</c:v>
                </c:pt>
                <c:pt idx="489">
                  <c:v>17.689203484837243</c:v>
                </c:pt>
                <c:pt idx="490">
                  <c:v>18.692395804226891</c:v>
                </c:pt>
                <c:pt idx="491">
                  <c:v>18.540012357971182</c:v>
                </c:pt>
                <c:pt idx="492">
                  <c:v>18.400326666765967</c:v>
                </c:pt>
                <c:pt idx="493">
                  <c:v>18.66699813044886</c:v>
                </c:pt>
                <c:pt idx="494">
                  <c:v>17.778093395750997</c:v>
                </c:pt>
                <c:pt idx="495">
                  <c:v>17.333640812034364</c:v>
                </c:pt>
                <c:pt idx="496">
                  <c:v>17.181257365778652</c:v>
                </c:pt>
                <c:pt idx="497">
                  <c:v>16.889189093788545</c:v>
                </c:pt>
                <c:pt idx="498">
                  <c:v>16.139969184825084</c:v>
                </c:pt>
                <c:pt idx="499">
                  <c:v>16.863790987275113</c:v>
                </c:pt>
                <c:pt idx="500">
                  <c:v>16.34314711316603</c:v>
                </c:pt>
                <c:pt idx="501">
                  <c:v>16.152695500412445</c:v>
                </c:pt>
                <c:pt idx="502">
                  <c:v>15.438502060770363</c:v>
                </c:pt>
                <c:pt idx="503">
                  <c:v>15.640856926367007</c:v>
                </c:pt>
                <c:pt idx="504">
                  <c:v>15.628953673523943</c:v>
                </c:pt>
                <c:pt idx="505">
                  <c:v>15.498018324985669</c:v>
                </c:pt>
                <c:pt idx="506">
                  <c:v>15.509920712357916</c:v>
                </c:pt>
                <c:pt idx="507">
                  <c:v>15.7360829491115</c:v>
                </c:pt>
                <c:pt idx="508">
                  <c:v>15.724179263533031</c:v>
                </c:pt>
                <c:pt idx="509">
                  <c:v>15.593244347730165</c:v>
                </c:pt>
                <c:pt idx="510">
                  <c:v>15.605146302367007</c:v>
                </c:pt>
                <c:pt idx="511">
                  <c:v>15.49801832498567</c:v>
                </c:pt>
                <c:pt idx="512">
                  <c:v>15.962243887658865</c:v>
                </c:pt>
                <c:pt idx="513">
                  <c:v>15.986050826080398</c:v>
                </c:pt>
                <c:pt idx="514">
                  <c:v>15.664662999317727</c:v>
                </c:pt>
                <c:pt idx="515">
                  <c:v>15.569436976573233</c:v>
                </c:pt>
                <c:pt idx="516">
                  <c:v>15.640856926367015</c:v>
                </c:pt>
                <c:pt idx="517">
                  <c:v>15.736082949111507</c:v>
                </c:pt>
                <c:pt idx="518">
                  <c:v>15.867018297649782</c:v>
                </c:pt>
                <c:pt idx="519">
                  <c:v>15.402791436770368</c:v>
                </c:pt>
                <c:pt idx="520">
                  <c:v>15.890825236071313</c:v>
                </c:pt>
                <c:pt idx="521">
                  <c:v>15.599866064929598</c:v>
                </c:pt>
                <c:pt idx="522">
                  <c:v>15.834871249727243</c:v>
                </c:pt>
                <c:pt idx="523">
                  <c:v>15.890825236071313</c:v>
                </c:pt>
                <c:pt idx="524">
                  <c:v>15.73415554560829</c:v>
                </c:pt>
                <c:pt idx="525">
                  <c:v>15.846062220090213</c:v>
                </c:pt>
                <c:pt idx="526">
                  <c:v>15.655820051273665</c:v>
                </c:pt>
                <c:pt idx="527">
                  <c:v>15.42081486647602</c:v>
                </c:pt>
                <c:pt idx="528">
                  <c:v>15.454387777564952</c:v>
                </c:pt>
                <c:pt idx="529">
                  <c:v>15.3872428208579</c:v>
                </c:pt>
                <c:pt idx="530">
                  <c:v>15.890825236071301</c:v>
                </c:pt>
                <c:pt idx="531">
                  <c:v>15.622248005655537</c:v>
                </c:pt>
                <c:pt idx="532">
                  <c:v>15.47676842008468</c:v>
                </c:pt>
                <c:pt idx="533">
                  <c:v>15.174619576786206</c:v>
                </c:pt>
                <c:pt idx="534">
                  <c:v>15.185809681678368</c:v>
                </c:pt>
                <c:pt idx="535">
                  <c:v>15.006758050489392</c:v>
                </c:pt>
                <c:pt idx="536">
                  <c:v>15.185809681678366</c:v>
                </c:pt>
                <c:pt idx="537">
                  <c:v>15.342479804876797</c:v>
                </c:pt>
                <c:pt idx="538">
                  <c:v>16.036304821642158</c:v>
                </c:pt>
                <c:pt idx="539">
                  <c:v>17.703721757745392</c:v>
                </c:pt>
                <c:pt idx="540">
                  <c:v>16.87560899124297</c:v>
                </c:pt>
                <c:pt idx="541">
                  <c:v>16.439170234530394</c:v>
                </c:pt>
                <c:pt idx="542">
                  <c:v>17.345619360838256</c:v>
                </c:pt>
                <c:pt idx="543">
                  <c:v>16.539886804120158</c:v>
                </c:pt>
                <c:pt idx="544">
                  <c:v>15.510340465702804</c:v>
                </c:pt>
                <c:pt idx="545">
                  <c:v>15.277421498302781</c:v>
                </c:pt>
                <c:pt idx="546">
                  <c:v>15.330356722446933</c:v>
                </c:pt>
                <c:pt idx="547">
                  <c:v>15.012739752021723</c:v>
                </c:pt>
                <c:pt idx="548">
                  <c:v>15.912656737359431</c:v>
                </c:pt>
                <c:pt idx="549">
                  <c:v>15.955005522504324</c:v>
                </c:pt>
                <c:pt idx="550">
                  <c:v>16.696114671732534</c:v>
                </c:pt>
                <c:pt idx="551">
                  <c:v>16.929033639132555</c:v>
                </c:pt>
                <c:pt idx="552">
                  <c:v>17.617205400539575</c:v>
                </c:pt>
                <c:pt idx="553">
                  <c:v>16.526717800211333</c:v>
                </c:pt>
                <c:pt idx="554">
                  <c:v>16.463194838861696</c:v>
                </c:pt>
                <c:pt idx="555">
                  <c:v>17.140779728534053</c:v>
                </c:pt>
                <c:pt idx="556">
                  <c:v>16.643178149382162</c:v>
                </c:pt>
                <c:pt idx="557">
                  <c:v>16.346734056955469</c:v>
                </c:pt>
                <c:pt idx="558">
                  <c:v>16.547892841886892</c:v>
                </c:pt>
                <c:pt idx="559">
                  <c:v>16.19851309258064</c:v>
                </c:pt>
                <c:pt idx="560">
                  <c:v>16.314972576280649</c:v>
                </c:pt>
                <c:pt idx="561">
                  <c:v>17.64896817942061</c:v>
                </c:pt>
                <c:pt idx="562">
                  <c:v>17.193715385413611</c:v>
                </c:pt>
                <c:pt idx="563">
                  <c:v>16.378496835836504</c:v>
                </c:pt>
                <c:pt idx="564">
                  <c:v>16.458294543111712</c:v>
                </c:pt>
                <c:pt idx="565">
                  <c:v>16.657789460402842</c:v>
                </c:pt>
                <c:pt idx="566">
                  <c:v>16.797435339950606</c:v>
                </c:pt>
                <c:pt idx="567">
                  <c:v>17.326096070211594</c:v>
                </c:pt>
                <c:pt idx="568">
                  <c:v>17.136576136789497</c:v>
                </c:pt>
                <c:pt idx="569">
                  <c:v>17.675210119977891</c:v>
                </c:pt>
                <c:pt idx="570">
                  <c:v>17.505639721558445</c:v>
                </c:pt>
                <c:pt idx="571">
                  <c:v>18.134048126832703</c:v>
                </c:pt>
                <c:pt idx="572">
                  <c:v>18.02432590068581</c:v>
                </c:pt>
                <c:pt idx="573">
                  <c:v>19.321040915768823</c:v>
                </c:pt>
                <c:pt idx="574">
                  <c:v>20.019270313507629</c:v>
                </c:pt>
                <c:pt idx="575">
                  <c:v>19.390863639174999</c:v>
                </c:pt>
                <c:pt idx="576">
                  <c:v>20.468133769228821</c:v>
                </c:pt>
                <c:pt idx="577">
                  <c:v>21.744897085632143</c:v>
                </c:pt>
                <c:pt idx="578">
                  <c:v>20.757399646722565</c:v>
                </c:pt>
                <c:pt idx="579">
                  <c:v>22.552851305930286</c:v>
                </c:pt>
                <c:pt idx="580">
                  <c:v>22.02419014293389</c:v>
                </c:pt>
                <c:pt idx="581">
                  <c:v>20.657652404444697</c:v>
                </c:pt>
                <c:pt idx="582">
                  <c:v>20.10904300465187</c:v>
                </c:pt>
                <c:pt idx="583">
                  <c:v>23.201207948000977</c:v>
                </c:pt>
                <c:pt idx="584">
                  <c:v>27.111299931840225</c:v>
                </c:pt>
                <c:pt idx="585">
                  <c:v>26.034029801786403</c:v>
                </c:pt>
                <c:pt idx="586">
                  <c:v>26.8719068100146</c:v>
                </c:pt>
                <c:pt idx="587">
                  <c:v>28.737179028951473</c:v>
                </c:pt>
                <c:pt idx="588">
                  <c:v>30.53263025542379</c:v>
                </c:pt>
                <c:pt idx="589">
                  <c:v>29.658668307068453</c:v>
                </c:pt>
                <c:pt idx="590">
                  <c:v>27.395333605526737</c:v>
                </c:pt>
                <c:pt idx="591">
                  <c:v>26.723054917416228</c:v>
                </c:pt>
                <c:pt idx="592">
                  <c:v>25.434522496146045</c:v>
                </c:pt>
                <c:pt idx="593">
                  <c:v>25.882707422748908</c:v>
                </c:pt>
                <c:pt idx="594">
                  <c:v>24.90790297880034</c:v>
                </c:pt>
                <c:pt idx="595">
                  <c:v>26.084391115729144</c:v>
                </c:pt>
                <c:pt idx="596">
                  <c:v>28.246883754413037</c:v>
                </c:pt>
                <c:pt idx="597">
                  <c:v>27.070398213896681</c:v>
                </c:pt>
                <c:pt idx="598">
                  <c:v>27.395333605526748</c:v>
                </c:pt>
                <c:pt idx="599">
                  <c:v>26.554985678124019</c:v>
                </c:pt>
                <c:pt idx="600">
                  <c:v>25.524159308372461</c:v>
                </c:pt>
                <c:pt idx="601">
                  <c:v>27.070398213896684</c:v>
                </c:pt>
                <c:pt idx="602">
                  <c:v>26.86871408818104</c:v>
                </c:pt>
                <c:pt idx="603">
                  <c:v>28.941572078315559</c:v>
                </c:pt>
                <c:pt idx="604">
                  <c:v>29.938783994379101</c:v>
                </c:pt>
                <c:pt idx="605">
                  <c:v>28.022792589317827</c:v>
                </c:pt>
                <c:pt idx="606">
                  <c:v>27.944360162252018</c:v>
                </c:pt>
                <c:pt idx="607">
                  <c:v>27.8435185321296</c:v>
                </c:pt>
                <c:pt idx="608">
                  <c:v>27.86695634724888</c:v>
                </c:pt>
                <c:pt idx="609">
                  <c:v>28.523200024849348</c:v>
                </c:pt>
                <c:pt idx="610">
                  <c:v>25.066196725246201</c:v>
                </c:pt>
                <c:pt idx="611">
                  <c:v>24.105267509390846</c:v>
                </c:pt>
                <c:pt idx="612">
                  <c:v>24.398234140086092</c:v>
                </c:pt>
                <c:pt idx="613">
                  <c:v>23.284963453309512</c:v>
                </c:pt>
                <c:pt idx="614">
                  <c:v>23.097462663296938</c:v>
                </c:pt>
                <c:pt idx="615">
                  <c:v>23.296680197192114</c:v>
                </c:pt>
                <c:pt idx="616">
                  <c:v>22.300596422334877</c:v>
                </c:pt>
                <c:pt idx="617">
                  <c:v>21.937316346281804</c:v>
                </c:pt>
                <c:pt idx="618">
                  <c:v>22.171690602855897</c:v>
                </c:pt>
                <c:pt idx="619">
                  <c:v>21.597476681760451</c:v>
                </c:pt>
                <c:pt idx="620">
                  <c:v>22.171690602855897</c:v>
                </c:pt>
                <c:pt idx="621">
                  <c:v>22.382626611575308</c:v>
                </c:pt>
                <c:pt idx="622">
                  <c:v>22.570124805175439</c:v>
                </c:pt>
                <c:pt idx="623">
                  <c:v>21.01154428584077</c:v>
                </c:pt>
                <c:pt idx="624">
                  <c:v>21.327948298919882</c:v>
                </c:pt>
                <c:pt idx="625">
                  <c:v>19.992020532187219</c:v>
                </c:pt>
                <c:pt idx="626">
                  <c:v>20.284986730147061</c:v>
                </c:pt>
                <c:pt idx="627">
                  <c:v>21.714663593679788</c:v>
                </c:pt>
                <c:pt idx="628">
                  <c:v>21.330820363816791</c:v>
                </c:pt>
                <c:pt idx="629">
                  <c:v>22.38365176175472</c:v>
                </c:pt>
                <c:pt idx="630">
                  <c:v>23.392615906004245</c:v>
                </c:pt>
                <c:pt idx="631">
                  <c:v>23.107473564204746</c:v>
                </c:pt>
                <c:pt idx="632">
                  <c:v>23.129408056519761</c:v>
                </c:pt>
                <c:pt idx="633">
                  <c:v>24.71962413052578</c:v>
                </c:pt>
                <c:pt idx="634">
                  <c:v>24.423514542568778</c:v>
                </c:pt>
                <c:pt idx="635">
                  <c:v>23.644856509331209</c:v>
                </c:pt>
                <c:pt idx="636">
                  <c:v>24.138372200769279</c:v>
                </c:pt>
                <c:pt idx="637">
                  <c:v>23.809360874339756</c:v>
                </c:pt>
                <c:pt idx="638">
                  <c:v>22.73459541682222</c:v>
                </c:pt>
                <c:pt idx="639">
                  <c:v>22.230114210168271</c:v>
                </c:pt>
                <c:pt idx="640">
                  <c:v>22.986836020149191</c:v>
                </c:pt>
                <c:pt idx="641">
                  <c:v>20.903105985646729</c:v>
                </c:pt>
                <c:pt idx="642">
                  <c:v>24.489316288572191</c:v>
                </c:pt>
                <c:pt idx="643">
                  <c:v>25.202170844864707</c:v>
                </c:pt>
                <c:pt idx="644">
                  <c:v>26.255003973744259</c:v>
                </c:pt>
                <c:pt idx="645">
                  <c:v>24.620921078785241</c:v>
                </c:pt>
                <c:pt idx="646">
                  <c:v>27.658779026749691</c:v>
                </c:pt>
                <c:pt idx="647">
                  <c:v>27.680713519064707</c:v>
                </c:pt>
                <c:pt idx="648">
                  <c:v>29.567037017350703</c:v>
                </c:pt>
                <c:pt idx="649">
                  <c:v>30.312793744851149</c:v>
                </c:pt>
                <c:pt idx="650">
                  <c:v>27.033660276040198</c:v>
                </c:pt>
                <c:pt idx="651">
                  <c:v>27.746514832332714</c:v>
                </c:pt>
                <c:pt idx="652">
                  <c:v>30.07152038768168</c:v>
                </c:pt>
                <c:pt idx="653">
                  <c:v>29.789952007609411</c:v>
                </c:pt>
                <c:pt idx="654">
                  <c:v>30.319299921696874</c:v>
                </c:pt>
                <c:pt idx="655">
                  <c:v>29.485857153185218</c:v>
                </c:pt>
                <c:pt idx="656">
                  <c:v>30.195409072850758</c:v>
                </c:pt>
                <c:pt idx="657">
                  <c:v>29.508383194801734</c:v>
                </c:pt>
                <c:pt idx="658">
                  <c:v>30.769809070171256</c:v>
                </c:pt>
                <c:pt idx="659">
                  <c:v>30.015205500008086</c:v>
                </c:pt>
                <c:pt idx="660">
                  <c:v>27.661292353994117</c:v>
                </c:pt>
                <c:pt idx="661">
                  <c:v>27.999175621739976</c:v>
                </c:pt>
                <c:pt idx="662">
                  <c:v>27.244572051576803</c:v>
                </c:pt>
                <c:pt idx="663">
                  <c:v>27.357200095982364</c:v>
                </c:pt>
                <c:pt idx="664">
                  <c:v>27.571190351205079</c:v>
                </c:pt>
                <c:pt idx="665">
                  <c:v>25.971881208089684</c:v>
                </c:pt>
                <c:pt idx="666">
                  <c:v>24.406360911031374</c:v>
                </c:pt>
                <c:pt idx="667">
                  <c:v>24.744242015100195</c:v>
                </c:pt>
                <c:pt idx="668">
                  <c:v>23.967114566997537</c:v>
                </c:pt>
                <c:pt idx="669">
                  <c:v>25.814203244128116</c:v>
                </c:pt>
                <c:pt idx="670">
                  <c:v>24.992023712792424</c:v>
                </c:pt>
                <c:pt idx="671">
                  <c:v>24.823082944390311</c:v>
                </c:pt>
                <c:pt idx="672">
                  <c:v>25.558964649900769</c:v>
                </c:pt>
                <c:pt idx="673">
                  <c:v>26.377764517707018</c:v>
                </c:pt>
                <c:pt idx="674">
                  <c:v>25.465683772811179</c:v>
                </c:pt>
                <c:pt idx="675">
                  <c:v>25.310215788573672</c:v>
                </c:pt>
                <c:pt idx="676">
                  <c:v>25.051102481511155</c:v>
                </c:pt>
                <c:pt idx="677">
                  <c:v>23.94209640217154</c:v>
                </c:pt>
                <c:pt idx="678">
                  <c:v>23.299493842809039</c:v>
                </c:pt>
                <c:pt idx="679">
                  <c:v>22.822725877096502</c:v>
                </c:pt>
                <c:pt idx="680">
                  <c:v>23.548242704136133</c:v>
                </c:pt>
                <c:pt idx="681">
                  <c:v>23.641523581225716</c:v>
                </c:pt>
                <c:pt idx="682">
                  <c:v>23.962826159113188</c:v>
                </c:pt>
                <c:pt idx="683">
                  <c:v>24.729802067300724</c:v>
                </c:pt>
                <c:pt idx="684">
                  <c:v>24.273761694852805</c:v>
                </c:pt>
                <c:pt idx="685">
                  <c:v>25.579694406842425</c:v>
                </c:pt>
                <c:pt idx="686">
                  <c:v>24.999280252834069</c:v>
                </c:pt>
                <c:pt idx="687">
                  <c:v>26.471045827532024</c:v>
                </c:pt>
                <c:pt idx="688">
                  <c:v>25.797348632757046</c:v>
                </c:pt>
                <c:pt idx="689">
                  <c:v>24.947456725950754</c:v>
                </c:pt>
                <c:pt idx="690">
                  <c:v>26.147332913427011</c:v>
                </c:pt>
                <c:pt idx="691">
                  <c:v>25.097440654374097</c:v>
                </c:pt>
                <c:pt idx="692">
                  <c:v>25.237425798481027</c:v>
                </c:pt>
                <c:pt idx="693">
                  <c:v>24.987451430481027</c:v>
                </c:pt>
                <c:pt idx="694">
                  <c:v>26.967249238583584</c:v>
                </c:pt>
                <c:pt idx="695">
                  <c:v>27.237222040687236</c:v>
                </c:pt>
                <c:pt idx="696">
                  <c:v>27.72717199237081</c:v>
                </c:pt>
                <c:pt idx="697">
                  <c:v>26.39730771416242</c:v>
                </c:pt>
                <c:pt idx="698">
                  <c:v>26.427304932582494</c:v>
                </c:pt>
                <c:pt idx="699">
                  <c:v>26.747272089003655</c:v>
                </c:pt>
                <c:pt idx="700">
                  <c:v>26.157332130478839</c:v>
                </c:pt>
                <c:pt idx="701">
                  <c:v>26.247323353003665</c:v>
                </c:pt>
                <c:pt idx="702">
                  <c:v>26.137333696375187</c:v>
                </c:pt>
                <c:pt idx="703">
                  <c:v>25.63738496037519</c:v>
                </c:pt>
                <c:pt idx="704">
                  <c:v>24.947456725950754</c:v>
                </c:pt>
                <c:pt idx="705">
                  <c:v>25.807367322902191</c:v>
                </c:pt>
                <c:pt idx="706">
                  <c:v>27.387206401845987</c:v>
                </c:pt>
                <c:pt idx="707">
                  <c:v>28.187126023840531</c:v>
                </c:pt>
                <c:pt idx="708">
                  <c:v>27.617184499419366</c:v>
                </c:pt>
                <c:pt idx="709">
                  <c:v>28.387104306581389</c:v>
                </c:pt>
                <c:pt idx="710">
                  <c:v>27.709019607513834</c:v>
                </c:pt>
                <c:pt idx="711">
                  <c:v>27.452169073895035</c:v>
                </c:pt>
                <c:pt idx="712">
                  <c:v>26.517233841208689</c:v>
                </c:pt>
                <c:pt idx="713">
                  <c:v>26.897373288722324</c:v>
                </c:pt>
                <c:pt idx="714">
                  <c:v>26.640522755103529</c:v>
                </c:pt>
                <c:pt idx="715">
                  <c:v>26.311754625972792</c:v>
                </c:pt>
                <c:pt idx="716">
                  <c:v>26.147370561407421</c:v>
                </c:pt>
                <c:pt idx="717">
                  <c:v>26.116547683830603</c:v>
                </c:pt>
                <c:pt idx="718">
                  <c:v>25.551477894622558</c:v>
                </c:pt>
                <c:pt idx="719">
                  <c:v>24.832295881207443</c:v>
                </c:pt>
                <c:pt idx="720">
                  <c:v>24.359689964640381</c:v>
                </c:pt>
                <c:pt idx="721">
                  <c:v>24.534348465976493</c:v>
                </c:pt>
                <c:pt idx="722">
                  <c:v>25.25353047939161</c:v>
                </c:pt>
                <c:pt idx="723">
                  <c:v>26.815181256439647</c:v>
                </c:pt>
                <c:pt idx="724">
                  <c:v>26.876824847916254</c:v>
                </c:pt>
                <c:pt idx="725">
                  <c:v>26.424767372155269</c:v>
                </c:pt>
                <c:pt idx="726">
                  <c:v>25.510380580275001</c:v>
                </c:pt>
                <c:pt idx="727">
                  <c:v>27.493265955507205</c:v>
                </c:pt>
                <c:pt idx="728">
                  <c:v>27.647376016037246</c:v>
                </c:pt>
                <c:pt idx="729">
                  <c:v>28.510393220476246</c:v>
                </c:pt>
                <c:pt idx="730">
                  <c:v>26.825455260475</c:v>
                </c:pt>
                <c:pt idx="731">
                  <c:v>27.411073923224532</c:v>
                </c:pt>
                <c:pt idx="732">
                  <c:v>27.482991951471877</c:v>
                </c:pt>
                <c:pt idx="733">
                  <c:v>29.008694532781416</c:v>
                </c:pt>
                <c:pt idx="734">
                  <c:v>29.029037857004532</c:v>
                </c:pt>
                <c:pt idx="735">
                  <c:v>26.648941189713245</c:v>
                </c:pt>
                <c:pt idx="736">
                  <c:v>27.879674008128084</c:v>
                </c:pt>
                <c:pt idx="737">
                  <c:v>27.462648627248768</c:v>
                </c:pt>
                <c:pt idx="738">
                  <c:v>26.801511144929421</c:v>
                </c:pt>
                <c:pt idx="739">
                  <c:v>26.770996374962451</c:v>
                </c:pt>
                <c:pt idx="740">
                  <c:v>27.411792696735716</c:v>
                </c:pt>
                <c:pt idx="741">
                  <c:v>27.096479609617894</c:v>
                </c:pt>
                <c:pt idx="742">
                  <c:v>27.055795124848707</c:v>
                </c:pt>
                <c:pt idx="743">
                  <c:v>26.455685018786255</c:v>
                </c:pt>
                <c:pt idx="744">
                  <c:v>24.411243464629681</c:v>
                </c:pt>
                <c:pt idx="745">
                  <c:v>25.062209068469766</c:v>
                </c:pt>
                <c:pt idx="746">
                  <c:v>24.685870336036679</c:v>
                </c:pt>
                <c:pt idx="747">
                  <c:v>24.370556816183448</c:v>
                </c:pt>
                <c:pt idx="748">
                  <c:v>23.404279856167168</c:v>
                </c:pt>
                <c:pt idx="749">
                  <c:v>23.414451301911022</c:v>
                </c:pt>
                <c:pt idx="750">
                  <c:v>24.034902568519552</c:v>
                </c:pt>
                <c:pt idx="751">
                  <c:v>23.241538455207149</c:v>
                </c:pt>
                <c:pt idx="752">
                  <c:v>23.862458374261561</c:v>
                </c:pt>
                <c:pt idx="753">
                  <c:v>23.766932033144542</c:v>
                </c:pt>
                <c:pt idx="754">
                  <c:v>23.31795909536536</c:v>
                </c:pt>
                <c:pt idx="755">
                  <c:v>21.932827581903958</c:v>
                </c:pt>
                <c:pt idx="756">
                  <c:v>21.999697751627501</c:v>
                </c:pt>
                <c:pt idx="757">
                  <c:v>21.206829985827039</c:v>
                </c:pt>
                <c:pt idx="758">
                  <c:v>20.939355797963966</c:v>
                </c:pt>
                <c:pt idx="759">
                  <c:v>21.111303211974608</c:v>
                </c:pt>
                <c:pt idx="760">
                  <c:v>20.882040426029164</c:v>
                </c:pt>
                <c:pt idx="761">
                  <c:v>20.280224044256521</c:v>
                </c:pt>
                <c:pt idx="762">
                  <c:v>19.76438310043083</c:v>
                </c:pt>
                <c:pt idx="763">
                  <c:v>19.621094021490705</c:v>
                </c:pt>
                <c:pt idx="764">
                  <c:v>19.87901341156503</c:v>
                </c:pt>
                <c:pt idx="765">
                  <c:v>20.289776678368227</c:v>
                </c:pt>
                <c:pt idx="766">
                  <c:v>18.971515334630372</c:v>
                </c:pt>
                <c:pt idx="767">
                  <c:v>18.780461786925514</c:v>
                </c:pt>
                <c:pt idx="768">
                  <c:v>18.809120554731436</c:v>
                </c:pt>
                <c:pt idx="769">
                  <c:v>17.978041387013352</c:v>
                </c:pt>
                <c:pt idx="770">
                  <c:v>18.818673188843139</c:v>
                </c:pt>
                <c:pt idx="771">
                  <c:v>18.790014853772622</c:v>
                </c:pt>
                <c:pt idx="772">
                  <c:v>18.952409633671557</c:v>
                </c:pt>
                <c:pt idx="773">
                  <c:v>18.092673429089182</c:v>
                </c:pt>
                <c:pt idx="774">
                  <c:v>17.863410643143737</c:v>
                </c:pt>
                <c:pt idx="775">
                  <c:v>17.481304413204839</c:v>
                </c:pt>
                <c:pt idx="776">
                  <c:v>16.650226976428382</c:v>
                </c:pt>
                <c:pt idx="777">
                  <c:v>16.867986789782329</c:v>
                </c:pt>
                <c:pt idx="778">
                  <c:v>16.549723312658912</c:v>
                </c:pt>
                <c:pt idx="779">
                  <c:v>17.437511590006459</c:v>
                </c:pt>
                <c:pt idx="780">
                  <c:v>18.543059680707952</c:v>
                </c:pt>
                <c:pt idx="781">
                  <c:v>18.191294261102371</c:v>
                </c:pt>
                <c:pt idx="782">
                  <c:v>18.618438294005873</c:v>
                </c:pt>
                <c:pt idx="783">
                  <c:v>17.998661229161605</c:v>
                </c:pt>
                <c:pt idx="784">
                  <c:v>17.864655622909964</c:v>
                </c:pt>
                <c:pt idx="785">
                  <c:v>16.725605156990895</c:v>
                </c:pt>
                <c:pt idx="786">
                  <c:v>16.231458537329274</c:v>
                </c:pt>
                <c:pt idx="787">
                  <c:v>17.286754796146035</c:v>
                </c:pt>
                <c:pt idx="788">
                  <c:v>17.646895809556018</c:v>
                </c:pt>
                <c:pt idx="789">
                  <c:v>17.839528841496779</c:v>
                </c:pt>
                <c:pt idx="790">
                  <c:v>16.675353757841563</c:v>
                </c:pt>
                <c:pt idx="791">
                  <c:v>19.246590519919124</c:v>
                </c:pt>
                <c:pt idx="792">
                  <c:v>19.012081249898017</c:v>
                </c:pt>
                <c:pt idx="793">
                  <c:v>19.028831139300582</c:v>
                </c:pt>
                <c:pt idx="794">
                  <c:v>19.891494366176577</c:v>
                </c:pt>
                <c:pt idx="795">
                  <c:v>19.137711695080668</c:v>
                </c:pt>
                <c:pt idx="796">
                  <c:v>18.432469820069826</c:v>
                </c:pt>
                <c:pt idx="797">
                  <c:v>18.224102528726952</c:v>
                </c:pt>
                <c:pt idx="798">
                  <c:v>18.176018268496378</c:v>
                </c:pt>
                <c:pt idx="799">
                  <c:v>18.712964150861676</c:v>
                </c:pt>
                <c:pt idx="800">
                  <c:v>18.37637130009978</c:v>
                </c:pt>
                <c:pt idx="801">
                  <c:v>18.841190143016103</c:v>
                </c:pt>
                <c:pt idx="802">
                  <c:v>18.841190143016103</c:v>
                </c:pt>
                <c:pt idx="803">
                  <c:v>18.937358663477255</c:v>
                </c:pt>
                <c:pt idx="804">
                  <c:v>18.119919748526328</c:v>
                </c:pt>
                <c:pt idx="805">
                  <c:v>19.810897396604453</c:v>
                </c:pt>
                <c:pt idx="806">
                  <c:v>19.674657577445959</c:v>
                </c:pt>
                <c:pt idx="807">
                  <c:v>19.386150285120863</c:v>
                </c:pt>
                <c:pt idx="808">
                  <c:v>19.386150285120863</c:v>
                </c:pt>
                <c:pt idx="809">
                  <c:v>20.460042049851467</c:v>
                </c:pt>
                <c:pt idx="810">
                  <c:v>20.34784371170516</c:v>
                </c:pt>
                <c:pt idx="811">
                  <c:v>20.716493601424922</c:v>
                </c:pt>
                <c:pt idx="812">
                  <c:v>19.201824474790175</c:v>
                </c:pt>
                <c:pt idx="813">
                  <c:v>20.411956491414674</c:v>
                </c:pt>
                <c:pt idx="814">
                  <c:v>20.524155262296389</c:v>
                </c:pt>
                <c:pt idx="815">
                  <c:v>20.846134638360564</c:v>
                </c:pt>
                <c:pt idx="816">
                  <c:v>21.374511061459092</c:v>
                </c:pt>
                <c:pt idx="817">
                  <c:v>21.564397954506411</c:v>
                </c:pt>
                <c:pt idx="818">
                  <c:v>20.408571635060348</c:v>
                </c:pt>
                <c:pt idx="819">
                  <c:v>20.020545152016936</c:v>
                </c:pt>
                <c:pt idx="820">
                  <c:v>19.855426302730315</c:v>
                </c:pt>
                <c:pt idx="821">
                  <c:v>19.318793720799757</c:v>
                </c:pt>
                <c:pt idx="822">
                  <c:v>18.55099518260333</c:v>
                </c:pt>
                <c:pt idx="823">
                  <c:v>18.517972278216821</c:v>
                </c:pt>
                <c:pt idx="824">
                  <c:v>19.442631775926202</c:v>
                </c:pt>
                <c:pt idx="825">
                  <c:v>19.360074082224521</c:v>
                </c:pt>
                <c:pt idx="826">
                  <c:v>20.020545152016936</c:v>
                </c:pt>
                <c:pt idx="827">
                  <c:v>18.724369757986576</c:v>
                </c:pt>
                <c:pt idx="828">
                  <c:v>17.807965120903006</c:v>
                </c:pt>
                <c:pt idx="829">
                  <c:v>18.798673023797853</c:v>
                </c:pt>
                <c:pt idx="830">
                  <c:v>18.947279122684996</c:v>
                </c:pt>
                <c:pt idx="831">
                  <c:v>18.806929182629883</c:v>
                </c:pt>
                <c:pt idx="832">
                  <c:v>17.700638950705216</c:v>
                </c:pt>
                <c:pt idx="833">
                  <c:v>17.089703102963377</c:v>
                </c:pt>
                <c:pt idx="834">
                  <c:v>17.75842989885242</c:v>
                </c:pt>
                <c:pt idx="835">
                  <c:v>17.263075947404996</c:v>
                </c:pt>
                <c:pt idx="836">
                  <c:v>16.751211409235133</c:v>
                </c:pt>
                <c:pt idx="837">
                  <c:v>17.56854473674673</c:v>
                </c:pt>
                <c:pt idx="838">
                  <c:v>17.750173740020387</c:v>
                </c:pt>
                <c:pt idx="839">
                  <c:v>17.172260796665057</c:v>
                </c:pt>
                <c:pt idx="840">
                  <c:v>16.993948710286816</c:v>
                </c:pt>
                <c:pt idx="841">
                  <c:v>17.218776391044909</c:v>
                </c:pt>
                <c:pt idx="842">
                  <c:v>17.776973043782014</c:v>
                </c:pt>
                <c:pt idx="843">
                  <c:v>17.404843095918366</c:v>
                </c:pt>
                <c:pt idx="844">
                  <c:v>17.203272346879384</c:v>
                </c:pt>
                <c:pt idx="845">
                  <c:v>16.738109046579012</c:v>
                </c:pt>
                <c:pt idx="846">
                  <c:v>17.552143632082299</c:v>
                </c:pt>
                <c:pt idx="847">
                  <c:v>17.366078658150478</c:v>
                </c:pt>
                <c:pt idx="848">
                  <c:v>16.900915357850103</c:v>
                </c:pt>
                <c:pt idx="849">
                  <c:v>16.373731986268947</c:v>
                </c:pt>
                <c:pt idx="850">
                  <c:v>16.823389511462164</c:v>
                </c:pt>
                <c:pt idx="851">
                  <c:v>17.117991881996243</c:v>
                </c:pt>
                <c:pt idx="852">
                  <c:v>16.776872186140686</c:v>
                </c:pt>
                <c:pt idx="853">
                  <c:v>18.435953772832384</c:v>
                </c:pt>
                <c:pt idx="854">
                  <c:v>17.893263327937852</c:v>
                </c:pt>
                <c:pt idx="855">
                  <c:v>17.04821719222025</c:v>
                </c:pt>
                <c:pt idx="856">
                  <c:v>18.777072170481716</c:v>
                </c:pt>
                <c:pt idx="857">
                  <c:v>18.288651938462234</c:v>
                </c:pt>
                <c:pt idx="858">
                  <c:v>18.474716912394054</c:v>
                </c:pt>
                <c:pt idx="859">
                  <c:v>18.535067057738843</c:v>
                </c:pt>
                <c:pt idx="860">
                  <c:v>19.410145463444497</c:v>
                </c:pt>
                <c:pt idx="861">
                  <c:v>18.987694013295574</c:v>
                </c:pt>
                <c:pt idx="862">
                  <c:v>20.073998793178802</c:v>
                </c:pt>
                <c:pt idx="863">
                  <c:v>19.093306551281252</c:v>
                </c:pt>
                <c:pt idx="864">
                  <c:v>18.663311224780372</c:v>
                </c:pt>
                <c:pt idx="865">
                  <c:v>20.036278978683637</c:v>
                </c:pt>
                <c:pt idx="866">
                  <c:v>21.892049626286841</c:v>
                </c:pt>
                <c:pt idx="867">
                  <c:v>21.612929230412526</c:v>
                </c:pt>
                <c:pt idx="868">
                  <c:v>20.926445137093186</c:v>
                </c:pt>
                <c:pt idx="869">
                  <c:v>21.605385354060573</c:v>
                </c:pt>
                <c:pt idx="870">
                  <c:v>24.660615464943</c:v>
                </c:pt>
                <c:pt idx="871">
                  <c:v>23.129228904061222</c:v>
                </c:pt>
                <c:pt idx="872">
                  <c:v>24.042027124262038</c:v>
                </c:pt>
                <c:pt idx="873">
                  <c:v>25.724288183034968</c:v>
                </c:pt>
                <c:pt idx="874">
                  <c:v>26.908661624551925</c:v>
                </c:pt>
                <c:pt idx="875">
                  <c:v>28.191104593173414</c:v>
                </c:pt>
                <c:pt idx="876">
                  <c:v>31.555632769014991</c:v>
                </c:pt>
                <c:pt idx="877">
                  <c:v>34.369462298518265</c:v>
                </c:pt>
                <c:pt idx="878">
                  <c:v>39.453968318480094</c:v>
                </c:pt>
                <c:pt idx="879">
                  <c:v>42.780774948884876</c:v>
                </c:pt>
                <c:pt idx="880">
                  <c:v>38.201700855266395</c:v>
                </c:pt>
                <c:pt idx="881">
                  <c:v>37.00223966104555</c:v>
                </c:pt>
                <c:pt idx="882">
                  <c:v>43.889711790559367</c:v>
                </c:pt>
                <c:pt idx="883">
                  <c:v>48.189666786509747</c:v>
                </c:pt>
                <c:pt idx="884">
                  <c:v>52.98835972479106</c:v>
                </c:pt>
                <c:pt idx="885">
                  <c:v>50.746715885530165</c:v>
                </c:pt>
                <c:pt idx="886">
                  <c:v>49.338649395492546</c:v>
                </c:pt>
                <c:pt idx="887">
                  <c:v>54.441485654563657</c:v>
                </c:pt>
                <c:pt idx="888">
                  <c:v>56.345189970475765</c:v>
                </c:pt>
                <c:pt idx="889">
                  <c:v>62.878617462994804</c:v>
                </c:pt>
                <c:pt idx="890">
                  <c:v>66.78741167334816</c:v>
                </c:pt>
                <c:pt idx="891">
                  <c:v>60.490538125648762</c:v>
                </c:pt>
                <c:pt idx="892">
                  <c:v>63.543225050543668</c:v>
                </c:pt>
                <c:pt idx="893">
                  <c:v>62.371712938061094</c:v>
                </c:pt>
                <c:pt idx="894">
                  <c:v>61.47055097295717</c:v>
                </c:pt>
                <c:pt idx="895">
                  <c:v>58.530507670942484</c:v>
                </c:pt>
                <c:pt idx="896">
                  <c:v>52.301222633742427</c:v>
                </c:pt>
                <c:pt idx="897">
                  <c:v>56.547951607355095</c:v>
                </c:pt>
                <c:pt idx="898">
                  <c:v>64.861177421200878</c:v>
                </c:pt>
                <c:pt idx="899">
                  <c:v>61.560669419691699</c:v>
                </c:pt>
                <c:pt idx="900">
                  <c:v>63.295403973929417</c:v>
                </c:pt>
                <c:pt idx="901">
                  <c:v>65.762339386304802</c:v>
                </c:pt>
                <c:pt idx="902">
                  <c:v>71.76633285039037</c:v>
                </c:pt>
                <c:pt idx="903">
                  <c:v>64.061392379917947</c:v>
                </c:pt>
                <c:pt idx="904">
                  <c:v>68.517391330932682</c:v>
                </c:pt>
                <c:pt idx="905">
                  <c:v>72.025852928735546</c:v>
                </c:pt>
                <c:pt idx="906">
                  <c:v>73.357532099241311</c:v>
                </c:pt>
                <c:pt idx="907">
                  <c:v>80.540911296541623</c:v>
                </c:pt>
                <c:pt idx="908">
                  <c:v>84.804844098998899</c:v>
                </c:pt>
                <c:pt idx="909">
                  <c:v>80.387252579041188</c:v>
                </c:pt>
                <c:pt idx="910">
                  <c:v>75.086150371235107</c:v>
                </c:pt>
                <c:pt idx="911">
                  <c:v>73.216680618849409</c:v>
                </c:pt>
                <c:pt idx="912">
                  <c:v>68.094842082581778</c:v>
                </c:pt>
                <c:pt idx="913">
                  <c:v>68.133254706463703</c:v>
                </c:pt>
                <c:pt idx="914">
                  <c:v>77.403784278924178</c:v>
                </c:pt>
                <c:pt idx="915">
                  <c:v>74.177025209169784</c:v>
                </c:pt>
                <c:pt idx="916">
                  <c:v>73.920932395248812</c:v>
                </c:pt>
                <c:pt idx="917">
                  <c:v>77.455003707179202</c:v>
                </c:pt>
                <c:pt idx="918">
                  <c:v>74.676404032638629</c:v>
                </c:pt>
                <c:pt idx="919">
                  <c:v>70.758195663503841</c:v>
                </c:pt>
                <c:pt idx="920">
                  <c:v>72.217923837382514</c:v>
                </c:pt>
                <c:pt idx="921">
                  <c:v>70.758195663503827</c:v>
                </c:pt>
                <c:pt idx="922">
                  <c:v>70.502107609672336</c:v>
                </c:pt>
                <c:pt idx="923">
                  <c:v>69.406087054428937</c:v>
                </c:pt>
                <c:pt idx="924">
                  <c:v>69.890376394252257</c:v>
                </c:pt>
                <c:pt idx="925">
                  <c:v>66.58957240172461</c:v>
                </c:pt>
                <c:pt idx="926">
                  <c:v>66.360172438655113</c:v>
                </c:pt>
                <c:pt idx="927">
                  <c:v>64.11715769362452</c:v>
                </c:pt>
                <c:pt idx="928">
                  <c:v>60.344806688070989</c:v>
                </c:pt>
                <c:pt idx="929">
                  <c:v>57.999834288303077</c:v>
                </c:pt>
                <c:pt idx="930">
                  <c:v>58.815480813197809</c:v>
                </c:pt>
                <c:pt idx="931">
                  <c:v>58.280212646005829</c:v>
                </c:pt>
                <c:pt idx="932">
                  <c:v>57.541039122253572</c:v>
                </c:pt>
                <c:pt idx="933">
                  <c:v>59.057623103064714</c:v>
                </c:pt>
                <c:pt idx="934">
                  <c:v>56.304829171791077</c:v>
                </c:pt>
                <c:pt idx="935">
                  <c:v>53.450078018515526</c:v>
                </c:pt>
                <c:pt idx="936">
                  <c:v>49.320889934385207</c:v>
                </c:pt>
                <c:pt idx="937">
                  <c:v>50.926684483046785</c:v>
                </c:pt>
                <c:pt idx="938">
                  <c:v>50.378673989057383</c:v>
                </c:pt>
                <c:pt idx="939">
                  <c:v>55.463697993301501</c:v>
                </c:pt>
                <c:pt idx="940">
                  <c:v>54.762756210030993</c:v>
                </c:pt>
                <c:pt idx="941">
                  <c:v>56.776371424727493</c:v>
                </c:pt>
                <c:pt idx="942">
                  <c:v>61.224174367131788</c:v>
                </c:pt>
                <c:pt idx="943">
                  <c:v>59.478186095897065</c:v>
                </c:pt>
                <c:pt idx="944">
                  <c:v>66.003330599988828</c:v>
                </c:pt>
                <c:pt idx="945">
                  <c:v>67.876756419466247</c:v>
                </c:pt>
                <c:pt idx="946">
                  <c:v>65.97354066182875</c:v>
                </c:pt>
                <c:pt idx="947">
                  <c:v>74.306899057754407</c:v>
                </c:pt>
                <c:pt idx="948">
                  <c:v>69.508083222617458</c:v>
                </c:pt>
                <c:pt idx="949">
                  <c:v>68.706014636591263</c:v>
                </c:pt>
                <c:pt idx="950">
                  <c:v>68.189426358717498</c:v>
                </c:pt>
                <c:pt idx="951">
                  <c:v>64.641291578791822</c:v>
                </c:pt>
                <c:pt idx="952">
                  <c:v>61.392234951715849</c:v>
                </c:pt>
                <c:pt idx="953">
                  <c:v>57.517837580666551</c:v>
                </c:pt>
                <c:pt idx="954">
                  <c:v>58.972436109029488</c:v>
                </c:pt>
                <c:pt idx="955">
                  <c:v>61.16113260755484</c:v>
                </c:pt>
                <c:pt idx="956">
                  <c:v>61.650526061504884</c:v>
                </c:pt>
                <c:pt idx="957">
                  <c:v>58.65976616977823</c:v>
                </c:pt>
                <c:pt idx="958">
                  <c:v>59.475426974941392</c:v>
                </c:pt>
                <c:pt idx="959">
                  <c:v>58.795707834241227</c:v>
                </c:pt>
                <c:pt idx="960">
                  <c:v>57.912070787653981</c:v>
                </c:pt>
                <c:pt idx="961">
                  <c:v>57.776129123190984</c:v>
                </c:pt>
                <c:pt idx="962">
                  <c:v>61.99038563185497</c:v>
                </c:pt>
                <c:pt idx="963">
                  <c:v>60.630947350454647</c:v>
                </c:pt>
                <c:pt idx="964">
                  <c:v>57.844100171790181</c:v>
                </c:pt>
                <c:pt idx="965">
                  <c:v>58.886962211419373</c:v>
                </c:pt>
                <c:pt idx="966">
                  <c:v>61.250784998255895</c:v>
                </c:pt>
                <c:pt idx="967">
                  <c:v>62.363170308389549</c:v>
                </c:pt>
                <c:pt idx="968">
                  <c:v>61.946026358008695</c:v>
                </c:pt>
                <c:pt idx="969">
                  <c:v>64.935567666828959</c:v>
                </c:pt>
                <c:pt idx="970">
                  <c:v>68.203201192196275</c:v>
                </c:pt>
                <c:pt idx="971">
                  <c:v>61.876503520239638</c:v>
                </c:pt>
                <c:pt idx="972">
                  <c:v>60.41649709749418</c:v>
                </c:pt>
                <c:pt idx="973">
                  <c:v>61.181261727751441</c:v>
                </c:pt>
                <c:pt idx="974">
                  <c:v>61.80698024973519</c:v>
                </c:pt>
                <c:pt idx="975">
                  <c:v>66.534620197847957</c:v>
                </c:pt>
                <c:pt idx="976">
                  <c:v>67.368913291434552</c:v>
                </c:pt>
                <c:pt idx="977">
                  <c:v>62.224124200116023</c:v>
                </c:pt>
                <c:pt idx="978">
                  <c:v>65.839378405359724</c:v>
                </c:pt>
                <c:pt idx="979">
                  <c:v>64.866039203499597</c:v>
                </c:pt>
                <c:pt idx="980">
                  <c:v>65.422234454978863</c:v>
                </c:pt>
                <c:pt idx="981">
                  <c:v>59.999347954288417</c:v>
                </c:pt>
                <c:pt idx="982">
                  <c:v>59.30410616180022</c:v>
                </c:pt>
                <c:pt idx="983">
                  <c:v>57.148858379301977</c:v>
                </c:pt>
                <c:pt idx="984">
                  <c:v>57.844100171790174</c:v>
                </c:pt>
                <c:pt idx="985">
                  <c:v>59.929824683783949</c:v>
                </c:pt>
                <c:pt idx="986">
                  <c:v>57.426956221409299</c:v>
                </c:pt>
                <c:pt idx="987">
                  <c:v>56.940289000523968</c:v>
                </c:pt>
                <c:pt idx="988">
                  <c:v>60.764117777370537</c:v>
                </c:pt>
                <c:pt idx="989">
                  <c:v>65.422234454978835</c:v>
                </c:pt>
                <c:pt idx="990">
                  <c:v>60.277445796395739</c:v>
                </c:pt>
                <c:pt idx="991">
                  <c:v>61.181261727751405</c:v>
                </c:pt>
                <c:pt idx="992">
                  <c:v>59.443157895634016</c:v>
                </c:pt>
                <c:pt idx="993">
                  <c:v>57.635530793012158</c:v>
                </c:pt>
                <c:pt idx="994">
                  <c:v>59.721255305005933</c:v>
                </c:pt>
                <c:pt idx="995">
                  <c:v>64.448895253118707</c:v>
                </c:pt>
                <c:pt idx="996">
                  <c:v>62.641268150496849</c:v>
                </c:pt>
                <c:pt idx="997">
                  <c:v>60.694589314041181</c:v>
                </c:pt>
                <c:pt idx="998">
                  <c:v>59.72125530500594</c:v>
                </c:pt>
                <c:pt idx="999">
                  <c:v>57.983151472888551</c:v>
                </c:pt>
                <c:pt idx="1000">
                  <c:v>58.330772152764958</c:v>
                </c:pt>
                <c:pt idx="1001">
                  <c:v>57.91362300955921</c:v>
                </c:pt>
                <c:pt idx="1002">
                  <c:v>56.453616586813752</c:v>
                </c:pt>
                <c:pt idx="1003">
                  <c:v>53.255506331950912</c:v>
                </c:pt>
                <c:pt idx="1004">
                  <c:v>52.988565706844795</c:v>
                </c:pt>
                <c:pt idx="1005">
                  <c:v>52.855090201466858</c:v>
                </c:pt>
                <c:pt idx="1006">
                  <c:v>51.787311257096931</c:v>
                </c:pt>
                <c:pt idx="1007">
                  <c:v>49.851959702657467</c:v>
                </c:pt>
                <c:pt idx="1008">
                  <c:v>48.850916347299489</c:v>
                </c:pt>
                <c:pt idx="1009">
                  <c:v>52.721619456178388</c:v>
                </c:pt>
                <c:pt idx="1010">
                  <c:v>50.586057240084457</c:v>
                </c:pt>
                <c:pt idx="1011">
                  <c:v>51.320159970336334</c:v>
                </c:pt>
                <c:pt idx="1012">
                  <c:v>50.452586927531399</c:v>
                </c:pt>
                <c:pt idx="1013">
                  <c:v>50.452586927531414</c:v>
                </c:pt>
                <c:pt idx="1014">
                  <c:v>51.720576100820409</c:v>
                </c:pt>
                <c:pt idx="1015">
                  <c:v>50.986478563393419</c:v>
                </c:pt>
                <c:pt idx="1016">
                  <c:v>48.650710878469908</c:v>
                </c:pt>
                <c:pt idx="1017">
                  <c:v>49.318073259620363</c:v>
                </c:pt>
                <c:pt idx="1018">
                  <c:v>48.517235373091957</c:v>
                </c:pt>
                <c:pt idx="1019">
                  <c:v>46.448413073364037</c:v>
                </c:pt>
                <c:pt idx="1020">
                  <c:v>46.181467255433034</c:v>
                </c:pt>
                <c:pt idx="1021">
                  <c:v>44.112645388440527</c:v>
                </c:pt>
                <c:pt idx="1022">
                  <c:v>44.980218431245454</c:v>
                </c:pt>
                <c:pt idx="1023">
                  <c:v>42.978131287794064</c:v>
                </c:pt>
                <c:pt idx="1024">
                  <c:v>43.311812694737</c:v>
                </c:pt>
                <c:pt idx="1025">
                  <c:v>42.64444771717411</c:v>
                </c:pt>
                <c:pt idx="1026">
                  <c:v>44.579796675201116</c:v>
                </c:pt>
                <c:pt idx="1027">
                  <c:v>42.177293834001084</c:v>
                </c:pt>
                <c:pt idx="1028">
                  <c:v>43.085728783092115</c:v>
                </c:pt>
                <c:pt idx="1029">
                  <c:v>40.035982728023853</c:v>
                </c:pt>
                <c:pt idx="1030">
                  <c:v>39.451991150405007</c:v>
                </c:pt>
                <c:pt idx="1031">
                  <c:v>39.581768066258476</c:v>
                </c:pt>
                <c:pt idx="1032">
                  <c:v>41.787965682853113</c:v>
                </c:pt>
                <c:pt idx="1033">
                  <c:v>42.501734176325421</c:v>
                </c:pt>
                <c:pt idx="1034">
                  <c:v>40.425313475584268</c:v>
                </c:pt>
                <c:pt idx="1035">
                  <c:v>41.658186603322612</c:v>
                </c:pt>
                <c:pt idx="1036">
                  <c:v>40.944418109850297</c:v>
                </c:pt>
                <c:pt idx="1037">
                  <c:v>39.387101610639768</c:v>
                </c:pt>
                <c:pt idx="1038">
                  <c:v>38.413779285460521</c:v>
                </c:pt>
                <c:pt idx="1039">
                  <c:v>38.413779285460521</c:v>
                </c:pt>
                <c:pt idx="1040">
                  <c:v>40.425313475584275</c:v>
                </c:pt>
                <c:pt idx="1041">
                  <c:v>39.971095784671057</c:v>
                </c:pt>
                <c:pt idx="1042">
                  <c:v>39.646655009611294</c:v>
                </c:pt>
                <c:pt idx="1043">
                  <c:v>39.257327291198735</c:v>
                </c:pt>
                <c:pt idx="1044">
                  <c:v>37.764897735341009</c:v>
                </c:pt>
                <c:pt idx="1045">
                  <c:v>37.764897735341009</c:v>
                </c:pt>
                <c:pt idx="1046">
                  <c:v>36.467135067837411</c:v>
                </c:pt>
                <c:pt idx="1047">
                  <c:v>35.692506666710756</c:v>
                </c:pt>
                <c:pt idx="1048">
                  <c:v>37.360937501872812</c:v>
                </c:pt>
                <c:pt idx="1049">
                  <c:v>38.612259870957409</c:v>
                </c:pt>
                <c:pt idx="1050">
                  <c:v>38.910193871390732</c:v>
                </c:pt>
                <c:pt idx="1051">
                  <c:v>38.612259870957402</c:v>
                </c:pt>
                <c:pt idx="1052">
                  <c:v>37.360937501872812</c:v>
                </c:pt>
                <c:pt idx="1053">
                  <c:v>39.02937050071192</c:v>
                </c:pt>
                <c:pt idx="1054">
                  <c:v>38.195154001292366</c:v>
                </c:pt>
                <c:pt idx="1055">
                  <c:v>36.467135067837411</c:v>
                </c:pt>
                <c:pt idx="1056">
                  <c:v>34.679530199766603</c:v>
                </c:pt>
                <c:pt idx="1057">
                  <c:v>34.024076264284083</c:v>
                </c:pt>
                <c:pt idx="1058">
                  <c:v>32.713165364171203</c:v>
                </c:pt>
                <c:pt idx="1059">
                  <c:v>33.42820783068202</c:v>
                </c:pt>
                <c:pt idx="1060">
                  <c:v>32.951513862724099</c:v>
                </c:pt>
                <c:pt idx="1061">
                  <c:v>34.917878265584086</c:v>
                </c:pt>
                <c:pt idx="1062">
                  <c:v>34.560358330534903</c:v>
                </c:pt>
                <c:pt idx="1063">
                  <c:v>36.050029198172375</c:v>
                </c:pt>
                <c:pt idx="1064">
                  <c:v>36.705483133654894</c:v>
                </c:pt>
                <c:pt idx="1065">
                  <c:v>35.454160764570318</c:v>
                </c:pt>
                <c:pt idx="1066">
                  <c:v>35.513746699186164</c:v>
                </c:pt>
                <c:pt idx="1067">
                  <c:v>32.832339397079956</c:v>
                </c:pt>
                <c:pt idx="1068">
                  <c:v>32.176885461597443</c:v>
                </c:pt>
                <c:pt idx="1069">
                  <c:v>31.521428929702484</c:v>
                </c:pt>
                <c:pt idx="1070">
                  <c:v>30.865974994219968</c:v>
                </c:pt>
                <c:pt idx="1071">
                  <c:v>30.91928496722667</c:v>
                </c:pt>
                <c:pt idx="1072">
                  <c:v>30.279575244060627</c:v>
                </c:pt>
                <c:pt idx="1073">
                  <c:v>29.693173762959653</c:v>
                </c:pt>
                <c:pt idx="1074">
                  <c:v>29.000155797728532</c:v>
                </c:pt>
                <c:pt idx="1075">
                  <c:v>27.987284052752912</c:v>
                </c:pt>
                <c:pt idx="1076">
                  <c:v>27.720738515073478</c:v>
                </c:pt>
                <c:pt idx="1077">
                  <c:v>28.093900536883059</c:v>
                </c:pt>
                <c:pt idx="1078">
                  <c:v>29.106774445535724</c:v>
                </c:pt>
                <c:pt idx="1079">
                  <c:v>29.479938631022332</c:v>
                </c:pt>
                <c:pt idx="1080">
                  <c:v>28.840228907856286</c:v>
                </c:pt>
                <c:pt idx="1081">
                  <c:v>29.053466203470645</c:v>
                </c:pt>
                <c:pt idx="1082">
                  <c:v>28.20051918469024</c:v>
                </c:pt>
                <c:pt idx="1083">
                  <c:v>28.040592294817991</c:v>
                </c:pt>
                <c:pt idx="1084">
                  <c:v>27.774046757138557</c:v>
                </c:pt>
                <c:pt idx="1085">
                  <c:v>28.360446074562493</c:v>
                </c:pt>
                <c:pt idx="1086">
                  <c:v>27.347574329586866</c:v>
                </c:pt>
                <c:pt idx="1087">
                  <c:v>27.294263923844756</c:v>
                </c:pt>
                <c:pt idx="1088">
                  <c:v>27.933973647010806</c:v>
                </c:pt>
                <c:pt idx="1089">
                  <c:v>27.240955681779681</c:v>
                </c:pt>
                <c:pt idx="1090">
                  <c:v>26.707864606420817</c:v>
                </c:pt>
                <c:pt idx="1091">
                  <c:v>27.188221679599831</c:v>
                </c:pt>
                <c:pt idx="1092">
                  <c:v>28.725365352337654</c:v>
                </c:pt>
                <c:pt idx="1093">
                  <c:v>28.100901330299099</c:v>
                </c:pt>
                <c:pt idx="1094">
                  <c:v>27.236256607993994</c:v>
                </c:pt>
                <c:pt idx="1095">
                  <c:v>26.707864606420809</c:v>
                </c:pt>
                <c:pt idx="1096">
                  <c:v>26.275542028900553</c:v>
                </c:pt>
                <c:pt idx="1097">
                  <c:v>26.323579120971758</c:v>
                </c:pt>
                <c:pt idx="1098">
                  <c:v>26.659829678026636</c:v>
                </c:pt>
                <c:pt idx="1099">
                  <c:v>27.18822167959982</c:v>
                </c:pt>
                <c:pt idx="1100">
                  <c:v>26.707864606420806</c:v>
                </c:pt>
                <c:pt idx="1101">
                  <c:v>26.996078071404479</c:v>
                </c:pt>
                <c:pt idx="1102">
                  <c:v>27.380365287795154</c:v>
                </c:pt>
                <c:pt idx="1103">
                  <c:v>28.869472301197181</c:v>
                </c:pt>
                <c:pt idx="1104">
                  <c:v>29.301794445982029</c:v>
                </c:pt>
                <c:pt idx="1105">
                  <c:v>27.812685701638379</c:v>
                </c:pt>
                <c:pt idx="1106">
                  <c:v>26.515720998225472</c:v>
                </c:pt>
                <c:pt idx="1107">
                  <c:v>25.651078006862004</c:v>
                </c:pt>
                <c:pt idx="1108">
                  <c:v>24.930541964358078</c:v>
                </c:pt>
                <c:pt idx="1109">
                  <c:v>23.489470312085633</c:v>
                </c:pt>
                <c:pt idx="1110">
                  <c:v>23.79006693347884</c:v>
                </c:pt>
                <c:pt idx="1111">
                  <c:v>23.23181662155126</c:v>
                </c:pt>
                <c:pt idx="1112">
                  <c:v>23.317701617798125</c:v>
                </c:pt>
                <c:pt idx="1113">
                  <c:v>22.287084691983615</c:v>
                </c:pt>
                <c:pt idx="1114">
                  <c:v>22.41591132088309</c:v>
                </c:pt>
                <c:pt idx="1115">
                  <c:v>22.974163363752297</c:v>
                </c:pt>
                <c:pt idx="1116">
                  <c:v>22.931220000158053</c:v>
                </c:pt>
                <c:pt idx="1117">
                  <c:v>22.415911320883087</c:v>
                </c:pt>
                <c:pt idx="1118">
                  <c:v>22.63062294602943</c:v>
                </c:pt>
                <c:pt idx="1119">
                  <c:v>23.102989992651775</c:v>
                </c:pt>
                <c:pt idx="1120">
                  <c:v>23.188874988898636</c:v>
                </c:pt>
                <c:pt idx="1121">
                  <c:v>22.201199263001328</c:v>
                </c:pt>
                <c:pt idx="1122">
                  <c:v>22.244142626595576</c:v>
                </c:pt>
                <c:pt idx="1123">
                  <c:v>22.587681313376812</c:v>
                </c:pt>
                <c:pt idx="1124">
                  <c:v>23.87595236246111</c:v>
                </c:pt>
                <c:pt idx="1125">
                  <c:v>23.918893995113727</c:v>
                </c:pt>
                <c:pt idx="1126">
                  <c:v>23.01710499640491</c:v>
                </c:pt>
                <c:pt idx="1127">
                  <c:v>22.33002762284244</c:v>
                </c:pt>
                <c:pt idx="1128">
                  <c:v>21.814719376302889</c:v>
                </c:pt>
                <c:pt idx="1129">
                  <c:v>21.514122322174273</c:v>
                </c:pt>
                <c:pt idx="1130">
                  <c:v>21.084698639146175</c:v>
                </c:pt>
                <c:pt idx="1131">
                  <c:v>20.655274956118078</c:v>
                </c:pt>
                <c:pt idx="1132">
                  <c:v>20.22585127308998</c:v>
                </c:pt>
                <c:pt idx="1133">
                  <c:v>19.968198015291016</c:v>
                </c:pt>
                <c:pt idx="1134">
                  <c:v>19.195235645481681</c:v>
                </c:pt>
                <c:pt idx="1135">
                  <c:v>19.503592510930396</c:v>
                </c:pt>
                <c:pt idx="1136">
                  <c:v>19.002512604576243</c:v>
                </c:pt>
                <c:pt idx="1137">
                  <c:v>18.925422955478659</c:v>
                </c:pt>
                <c:pt idx="1138">
                  <c:v>18.925422955478659</c:v>
                </c:pt>
                <c:pt idx="1139">
                  <c:v>18.231619575483656</c:v>
                </c:pt>
                <c:pt idx="1140">
                  <c:v>18.539976440932367</c:v>
                </c:pt>
                <c:pt idx="1141">
                  <c:v>18.925422955478663</c:v>
                </c:pt>
                <c:pt idx="1142">
                  <c:v>19.002512604576246</c:v>
                </c:pt>
                <c:pt idx="1143">
                  <c:v>20.544298662761424</c:v>
                </c:pt>
                <c:pt idx="1144">
                  <c:v>19.310869470024954</c:v>
                </c:pt>
                <c:pt idx="1145">
                  <c:v>21.469369259107548</c:v>
                </c:pt>
                <c:pt idx="1146">
                  <c:v>21.585004381857036</c:v>
                </c:pt>
                <c:pt idx="1147">
                  <c:v>21.662092732748395</c:v>
                </c:pt>
                <c:pt idx="1148">
                  <c:v>21.276646218202099</c:v>
                </c:pt>
                <c:pt idx="1149">
                  <c:v>19.966128674574268</c:v>
                </c:pt>
                <c:pt idx="1150">
                  <c:v>19.349414943676852</c:v>
                </c:pt>
                <c:pt idx="1151">
                  <c:v>18.115985750940389</c:v>
                </c:pt>
                <c:pt idx="1152">
                  <c:v>18.115985750940389</c:v>
                </c:pt>
                <c:pt idx="1153">
                  <c:v>18.231619575483656</c:v>
                </c:pt>
                <c:pt idx="1154">
                  <c:v>19.118145996384104</c:v>
                </c:pt>
                <c:pt idx="1155">
                  <c:v>18.826821163823389</c:v>
                </c:pt>
                <c:pt idx="1156">
                  <c:v>18.535497196733491</c:v>
                </c:pt>
                <c:pt idx="1157">
                  <c:v>18.462666962247976</c:v>
                </c:pt>
                <c:pt idx="1158">
                  <c:v>17.770771945398284</c:v>
                </c:pt>
                <c:pt idx="1159">
                  <c:v>17.989264379796449</c:v>
                </c:pt>
                <c:pt idx="1160">
                  <c:v>17.625109312750222</c:v>
                </c:pt>
                <c:pt idx="1161">
                  <c:v>16.641891194281438</c:v>
                </c:pt>
                <c:pt idx="1162">
                  <c:v>16.532643678876131</c:v>
                </c:pt>
                <c:pt idx="1163">
                  <c:v>16.277736127235212</c:v>
                </c:pt>
                <c:pt idx="1164">
                  <c:v>17.51586309555114</c:v>
                </c:pt>
                <c:pt idx="1165">
                  <c:v>17.552279078264707</c:v>
                </c:pt>
                <c:pt idx="1166">
                  <c:v>16.787552528723271</c:v>
                </c:pt>
                <c:pt idx="1167">
                  <c:v>16.496228561633373</c:v>
                </c:pt>
                <c:pt idx="1168">
                  <c:v>16.933215161371336</c:v>
                </c:pt>
                <c:pt idx="1169">
                  <c:v>16.459813877126027</c:v>
                </c:pt>
                <c:pt idx="1170">
                  <c:v>16.386982344434294</c:v>
                </c:pt>
                <c:pt idx="1171">
                  <c:v>17.115292911262156</c:v>
                </c:pt>
                <c:pt idx="1172">
                  <c:v>16.787552528723275</c:v>
                </c:pt>
                <c:pt idx="1173">
                  <c:v>16.386982344434291</c:v>
                </c:pt>
                <c:pt idx="1174">
                  <c:v>16.324198062424571</c:v>
                </c:pt>
                <c:pt idx="1175">
                  <c:v>16.041663384188251</c:v>
                </c:pt>
                <c:pt idx="1176">
                  <c:v>15.853307509011247</c:v>
                </c:pt>
                <c:pt idx="1177">
                  <c:v>15.131275932940389</c:v>
                </c:pt>
                <c:pt idx="1178">
                  <c:v>15.351024165489953</c:v>
                </c:pt>
                <c:pt idx="1179">
                  <c:v>15.131275932940389</c:v>
                </c:pt>
                <c:pt idx="1180">
                  <c:v>14.597600232046531</c:v>
                </c:pt>
                <c:pt idx="1181">
                  <c:v>14.220887616221708</c:v>
                </c:pt>
                <c:pt idx="1182">
                  <c:v>14.095316455789831</c:v>
                </c:pt>
                <c:pt idx="1183">
                  <c:v>13.875568655975673</c:v>
                </c:pt>
                <c:pt idx="1184">
                  <c:v>13.718605138171231</c:v>
                </c:pt>
                <c:pt idx="1185">
                  <c:v>13.812783075759734</c:v>
                </c:pt>
                <c:pt idx="1186">
                  <c:v>14.063924098417273</c:v>
                </c:pt>
                <c:pt idx="1187">
                  <c:v>14.409243491398719</c:v>
                </c:pt>
                <c:pt idx="1188">
                  <c:v>13.875568655975679</c:v>
                </c:pt>
                <c:pt idx="1189">
                  <c:v>13.530248397523417</c:v>
                </c:pt>
                <c:pt idx="1190">
                  <c:v>13.059357844110092</c:v>
                </c:pt>
                <c:pt idx="1191">
                  <c:v>12.839608746089715</c:v>
                </c:pt>
                <c:pt idx="1192">
                  <c:v>12.494289785843678</c:v>
                </c:pt>
                <c:pt idx="1193">
                  <c:v>12.243148330450737</c:v>
                </c:pt>
                <c:pt idx="1194">
                  <c:v>12.714038883864061</c:v>
                </c:pt>
                <c:pt idx="1195">
                  <c:v>12.180362750234798</c:v>
                </c:pt>
                <c:pt idx="1196">
                  <c:v>11.897828071998475</c:v>
                </c:pt>
                <c:pt idx="1197">
                  <c:v>12.195273514157195</c:v>
                </c:pt>
                <c:pt idx="1198">
                  <c:v>11.654463304606505</c:v>
                </c:pt>
                <c:pt idx="1199">
                  <c:v>11.573341859720983</c:v>
                </c:pt>
                <c:pt idx="1200">
                  <c:v>12.249354621659348</c:v>
                </c:pt>
                <c:pt idx="1201">
                  <c:v>13.38505658099829</c:v>
                </c:pt>
                <c:pt idx="1202">
                  <c:v>13.168733016460502</c:v>
                </c:pt>
                <c:pt idx="1203">
                  <c:v>13.276894365993988</c:v>
                </c:pt>
                <c:pt idx="1204">
                  <c:v>12.844246371447596</c:v>
                </c:pt>
                <c:pt idx="1205">
                  <c:v>12.979448923835271</c:v>
                </c:pt>
                <c:pt idx="1206">
                  <c:v>13.330975473496139</c:v>
                </c:pt>
                <c:pt idx="1207">
                  <c:v>12.465678618932543</c:v>
                </c:pt>
                <c:pt idx="1208">
                  <c:v>11.951909612236037</c:v>
                </c:pt>
                <c:pt idx="1209">
                  <c:v>11.978949516884002</c:v>
                </c:pt>
                <c:pt idx="1210">
                  <c:v>13.844744912928052</c:v>
                </c:pt>
                <c:pt idx="1211">
                  <c:v>14.115150017703399</c:v>
                </c:pt>
                <c:pt idx="1212">
                  <c:v>14.277393772945256</c:v>
                </c:pt>
                <c:pt idx="1213">
                  <c:v>13.817704575544678</c:v>
                </c:pt>
                <c:pt idx="1214">
                  <c:v>13.790664670896716</c:v>
                </c:pt>
                <c:pt idx="1215">
                  <c:v>13.22281282575643</c:v>
                </c:pt>
                <c:pt idx="1216">
                  <c:v>13.196314705838152</c:v>
                </c:pt>
                <c:pt idx="1217">
                  <c:v>12.50735103863614</c:v>
                </c:pt>
                <c:pt idx="1218">
                  <c:v>12.056874345317286</c:v>
                </c:pt>
                <c:pt idx="1219">
                  <c:v>11.553399681220251</c:v>
                </c:pt>
                <c:pt idx="1220">
                  <c:v>11.314912707337092</c:v>
                </c:pt>
                <c:pt idx="1221">
                  <c:v>11.102922987901394</c:v>
                </c:pt>
                <c:pt idx="1222">
                  <c:v>11.473904023259196</c:v>
                </c:pt>
                <c:pt idx="1223">
                  <c:v>11.18241994406867</c:v>
                </c:pt>
                <c:pt idx="1224">
                  <c:v>11.102922987901396</c:v>
                </c:pt>
                <c:pt idx="1225">
                  <c:v>10.811438475975462</c:v>
                </c:pt>
                <c:pt idx="1226">
                  <c:v>10.599449622010582</c:v>
                </c:pt>
                <c:pt idx="1227">
                  <c:v>10.493454978660438</c:v>
                </c:pt>
                <c:pt idx="1228">
                  <c:v>10.387461200781107</c:v>
                </c:pt>
                <c:pt idx="1229">
                  <c:v>10.387461200781107</c:v>
                </c:pt>
                <c:pt idx="1230">
                  <c:v>9.8309894313767021</c:v>
                </c:pt>
                <c:pt idx="1231">
                  <c:v>9.724995220761965</c:v>
                </c:pt>
                <c:pt idx="1232">
                  <c:v>9.8044908787230192</c:v>
                </c:pt>
                <c:pt idx="1233">
                  <c:v>9.8574884167657952</c:v>
                </c:pt>
                <c:pt idx="1234">
                  <c:v>9.8574884167657952</c:v>
                </c:pt>
                <c:pt idx="1235">
                  <c:v>9.7890331372460508</c:v>
                </c:pt>
                <c:pt idx="1236">
                  <c:v>9.8118517079977678</c:v>
                </c:pt>
                <c:pt idx="1237">
                  <c:v>9.538032320860415</c:v>
                </c:pt>
                <c:pt idx="1238">
                  <c:v>9.1729408143932236</c:v>
                </c:pt>
                <c:pt idx="1239">
                  <c:v>9.0360306880891397</c:v>
                </c:pt>
                <c:pt idx="1240">
                  <c:v>9.2185766576904378</c:v>
                </c:pt>
                <c:pt idx="1241">
                  <c:v>9.0816673968571671</c:v>
                </c:pt>
                <c:pt idx="1242">
                  <c:v>8.8763028565041502</c:v>
                </c:pt>
                <c:pt idx="1243">
                  <c:v>9.0816673968571671</c:v>
                </c:pt>
                <c:pt idx="1244">
                  <c:v>9.1729408143932236</c:v>
                </c:pt>
                <c:pt idx="1245">
                  <c:v>9.0816673968571671</c:v>
                </c:pt>
                <c:pt idx="1246">
                  <c:v>8.8991214272558707</c:v>
                </c:pt>
                <c:pt idx="1247">
                  <c:v>8.7165754576545726</c:v>
                </c:pt>
                <c:pt idx="1248">
                  <c:v>8.6481201781348265</c:v>
                </c:pt>
                <c:pt idx="1249">
                  <c:v>8.5796653313504887</c:v>
                </c:pt>
                <c:pt idx="1250">
                  <c:v>8.2145738248833009</c:v>
                </c:pt>
                <c:pt idx="1251">
                  <c:v>7.9635721430268518</c:v>
                </c:pt>
                <c:pt idx="1252">
                  <c:v>8.1689371161152717</c:v>
                </c:pt>
                <c:pt idx="1253">
                  <c:v>7.9635721430268509</c:v>
                </c:pt>
                <c:pt idx="1254">
                  <c:v>7.8494810202098915</c:v>
                </c:pt>
                <c:pt idx="1255">
                  <c:v>7.8038451769126773</c:v>
                </c:pt>
                <c:pt idx="1256">
                  <c:v>7.8266628821935811</c:v>
                </c:pt>
                <c:pt idx="1257">
                  <c:v>7.6212983418405651</c:v>
                </c:pt>
                <c:pt idx="1258">
                  <c:v>7.6212983418405651</c:v>
                </c:pt>
                <c:pt idx="1259">
                  <c:v>7.8779740503548945</c:v>
                </c:pt>
                <c:pt idx="1260">
                  <c:v>7.7002760155193215</c:v>
                </c:pt>
                <c:pt idx="1261">
                  <c:v>7.3448786476419547</c:v>
                </c:pt>
                <c:pt idx="1262">
                  <c:v>7.3843666190105175</c:v>
                </c:pt>
                <c:pt idx="1263">
                  <c:v>7.3646226333262366</c:v>
                </c:pt>
                <c:pt idx="1264">
                  <c:v>7.3053898108025752</c:v>
                </c:pt>
                <c:pt idx="1265">
                  <c:v>7.4041114701656126</c:v>
                </c:pt>
                <c:pt idx="1266">
                  <c:v>8.3123486591756048</c:v>
                </c:pt>
                <c:pt idx="1267">
                  <c:v>8.213627432547975</c:v>
                </c:pt>
                <c:pt idx="1268">
                  <c:v>7.7595084053075727</c:v>
                </c:pt>
                <c:pt idx="1269">
                  <c:v>8.5295363963213724</c:v>
                </c:pt>
                <c:pt idx="1270">
                  <c:v>8.1149057731849403</c:v>
                </c:pt>
                <c:pt idx="1271">
                  <c:v>9.0823766501894045</c:v>
                </c:pt>
                <c:pt idx="1272">
                  <c:v>9.5364952446944002</c:v>
                </c:pt>
                <c:pt idx="1273">
                  <c:v>11.53066895575618</c:v>
                </c:pt>
                <c:pt idx="1274">
                  <c:v>13.011492115260117</c:v>
                </c:pt>
                <c:pt idx="1275">
                  <c:v>10.839618638421136</c:v>
                </c:pt>
                <c:pt idx="1276">
                  <c:v>10.701408574954128</c:v>
                </c:pt>
                <c:pt idx="1277">
                  <c:v>9.8918926125717661</c:v>
                </c:pt>
                <c:pt idx="1278">
                  <c:v>10.207801143609753</c:v>
                </c:pt>
                <c:pt idx="1279">
                  <c:v>11.116449863991896</c:v>
                </c:pt>
                <c:pt idx="1280">
                  <c:v>11.213114731964993</c:v>
                </c:pt>
                <c:pt idx="1281">
                  <c:v>11.967099490496016</c:v>
                </c:pt>
                <c:pt idx="1282">
                  <c:v>12.23776120736777</c:v>
                </c:pt>
                <c:pt idx="1283">
                  <c:v>13.900395984487156</c:v>
                </c:pt>
                <c:pt idx="1284">
                  <c:v>13.823064003561596</c:v>
                </c:pt>
                <c:pt idx="1285">
                  <c:v>13.57173517373738</c:v>
                </c:pt>
                <c:pt idx="1286">
                  <c:v>13.049745925247631</c:v>
                </c:pt>
                <c:pt idx="1287">
                  <c:v>12.682419340402777</c:v>
                </c:pt>
                <c:pt idx="1288">
                  <c:v>11.464443129053802</c:v>
                </c:pt>
                <c:pt idx="1289">
                  <c:v>11.75443730023769</c:v>
                </c:pt>
                <c:pt idx="1290">
                  <c:v>12.585754472429681</c:v>
                </c:pt>
                <c:pt idx="1291">
                  <c:v>11.541774677243957</c:v>
                </c:pt>
                <c:pt idx="1292">
                  <c:v>11.445109809270857</c:v>
                </c:pt>
                <c:pt idx="1293">
                  <c:v>12.972413511586664</c:v>
                </c:pt>
                <c:pt idx="1294">
                  <c:v>13.707066681276372</c:v>
                </c:pt>
                <c:pt idx="1295">
                  <c:v>12.933748170226995</c:v>
                </c:pt>
                <c:pt idx="1296">
                  <c:v>12.914413984973235</c:v>
                </c:pt>
                <c:pt idx="1297">
                  <c:v>11.851102168210787</c:v>
                </c:pt>
                <c:pt idx="1298">
                  <c:v>11.606943331346788</c:v>
                </c:pt>
                <c:pt idx="1299">
                  <c:v>11.381565643886276</c:v>
                </c:pt>
                <c:pt idx="1300">
                  <c:v>10.72421459637904</c:v>
                </c:pt>
                <c:pt idx="1301">
                  <c:v>10.442492595237249</c:v>
                </c:pt>
                <c:pt idx="1302">
                  <c:v>10.254678072054526</c:v>
                </c:pt>
                <c:pt idx="1303">
                  <c:v>10.08564469827529</c:v>
                </c:pt>
                <c:pt idx="1304">
                  <c:v>10.17955174349895</c:v>
                </c:pt>
                <c:pt idx="1305">
                  <c:v>10.667870282697763</c:v>
                </c:pt>
                <c:pt idx="1306">
                  <c:v>10.799340492199212</c:v>
                </c:pt>
                <c:pt idx="1307">
                  <c:v>11.513036286123132</c:v>
                </c:pt>
                <c:pt idx="1308">
                  <c:v>11.174969971300067</c:v>
                </c:pt>
                <c:pt idx="1309">
                  <c:v>11.325221330205</c:v>
                </c:pt>
                <c:pt idx="1310">
                  <c:v>12.583579544273606</c:v>
                </c:pt>
                <c:pt idx="1311">
                  <c:v>12.733830470443134</c:v>
                </c:pt>
                <c:pt idx="1312">
                  <c:v>12.527234797856925</c:v>
                </c:pt>
                <c:pt idx="1313">
                  <c:v>12.038916691393517</c:v>
                </c:pt>
                <c:pt idx="1314">
                  <c:v>11.193751120703558</c:v>
                </c:pt>
                <c:pt idx="1315">
                  <c:v>10.367366266681676</c:v>
                </c:pt>
                <c:pt idx="1316">
                  <c:v>10.160770594095467</c:v>
                </c:pt>
                <c:pt idx="1317">
                  <c:v>9.9729560709127441</c:v>
                </c:pt>
                <c:pt idx="1318">
                  <c:v>9.7100152191744407</c:v>
                </c:pt>
                <c:pt idx="1319">
                  <c:v>9.6912340697709531</c:v>
                </c:pt>
                <c:pt idx="1320">
                  <c:v>10.048082399468322</c:v>
                </c:pt>
                <c:pt idx="1321">
                  <c:v>9.9541749215092548</c:v>
                </c:pt>
                <c:pt idx="1322">
                  <c:v>10.395827274406553</c:v>
                </c:pt>
                <c:pt idx="1323">
                  <c:v>10.293907700385056</c:v>
                </c:pt>
                <c:pt idx="1324">
                  <c:v>9.6823889580498541</c:v>
                </c:pt>
                <c:pt idx="1325">
                  <c:v>9.8012946950061934</c:v>
                </c:pt>
                <c:pt idx="1326">
                  <c:v>9.274708931022241</c:v>
                </c:pt>
                <c:pt idx="1327">
                  <c:v>9.0368957261679341</c:v>
                </c:pt>
                <c:pt idx="1328">
                  <c:v>8.6801763516218813</c:v>
                </c:pt>
                <c:pt idx="1329">
                  <c:v>8.6462027275459743</c:v>
                </c:pt>
                <c:pt idx="1330">
                  <c:v>8.7481231670382851</c:v>
                </c:pt>
                <c:pt idx="1331">
                  <c:v>8.7481231670382851</c:v>
                </c:pt>
                <c:pt idx="1332">
                  <c:v>8.6462027275459743</c:v>
                </c:pt>
                <c:pt idx="1333">
                  <c:v>8.1026308006271783</c:v>
                </c:pt>
                <c:pt idx="1334">
                  <c:v>8.1875637789784257</c:v>
                </c:pt>
                <c:pt idx="1335">
                  <c:v>8.0686571765512713</c:v>
                </c:pt>
                <c:pt idx="1336">
                  <c:v>8.0856437722215215</c:v>
                </c:pt>
                <c:pt idx="1337">
                  <c:v>8.0516701481456163</c:v>
                </c:pt>
                <c:pt idx="1338">
                  <c:v>7.847831000102623</c:v>
                </c:pt>
                <c:pt idx="1339">
                  <c:v>7.8987907871133718</c:v>
                </c:pt>
                <c:pt idx="1340">
                  <c:v>8.7311361386326301</c:v>
                </c:pt>
                <c:pt idx="1341">
                  <c:v>8.8840163651356914</c:v>
                </c:pt>
                <c:pt idx="1342">
                  <c:v>9.076182908307608</c:v>
                </c:pt>
                <c:pt idx="1343">
                  <c:v>8.9727085159684048</c:v>
                </c:pt>
                <c:pt idx="1344">
                  <c:v>8.7066316307348597</c:v>
                </c:pt>
                <c:pt idx="1345">
                  <c:v>8.5735931881180871</c:v>
                </c:pt>
                <c:pt idx="1346">
                  <c:v>8.839670073351634</c:v>
                </c:pt>
                <c:pt idx="1347">
                  <c:v>8.750977489783514</c:v>
                </c:pt>
                <c:pt idx="1348">
                  <c:v>8.5735931881180889</c:v>
                </c:pt>
                <c:pt idx="1349">
                  <c:v>8.8101060230740647</c:v>
                </c:pt>
                <c:pt idx="1350">
                  <c:v>8.6179394799021516</c:v>
                </c:pt>
                <c:pt idx="1351">
                  <c:v>8.7361956810124344</c:v>
                </c:pt>
                <c:pt idx="1352">
                  <c:v>8.1449133772547935</c:v>
                </c:pt>
                <c:pt idx="1353">
                  <c:v>8.4109902624883368</c:v>
                </c:pt>
                <c:pt idx="1354">
                  <c:v>8.2483877695939913</c:v>
                </c:pt>
                <c:pt idx="1355">
                  <c:v>7.6275414155587793</c:v>
                </c:pt>
                <c:pt idx="1356">
                  <c:v>7.3910285806028027</c:v>
                </c:pt>
                <c:pt idx="1357">
                  <c:v>6.9771310112459952</c:v>
                </c:pt>
                <c:pt idx="1358">
                  <c:v>7.2284256549730523</c:v>
                </c:pt>
                <c:pt idx="1359">
                  <c:v>7.0510413533076273</c:v>
                </c:pt>
                <c:pt idx="1360">
                  <c:v>7.0214773030300561</c:v>
                </c:pt>
                <c:pt idx="1361">
                  <c:v>6.8813026208148207</c:v>
                </c:pt>
                <c:pt idx="1362">
                  <c:v>6.5499804873113856</c:v>
                </c:pt>
                <c:pt idx="1363">
                  <c:v>6.5499804873113856</c:v>
                </c:pt>
                <c:pt idx="1364">
                  <c:v>6.4225489973643892</c:v>
                </c:pt>
                <c:pt idx="1365">
                  <c:v>6.397063045563316</c:v>
                </c:pt>
                <c:pt idx="1366">
                  <c:v>6.3843194205596676</c:v>
                </c:pt>
                <c:pt idx="1367">
                  <c:v>6.2059155942751172</c:v>
                </c:pt>
                <c:pt idx="1368">
                  <c:v>6.2314015460761905</c:v>
                </c:pt>
                <c:pt idx="1369">
                  <c:v>6.3588330360231859</c:v>
                </c:pt>
                <c:pt idx="1370">
                  <c:v>6.5754668718478646</c:v>
                </c:pt>
                <c:pt idx="1371">
                  <c:v>6.1676860174703965</c:v>
                </c:pt>
                <c:pt idx="1372">
                  <c:v>6.2059155942751181</c:v>
                </c:pt>
                <c:pt idx="1373">
                  <c:v>6.1931724020068781</c:v>
                </c:pt>
                <c:pt idx="1374">
                  <c:v>6.2951175074173937</c:v>
                </c:pt>
                <c:pt idx="1375">
                  <c:v>6.4862653914409982</c:v>
                </c:pt>
                <c:pt idx="1376">
                  <c:v>6.3078606996856346</c:v>
                </c:pt>
                <c:pt idx="1377">
                  <c:v>6.4098058050961511</c:v>
                </c:pt>
                <c:pt idx="1378">
                  <c:v>6.0275113352551628</c:v>
                </c:pt>
                <c:pt idx="1379">
                  <c:v>5.9255662298446481</c:v>
                </c:pt>
                <c:pt idx="1380">
                  <c:v>5.8491070762352066</c:v>
                </c:pt>
                <c:pt idx="1381">
                  <c:v>5.5942440963412139</c:v>
                </c:pt>
                <c:pt idx="1382">
                  <c:v>5.4285830295894968</c:v>
                </c:pt>
                <c:pt idx="1383">
                  <c:v>5.2629223955731872</c:v>
                </c:pt>
                <c:pt idx="1384">
                  <c:v>5.2629223955731872</c:v>
                </c:pt>
                <c:pt idx="1385">
                  <c:v>5.4922989909306983</c:v>
                </c:pt>
                <c:pt idx="1386">
                  <c:v>5.4582552637188426</c:v>
                </c:pt>
                <c:pt idx="1387">
                  <c:v>5.2880396568074124</c:v>
                </c:pt>
                <c:pt idx="1388">
                  <c:v>5.4128647813974542</c:v>
                </c:pt>
                <c:pt idx="1389">
                  <c:v>5.1291716704763308</c:v>
                </c:pt>
                <c:pt idx="1390">
                  <c:v>4.9929989253059421</c:v>
                </c:pt>
                <c:pt idx="1391">
                  <c:v>4.788740023918062</c:v>
                </c:pt>
                <c:pt idx="1392">
                  <c:v>4.7546967294416129</c:v>
                </c:pt>
                <c:pt idx="1393">
                  <c:v>4.8568261801355517</c:v>
                </c:pt>
                <c:pt idx="1394">
                  <c:v>4.9589556308294913</c:v>
                </c:pt>
                <c:pt idx="1395">
                  <c:v>4.9362603896687975</c:v>
                </c:pt>
                <c:pt idx="1396">
                  <c:v>4.9362603896687975</c:v>
                </c:pt>
                <c:pt idx="1397">
                  <c:v>4.890869041876595</c:v>
                </c:pt>
                <c:pt idx="1398">
                  <c:v>4.7660443500219607</c:v>
                </c:pt>
                <c:pt idx="1399">
                  <c:v>4.4936988596811833</c:v>
                </c:pt>
                <c:pt idx="1400">
                  <c:v>4.1986581281797131</c:v>
                </c:pt>
                <c:pt idx="1401">
                  <c:v>4.21000574876006</c:v>
                </c:pt>
                <c:pt idx="1402">
                  <c:v>4.244049043236509</c:v>
                </c:pt>
                <c:pt idx="1403">
                  <c:v>4.2894399582933049</c:v>
                </c:pt>
                <c:pt idx="1404">
                  <c:v>4.2327009899207537</c:v>
                </c:pt>
                <c:pt idx="1405">
                  <c:v>4.3007875788736518</c:v>
                </c:pt>
                <c:pt idx="1406">
                  <c:v>4.5459633439443339</c:v>
                </c:pt>
                <c:pt idx="1407">
                  <c:v>4.4846698354120704</c:v>
                </c:pt>
                <c:pt idx="1408">
                  <c:v>4.658335641724296</c:v>
                </c:pt>
                <c:pt idx="1409">
                  <c:v>4.5561789286997101</c:v>
                </c:pt>
                <c:pt idx="1410">
                  <c:v>4.2394940703413875</c:v>
                </c:pt>
                <c:pt idx="1411">
                  <c:v>4.1884157138290936</c:v>
                </c:pt>
                <c:pt idx="1412">
                  <c:v>4.0453966617829984</c:v>
                </c:pt>
                <c:pt idx="1413">
                  <c:v>4.2394940703413875</c:v>
                </c:pt>
                <c:pt idx="1414">
                  <c:v>4.0453966617829984</c:v>
                </c:pt>
                <c:pt idx="1415">
                  <c:v>4.3416503506305668</c:v>
                </c:pt>
                <c:pt idx="1416">
                  <c:v>4.3825131223874827</c:v>
                </c:pt>
                <c:pt idx="1417">
                  <c:v>4.7400607525027221</c:v>
                </c:pt>
                <c:pt idx="1418">
                  <c:v>4.4744538179212858</c:v>
                </c:pt>
                <c:pt idx="1419">
                  <c:v>4.0556122465383773</c:v>
                </c:pt>
                <c:pt idx="1420">
                  <c:v>3.892162024981527</c:v>
                </c:pt>
                <c:pt idx="1421">
                  <c:v>3.8002213294477238</c:v>
                </c:pt>
                <c:pt idx="1422">
                  <c:v>3.8002213294477238</c:v>
                </c:pt>
                <c:pt idx="1423">
                  <c:v>3.7184962186692987</c:v>
                </c:pt>
                <c:pt idx="1424">
                  <c:v>3.6776334469123833</c:v>
                </c:pt>
                <c:pt idx="1425">
                  <c:v>3.6878490316677599</c:v>
                </c:pt>
                <c:pt idx="1426">
                  <c:v>3.7389269554446463</c:v>
                </c:pt>
                <c:pt idx="1427">
                  <c:v>3.8206524989584789</c:v>
                </c:pt>
                <c:pt idx="1428">
                  <c:v>3.892162024981527</c:v>
                </c:pt>
                <c:pt idx="1429">
                  <c:v>3.7593585576908093</c:v>
                </c:pt>
                <c:pt idx="1430">
                  <c:v>3.713512837721153</c:v>
                </c:pt>
                <c:pt idx="1431">
                  <c:v>3.6034825039644067</c:v>
                </c:pt>
                <c:pt idx="1432">
                  <c:v>3.5301295251071187</c:v>
                </c:pt>
                <c:pt idx="1433">
                  <c:v>3.5301295251071187</c:v>
                </c:pt>
                <c:pt idx="1434">
                  <c:v>3.640159426128458</c:v>
                </c:pt>
                <c:pt idx="1435">
                  <c:v>3.7501893271497968</c:v>
                </c:pt>
                <c:pt idx="1436">
                  <c:v>3.7685273554964152</c:v>
                </c:pt>
                <c:pt idx="1437">
                  <c:v>3.7135128377211526</c:v>
                </c:pt>
                <c:pt idx="1438">
                  <c:v>3.6860051460981147</c:v>
                </c:pt>
                <c:pt idx="1439">
                  <c:v>3.6126521672408267</c:v>
                </c:pt>
                <c:pt idx="1440">
                  <c:v>3.5392983229127242</c:v>
                </c:pt>
                <c:pt idx="1441">
                  <c:v>3.5026218334840804</c:v>
                </c:pt>
                <c:pt idx="1442">
                  <c:v>3.4292684218913854</c:v>
                </c:pt>
                <c:pt idx="1443">
                  <c:v>3.4200991913503724</c:v>
                </c:pt>
                <c:pt idx="1444">
                  <c:v>3.4292684218913854</c:v>
                </c:pt>
                <c:pt idx="1445">
                  <c:v>3.4200991913503724</c:v>
                </c:pt>
                <c:pt idx="1446">
                  <c:v>3.2917312619824148</c:v>
                </c:pt>
                <c:pt idx="1447">
                  <c:v>3.1175167471739869</c:v>
                </c:pt>
                <c:pt idx="1448">
                  <c:v>3.1083479493683805</c:v>
                </c:pt>
                <c:pt idx="1449">
                  <c:v>2.9633988974066257</c:v>
                </c:pt>
                <c:pt idx="1450">
                  <c:v>2.8748192577797584</c:v>
                </c:pt>
                <c:pt idx="1451">
                  <c:v>3.0197678770061067</c:v>
                </c:pt>
                <c:pt idx="1452">
                  <c:v>3.0036623306247097</c:v>
                </c:pt>
                <c:pt idx="1453">
                  <c:v>3.0358734233875033</c:v>
                </c:pt>
                <c:pt idx="1454">
                  <c:v>2.9633988974066252</c:v>
                </c:pt>
                <c:pt idx="1455">
                  <c:v>2.9311882373792391</c:v>
                </c:pt>
                <c:pt idx="1456">
                  <c:v>2.8265026186355686</c:v>
                </c:pt>
                <c:pt idx="1457">
                  <c:v>2.7781864122267859</c:v>
                </c:pt>
                <c:pt idx="1458">
                  <c:v>3.124453063014371</c:v>
                </c:pt>
                <c:pt idx="1459">
                  <c:v>3.0761372893409953</c:v>
                </c:pt>
                <c:pt idx="1460">
                  <c:v>2.8909248041611555</c:v>
                </c:pt>
                <c:pt idx="1461">
                  <c:v>2.907029917807145</c:v>
                </c:pt>
                <c:pt idx="1462">
                  <c:v>2.850660938207664</c:v>
                </c:pt>
                <c:pt idx="1463">
                  <c:v>2.7781864122267863</c:v>
                </c:pt>
                <c:pt idx="1464">
                  <c:v>2.7298706385534106</c:v>
                </c:pt>
                <c:pt idx="1465">
                  <c:v>2.7137650921720136</c:v>
                </c:pt>
                <c:pt idx="1466">
                  <c:v>2.7137650921720136</c:v>
                </c:pt>
                <c:pt idx="1467">
                  <c:v>2.7218174326273052</c:v>
                </c:pt>
                <c:pt idx="1468">
                  <c:v>2.6846342100369482</c:v>
                </c:pt>
                <c:pt idx="1469">
                  <c:v>2.6548875454175818</c:v>
                </c:pt>
                <c:pt idx="1470">
                  <c:v>2.6846342100369482</c:v>
                </c:pt>
                <c:pt idx="1471">
                  <c:v>2.7218174326273048</c:v>
                </c:pt>
                <c:pt idx="1472">
                  <c:v>2.7441275392756816</c:v>
                </c:pt>
                <c:pt idx="1473">
                  <c:v>2.7664376459240581</c:v>
                </c:pt>
                <c:pt idx="1474">
                  <c:v>3.1457072952694274</c:v>
                </c:pt>
                <c:pt idx="1475">
                  <c:v>3.3093137343082404</c:v>
                </c:pt>
                <c:pt idx="1476">
                  <c:v>3.249820405069507</c:v>
                </c:pt>
                <c:pt idx="1477">
                  <c:v>2.9969739721725941</c:v>
                </c:pt>
                <c:pt idx="1478">
                  <c:v>2.8556776397821571</c:v>
                </c:pt>
                <c:pt idx="1479">
                  <c:v>3.1531438532404157</c:v>
                </c:pt>
                <c:pt idx="1480">
                  <c:v>3.1382707372984355</c:v>
                </c:pt>
                <c:pt idx="1481">
                  <c:v>2.9300440849628697</c:v>
                </c:pt>
                <c:pt idx="1482">
                  <c:v>2.9821004234952055</c:v>
                </c:pt>
                <c:pt idx="1483">
                  <c:v>3.1308337465920388</c:v>
                </c:pt>
                <c:pt idx="1484">
                  <c:v>3.0415941854693469</c:v>
                </c:pt>
                <c:pt idx="1485">
                  <c:v>3.1308337465920393</c:v>
                </c:pt>
                <c:pt idx="1486">
                  <c:v>3.3093137343082391</c:v>
                </c:pt>
                <c:pt idx="1487">
                  <c:v>3.2145533348617819</c:v>
                </c:pt>
                <c:pt idx="1488">
                  <c:v>3.2509996090538498</c:v>
                </c:pt>
                <c:pt idx="1489">
                  <c:v>3.4186525568844419</c:v>
                </c:pt>
                <c:pt idx="1490">
                  <c:v>3.630039908633456</c:v>
                </c:pt>
                <c:pt idx="1491">
                  <c:v>3.5207015187926607</c:v>
                </c:pt>
                <c:pt idx="1492">
                  <c:v>3.4040737010192887</c:v>
                </c:pt>
                <c:pt idx="1493">
                  <c:v>3.1489506471456306</c:v>
                </c:pt>
                <c:pt idx="1494">
                  <c:v>3.1343717912804787</c:v>
                </c:pt>
                <c:pt idx="1495">
                  <c:v>2.9885871272476154</c:v>
                </c:pt>
                <c:pt idx="1496">
                  <c:v>2.9084055836663114</c:v>
                </c:pt>
                <c:pt idx="1497">
                  <c:v>2.8792487374068201</c:v>
                </c:pt>
                <c:pt idx="1498">
                  <c:v>2.9594302809881246</c:v>
                </c:pt>
                <c:pt idx="1499">
                  <c:v>2.8573808863444983</c:v>
                </c:pt>
                <c:pt idx="1500">
                  <c:v>2.8063561890226851</c:v>
                </c:pt>
                <c:pt idx="1501">
                  <c:v>2.8136456169552622</c:v>
                </c:pt>
                <c:pt idx="1502">
                  <c:v>2.7771993427631947</c:v>
                </c:pt>
                <c:pt idx="1503">
                  <c:v>2.7261746454413815</c:v>
                </c:pt>
                <c:pt idx="1504">
                  <c:v>2.7043067943790597</c:v>
                </c:pt>
                <c:pt idx="1505">
                  <c:v>2.6751499481195684</c:v>
                </c:pt>
                <c:pt idx="1506">
                  <c:v>2.6824393760521454</c:v>
                </c:pt>
                <c:pt idx="1507">
                  <c:v>2.7188852175088059</c:v>
                </c:pt>
                <c:pt idx="1508">
                  <c:v>2.6824393760521454</c:v>
                </c:pt>
                <c:pt idx="1509">
                  <c:v>2.7261746454413815</c:v>
                </c:pt>
                <c:pt idx="1510">
                  <c:v>2.6678605201869927</c:v>
                </c:pt>
                <c:pt idx="1511">
                  <c:v>2.6095468276680105</c:v>
                </c:pt>
                <c:pt idx="1512">
                  <c:v>2.5447940322913998</c:v>
                </c:pt>
                <c:pt idx="1513">
                  <c:v>2.6160222802998336</c:v>
                </c:pt>
                <c:pt idx="1514">
                  <c:v>2.4735657842829659</c:v>
                </c:pt>
                <c:pt idx="1515">
                  <c:v>2.3505347806907557</c:v>
                </c:pt>
                <c:pt idx="1516">
                  <c:v>2.3181583830024506</c:v>
                </c:pt>
                <c:pt idx="1517">
                  <c:v>2.2598806075222573</c:v>
                </c:pt>
                <c:pt idx="1518">
                  <c:v>2.2404546823621931</c:v>
                </c:pt>
                <c:pt idx="1519">
                  <c:v>2.2016028320420649</c:v>
                </c:pt>
                <c:pt idx="1520">
                  <c:v>2.1692264343537597</c:v>
                </c:pt>
                <c:pt idx="1521">
                  <c:v>2.1627509817219361</c:v>
                </c:pt>
                <c:pt idx="1522">
                  <c:v>2.23397922973037</c:v>
                </c:pt>
                <c:pt idx="1523">
                  <c:v>2.2922570052105633</c:v>
                </c:pt>
                <c:pt idx="1524">
                  <c:v>2.3246338356342751</c:v>
                </c:pt>
                <c:pt idx="1525">
                  <c:v>2.3699607058508203</c:v>
                </c:pt>
                <c:pt idx="1526">
                  <c:v>2.3505347806907557</c:v>
                </c:pt>
                <c:pt idx="1527">
                  <c:v>2.2598806075222573</c:v>
                </c:pt>
                <c:pt idx="1528">
                  <c:v>2.1562755290901112</c:v>
                </c:pt>
                <c:pt idx="1529">
                  <c:v>2.2275042098339521</c:v>
                </c:pt>
                <c:pt idx="1530">
                  <c:v>2.1562755290901112</c:v>
                </c:pt>
                <c:pt idx="1531">
                  <c:v>2.1915278862939935</c:v>
                </c:pt>
                <c:pt idx="1532">
                  <c:v>2.238531173477639</c:v>
                </c:pt>
                <c:pt idx="1533">
                  <c:v>2.1974035676515782</c:v>
                </c:pt>
                <c:pt idx="1534">
                  <c:v>2.121023171886228</c:v>
                </c:pt>
                <c:pt idx="1535">
                  <c:v>2.0740198847025826</c:v>
                </c:pt>
                <c:pt idx="1536">
                  <c:v>2.121023171886228</c:v>
                </c:pt>
                <c:pt idx="1537">
                  <c:v>2.1797773890496366</c:v>
                </c:pt>
                <c:pt idx="1538">
                  <c:v>2.1504002804679323</c:v>
                </c:pt>
                <c:pt idx="1539">
                  <c:v>2.1092722419064649</c:v>
                </c:pt>
                <c:pt idx="1540">
                  <c:v>2.0505184574784634</c:v>
                </c:pt>
                <c:pt idx="1541">
                  <c:v>2.009390418916996</c:v>
                </c:pt>
                <c:pt idx="1542">
                  <c:v>1.944760953131409</c:v>
                </c:pt>
                <c:pt idx="1543">
                  <c:v>2.1092722419064649</c:v>
                </c:pt>
                <c:pt idx="1544">
                  <c:v>2.0916460633045237</c:v>
                </c:pt>
                <c:pt idx="1545">
                  <c:v>2.1092722419064649</c:v>
                </c:pt>
                <c:pt idx="1546">
                  <c:v>2.1386493504881692</c:v>
                </c:pt>
                <c:pt idx="1547">
                  <c:v>2.1268984205084061</c:v>
                </c:pt>
                <c:pt idx="1548">
                  <c:v>2.1739017076920515</c:v>
                </c:pt>
                <c:pt idx="1549">
                  <c:v>2.0857708146823457</c:v>
                </c:pt>
                <c:pt idx="1550">
                  <c:v>2.1516370382614203</c:v>
                </c:pt>
                <c:pt idx="1551">
                  <c:v>2.1955479982259392</c:v>
                </c:pt>
                <c:pt idx="1552">
                  <c:v>2.1077260782969014</c:v>
                </c:pt>
                <c:pt idx="1553">
                  <c:v>2.2998367986013002</c:v>
                </c:pt>
                <c:pt idx="1554">
                  <c:v>2.4096139821448936</c:v>
                </c:pt>
                <c:pt idx="1555">
                  <c:v>2.3547253903730976</c:v>
                </c:pt>
                <c:pt idx="1556">
                  <c:v>2.2449482068295041</c:v>
                </c:pt>
                <c:pt idx="1557">
                  <c:v>2.1900591823223001</c:v>
                </c:pt>
                <c:pt idx="1558">
                  <c:v>2.2284813263831804</c:v>
                </c:pt>
                <c:pt idx="1559">
                  <c:v>2.1790815505150225</c:v>
                </c:pt>
                <c:pt idx="1560">
                  <c:v>2.3108144304085796</c:v>
                </c:pt>
                <c:pt idx="1561">
                  <c:v>2.2614146545404221</c:v>
                </c:pt>
                <c:pt idx="1562">
                  <c:v>2.1406594064541435</c:v>
                </c:pt>
                <c:pt idx="1563">
                  <c:v>2.0308822229105497</c:v>
                </c:pt>
                <c:pt idx="1564">
                  <c:v>1.9430603029815123</c:v>
                </c:pt>
                <c:pt idx="1565">
                  <c:v>1.8607271989561138</c:v>
                </c:pt>
                <c:pt idx="1566">
                  <c:v>1.8607271989561138</c:v>
                </c:pt>
                <c:pt idx="1567">
                  <c:v>1.8936600943779476</c:v>
                </c:pt>
                <c:pt idx="1568">
                  <c:v>1.8387715026061509</c:v>
                </c:pt>
                <c:pt idx="1569">
                  <c:v>1.8771936466670309</c:v>
                </c:pt>
                <c:pt idx="1570">
                  <c:v>2.0693039342360229</c:v>
                </c:pt>
                <c:pt idx="1571">
                  <c:v>2.1516370382614212</c:v>
                </c:pt>
                <c:pt idx="1572">
                  <c:v>2.184570366418662</c:v>
                </c:pt>
                <c:pt idx="1573">
                  <c:v>2.2669034704440612</c:v>
                </c:pt>
                <c:pt idx="1574">
                  <c:v>2.2175036945759032</c:v>
                </c:pt>
                <c:pt idx="1575">
                  <c:v>2.3053256145049406</c:v>
                </c:pt>
                <c:pt idx="1576">
                  <c:v>2.1681039187077453</c:v>
                </c:pt>
                <c:pt idx="1577">
                  <c:v>2.1241929587432269</c:v>
                </c:pt>
                <c:pt idx="1578">
                  <c:v>2.0144153424642259</c:v>
                </c:pt>
                <c:pt idx="1579">
                  <c:v>2.0034377106569483</c:v>
                </c:pt>
                <c:pt idx="1580">
                  <c:v>2.1241929587432269</c:v>
                </c:pt>
                <c:pt idx="1581">
                  <c:v>2.1571258541650606</c:v>
                </c:pt>
                <c:pt idx="1582">
                  <c:v>2.3382585099267748</c:v>
                </c:pt>
                <c:pt idx="1583">
                  <c:v>2.3437477585658213</c:v>
                </c:pt>
                <c:pt idx="1584">
                  <c:v>2.3163032463122191</c:v>
                </c:pt>
                <c:pt idx="1585">
                  <c:v>2.2723922863477002</c:v>
                </c:pt>
                <c:pt idx="1586">
                  <c:v>2.4480361262057757</c:v>
                </c:pt>
                <c:pt idx="1587">
                  <c:v>2.4151027980485349</c:v>
                </c:pt>
                <c:pt idx="1588">
                  <c:v>3.0133897898408821</c:v>
                </c:pt>
                <c:pt idx="1589">
                  <c:v>3.2000112615062348</c:v>
                </c:pt>
                <c:pt idx="1590">
                  <c:v>4.012364237217537</c:v>
                </c:pt>
                <c:pt idx="1591">
                  <c:v>3.3482110218461161</c:v>
                </c:pt>
                <c:pt idx="1592">
                  <c:v>3.9519868295421023</c:v>
                </c:pt>
                <c:pt idx="1593">
                  <c:v>3.8586760937094255</c:v>
                </c:pt>
                <c:pt idx="1594">
                  <c:v>3.8865870947318788</c:v>
                </c:pt>
                <c:pt idx="1595">
                  <c:v>3.7260993797720259</c:v>
                </c:pt>
                <c:pt idx="1596">
                  <c:v>3.7540103807944805</c:v>
                </c:pt>
                <c:pt idx="1597">
                  <c:v>3.9005423788754028</c:v>
                </c:pt>
                <c:pt idx="1598">
                  <c:v>4.6611133703024681</c:v>
                </c:pt>
                <c:pt idx="1599">
                  <c:v>4.9332437911459168</c:v>
                </c:pt>
                <c:pt idx="1600">
                  <c:v>5.086754080401712</c:v>
                </c:pt>
                <c:pt idx="1601">
                  <c:v>4.7867117930649945</c:v>
                </c:pt>
                <c:pt idx="1602">
                  <c:v>4.6820460801500499</c:v>
                </c:pt>
                <c:pt idx="1603">
                  <c:v>4.8495116535493672</c:v>
                </c:pt>
                <c:pt idx="1604">
                  <c:v>4.7448459406344234</c:v>
                </c:pt>
                <c:pt idx="1605">
                  <c:v>4.4168930850106598</c:v>
                </c:pt>
                <c:pt idx="1606">
                  <c:v>4.5355145148045342</c:v>
                </c:pt>
                <c:pt idx="1607">
                  <c:v>4.4168930850106598</c:v>
                </c:pt>
                <c:pt idx="1608">
                  <c:v>4.4866703711990921</c:v>
                </c:pt>
                <c:pt idx="1609">
                  <c:v>4.81462279408745</c:v>
                </c:pt>
                <c:pt idx="1610">
                  <c:v>4.9890657931908278</c:v>
                </c:pt>
                <c:pt idx="1611">
                  <c:v>4.6820460801500516</c:v>
                </c:pt>
                <c:pt idx="1612">
                  <c:v>4.8285780782309748</c:v>
                </c:pt>
                <c:pt idx="1613">
                  <c:v>5.3798176438281509</c:v>
                </c:pt>
                <c:pt idx="1614">
                  <c:v>5.3449292171016376</c:v>
                </c:pt>
                <c:pt idx="1615">
                  <c:v>5.282129356617264</c:v>
                </c:pt>
                <c:pt idx="1616">
                  <c:v>4.9890657931908269</c:v>
                </c:pt>
                <c:pt idx="1617">
                  <c:v>4.6332023692800144</c:v>
                </c:pt>
                <c:pt idx="1618">
                  <c:v>4.533563743589335</c:v>
                </c:pt>
                <c:pt idx="1619">
                  <c:v>4.7114898299844494</c:v>
                </c:pt>
                <c:pt idx="1620">
                  <c:v>4.6901390977336099</c:v>
                </c:pt>
                <c:pt idx="1621">
                  <c:v>5.0886940332317367</c:v>
                </c:pt>
                <c:pt idx="1622">
                  <c:v>5.4872489687298636</c:v>
                </c:pt>
                <c:pt idx="1623">
                  <c:v>5.5655364294342959</c:v>
                </c:pt>
                <c:pt idx="1624">
                  <c:v>5.3377908138261381</c:v>
                </c:pt>
                <c:pt idx="1625">
                  <c:v>5.2310349888949066</c:v>
                </c:pt>
                <c:pt idx="1626">
                  <c:v>5.615356391382746</c:v>
                </c:pt>
                <c:pt idx="1627">
                  <c:v>5.4943657352350055</c:v>
                </c:pt>
                <c:pt idx="1628">
                  <c:v>5.999677361135177</c:v>
                </c:pt>
                <c:pt idx="1629">
                  <c:v>6.4124662623789979</c:v>
                </c:pt>
                <c:pt idx="1630">
                  <c:v>5.8075164435235536</c:v>
                </c:pt>
                <c:pt idx="1631">
                  <c:v>5.473015002984166</c:v>
                </c:pt>
                <c:pt idx="1632">
                  <c:v>5.3876099103037749</c:v>
                </c:pt>
                <c:pt idx="1633">
                  <c:v>5.4018447415202839</c:v>
                </c:pt>
                <c:pt idx="1634">
                  <c:v>4.9392358783280113</c:v>
                </c:pt>
                <c:pt idx="1635">
                  <c:v>4.9107675141012139</c:v>
                </c:pt>
                <c:pt idx="1636">
                  <c:v>4.5905000393075213</c:v>
                </c:pt>
                <c:pt idx="1637">
                  <c:v>4.5691488743212743</c:v>
                </c:pt>
                <c:pt idx="1638">
                  <c:v>4.2982218906449674</c:v>
                </c:pt>
                <c:pt idx="1639">
                  <c:v>4.8254312263505508</c:v>
                </c:pt>
                <c:pt idx="1640">
                  <c:v>4.5398591782918052</c:v>
                </c:pt>
                <c:pt idx="1641">
                  <c:v>4.9572333439092429</c:v>
                </c:pt>
                <c:pt idx="1642">
                  <c:v>4.9938449230268223</c:v>
                </c:pt>
                <c:pt idx="1643">
                  <c:v>4.6277278336448093</c:v>
                </c:pt>
                <c:pt idx="1644">
                  <c:v>4.356800417233095</c:v>
                </c:pt>
                <c:pt idx="1645">
                  <c:v>4.7448853195564702</c:v>
                </c:pt>
                <c:pt idx="1646">
                  <c:v>4.4666355873212398</c:v>
                </c:pt>
                <c:pt idx="1647">
                  <c:v>3.8369133973510268</c:v>
                </c:pt>
                <c:pt idx="1648">
                  <c:v>3.8442357131745424</c:v>
                </c:pt>
                <c:pt idx="1649">
                  <c:v>4.3860901132625649</c:v>
                </c:pt>
                <c:pt idx="1650">
                  <c:v>4.9718784082916825</c:v>
                </c:pt>
                <c:pt idx="1651">
                  <c:v>4.7888196472329732</c:v>
                </c:pt>
                <c:pt idx="1652">
                  <c:v>4.53253686246829</c:v>
                </c:pt>
                <c:pt idx="1653">
                  <c:v>4.5984381376153403</c:v>
                </c:pt>
                <c:pt idx="1654">
                  <c:v>4.5545042426742457</c:v>
                </c:pt>
                <c:pt idx="1655">
                  <c:v>4.2323206154979198</c:v>
                </c:pt>
                <c:pt idx="1656">
                  <c:v>5.3379959304091038</c:v>
                </c:pt>
                <c:pt idx="1657">
                  <c:v>4.898654817321118</c:v>
                </c:pt>
                <c:pt idx="1658">
                  <c:v>4.6964881916265604</c:v>
                </c:pt>
                <c:pt idx="1659">
                  <c:v>4.7820200757812321</c:v>
                </c:pt>
                <c:pt idx="1660">
                  <c:v>4.7742446859864831</c:v>
                </c:pt>
                <c:pt idx="1661">
                  <c:v>5.0774948408960228</c:v>
                </c:pt>
                <c:pt idx="1662">
                  <c:v>5.2485586092053662</c:v>
                </c:pt>
                <c:pt idx="1663">
                  <c:v>5.0308403384504992</c:v>
                </c:pt>
                <c:pt idx="1664">
                  <c:v>5.1241484778707322</c:v>
                </c:pt>
                <c:pt idx="1665">
                  <c:v>5.023064948655751</c:v>
                </c:pt>
                <c:pt idx="1666">
                  <c:v>5.2252315743503086</c:v>
                </c:pt>
                <c:pt idx="1667">
                  <c:v>5.3651933507452529</c:v>
                </c:pt>
                <c:pt idx="1668">
                  <c:v>4.9764113116810416</c:v>
                </c:pt>
                <c:pt idx="1669">
                  <c:v>4.8753277824660604</c:v>
                </c:pt>
                <c:pt idx="1670">
                  <c:v>4.4087892490419254</c:v>
                </c:pt>
                <c:pt idx="1671">
                  <c:v>4.3388085772121574</c:v>
                </c:pt>
                <c:pt idx="1672">
                  <c:v>4.3232569321518461</c:v>
                </c:pt>
                <c:pt idx="1673">
                  <c:v>4.3232569321518461</c:v>
                </c:pt>
                <c:pt idx="1674">
                  <c:v>4.3699110018619631</c:v>
                </c:pt>
                <c:pt idx="1675">
                  <c:v>4.4476674962218876</c:v>
                </c:pt>
                <c:pt idx="1676">
                  <c:v>4.6887123690964057</c:v>
                </c:pt>
                <c:pt idx="1677">
                  <c:v>4.2299496582024263</c:v>
                </c:pt>
                <c:pt idx="1678">
                  <c:v>4.2921545075020404</c:v>
                </c:pt>
                <c:pt idx="1679">
                  <c:v>4.2143984458775234</c:v>
                </c:pt>
                <c:pt idx="1680">
                  <c:v>4.2143984458775234</c:v>
                </c:pt>
                <c:pt idx="1681">
                  <c:v>4.0977637043376376</c:v>
                </c:pt>
                <c:pt idx="1682">
                  <c:v>4.0906742001631411</c:v>
                </c:pt>
                <c:pt idx="1683">
                  <c:v>4.0197787256827668</c:v>
                </c:pt>
                <c:pt idx="1684">
                  <c:v>3.7645544117238474</c:v>
                </c:pt>
                <c:pt idx="1685">
                  <c:v>3.4738825768924437</c:v>
                </c:pt>
                <c:pt idx="1686">
                  <c:v>3.5589574924572189</c:v>
                </c:pt>
                <c:pt idx="1687">
                  <c:v>3.644031975286588</c:v>
                </c:pt>
                <c:pt idx="1688">
                  <c:v>3.6085844544141046</c:v>
                </c:pt>
                <c:pt idx="1689">
                  <c:v>3.7858233569827453</c:v>
                </c:pt>
                <c:pt idx="1690">
                  <c:v>3.6794799288944802</c:v>
                </c:pt>
                <c:pt idx="1691">
                  <c:v>3.7858233569827466</c:v>
                </c:pt>
                <c:pt idx="1692">
                  <c:v>3.5164200346748333</c:v>
                </c:pt>
                <c:pt idx="1693">
                  <c:v>3.4313455518454647</c:v>
                </c:pt>
                <c:pt idx="1694">
                  <c:v>3.367539581539587</c:v>
                </c:pt>
                <c:pt idx="1695">
                  <c:v>3.2682856576258175</c:v>
                </c:pt>
                <c:pt idx="1696">
                  <c:v>3.2399272081924235</c:v>
                </c:pt>
                <c:pt idx="1697">
                  <c:v>3.1690317337120484</c:v>
                </c:pt>
                <c:pt idx="1698">
                  <c:v>3.254106649276824</c:v>
                </c:pt>
                <c:pt idx="1699">
                  <c:v>3.147763221188558</c:v>
                </c:pt>
                <c:pt idx="1700">
                  <c:v>3.1941511586233093</c:v>
                </c:pt>
                <c:pt idx="1701">
                  <c:v>3.1742708612857915</c:v>
                </c:pt>
                <c:pt idx="1702">
                  <c:v>3.0748676436565732</c:v>
                </c:pt>
                <c:pt idx="1703">
                  <c:v>2.9887182460759716</c:v>
                </c:pt>
                <c:pt idx="1704">
                  <c:v>2.8959423712064689</c:v>
                </c:pt>
                <c:pt idx="1705">
                  <c:v>2.8230463609390766</c:v>
                </c:pt>
                <c:pt idx="1706">
                  <c:v>2.8097929736258678</c:v>
                </c:pt>
                <c:pt idx="1707">
                  <c:v>2.7302704860695743</c:v>
                </c:pt>
                <c:pt idx="1708">
                  <c:v>2.7236435760452662</c:v>
                </c:pt>
                <c:pt idx="1709">
                  <c:v>2.6706287285862063</c:v>
                </c:pt>
                <c:pt idx="1710">
                  <c:v>2.7435243061181915</c:v>
                </c:pt>
                <c:pt idx="1711">
                  <c:v>2.7700315134800175</c:v>
                </c:pt>
                <c:pt idx="1712">
                  <c:v>2.630867268440356</c:v>
                </c:pt>
                <c:pt idx="1713">
                  <c:v>2.5380909608354463</c:v>
                </c:pt>
                <c:pt idx="1714">
                  <c:v>2.3790464184582669</c:v>
                </c:pt>
                <c:pt idx="1715">
                  <c:v>2.3989271485311923</c:v>
                </c:pt>
                <c:pt idx="1716">
                  <c:v>2.438688175941635</c:v>
                </c:pt>
                <c:pt idx="1717">
                  <c:v>2.5447183035951619</c:v>
                </c:pt>
                <c:pt idx="1718">
                  <c:v>2.6507479985132814</c:v>
                </c:pt>
                <c:pt idx="1719">
                  <c:v>2.8439686851368893</c:v>
                </c:pt>
                <c:pt idx="1720">
                  <c:v>2.6447096086426272</c:v>
                </c:pt>
                <c:pt idx="1721">
                  <c:v>2.7111293008073813</c:v>
                </c:pt>
                <c:pt idx="1722">
                  <c:v>2.9285026814427924</c:v>
                </c:pt>
                <c:pt idx="1723">
                  <c:v>2.7533962989603329</c:v>
                </c:pt>
                <c:pt idx="1724">
                  <c:v>2.7292440376839369</c:v>
                </c:pt>
                <c:pt idx="1725">
                  <c:v>2.7232056478132827</c:v>
                </c:pt>
                <c:pt idx="1726">
                  <c:v>2.6326332616367258</c:v>
                </c:pt>
                <c:pt idx="1727">
                  <c:v>2.445450964883773</c:v>
                </c:pt>
                <c:pt idx="1728">
                  <c:v>2.560175612336725</c:v>
                </c:pt>
                <c:pt idx="1729">
                  <c:v>2.6024426104896765</c:v>
                </c:pt>
                <c:pt idx="1730">
                  <c:v>2.5179086141837739</c:v>
                </c:pt>
                <c:pt idx="1731">
                  <c:v>2.5360229183249223</c:v>
                </c:pt>
                <c:pt idx="1732">
                  <c:v>2.4212982708719695</c:v>
                </c:pt>
                <c:pt idx="1733">
                  <c:v>2.4635652690249206</c:v>
                </c:pt>
                <c:pt idx="1734">
                  <c:v>2.4333746178778703</c:v>
                </c:pt>
                <c:pt idx="1735">
                  <c:v>2.7171676906780342</c:v>
                </c:pt>
                <c:pt idx="1736">
                  <c:v>2.4937559201719699</c:v>
                </c:pt>
                <c:pt idx="1737">
                  <c:v>2.3790312727190179</c:v>
                </c:pt>
                <c:pt idx="1738">
                  <c:v>2.3005352335483629</c:v>
                </c:pt>
                <c:pt idx="1739">
                  <c:v>2.1435431552070527</c:v>
                </c:pt>
                <c:pt idx="1740">
                  <c:v>2.052971201765903</c:v>
                </c:pt>
                <c:pt idx="1741">
                  <c:v>2.1495815450777065</c:v>
                </c:pt>
                <c:pt idx="1742">
                  <c:v>2.0590091589011497</c:v>
                </c:pt>
                <c:pt idx="1743">
                  <c:v>2.0448089465172083</c:v>
                </c:pt>
                <c:pt idx="1744">
                  <c:v>1.8933416011183262</c:v>
                </c:pt>
                <c:pt idx="1745">
                  <c:v>1.8081411922854917</c:v>
                </c:pt>
                <c:pt idx="1746">
                  <c:v>1.713474263686968</c:v>
                </c:pt>
                <c:pt idx="1747">
                  <c:v>1.7371409958365989</c:v>
                </c:pt>
                <c:pt idx="1748">
                  <c:v>1.6093403825873474</c:v>
                </c:pt>
                <c:pt idx="1749">
                  <c:v>1.4768065094552514</c:v>
                </c:pt>
                <c:pt idx="1750">
                  <c:v>1.666140799387706</c:v>
                </c:pt>
                <c:pt idx="1751">
                  <c:v>1.6708740592705507</c:v>
                </c:pt>
                <c:pt idx="1752">
                  <c:v>1.6188073350884442</c:v>
                </c:pt>
                <c:pt idx="1753">
                  <c:v>1.5904069103205611</c:v>
                </c:pt>
                <c:pt idx="1754">
                  <c:v>1.6093403825873478</c:v>
                </c:pt>
                <c:pt idx="1755">
                  <c:v>1.6330071147369785</c:v>
                </c:pt>
                <c:pt idx="1756">
                  <c:v>1.6992740513030267</c:v>
                </c:pt>
                <c:pt idx="1757">
                  <c:v>1.7466079483376955</c:v>
                </c:pt>
                <c:pt idx="1758">
                  <c:v>1.855475089320161</c:v>
                </c:pt>
                <c:pt idx="1759">
                  <c:v>2.0022087421007915</c:v>
                </c:pt>
                <c:pt idx="1760">
                  <c:v>1.9596085376843742</c:v>
                </c:pt>
                <c:pt idx="1761">
                  <c:v>1.7229412161880646</c:v>
                </c:pt>
                <c:pt idx="1762">
                  <c:v>1.8693909945416383</c:v>
                </c:pt>
                <c:pt idx="1763">
                  <c:v>1.8392397223166344</c:v>
                </c:pt>
                <c:pt idx="1764">
                  <c:v>1.7186337679458046</c:v>
                </c:pt>
                <c:pt idx="1765">
                  <c:v>1.7703218486466996</c:v>
                </c:pt>
                <c:pt idx="1766">
                  <c:v>1.7573999366553275</c:v>
                </c:pt>
                <c:pt idx="1767">
                  <c:v>1.6970969594699128</c:v>
                </c:pt>
                <c:pt idx="1768">
                  <c:v>1.7746292968889597</c:v>
                </c:pt>
                <c:pt idx="1769">
                  <c:v>1.7014044077121726</c:v>
                </c:pt>
                <c:pt idx="1770">
                  <c:v>1.5980278135749746</c:v>
                </c:pt>
                <c:pt idx="1771">
                  <c:v>1.5506467483809321</c:v>
                </c:pt>
                <c:pt idx="1772">
                  <c:v>1.5549541966231919</c:v>
                </c:pt>
                <c:pt idx="1773">
                  <c:v>1.5894133498258627</c:v>
                </c:pt>
                <c:pt idx="1774">
                  <c:v>1.5506467483809321</c:v>
                </c:pt>
                <c:pt idx="1775">
                  <c:v>1.5549541966231915</c:v>
                </c:pt>
                <c:pt idx="1776">
                  <c:v>1.6195646220508659</c:v>
                </c:pt>
                <c:pt idx="1777">
                  <c:v>1.7229412161880642</c:v>
                </c:pt>
                <c:pt idx="1778">
                  <c:v>1.6669452545095018</c:v>
                </c:pt>
                <c:pt idx="1779">
                  <c:v>1.6841746147431336</c:v>
                </c:pt>
                <c:pt idx="1780">
                  <c:v>1.76601440040444</c:v>
                </c:pt>
                <c:pt idx="1781">
                  <c:v>1.6669452545095023</c:v>
                </c:pt>
                <c:pt idx="1782">
                  <c:v>1.7269076689295302</c:v>
                </c:pt>
                <c:pt idx="1783">
                  <c:v>1.8388368456526254</c:v>
                </c:pt>
                <c:pt idx="1784">
                  <c:v>1.9107912236741706</c:v>
                </c:pt>
                <c:pt idx="1785">
                  <c:v>1.9507660223757206</c:v>
                </c:pt>
                <c:pt idx="1786">
                  <c:v>2.0946747784188111</c:v>
                </c:pt>
                <c:pt idx="1787">
                  <c:v>2.254573540489603</c:v>
                </c:pt>
                <c:pt idx="1788">
                  <c:v>1.9387736260387962</c:v>
                </c:pt>
                <c:pt idx="1789">
                  <c:v>1.9947379980326401</c:v>
                </c:pt>
                <c:pt idx="1790">
                  <c:v>1.9827456016957161</c:v>
                </c:pt>
                <c:pt idx="1791">
                  <c:v>1.9387736260387962</c:v>
                </c:pt>
                <c:pt idx="1792">
                  <c:v>1.9627584187126448</c:v>
                </c:pt>
                <c:pt idx="1793">
                  <c:v>1.8388368456526252</c:v>
                </c:pt>
                <c:pt idx="1794">
                  <c:v>2.0546999797172614</c:v>
                </c:pt>
                <c:pt idx="1795">
                  <c:v>2.0786847723911097</c:v>
                </c:pt>
                <c:pt idx="1796">
                  <c:v>2.2185963514788298</c:v>
                </c:pt>
                <c:pt idx="1797">
                  <c:v>2.1546367601034322</c:v>
                </c:pt>
                <c:pt idx="1798">
                  <c:v>2.046705193071114</c:v>
                </c:pt>
                <c:pt idx="1799">
                  <c:v>1.8708164249726207</c:v>
                </c:pt>
                <c:pt idx="1800">
                  <c:v>1.8428340226079951</c:v>
                </c:pt>
                <c:pt idx="1801">
                  <c:v>1.7349024555756771</c:v>
                </c:pt>
                <c:pt idx="1802">
                  <c:v>1.9627584187126446</c:v>
                </c:pt>
                <c:pt idx="1803">
                  <c:v>1.8748140346633979</c:v>
                </c:pt>
                <c:pt idx="1804">
                  <c:v>1.9947379980326398</c:v>
                </c:pt>
                <c:pt idx="1805">
                  <c:v>1.8348392359618482</c:v>
                </c:pt>
                <c:pt idx="1806">
                  <c:v>1.7288424289346682</c:v>
                </c:pt>
                <c:pt idx="1807">
                  <c:v>1.5936052577144268</c:v>
                </c:pt>
                <c:pt idx="1808">
                  <c:v>1.600915456946544</c:v>
                </c:pt>
                <c:pt idx="1809">
                  <c:v>1.4949190826547711</c:v>
                </c:pt>
                <c:pt idx="1810">
                  <c:v>1.706912263973724</c:v>
                </c:pt>
                <c:pt idx="1811">
                  <c:v>1.5972605736981889</c:v>
                </c:pt>
                <c:pt idx="1812">
                  <c:v>1.6411213363554844</c:v>
                </c:pt>
                <c:pt idx="1813">
                  <c:v>1.5899503744660717</c:v>
                </c:pt>
                <c:pt idx="1814">
                  <c:v>1.5862954912177165</c:v>
                </c:pt>
                <c:pt idx="1815">
                  <c:v>1.5607100102730103</c:v>
                </c:pt>
                <c:pt idx="1816">
                  <c:v>1.4291277223011241</c:v>
                </c:pt>
                <c:pt idx="1817">
                  <c:v>1.3267862312577061</c:v>
                </c:pt>
                <c:pt idx="1818">
                  <c:v>1.2938905510808829</c:v>
                </c:pt>
                <c:pt idx="1819">
                  <c:v>1.3743018771633566</c:v>
                </c:pt>
                <c:pt idx="1820">
                  <c:v>1.3340964304898233</c:v>
                </c:pt>
                <c:pt idx="1821">
                  <c:v>1.3450615129702956</c:v>
                </c:pt>
                <c:pt idx="1822">
                  <c:v>1.4071975573401803</c:v>
                </c:pt>
                <c:pt idx="1823">
                  <c:v>1.3377513137381787</c:v>
                </c:pt>
                <c:pt idx="1824">
                  <c:v>1.3523717122024128</c:v>
                </c:pt>
                <c:pt idx="1825">
                  <c:v>1.270310366012672</c:v>
                </c:pt>
                <c:pt idx="1826">
                  <c:v>1.2670276352144219</c:v>
                </c:pt>
                <c:pt idx="1827">
                  <c:v>1.2177910005947401</c:v>
                </c:pt>
                <c:pt idx="1828">
                  <c:v>1.2243555967204265</c:v>
                </c:pt>
                <c:pt idx="1829">
                  <c:v>1.1948136159486173</c:v>
                </c:pt>
                <c:pt idx="1830">
                  <c:v>1.2571803082904855</c:v>
                </c:pt>
                <c:pt idx="1831">
                  <c:v>1.3655013371891926</c:v>
                </c:pt>
                <c:pt idx="1832">
                  <c:v>1.4344330583921541</c:v>
                </c:pt>
                <c:pt idx="1833">
                  <c:v>1.3851959910370655</c:v>
                </c:pt>
                <c:pt idx="1834">
                  <c:v>1.257180308290486</c:v>
                </c:pt>
                <c:pt idx="1835">
                  <c:v>1.2210732986575836</c:v>
                </c:pt>
                <c:pt idx="1836">
                  <c:v>1.2801576929366087</c:v>
                </c:pt>
                <c:pt idx="1837">
                  <c:v>1.3064169429101675</c:v>
                </c:pt>
                <c:pt idx="1838">
                  <c:v>1.2932873179233879</c:v>
                </c:pt>
                <c:pt idx="1839">
                  <c:v>1.2276383275186769</c:v>
                </c:pt>
                <c:pt idx="1840">
                  <c:v>1.1291646255439065</c:v>
                </c:pt>
                <c:pt idx="1841">
                  <c:v>1.1061872408977835</c:v>
                </c:pt>
                <c:pt idx="1842">
                  <c:v>1.1587066063157156</c:v>
                </c:pt>
                <c:pt idx="1843">
                  <c:v>1.1029049428349407</c:v>
                </c:pt>
                <c:pt idx="1844">
                  <c:v>1.0864925870499111</c:v>
                </c:pt>
                <c:pt idx="1845">
                  <c:v>1.0733629620631318</c:v>
                </c:pt>
                <c:pt idx="1846">
                  <c:v>1.0372559524302294</c:v>
                </c:pt>
                <c:pt idx="1847">
                  <c:v>1.0766452601259748</c:v>
                </c:pt>
                <c:pt idx="1848">
                  <c:v>1.0635156351391954</c:v>
                </c:pt>
                <c:pt idx="1849">
                  <c:v>1.0438205485559156</c:v>
                </c:pt>
                <c:pt idx="1850">
                  <c:v>1.0132019220912452</c:v>
                </c:pt>
                <c:pt idx="1851">
                  <c:v>1.0159857089651105</c:v>
                </c:pt>
                <c:pt idx="1852">
                  <c:v>1.0438205485559153</c:v>
                </c:pt>
                <c:pt idx="1853">
                  <c:v>1.0577381847190215</c:v>
                </c:pt>
                <c:pt idx="1854">
                  <c:v>1.074439607755993</c:v>
                </c:pt>
                <c:pt idx="1855">
                  <c:v>1.032686699266675</c:v>
                </c:pt>
                <c:pt idx="1856">
                  <c:v>1.0466043354297807</c:v>
                </c:pt>
                <c:pt idx="1857">
                  <c:v>1.0577381847190213</c:v>
                </c:pt>
                <c:pt idx="1858">
                  <c:v>1.0716558208821272</c:v>
                </c:pt>
                <c:pt idx="1859">
                  <c:v>1.0967077390698807</c:v>
                </c:pt>
                <c:pt idx="1860">
                  <c:v>1.0549548305805627</c:v>
                </c:pt>
                <c:pt idx="1861">
                  <c:v>1.0382538402789983</c:v>
                </c:pt>
                <c:pt idx="1862">
                  <c:v>1.0104185679527862</c:v>
                </c:pt>
                <c:pt idx="1863">
                  <c:v>0.89629412450947976</c:v>
                </c:pt>
                <c:pt idx="1864">
                  <c:v>0.84062357985705571</c:v>
                </c:pt>
                <c:pt idx="1865">
                  <c:v>0.91856225582336792</c:v>
                </c:pt>
                <c:pt idx="1866">
                  <c:v>0.92412939683569184</c:v>
                </c:pt>
                <c:pt idx="1867">
                  <c:v>0.87959313420791552</c:v>
                </c:pt>
                <c:pt idx="1868">
                  <c:v>0.82948929783240821</c:v>
                </c:pt>
                <c:pt idx="1869">
                  <c:v>0.8748719909164695</c:v>
                </c:pt>
                <c:pt idx="1870">
                  <c:v>0.84965952789268218</c:v>
                </c:pt>
                <c:pt idx="1871">
                  <c:v>0.81940439916997454</c:v>
                </c:pt>
                <c:pt idx="1872">
                  <c:v>0.80931950050754098</c:v>
                </c:pt>
                <c:pt idx="1873">
                  <c:v>0.82696818135065131</c:v>
                </c:pt>
                <c:pt idx="1874">
                  <c:v>0.80931950050754109</c:v>
                </c:pt>
                <c:pt idx="1875">
                  <c:v>0.8017557183268641</c:v>
                </c:pt>
                <c:pt idx="1876">
                  <c:v>0.86478709225403583</c:v>
                </c:pt>
                <c:pt idx="1877">
                  <c:v>0.89504178824133629</c:v>
                </c:pt>
                <c:pt idx="1878">
                  <c:v>0.81184061698929755</c:v>
                </c:pt>
                <c:pt idx="1879">
                  <c:v>0.82696818135065131</c:v>
                </c:pt>
                <c:pt idx="1880">
                  <c:v>0.85470176085619531</c:v>
                </c:pt>
                <c:pt idx="1881">
                  <c:v>0.83705308001308498</c:v>
                </c:pt>
                <c:pt idx="1882">
                  <c:v>0.83201084704957173</c:v>
                </c:pt>
                <c:pt idx="1883">
                  <c:v>0.79671348536335107</c:v>
                </c:pt>
                <c:pt idx="1884">
                  <c:v>0.79419193614618733</c:v>
                </c:pt>
                <c:pt idx="1885">
                  <c:v>0.80175571832686421</c:v>
                </c:pt>
                <c:pt idx="1886">
                  <c:v>0.84209574571200529</c:v>
                </c:pt>
                <c:pt idx="1887">
                  <c:v>0.84461686219376186</c:v>
                </c:pt>
                <c:pt idx="1888">
                  <c:v>0.81688328268821808</c:v>
                </c:pt>
                <c:pt idx="1889">
                  <c:v>0.83782897459801298</c:v>
                </c:pt>
                <c:pt idx="1890">
                  <c:v>0.79826484179779977</c:v>
                </c:pt>
                <c:pt idx="1891">
                  <c:v>0.77964640090738135</c:v>
                </c:pt>
                <c:pt idx="1892">
                  <c:v>0.76568289479112295</c:v>
                </c:pt>
                <c:pt idx="1893">
                  <c:v>0.77731914988800499</c:v>
                </c:pt>
                <c:pt idx="1894">
                  <c:v>0.81921053370759467</c:v>
                </c:pt>
                <c:pt idx="1895">
                  <c:v>0.80757427861071263</c:v>
                </c:pt>
                <c:pt idx="1896">
                  <c:v>0.89368429726926824</c:v>
                </c:pt>
                <c:pt idx="1897">
                  <c:v>0.87273860535947334</c:v>
                </c:pt>
                <c:pt idx="1898">
                  <c:v>0.85179291344967867</c:v>
                </c:pt>
                <c:pt idx="1899">
                  <c:v>0.8494656624303023</c:v>
                </c:pt>
                <c:pt idx="1900">
                  <c:v>0.88204804217238619</c:v>
                </c:pt>
                <c:pt idx="1901">
                  <c:v>0.78662815396551067</c:v>
                </c:pt>
                <c:pt idx="1902">
                  <c:v>0.82851997052050741</c:v>
                </c:pt>
                <c:pt idx="1903">
                  <c:v>0.84248347663676593</c:v>
                </c:pt>
                <c:pt idx="1904">
                  <c:v>0.79361033975904716</c:v>
                </c:pt>
                <c:pt idx="1905">
                  <c:v>0.87739310739822629</c:v>
                </c:pt>
                <c:pt idx="1906">
                  <c:v>0.86110191752718435</c:v>
                </c:pt>
                <c:pt idx="1907">
                  <c:v>0.86575685230134447</c:v>
                </c:pt>
                <c:pt idx="1908">
                  <c:v>0.79593759077842363</c:v>
                </c:pt>
                <c:pt idx="1909">
                  <c:v>0.78895583772029432</c:v>
                </c:pt>
                <c:pt idx="1910">
                  <c:v>0.830847221539884</c:v>
                </c:pt>
                <c:pt idx="1911">
                  <c:v>0.84015622561738978</c:v>
                </c:pt>
                <c:pt idx="1912">
                  <c:v>0.79847774761809265</c:v>
                </c:pt>
                <c:pt idx="1913">
                  <c:v>0.72828157355558898</c:v>
                </c:pt>
                <c:pt idx="1914">
                  <c:v>0.7195074304412572</c:v>
                </c:pt>
                <c:pt idx="1915">
                  <c:v>0.72170096621984015</c:v>
                </c:pt>
                <c:pt idx="1916">
                  <c:v>0.70634535029894552</c:v>
                </c:pt>
                <c:pt idx="1917">
                  <c:v>0.68440955977770901</c:v>
                </c:pt>
                <c:pt idx="1918">
                  <c:v>0.70853931881293575</c:v>
                </c:pt>
                <c:pt idx="1919">
                  <c:v>0.68002205548513628</c:v>
                </c:pt>
                <c:pt idx="1920">
                  <c:v>0.66905394385681438</c:v>
                </c:pt>
                <c:pt idx="1921">
                  <c:v>0.68221559126371922</c:v>
                </c:pt>
                <c:pt idx="1922">
                  <c:v>0.71950743044125753</c:v>
                </c:pt>
                <c:pt idx="1923">
                  <c:v>0.72389450199842331</c:v>
                </c:pt>
                <c:pt idx="1924">
                  <c:v>0.70634535029894563</c:v>
                </c:pt>
                <c:pt idx="1925">
                  <c:v>0.71950743044125753</c:v>
                </c:pt>
                <c:pt idx="1926">
                  <c:v>0.70195827874177996</c:v>
                </c:pt>
                <c:pt idx="1927">
                  <c:v>0.70195827874177996</c:v>
                </c:pt>
                <c:pt idx="1928">
                  <c:v>0.68221559126371945</c:v>
                </c:pt>
                <c:pt idx="1929">
                  <c:v>0.70634535029894585</c:v>
                </c:pt>
                <c:pt idx="1930">
                  <c:v>0.72828157355558931</c:v>
                </c:pt>
                <c:pt idx="1931">
                  <c:v>0.72198527338230423</c:v>
                </c:pt>
                <c:pt idx="1932">
                  <c:v>0.69260210650490039</c:v>
                </c:pt>
                <c:pt idx="1933">
                  <c:v>0.67791073943390212</c:v>
                </c:pt>
                <c:pt idx="1934">
                  <c:v>0.71778773993344769</c:v>
                </c:pt>
                <c:pt idx="1935">
                  <c:v>0.73457830646428146</c:v>
                </c:pt>
                <c:pt idx="1936">
                  <c:v>0.76606024006611362</c:v>
                </c:pt>
                <c:pt idx="1937">
                  <c:v>0.78285037386154033</c:v>
                </c:pt>
                <c:pt idx="1938">
                  <c:v>0.81852984091222925</c:v>
                </c:pt>
                <c:pt idx="1939">
                  <c:v>0.80173970711680265</c:v>
                </c:pt>
                <c:pt idx="1940">
                  <c:v>0.93816127514627279</c:v>
                </c:pt>
                <c:pt idx="1941">
                  <c:v>0.74297337336199476</c:v>
                </c:pt>
                <c:pt idx="1942">
                  <c:v>0.65482387272978337</c:v>
                </c:pt>
                <c:pt idx="1943">
                  <c:v>0.66741647307635332</c:v>
                </c:pt>
                <c:pt idx="1944">
                  <c:v>0.6422312723832132</c:v>
                </c:pt>
                <c:pt idx="1945">
                  <c:v>0.61914440567909435</c:v>
                </c:pt>
                <c:pt idx="1946">
                  <c:v>0.6149468722302377</c:v>
                </c:pt>
                <c:pt idx="1947">
                  <c:v>0.61704563895466602</c:v>
                </c:pt>
                <c:pt idx="1948">
                  <c:v>0.5960575389749756</c:v>
                </c:pt>
                <c:pt idx="1949">
                  <c:v>0.59235548756724687</c:v>
                </c:pt>
                <c:pt idx="1950">
                  <c:v>0.59050424549567893</c:v>
                </c:pt>
                <c:pt idx="1951">
                  <c:v>0.58495095201638225</c:v>
                </c:pt>
                <c:pt idx="1952">
                  <c:v>0.57384436505778891</c:v>
                </c:pt>
                <c:pt idx="1953">
                  <c:v>0.58124890060865353</c:v>
                </c:pt>
                <c:pt idx="1954">
                  <c:v>0.54237541351816976</c:v>
                </c:pt>
                <c:pt idx="1955">
                  <c:v>0.52016223960098307</c:v>
                </c:pt>
                <c:pt idx="1956">
                  <c:v>0.50720441057082177</c:v>
                </c:pt>
                <c:pt idx="1957">
                  <c:v>0.51645975545784717</c:v>
                </c:pt>
                <c:pt idx="1958">
                  <c:v>0.52201304893714395</c:v>
                </c:pt>
                <c:pt idx="1959">
                  <c:v>0.54052417144660192</c:v>
                </c:pt>
                <c:pt idx="1960">
                  <c:v>0.52016223960098318</c:v>
                </c:pt>
                <c:pt idx="1961">
                  <c:v>0.56088653602762795</c:v>
                </c:pt>
                <c:pt idx="1962">
                  <c:v>0.55163119114060244</c:v>
                </c:pt>
                <c:pt idx="1963">
                  <c:v>0.52941758448800869</c:v>
                </c:pt>
                <c:pt idx="1964">
                  <c:v>0.56643982950692451</c:v>
                </c:pt>
                <c:pt idx="1965">
                  <c:v>0.53312006863114447</c:v>
                </c:pt>
                <c:pt idx="1966">
                  <c:v>0.52386429100871201</c:v>
                </c:pt>
                <c:pt idx="1967">
                  <c:v>0.52201304893714406</c:v>
                </c:pt>
                <c:pt idx="1968">
                  <c:v>0.51181087897938682</c:v>
                </c:pt>
                <c:pt idx="1969">
                  <c:v>0.50841044415040593</c:v>
                </c:pt>
                <c:pt idx="1970">
                  <c:v>0.5033093591715273</c:v>
                </c:pt>
                <c:pt idx="1971">
                  <c:v>0.50160870902162968</c:v>
                </c:pt>
                <c:pt idx="1972">
                  <c:v>0.49480740662826056</c:v>
                </c:pt>
                <c:pt idx="1973">
                  <c:v>0.49310675647836294</c:v>
                </c:pt>
                <c:pt idx="1974">
                  <c:v>0.47270241656284856</c:v>
                </c:pt>
                <c:pt idx="1975">
                  <c:v>0.52371369908704168</c:v>
                </c:pt>
                <c:pt idx="1976">
                  <c:v>0.52711413391602269</c:v>
                </c:pt>
                <c:pt idx="1977">
                  <c:v>0.50500957658601786</c:v>
                </c:pt>
                <c:pt idx="1978">
                  <c:v>0.60022997377022091</c:v>
                </c:pt>
                <c:pt idx="1979">
                  <c:v>0.57982563385470653</c:v>
                </c:pt>
                <c:pt idx="1980">
                  <c:v>0.52371369908704191</c:v>
                </c:pt>
                <c:pt idx="1981">
                  <c:v>0.54921912398143502</c:v>
                </c:pt>
                <c:pt idx="1982">
                  <c:v>0.55772107652470171</c:v>
                </c:pt>
                <c:pt idx="1983">
                  <c:v>0.51011066156489659</c:v>
                </c:pt>
                <c:pt idx="1984">
                  <c:v>0.49480740662826073</c:v>
                </c:pt>
                <c:pt idx="1985">
                  <c:v>0.49990849160713929</c:v>
                </c:pt>
                <c:pt idx="1986">
                  <c:v>0.48290458652060586</c:v>
                </c:pt>
                <c:pt idx="1987">
                  <c:v>0.46930198173386761</c:v>
                </c:pt>
                <c:pt idx="1988">
                  <c:v>0.44209590668957688</c:v>
                </c:pt>
                <c:pt idx="1989">
                  <c:v>0.45059785923284362</c:v>
                </c:pt>
                <c:pt idx="1990">
                  <c:v>0.44039568927508643</c:v>
                </c:pt>
                <c:pt idx="1991">
                  <c:v>0.42679265175294112</c:v>
                </c:pt>
                <c:pt idx="1992">
                  <c:v>0.42971577942789235</c:v>
                </c:pt>
                <c:pt idx="1993">
                  <c:v>0.45017853862336515</c:v>
                </c:pt>
                <c:pt idx="1994">
                  <c:v>0.45017853862336515</c:v>
                </c:pt>
                <c:pt idx="1995">
                  <c:v>0.42386952407798995</c:v>
                </c:pt>
                <c:pt idx="1996">
                  <c:v>0.43702381498297399</c:v>
                </c:pt>
                <c:pt idx="1997">
                  <c:v>0.43263890710284358</c:v>
                </c:pt>
                <c:pt idx="1998">
                  <c:v>0.425330871547762</c:v>
                </c:pt>
                <c:pt idx="1999">
                  <c:v>0.41509970831772919</c:v>
                </c:pt>
                <c:pt idx="2000">
                  <c:v>0.42094596366763165</c:v>
                </c:pt>
                <c:pt idx="2001">
                  <c:v>0.41509970831772924</c:v>
                </c:pt>
                <c:pt idx="2002">
                  <c:v>0.42094596366763171</c:v>
                </c:pt>
                <c:pt idx="2003">
                  <c:v>0.40340676488251725</c:v>
                </c:pt>
                <c:pt idx="2004">
                  <c:v>0.42825399922271329</c:v>
                </c:pt>
                <c:pt idx="2005">
                  <c:v>0.41656105578750136</c:v>
                </c:pt>
                <c:pt idx="2006">
                  <c:v>0.41948461619785976</c:v>
                </c:pt>
                <c:pt idx="2007">
                  <c:v>0.39902185700238696</c:v>
                </c:pt>
                <c:pt idx="2008">
                  <c:v>0.39756007679720778</c:v>
                </c:pt>
                <c:pt idx="2009">
                  <c:v>0.38294400568704456</c:v>
                </c:pt>
                <c:pt idx="2010">
                  <c:v>0.38440578589222374</c:v>
                </c:pt>
                <c:pt idx="2011">
                  <c:v>0.37512664055780781</c:v>
                </c:pt>
                <c:pt idx="2012">
                  <c:v>0.4414035300382193</c:v>
                </c:pt>
                <c:pt idx="2013">
                  <c:v>0.39103312865193918</c:v>
                </c:pt>
                <c:pt idx="2014">
                  <c:v>0.43610165583044691</c:v>
                </c:pt>
                <c:pt idx="2015">
                  <c:v>0.45598454958040757</c:v>
                </c:pt>
                <c:pt idx="2016">
                  <c:v>0.4228461048402018</c:v>
                </c:pt>
                <c:pt idx="2017">
                  <c:v>0.40561414819412744</c:v>
                </c:pt>
                <c:pt idx="2018">
                  <c:v>0.38573125444416684</c:v>
                </c:pt>
                <c:pt idx="2019">
                  <c:v>0.38838219154805298</c:v>
                </c:pt>
                <c:pt idx="2020">
                  <c:v>0.39235902993928928</c:v>
                </c:pt>
                <c:pt idx="2021">
                  <c:v>0.39235902993928928</c:v>
                </c:pt>
                <c:pt idx="2022">
                  <c:v>0.39103312865193907</c:v>
                </c:pt>
                <c:pt idx="2023">
                  <c:v>0.38307988460487341</c:v>
                </c:pt>
                <c:pt idx="2024">
                  <c:v>0.40163774253829809</c:v>
                </c:pt>
                <c:pt idx="2025">
                  <c:v>0.38573125444416684</c:v>
                </c:pt>
                <c:pt idx="2026">
                  <c:v>0.37777801039710118</c:v>
                </c:pt>
                <c:pt idx="2027">
                  <c:v>0.36849929779809243</c:v>
                </c:pt>
                <c:pt idx="2028">
                  <c:v>0.36717382924614933</c:v>
                </c:pt>
                <c:pt idx="2029">
                  <c:v>0.37115023490197863</c:v>
                </c:pt>
                <c:pt idx="2030">
                  <c:v>0.37645254184515808</c:v>
                </c:pt>
                <c:pt idx="2031">
                  <c:v>0.36717382924614939</c:v>
                </c:pt>
                <c:pt idx="2032">
                  <c:v>0.36187152230296982</c:v>
                </c:pt>
                <c:pt idx="2033">
                  <c:v>0.35922058519908362</c:v>
                </c:pt>
                <c:pt idx="2034">
                  <c:v>0.36319699085491286</c:v>
                </c:pt>
                <c:pt idx="2035">
                  <c:v>0.36982476635003547</c:v>
                </c:pt>
                <c:pt idx="2036">
                  <c:v>0.36380152221862971</c:v>
                </c:pt>
                <c:pt idx="2037">
                  <c:v>0.36380152221862977</c:v>
                </c:pt>
                <c:pt idx="2038">
                  <c:v>0.37102950172339805</c:v>
                </c:pt>
                <c:pt idx="2039">
                  <c:v>0.3686200309766729</c:v>
                </c:pt>
                <c:pt idx="2040">
                  <c:v>0.37343853973471614</c:v>
                </c:pt>
                <c:pt idx="2041">
                  <c:v>0.37343853973471608</c:v>
                </c:pt>
                <c:pt idx="2042">
                  <c:v>0.36621056022994775</c:v>
                </c:pt>
                <c:pt idx="2043">
                  <c:v>0.37102950172339805</c:v>
                </c:pt>
                <c:pt idx="2044">
                  <c:v>0.37102950172339799</c:v>
                </c:pt>
                <c:pt idx="2045">
                  <c:v>0.38668976337089017</c:v>
                </c:pt>
                <c:pt idx="2046">
                  <c:v>0.38548502799752765</c:v>
                </c:pt>
                <c:pt idx="2047">
                  <c:v>0.38789449874425275</c:v>
                </c:pt>
                <c:pt idx="2048">
                  <c:v>0.4107823071611062</c:v>
                </c:pt>
                <c:pt idx="2049">
                  <c:v>0.39873625163370169</c:v>
                </c:pt>
                <c:pt idx="2050">
                  <c:v>0.38066651923948441</c:v>
                </c:pt>
                <c:pt idx="2051">
                  <c:v>0.37584801048144123</c:v>
                </c:pt>
                <c:pt idx="2052">
                  <c:v>0.40716853377642565</c:v>
                </c:pt>
                <c:pt idx="2053">
                  <c:v>0.43969379244477264</c:v>
                </c:pt>
                <c:pt idx="2054">
                  <c:v>0.40475906302970049</c:v>
                </c:pt>
                <c:pt idx="2055">
                  <c:v>0.41847980458257661</c:v>
                </c:pt>
                <c:pt idx="2056">
                  <c:v>0.4070460696562167</c:v>
                </c:pt>
                <c:pt idx="2057">
                  <c:v>0.40361577608414584</c:v>
                </c:pt>
                <c:pt idx="2058">
                  <c:v>0.40132920219303669</c:v>
                </c:pt>
                <c:pt idx="2059">
                  <c:v>0.44935114852499253</c:v>
                </c:pt>
                <c:pt idx="2060">
                  <c:v>0.43448712002656181</c:v>
                </c:pt>
                <c:pt idx="2061">
                  <c:v>0.46078531618675955</c:v>
                </c:pt>
                <c:pt idx="2062">
                  <c:v>0.44477800074277424</c:v>
                </c:pt>
                <c:pt idx="2063">
                  <c:v>0.43105725918989807</c:v>
                </c:pt>
                <c:pt idx="2064">
                  <c:v>0.41619323069146735</c:v>
                </c:pt>
                <c:pt idx="2065">
                  <c:v>0.4127629371193966</c:v>
                </c:pt>
                <c:pt idx="2066">
                  <c:v>0.40361577608414578</c:v>
                </c:pt>
                <c:pt idx="2067">
                  <c:v>0.40247248913859129</c:v>
                </c:pt>
                <c:pt idx="2068">
                  <c:v>0.39446861504889502</c:v>
                </c:pt>
                <c:pt idx="2069">
                  <c:v>0.36474055805203359</c:v>
                </c:pt>
                <c:pt idx="2070">
                  <c:v>0.3510202492345646</c:v>
                </c:pt>
                <c:pt idx="2071">
                  <c:v>0.34530294903597758</c:v>
                </c:pt>
                <c:pt idx="2072">
                  <c:v>0.33958608157279763</c:v>
                </c:pt>
                <c:pt idx="2073">
                  <c:v>0.33158264021850847</c:v>
                </c:pt>
                <c:pt idx="2074">
                  <c:v>0.33468145846874181</c:v>
                </c:pt>
                <c:pt idx="2075">
                  <c:v>0.3253845709826349</c:v>
                </c:pt>
                <c:pt idx="2076">
                  <c:v>0.33468145846874181</c:v>
                </c:pt>
                <c:pt idx="2077">
                  <c:v>0.32228575273240162</c:v>
                </c:pt>
                <c:pt idx="2078">
                  <c:v>0.31918693448216839</c:v>
                </c:pt>
                <c:pt idx="2079">
                  <c:v>0.30782416816257269</c:v>
                </c:pt>
                <c:pt idx="2080">
                  <c:v>0.30369241049559492</c:v>
                </c:pt>
                <c:pt idx="2081">
                  <c:v>0.30265947107885055</c:v>
                </c:pt>
                <c:pt idx="2082">
                  <c:v>0.30575828932908378</c:v>
                </c:pt>
                <c:pt idx="2083">
                  <c:v>0.29956065282861727</c:v>
                </c:pt>
                <c:pt idx="2084">
                  <c:v>0.29852771341187284</c:v>
                </c:pt>
                <c:pt idx="2085">
                  <c:v>0.30265947107885055</c:v>
                </c:pt>
                <c:pt idx="2086">
                  <c:v>0.29542846242623244</c:v>
                </c:pt>
                <c:pt idx="2087">
                  <c:v>0.28716494709227702</c:v>
                </c:pt>
                <c:pt idx="2088">
                  <c:v>0.2809668778564034</c:v>
                </c:pt>
                <c:pt idx="2089">
                  <c:v>0.27167042310570355</c:v>
                </c:pt>
                <c:pt idx="2090">
                  <c:v>0.2696045442722147</c:v>
                </c:pt>
                <c:pt idx="2091">
                  <c:v>0.27683512018942569</c:v>
                </c:pt>
                <c:pt idx="2092">
                  <c:v>0.27993393843965897</c:v>
                </c:pt>
                <c:pt idx="2093">
                  <c:v>0.27373630193919241</c:v>
                </c:pt>
                <c:pt idx="2094">
                  <c:v>0.27993393843965891</c:v>
                </c:pt>
                <c:pt idx="2095">
                  <c:v>0.2758021807726812</c:v>
                </c:pt>
                <c:pt idx="2096">
                  <c:v>0.27063748368895912</c:v>
                </c:pt>
                <c:pt idx="2097">
                  <c:v>0.2758021807726812</c:v>
                </c:pt>
                <c:pt idx="2098">
                  <c:v>0.2943955230094879</c:v>
                </c:pt>
                <c:pt idx="2099">
                  <c:v>0.29159183030689584</c:v>
                </c:pt>
                <c:pt idx="2100">
                  <c:v>0.29813392419141288</c:v>
                </c:pt>
                <c:pt idx="2101">
                  <c:v>0.29252653878622886</c:v>
                </c:pt>
                <c:pt idx="2102">
                  <c:v>0.30093761689400489</c:v>
                </c:pt>
                <c:pt idx="2103">
                  <c:v>0.28878813760430389</c:v>
                </c:pt>
                <c:pt idx="2104">
                  <c:v>0.28411502794304583</c:v>
                </c:pt>
                <c:pt idx="2105">
                  <c:v>0.29626493996815395</c:v>
                </c:pt>
                <c:pt idx="2106">
                  <c:v>0.32149860702688898</c:v>
                </c:pt>
                <c:pt idx="2107">
                  <c:v>0.32430229972948105</c:v>
                </c:pt>
                <c:pt idx="2108">
                  <c:v>0.32430229972948105</c:v>
                </c:pt>
                <c:pt idx="2109">
                  <c:v>0.32710642516748012</c:v>
                </c:pt>
                <c:pt idx="2110">
                  <c:v>0.31495651314237194</c:v>
                </c:pt>
                <c:pt idx="2111">
                  <c:v>0.31215282043977988</c:v>
                </c:pt>
                <c:pt idx="2112">
                  <c:v>0.30654543503459591</c:v>
                </c:pt>
                <c:pt idx="2113">
                  <c:v>0.3084144192578549</c:v>
                </c:pt>
                <c:pt idx="2114">
                  <c:v>0.29533023148882076</c:v>
                </c:pt>
                <c:pt idx="2115">
                  <c:v>0.28318075219911976</c:v>
                </c:pt>
                <c:pt idx="2116">
                  <c:v>0.2719655486533446</c:v>
                </c:pt>
                <c:pt idx="2117">
                  <c:v>0.2766382255791956</c:v>
                </c:pt>
                <c:pt idx="2118">
                  <c:v>0.2766382255791956</c:v>
                </c:pt>
                <c:pt idx="2119">
                  <c:v>0.27226110693639299</c:v>
                </c:pt>
                <c:pt idx="2120">
                  <c:v>0.27051025947927193</c:v>
                </c:pt>
                <c:pt idx="2121">
                  <c:v>0.25737890355086418</c:v>
                </c:pt>
                <c:pt idx="2122">
                  <c:v>0.25825432727942471</c:v>
                </c:pt>
                <c:pt idx="2123">
                  <c:v>0.26263144592222737</c:v>
                </c:pt>
                <c:pt idx="2124">
                  <c:v>0.26875941202215103</c:v>
                </c:pt>
                <c:pt idx="2125">
                  <c:v>0.2635068696507879</c:v>
                </c:pt>
                <c:pt idx="2126">
                  <c:v>0.2635068696507879</c:v>
                </c:pt>
                <c:pt idx="2127">
                  <c:v>0.2591297510079853</c:v>
                </c:pt>
                <c:pt idx="2128">
                  <c:v>0.27138568320783263</c:v>
                </c:pt>
                <c:pt idx="2129">
                  <c:v>0.28364204814308702</c:v>
                </c:pt>
                <c:pt idx="2130">
                  <c:v>0.2705102594792721</c:v>
                </c:pt>
                <c:pt idx="2131">
                  <c:v>0.28626831932876851</c:v>
                </c:pt>
                <c:pt idx="2132">
                  <c:v>0.30202594644285791</c:v>
                </c:pt>
                <c:pt idx="2133">
                  <c:v>0.29414713288581323</c:v>
                </c:pt>
                <c:pt idx="2134">
                  <c:v>0.32391197239227804</c:v>
                </c:pt>
                <c:pt idx="2135">
                  <c:v>0.3396700322417745</c:v>
                </c:pt>
                <c:pt idx="2136">
                  <c:v>0.33004037122760871</c:v>
                </c:pt>
                <c:pt idx="2137">
                  <c:v>0.28714374305732898</c:v>
                </c:pt>
                <c:pt idx="2138">
                  <c:v>0.27947523890813414</c:v>
                </c:pt>
                <c:pt idx="2139">
                  <c:v>0.28373551899102012</c:v>
                </c:pt>
                <c:pt idx="2140">
                  <c:v>0.29481224720652366</c:v>
                </c:pt>
                <c:pt idx="2141">
                  <c:v>0.26499028662632185</c:v>
                </c:pt>
                <c:pt idx="2142">
                  <c:v>0.24794916629477798</c:v>
                </c:pt>
                <c:pt idx="2143">
                  <c:v>0.2445409422284692</c:v>
                </c:pt>
                <c:pt idx="2144">
                  <c:v>0.24880122231135518</c:v>
                </c:pt>
                <c:pt idx="2145">
                  <c:v>0.24880122231135518</c:v>
                </c:pt>
                <c:pt idx="2146">
                  <c:v>0.25050533434450961</c:v>
                </c:pt>
                <c:pt idx="2147">
                  <c:v>0.24624505426162363</c:v>
                </c:pt>
                <c:pt idx="2148">
                  <c:v>0.2470971102782008</c:v>
                </c:pt>
                <c:pt idx="2149">
                  <c:v>0.24794916629477801</c:v>
                </c:pt>
                <c:pt idx="2150">
                  <c:v>0.24624505426162363</c:v>
                </c:pt>
                <c:pt idx="2151">
                  <c:v>0.24794916629477801</c:v>
                </c:pt>
                <c:pt idx="2152">
                  <c:v>0.24709711027820083</c:v>
                </c:pt>
                <c:pt idx="2153">
                  <c:v>0.24624505426162363</c:v>
                </c:pt>
                <c:pt idx="2154">
                  <c:v>0.2377244940958517</c:v>
                </c:pt>
                <c:pt idx="2155">
                  <c:v>0.23857655011242887</c:v>
                </c:pt>
                <c:pt idx="2156">
                  <c:v>0.23346421401296572</c:v>
                </c:pt>
                <c:pt idx="2157">
                  <c:v>0.24283683019531488</c:v>
                </c:pt>
                <c:pt idx="2158">
                  <c:v>0.23176010197981134</c:v>
                </c:pt>
                <c:pt idx="2159">
                  <c:v>0.22664733314494104</c:v>
                </c:pt>
                <c:pt idx="2160">
                  <c:v>0.22749938916151821</c:v>
                </c:pt>
                <c:pt idx="2161">
                  <c:v>0.22579527712836386</c:v>
                </c:pt>
                <c:pt idx="2162">
                  <c:v>0.22238705306205503</c:v>
                </c:pt>
                <c:pt idx="2163">
                  <c:v>0.21857941421499424</c:v>
                </c:pt>
                <c:pt idx="2164">
                  <c:v>0.21781779989850067</c:v>
                </c:pt>
                <c:pt idx="2165">
                  <c:v>0.22086382442906796</c:v>
                </c:pt>
                <c:pt idx="2166">
                  <c:v>0.21553295694901997</c:v>
                </c:pt>
                <c:pt idx="2167">
                  <c:v>0.20867842810057774</c:v>
                </c:pt>
                <c:pt idx="2168">
                  <c:v>0.20715519946759053</c:v>
                </c:pt>
                <c:pt idx="2169">
                  <c:v>0.20791681378408414</c:v>
                </c:pt>
                <c:pt idx="2170">
                  <c:v>0.20944004241707129</c:v>
                </c:pt>
                <c:pt idx="2171">
                  <c:v>0.21096327105005847</c:v>
                </c:pt>
                <c:pt idx="2172">
                  <c:v>0.21248649968304564</c:v>
                </c:pt>
                <c:pt idx="2173">
                  <c:v>0.2178177998985007</c:v>
                </c:pt>
                <c:pt idx="2174">
                  <c:v>0.22314866737854869</c:v>
                </c:pt>
                <c:pt idx="2175">
                  <c:v>0.21705618558200715</c:v>
                </c:pt>
                <c:pt idx="2176">
                  <c:v>0.22162543874556156</c:v>
                </c:pt>
                <c:pt idx="2177">
                  <c:v>0.21248649968304564</c:v>
                </c:pt>
                <c:pt idx="2178">
                  <c:v>0.20944004241707131</c:v>
                </c:pt>
                <c:pt idx="2179">
                  <c:v>0.21248649968304562</c:v>
                </c:pt>
                <c:pt idx="2180">
                  <c:v>0.22695673896101659</c:v>
                </c:pt>
                <c:pt idx="2181">
                  <c:v>0.23457288212595243</c:v>
                </c:pt>
                <c:pt idx="2182">
                  <c:v>0.23457288212595243</c:v>
                </c:pt>
                <c:pt idx="2183">
                  <c:v>0.2383562877902157</c:v>
                </c:pt>
                <c:pt idx="2184">
                  <c:v>0.23532973635296789</c:v>
                </c:pt>
                <c:pt idx="2185">
                  <c:v>0.21943925946889922</c:v>
                </c:pt>
                <c:pt idx="2186">
                  <c:v>0.21868240524188373</c:v>
                </c:pt>
                <c:pt idx="2187">
                  <c:v>0.2186824052418837</c:v>
                </c:pt>
                <c:pt idx="2188">
                  <c:v>0.21035873968634164</c:v>
                </c:pt>
                <c:pt idx="2189">
                  <c:v>0.20279192835781501</c:v>
                </c:pt>
                <c:pt idx="2190">
                  <c:v>0.20279192835781501</c:v>
                </c:pt>
                <c:pt idx="2191">
                  <c:v>0.20733218824909375</c:v>
                </c:pt>
                <c:pt idx="2192">
                  <c:v>0.21035873968634153</c:v>
                </c:pt>
                <c:pt idx="2193">
                  <c:v>0.21111559391335699</c:v>
                </c:pt>
                <c:pt idx="2194">
                  <c:v>0.21489899957762032</c:v>
                </c:pt>
                <c:pt idx="2195">
                  <c:v>0.21262886963198094</c:v>
                </c:pt>
                <c:pt idx="2196">
                  <c:v>0.21035873968634156</c:v>
                </c:pt>
                <c:pt idx="2197">
                  <c:v>0.20657533402207823</c:v>
                </c:pt>
                <c:pt idx="2198">
                  <c:v>0.20733218824909375</c:v>
                </c:pt>
                <c:pt idx="2199">
                  <c:v>0.20657533402207823</c:v>
                </c:pt>
                <c:pt idx="2200">
                  <c:v>0.20052179841217554</c:v>
                </c:pt>
                <c:pt idx="2201">
                  <c:v>0.20884546396771761</c:v>
                </c:pt>
                <c:pt idx="2202">
                  <c:v>0.19825210120194325</c:v>
                </c:pt>
                <c:pt idx="2203">
                  <c:v>0.19900852269355165</c:v>
                </c:pt>
                <c:pt idx="2204">
                  <c:v>0.20354878258483045</c:v>
                </c:pt>
                <c:pt idx="2205">
                  <c:v>0.20283693284015319</c:v>
                </c:pt>
                <c:pt idx="2206">
                  <c:v>0.20070181634152859</c:v>
                </c:pt>
                <c:pt idx="2207">
                  <c:v>0.19714343308895654</c:v>
                </c:pt>
                <c:pt idx="2208">
                  <c:v>0.20212508309547592</c:v>
                </c:pt>
                <c:pt idx="2209">
                  <c:v>0.23059344732227322</c:v>
                </c:pt>
                <c:pt idx="2210">
                  <c:v>0.22917018056832583</c:v>
                </c:pt>
                <c:pt idx="2211">
                  <c:v>0.21635948157657814</c:v>
                </c:pt>
                <c:pt idx="2212">
                  <c:v>0.23344041356557513</c:v>
                </c:pt>
                <c:pt idx="2213">
                  <c:v>0.23699879681814714</c:v>
                </c:pt>
                <c:pt idx="2214">
                  <c:v>0.25052134555457212</c:v>
                </c:pt>
                <c:pt idx="2215">
                  <c:v>0.27329621003017285</c:v>
                </c:pt>
                <c:pt idx="2216">
                  <c:v>0.2654671610449445</c:v>
                </c:pt>
                <c:pt idx="2217">
                  <c:v>0.2725843602854956</c:v>
                </c:pt>
                <c:pt idx="2218">
                  <c:v>0.24198087956007369</c:v>
                </c:pt>
                <c:pt idx="2219">
                  <c:v>0.22062971457382752</c:v>
                </c:pt>
                <c:pt idx="2220">
                  <c:v>0.2227648310724521</c:v>
                </c:pt>
                <c:pt idx="2221">
                  <c:v>0.21422436507795362</c:v>
                </c:pt>
                <c:pt idx="2222">
                  <c:v>0.20710716583740252</c:v>
                </c:pt>
                <c:pt idx="2223">
                  <c:v>0.2078190155820798</c:v>
                </c:pt>
                <c:pt idx="2224">
                  <c:v>0.20434371752767072</c:v>
                </c:pt>
                <c:pt idx="2225">
                  <c:v>0.20086841947326167</c:v>
                </c:pt>
                <c:pt idx="2226">
                  <c:v>0.21407420589169043</c:v>
                </c:pt>
                <c:pt idx="2227">
                  <c:v>0.2078190155820798</c:v>
                </c:pt>
                <c:pt idx="2228">
                  <c:v>0.21059890783728136</c:v>
                </c:pt>
                <c:pt idx="2229">
                  <c:v>0.20851398864588017</c:v>
                </c:pt>
                <c:pt idx="2230">
                  <c:v>0.20712404251827937</c:v>
                </c:pt>
                <c:pt idx="2231">
                  <c:v>0.21268425976408964</c:v>
                </c:pt>
                <c:pt idx="2232">
                  <c:v>0.20990393477348096</c:v>
                </c:pt>
                <c:pt idx="2233">
                  <c:v>0.21198928670028924</c:v>
                </c:pt>
                <c:pt idx="2234">
                  <c:v>0.23075529036452824</c:v>
                </c:pt>
                <c:pt idx="2235">
                  <c:v>0.20990393477348093</c:v>
                </c:pt>
                <c:pt idx="2236">
                  <c:v>0.21059890783728133</c:v>
                </c:pt>
                <c:pt idx="2237">
                  <c:v>0.20920896170968056</c:v>
                </c:pt>
                <c:pt idx="2238">
                  <c:v>0.21546458475469829</c:v>
                </c:pt>
                <c:pt idx="2239">
                  <c:v>0.21268425976408964</c:v>
                </c:pt>
                <c:pt idx="2240">
                  <c:v>0.21615955781849872</c:v>
                </c:pt>
                <c:pt idx="2241">
                  <c:v>0.21268425976408964</c:v>
                </c:pt>
                <c:pt idx="2242">
                  <c:v>0.221351517232868</c:v>
                </c:pt>
                <c:pt idx="2243">
                  <c:v>0.2280186716500365</c:v>
                </c:pt>
                <c:pt idx="2244">
                  <c:v>0.21535120807803843</c:v>
                </c:pt>
                <c:pt idx="2245">
                  <c:v>0.20801720839853094</c:v>
                </c:pt>
                <c:pt idx="2246">
                  <c:v>0.21335110502642859</c:v>
                </c:pt>
                <c:pt idx="2247">
                  <c:v>0.21001731145014077</c:v>
                </c:pt>
                <c:pt idx="2248">
                  <c:v>0.21335110502642862</c:v>
                </c:pt>
                <c:pt idx="2249">
                  <c:v>0.21268425976408964</c:v>
                </c:pt>
                <c:pt idx="2250">
                  <c:v>0.20935046618780181</c:v>
                </c:pt>
                <c:pt idx="2251">
                  <c:v>0.21401751755336049</c:v>
                </c:pt>
                <c:pt idx="2252">
                  <c:v>0.21001731145014077</c:v>
                </c:pt>
                <c:pt idx="2253">
                  <c:v>0.20801720839853094</c:v>
                </c:pt>
                <c:pt idx="2254">
                  <c:v>0.20201689924370136</c:v>
                </c:pt>
                <c:pt idx="2255">
                  <c:v>0.19334920903951588</c:v>
                </c:pt>
                <c:pt idx="2256">
                  <c:v>0.19468289956419385</c:v>
                </c:pt>
                <c:pt idx="2257">
                  <c:v>0.19268279651258399</c:v>
                </c:pt>
                <c:pt idx="2258">
                  <c:v>0.19801626040507458</c:v>
                </c:pt>
                <c:pt idx="2259">
                  <c:v>0.20668395060926006</c:v>
                </c:pt>
                <c:pt idx="2260">
                  <c:v>0.20201689924370139</c:v>
                </c:pt>
                <c:pt idx="2261">
                  <c:v>0.19334920903951591</c:v>
                </c:pt>
                <c:pt idx="2262">
                  <c:v>0.21135100197481876</c:v>
                </c:pt>
                <c:pt idx="2263">
                  <c:v>0.21655334703895848</c:v>
                </c:pt>
                <c:pt idx="2264">
                  <c:v>0.21655334703895848</c:v>
                </c:pt>
                <c:pt idx="2265">
                  <c:v>0.21395217450688861</c:v>
                </c:pt>
                <c:pt idx="2266">
                  <c:v>0.2067986254921412</c:v>
                </c:pt>
                <c:pt idx="2267">
                  <c:v>0.20289665032633289</c:v>
                </c:pt>
                <c:pt idx="2268">
                  <c:v>0.20029547779426302</c:v>
                </c:pt>
                <c:pt idx="2269">
                  <c:v>0.19834470657906239</c:v>
                </c:pt>
                <c:pt idx="2270">
                  <c:v>0.20029547779426302</c:v>
                </c:pt>
                <c:pt idx="2271">
                  <c:v>0.20159628042800148</c:v>
                </c:pt>
                <c:pt idx="2272">
                  <c:v>0.20289665032633286</c:v>
                </c:pt>
                <c:pt idx="2273">
                  <c:v>0.1976943052621932</c:v>
                </c:pt>
                <c:pt idx="2274">
                  <c:v>0.19509313273012333</c:v>
                </c:pt>
                <c:pt idx="2275">
                  <c:v>0.19509313273012333</c:v>
                </c:pt>
                <c:pt idx="2276">
                  <c:v>0.19379233009638486</c:v>
                </c:pt>
                <c:pt idx="2277">
                  <c:v>0.19379233009638486</c:v>
                </c:pt>
                <c:pt idx="2278">
                  <c:v>0.18989078766598366</c:v>
                </c:pt>
                <c:pt idx="2279">
                  <c:v>0.19184155888118423</c:v>
                </c:pt>
                <c:pt idx="2280">
                  <c:v>0.1872891823985067</c:v>
                </c:pt>
                <c:pt idx="2281">
                  <c:v>0.18793958371537597</c:v>
                </c:pt>
                <c:pt idx="2282">
                  <c:v>0.18273723865123628</c:v>
                </c:pt>
                <c:pt idx="2283">
                  <c:v>0.17558368963648885</c:v>
                </c:pt>
                <c:pt idx="2284">
                  <c:v>0.17558368963648885</c:v>
                </c:pt>
                <c:pt idx="2285">
                  <c:v>0.17233211578754978</c:v>
                </c:pt>
                <c:pt idx="2286">
                  <c:v>0.17818486216855869</c:v>
                </c:pt>
                <c:pt idx="2287">
                  <c:v>0.17519552597632135</c:v>
                </c:pt>
                <c:pt idx="2288">
                  <c:v>0.17160771671606664</c:v>
                </c:pt>
                <c:pt idx="2289">
                  <c:v>0.17220575704867694</c:v>
                </c:pt>
                <c:pt idx="2290">
                  <c:v>0.16861794778842223</c:v>
                </c:pt>
                <c:pt idx="2291">
                  <c:v>0.16801990745581191</c:v>
                </c:pt>
                <c:pt idx="2292">
                  <c:v>0.16622621919338812</c:v>
                </c:pt>
                <c:pt idx="2293">
                  <c:v>0.1608447216707096</c:v>
                </c:pt>
                <c:pt idx="2294">
                  <c:v>0.1608447216707096</c:v>
                </c:pt>
                <c:pt idx="2295">
                  <c:v>0.1590510334082858</c:v>
                </c:pt>
                <c:pt idx="2296">
                  <c:v>0.1590510334082858</c:v>
                </c:pt>
                <c:pt idx="2297">
                  <c:v>0.15785538547847225</c:v>
                </c:pt>
                <c:pt idx="2298">
                  <c:v>0.15905103340828577</c:v>
                </c:pt>
                <c:pt idx="2299">
                  <c:v>0.15785538547847225</c:v>
                </c:pt>
                <c:pt idx="2300">
                  <c:v>0.15127780729057316</c:v>
                </c:pt>
                <c:pt idx="2301">
                  <c:v>0.14350458117286055</c:v>
                </c:pt>
                <c:pt idx="2302">
                  <c:v>0.14589630976789467</c:v>
                </c:pt>
                <c:pt idx="2303">
                  <c:v>0.14410262150547087</c:v>
                </c:pt>
                <c:pt idx="2304">
                  <c:v>0.14948411902814934</c:v>
                </c:pt>
                <c:pt idx="2305">
                  <c:v>0.15785538547847225</c:v>
                </c:pt>
                <c:pt idx="2306">
                  <c:v>0.15395081390022136</c:v>
                </c:pt>
                <c:pt idx="2307">
                  <c:v>0.15395081390022136</c:v>
                </c:pt>
                <c:pt idx="2308">
                  <c:v>0.15004624232197047</c:v>
                </c:pt>
                <c:pt idx="2309">
                  <c:v>0.14167930322571853</c:v>
                </c:pt>
                <c:pt idx="2310">
                  <c:v>0.14279489510521878</c:v>
                </c:pt>
                <c:pt idx="2311">
                  <c:v>0.14391048698471909</c:v>
                </c:pt>
                <c:pt idx="2312">
                  <c:v>0.14056371134621828</c:v>
                </c:pt>
                <c:pt idx="2313">
                  <c:v>0.14614167074371956</c:v>
                </c:pt>
                <c:pt idx="2314">
                  <c:v>0.14112150728596839</c:v>
                </c:pt>
                <c:pt idx="2315">
                  <c:v>0.14223709916546867</c:v>
                </c:pt>
                <c:pt idx="2316">
                  <c:v>0.14112150728596839</c:v>
                </c:pt>
                <c:pt idx="2317">
                  <c:v>0.1388903235269679</c:v>
                </c:pt>
                <c:pt idx="2318">
                  <c:v>0.13498575194871701</c:v>
                </c:pt>
                <c:pt idx="2319">
                  <c:v>0.13331236412946659</c:v>
                </c:pt>
                <c:pt idx="2320">
                  <c:v>0.1316389763102162</c:v>
                </c:pt>
                <c:pt idx="2321">
                  <c:v>0.13554354788846709</c:v>
                </c:pt>
                <c:pt idx="2322">
                  <c:v>0.13833252758721776</c:v>
                </c:pt>
                <c:pt idx="2323">
                  <c:v>0.1366591397679674</c:v>
                </c:pt>
                <c:pt idx="2324">
                  <c:v>0.14502607886421934</c:v>
                </c:pt>
                <c:pt idx="2325">
                  <c:v>0.14339639732108589</c:v>
                </c:pt>
                <c:pt idx="2326">
                  <c:v>0.13850778542709272</c:v>
                </c:pt>
                <c:pt idx="2327">
                  <c:v>0.1412236328420437</c:v>
                </c:pt>
                <c:pt idx="2328">
                  <c:v>0.13796470249118395</c:v>
                </c:pt>
                <c:pt idx="2329">
                  <c:v>0.14882809215098786</c:v>
                </c:pt>
                <c:pt idx="2330">
                  <c:v>0.1412236328420437</c:v>
                </c:pt>
                <c:pt idx="2331">
                  <c:v>0.14556916180012808</c:v>
                </c:pt>
                <c:pt idx="2332">
                  <c:v>0.1412236328420437</c:v>
                </c:pt>
                <c:pt idx="2333">
                  <c:v>0.14176714851335959</c:v>
                </c:pt>
                <c:pt idx="2334">
                  <c:v>0.14339639732108592</c:v>
                </c:pt>
                <c:pt idx="2335">
                  <c:v>0.14665532767194567</c:v>
                </c:pt>
                <c:pt idx="2336">
                  <c:v>0.14502607886421934</c:v>
                </c:pt>
                <c:pt idx="2337">
                  <c:v>0.14611224473603687</c:v>
                </c:pt>
                <c:pt idx="2338">
                  <c:v>0.1471988433432615</c:v>
                </c:pt>
                <c:pt idx="2339">
                  <c:v>0.16512317664069368</c:v>
                </c:pt>
                <c:pt idx="2340">
                  <c:v>0.17435688475736416</c:v>
                </c:pt>
                <c:pt idx="2341">
                  <c:v>0.16240732922574269</c:v>
                </c:pt>
                <c:pt idx="2342">
                  <c:v>0.17544348336458881</c:v>
                </c:pt>
                <c:pt idx="2343">
                  <c:v>0.17598656630049758</c:v>
                </c:pt>
                <c:pt idx="2344">
                  <c:v>0.18087517819449075</c:v>
                </c:pt>
                <c:pt idx="2345">
                  <c:v>0.17381380182145537</c:v>
                </c:pt>
                <c:pt idx="2346">
                  <c:v>0.16077764768260924</c:v>
                </c:pt>
                <c:pt idx="2347">
                  <c:v>0.15914839887488291</c:v>
                </c:pt>
                <c:pt idx="2348">
                  <c:v>0.1471988433432615</c:v>
                </c:pt>
                <c:pt idx="2349">
                  <c:v>0.14068054990613488</c:v>
                </c:pt>
                <c:pt idx="2350">
                  <c:v>0.14068054990613488</c:v>
                </c:pt>
                <c:pt idx="2351">
                  <c:v>0.13562014205552356</c:v>
                </c:pt>
                <c:pt idx="2352">
                  <c:v>0.13663231017272723</c:v>
                </c:pt>
                <c:pt idx="2353">
                  <c:v>0.13663231017272723</c:v>
                </c:pt>
                <c:pt idx="2354">
                  <c:v>0.13562014205552356</c:v>
                </c:pt>
                <c:pt idx="2355">
                  <c:v>0.13663231017272723</c:v>
                </c:pt>
                <c:pt idx="2356">
                  <c:v>0.13511427436462523</c:v>
                </c:pt>
                <c:pt idx="2357">
                  <c:v>0.13612600974642183</c:v>
                </c:pt>
                <c:pt idx="2358">
                  <c:v>0.1371381778636255</c:v>
                </c:pt>
                <c:pt idx="2359">
                  <c:v>0.1376444782899309</c:v>
                </c:pt>
                <c:pt idx="2360">
                  <c:v>0.13966838178893115</c:v>
                </c:pt>
                <c:pt idx="2361">
                  <c:v>0.13916251409803282</c:v>
                </c:pt>
                <c:pt idx="2362">
                  <c:v>0.13663231017272717</c:v>
                </c:pt>
                <c:pt idx="2363">
                  <c:v>0.13713817786362542</c:v>
                </c:pt>
                <c:pt idx="2364">
                  <c:v>0.13359580582111608</c:v>
                </c:pt>
                <c:pt idx="2365">
                  <c:v>0.13511427436462514</c:v>
                </c:pt>
                <c:pt idx="2366">
                  <c:v>0.14017468221523646</c:v>
                </c:pt>
                <c:pt idx="2367">
                  <c:v>0.1386562136717274</c:v>
                </c:pt>
                <c:pt idx="2368">
                  <c:v>0.13713817786362539</c:v>
                </c:pt>
                <c:pt idx="2369">
                  <c:v>0.13997562392797108</c:v>
                </c:pt>
                <c:pt idx="2370">
                  <c:v>0.14375859685682726</c:v>
                </c:pt>
                <c:pt idx="2371">
                  <c:v>0.1361926509991149</c:v>
                </c:pt>
                <c:pt idx="2372">
                  <c:v>0.13477371159923851</c:v>
                </c:pt>
                <c:pt idx="2373">
                  <c:v>0.13288222513481041</c:v>
                </c:pt>
                <c:pt idx="2374">
                  <c:v>0.13382818473472796</c:v>
                </c:pt>
                <c:pt idx="2375">
                  <c:v>0.14092158352788861</c:v>
                </c:pt>
                <c:pt idx="2376">
                  <c:v>0.14565051605666238</c:v>
                </c:pt>
                <c:pt idx="2377">
                  <c:v>0.13855711726350173</c:v>
                </c:pt>
                <c:pt idx="2378">
                  <c:v>0.14943348898551856</c:v>
                </c:pt>
                <c:pt idx="2379">
                  <c:v>0.1451775362567036</c:v>
                </c:pt>
                <c:pt idx="2380">
                  <c:v>0.15368944171433355</c:v>
                </c:pt>
                <c:pt idx="2381">
                  <c:v>0.15416242151429235</c:v>
                </c:pt>
                <c:pt idx="2382">
                  <c:v>0.15983688090757661</c:v>
                </c:pt>
                <c:pt idx="2383">
                  <c:v>0.15652688777867924</c:v>
                </c:pt>
                <c:pt idx="2384">
                  <c:v>0.14375859685682721</c:v>
                </c:pt>
                <c:pt idx="2385">
                  <c:v>0.14896050918555978</c:v>
                </c:pt>
                <c:pt idx="2386">
                  <c:v>0.16172880010741181</c:v>
                </c:pt>
                <c:pt idx="2387">
                  <c:v>0.14423157665678596</c:v>
                </c:pt>
                <c:pt idx="2388">
                  <c:v>0.1626743269719223</c:v>
                </c:pt>
                <c:pt idx="2389">
                  <c:v>0.18726451648030168</c:v>
                </c:pt>
                <c:pt idx="2390">
                  <c:v>0.21516513185298553</c:v>
                </c:pt>
                <c:pt idx="2391">
                  <c:v>0.19766834113776682</c:v>
                </c:pt>
                <c:pt idx="2392">
                  <c:v>0.22651448337496119</c:v>
                </c:pt>
                <c:pt idx="2393">
                  <c:v>0.21090917912417054</c:v>
                </c:pt>
                <c:pt idx="2394">
                  <c:v>0.19988784104077567</c:v>
                </c:pt>
                <c:pt idx="2395">
                  <c:v>0.18335561754797983</c:v>
                </c:pt>
                <c:pt idx="2396">
                  <c:v>0.1698296069282981</c:v>
                </c:pt>
                <c:pt idx="2397">
                  <c:v>0.18135205261311316</c:v>
                </c:pt>
                <c:pt idx="2398">
                  <c:v>0.17333649466742534</c:v>
                </c:pt>
                <c:pt idx="2399">
                  <c:v>0.1698296069282981</c:v>
                </c:pt>
                <c:pt idx="2400">
                  <c:v>0.1698296069282981</c:v>
                </c:pt>
                <c:pt idx="2401">
                  <c:v>0.15730537877604966</c:v>
                </c:pt>
                <c:pt idx="2402">
                  <c:v>0.16331693905146377</c:v>
                </c:pt>
                <c:pt idx="2403">
                  <c:v>0.16181404898261023</c:v>
                </c:pt>
                <c:pt idx="2404">
                  <c:v>0.15830716124348301</c:v>
                </c:pt>
                <c:pt idx="2405">
                  <c:v>0.15981005131233653</c:v>
                </c:pt>
                <c:pt idx="2406">
                  <c:v>0.15880826884490323</c:v>
                </c:pt>
                <c:pt idx="2407">
                  <c:v>0.15329738343550223</c:v>
                </c:pt>
                <c:pt idx="2408">
                  <c:v>0.14928982083036185</c:v>
                </c:pt>
                <c:pt idx="2409">
                  <c:v>0.14828760562752141</c:v>
                </c:pt>
                <c:pt idx="2410">
                  <c:v>0.14027204768183357</c:v>
                </c:pt>
                <c:pt idx="2411">
                  <c:v>0.14127426288467398</c:v>
                </c:pt>
                <c:pt idx="2412">
                  <c:v>0.14428004302238104</c:v>
                </c:pt>
                <c:pt idx="2413">
                  <c:v>0.14728582316008812</c:v>
                </c:pt>
                <c:pt idx="2414">
                  <c:v>0.14377893542096085</c:v>
                </c:pt>
                <c:pt idx="2415">
                  <c:v>0.14424888607306996</c:v>
                </c:pt>
                <c:pt idx="2416">
                  <c:v>0.14377893542096085</c:v>
                </c:pt>
                <c:pt idx="2417">
                  <c:v>0.14565830529399018</c:v>
                </c:pt>
                <c:pt idx="2418">
                  <c:v>0.14236951620004065</c:v>
                </c:pt>
                <c:pt idx="2419">
                  <c:v>0.14048971359160423</c:v>
                </c:pt>
                <c:pt idx="2420">
                  <c:v>0.13673097384554558</c:v>
                </c:pt>
                <c:pt idx="2421">
                  <c:v>0.13579107254132736</c:v>
                </c:pt>
                <c:pt idx="2422">
                  <c:v>0.13344175201618894</c:v>
                </c:pt>
                <c:pt idx="2423">
                  <c:v>0.13955024502279312</c:v>
                </c:pt>
                <c:pt idx="2424">
                  <c:v>0.14659820659820844</c:v>
                </c:pt>
                <c:pt idx="2425">
                  <c:v>0.13391170266829805</c:v>
                </c:pt>
                <c:pt idx="2426">
                  <c:v>0.13391170266829805</c:v>
                </c:pt>
                <c:pt idx="2427">
                  <c:v>0.13109243149105049</c:v>
                </c:pt>
                <c:pt idx="2428">
                  <c:v>0.12780364239710093</c:v>
                </c:pt>
                <c:pt idx="2429">
                  <c:v>0.13814039306646581</c:v>
                </c:pt>
                <c:pt idx="2430">
                  <c:v>0.14002019567490223</c:v>
                </c:pt>
                <c:pt idx="2431">
                  <c:v>0.16351340092628663</c:v>
                </c:pt>
                <c:pt idx="2432">
                  <c:v>0.17948869395014658</c:v>
                </c:pt>
                <c:pt idx="2433">
                  <c:v>0.18418733500042345</c:v>
                </c:pt>
                <c:pt idx="2434">
                  <c:v>0.18034031723131669</c:v>
                </c:pt>
                <c:pt idx="2435">
                  <c:v>0.19332454312131089</c:v>
                </c:pt>
                <c:pt idx="2436">
                  <c:v>0.16976036926316235</c:v>
                </c:pt>
                <c:pt idx="2437">
                  <c:v>0.16543214972136192</c:v>
                </c:pt>
                <c:pt idx="2438">
                  <c:v>0.15918042129500809</c:v>
                </c:pt>
                <c:pt idx="2439">
                  <c:v>0.157977849598681</c:v>
                </c:pt>
                <c:pt idx="2440">
                  <c:v>0.15316886101959398</c:v>
                </c:pt>
                <c:pt idx="2441">
                  <c:v>0.15605434071412763</c:v>
                </c:pt>
                <c:pt idx="2442">
                  <c:v>0.15220732294502085</c:v>
                </c:pt>
                <c:pt idx="2443">
                  <c:v>0.15461160086686085</c:v>
                </c:pt>
                <c:pt idx="2444">
                  <c:v>0.15797784959868105</c:v>
                </c:pt>
                <c:pt idx="2445">
                  <c:v>0.17336721888132947</c:v>
                </c:pt>
                <c:pt idx="2446">
                  <c:v>0.17144327726136896</c:v>
                </c:pt>
                <c:pt idx="2447">
                  <c:v>0.18394716684948376</c:v>
                </c:pt>
                <c:pt idx="2448">
                  <c:v>0.19116043335041072</c:v>
                </c:pt>
                <c:pt idx="2449">
                  <c:v>0.18130185530588985</c:v>
                </c:pt>
                <c:pt idx="2450">
                  <c:v>0.17000053741410212</c:v>
                </c:pt>
                <c:pt idx="2451">
                  <c:v>0.1791377455349896</c:v>
                </c:pt>
                <c:pt idx="2452">
                  <c:v>0.18827538639128416</c:v>
                </c:pt>
                <c:pt idx="2453">
                  <c:v>0.19404591304494434</c:v>
                </c:pt>
                <c:pt idx="2454">
                  <c:v>0.19789336354945822</c:v>
                </c:pt>
                <c:pt idx="2455">
                  <c:v>0.20654980263305911</c:v>
                </c:pt>
                <c:pt idx="2456">
                  <c:v>0.1983741325867448</c:v>
                </c:pt>
                <c:pt idx="2457">
                  <c:v>0.19837413258674486</c:v>
                </c:pt>
                <c:pt idx="2458">
                  <c:v>0.18605285734042565</c:v>
                </c:pt>
                <c:pt idx="2459">
                  <c:v>0.17619557750212606</c:v>
                </c:pt>
                <c:pt idx="2460">
                  <c:v>0.18112443378897938</c:v>
                </c:pt>
                <c:pt idx="2461">
                  <c:v>0.16978849706462379</c:v>
                </c:pt>
                <c:pt idx="2462">
                  <c:v>0.17619557750212606</c:v>
                </c:pt>
                <c:pt idx="2463">
                  <c:v>0.20182433198754215</c:v>
                </c:pt>
                <c:pt idx="2464">
                  <c:v>0.18802439985516697</c:v>
                </c:pt>
                <c:pt idx="2465">
                  <c:v>0.20724564116767372</c:v>
                </c:pt>
                <c:pt idx="2466">
                  <c:v>0.19689547570068883</c:v>
                </c:pt>
                <c:pt idx="2467">
                  <c:v>0.18605285734042568</c:v>
                </c:pt>
                <c:pt idx="2468">
                  <c:v>0.19492436592135459</c:v>
                </c:pt>
                <c:pt idx="2469">
                  <c:v>0.18408131482568432</c:v>
                </c:pt>
                <c:pt idx="2470">
                  <c:v>0.18901017111253765</c:v>
                </c:pt>
                <c:pt idx="2471">
                  <c:v>0.19344570903529859</c:v>
                </c:pt>
                <c:pt idx="2472">
                  <c:v>0.18309554356831367</c:v>
                </c:pt>
                <c:pt idx="2473">
                  <c:v>0.18161731941766476</c:v>
                </c:pt>
                <c:pt idx="2474">
                  <c:v>0.16633873039923358</c:v>
                </c:pt>
                <c:pt idx="2475">
                  <c:v>0.16264230455179712</c:v>
                </c:pt>
                <c:pt idx="2476">
                  <c:v>0.16353849957989841</c:v>
                </c:pt>
                <c:pt idx="2477">
                  <c:v>0.16017787640837045</c:v>
                </c:pt>
                <c:pt idx="2478">
                  <c:v>0.15793760520582084</c:v>
                </c:pt>
                <c:pt idx="2479">
                  <c:v>0.15166510547992626</c:v>
                </c:pt>
                <c:pt idx="2480">
                  <c:v>0.15256130050802749</c:v>
                </c:pt>
                <c:pt idx="2481">
                  <c:v>0.14449641072593039</c:v>
                </c:pt>
                <c:pt idx="2482">
                  <c:v>0.14718456307482705</c:v>
                </c:pt>
                <c:pt idx="2483">
                  <c:v>0.14360021569782916</c:v>
                </c:pt>
                <c:pt idx="2484">
                  <c:v>0.14180782564162664</c:v>
                </c:pt>
                <c:pt idx="2485">
                  <c:v>0.13732728323652749</c:v>
                </c:pt>
                <c:pt idx="2486">
                  <c:v>0.14135994449527958</c:v>
                </c:pt>
                <c:pt idx="2487">
                  <c:v>0.14091163061352541</c:v>
                </c:pt>
                <c:pt idx="2488">
                  <c:v>0.13732728323652746</c:v>
                </c:pt>
                <c:pt idx="2489">
                  <c:v>0.14539217301862453</c:v>
                </c:pt>
                <c:pt idx="2490">
                  <c:v>0.14180782564162661</c:v>
                </c:pt>
                <c:pt idx="2491">
                  <c:v>0.1516651054799262</c:v>
                </c:pt>
                <c:pt idx="2492">
                  <c:v>0.15435325782882289</c:v>
                </c:pt>
                <c:pt idx="2493">
                  <c:v>0.14225613952338079</c:v>
                </c:pt>
                <c:pt idx="2494">
                  <c:v>0.14718456307482702</c:v>
                </c:pt>
                <c:pt idx="2495">
                  <c:v>0.14389101389139938</c:v>
                </c:pt>
                <c:pt idx="2496">
                  <c:v>0.14306751841169069</c:v>
                </c:pt>
                <c:pt idx="2497">
                  <c:v>0.13606845593727754</c:v>
                </c:pt>
                <c:pt idx="2498">
                  <c:v>0.13606845593727754</c:v>
                </c:pt>
                <c:pt idx="2499">
                  <c:v>0.13318643812600067</c:v>
                </c:pt>
                <c:pt idx="2500">
                  <c:v>0.13236294264629198</c:v>
                </c:pt>
                <c:pt idx="2501">
                  <c:v>0.13071638442228173</c:v>
                </c:pt>
                <c:pt idx="2502">
                  <c:v>0.13647998730942834</c:v>
                </c:pt>
                <c:pt idx="2503">
                  <c:v>0.13565692456512674</c:v>
                </c:pt>
                <c:pt idx="2504">
                  <c:v>0.13359840223355857</c:v>
                </c:pt>
                <c:pt idx="2505">
                  <c:v>0.12989288894257306</c:v>
                </c:pt>
                <c:pt idx="2506">
                  <c:v>0.1340099336057094</c:v>
                </c:pt>
                <c:pt idx="2507">
                  <c:v>0.13195141127414123</c:v>
                </c:pt>
                <c:pt idx="2508">
                  <c:v>0.12865786209071362</c:v>
                </c:pt>
                <c:pt idx="2509">
                  <c:v>0.12577584427943675</c:v>
                </c:pt>
                <c:pt idx="2510">
                  <c:v>0.12577584427943675</c:v>
                </c:pt>
                <c:pt idx="2511">
                  <c:v>0.12207033098845123</c:v>
                </c:pt>
                <c:pt idx="2512">
                  <c:v>0.11589476399374674</c:v>
                </c:pt>
                <c:pt idx="2513">
                  <c:v>0.11054269247875095</c:v>
                </c:pt>
                <c:pt idx="2514">
                  <c:v>0.11520108913616765</c:v>
                </c:pt>
                <c:pt idx="2515">
                  <c:v>0.11197591214706158</c:v>
                </c:pt>
                <c:pt idx="2516">
                  <c:v>0.10982608264459562</c:v>
                </c:pt>
                <c:pt idx="2517">
                  <c:v>0.10839286297628498</c:v>
                </c:pt>
                <c:pt idx="2518">
                  <c:v>0.11233421706413925</c:v>
                </c:pt>
                <c:pt idx="2519">
                  <c:v>0.10875116789336264</c:v>
                </c:pt>
                <c:pt idx="2520">
                  <c:v>0.10839286297628498</c:v>
                </c:pt>
                <c:pt idx="2521">
                  <c:v>0.10695964330797433</c:v>
                </c:pt>
                <c:pt idx="2522">
                  <c:v>0.10552642363966369</c:v>
                </c:pt>
                <c:pt idx="2523">
                  <c:v>0.10480938107010128</c:v>
                </c:pt>
                <c:pt idx="2524">
                  <c:v>0.108392862976285</c:v>
                </c:pt>
                <c:pt idx="2525">
                  <c:v>0.1037344663188683</c:v>
                </c:pt>
                <c:pt idx="2526">
                  <c:v>0.10803455805920735</c:v>
                </c:pt>
                <c:pt idx="2527">
                  <c:v>0.1112593023129063</c:v>
                </c:pt>
                <c:pt idx="2528">
                  <c:v>0.10373446631886832</c:v>
                </c:pt>
                <c:pt idx="2529">
                  <c:v>0.10373446631886832</c:v>
                </c:pt>
                <c:pt idx="2530">
                  <c:v>0.10910947281044032</c:v>
                </c:pt>
                <c:pt idx="2531">
                  <c:v>0.11233421706413929</c:v>
                </c:pt>
                <c:pt idx="2532">
                  <c:v>0.11054269247875098</c:v>
                </c:pt>
                <c:pt idx="2533">
                  <c:v>0.10301785648471298</c:v>
                </c:pt>
                <c:pt idx="2534">
                  <c:v>0.10695964330797436</c:v>
                </c:pt>
                <c:pt idx="2535">
                  <c:v>0.10480938107010131</c:v>
                </c:pt>
                <c:pt idx="2536">
                  <c:v>0.10265955156763534</c:v>
                </c:pt>
                <c:pt idx="2537">
                  <c:v>9.8359892562703402E-2</c:v>
                </c:pt>
                <c:pt idx="2538">
                  <c:v>9.8001587645625721E-2</c:v>
                </c:pt>
                <c:pt idx="2539">
                  <c:v>9.4529751474473456E-2</c:v>
                </c:pt>
                <c:pt idx="2540">
                  <c:v>9.3898390515516558E-2</c:v>
                </c:pt>
                <c:pt idx="2541">
                  <c:v>9.3898390515516558E-2</c:v>
                </c:pt>
                <c:pt idx="2542">
                  <c:v>9.0426554344364279E-2</c:v>
                </c:pt>
                <c:pt idx="2543">
                  <c:v>9.1057915303321191E-2</c:v>
                </c:pt>
                <c:pt idx="2544">
                  <c:v>9.4213854627291468E-2</c:v>
                </c:pt>
                <c:pt idx="2545">
                  <c:v>9.1688843526870997E-2</c:v>
                </c:pt>
                <c:pt idx="2546">
                  <c:v>9.1373379415096115E-2</c:v>
                </c:pt>
                <c:pt idx="2547">
                  <c:v>9.2320204485827881E-2</c:v>
                </c:pt>
                <c:pt idx="2548">
                  <c:v>9.2004740374052985E-2</c:v>
                </c:pt>
                <c:pt idx="2549">
                  <c:v>9.3898390515516572E-2</c:v>
                </c:pt>
                <c:pt idx="2550">
                  <c:v>9.0742018456139203E-2</c:v>
                </c:pt>
                <c:pt idx="2551">
                  <c:v>9.452975147447347E-2</c:v>
                </c:pt>
                <c:pt idx="2552">
                  <c:v>9.2951565444784792E-2</c:v>
                </c:pt>
                <c:pt idx="2553">
                  <c:v>9.6107504768755056E-2</c:v>
                </c:pt>
                <c:pt idx="2554">
                  <c:v>9.3582493668334585E-2</c:v>
                </c:pt>
                <c:pt idx="2555">
                  <c:v>8.7585646396761807E-2</c:v>
                </c:pt>
                <c:pt idx="2556">
                  <c:v>8.5376532143523351E-2</c:v>
                </c:pt>
                <c:pt idx="2557">
                  <c:v>8.9637244961816395E-2</c:v>
                </c:pt>
                <c:pt idx="2558">
                  <c:v>9.3427141657186158E-2</c:v>
                </c:pt>
                <c:pt idx="2559">
                  <c:v>9.1240529645116794E-2</c:v>
                </c:pt>
                <c:pt idx="2560">
                  <c:v>9.1094697812924549E-2</c:v>
                </c:pt>
                <c:pt idx="2561">
                  <c:v>8.7305233852961905E-2</c:v>
                </c:pt>
                <c:pt idx="2562">
                  <c:v>8.9928908626200871E-2</c:v>
                </c:pt>
                <c:pt idx="2563">
                  <c:v>8.4681991815130031E-2</c:v>
                </c:pt>
                <c:pt idx="2564">
                  <c:v>8.205831704189108E-2</c:v>
                </c:pt>
                <c:pt idx="2565">
                  <c:v>8.4973222744107416E-2</c:v>
                </c:pt>
                <c:pt idx="2566">
                  <c:v>8.5264886408491891E-2</c:v>
                </c:pt>
                <c:pt idx="2567">
                  <c:v>8.4681991815130031E-2</c:v>
                </c:pt>
                <c:pt idx="2568">
                  <c:v>0.10129773324149595</c:v>
                </c:pt>
                <c:pt idx="2569">
                  <c:v>0.10100606957711147</c:v>
                </c:pt>
                <c:pt idx="2570">
                  <c:v>9.2843814328417207E-2</c:v>
                </c:pt>
                <c:pt idx="2571">
                  <c:v>9.8674058468256984E-2</c:v>
                </c:pt>
                <c:pt idx="2572">
                  <c:v>0.10042317498374966</c:v>
                </c:pt>
                <c:pt idx="2573">
                  <c:v>9.5175825437271711E-2</c:v>
                </c:pt>
                <c:pt idx="2574">
                  <c:v>0.10741920831031312</c:v>
                </c:pt>
                <c:pt idx="2575">
                  <c:v>0.10975121941916761</c:v>
                </c:pt>
                <c:pt idx="2576">
                  <c:v>9.7799500210510676E-2</c:v>
                </c:pt>
                <c:pt idx="2577">
                  <c:v>8.4390328150745569E-2</c:v>
                </c:pt>
                <c:pt idx="2578">
                  <c:v>8.205831704189108E-2</c:v>
                </c:pt>
                <c:pt idx="2579">
                  <c:v>8.1475422448529219E-2</c:v>
                </c:pt>
                <c:pt idx="2580">
                  <c:v>7.5353514644304967E-2</c:v>
                </c:pt>
                <c:pt idx="2581">
                  <c:v>7.5353514644304967E-2</c:v>
                </c:pt>
                <c:pt idx="2582">
                  <c:v>7.4308891371568889E-2</c:v>
                </c:pt>
                <c:pt idx="2583">
                  <c:v>7.4308891371568889E-2</c:v>
                </c:pt>
                <c:pt idx="2584">
                  <c:v>7.4047951921088415E-2</c:v>
                </c:pt>
                <c:pt idx="2585">
                  <c:v>7.4570263557456454E-2</c:v>
                </c:pt>
                <c:pt idx="2586">
                  <c:v>7.7834819468608499E-2</c:v>
                </c:pt>
                <c:pt idx="2587">
                  <c:v>8.2405803573791292E-2</c:v>
                </c:pt>
                <c:pt idx="2588">
                  <c:v>7.5092575193824534E-2</c:v>
                </c:pt>
                <c:pt idx="2589">
                  <c:v>7.3525207549313312E-2</c:v>
                </c:pt>
                <c:pt idx="2590">
                  <c:v>7.2741956462464785E-2</c:v>
                </c:pt>
                <c:pt idx="2591">
                  <c:v>7.3002895912945259E-2</c:v>
                </c:pt>
                <c:pt idx="2592">
                  <c:v>7.248058427657722E-2</c:v>
                </c:pt>
                <c:pt idx="2593">
                  <c:v>7.3786579735200877E-2</c:v>
                </c:pt>
                <c:pt idx="2594">
                  <c:v>7.2741956462464799E-2</c:v>
                </c:pt>
                <c:pt idx="2595">
                  <c:v>7.5614886830192574E-2</c:v>
                </c:pt>
                <c:pt idx="2596">
                  <c:v>7.4570263557456468E-2</c:v>
                </c:pt>
                <c:pt idx="2597">
                  <c:v>7.0913649367473075E-2</c:v>
                </c:pt>
                <c:pt idx="2598">
                  <c:v>7.5614886830192546E-2</c:v>
                </c:pt>
                <c:pt idx="2599">
                  <c:v>7.4831203007936928E-2</c:v>
                </c:pt>
                <c:pt idx="2600">
                  <c:v>7.4047951921088415E-2</c:v>
                </c:pt>
                <c:pt idx="2601">
                  <c:v>7.4570263557456454E-2</c:v>
                </c:pt>
                <c:pt idx="2602">
                  <c:v>7.4076945193364038E-2</c:v>
                </c:pt>
                <c:pt idx="2603">
                  <c:v>7.4816490004095584E-2</c:v>
                </c:pt>
                <c:pt idx="2604">
                  <c:v>7.752844280038268E-2</c:v>
                </c:pt>
                <c:pt idx="2605">
                  <c:v>8.5416776536383521E-2</c:v>
                </c:pt>
                <c:pt idx="2606">
                  <c:v>9.811193517443588E-2</c:v>
                </c:pt>
                <c:pt idx="2607">
                  <c:v>0.12387267395901708</c:v>
                </c:pt>
                <c:pt idx="2608">
                  <c:v>0.12485887795179483</c:v>
                </c:pt>
                <c:pt idx="2609">
                  <c:v>0.11697054421579399</c:v>
                </c:pt>
                <c:pt idx="2610">
                  <c:v>0.11918874591258154</c:v>
                </c:pt>
                <c:pt idx="2611">
                  <c:v>0.12042160908740553</c:v>
                </c:pt>
                <c:pt idx="2612">
                  <c:v>0.13028191807355483</c:v>
                </c:pt>
                <c:pt idx="2613">
                  <c:v>0.14655190390964895</c:v>
                </c:pt>
                <c:pt idx="2614">
                  <c:v>0.12806328364136019</c:v>
                </c:pt>
                <c:pt idx="2615">
                  <c:v>0.12633796757325796</c:v>
                </c:pt>
                <c:pt idx="2616">
                  <c:v>0.13817025180955569</c:v>
                </c:pt>
                <c:pt idx="2617">
                  <c:v>0.12140738034477624</c:v>
                </c:pt>
                <c:pt idx="2618">
                  <c:v>0.12732373883062864</c:v>
                </c:pt>
                <c:pt idx="2619">
                  <c:v>0.12177736911784556</c:v>
                </c:pt>
                <c:pt idx="2620">
                  <c:v>0.11734010025345626</c:v>
                </c:pt>
                <c:pt idx="2621">
                  <c:v>0.11708435362786099</c:v>
                </c:pt>
                <c:pt idx="2622">
                  <c:v>0.10454411426554991</c:v>
                </c:pt>
                <c:pt idx="2623">
                  <c:v>9.7122269298401398E-2</c:v>
                </c:pt>
                <c:pt idx="2624">
                  <c:v>0.10454411426554992</c:v>
                </c:pt>
                <c:pt idx="2625">
                  <c:v>0.11017443464731015</c:v>
                </c:pt>
                <c:pt idx="2626">
                  <c:v>0.10070531846917802</c:v>
                </c:pt>
                <c:pt idx="2627">
                  <c:v>0.1114540332461008</c:v>
                </c:pt>
                <c:pt idx="2628">
                  <c:v>0.10812673070091947</c:v>
                </c:pt>
                <c:pt idx="2629">
                  <c:v>0.11196595923269848</c:v>
                </c:pt>
                <c:pt idx="2630">
                  <c:v>0.11426897706927737</c:v>
                </c:pt>
                <c:pt idx="2631">
                  <c:v>0.12322616726081183</c:v>
                </c:pt>
                <c:pt idx="2632">
                  <c:v>0.12220274802302357</c:v>
                </c:pt>
                <c:pt idx="2633">
                  <c:v>0.11785202624005399</c:v>
                </c:pt>
                <c:pt idx="2634">
                  <c:v>0.11375705108267968</c:v>
                </c:pt>
                <c:pt idx="2635">
                  <c:v>0.10787098407532417</c:v>
                </c:pt>
                <c:pt idx="2636">
                  <c:v>0.10172873770696625</c:v>
                </c:pt>
                <c:pt idx="2637">
                  <c:v>0.10403218827895226</c:v>
                </c:pt>
                <c:pt idx="2638">
                  <c:v>9.9681466495982668E-2</c:v>
                </c:pt>
                <c:pt idx="2639">
                  <c:v>9.4307325475224829E-2</c:v>
                </c:pt>
                <c:pt idx="2640">
                  <c:v>9.3027726876434208E-2</c:v>
                </c:pt>
                <c:pt idx="2641">
                  <c:v>8.5605881909285683E-2</c:v>
                </c:pt>
                <c:pt idx="2642">
                  <c:v>9.3539220127624792E-2</c:v>
                </c:pt>
                <c:pt idx="2643">
                  <c:v>9.3795399488627196E-2</c:v>
                </c:pt>
                <c:pt idx="2644">
                  <c:v>8.4838209297092737E-2</c:v>
                </c:pt>
                <c:pt idx="2645">
                  <c:v>8.2406669044605557E-2</c:v>
                </c:pt>
                <c:pt idx="2646">
                  <c:v>7.6977570627146205E-2</c:v>
                </c:pt>
                <c:pt idx="2647">
                  <c:v>8.2165635422851643E-2</c:v>
                </c:pt>
                <c:pt idx="2648">
                  <c:v>8.7956933376052551E-2</c:v>
                </c:pt>
                <c:pt idx="2649">
                  <c:v>7.7339337427480656E-2</c:v>
                </c:pt>
                <c:pt idx="2650">
                  <c:v>8.0114469593204146E-2</c:v>
                </c:pt>
                <c:pt idx="2651">
                  <c:v>8.1682702708529578E-2</c:v>
                </c:pt>
                <c:pt idx="2652">
                  <c:v>7.9511236435708649E-2</c:v>
                </c:pt>
                <c:pt idx="2653">
                  <c:v>7.7097871070319623E-2</c:v>
                </c:pt>
                <c:pt idx="2654">
                  <c:v>7.8063303763556649E-2</c:v>
                </c:pt>
                <c:pt idx="2655">
                  <c:v>8.0235202771784642E-2</c:v>
                </c:pt>
                <c:pt idx="2656">
                  <c:v>7.6615371091404635E-2</c:v>
                </c:pt>
                <c:pt idx="2657">
                  <c:v>7.7821837406395603E-2</c:v>
                </c:pt>
                <c:pt idx="2658">
                  <c:v>8.0717702750699616E-2</c:v>
                </c:pt>
                <c:pt idx="2659">
                  <c:v>7.7339337427480642E-2</c:v>
                </c:pt>
                <c:pt idx="2660">
                  <c:v>7.5650371133574715E-2</c:v>
                </c:pt>
                <c:pt idx="2661">
                  <c:v>8.2165635422851629E-2</c:v>
                </c:pt>
                <c:pt idx="2662">
                  <c:v>7.8304337385310577E-2</c:v>
                </c:pt>
                <c:pt idx="2663">
                  <c:v>8.0958736372453557E-2</c:v>
                </c:pt>
                <c:pt idx="2664">
                  <c:v>8.9645899669958465E-2</c:v>
                </c:pt>
                <c:pt idx="2665">
                  <c:v>9.8092029345709458E-2</c:v>
                </c:pt>
                <c:pt idx="2666">
                  <c:v>8.8220901974382704E-2</c:v>
                </c:pt>
                <c:pt idx="2667">
                  <c:v>9.1429202282611921E-2</c:v>
                </c:pt>
                <c:pt idx="2668">
                  <c:v>8.7727583610290288E-2</c:v>
                </c:pt>
                <c:pt idx="2669">
                  <c:v>8.9701722537474202E-2</c:v>
                </c:pt>
                <c:pt idx="2670">
                  <c:v>8.6000103865152555E-2</c:v>
                </c:pt>
                <c:pt idx="2671">
                  <c:v>8.4025964937968628E-2</c:v>
                </c:pt>
                <c:pt idx="2672">
                  <c:v>8.6000103865152569E-2</c:v>
                </c:pt>
                <c:pt idx="2673">
                  <c:v>8.2791803556923366E-2</c:v>
                </c:pt>
                <c:pt idx="2674">
                  <c:v>8.4765942484107293E-2</c:v>
                </c:pt>
                <c:pt idx="2675">
                  <c:v>8.3778873020515315E-2</c:v>
                </c:pt>
                <c:pt idx="2676">
                  <c:v>7.9583935984101226E-2</c:v>
                </c:pt>
                <c:pt idx="2677">
                  <c:v>8.2791803556923352E-2</c:v>
                </c:pt>
                <c:pt idx="2678">
                  <c:v>9.0441700083612853E-2</c:v>
                </c:pt>
                <c:pt idx="2679">
                  <c:v>8.007768708360076E-2</c:v>
                </c:pt>
                <c:pt idx="2680">
                  <c:v>8.1558074911285153E-2</c:v>
                </c:pt>
                <c:pt idx="2681">
                  <c:v>8.7727583610290261E-2</c:v>
                </c:pt>
                <c:pt idx="2682">
                  <c:v>9.365000039184207E-2</c:v>
                </c:pt>
                <c:pt idx="2683">
                  <c:v>9.5377480136979775E-2</c:v>
                </c:pt>
                <c:pt idx="2684">
                  <c:v>0.11672301956293372</c:v>
                </c:pt>
                <c:pt idx="2685">
                  <c:v>0.10873732036033566</c:v>
                </c:pt>
                <c:pt idx="2686">
                  <c:v>0.10048548888237196</c:v>
                </c:pt>
                <c:pt idx="2687">
                  <c:v>9.6493072016480039E-2</c:v>
                </c:pt>
                <c:pt idx="2688">
                  <c:v>0.10261497982070429</c:v>
                </c:pt>
                <c:pt idx="2689">
                  <c:v>0.10873732036033565</c:v>
                </c:pt>
                <c:pt idx="2690">
                  <c:v>0.10021935660700629</c:v>
                </c:pt>
                <c:pt idx="2691">
                  <c:v>9.4895845628878997E-2</c:v>
                </c:pt>
                <c:pt idx="2692">
                  <c:v>9.516197790424466E-2</c:v>
                </c:pt>
                <c:pt idx="2693">
                  <c:v>9.7025336567211337E-2</c:v>
                </c:pt>
                <c:pt idx="2694">
                  <c:v>9.4895845628879025E-2</c:v>
                </c:pt>
                <c:pt idx="2695">
                  <c:v>9.3032486965912334E-2</c:v>
                </c:pt>
                <c:pt idx="2696">
                  <c:v>9.7690883623329047E-2</c:v>
                </c:pt>
                <c:pt idx="2697">
                  <c:v>9.8622562954812393E-2</c:v>
                </c:pt>
                <c:pt idx="2698">
                  <c:v>0.10554330032054073</c:v>
                </c:pt>
                <c:pt idx="2699">
                  <c:v>0.10341380938220839</c:v>
                </c:pt>
                <c:pt idx="2700">
                  <c:v>0.10820505580960438</c:v>
                </c:pt>
                <c:pt idx="2701">
                  <c:v>0.1252409833162631</c:v>
                </c:pt>
                <c:pt idx="2702">
                  <c:v>0.1345577766310965</c:v>
                </c:pt>
                <c:pt idx="2703">
                  <c:v>0.12497485104089744</c:v>
                </c:pt>
                <c:pt idx="2704">
                  <c:v>0.1175218491244378</c:v>
                </c:pt>
                <c:pt idx="2705">
                  <c:v>0.13162945613126012</c:v>
                </c:pt>
                <c:pt idx="2706">
                  <c:v>0.12550711559162875</c:v>
                </c:pt>
                <c:pt idx="2707">
                  <c:v>0.14094624944609355</c:v>
                </c:pt>
                <c:pt idx="2708">
                  <c:v>0.13906514863143582</c:v>
                </c:pt>
                <c:pt idx="2709">
                  <c:v>0.14311685024810025</c:v>
                </c:pt>
                <c:pt idx="2710">
                  <c:v>0.14514291742413601</c:v>
                </c:pt>
                <c:pt idx="2711">
                  <c:v>0.13154031263739782</c:v>
                </c:pt>
                <c:pt idx="2712">
                  <c:v>0.13906514863143579</c:v>
                </c:pt>
                <c:pt idx="2713">
                  <c:v>0.13269787985138659</c:v>
                </c:pt>
                <c:pt idx="2714">
                  <c:v>0.1376176486946909</c:v>
                </c:pt>
                <c:pt idx="2715">
                  <c:v>0.13472351429201526</c:v>
                </c:pt>
                <c:pt idx="2716">
                  <c:v>0.12517304385734859</c:v>
                </c:pt>
                <c:pt idx="2717">
                  <c:v>0.12459404388265063</c:v>
                </c:pt>
                <c:pt idx="2718">
                  <c:v>0.13414494705272439</c:v>
                </c:pt>
                <c:pt idx="2719">
                  <c:v>0.13182937988933963</c:v>
                </c:pt>
                <c:pt idx="2720">
                  <c:v>0.13356594707802644</c:v>
                </c:pt>
                <c:pt idx="2721">
                  <c:v>0.13964371587072663</c:v>
                </c:pt>
                <c:pt idx="2722">
                  <c:v>0.1471685518647646</c:v>
                </c:pt>
                <c:pt idx="2723">
                  <c:v>0.15122068621683618</c:v>
                </c:pt>
                <c:pt idx="2724">
                  <c:v>0.152088753443476</c:v>
                </c:pt>
                <c:pt idx="2725">
                  <c:v>0.16279722382753861</c:v>
                </c:pt>
                <c:pt idx="2726">
                  <c:v>0.15556188782084959</c:v>
                </c:pt>
                <c:pt idx="2727">
                  <c:v>0.14751257651340804</c:v>
                </c:pt>
                <c:pt idx="2728">
                  <c:v>0.14194024267619904</c:v>
                </c:pt>
                <c:pt idx="2729">
                  <c:v>0.14101159249256537</c:v>
                </c:pt>
                <c:pt idx="2730">
                  <c:v>0.13853504775773995</c:v>
                </c:pt>
                <c:pt idx="2731">
                  <c:v>0.13017633063422288</c:v>
                </c:pt>
                <c:pt idx="2732">
                  <c:v>0.13729655902262367</c:v>
                </c:pt>
              </c:numCache>
            </c:numRef>
          </c:val>
          <c:smooth val="0"/>
          <c:extLst xmlns:c16r2="http://schemas.microsoft.com/office/drawing/2015/06/chart">
            <c:ext xmlns:c16="http://schemas.microsoft.com/office/drawing/2014/chart" uri="{C3380CC4-5D6E-409C-BE32-E72D297353CC}">
              <c16:uniqueId val="{00000001-EDD3-41F1-86B6-9F666E4354A9}"/>
            </c:ext>
          </c:extLst>
        </c:ser>
        <c:dLbls>
          <c:showLegendKey val="0"/>
          <c:showVal val="0"/>
          <c:showCatName val="0"/>
          <c:showSerName val="0"/>
          <c:showPercent val="0"/>
          <c:showBubbleSize val="0"/>
        </c:dLbls>
        <c:marker val="1"/>
        <c:smooth val="0"/>
        <c:axId val="559101056"/>
        <c:axId val="559102592"/>
      </c:lineChart>
      <c:dateAx>
        <c:axId val="559101056"/>
        <c:scaling>
          <c:orientation val="minMax"/>
        </c:scaling>
        <c:delete val="0"/>
        <c:axPos val="b"/>
        <c:numFmt formatCode="m/d/yyyy" sourceLinked="1"/>
        <c:majorTickMark val="none"/>
        <c:minorTickMark val="none"/>
        <c:tickLblPos val="nextTo"/>
        <c:crossAx val="559102592"/>
        <c:crosses val="autoZero"/>
        <c:auto val="1"/>
        <c:lblOffset val="100"/>
        <c:baseTimeUnit val="days"/>
      </c:dateAx>
      <c:valAx>
        <c:axId val="559102592"/>
        <c:scaling>
          <c:orientation val="minMax"/>
        </c:scaling>
        <c:delete val="0"/>
        <c:axPos val="l"/>
        <c:majorGridlines/>
        <c:numFmt formatCode="General" sourceLinked="1"/>
        <c:majorTickMark val="none"/>
        <c:minorTickMark val="none"/>
        <c:tickLblPos val="nextTo"/>
        <c:spPr>
          <a:ln w="9525">
            <a:noFill/>
          </a:ln>
        </c:spPr>
        <c:crossAx val="559101056"/>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400" b="1" i="0" baseline="0" dirty="0">
                <a:effectLst/>
              </a:rPr>
              <a:t>Historical simulation</a:t>
            </a:r>
            <a:endParaRPr lang="en-US" sz="1400" dirty="0">
              <a:effectLst/>
            </a:endParaRPr>
          </a:p>
        </c:rich>
      </c:tx>
      <c:layout/>
      <c:overlay val="0"/>
    </c:title>
    <c:autoTitleDeleted val="0"/>
    <c:plotArea>
      <c:layout/>
      <c:lineChart>
        <c:grouping val="standard"/>
        <c:varyColors val="0"/>
        <c:ser>
          <c:idx val="0"/>
          <c:order val="0"/>
          <c:tx>
            <c:strRef>
              <c:f>'1M'!$O$30</c:f>
              <c:strCache>
                <c:ptCount val="1"/>
                <c:pt idx="0">
                  <c:v>Basic Mean Reversion Strategy</c:v>
                </c:pt>
              </c:strCache>
            </c:strRef>
          </c:tx>
          <c:marker>
            <c:symbol val="none"/>
          </c:marker>
          <c:cat>
            <c:numRef>
              <c:f>'1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1M'!$O$31:$O$2763</c:f>
              <c:numCache>
                <c:formatCode>General</c:formatCode>
                <c:ptCount val="2733"/>
                <c:pt idx="0">
                  <c:v>100</c:v>
                </c:pt>
                <c:pt idx="1">
                  <c:v>100</c:v>
                </c:pt>
                <c:pt idx="2">
                  <c:v>103.78064642316403</c:v>
                </c:pt>
                <c:pt idx="3">
                  <c:v>101.07551644937126</c:v>
                </c:pt>
                <c:pt idx="4">
                  <c:v>106.51731705387762</c:v>
                </c:pt>
                <c:pt idx="5">
                  <c:v>103.14174767442434</c:v>
                </c:pt>
                <c:pt idx="6">
                  <c:v>102.03291314007427</c:v>
                </c:pt>
                <c:pt idx="7">
                  <c:v>100.81838971117189</c:v>
                </c:pt>
                <c:pt idx="8">
                  <c:v>100.66058333344105</c:v>
                </c:pt>
                <c:pt idx="9">
                  <c:v>102.19582680598882</c:v>
                </c:pt>
                <c:pt idx="10">
                  <c:v>101.77577586552201</c:v>
                </c:pt>
                <c:pt idx="11">
                  <c:v>103.61712514795383</c:v>
                </c:pt>
                <c:pt idx="12">
                  <c:v>103.98673213663096</c:v>
                </c:pt>
                <c:pt idx="13">
                  <c:v>103.64081398411417</c:v>
                </c:pt>
                <c:pt idx="14">
                  <c:v>103.44515615592255</c:v>
                </c:pt>
                <c:pt idx="15">
                  <c:v>103.96602437363609</c:v>
                </c:pt>
                <c:pt idx="16">
                  <c:v>102.26982067962018</c:v>
                </c:pt>
                <c:pt idx="17">
                  <c:v>104.89026754662126</c:v>
                </c:pt>
                <c:pt idx="18">
                  <c:v>105.57533014514159</c:v>
                </c:pt>
                <c:pt idx="19">
                  <c:v>107.39791928020963</c:v>
                </c:pt>
                <c:pt idx="20">
                  <c:v>107.64963122531114</c:v>
                </c:pt>
                <c:pt idx="21">
                  <c:v>109.02076147505878</c:v>
                </c:pt>
                <c:pt idx="22">
                  <c:v>112.88060245324968</c:v>
                </c:pt>
                <c:pt idx="23">
                  <c:v>117.84849472629503</c:v>
                </c:pt>
                <c:pt idx="24">
                  <c:v>118.64905415273471</c:v>
                </c:pt>
                <c:pt idx="25">
                  <c:v>117.29718813379441</c:v>
                </c:pt>
                <c:pt idx="26">
                  <c:v>114.66015422212229</c:v>
                </c:pt>
                <c:pt idx="27">
                  <c:v>114.06235285074526</c:v>
                </c:pt>
                <c:pt idx="28">
                  <c:v>115.16106662150662</c:v>
                </c:pt>
                <c:pt idx="29">
                  <c:v>110.84325164462798</c:v>
                </c:pt>
                <c:pt idx="30">
                  <c:v>111.42640311126917</c:v>
                </c:pt>
                <c:pt idx="31">
                  <c:v>112.27115565238594</c:v>
                </c:pt>
                <c:pt idx="32">
                  <c:v>109.4773046220818</c:v>
                </c:pt>
                <c:pt idx="33">
                  <c:v>108.54068127049869</c:v>
                </c:pt>
                <c:pt idx="34">
                  <c:v>108.45404636290344</c:v>
                </c:pt>
                <c:pt idx="35">
                  <c:v>105.66214547934891</c:v>
                </c:pt>
                <c:pt idx="36">
                  <c:v>102.69525341286487</c:v>
                </c:pt>
                <c:pt idx="37">
                  <c:v>103.61943809930754</c:v>
                </c:pt>
                <c:pt idx="38">
                  <c:v>103.44820086868546</c:v>
                </c:pt>
                <c:pt idx="39">
                  <c:v>104.83394275140648</c:v>
                </c:pt>
                <c:pt idx="40">
                  <c:v>102.93407252789167</c:v>
                </c:pt>
                <c:pt idx="41">
                  <c:v>102.63816370933897</c:v>
                </c:pt>
                <c:pt idx="42">
                  <c:v>101.39740578316422</c:v>
                </c:pt>
                <c:pt idx="43">
                  <c:v>101.17586545424538</c:v>
                </c:pt>
                <c:pt idx="44">
                  <c:v>102.12368233970274</c:v>
                </c:pt>
                <c:pt idx="45">
                  <c:v>102.12157654160269</c:v>
                </c:pt>
                <c:pt idx="46">
                  <c:v>101.38615242080222</c:v>
                </c:pt>
                <c:pt idx="47">
                  <c:v>101.32527727431587</c:v>
                </c:pt>
                <c:pt idx="48">
                  <c:v>101.79901767929968</c:v>
                </c:pt>
                <c:pt idx="49">
                  <c:v>103.98538484545715</c:v>
                </c:pt>
                <c:pt idx="50">
                  <c:v>103.50284339200363</c:v>
                </c:pt>
                <c:pt idx="51">
                  <c:v>105.03685990253543</c:v>
                </c:pt>
                <c:pt idx="52">
                  <c:v>103.66963466059062</c:v>
                </c:pt>
                <c:pt idx="53">
                  <c:v>103.43268193395519</c:v>
                </c:pt>
                <c:pt idx="54">
                  <c:v>103.18405944973019</c:v>
                </c:pt>
                <c:pt idx="55">
                  <c:v>104.27137390083077</c:v>
                </c:pt>
                <c:pt idx="56">
                  <c:v>103.82340614504105</c:v>
                </c:pt>
                <c:pt idx="57">
                  <c:v>104.23874469902076</c:v>
                </c:pt>
                <c:pt idx="58">
                  <c:v>102.25228431405671</c:v>
                </c:pt>
                <c:pt idx="59">
                  <c:v>102.59617141984921</c:v>
                </c:pt>
                <c:pt idx="60">
                  <c:v>101.19460170297998</c:v>
                </c:pt>
                <c:pt idx="61">
                  <c:v>99.605235028493652</c:v>
                </c:pt>
                <c:pt idx="62">
                  <c:v>98.317059371486707</c:v>
                </c:pt>
                <c:pt idx="63">
                  <c:v>97.407415325564685</c:v>
                </c:pt>
                <c:pt idx="64">
                  <c:v>96.800902388648908</c:v>
                </c:pt>
                <c:pt idx="65">
                  <c:v>95.51494373441389</c:v>
                </c:pt>
                <c:pt idx="66">
                  <c:v>94.529799633611105</c:v>
                </c:pt>
                <c:pt idx="67">
                  <c:v>94.07428190366079</c:v>
                </c:pt>
                <c:pt idx="68">
                  <c:v>92.637616614425895</c:v>
                </c:pt>
                <c:pt idx="69">
                  <c:v>93.314555267872876</c:v>
                </c:pt>
                <c:pt idx="70">
                  <c:v>93.993074460121193</c:v>
                </c:pt>
                <c:pt idx="71">
                  <c:v>93.0093224062894</c:v>
                </c:pt>
                <c:pt idx="72">
                  <c:v>91.571620931432975</c:v>
                </c:pt>
                <c:pt idx="73">
                  <c:v>93.004041142193856</c:v>
                </c:pt>
                <c:pt idx="74">
                  <c:v>94.058557244073754</c:v>
                </c:pt>
                <c:pt idx="75">
                  <c:v>93.678458780322984</c:v>
                </c:pt>
                <c:pt idx="76">
                  <c:v>93.012939265723347</c:v>
                </c:pt>
                <c:pt idx="77">
                  <c:v>91.99215524069028</c:v>
                </c:pt>
                <c:pt idx="78">
                  <c:v>91.316900734786742</c:v>
                </c:pt>
                <c:pt idx="79">
                  <c:v>90.601104942065476</c:v>
                </c:pt>
                <c:pt idx="80">
                  <c:v>93.975986122068463</c:v>
                </c:pt>
                <c:pt idx="81">
                  <c:v>96.317679632060745</c:v>
                </c:pt>
                <c:pt idx="82">
                  <c:v>95.274973762032843</c:v>
                </c:pt>
                <c:pt idx="83">
                  <c:v>97.805453232456344</c:v>
                </c:pt>
                <c:pt idx="84">
                  <c:v>97.120891332977251</c:v>
                </c:pt>
                <c:pt idx="85">
                  <c:v>99.155486606186727</c:v>
                </c:pt>
                <c:pt idx="86">
                  <c:v>98.336485982000823</c:v>
                </c:pt>
                <c:pt idx="87">
                  <c:v>98.323415149323864</c:v>
                </c:pt>
                <c:pt idx="88">
                  <c:v>98.05376499898901</c:v>
                </c:pt>
                <c:pt idx="89">
                  <c:v>97.516754848150967</c:v>
                </c:pt>
                <c:pt idx="90">
                  <c:v>97.553495115050694</c:v>
                </c:pt>
                <c:pt idx="91">
                  <c:v>97.592198619070558</c:v>
                </c:pt>
                <c:pt idx="92">
                  <c:v>97.605193776170424</c:v>
                </c:pt>
                <c:pt idx="93">
                  <c:v>97.87604320145438</c:v>
                </c:pt>
                <c:pt idx="94">
                  <c:v>97.245011020105736</c:v>
                </c:pt>
                <c:pt idx="95">
                  <c:v>97.058716447228647</c:v>
                </c:pt>
                <c:pt idx="96">
                  <c:v>95.539682691813709</c:v>
                </c:pt>
                <c:pt idx="97">
                  <c:v>95.379223610733121</c:v>
                </c:pt>
                <c:pt idx="98">
                  <c:v>95.520171570347827</c:v>
                </c:pt>
                <c:pt idx="99">
                  <c:v>94.88191364887895</c:v>
                </c:pt>
                <c:pt idx="100">
                  <c:v>94.676402078740026</c:v>
                </c:pt>
                <c:pt idx="101">
                  <c:v>94.622705714419723</c:v>
                </c:pt>
                <c:pt idx="102">
                  <c:v>93.061208201138626</c:v>
                </c:pt>
                <c:pt idx="103">
                  <c:v>92.650556314647503</c:v>
                </c:pt>
                <c:pt idx="104">
                  <c:v>93.532051959561514</c:v>
                </c:pt>
                <c:pt idx="105">
                  <c:v>93.462213548390835</c:v>
                </c:pt>
                <c:pt idx="106">
                  <c:v>93.054827473449592</c:v>
                </c:pt>
                <c:pt idx="107">
                  <c:v>92.171575204367528</c:v>
                </c:pt>
                <c:pt idx="108">
                  <c:v>92.916250260189557</c:v>
                </c:pt>
                <c:pt idx="109">
                  <c:v>92.710987906380012</c:v>
                </c:pt>
                <c:pt idx="110">
                  <c:v>95.357482467213487</c:v>
                </c:pt>
                <c:pt idx="111">
                  <c:v>96.233806528920354</c:v>
                </c:pt>
                <c:pt idx="112">
                  <c:v>97.369336152903614</c:v>
                </c:pt>
                <c:pt idx="113">
                  <c:v>98.761837648333142</c:v>
                </c:pt>
                <c:pt idx="114">
                  <c:v>99.620641926975253</c:v>
                </c:pt>
                <c:pt idx="115">
                  <c:v>98.021147580408069</c:v>
                </c:pt>
                <c:pt idx="116">
                  <c:v>95.936594079016558</c:v>
                </c:pt>
                <c:pt idx="117">
                  <c:v>94.400122801330525</c:v>
                </c:pt>
                <c:pt idx="118">
                  <c:v>93.813197226683727</c:v>
                </c:pt>
                <c:pt idx="119">
                  <c:v>96.146306355839741</c:v>
                </c:pt>
                <c:pt idx="120">
                  <c:v>100.66385604452655</c:v>
                </c:pt>
                <c:pt idx="121">
                  <c:v>102.84178382217672</c:v>
                </c:pt>
                <c:pt idx="122">
                  <c:v>102.74904907650159</c:v>
                </c:pt>
                <c:pt idx="123">
                  <c:v>99.018562292727168</c:v>
                </c:pt>
                <c:pt idx="124">
                  <c:v>98.534605689081346</c:v>
                </c:pt>
                <c:pt idx="125">
                  <c:v>97.590653487735125</c:v>
                </c:pt>
                <c:pt idx="126">
                  <c:v>93.690251893964927</c:v>
                </c:pt>
                <c:pt idx="127">
                  <c:v>96.870428107090547</c:v>
                </c:pt>
                <c:pt idx="128">
                  <c:v>96.731916990773087</c:v>
                </c:pt>
                <c:pt idx="129">
                  <c:v>96.404389384381929</c:v>
                </c:pt>
                <c:pt idx="130">
                  <c:v>97.833809057879165</c:v>
                </c:pt>
                <c:pt idx="131">
                  <c:v>94.080661604927684</c:v>
                </c:pt>
                <c:pt idx="132">
                  <c:v>93.896887782406921</c:v>
                </c:pt>
                <c:pt idx="133">
                  <c:v>96.497777161778117</c:v>
                </c:pt>
                <c:pt idx="134">
                  <c:v>97.181150795413814</c:v>
                </c:pt>
                <c:pt idx="135">
                  <c:v>96.264134864150989</c:v>
                </c:pt>
                <c:pt idx="136">
                  <c:v>99.663710160772553</c:v>
                </c:pt>
                <c:pt idx="137">
                  <c:v>96.715284799465124</c:v>
                </c:pt>
                <c:pt idx="138">
                  <c:v>96.533857355740281</c:v>
                </c:pt>
                <c:pt idx="139">
                  <c:v>95.596944719412903</c:v>
                </c:pt>
                <c:pt idx="140">
                  <c:v>93.812873350645248</c:v>
                </c:pt>
                <c:pt idx="141">
                  <c:v>89.704678570608166</c:v>
                </c:pt>
                <c:pt idx="142">
                  <c:v>89.155265274345311</c:v>
                </c:pt>
                <c:pt idx="143">
                  <c:v>88.546661067099123</c:v>
                </c:pt>
                <c:pt idx="144">
                  <c:v>88.950277483771927</c:v>
                </c:pt>
                <c:pt idx="145">
                  <c:v>87.059692923216048</c:v>
                </c:pt>
                <c:pt idx="146">
                  <c:v>83.613730438935391</c:v>
                </c:pt>
                <c:pt idx="147">
                  <c:v>81.053366858021249</c:v>
                </c:pt>
                <c:pt idx="148">
                  <c:v>82.132886297797583</c:v>
                </c:pt>
                <c:pt idx="149">
                  <c:v>81.683748253439802</c:v>
                </c:pt>
                <c:pt idx="150">
                  <c:v>81.427508324826078</c:v>
                </c:pt>
                <c:pt idx="151">
                  <c:v>79.257248859038924</c:v>
                </c:pt>
                <c:pt idx="152">
                  <c:v>76.89147936386432</c:v>
                </c:pt>
                <c:pt idx="153">
                  <c:v>77.07787271815792</c:v>
                </c:pt>
                <c:pt idx="154">
                  <c:v>76.630804742016196</c:v>
                </c:pt>
                <c:pt idx="155">
                  <c:v>76.183188884718135</c:v>
                </c:pt>
                <c:pt idx="156">
                  <c:v>76.30981936654041</c:v>
                </c:pt>
                <c:pt idx="157">
                  <c:v>76.947580836126306</c:v>
                </c:pt>
                <c:pt idx="158">
                  <c:v>77.265185140537625</c:v>
                </c:pt>
                <c:pt idx="159">
                  <c:v>77.774904379846276</c:v>
                </c:pt>
                <c:pt idx="160">
                  <c:v>77.171295668488</c:v>
                </c:pt>
                <c:pt idx="161">
                  <c:v>77.336965227561095</c:v>
                </c:pt>
                <c:pt idx="162">
                  <c:v>77.374533110911585</c:v>
                </c:pt>
                <c:pt idx="163">
                  <c:v>77.123446672696858</c:v>
                </c:pt>
                <c:pt idx="164">
                  <c:v>79.34348037716515</c:v>
                </c:pt>
                <c:pt idx="165">
                  <c:v>79.338455063457872</c:v>
                </c:pt>
                <c:pt idx="166">
                  <c:v>79.896875904935158</c:v>
                </c:pt>
                <c:pt idx="167">
                  <c:v>80.197607642715568</c:v>
                </c:pt>
                <c:pt idx="168">
                  <c:v>80.032360481722293</c:v>
                </c:pt>
                <c:pt idx="169">
                  <c:v>78.924853131127691</c:v>
                </c:pt>
                <c:pt idx="170">
                  <c:v>77.639466845041014</c:v>
                </c:pt>
                <c:pt idx="171">
                  <c:v>78.548165139633653</c:v>
                </c:pt>
                <c:pt idx="172">
                  <c:v>78.242392452248595</c:v>
                </c:pt>
                <c:pt idx="173">
                  <c:v>77.512757690111002</c:v>
                </c:pt>
                <c:pt idx="174">
                  <c:v>76.478477845812222</c:v>
                </c:pt>
                <c:pt idx="175">
                  <c:v>75.808037124136391</c:v>
                </c:pt>
                <c:pt idx="176">
                  <c:v>74.1664996969497</c:v>
                </c:pt>
                <c:pt idx="177">
                  <c:v>75.620788542470308</c:v>
                </c:pt>
                <c:pt idx="178">
                  <c:v>74.827902652692018</c:v>
                </c:pt>
                <c:pt idx="179">
                  <c:v>74.8261837120438</c:v>
                </c:pt>
                <c:pt idx="180">
                  <c:v>75.615746867997842</c:v>
                </c:pt>
                <c:pt idx="181">
                  <c:v>73.002361517746422</c:v>
                </c:pt>
                <c:pt idx="182">
                  <c:v>72.197719711126723</c:v>
                </c:pt>
                <c:pt idx="183">
                  <c:v>72.086883530369974</c:v>
                </c:pt>
                <c:pt idx="184">
                  <c:v>70.441484263710038</c:v>
                </c:pt>
                <c:pt idx="185">
                  <c:v>69.036432362808569</c:v>
                </c:pt>
                <c:pt idx="186">
                  <c:v>68.363150509709754</c:v>
                </c:pt>
                <c:pt idx="187">
                  <c:v>68.178904065614461</c:v>
                </c:pt>
                <c:pt idx="188">
                  <c:v>68.84871424254564</c:v>
                </c:pt>
                <c:pt idx="189">
                  <c:v>68.635223994621697</c:v>
                </c:pt>
                <c:pt idx="190">
                  <c:v>69.37675808402507</c:v>
                </c:pt>
                <c:pt idx="191">
                  <c:v>70.329106074080102</c:v>
                </c:pt>
                <c:pt idx="192">
                  <c:v>69.479006650469714</c:v>
                </c:pt>
                <c:pt idx="193">
                  <c:v>67.079008512363231</c:v>
                </c:pt>
                <c:pt idx="194">
                  <c:v>66.911259116267161</c:v>
                </c:pt>
                <c:pt idx="195">
                  <c:v>67.644589239290895</c:v>
                </c:pt>
                <c:pt idx="196">
                  <c:v>68.83989364487816</c:v>
                </c:pt>
                <c:pt idx="197">
                  <c:v>70.904477797879395</c:v>
                </c:pt>
                <c:pt idx="198">
                  <c:v>71.425986484573187</c:v>
                </c:pt>
                <c:pt idx="199">
                  <c:v>70.118922844336367</c:v>
                </c:pt>
                <c:pt idx="200">
                  <c:v>71.067950609311694</c:v>
                </c:pt>
                <c:pt idx="201">
                  <c:v>70.84199241389382</c:v>
                </c:pt>
                <c:pt idx="202">
                  <c:v>71.960652718023184</c:v>
                </c:pt>
                <c:pt idx="203">
                  <c:v>72.014104050411575</c:v>
                </c:pt>
                <c:pt idx="204">
                  <c:v>71.622297532601422</c:v>
                </c:pt>
                <c:pt idx="205">
                  <c:v>72.579609694754865</c:v>
                </c:pt>
                <c:pt idx="206">
                  <c:v>70.351121632727413</c:v>
                </c:pt>
                <c:pt idx="207">
                  <c:v>70.427828333810581</c:v>
                </c:pt>
                <c:pt idx="208">
                  <c:v>69.900144474709137</c:v>
                </c:pt>
                <c:pt idx="209">
                  <c:v>71.096399743490053</c:v>
                </c:pt>
                <c:pt idx="210">
                  <c:v>70.332172014885231</c:v>
                </c:pt>
                <c:pt idx="211">
                  <c:v>70.428374326754138</c:v>
                </c:pt>
                <c:pt idx="212">
                  <c:v>68.998655641732881</c:v>
                </c:pt>
                <c:pt idx="213">
                  <c:v>68.394722806199738</c:v>
                </c:pt>
                <c:pt idx="214">
                  <c:v>67.487418845468753</c:v>
                </c:pt>
                <c:pt idx="215">
                  <c:v>66.129275258248242</c:v>
                </c:pt>
                <c:pt idx="216">
                  <c:v>66.180599745271948</c:v>
                </c:pt>
                <c:pt idx="217">
                  <c:v>65.638016038342244</c:v>
                </c:pt>
                <c:pt idx="218">
                  <c:v>64.877384217453255</c:v>
                </c:pt>
                <c:pt idx="219">
                  <c:v>66.12337578225663</c:v>
                </c:pt>
                <c:pt idx="220">
                  <c:v>65.361161865949626</c:v>
                </c:pt>
                <c:pt idx="221">
                  <c:v>65.467992503404645</c:v>
                </c:pt>
                <c:pt idx="222">
                  <c:v>65.684715242854665</c:v>
                </c:pt>
                <c:pt idx="223">
                  <c:v>66.931759795059349</c:v>
                </c:pt>
                <c:pt idx="224">
                  <c:v>67.2675848354111</c:v>
                </c:pt>
                <c:pt idx="225">
                  <c:v>68.041888803219365</c:v>
                </c:pt>
                <c:pt idx="226">
                  <c:v>67.317523616317914</c:v>
                </c:pt>
                <c:pt idx="227">
                  <c:v>67.867809991104295</c:v>
                </c:pt>
                <c:pt idx="228">
                  <c:v>69.648871811940722</c:v>
                </c:pt>
                <c:pt idx="229">
                  <c:v>69.80982966747743</c:v>
                </c:pt>
                <c:pt idx="230">
                  <c:v>69.454432183865976</c:v>
                </c:pt>
                <c:pt idx="231">
                  <c:v>69.272530178829641</c:v>
                </c:pt>
                <c:pt idx="232">
                  <c:v>69.383411558516912</c:v>
                </c:pt>
                <c:pt idx="233">
                  <c:v>69.883929865025351</c:v>
                </c:pt>
                <c:pt idx="234">
                  <c:v>70.216659504663667</c:v>
                </c:pt>
                <c:pt idx="235">
                  <c:v>69.158781160853238</c:v>
                </c:pt>
                <c:pt idx="236">
                  <c:v>69.267765015439252</c:v>
                </c:pt>
                <c:pt idx="237">
                  <c:v>68.766789027311418</c:v>
                </c:pt>
                <c:pt idx="238">
                  <c:v>68.876970405118556</c:v>
                </c:pt>
                <c:pt idx="239">
                  <c:v>68.709817044488332</c:v>
                </c:pt>
                <c:pt idx="240">
                  <c:v>67.133327934850215</c:v>
                </c:pt>
                <c:pt idx="241">
                  <c:v>66.792255848584674</c:v>
                </c:pt>
                <c:pt idx="242">
                  <c:v>67.459446158860885</c:v>
                </c:pt>
                <c:pt idx="243">
                  <c:v>67.290985521067341</c:v>
                </c:pt>
                <c:pt idx="244">
                  <c:v>66.789692539072476</c:v>
                </c:pt>
                <c:pt idx="245">
                  <c:v>66.232018739365031</c:v>
                </c:pt>
                <c:pt idx="246">
                  <c:v>66.342116128773768</c:v>
                </c:pt>
                <c:pt idx="247">
                  <c:v>67.176712867909274</c:v>
                </c:pt>
                <c:pt idx="248">
                  <c:v>68.45494145616307</c:v>
                </c:pt>
                <c:pt idx="249">
                  <c:v>68.729487026612404</c:v>
                </c:pt>
                <c:pt idx="250">
                  <c:v>68.433901737646863</c:v>
                </c:pt>
                <c:pt idx="251">
                  <c:v>68.758767922447433</c:v>
                </c:pt>
                <c:pt idx="252">
                  <c:v>68.545670422575839</c:v>
                </c:pt>
                <c:pt idx="253">
                  <c:v>70.497620520589663</c:v>
                </c:pt>
                <c:pt idx="254">
                  <c:v>70.549063814355648</c:v>
                </c:pt>
                <c:pt idx="255">
                  <c:v>69.94528843344554</c:v>
                </c:pt>
                <c:pt idx="256">
                  <c:v>70.814109820566728</c:v>
                </c:pt>
                <c:pt idx="257">
                  <c:v>70.509849029464149</c:v>
                </c:pt>
                <c:pt idx="258">
                  <c:v>70.509235414776597</c:v>
                </c:pt>
                <c:pt idx="259">
                  <c:v>69.557162292186206</c:v>
                </c:pt>
                <c:pt idx="260">
                  <c:v>69.163068483278721</c:v>
                </c:pt>
                <c:pt idx="261">
                  <c:v>68.490183621909779</c:v>
                </c:pt>
                <c:pt idx="262">
                  <c:v>70.168772059521416</c:v>
                </c:pt>
                <c:pt idx="263">
                  <c:v>68.932970342270124</c:v>
                </c:pt>
                <c:pt idx="264">
                  <c:v>68.561565216301418</c:v>
                </c:pt>
                <c:pt idx="265">
                  <c:v>67.534499013224391</c:v>
                </c:pt>
                <c:pt idx="266">
                  <c:v>67.090304477051859</c:v>
                </c:pt>
                <c:pt idx="267">
                  <c:v>66.890938186080973</c:v>
                </c:pt>
                <c:pt idx="268">
                  <c:v>66.226213263368209</c:v>
                </c:pt>
                <c:pt idx="269">
                  <c:v>66.335515010117945</c:v>
                </c:pt>
                <c:pt idx="270">
                  <c:v>68.439398983236643</c:v>
                </c:pt>
                <c:pt idx="271">
                  <c:v>71.487082915592367</c:v>
                </c:pt>
                <c:pt idx="272">
                  <c:v>71.593913322313028</c:v>
                </c:pt>
                <c:pt idx="273">
                  <c:v>72.456191724702876</c:v>
                </c:pt>
                <c:pt idx="274">
                  <c:v>65.214183013329944</c:v>
                </c:pt>
                <c:pt idx="275">
                  <c:v>64.250122979398753</c:v>
                </c:pt>
                <c:pt idx="276">
                  <c:v>63.237979595114126</c:v>
                </c:pt>
                <c:pt idx="277">
                  <c:v>59.065325200155378</c:v>
                </c:pt>
                <c:pt idx="278">
                  <c:v>59.541503918761101</c:v>
                </c:pt>
                <c:pt idx="279">
                  <c:v>57.721215325029519</c:v>
                </c:pt>
                <c:pt idx="280">
                  <c:v>60.533871808321678</c:v>
                </c:pt>
                <c:pt idx="281">
                  <c:v>62.492759272542365</c:v>
                </c:pt>
                <c:pt idx="282">
                  <c:v>56.448729060803693</c:v>
                </c:pt>
                <c:pt idx="283">
                  <c:v>56.545845807250757</c:v>
                </c:pt>
                <c:pt idx="284">
                  <c:v>59.177004199954489</c:v>
                </c:pt>
                <c:pt idx="285">
                  <c:v>59.87616344119013</c:v>
                </c:pt>
                <c:pt idx="286">
                  <c:v>61.281835952151134</c:v>
                </c:pt>
                <c:pt idx="287">
                  <c:v>62.46078117933213</c:v>
                </c:pt>
                <c:pt idx="288">
                  <c:v>62.045548471152031</c:v>
                </c:pt>
                <c:pt idx="289">
                  <c:v>61.139995300809048</c:v>
                </c:pt>
                <c:pt idx="290">
                  <c:v>60.388529640065642</c:v>
                </c:pt>
                <c:pt idx="291">
                  <c:v>57.875898526809941</c:v>
                </c:pt>
                <c:pt idx="292">
                  <c:v>49.765074555488582</c:v>
                </c:pt>
                <c:pt idx="293">
                  <c:v>47.738886550942773</c:v>
                </c:pt>
                <c:pt idx="294">
                  <c:v>59.923292457892643</c:v>
                </c:pt>
                <c:pt idx="295">
                  <c:v>58.081599164535916</c:v>
                </c:pt>
                <c:pt idx="296">
                  <c:v>58.053569739752078</c:v>
                </c:pt>
                <c:pt idx="297">
                  <c:v>57.86579283109004</c:v>
                </c:pt>
                <c:pt idx="298">
                  <c:v>57.24154638969047</c:v>
                </c:pt>
                <c:pt idx="299">
                  <c:v>57.315108070686286</c:v>
                </c:pt>
                <c:pt idx="300">
                  <c:v>57.184995360616234</c:v>
                </c:pt>
                <c:pt idx="301">
                  <c:v>57.000638139746506</c:v>
                </c:pt>
                <c:pt idx="302">
                  <c:v>57.48516071635791</c:v>
                </c:pt>
                <c:pt idx="303">
                  <c:v>57.516615162131252</c:v>
                </c:pt>
                <c:pt idx="304">
                  <c:v>56.567072490312974</c:v>
                </c:pt>
                <c:pt idx="305">
                  <c:v>56.511870340282904</c:v>
                </c:pt>
                <c:pt idx="306">
                  <c:v>56.023909224155254</c:v>
                </c:pt>
                <c:pt idx="307">
                  <c:v>57.095336637189014</c:v>
                </c:pt>
                <c:pt idx="308">
                  <c:v>56.709147649043246</c:v>
                </c:pt>
                <c:pt idx="309">
                  <c:v>56.816909859399189</c:v>
                </c:pt>
                <c:pt idx="310">
                  <c:v>56.783248656494131</c:v>
                </c:pt>
                <c:pt idx="311">
                  <c:v>56.590249417042621</c:v>
                </c:pt>
                <c:pt idx="312">
                  <c:v>56.777327255443424</c:v>
                </c:pt>
                <c:pt idx="313">
                  <c:v>57.946940261795305</c:v>
                </c:pt>
                <c:pt idx="314">
                  <c:v>57.880619104954221</c:v>
                </c:pt>
                <c:pt idx="315">
                  <c:v>58.102257121621712</c:v>
                </c:pt>
                <c:pt idx="316">
                  <c:v>58.926914418763594</c:v>
                </c:pt>
                <c:pt idx="317">
                  <c:v>62.065340984697414</c:v>
                </c:pt>
                <c:pt idx="318">
                  <c:v>60.079866366783492</c:v>
                </c:pt>
                <c:pt idx="319">
                  <c:v>59.705817263799496</c:v>
                </c:pt>
                <c:pt idx="320">
                  <c:v>61.75589999745079</c:v>
                </c:pt>
                <c:pt idx="321">
                  <c:v>62.681358739982258</c:v>
                </c:pt>
                <c:pt idx="322">
                  <c:v>62.342048006242095</c:v>
                </c:pt>
                <c:pt idx="323">
                  <c:v>63.10829876219438</c:v>
                </c:pt>
                <c:pt idx="324">
                  <c:v>61.261957488951865</c:v>
                </c:pt>
                <c:pt idx="325">
                  <c:v>61.463317049380322</c:v>
                </c:pt>
                <c:pt idx="326">
                  <c:v>62.828948877481899</c:v>
                </c:pt>
                <c:pt idx="327">
                  <c:v>61.820132291143551</c:v>
                </c:pt>
                <c:pt idx="328">
                  <c:v>61.623213023088219</c:v>
                </c:pt>
                <c:pt idx="329">
                  <c:v>62.075797732026246</c:v>
                </c:pt>
                <c:pt idx="330">
                  <c:v>62.426041538652385</c:v>
                </c:pt>
                <c:pt idx="331">
                  <c:v>62.360312212595048</c:v>
                </c:pt>
                <c:pt idx="332">
                  <c:v>62.344657912272368</c:v>
                </c:pt>
                <c:pt idx="333">
                  <c:v>62.434236977822309</c:v>
                </c:pt>
                <c:pt idx="334">
                  <c:v>62.396136622245443</c:v>
                </c:pt>
                <c:pt idx="335">
                  <c:v>62.105194788940516</c:v>
                </c:pt>
                <c:pt idx="336">
                  <c:v>62.091884599770822</c:v>
                </c:pt>
                <c:pt idx="337">
                  <c:v>58.989757675823078</c:v>
                </c:pt>
                <c:pt idx="338">
                  <c:v>58.521715431805092</c:v>
                </c:pt>
                <c:pt idx="339">
                  <c:v>57.564750560714849</c:v>
                </c:pt>
                <c:pt idx="340">
                  <c:v>56.897671023101296</c:v>
                </c:pt>
                <c:pt idx="341">
                  <c:v>56.5221740943756</c:v>
                </c:pt>
                <c:pt idx="342">
                  <c:v>57.892851827298109</c:v>
                </c:pt>
                <c:pt idx="343">
                  <c:v>57.598844035854235</c:v>
                </c:pt>
                <c:pt idx="344">
                  <c:v>56.268359161774434</c:v>
                </c:pt>
                <c:pt idx="345">
                  <c:v>55.309691522634644</c:v>
                </c:pt>
                <c:pt idx="346">
                  <c:v>56.346499612047587</c:v>
                </c:pt>
                <c:pt idx="347">
                  <c:v>55.928636665455556</c:v>
                </c:pt>
                <c:pt idx="348">
                  <c:v>55.040287090484895</c:v>
                </c:pt>
                <c:pt idx="349">
                  <c:v>53.863846221720586</c:v>
                </c:pt>
                <c:pt idx="350">
                  <c:v>54.027711095724456</c:v>
                </c:pt>
                <c:pt idx="351">
                  <c:v>56.9387676709608</c:v>
                </c:pt>
                <c:pt idx="352">
                  <c:v>57.514302347631634</c:v>
                </c:pt>
                <c:pt idx="353">
                  <c:v>57.804594427432171</c:v>
                </c:pt>
                <c:pt idx="354">
                  <c:v>58.121233583836499</c:v>
                </c:pt>
                <c:pt idx="355">
                  <c:v>62.057025498929725</c:v>
                </c:pt>
                <c:pt idx="356">
                  <c:v>63.064201986745651</c:v>
                </c:pt>
                <c:pt idx="357">
                  <c:v>63.257271644457767</c:v>
                </c:pt>
                <c:pt idx="358">
                  <c:v>63.121579053789638</c:v>
                </c:pt>
                <c:pt idx="359">
                  <c:v>62.537238356942645</c:v>
                </c:pt>
                <c:pt idx="360">
                  <c:v>62.266412349632304</c:v>
                </c:pt>
                <c:pt idx="361">
                  <c:v>61.052833855014576</c:v>
                </c:pt>
                <c:pt idx="362">
                  <c:v>62.712441977081795</c:v>
                </c:pt>
                <c:pt idx="363">
                  <c:v>62.843448847845053</c:v>
                </c:pt>
                <c:pt idx="364">
                  <c:v>60.974736357532834</c:v>
                </c:pt>
                <c:pt idx="365">
                  <c:v>60.460499945471362</c:v>
                </c:pt>
                <c:pt idx="366">
                  <c:v>60.328495741001845</c:v>
                </c:pt>
                <c:pt idx="367">
                  <c:v>60.191387290482183</c:v>
                </c:pt>
                <c:pt idx="368">
                  <c:v>59.825735629969138</c:v>
                </c:pt>
                <c:pt idx="369">
                  <c:v>61.057984977474618</c:v>
                </c:pt>
                <c:pt idx="370">
                  <c:v>61.603230390401976</c:v>
                </c:pt>
                <c:pt idx="371">
                  <c:v>60.360209323181408</c:v>
                </c:pt>
                <c:pt idx="372">
                  <c:v>60.364041932713917</c:v>
                </c:pt>
                <c:pt idx="373">
                  <c:v>59.740328534954919</c:v>
                </c:pt>
                <c:pt idx="374">
                  <c:v>58.54256282372895</c:v>
                </c:pt>
                <c:pt idx="375">
                  <c:v>56.098711572618377</c:v>
                </c:pt>
                <c:pt idx="376">
                  <c:v>55.614906888918682</c:v>
                </c:pt>
                <c:pt idx="377">
                  <c:v>54.369468858950846</c:v>
                </c:pt>
                <c:pt idx="378">
                  <c:v>53.653062954643502</c:v>
                </c:pt>
                <c:pt idx="379">
                  <c:v>52.517996327731019</c:v>
                </c:pt>
                <c:pt idx="380">
                  <c:v>53.103287331685841</c:v>
                </c:pt>
                <c:pt idx="381">
                  <c:v>52.850107093089242</c:v>
                </c:pt>
                <c:pt idx="382">
                  <c:v>52.555709103237973</c:v>
                </c:pt>
                <c:pt idx="383">
                  <c:v>51.547610463725789</c:v>
                </c:pt>
                <c:pt idx="384">
                  <c:v>50.16019826838032</c:v>
                </c:pt>
                <c:pt idx="385">
                  <c:v>49.443657652313398</c:v>
                </c:pt>
                <c:pt idx="386">
                  <c:v>48.224905732386809</c:v>
                </c:pt>
                <c:pt idx="387">
                  <c:v>47.214984484007978</c:v>
                </c:pt>
                <c:pt idx="388">
                  <c:v>47.464627586119597</c:v>
                </c:pt>
                <c:pt idx="389">
                  <c:v>47.631939041588119</c:v>
                </c:pt>
                <c:pt idx="390">
                  <c:v>47.463702019358571</c:v>
                </c:pt>
                <c:pt idx="391">
                  <c:v>48.470522022472309</c:v>
                </c:pt>
                <c:pt idx="392">
                  <c:v>48.887917472711244</c:v>
                </c:pt>
                <c:pt idx="393">
                  <c:v>48.390280749747383</c:v>
                </c:pt>
                <c:pt idx="394">
                  <c:v>48.884982834004802</c:v>
                </c:pt>
                <c:pt idx="395">
                  <c:v>48.856573126409103</c:v>
                </c:pt>
                <c:pt idx="396">
                  <c:v>47.620853491980888</c:v>
                </c:pt>
                <c:pt idx="397">
                  <c:v>47.923681969783424</c:v>
                </c:pt>
                <c:pt idx="398">
                  <c:v>48.245997015541725</c:v>
                </c:pt>
                <c:pt idx="399">
                  <c:v>48.326026567700275</c:v>
                </c:pt>
                <c:pt idx="400">
                  <c:v>47.316533341191104</c:v>
                </c:pt>
                <c:pt idx="401">
                  <c:v>46.910634094545003</c:v>
                </c:pt>
                <c:pt idx="402">
                  <c:v>46.748274177722124</c:v>
                </c:pt>
                <c:pt idx="403">
                  <c:v>47.111245863376162</c:v>
                </c:pt>
                <c:pt idx="404">
                  <c:v>46.141575021986746</c:v>
                </c:pt>
                <c:pt idx="405">
                  <c:v>46.422067894483675</c:v>
                </c:pt>
                <c:pt idx="406">
                  <c:v>46.86547793244582</c:v>
                </c:pt>
                <c:pt idx="407">
                  <c:v>47.227791212180399</c:v>
                </c:pt>
                <c:pt idx="408">
                  <c:v>49.654184320090863</c:v>
                </c:pt>
                <c:pt idx="409">
                  <c:v>50.051749638239123</c:v>
                </c:pt>
                <c:pt idx="410">
                  <c:v>52.224133048548914</c:v>
                </c:pt>
                <c:pt idx="411">
                  <c:v>52.629101388949486</c:v>
                </c:pt>
                <c:pt idx="412">
                  <c:v>53.552641628737952</c:v>
                </c:pt>
                <c:pt idx="413">
                  <c:v>52.80554708318023</c:v>
                </c:pt>
                <c:pt idx="414">
                  <c:v>52.719355932542484</c:v>
                </c:pt>
                <c:pt idx="415">
                  <c:v>52.745696578466223</c:v>
                </c:pt>
                <c:pt idx="416">
                  <c:v>53.997745835705622</c:v>
                </c:pt>
                <c:pt idx="417">
                  <c:v>53.93712740437379</c:v>
                </c:pt>
                <c:pt idx="418">
                  <c:v>56.234235074564253</c:v>
                </c:pt>
                <c:pt idx="419">
                  <c:v>57.276752192926793</c:v>
                </c:pt>
                <c:pt idx="420">
                  <c:v>54.914506713013701</c:v>
                </c:pt>
                <c:pt idx="421">
                  <c:v>53.983460309530948</c:v>
                </c:pt>
                <c:pt idx="422">
                  <c:v>54.757043004212612</c:v>
                </c:pt>
                <c:pt idx="423">
                  <c:v>54.884559380806898</c:v>
                </c:pt>
                <c:pt idx="424">
                  <c:v>53.376456790934547</c:v>
                </c:pt>
                <c:pt idx="425">
                  <c:v>53.20090786680867</c:v>
                </c:pt>
                <c:pt idx="426">
                  <c:v>53.588229490496232</c:v>
                </c:pt>
                <c:pt idx="427">
                  <c:v>54.362762113503834</c:v>
                </c:pt>
                <c:pt idx="428">
                  <c:v>52.853347947746187</c:v>
                </c:pt>
                <c:pt idx="429">
                  <c:v>52.320339156395676</c:v>
                </c:pt>
                <c:pt idx="430">
                  <c:v>52.829318674948169</c:v>
                </c:pt>
                <c:pt idx="431">
                  <c:v>53.742127831698156</c:v>
                </c:pt>
                <c:pt idx="432">
                  <c:v>53.346838520600151</c:v>
                </c:pt>
                <c:pt idx="433">
                  <c:v>53.143502745450597</c:v>
                </c:pt>
                <c:pt idx="434">
                  <c:v>53.628398745405164</c:v>
                </c:pt>
                <c:pt idx="435">
                  <c:v>53.296064193856786</c:v>
                </c:pt>
                <c:pt idx="436">
                  <c:v>53.235529707657442</c:v>
                </c:pt>
                <c:pt idx="437">
                  <c:v>53.140221647932037</c:v>
                </c:pt>
                <c:pt idx="438">
                  <c:v>52.845007273038043</c:v>
                </c:pt>
                <c:pt idx="439">
                  <c:v>51.917412484068677</c:v>
                </c:pt>
                <c:pt idx="440">
                  <c:v>51.137147978345304</c:v>
                </c:pt>
                <c:pt idx="441">
                  <c:v>51.178442634827412</c:v>
                </c:pt>
                <c:pt idx="442">
                  <c:v>51.822913312742592</c:v>
                </c:pt>
                <c:pt idx="443">
                  <c:v>50.231554792466298</c:v>
                </c:pt>
                <c:pt idx="444">
                  <c:v>50.915678354665516</c:v>
                </c:pt>
                <c:pt idx="445">
                  <c:v>49.281404609771528</c:v>
                </c:pt>
                <c:pt idx="446">
                  <c:v>48.633445153589363</c:v>
                </c:pt>
                <c:pt idx="447">
                  <c:v>50.823131714395778</c:v>
                </c:pt>
                <c:pt idx="448">
                  <c:v>51.032901239939193</c:v>
                </c:pt>
                <c:pt idx="449">
                  <c:v>50.917153397712276</c:v>
                </c:pt>
                <c:pt idx="450">
                  <c:v>51.104681207205459</c:v>
                </c:pt>
                <c:pt idx="451">
                  <c:v>51.139662617239601</c:v>
                </c:pt>
                <c:pt idx="452">
                  <c:v>50.648036202302436</c:v>
                </c:pt>
                <c:pt idx="453">
                  <c:v>50.418628664246157</c:v>
                </c:pt>
                <c:pt idx="454">
                  <c:v>50.192094817633674</c:v>
                </c:pt>
                <c:pt idx="455">
                  <c:v>50.191700446129865</c:v>
                </c:pt>
                <c:pt idx="456">
                  <c:v>49.247235023481672</c:v>
                </c:pt>
                <c:pt idx="457">
                  <c:v>49.515043561917793</c:v>
                </c:pt>
                <c:pt idx="458">
                  <c:v>50.465863255561992</c:v>
                </c:pt>
                <c:pt idx="459">
                  <c:v>51.373768860554229</c:v>
                </c:pt>
                <c:pt idx="460">
                  <c:v>50.561614745720966</c:v>
                </c:pt>
                <c:pt idx="461">
                  <c:v>51.923550106080377</c:v>
                </c:pt>
                <c:pt idx="462">
                  <c:v>51.381125918348083</c:v>
                </c:pt>
                <c:pt idx="463">
                  <c:v>51.415359486537284</c:v>
                </c:pt>
                <c:pt idx="464">
                  <c:v>50.570199474698015</c:v>
                </c:pt>
                <c:pt idx="465">
                  <c:v>49.990173481847677</c:v>
                </c:pt>
                <c:pt idx="466">
                  <c:v>49.588638316574581</c:v>
                </c:pt>
                <c:pt idx="467">
                  <c:v>51.544625313074285</c:v>
                </c:pt>
                <c:pt idx="468">
                  <c:v>50.873052000200289</c:v>
                </c:pt>
                <c:pt idx="469">
                  <c:v>58.136558636047305</c:v>
                </c:pt>
                <c:pt idx="470">
                  <c:v>53.086185834596328</c:v>
                </c:pt>
                <c:pt idx="471">
                  <c:v>50.270419221993883</c:v>
                </c:pt>
                <c:pt idx="472">
                  <c:v>47.592542541116046</c:v>
                </c:pt>
                <c:pt idx="473">
                  <c:v>44.986453305859222</c:v>
                </c:pt>
                <c:pt idx="474">
                  <c:v>48.098133639172147</c:v>
                </c:pt>
                <c:pt idx="475">
                  <c:v>50.202890793582931</c:v>
                </c:pt>
                <c:pt idx="476">
                  <c:v>51.465003598999907</c:v>
                </c:pt>
                <c:pt idx="477">
                  <c:v>51.571111657445627</c:v>
                </c:pt>
                <c:pt idx="478">
                  <c:v>51.433311650925098</c:v>
                </c:pt>
                <c:pt idx="479">
                  <c:v>53.025153354662905</c:v>
                </c:pt>
                <c:pt idx="480">
                  <c:v>53.671690292298976</c:v>
                </c:pt>
                <c:pt idx="481">
                  <c:v>53.930560116869792</c:v>
                </c:pt>
                <c:pt idx="482">
                  <c:v>53.440676663851484</c:v>
                </c:pt>
                <c:pt idx="483">
                  <c:v>53.929812684332305</c:v>
                </c:pt>
                <c:pt idx="484">
                  <c:v>54.399365880703385</c:v>
                </c:pt>
                <c:pt idx="485">
                  <c:v>54.64783557769546</c:v>
                </c:pt>
                <c:pt idx="486">
                  <c:v>54.650823380680414</c:v>
                </c:pt>
                <c:pt idx="487">
                  <c:v>54.583937805473276</c:v>
                </c:pt>
                <c:pt idx="488">
                  <c:v>54.635785426957831</c:v>
                </c:pt>
                <c:pt idx="489">
                  <c:v>55.254255367763442</c:v>
                </c:pt>
                <c:pt idx="490">
                  <c:v>56.100514133737519</c:v>
                </c:pt>
                <c:pt idx="491">
                  <c:v>56.003591521825449</c:v>
                </c:pt>
                <c:pt idx="492">
                  <c:v>56.059570886830819</c:v>
                </c:pt>
                <c:pt idx="493">
                  <c:v>55.85740277198429</c:v>
                </c:pt>
                <c:pt idx="494">
                  <c:v>56.590003126951757</c:v>
                </c:pt>
                <c:pt idx="495">
                  <c:v>57.185669648120964</c:v>
                </c:pt>
                <c:pt idx="496">
                  <c:v>57.146269363954183</c:v>
                </c:pt>
                <c:pt idx="497">
                  <c:v>56.868036347461228</c:v>
                </c:pt>
                <c:pt idx="498">
                  <c:v>55.936259166790286</c:v>
                </c:pt>
                <c:pt idx="499">
                  <c:v>57.251507376394329</c:v>
                </c:pt>
                <c:pt idx="500">
                  <c:v>55.573208499682472</c:v>
                </c:pt>
                <c:pt idx="501">
                  <c:v>55.035774844430868</c:v>
                </c:pt>
                <c:pt idx="502">
                  <c:v>52.578778311622301</c:v>
                </c:pt>
                <c:pt idx="503">
                  <c:v>53.262823622325051</c:v>
                </c:pt>
                <c:pt idx="504">
                  <c:v>53.220750964469751</c:v>
                </c:pt>
                <c:pt idx="505">
                  <c:v>52.774793320266674</c:v>
                </c:pt>
                <c:pt idx="506">
                  <c:v>52.811597143444793</c:v>
                </c:pt>
                <c:pt idx="507">
                  <c:v>53.578282423219157</c:v>
                </c:pt>
                <c:pt idx="508">
                  <c:v>53.53149026420418</c:v>
                </c:pt>
                <c:pt idx="509">
                  <c:v>53.326238388945022</c:v>
                </c:pt>
                <c:pt idx="510">
                  <c:v>53.329563969616096</c:v>
                </c:pt>
                <c:pt idx="511">
                  <c:v>53.223679581050646</c:v>
                </c:pt>
                <c:pt idx="512">
                  <c:v>53.404306207358879</c:v>
                </c:pt>
                <c:pt idx="513">
                  <c:v>53.41027691542471</c:v>
                </c:pt>
                <c:pt idx="514">
                  <c:v>54.146063360818538</c:v>
                </c:pt>
                <c:pt idx="515">
                  <c:v>54.404207755672566</c:v>
                </c:pt>
                <c:pt idx="516">
                  <c:v>54.315615935424006</c:v>
                </c:pt>
                <c:pt idx="517">
                  <c:v>54.398409836510211</c:v>
                </c:pt>
                <c:pt idx="518">
                  <c:v>54.458554728331031</c:v>
                </c:pt>
                <c:pt idx="519">
                  <c:v>54.62696710514706</c:v>
                </c:pt>
                <c:pt idx="520">
                  <c:v>53.420471085586577</c:v>
                </c:pt>
                <c:pt idx="521">
                  <c:v>52.244806106023987</c:v>
                </c:pt>
                <c:pt idx="522">
                  <c:v>51.368354077618967</c:v>
                </c:pt>
                <c:pt idx="523">
                  <c:v>51.314839472626623</c:v>
                </c:pt>
                <c:pt idx="524">
                  <c:v>51.554145761543694</c:v>
                </c:pt>
                <c:pt idx="525">
                  <c:v>51.16303758357693</c:v>
                </c:pt>
                <c:pt idx="526">
                  <c:v>51.141355497701646</c:v>
                </c:pt>
                <c:pt idx="527">
                  <c:v>51.619622803983354</c:v>
                </c:pt>
                <c:pt idx="528">
                  <c:v>51.539649151741877</c:v>
                </c:pt>
                <c:pt idx="529">
                  <c:v>51.270673002679992</c:v>
                </c:pt>
                <c:pt idx="530">
                  <c:v>52.948131444760733</c:v>
                </c:pt>
                <c:pt idx="531">
                  <c:v>52.049421457984579</c:v>
                </c:pt>
                <c:pt idx="532">
                  <c:v>52.307040557188074</c:v>
                </c:pt>
                <c:pt idx="533">
                  <c:v>51.890524126607986</c:v>
                </c:pt>
                <c:pt idx="534">
                  <c:v>51.845559254851992</c:v>
                </c:pt>
                <c:pt idx="535">
                  <c:v>51.232647688409379</c:v>
                </c:pt>
                <c:pt idx="536">
                  <c:v>51.842596195398052</c:v>
                </c:pt>
                <c:pt idx="537">
                  <c:v>52.376090763267264</c:v>
                </c:pt>
                <c:pt idx="538">
                  <c:v>54.743476969721357</c:v>
                </c:pt>
                <c:pt idx="539">
                  <c:v>55.591251290649772</c:v>
                </c:pt>
                <c:pt idx="540">
                  <c:v>58.046683150091404</c:v>
                </c:pt>
                <c:pt idx="541">
                  <c:v>59.541917902780334</c:v>
                </c:pt>
                <c:pt idx="542">
                  <c:v>56.255413418182172</c:v>
                </c:pt>
                <c:pt idx="543">
                  <c:v>58.861745101756767</c:v>
                </c:pt>
                <c:pt idx="544">
                  <c:v>62.519655886915523</c:v>
                </c:pt>
                <c:pt idx="545">
                  <c:v>62.945376719427571</c:v>
                </c:pt>
                <c:pt idx="546">
                  <c:v>62.934758273183448</c:v>
                </c:pt>
                <c:pt idx="547">
                  <c:v>61.59653248925153</c:v>
                </c:pt>
                <c:pt idx="548">
                  <c:v>65.286040200891122</c:v>
                </c:pt>
                <c:pt idx="549">
                  <c:v>65.451177717020769</c:v>
                </c:pt>
                <c:pt idx="550">
                  <c:v>66.113203247633678</c:v>
                </c:pt>
                <c:pt idx="551">
                  <c:v>66.125782884445414</c:v>
                </c:pt>
                <c:pt idx="552">
                  <c:v>64.245774355647924</c:v>
                </c:pt>
                <c:pt idx="553">
                  <c:v>67.525545666993196</c:v>
                </c:pt>
                <c:pt idx="554">
                  <c:v>67.752173329073784</c:v>
                </c:pt>
                <c:pt idx="555">
                  <c:v>66.608016221253422</c:v>
                </c:pt>
                <c:pt idx="556">
                  <c:v>67.067791275313027</c:v>
                </c:pt>
                <c:pt idx="557">
                  <c:v>67.732966999881938</c:v>
                </c:pt>
                <c:pt idx="558">
                  <c:v>67.559223934423741</c:v>
                </c:pt>
                <c:pt idx="559">
                  <c:v>67.224978046781729</c:v>
                </c:pt>
                <c:pt idx="560">
                  <c:v>67.261036791748026</c:v>
                </c:pt>
                <c:pt idx="561">
                  <c:v>70.11689457889301</c:v>
                </c:pt>
                <c:pt idx="562">
                  <c:v>69.366058498647661</c:v>
                </c:pt>
                <c:pt idx="563">
                  <c:v>71.866719294562543</c:v>
                </c:pt>
                <c:pt idx="564">
                  <c:v>71.650435391085367</c:v>
                </c:pt>
                <c:pt idx="565">
                  <c:v>71.788694161251399</c:v>
                </c:pt>
                <c:pt idx="566">
                  <c:v>71.937012036658743</c:v>
                </c:pt>
                <c:pt idx="567">
                  <c:v>71.827404071582009</c:v>
                </c:pt>
                <c:pt idx="568">
                  <c:v>71.939488260509634</c:v>
                </c:pt>
                <c:pt idx="569">
                  <c:v>70.411054046220002</c:v>
                </c:pt>
                <c:pt idx="570">
                  <c:v>70.660573546036062</c:v>
                </c:pt>
                <c:pt idx="571">
                  <c:v>68.387924910575791</c:v>
                </c:pt>
                <c:pt idx="572">
                  <c:v>68.57460405112576</c:v>
                </c:pt>
                <c:pt idx="573">
                  <c:v>63.575895446481574</c:v>
                </c:pt>
                <c:pt idx="574">
                  <c:v>61.268307665323611</c:v>
                </c:pt>
                <c:pt idx="575">
                  <c:v>63.186654689772695</c:v>
                </c:pt>
                <c:pt idx="576">
                  <c:v>59.671922884430856</c:v>
                </c:pt>
                <c:pt idx="577">
                  <c:v>55.942406441844156</c:v>
                </c:pt>
                <c:pt idx="578">
                  <c:v>58.475233546618163</c:v>
                </c:pt>
                <c:pt idx="579">
                  <c:v>53.411462309398345</c:v>
                </c:pt>
                <c:pt idx="580">
                  <c:v>54.653315574503189</c:v>
                </c:pt>
                <c:pt idx="581">
                  <c:v>58.041579996370672</c:v>
                </c:pt>
                <c:pt idx="582">
                  <c:v>59.575077242547145</c:v>
                </c:pt>
                <c:pt idx="583">
                  <c:v>58.196200999531811</c:v>
                </c:pt>
                <c:pt idx="584">
                  <c:v>61.949044387619608</c:v>
                </c:pt>
                <c:pt idx="585">
                  <c:v>63.938925182735318</c:v>
                </c:pt>
                <c:pt idx="586">
                  <c:v>61.859653415956323</c:v>
                </c:pt>
                <c:pt idx="587">
                  <c:v>57.85380880061139</c:v>
                </c:pt>
                <c:pt idx="588">
                  <c:v>54.429794419204789</c:v>
                </c:pt>
                <c:pt idx="589">
                  <c:v>55.987232157864966</c:v>
                </c:pt>
                <c:pt idx="590">
                  <c:v>60.256245752033657</c:v>
                </c:pt>
                <c:pt idx="591">
                  <c:v>61.576477744899037</c:v>
                </c:pt>
                <c:pt idx="592">
                  <c:v>62.425763154694344</c:v>
                </c:pt>
                <c:pt idx="593">
                  <c:v>62.336497500902986</c:v>
                </c:pt>
                <c:pt idx="594">
                  <c:v>61.532359612192266</c:v>
                </c:pt>
                <c:pt idx="595">
                  <c:v>62.409813733537732</c:v>
                </c:pt>
                <c:pt idx="596">
                  <c:v>64.772873936682473</c:v>
                </c:pt>
                <c:pt idx="597">
                  <c:v>64.156202273292152</c:v>
                </c:pt>
                <c:pt idx="598">
                  <c:v>63.970520964061201</c:v>
                </c:pt>
                <c:pt idx="599">
                  <c:v>63.918143157550318</c:v>
                </c:pt>
                <c:pt idx="600">
                  <c:v>64.165970021679286</c:v>
                </c:pt>
                <c:pt idx="601">
                  <c:v>64.149262417669604</c:v>
                </c:pt>
                <c:pt idx="602">
                  <c:v>64.037179508836914</c:v>
                </c:pt>
                <c:pt idx="603">
                  <c:v>63.294254926661118</c:v>
                </c:pt>
                <c:pt idx="604">
                  <c:v>63.132470473133701</c:v>
                </c:pt>
                <c:pt idx="605">
                  <c:v>65.167705914846707</c:v>
                </c:pt>
                <c:pt idx="606">
                  <c:v>65.274077661202014</c:v>
                </c:pt>
                <c:pt idx="607">
                  <c:v>65.204168748331526</c:v>
                </c:pt>
                <c:pt idx="608">
                  <c:v>65.193669031593686</c:v>
                </c:pt>
                <c:pt idx="609">
                  <c:v>65.02824954988543</c:v>
                </c:pt>
                <c:pt idx="610">
                  <c:v>65.829690188532481</c:v>
                </c:pt>
                <c:pt idx="611">
                  <c:v>66.552213964093966</c:v>
                </c:pt>
                <c:pt idx="612">
                  <c:v>67.163863333705748</c:v>
                </c:pt>
                <c:pt idx="613">
                  <c:v>64.099044871430365</c:v>
                </c:pt>
                <c:pt idx="614">
                  <c:v>63.576458684519508</c:v>
                </c:pt>
                <c:pt idx="615">
                  <c:v>64.123682721492543</c:v>
                </c:pt>
                <c:pt idx="616">
                  <c:v>61.380764262706101</c:v>
                </c:pt>
                <c:pt idx="617">
                  <c:v>60.469052534539138</c:v>
                </c:pt>
                <c:pt idx="618">
                  <c:v>61.100453088023961</c:v>
                </c:pt>
                <c:pt idx="619">
                  <c:v>59.516606148114334</c:v>
                </c:pt>
                <c:pt idx="620">
                  <c:v>60.771209672267823</c:v>
                </c:pt>
                <c:pt idx="621">
                  <c:v>61.225544320063875</c:v>
                </c:pt>
                <c:pt idx="622">
                  <c:v>61.342280241565383</c:v>
                </c:pt>
                <c:pt idx="623">
                  <c:v>60.652573097951638</c:v>
                </c:pt>
                <c:pt idx="624">
                  <c:v>60.574456861595259</c:v>
                </c:pt>
                <c:pt idx="625">
                  <c:v>57.580831272382646</c:v>
                </c:pt>
                <c:pt idx="626">
                  <c:v>57.943631502603374</c:v>
                </c:pt>
                <c:pt idx="627">
                  <c:v>61.960383253044469</c:v>
                </c:pt>
                <c:pt idx="628">
                  <c:v>61.034187626832029</c:v>
                </c:pt>
                <c:pt idx="629">
                  <c:v>60.56031583057802</c:v>
                </c:pt>
                <c:pt idx="630">
                  <c:v>60.678463724215355</c:v>
                </c:pt>
                <c:pt idx="631">
                  <c:v>60.951183631705575</c:v>
                </c:pt>
                <c:pt idx="632">
                  <c:v>60.820408178479774</c:v>
                </c:pt>
                <c:pt idx="633">
                  <c:v>56.638695978981509</c:v>
                </c:pt>
                <c:pt idx="634">
                  <c:v>57.30858854939239</c:v>
                </c:pt>
                <c:pt idx="635">
                  <c:v>59.1341616704782</c:v>
                </c:pt>
                <c:pt idx="636">
                  <c:v>57.895764177028916</c:v>
                </c:pt>
                <c:pt idx="637">
                  <c:v>58.339041176293001</c:v>
                </c:pt>
                <c:pt idx="638">
                  <c:v>60.21494676388302</c:v>
                </c:pt>
                <c:pt idx="639">
                  <c:v>60.586572468925596</c:v>
                </c:pt>
                <c:pt idx="640">
                  <c:v>61.644816495883681</c:v>
                </c:pt>
                <c:pt idx="641">
                  <c:v>56.385775293394239</c:v>
                </c:pt>
                <c:pt idx="642">
                  <c:v>59.668444991718857</c:v>
                </c:pt>
                <c:pt idx="643">
                  <c:v>61.327229879558104</c:v>
                </c:pt>
                <c:pt idx="644">
                  <c:v>60.245950961616188</c:v>
                </c:pt>
                <c:pt idx="645">
                  <c:v>62.432880534403147</c:v>
                </c:pt>
                <c:pt idx="646">
                  <c:v>55.900222475024059</c:v>
                </c:pt>
                <c:pt idx="647">
                  <c:v>55.807704074291181</c:v>
                </c:pt>
                <c:pt idx="648">
                  <c:v>52.25830143708675</c:v>
                </c:pt>
                <c:pt idx="649">
                  <c:v>51.091521858983832</c:v>
                </c:pt>
                <c:pt idx="650">
                  <c:v>56.60703445169522</c:v>
                </c:pt>
                <c:pt idx="651">
                  <c:v>55.100883058457185</c:v>
                </c:pt>
                <c:pt idx="652">
                  <c:v>54.202124300295729</c:v>
                </c:pt>
                <c:pt idx="653">
                  <c:v>54.278879825998359</c:v>
                </c:pt>
                <c:pt idx="654">
                  <c:v>53.793006675605206</c:v>
                </c:pt>
                <c:pt idx="655">
                  <c:v>54.284801858854493</c:v>
                </c:pt>
                <c:pt idx="656">
                  <c:v>53.810864604395498</c:v>
                </c:pt>
                <c:pt idx="657">
                  <c:v>53.907446256111548</c:v>
                </c:pt>
                <c:pt idx="658">
                  <c:v>53.463592344549518</c:v>
                </c:pt>
                <c:pt idx="659">
                  <c:v>53.474333358200035</c:v>
                </c:pt>
                <c:pt idx="660">
                  <c:v>54.437360721188853</c:v>
                </c:pt>
                <c:pt idx="661">
                  <c:v>54.355690026994978</c:v>
                </c:pt>
                <c:pt idx="662">
                  <c:v>53.797508339213138</c:v>
                </c:pt>
                <c:pt idx="663">
                  <c:v>53.865690593719044</c:v>
                </c:pt>
                <c:pt idx="664">
                  <c:v>54.083378559736488</c:v>
                </c:pt>
                <c:pt idx="665">
                  <c:v>52.512441515443712</c:v>
                </c:pt>
                <c:pt idx="666">
                  <c:v>51.35386944026159</c:v>
                </c:pt>
                <c:pt idx="667">
                  <c:v>51.856480347920922</c:v>
                </c:pt>
                <c:pt idx="668">
                  <c:v>50.203553075709706</c:v>
                </c:pt>
                <c:pt idx="669">
                  <c:v>54.069153484021541</c:v>
                </c:pt>
                <c:pt idx="670">
                  <c:v>52.337889646771977</c:v>
                </c:pt>
                <c:pt idx="671">
                  <c:v>52.187079682034181</c:v>
                </c:pt>
                <c:pt idx="672">
                  <c:v>52.961677716086214</c:v>
                </c:pt>
                <c:pt idx="673">
                  <c:v>53.739452090958203</c:v>
                </c:pt>
                <c:pt idx="674">
                  <c:v>53.755109135577094</c:v>
                </c:pt>
                <c:pt idx="675">
                  <c:v>53.888357500234839</c:v>
                </c:pt>
                <c:pt idx="676">
                  <c:v>53.926161203300303</c:v>
                </c:pt>
                <c:pt idx="677">
                  <c:v>54.184829497850465</c:v>
                </c:pt>
                <c:pt idx="678">
                  <c:v>54.016439501453526</c:v>
                </c:pt>
                <c:pt idx="679">
                  <c:v>53.111354150116277</c:v>
                </c:pt>
                <c:pt idx="680">
                  <c:v>54.768571105171837</c:v>
                </c:pt>
                <c:pt idx="681">
                  <c:v>54.981693300682622</c:v>
                </c:pt>
                <c:pt idx="682">
                  <c:v>55.620952371379119</c:v>
                </c:pt>
                <c:pt idx="683">
                  <c:v>56.84845093289902</c:v>
                </c:pt>
                <c:pt idx="684">
                  <c:v>56.475587463950795</c:v>
                </c:pt>
                <c:pt idx="685">
                  <c:v>54.976544211016275</c:v>
                </c:pt>
                <c:pt idx="686">
                  <c:v>55.170724138807252</c:v>
                </c:pt>
                <c:pt idx="687">
                  <c:v>51.823260952705027</c:v>
                </c:pt>
                <c:pt idx="688">
                  <c:v>52.995918367648891</c:v>
                </c:pt>
                <c:pt idx="689">
                  <c:v>54.727834137704853</c:v>
                </c:pt>
                <c:pt idx="690">
                  <c:v>52.091669506569509</c:v>
                </c:pt>
                <c:pt idx="691">
                  <c:v>52.360115800557132</c:v>
                </c:pt>
                <c:pt idx="692">
                  <c:v>51.97234928477495</c:v>
                </c:pt>
                <c:pt idx="693">
                  <c:v>51.805743511023365</c:v>
                </c:pt>
                <c:pt idx="694">
                  <c:v>52.119203581219793</c:v>
                </c:pt>
                <c:pt idx="695">
                  <c:v>52.270714144227256</c:v>
                </c:pt>
                <c:pt idx="696">
                  <c:v>51.174935672190507</c:v>
                </c:pt>
                <c:pt idx="697">
                  <c:v>53.627387874703331</c:v>
                </c:pt>
                <c:pt idx="698">
                  <c:v>53.56078839684335</c:v>
                </c:pt>
                <c:pt idx="699">
                  <c:v>53.302053923011655</c:v>
                </c:pt>
                <c:pt idx="700">
                  <c:v>53.591288659133902</c:v>
                </c:pt>
                <c:pt idx="701">
                  <c:v>53.51317192650167</c:v>
                </c:pt>
                <c:pt idx="702">
                  <c:v>53.437726525127509</c:v>
                </c:pt>
                <c:pt idx="703">
                  <c:v>53.312334664855982</c:v>
                </c:pt>
                <c:pt idx="704">
                  <c:v>52.890909694867915</c:v>
                </c:pt>
                <c:pt idx="705">
                  <c:v>54.208897509609102</c:v>
                </c:pt>
                <c:pt idx="706">
                  <c:v>57.501096718501039</c:v>
                </c:pt>
                <c:pt idx="707">
                  <c:v>58.001858590344504</c:v>
                </c:pt>
                <c:pt idx="708">
                  <c:v>58.881618488377796</c:v>
                </c:pt>
                <c:pt idx="709">
                  <c:v>57.22299896398664</c:v>
                </c:pt>
                <c:pt idx="710">
                  <c:v>58.495537087271174</c:v>
                </c:pt>
                <c:pt idx="711">
                  <c:v>59.027046935388448</c:v>
                </c:pt>
                <c:pt idx="712">
                  <c:v>60.674722785686463</c:v>
                </c:pt>
                <c:pt idx="713">
                  <c:v>60.172274214168787</c:v>
                </c:pt>
                <c:pt idx="714">
                  <c:v>59.820014010860859</c:v>
                </c:pt>
                <c:pt idx="715">
                  <c:v>59.671301154003523</c:v>
                </c:pt>
                <c:pt idx="716">
                  <c:v>59.289147920788146</c:v>
                </c:pt>
                <c:pt idx="717">
                  <c:v>59.192425339561879</c:v>
                </c:pt>
                <c:pt idx="718">
                  <c:v>57.911556125633126</c:v>
                </c:pt>
                <c:pt idx="719">
                  <c:v>56.27879833380333</c:v>
                </c:pt>
                <c:pt idx="720">
                  <c:v>55.204220176340826</c:v>
                </c:pt>
                <c:pt idx="721">
                  <c:v>55.597722681746809</c:v>
                </c:pt>
                <c:pt idx="722">
                  <c:v>57.226596394204421</c:v>
                </c:pt>
                <c:pt idx="723">
                  <c:v>60.761735073317766</c:v>
                </c:pt>
                <c:pt idx="724">
                  <c:v>60.779530623836962</c:v>
                </c:pt>
                <c:pt idx="725">
                  <c:v>61.589785753358825</c:v>
                </c:pt>
                <c:pt idx="726">
                  <c:v>63.718723636925084</c:v>
                </c:pt>
                <c:pt idx="727">
                  <c:v>58.98973442879354</c:v>
                </c:pt>
                <c:pt idx="728">
                  <c:v>58.888111926728932</c:v>
                </c:pt>
                <c:pt idx="729">
                  <c:v>56.899680413847499</c:v>
                </c:pt>
                <c:pt idx="730">
                  <c:v>60.258490719411938</c:v>
                </c:pt>
                <c:pt idx="731">
                  <c:v>58.935170836347673</c:v>
                </c:pt>
                <c:pt idx="732">
                  <c:v>58.796797325222322</c:v>
                </c:pt>
                <c:pt idx="733">
                  <c:v>57.198955687806816</c:v>
                </c:pt>
                <c:pt idx="734">
                  <c:v>57.166358295459915</c:v>
                </c:pt>
                <c:pt idx="735">
                  <c:v>61.773390948619273</c:v>
                </c:pt>
                <c:pt idx="736">
                  <c:v>58.909357378960664</c:v>
                </c:pt>
                <c:pt idx="737">
                  <c:v>58.224426142623891</c:v>
                </c:pt>
                <c:pt idx="738">
                  <c:v>58.224609922732427</c:v>
                </c:pt>
                <c:pt idx="739">
                  <c:v>58.183536597078501</c:v>
                </c:pt>
                <c:pt idx="740">
                  <c:v>58.840784715807835</c:v>
                </c:pt>
                <c:pt idx="741">
                  <c:v>58.53660230774647</c:v>
                </c:pt>
                <c:pt idx="742">
                  <c:v>58.485226794708041</c:v>
                </c:pt>
                <c:pt idx="743">
                  <c:v>58.13031238615558</c:v>
                </c:pt>
                <c:pt idx="744">
                  <c:v>56.944278111736089</c:v>
                </c:pt>
                <c:pt idx="745">
                  <c:v>57.714658197057503</c:v>
                </c:pt>
                <c:pt idx="746">
                  <c:v>56.790259526611116</c:v>
                </c:pt>
                <c:pt idx="747">
                  <c:v>56.151909868293508</c:v>
                </c:pt>
                <c:pt idx="748">
                  <c:v>54.074892137613823</c:v>
                </c:pt>
                <c:pt idx="749">
                  <c:v>54.08549637299982</c:v>
                </c:pt>
                <c:pt idx="750">
                  <c:v>55.518637370429772</c:v>
                </c:pt>
                <c:pt idx="751">
                  <c:v>53.682795106496755</c:v>
                </c:pt>
                <c:pt idx="752">
                  <c:v>54.706745646767317</c:v>
                </c:pt>
                <c:pt idx="753">
                  <c:v>54.457991317891334</c:v>
                </c:pt>
                <c:pt idx="754">
                  <c:v>54.051538492907603</c:v>
                </c:pt>
                <c:pt idx="755">
                  <c:v>53.342797884533738</c:v>
                </c:pt>
                <c:pt idx="756">
                  <c:v>53.389791618195638</c:v>
                </c:pt>
                <c:pt idx="757">
                  <c:v>51.408032052725503</c:v>
                </c:pt>
                <c:pt idx="758">
                  <c:v>50.755563982027859</c:v>
                </c:pt>
                <c:pt idx="759">
                  <c:v>51.170944748453067</c:v>
                </c:pt>
                <c:pt idx="760">
                  <c:v>50.614319271438468</c:v>
                </c:pt>
                <c:pt idx="761">
                  <c:v>49.154414132225838</c:v>
                </c:pt>
                <c:pt idx="762">
                  <c:v>47.901022700194339</c:v>
                </c:pt>
                <c:pt idx="763">
                  <c:v>47.551066754795912</c:v>
                </c:pt>
                <c:pt idx="764">
                  <c:v>48.175368356754568</c:v>
                </c:pt>
                <c:pt idx="765">
                  <c:v>49.169429523792097</c:v>
                </c:pt>
                <c:pt idx="766">
                  <c:v>45.972572731294456</c:v>
                </c:pt>
                <c:pt idx="767">
                  <c:v>45.679432731063194</c:v>
                </c:pt>
                <c:pt idx="768">
                  <c:v>45.703240068624488</c:v>
                </c:pt>
                <c:pt idx="769">
                  <c:v>43.683693404182797</c:v>
                </c:pt>
                <c:pt idx="770">
                  <c:v>45.722045131369512</c:v>
                </c:pt>
                <c:pt idx="771">
                  <c:v>45.64771237778163</c:v>
                </c:pt>
                <c:pt idx="772">
                  <c:v>45.871827842051623</c:v>
                </c:pt>
                <c:pt idx="773">
                  <c:v>44.753977268115378</c:v>
                </c:pt>
                <c:pt idx="774">
                  <c:v>44.615934466128927</c:v>
                </c:pt>
                <c:pt idx="775">
                  <c:v>43.581652556296781</c:v>
                </c:pt>
                <c:pt idx="776">
                  <c:v>41.507689757830036</c:v>
                </c:pt>
                <c:pt idx="777">
                  <c:v>42.046204746245252</c:v>
                </c:pt>
                <c:pt idx="778">
                  <c:v>41.251672854386072</c:v>
                </c:pt>
                <c:pt idx="779">
                  <c:v>43.462853042699095</c:v>
                </c:pt>
                <c:pt idx="780">
                  <c:v>46.21329199442944</c:v>
                </c:pt>
                <c:pt idx="781">
                  <c:v>45.791225153718074</c:v>
                </c:pt>
                <c:pt idx="782">
                  <c:v>44.631986088385389</c:v>
                </c:pt>
                <c:pt idx="783">
                  <c:v>45.54738838095556</c:v>
                </c:pt>
                <c:pt idx="784">
                  <c:v>45.848132945399755</c:v>
                </c:pt>
                <c:pt idx="785">
                  <c:v>47.091478026493604</c:v>
                </c:pt>
                <c:pt idx="786">
                  <c:v>47.489607065038633</c:v>
                </c:pt>
                <c:pt idx="787">
                  <c:v>49.883158290994963</c:v>
                </c:pt>
                <c:pt idx="788">
                  <c:v>50.907601145119735</c:v>
                </c:pt>
                <c:pt idx="789">
                  <c:v>50.951234559265579</c:v>
                </c:pt>
                <c:pt idx="790">
                  <c:v>50.947636856402283</c:v>
                </c:pt>
                <c:pt idx="791">
                  <c:v>49.645456565457124</c:v>
                </c:pt>
                <c:pt idx="792">
                  <c:v>49.05746928543104</c:v>
                </c:pt>
                <c:pt idx="793">
                  <c:v>48.84138620750592</c:v>
                </c:pt>
                <c:pt idx="794">
                  <c:v>47.211373424185574</c:v>
                </c:pt>
                <c:pt idx="795">
                  <c:v>48.486292525215056</c:v>
                </c:pt>
                <c:pt idx="796">
                  <c:v>50.23980029718512</c:v>
                </c:pt>
                <c:pt idx="797">
                  <c:v>50.471604191595759</c:v>
                </c:pt>
                <c:pt idx="798">
                  <c:v>50.421816396849628</c:v>
                </c:pt>
                <c:pt idx="799">
                  <c:v>50.614700701637425</c:v>
                </c:pt>
                <c:pt idx="800">
                  <c:v>50.42927048178197</c:v>
                </c:pt>
                <c:pt idx="801">
                  <c:v>50.348831271828594</c:v>
                </c:pt>
                <c:pt idx="802">
                  <c:v>50.315150914603613</c:v>
                </c:pt>
                <c:pt idx="803">
                  <c:v>50.272586491942434</c:v>
                </c:pt>
                <c:pt idx="804">
                  <c:v>50.375227035627333</c:v>
                </c:pt>
                <c:pt idx="805">
                  <c:v>49.839307704561222</c:v>
                </c:pt>
                <c:pt idx="806">
                  <c:v>49.703344591269477</c:v>
                </c:pt>
                <c:pt idx="807">
                  <c:v>50.052571806800422</c:v>
                </c:pt>
                <c:pt idx="808">
                  <c:v>50.039675183053639</c:v>
                </c:pt>
                <c:pt idx="809">
                  <c:v>49.202231840076692</c:v>
                </c:pt>
                <c:pt idx="810">
                  <c:v>49.253682259384398</c:v>
                </c:pt>
                <c:pt idx="811">
                  <c:v>48.592079340148864</c:v>
                </c:pt>
                <c:pt idx="812">
                  <c:v>50.632307503504428</c:v>
                </c:pt>
                <c:pt idx="813">
                  <c:v>47.389646032204084</c:v>
                </c:pt>
                <c:pt idx="814">
                  <c:v>47.336027848997865</c:v>
                </c:pt>
                <c:pt idx="815">
                  <c:v>46.842485666480997</c:v>
                </c:pt>
                <c:pt idx="816">
                  <c:v>46.292250692678806</c:v>
                </c:pt>
                <c:pt idx="817">
                  <c:v>45.9987980663429</c:v>
                </c:pt>
                <c:pt idx="818">
                  <c:v>48.41661596897935</c:v>
                </c:pt>
                <c:pt idx="819">
                  <c:v>49.300345588228858</c:v>
                </c:pt>
                <c:pt idx="820">
                  <c:v>49.128093596115221</c:v>
                </c:pt>
                <c:pt idx="821">
                  <c:v>48.53319731791369</c:v>
                </c:pt>
                <c:pt idx="822">
                  <c:v>47.503573128293795</c:v>
                </c:pt>
                <c:pt idx="823">
                  <c:v>47.391956159660424</c:v>
                </c:pt>
                <c:pt idx="824">
                  <c:v>49.744699470502333</c:v>
                </c:pt>
                <c:pt idx="825">
                  <c:v>49.528008133611941</c:v>
                </c:pt>
                <c:pt idx="826">
                  <c:v>50.170126050600182</c:v>
                </c:pt>
                <c:pt idx="827">
                  <c:v>48.541753437280782</c:v>
                </c:pt>
                <c:pt idx="828">
                  <c:v>49.267536741152533</c:v>
                </c:pt>
                <c:pt idx="829">
                  <c:v>50.869594118506846</c:v>
                </c:pt>
                <c:pt idx="830">
                  <c:v>51.233289455206041</c:v>
                </c:pt>
                <c:pt idx="831">
                  <c:v>51.068417048123173</c:v>
                </c:pt>
                <c:pt idx="832">
                  <c:v>51.064788926438681</c:v>
                </c:pt>
                <c:pt idx="833">
                  <c:v>50.934017114124885</c:v>
                </c:pt>
                <c:pt idx="834">
                  <c:v>52.822538367266723</c:v>
                </c:pt>
                <c:pt idx="835">
                  <c:v>51.344558852738885</c:v>
                </c:pt>
                <c:pt idx="836">
                  <c:v>50.233048836633635</c:v>
                </c:pt>
                <c:pt idx="837">
                  <c:v>52.62504293036119</c:v>
                </c:pt>
                <c:pt idx="838">
                  <c:v>53.164730024597411</c:v>
                </c:pt>
                <c:pt idx="839">
                  <c:v>52.658819637242722</c:v>
                </c:pt>
                <c:pt idx="840">
                  <c:v>52.598128872645844</c:v>
                </c:pt>
                <c:pt idx="841">
                  <c:v>52.892174918942807</c:v>
                </c:pt>
                <c:pt idx="842">
                  <c:v>53.718690624160395</c:v>
                </c:pt>
                <c:pt idx="843">
                  <c:v>53.552356171995399</c:v>
                </c:pt>
                <c:pt idx="844">
                  <c:v>53.770076584971548</c:v>
                </c:pt>
                <c:pt idx="845">
                  <c:v>53.784169286991599</c:v>
                </c:pt>
                <c:pt idx="846">
                  <c:v>54.071088552511014</c:v>
                </c:pt>
                <c:pt idx="847">
                  <c:v>53.691064474865996</c:v>
                </c:pt>
                <c:pt idx="848">
                  <c:v>53.919771245195918</c:v>
                </c:pt>
                <c:pt idx="849">
                  <c:v>54.008257795822573</c:v>
                </c:pt>
                <c:pt idx="850">
                  <c:v>54.61710894898259</c:v>
                </c:pt>
                <c:pt idx="851">
                  <c:v>55.50913294929849</c:v>
                </c:pt>
                <c:pt idx="852">
                  <c:v>54.940043137905107</c:v>
                </c:pt>
                <c:pt idx="853">
                  <c:v>54.910844158764839</c:v>
                </c:pt>
                <c:pt idx="854">
                  <c:v>54.164114926214879</c:v>
                </c:pt>
                <c:pt idx="855">
                  <c:v>56.553212747760846</c:v>
                </c:pt>
                <c:pt idx="856">
                  <c:v>51.792570964639815</c:v>
                </c:pt>
                <c:pt idx="857">
                  <c:v>51.407017359624781</c:v>
                </c:pt>
                <c:pt idx="858">
                  <c:v>50.749677830851077</c:v>
                </c:pt>
                <c:pt idx="859">
                  <c:v>50.597400613516307</c:v>
                </c:pt>
                <c:pt idx="860">
                  <c:v>48.808657284591483</c:v>
                </c:pt>
                <c:pt idx="861">
                  <c:v>49.463545946581355</c:v>
                </c:pt>
                <c:pt idx="862">
                  <c:v>46.592125285987741</c:v>
                </c:pt>
                <c:pt idx="863">
                  <c:v>47.861052219368084</c:v>
                </c:pt>
                <c:pt idx="864">
                  <c:v>48.891612502087298</c:v>
                </c:pt>
                <c:pt idx="865">
                  <c:v>47.708253141235204</c:v>
                </c:pt>
                <c:pt idx="866">
                  <c:v>47.840542062212272</c:v>
                </c:pt>
                <c:pt idx="867">
                  <c:v>48.13544403227953</c:v>
                </c:pt>
                <c:pt idx="868">
                  <c:v>49.620465210074791</c:v>
                </c:pt>
                <c:pt idx="869">
                  <c:v>48.069807490387532</c:v>
                </c:pt>
                <c:pt idx="870">
                  <c:v>44.561973269899354</c:v>
                </c:pt>
                <c:pt idx="871">
                  <c:v>46.419444638985915</c:v>
                </c:pt>
                <c:pt idx="872">
                  <c:v>44.549984416209213</c:v>
                </c:pt>
                <c:pt idx="873">
                  <c:v>42.509661937007557</c:v>
                </c:pt>
                <c:pt idx="874">
                  <c:v>40.986457735131367</c:v>
                </c:pt>
                <c:pt idx="875">
                  <c:v>39.015923632998266</c:v>
                </c:pt>
                <c:pt idx="876">
                  <c:v>34.355393388419635</c:v>
                </c:pt>
                <c:pt idx="877">
                  <c:v>31.282887355729546</c:v>
                </c:pt>
                <c:pt idx="878">
                  <c:v>26.648862382306394</c:v>
                </c:pt>
                <c:pt idx="879">
                  <c:v>24.393124507962884</c:v>
                </c:pt>
                <c:pt idx="880">
                  <c:v>26.999536848801025</c:v>
                </c:pt>
                <c:pt idx="881">
                  <c:v>27.840913391951137</c:v>
                </c:pt>
                <c:pt idx="882">
                  <c:v>23.065640896573225</c:v>
                </c:pt>
                <c:pt idx="883">
                  <c:v>21.722961790150819</c:v>
                </c:pt>
                <c:pt idx="884">
                  <c:v>19.867687160693883</c:v>
                </c:pt>
                <c:pt idx="885">
                  <c:v>20.637697675045803</c:v>
                </c:pt>
                <c:pt idx="886">
                  <c:v>21.178865662487571</c:v>
                </c:pt>
                <c:pt idx="887">
                  <c:v>19.748090522713124</c:v>
                </c:pt>
                <c:pt idx="888">
                  <c:v>19.434403751703474</c:v>
                </c:pt>
                <c:pt idx="889">
                  <c:v>18.137665085021183</c:v>
                </c:pt>
                <c:pt idx="890">
                  <c:v>17.493653602989117</c:v>
                </c:pt>
                <c:pt idx="891">
                  <c:v>18.704835234211696</c:v>
                </c:pt>
                <c:pt idx="892">
                  <c:v>17.924784018873229</c:v>
                </c:pt>
                <c:pt idx="893">
                  <c:v>18.015198803257046</c:v>
                </c:pt>
                <c:pt idx="894">
                  <c:v>18.110240713104233</c:v>
                </c:pt>
                <c:pt idx="895">
                  <c:v>18.315736858343122</c:v>
                </c:pt>
                <c:pt idx="896">
                  <c:v>18.610408569266223</c:v>
                </c:pt>
                <c:pt idx="897">
                  <c:v>18.67449682570949</c:v>
                </c:pt>
                <c:pt idx="898">
                  <c:v>19.816495368178799</c:v>
                </c:pt>
                <c:pt idx="899">
                  <c:v>19.613791090260978</c:v>
                </c:pt>
                <c:pt idx="900">
                  <c:v>19.484400921474641</c:v>
                </c:pt>
                <c:pt idx="901">
                  <c:v>19.4428046727432</c:v>
                </c:pt>
                <c:pt idx="902">
                  <c:v>19.139427496681069</c:v>
                </c:pt>
                <c:pt idx="903">
                  <c:v>19.698172281026352</c:v>
                </c:pt>
                <c:pt idx="904">
                  <c:v>18.796975482668682</c:v>
                </c:pt>
                <c:pt idx="905">
                  <c:v>18.633306393616081</c:v>
                </c:pt>
                <c:pt idx="906">
                  <c:v>18.488357005199671</c:v>
                </c:pt>
                <c:pt idx="907">
                  <c:v>17.553768111472181</c:v>
                </c:pt>
                <c:pt idx="908">
                  <c:v>17.131277404455382</c:v>
                </c:pt>
                <c:pt idx="909">
                  <c:v>17.749462739591692</c:v>
                </c:pt>
                <c:pt idx="910">
                  <c:v>18.67821089413167</c:v>
                </c:pt>
                <c:pt idx="911">
                  <c:v>18.900496777161756</c:v>
                </c:pt>
                <c:pt idx="912">
                  <c:v>19.025011322954359</c:v>
                </c:pt>
                <c:pt idx="913">
                  <c:v>19.018912191981943</c:v>
                </c:pt>
                <c:pt idx="914">
                  <c:v>20.008511316560693</c:v>
                </c:pt>
                <c:pt idx="915">
                  <c:v>19.660232573232022</c:v>
                </c:pt>
                <c:pt idx="916">
                  <c:v>19.6460518318402</c:v>
                </c:pt>
                <c:pt idx="917">
                  <c:v>19.699682708316836</c:v>
                </c:pt>
                <c:pt idx="918">
                  <c:v>19.632084846457545</c:v>
                </c:pt>
                <c:pt idx="919">
                  <c:v>19.777378733965346</c:v>
                </c:pt>
                <c:pt idx="920">
                  <c:v>19.756032669022058</c:v>
                </c:pt>
                <c:pt idx="921">
                  <c:v>19.663320581073862</c:v>
                </c:pt>
                <c:pt idx="922">
                  <c:v>19.652954859083426</c:v>
                </c:pt>
                <c:pt idx="923">
                  <c:v>19.598226213406107</c:v>
                </c:pt>
                <c:pt idx="924">
                  <c:v>19.626744666006111</c:v>
                </c:pt>
                <c:pt idx="925">
                  <c:v>19.224525592913164</c:v>
                </c:pt>
                <c:pt idx="926">
                  <c:v>19.200049755921363</c:v>
                </c:pt>
                <c:pt idx="927">
                  <c:v>18.767174498377166</c:v>
                </c:pt>
                <c:pt idx="928">
                  <c:v>18.122055619413072</c:v>
                </c:pt>
                <c:pt idx="929">
                  <c:v>17.51682223949495</c:v>
                </c:pt>
                <c:pt idx="930">
                  <c:v>17.755839012846621</c:v>
                </c:pt>
                <c:pt idx="931">
                  <c:v>17.593697332531942</c:v>
                </c:pt>
                <c:pt idx="932">
                  <c:v>17.370202501595223</c:v>
                </c:pt>
                <c:pt idx="933">
                  <c:v>17.827536505694948</c:v>
                </c:pt>
                <c:pt idx="934">
                  <c:v>16.995525715126398</c:v>
                </c:pt>
                <c:pt idx="935">
                  <c:v>16.466099534125817</c:v>
                </c:pt>
                <c:pt idx="936">
                  <c:v>15.178415293004232</c:v>
                </c:pt>
                <c:pt idx="937">
                  <c:v>15.670015804912968</c:v>
                </c:pt>
                <c:pt idx="938">
                  <c:v>15.500272041680995</c:v>
                </c:pt>
                <c:pt idx="939">
                  <c:v>17.064441234486697</c:v>
                </c:pt>
                <c:pt idx="940">
                  <c:v>16.844994145845554</c:v>
                </c:pt>
                <c:pt idx="941">
                  <c:v>16.700935901578951</c:v>
                </c:pt>
                <c:pt idx="942">
                  <c:v>16.588434899269892</c:v>
                </c:pt>
                <c:pt idx="943">
                  <c:v>16.867452425001542</c:v>
                </c:pt>
                <c:pt idx="944">
                  <c:v>15.002643032932658</c:v>
                </c:pt>
                <c:pt idx="945">
                  <c:v>14.573189974514147</c:v>
                </c:pt>
                <c:pt idx="946">
                  <c:v>14.980901753202735</c:v>
                </c:pt>
                <c:pt idx="947">
                  <c:v>13.087685305642148</c:v>
                </c:pt>
                <c:pt idx="948">
                  <c:v>13.929264526902458</c:v>
                </c:pt>
                <c:pt idx="949">
                  <c:v>14.088018284024628</c:v>
                </c:pt>
                <c:pt idx="950">
                  <c:v>14.161007727681124</c:v>
                </c:pt>
                <c:pt idx="951">
                  <c:v>14.537914768287663</c:v>
                </c:pt>
                <c:pt idx="952">
                  <c:v>14.747826363585011</c:v>
                </c:pt>
                <c:pt idx="953">
                  <c:v>14.541161680405551</c:v>
                </c:pt>
                <c:pt idx="954">
                  <c:v>14.736870284586592</c:v>
                </c:pt>
                <c:pt idx="955">
                  <c:v>15.24540471671871</c:v>
                </c:pt>
                <c:pt idx="956">
                  <c:v>15.325079005390169</c:v>
                </c:pt>
                <c:pt idx="957">
                  <c:v>15.008913342511093</c:v>
                </c:pt>
                <c:pt idx="958">
                  <c:v>15.077994939257543</c:v>
                </c:pt>
                <c:pt idx="959">
                  <c:v>14.980688182843943</c:v>
                </c:pt>
                <c:pt idx="960">
                  <c:v>14.904661969364858</c:v>
                </c:pt>
                <c:pt idx="961">
                  <c:v>14.892745152198692</c:v>
                </c:pt>
                <c:pt idx="962">
                  <c:v>15.229854564561654</c:v>
                </c:pt>
                <c:pt idx="963">
                  <c:v>15.147207731394325</c:v>
                </c:pt>
                <c:pt idx="964">
                  <c:v>15.402421665335998</c:v>
                </c:pt>
                <c:pt idx="965">
                  <c:v>15.354122534842515</c:v>
                </c:pt>
                <c:pt idx="966">
                  <c:v>15.539335456022309</c:v>
                </c:pt>
                <c:pt idx="967">
                  <c:v>15.555204042289853</c:v>
                </c:pt>
                <c:pt idx="968">
                  <c:v>15.577054823871485</c:v>
                </c:pt>
                <c:pt idx="969">
                  <c:v>15.02542955023919</c:v>
                </c:pt>
                <c:pt idx="970">
                  <c:v>14.539188984856164</c:v>
                </c:pt>
                <c:pt idx="971">
                  <c:v>15.87733209992785</c:v>
                </c:pt>
                <c:pt idx="972">
                  <c:v>16.248725402538607</c:v>
                </c:pt>
                <c:pt idx="973">
                  <c:v>16.215845233239097</c:v>
                </c:pt>
                <c:pt idx="974">
                  <c:v>16.256909471776499</c:v>
                </c:pt>
                <c:pt idx="975">
                  <c:v>16.461023993686684</c:v>
                </c:pt>
                <c:pt idx="976">
                  <c:v>16.482025869063975</c:v>
                </c:pt>
                <c:pt idx="977">
                  <c:v>17.428879202483706</c:v>
                </c:pt>
                <c:pt idx="978">
                  <c:v>16.597056949447115</c:v>
                </c:pt>
                <c:pt idx="979">
                  <c:v>16.487142501630284</c:v>
                </c:pt>
                <c:pt idx="980">
                  <c:v>16.417139302148534</c:v>
                </c:pt>
                <c:pt idx="981">
                  <c:v>16.632620805991412</c:v>
                </c:pt>
                <c:pt idx="982">
                  <c:v>16.687127714423795</c:v>
                </c:pt>
                <c:pt idx="983">
                  <c:v>16.310368457475839</c:v>
                </c:pt>
                <c:pt idx="984">
                  <c:v>16.450404894448408</c:v>
                </c:pt>
                <c:pt idx="985">
                  <c:v>17.03451020093722</c:v>
                </c:pt>
                <c:pt idx="986">
                  <c:v>16.393893740920664</c:v>
                </c:pt>
                <c:pt idx="987">
                  <c:v>16.325904159595105</c:v>
                </c:pt>
                <c:pt idx="988">
                  <c:v>17.033272783301175</c:v>
                </c:pt>
                <c:pt idx="989">
                  <c:v>17.886532697737014</c:v>
                </c:pt>
                <c:pt idx="990">
                  <c:v>18.058546767317818</c:v>
                </c:pt>
                <c:pt idx="991">
                  <c:v>17.805860011121506</c:v>
                </c:pt>
                <c:pt idx="992">
                  <c:v>17.838049216656319</c:v>
                </c:pt>
                <c:pt idx="993">
                  <c:v>17.983886657463085</c:v>
                </c:pt>
                <c:pt idx="994">
                  <c:v>17.988883661226183</c:v>
                </c:pt>
                <c:pt idx="995">
                  <c:v>18.478127390062607</c:v>
                </c:pt>
                <c:pt idx="996">
                  <c:v>18.453854469979902</c:v>
                </c:pt>
                <c:pt idx="997">
                  <c:v>18.810000496494588</c:v>
                </c:pt>
                <c:pt idx="998">
                  <c:v>18.88430363812703</c:v>
                </c:pt>
                <c:pt idx="999">
                  <c:v>18.819849802903342</c:v>
                </c:pt>
                <c:pt idx="1000">
                  <c:v>18.842446732143948</c:v>
                </c:pt>
                <c:pt idx="1001">
                  <c:v>18.771402760367931</c:v>
                </c:pt>
                <c:pt idx="1002">
                  <c:v>18.597478368597102</c:v>
                </c:pt>
                <c:pt idx="1003">
                  <c:v>18.105456696816166</c:v>
                </c:pt>
                <c:pt idx="1004">
                  <c:v>18.02587541338519</c:v>
                </c:pt>
                <c:pt idx="1005">
                  <c:v>17.970111262849993</c:v>
                </c:pt>
                <c:pt idx="1006">
                  <c:v>17.606979607516362</c:v>
                </c:pt>
                <c:pt idx="1007">
                  <c:v>16.948203802186203</c:v>
                </c:pt>
                <c:pt idx="1008">
                  <c:v>16.606484925624788</c:v>
                </c:pt>
                <c:pt idx="1009">
                  <c:v>17.921566476293705</c:v>
                </c:pt>
                <c:pt idx="1010">
                  <c:v>17.192504666588679</c:v>
                </c:pt>
                <c:pt idx="1011">
                  <c:v>17.2140463567093</c:v>
                </c:pt>
                <c:pt idx="1012">
                  <c:v>16.979514889622937</c:v>
                </c:pt>
                <c:pt idx="1013">
                  <c:v>16.961850255685679</c:v>
                </c:pt>
                <c:pt idx="1014">
                  <c:v>17.113374281762766</c:v>
                </c:pt>
                <c:pt idx="1015">
                  <c:v>17.042928048347946</c:v>
                </c:pt>
                <c:pt idx="1016">
                  <c:v>17.227799784551067</c:v>
                </c:pt>
                <c:pt idx="1017">
                  <c:v>17.205687718660922</c:v>
                </c:pt>
                <c:pt idx="1018">
                  <c:v>16.909081853335785</c:v>
                </c:pt>
                <c:pt idx="1019">
                  <c:v>16.468205748729559</c:v>
                </c:pt>
                <c:pt idx="1020">
                  <c:v>16.359042411143019</c:v>
                </c:pt>
                <c:pt idx="1021">
                  <c:v>15.625695763525462</c:v>
                </c:pt>
                <c:pt idx="1022">
                  <c:v>15.931469799027845</c:v>
                </c:pt>
                <c:pt idx="1023">
                  <c:v>15.221664500928281</c:v>
                </c:pt>
                <c:pt idx="1024">
                  <c:v>15.338354742439762</c:v>
                </c:pt>
                <c:pt idx="1025">
                  <c:v>15.101753479648504</c:v>
                </c:pt>
                <c:pt idx="1026">
                  <c:v>15.786610065813068</c:v>
                </c:pt>
                <c:pt idx="1027">
                  <c:v>14.934258925027466</c:v>
                </c:pt>
                <c:pt idx="1028">
                  <c:v>15.018132627559693</c:v>
                </c:pt>
                <c:pt idx="1029">
                  <c:v>13.933005901439152</c:v>
                </c:pt>
                <c:pt idx="1030">
                  <c:v>13.829740318788994</c:v>
                </c:pt>
                <c:pt idx="1031">
                  <c:v>13.85779918089956</c:v>
                </c:pt>
                <c:pt idx="1032">
                  <c:v>14.63010112138242</c:v>
                </c:pt>
                <c:pt idx="1033">
                  <c:v>14.878199813662681</c:v>
                </c:pt>
                <c:pt idx="1034">
                  <c:v>14.798510240671755</c:v>
                </c:pt>
                <c:pt idx="1035">
                  <c:v>14.659311836523546</c:v>
                </c:pt>
                <c:pt idx="1036">
                  <c:v>14.504419599527884</c:v>
                </c:pt>
                <c:pt idx="1037">
                  <c:v>14.523174556659738</c:v>
                </c:pt>
                <c:pt idx="1038">
                  <c:v>14.484701558173619</c:v>
                </c:pt>
                <c:pt idx="1039">
                  <c:v>14.46656271432208</c:v>
                </c:pt>
                <c:pt idx="1040">
                  <c:v>15.133827390795943</c:v>
                </c:pt>
                <c:pt idx="1041">
                  <c:v>14.982369438330972</c:v>
                </c:pt>
                <c:pt idx="1042">
                  <c:v>14.957244134086611</c:v>
                </c:pt>
                <c:pt idx="1043">
                  <c:v>14.922703776815881</c:v>
                </c:pt>
                <c:pt idx="1044">
                  <c:v>14.783813072303115</c:v>
                </c:pt>
                <c:pt idx="1045">
                  <c:v>14.781573502111323</c:v>
                </c:pt>
                <c:pt idx="1046">
                  <c:v>14.306734986300818</c:v>
                </c:pt>
                <c:pt idx="1047">
                  <c:v>14.084599511349026</c:v>
                </c:pt>
                <c:pt idx="1048">
                  <c:v>14.733687329543651</c:v>
                </c:pt>
                <c:pt idx="1049">
                  <c:v>15.22564460465588</c:v>
                </c:pt>
                <c:pt idx="1050">
                  <c:v>15.264842676837825</c:v>
                </c:pt>
                <c:pt idx="1051">
                  <c:v>15.267463202483972</c:v>
                </c:pt>
                <c:pt idx="1052">
                  <c:v>15.519536811077455</c:v>
                </c:pt>
                <c:pt idx="1053">
                  <c:v>15.225687741063638</c:v>
                </c:pt>
                <c:pt idx="1054">
                  <c:v>15.100082177234727</c:v>
                </c:pt>
                <c:pt idx="1055">
                  <c:v>15.659606353196772</c:v>
                </c:pt>
                <c:pt idx="1056">
                  <c:v>15.885214335413755</c:v>
                </c:pt>
                <c:pt idx="1057">
                  <c:v>15.580939864081559</c:v>
                </c:pt>
                <c:pt idx="1058">
                  <c:v>14.975816302867001</c:v>
                </c:pt>
                <c:pt idx="1059">
                  <c:v>15.301887579256501</c:v>
                </c:pt>
                <c:pt idx="1060">
                  <c:v>15.082943109252913</c:v>
                </c:pt>
                <c:pt idx="1061">
                  <c:v>15.982536792841424</c:v>
                </c:pt>
                <c:pt idx="1062">
                  <c:v>15.816795175188364</c:v>
                </c:pt>
                <c:pt idx="1063">
                  <c:v>15.967693657805757</c:v>
                </c:pt>
                <c:pt idx="1064">
                  <c:v>16.05769087334598</c:v>
                </c:pt>
                <c:pt idx="1065">
                  <c:v>16.441886148995771</c:v>
                </c:pt>
                <c:pt idx="1066">
                  <c:v>16.405068133669356</c:v>
                </c:pt>
                <c:pt idx="1067">
                  <c:v>17.085615521515845</c:v>
                </c:pt>
                <c:pt idx="1068">
                  <c:v>17.280847011918944</c:v>
                </c:pt>
                <c:pt idx="1069">
                  <c:v>16.920675613787271</c:v>
                </c:pt>
                <c:pt idx="1070">
                  <c:v>16.563261396254145</c:v>
                </c:pt>
                <c:pt idx="1071">
                  <c:v>16.591110911780788</c:v>
                </c:pt>
                <c:pt idx="1072">
                  <c:v>16.247783449083741</c:v>
                </c:pt>
                <c:pt idx="1073">
                  <c:v>15.932385287791545</c:v>
                </c:pt>
                <c:pt idx="1074">
                  <c:v>15.559855833753028</c:v>
                </c:pt>
                <c:pt idx="1075">
                  <c:v>15.015606710114783</c:v>
                </c:pt>
                <c:pt idx="1076">
                  <c:v>14.871447027743875</c:v>
                </c:pt>
                <c:pt idx="1077">
                  <c:v>15.071327249127581</c:v>
                </c:pt>
                <c:pt idx="1078">
                  <c:v>15.614249779421405</c:v>
                </c:pt>
                <c:pt idx="1079">
                  <c:v>15.813194254182999</c:v>
                </c:pt>
                <c:pt idx="1080">
                  <c:v>15.676903094045443</c:v>
                </c:pt>
                <c:pt idx="1081">
                  <c:v>15.641700651948325</c:v>
                </c:pt>
                <c:pt idx="1082">
                  <c:v>15.52704214592038</c:v>
                </c:pt>
                <c:pt idx="1083">
                  <c:v>15.527487933246011</c:v>
                </c:pt>
                <c:pt idx="1084">
                  <c:v>15.428578576354139</c:v>
                </c:pt>
                <c:pt idx="1085">
                  <c:v>15.614413748005004</c:v>
                </c:pt>
                <c:pt idx="1086">
                  <c:v>15.185853699289648</c:v>
                </c:pt>
                <c:pt idx="1087">
                  <c:v>15.161897946971676</c:v>
                </c:pt>
                <c:pt idx="1088">
                  <c:v>15.487986404292521</c:v>
                </c:pt>
                <c:pt idx="1089">
                  <c:v>15.102944242697024</c:v>
                </c:pt>
                <c:pt idx="1090">
                  <c:v>14.927676807096612</c:v>
                </c:pt>
                <c:pt idx="1091">
                  <c:v>15.180854497839841</c:v>
                </c:pt>
                <c:pt idx="1092">
                  <c:v>16.03853555425879</c:v>
                </c:pt>
                <c:pt idx="1093">
                  <c:v>15.763065958617974</c:v>
                </c:pt>
                <c:pt idx="1094">
                  <c:v>16.187620174473018</c:v>
                </c:pt>
                <c:pt idx="1095">
                  <c:v>16.36831897769196</c:v>
                </c:pt>
                <c:pt idx="1096">
                  <c:v>16.19301209051741</c:v>
                </c:pt>
                <c:pt idx="1097">
                  <c:v>16.204875240496573</c:v>
                </c:pt>
                <c:pt idx="1098">
                  <c:v>16.411806872263821</c:v>
                </c:pt>
                <c:pt idx="1099">
                  <c:v>16.736624254239096</c:v>
                </c:pt>
                <c:pt idx="1100">
                  <c:v>16.506607220238511</c:v>
                </c:pt>
                <c:pt idx="1101">
                  <c:v>16.450060892907651</c:v>
                </c:pt>
                <c:pt idx="1102">
                  <c:v>16.573753540485853</c:v>
                </c:pt>
                <c:pt idx="1103">
                  <c:v>16.681865264353096</c:v>
                </c:pt>
                <c:pt idx="1104">
                  <c:v>16.463317885158244</c:v>
                </c:pt>
                <c:pt idx="1105">
                  <c:v>17.291101161339288</c:v>
                </c:pt>
                <c:pt idx="1106">
                  <c:v>18.095488982990663</c:v>
                </c:pt>
                <c:pt idx="1107">
                  <c:v>18.39838972637677</c:v>
                </c:pt>
                <c:pt idx="1108">
                  <c:v>17.864932151080385</c:v>
                </c:pt>
                <c:pt idx="1109">
                  <c:v>16.828087422654971</c:v>
                </c:pt>
                <c:pt idx="1110">
                  <c:v>17.041297826388703</c:v>
                </c:pt>
                <c:pt idx="1111">
                  <c:v>16.64093233424537</c:v>
                </c:pt>
                <c:pt idx="1112">
                  <c:v>16.701592565165072</c:v>
                </c:pt>
                <c:pt idx="1113">
                  <c:v>15.963264300265733</c:v>
                </c:pt>
                <c:pt idx="1114">
                  <c:v>16.053985061499642</c:v>
                </c:pt>
                <c:pt idx="1115">
                  <c:v>16.453593800685539</c:v>
                </c:pt>
                <c:pt idx="1116">
                  <c:v>16.421936974788785</c:v>
                </c:pt>
                <c:pt idx="1117">
                  <c:v>16.071954291567618</c:v>
                </c:pt>
                <c:pt idx="1118">
                  <c:v>16.157411608332495</c:v>
                </c:pt>
                <c:pt idx="1119">
                  <c:v>16.434158069008948</c:v>
                </c:pt>
                <c:pt idx="1120">
                  <c:v>16.437333162725061</c:v>
                </c:pt>
                <c:pt idx="1121">
                  <c:v>16.570807266681953</c:v>
                </c:pt>
                <c:pt idx="1122">
                  <c:v>16.551956570852873</c:v>
                </c:pt>
                <c:pt idx="1123">
                  <c:v>16.663432753295826</c:v>
                </c:pt>
                <c:pt idx="1124">
                  <c:v>17.055928965860836</c:v>
                </c:pt>
                <c:pt idx="1125">
                  <c:v>17.045863846893923</c:v>
                </c:pt>
                <c:pt idx="1126">
                  <c:v>17.647409222962708</c:v>
                </c:pt>
                <c:pt idx="1127">
                  <c:v>18.172733686083969</c:v>
                </c:pt>
                <c:pt idx="1128">
                  <c:v>18.194834792362943</c:v>
                </c:pt>
                <c:pt idx="1129">
                  <c:v>17.976595595992858</c:v>
                </c:pt>
                <c:pt idx="1130">
                  <c:v>17.606813947237853</c:v>
                </c:pt>
                <c:pt idx="1131">
                  <c:v>17.2474500165061</c:v>
                </c:pt>
                <c:pt idx="1132">
                  <c:v>16.888102516099316</c:v>
                </c:pt>
                <c:pt idx="1133">
                  <c:v>16.67219552421253</c:v>
                </c:pt>
                <c:pt idx="1134">
                  <c:v>16.026352938424331</c:v>
                </c:pt>
                <c:pt idx="1135">
                  <c:v>16.282439474945164</c:v>
                </c:pt>
                <c:pt idx="1136">
                  <c:v>15.863540633761325</c:v>
                </c:pt>
                <c:pt idx="1137">
                  <c:v>15.798288887817552</c:v>
                </c:pt>
                <c:pt idx="1138">
                  <c:v>15.798147888940859</c:v>
                </c:pt>
                <c:pt idx="1139">
                  <c:v>15.218989926280276</c:v>
                </c:pt>
                <c:pt idx="1140">
                  <c:v>15.475165510956812</c:v>
                </c:pt>
                <c:pt idx="1141">
                  <c:v>15.796319114275368</c:v>
                </c:pt>
                <c:pt idx="1142">
                  <c:v>15.859940056148721</c:v>
                </c:pt>
                <c:pt idx="1143">
                  <c:v>16.381470828292926</c:v>
                </c:pt>
                <c:pt idx="1144">
                  <c:v>16.338232469610109</c:v>
                </c:pt>
                <c:pt idx="1145">
                  <c:v>14.475102642878342</c:v>
                </c:pt>
                <c:pt idx="1146">
                  <c:v>14.426015677768268</c:v>
                </c:pt>
                <c:pt idx="1147">
                  <c:v>14.352224167971718</c:v>
                </c:pt>
                <c:pt idx="1148">
                  <c:v>14.607488976292052</c:v>
                </c:pt>
                <c:pt idx="1149">
                  <c:v>15.506653079819552</c:v>
                </c:pt>
                <c:pt idx="1150">
                  <c:v>15.983521618690176</c:v>
                </c:pt>
                <c:pt idx="1151">
                  <c:v>15.768871810596247</c:v>
                </c:pt>
                <c:pt idx="1152">
                  <c:v>15.750304127988869</c:v>
                </c:pt>
                <c:pt idx="1153">
                  <c:v>15.840290886476099</c:v>
                </c:pt>
                <c:pt idx="1154">
                  <c:v>16.610314863421589</c:v>
                </c:pt>
                <c:pt idx="1155">
                  <c:v>16.355427218773208</c:v>
                </c:pt>
                <c:pt idx="1156">
                  <c:v>16.21456867656568</c:v>
                </c:pt>
                <c:pt idx="1157">
                  <c:v>16.180435832374105</c:v>
                </c:pt>
                <c:pt idx="1158">
                  <c:v>15.860932398249437</c:v>
                </c:pt>
                <c:pt idx="1159">
                  <c:v>15.927375252395343</c:v>
                </c:pt>
                <c:pt idx="1160">
                  <c:v>15.722408782249506</c:v>
                </c:pt>
                <c:pt idx="1161">
                  <c:v>15.422712795272531</c:v>
                </c:pt>
                <c:pt idx="1162">
                  <c:v>15.368917954897926</c:v>
                </c:pt>
                <c:pt idx="1163">
                  <c:v>15.114145773735888</c:v>
                </c:pt>
                <c:pt idx="1164">
                  <c:v>16.263254483414805</c:v>
                </c:pt>
                <c:pt idx="1165">
                  <c:v>16.294344811580494</c:v>
                </c:pt>
                <c:pt idx="1166">
                  <c:v>16.215466435675236</c:v>
                </c:pt>
                <c:pt idx="1167">
                  <c:v>16.235395350846183</c:v>
                </c:pt>
                <c:pt idx="1168">
                  <c:v>16.455019744387226</c:v>
                </c:pt>
                <c:pt idx="1169">
                  <c:v>16.141581448592955</c:v>
                </c:pt>
                <c:pt idx="1170">
                  <c:v>16.11473417540326</c:v>
                </c:pt>
                <c:pt idx="1171">
                  <c:v>16.471717380301126</c:v>
                </c:pt>
                <c:pt idx="1172">
                  <c:v>16.318016098172052</c:v>
                </c:pt>
                <c:pt idx="1173">
                  <c:v>16.461849465391388</c:v>
                </c:pt>
                <c:pt idx="1174">
                  <c:v>16.440344048329749</c:v>
                </c:pt>
                <c:pt idx="1175">
                  <c:v>16.239254337569129</c:v>
                </c:pt>
                <c:pt idx="1176">
                  <c:v>16.119498924892394</c:v>
                </c:pt>
                <c:pt idx="1177">
                  <c:v>15.490388595923015</c:v>
                </c:pt>
                <c:pt idx="1178">
                  <c:v>15.708790232361748</c:v>
                </c:pt>
                <c:pt idx="1179">
                  <c:v>15.483419066914758</c:v>
                </c:pt>
                <c:pt idx="1180">
                  <c:v>14.936835357937305</c:v>
                </c:pt>
                <c:pt idx="1181">
                  <c:v>14.550209904591794</c:v>
                </c:pt>
                <c:pt idx="1182">
                  <c:v>14.420904611482404</c:v>
                </c:pt>
                <c:pt idx="1183">
                  <c:v>14.195800618028446</c:v>
                </c:pt>
                <c:pt idx="1184">
                  <c:v>14.034727706270372</c:v>
                </c:pt>
                <c:pt idx="1185">
                  <c:v>14.13072644173617</c:v>
                </c:pt>
                <c:pt idx="1186">
                  <c:v>14.387435140915668</c:v>
                </c:pt>
                <c:pt idx="1187">
                  <c:v>14.740122153147709</c:v>
                </c:pt>
                <c:pt idx="1188">
                  <c:v>14.193396318627736</c:v>
                </c:pt>
                <c:pt idx="1189">
                  <c:v>14.253392024468969</c:v>
                </c:pt>
                <c:pt idx="1190">
                  <c:v>13.781004980628824</c:v>
                </c:pt>
                <c:pt idx="1191">
                  <c:v>13.544529870832093</c:v>
                </c:pt>
                <c:pt idx="1192">
                  <c:v>13.179750548582218</c:v>
                </c:pt>
                <c:pt idx="1193">
                  <c:v>12.914051288880531</c:v>
                </c:pt>
                <c:pt idx="1194">
                  <c:v>13.410174646689974</c:v>
                </c:pt>
                <c:pt idx="1195">
                  <c:v>12.846143946881359</c:v>
                </c:pt>
                <c:pt idx="1196">
                  <c:v>12.546979491509003</c:v>
                </c:pt>
                <c:pt idx="1197">
                  <c:v>12.860013122177744</c:v>
                </c:pt>
                <c:pt idx="1198">
                  <c:v>12.289016759417363</c:v>
                </c:pt>
                <c:pt idx="1199">
                  <c:v>12.202279818524485</c:v>
                </c:pt>
                <c:pt idx="1200">
                  <c:v>12.914842745083144</c:v>
                </c:pt>
                <c:pt idx="1201">
                  <c:v>14.110586194527873</c:v>
                </c:pt>
                <c:pt idx="1202">
                  <c:v>14.100476100418602</c:v>
                </c:pt>
                <c:pt idx="1203">
                  <c:v>13.957329601581909</c:v>
                </c:pt>
                <c:pt idx="1204">
                  <c:v>14.41189839931193</c:v>
                </c:pt>
                <c:pt idx="1205">
                  <c:v>14.259160777210884</c:v>
                </c:pt>
                <c:pt idx="1206">
                  <c:v>14.001635296133642</c:v>
                </c:pt>
                <c:pt idx="1207">
                  <c:v>14.648524620713941</c:v>
                </c:pt>
                <c:pt idx="1208">
                  <c:v>15.237363337978911</c:v>
                </c:pt>
                <c:pt idx="1209">
                  <c:v>15.205718106550572</c:v>
                </c:pt>
                <c:pt idx="1210">
                  <c:v>17.529034703620553</c:v>
                </c:pt>
                <c:pt idx="1211">
                  <c:v>17.865788731201384</c:v>
                </c:pt>
                <c:pt idx="1212">
                  <c:v>17.657780505181758</c:v>
                </c:pt>
                <c:pt idx="1213">
                  <c:v>18.12046000067588</c:v>
                </c:pt>
                <c:pt idx="1214">
                  <c:v>18.148381068519029</c:v>
                </c:pt>
                <c:pt idx="1215">
                  <c:v>18.50379496296145</c:v>
                </c:pt>
                <c:pt idx="1216">
                  <c:v>18.517042887929158</c:v>
                </c:pt>
                <c:pt idx="1217">
                  <c:v>18.476229933289581</c:v>
                </c:pt>
                <c:pt idx="1218">
                  <c:v>18.453132057436218</c:v>
                </c:pt>
                <c:pt idx="1219">
                  <c:v>18.002010246979953</c:v>
                </c:pt>
                <c:pt idx="1220">
                  <c:v>17.637839054405763</c:v>
                </c:pt>
                <c:pt idx="1221">
                  <c:v>17.304194988247005</c:v>
                </c:pt>
                <c:pt idx="1222">
                  <c:v>17.881665503748376</c:v>
                </c:pt>
                <c:pt idx="1223">
                  <c:v>17.426082826355405</c:v>
                </c:pt>
                <c:pt idx="1224">
                  <c:v>17.313519849832701</c:v>
                </c:pt>
                <c:pt idx="1225">
                  <c:v>16.893893961398255</c:v>
                </c:pt>
                <c:pt idx="1226">
                  <c:v>16.634072339607815</c:v>
                </c:pt>
                <c:pt idx="1227">
                  <c:v>16.492291837186333</c:v>
                </c:pt>
                <c:pt idx="1228">
                  <c:v>16.355901544072115</c:v>
                </c:pt>
                <c:pt idx="1229">
                  <c:v>16.355583769719871</c:v>
                </c:pt>
                <c:pt idx="1230">
                  <c:v>15.661664910762012</c:v>
                </c:pt>
                <c:pt idx="1231">
                  <c:v>15.549447620046495</c:v>
                </c:pt>
                <c:pt idx="1232">
                  <c:v>15.664106688182084</c:v>
                </c:pt>
                <c:pt idx="1233">
                  <c:v>15.748495216936973</c:v>
                </c:pt>
                <c:pt idx="1234">
                  <c:v>15.748307938906217</c:v>
                </c:pt>
                <c:pt idx="1235">
                  <c:v>15.638944002417407</c:v>
                </c:pt>
                <c:pt idx="1236">
                  <c:v>15.674894018579543</c:v>
                </c:pt>
                <c:pt idx="1237">
                  <c:v>15.23717171700955</c:v>
                </c:pt>
                <c:pt idx="1238">
                  <c:v>14.847535720726553</c:v>
                </c:pt>
                <c:pt idx="1239">
                  <c:v>14.613669730927496</c:v>
                </c:pt>
                <c:pt idx="1240">
                  <c:v>14.908414720215854</c:v>
                </c:pt>
                <c:pt idx="1241">
                  <c:v>14.68634062084868</c:v>
                </c:pt>
                <c:pt idx="1242">
                  <c:v>14.353757495938993</c:v>
                </c:pt>
                <c:pt idx="1243">
                  <c:v>14.685135587877671</c:v>
                </c:pt>
                <c:pt idx="1244">
                  <c:v>14.83197801911324</c:v>
                </c:pt>
                <c:pt idx="1245">
                  <c:v>14.684067611009038</c:v>
                </c:pt>
                <c:pt idx="1246">
                  <c:v>14.500002245069144</c:v>
                </c:pt>
                <c:pt idx="1247">
                  <c:v>14.266469848827279</c:v>
                </c:pt>
                <c:pt idx="1248">
                  <c:v>14.146530286838638</c:v>
                </c:pt>
                <c:pt idx="1249">
                  <c:v>14.034308361158851</c:v>
                </c:pt>
                <c:pt idx="1250">
                  <c:v>13.436859978693963</c:v>
                </c:pt>
                <c:pt idx="1251">
                  <c:v>13.025030459088109</c:v>
                </c:pt>
                <c:pt idx="1252">
                  <c:v>13.360044022000654</c:v>
                </c:pt>
                <c:pt idx="1253">
                  <c:v>13.02341893474013</c:v>
                </c:pt>
                <c:pt idx="1254">
                  <c:v>12.836116206899616</c:v>
                </c:pt>
                <c:pt idx="1255">
                  <c:v>12.761084259107744</c:v>
                </c:pt>
                <c:pt idx="1256">
                  <c:v>12.798234046844108</c:v>
                </c:pt>
                <c:pt idx="1257">
                  <c:v>12.462336902815474</c:v>
                </c:pt>
                <c:pt idx="1258">
                  <c:v>12.461617500263447</c:v>
                </c:pt>
                <c:pt idx="1259">
                  <c:v>12.8813094098745</c:v>
                </c:pt>
                <c:pt idx="1260">
                  <c:v>12.589799832648563</c:v>
                </c:pt>
                <c:pt idx="1261">
                  <c:v>12.522337055046416</c:v>
                </c:pt>
                <c:pt idx="1262">
                  <c:v>12.560912269897109</c:v>
                </c:pt>
                <c:pt idx="1263">
                  <c:v>12.525300062093853</c:v>
                </c:pt>
                <c:pt idx="1264">
                  <c:v>12.424486603616277</c:v>
                </c:pt>
                <c:pt idx="1265">
                  <c:v>12.592165754046139</c:v>
                </c:pt>
                <c:pt idx="1266">
                  <c:v>14.136429483375396</c:v>
                </c:pt>
                <c:pt idx="1267">
                  <c:v>13.9833871853875</c:v>
                </c:pt>
                <c:pt idx="1268">
                  <c:v>14.699492319971844</c:v>
                </c:pt>
                <c:pt idx="1269">
                  <c:v>13.238975769236392</c:v>
                </c:pt>
                <c:pt idx="1270">
                  <c:v>13.367564573869844</c:v>
                </c:pt>
                <c:pt idx="1271">
                  <c:v>11.751135704850238</c:v>
                </c:pt>
                <c:pt idx="1272">
                  <c:v>11.386159863651107</c:v>
                </c:pt>
                <c:pt idx="1273">
                  <c:v>8.9958897248445098</c:v>
                </c:pt>
                <c:pt idx="1274">
                  <c:v>7.8364563886317375</c:v>
                </c:pt>
                <c:pt idx="1275">
                  <c:v>9.1423006448113995</c:v>
                </c:pt>
                <c:pt idx="1276">
                  <c:v>9.2555118290586122</c:v>
                </c:pt>
                <c:pt idx="1277">
                  <c:v>9.6163306621549918</c:v>
                </c:pt>
                <c:pt idx="1278">
                  <c:v>9.4942068677946612</c:v>
                </c:pt>
                <c:pt idx="1279">
                  <c:v>9.453472812505554</c:v>
                </c:pt>
                <c:pt idx="1280">
                  <c:v>9.4489331620938533</c:v>
                </c:pt>
                <c:pt idx="1281">
                  <c:v>9.290196458584381</c:v>
                </c:pt>
                <c:pt idx="1282">
                  <c:v>9.2533374976772205</c:v>
                </c:pt>
                <c:pt idx="1283">
                  <c:v>8.8915194210068851</c:v>
                </c:pt>
                <c:pt idx="1284">
                  <c:v>8.9042640119169985</c:v>
                </c:pt>
                <c:pt idx="1285">
                  <c:v>8.9902546957122595</c:v>
                </c:pt>
                <c:pt idx="1286">
                  <c:v>9.1739382522902577</c:v>
                </c:pt>
                <c:pt idx="1287">
                  <c:v>9.278585158937485</c:v>
                </c:pt>
                <c:pt idx="1288">
                  <c:v>9.50701749700929</c:v>
                </c:pt>
                <c:pt idx="1289">
                  <c:v>9.4820672802868362</c:v>
                </c:pt>
                <c:pt idx="1290">
                  <c:v>9.6423637097061139</c:v>
                </c:pt>
                <c:pt idx="1291">
                  <c:v>9.4792372279127957</c:v>
                </c:pt>
                <c:pt idx="1292">
                  <c:v>9.4740518420980173</c:v>
                </c:pt>
                <c:pt idx="1293">
                  <c:v>9.8360268775577886</c:v>
                </c:pt>
                <c:pt idx="1294">
                  <c:v>10.003056438758625</c:v>
                </c:pt>
                <c:pt idx="1295">
                  <c:v>10.079177026082442</c:v>
                </c:pt>
                <c:pt idx="1296">
                  <c:v>10.07951587736496</c:v>
                </c:pt>
                <c:pt idx="1297">
                  <c:v>10.279103285151384</c:v>
                </c:pt>
                <c:pt idx="1298">
                  <c:v>10.330073298138121</c:v>
                </c:pt>
                <c:pt idx="1299">
                  <c:v>10.278556860406958</c:v>
                </c:pt>
                <c:pt idx="1300">
                  <c:v>10.077991648931194</c:v>
                </c:pt>
                <c:pt idx="1301">
                  <c:v>9.9518764798933486</c:v>
                </c:pt>
                <c:pt idx="1302">
                  <c:v>9.8209796626909203</c:v>
                </c:pt>
                <c:pt idx="1303">
                  <c:v>9.6825331616601247</c:v>
                </c:pt>
                <c:pt idx="1304">
                  <c:v>9.7607521421118957</c:v>
                </c:pt>
                <c:pt idx="1305">
                  <c:v>10.226618466056012</c:v>
                </c:pt>
                <c:pt idx="1306">
                  <c:v>10.31298542361168</c:v>
                </c:pt>
                <c:pt idx="1307">
                  <c:v>10.449051948572583</c:v>
                </c:pt>
                <c:pt idx="1308">
                  <c:v>10.446912995266532</c:v>
                </c:pt>
                <c:pt idx="1309">
                  <c:v>10.365003102108687</c:v>
                </c:pt>
                <c:pt idx="1310">
                  <c:v>9.942908747230172</c:v>
                </c:pt>
                <c:pt idx="1311">
                  <c:v>9.8833430210009841</c:v>
                </c:pt>
                <c:pt idx="1312">
                  <c:v>10.032653827006552</c:v>
                </c:pt>
                <c:pt idx="1313">
                  <c:v>10.42337346319059</c:v>
                </c:pt>
                <c:pt idx="1314">
                  <c:v>11.07169924137972</c:v>
                </c:pt>
                <c:pt idx="1315">
                  <c:v>11.48833079568025</c:v>
                </c:pt>
                <c:pt idx="1316">
                  <c:v>11.366176578177601</c:v>
                </c:pt>
                <c:pt idx="1317">
                  <c:v>11.141680876206951</c:v>
                </c:pt>
                <c:pt idx="1318">
                  <c:v>10.847472772744664</c:v>
                </c:pt>
                <c:pt idx="1319">
                  <c:v>10.825862840991885</c:v>
                </c:pt>
                <c:pt idx="1320">
                  <c:v>11.22444349846076</c:v>
                </c:pt>
                <c:pt idx="1321">
                  <c:v>11.118632929223883</c:v>
                </c:pt>
                <c:pt idx="1322">
                  <c:v>11.581735442909524</c:v>
                </c:pt>
                <c:pt idx="1323">
                  <c:v>11.490429859829465</c:v>
                </c:pt>
                <c:pt idx="1324">
                  <c:v>11.524467033584111</c:v>
                </c:pt>
                <c:pt idx="1325">
                  <c:v>11.500326819518689</c:v>
                </c:pt>
                <c:pt idx="1326">
                  <c:v>11.233111253818537</c:v>
                </c:pt>
                <c:pt idx="1327">
                  <c:v>11.16832192676676</c:v>
                </c:pt>
                <c:pt idx="1328">
                  <c:v>10.834799690525108</c:v>
                </c:pt>
                <c:pt idx="1329">
                  <c:v>10.785461806649062</c:v>
                </c:pt>
                <c:pt idx="1330">
                  <c:v>10.91241618026978</c:v>
                </c:pt>
                <c:pt idx="1331">
                  <c:v>10.912133186845654</c:v>
                </c:pt>
                <c:pt idx="1332">
                  <c:v>10.785001748015114</c:v>
                </c:pt>
                <c:pt idx="1333">
                  <c:v>10.10668994718317</c:v>
                </c:pt>
                <c:pt idx="1334">
                  <c:v>10.208983938784574</c:v>
                </c:pt>
                <c:pt idx="1335">
                  <c:v>10.060346245039192</c:v>
                </c:pt>
                <c:pt idx="1336">
                  <c:v>10.081204198080561</c:v>
                </c:pt>
                <c:pt idx="1337">
                  <c:v>10.038799317875464</c:v>
                </c:pt>
                <c:pt idx="1338">
                  <c:v>9.7845608860281885</c:v>
                </c:pt>
                <c:pt idx="1339">
                  <c:v>9.8475511531012891</c:v>
                </c:pt>
                <c:pt idx="1340">
                  <c:v>10.885108992823227</c:v>
                </c:pt>
                <c:pt idx="1341">
                  <c:v>11.07318128045813</c:v>
                </c:pt>
                <c:pt idx="1342">
                  <c:v>10.784513214854067</c:v>
                </c:pt>
                <c:pt idx="1343">
                  <c:v>10.906950490047354</c:v>
                </c:pt>
                <c:pt idx="1344">
                  <c:v>11.23011140087708</c:v>
                </c:pt>
                <c:pt idx="1345">
                  <c:v>11.400976044195328</c:v>
                </c:pt>
                <c:pt idx="1346">
                  <c:v>11.1471598108053</c:v>
                </c:pt>
                <c:pt idx="1347">
                  <c:v>11.163518976049208</c:v>
                </c:pt>
                <c:pt idx="1348">
                  <c:v>11.324664245186796</c:v>
                </c:pt>
                <c:pt idx="1349">
                  <c:v>11.202930597398961</c:v>
                </c:pt>
                <c:pt idx="1350">
                  <c:v>11.099378805453329</c:v>
                </c:pt>
                <c:pt idx="1351">
                  <c:v>11.081541648917684</c:v>
                </c:pt>
                <c:pt idx="1352">
                  <c:v>10.741206820917037</c:v>
                </c:pt>
                <c:pt idx="1353">
                  <c:v>10.759788903639631</c:v>
                </c:pt>
                <c:pt idx="1354">
                  <c:v>10.529950410821327</c:v>
                </c:pt>
                <c:pt idx="1355">
                  <c:v>10.108506397980602</c:v>
                </c:pt>
                <c:pt idx="1356">
                  <c:v>9.8457106768425007</c:v>
                </c:pt>
                <c:pt idx="1357">
                  <c:v>9.2897891398362198</c:v>
                </c:pt>
                <c:pt idx="1358">
                  <c:v>9.62323353500528</c:v>
                </c:pt>
                <c:pt idx="1359">
                  <c:v>9.3863185133348264</c:v>
                </c:pt>
                <c:pt idx="1360">
                  <c:v>9.3464564893442823</c:v>
                </c:pt>
                <c:pt idx="1361">
                  <c:v>9.1597805375698282</c:v>
                </c:pt>
                <c:pt idx="1362">
                  <c:v>8.7183509017546825</c:v>
                </c:pt>
                <c:pt idx="1363">
                  <c:v>8.7174274005476029</c:v>
                </c:pt>
                <c:pt idx="1364">
                  <c:v>8.5478280560869031</c:v>
                </c:pt>
                <c:pt idx="1365">
                  <c:v>8.5135424925420526</c:v>
                </c:pt>
                <c:pt idx="1366">
                  <c:v>8.4965086332657336</c:v>
                </c:pt>
                <c:pt idx="1367">
                  <c:v>8.2590441004404269</c:v>
                </c:pt>
                <c:pt idx="1368">
                  <c:v>8.2924541558685601</c:v>
                </c:pt>
                <c:pt idx="1369">
                  <c:v>8.4619594838903218</c:v>
                </c:pt>
                <c:pt idx="1370">
                  <c:v>8.7498619107055706</c:v>
                </c:pt>
                <c:pt idx="1371">
                  <c:v>8.5072072028317045</c:v>
                </c:pt>
                <c:pt idx="1372">
                  <c:v>8.4735689962344924</c:v>
                </c:pt>
                <c:pt idx="1373">
                  <c:v>8.4459447796558891</c:v>
                </c:pt>
                <c:pt idx="1374">
                  <c:v>8.507858906754592</c:v>
                </c:pt>
                <c:pt idx="1375">
                  <c:v>8.6117110702828654</c:v>
                </c:pt>
                <c:pt idx="1376">
                  <c:v>8.5999266979313251</c:v>
                </c:pt>
                <c:pt idx="1377">
                  <c:v>8.4778151464740574</c:v>
                </c:pt>
                <c:pt idx="1378">
                  <c:v>8.4781867105544233</c:v>
                </c:pt>
                <c:pt idx="1379">
                  <c:v>8.5380446777438355</c:v>
                </c:pt>
                <c:pt idx="1380">
                  <c:v>8.4003058270938507</c:v>
                </c:pt>
                <c:pt idx="1381">
                  <c:v>8.0340401049091312</c:v>
                </c:pt>
                <c:pt idx="1382">
                  <c:v>7.7953602749268391</c:v>
                </c:pt>
                <c:pt idx="1383">
                  <c:v>7.5569662447774872</c:v>
                </c:pt>
                <c:pt idx="1384">
                  <c:v>7.5564589000154276</c:v>
                </c:pt>
                <c:pt idx="1385">
                  <c:v>7.8857954481937922</c:v>
                </c:pt>
                <c:pt idx="1386">
                  <c:v>7.8361600962915681</c:v>
                </c:pt>
                <c:pt idx="1387">
                  <c:v>7.5916824287102509</c:v>
                </c:pt>
                <c:pt idx="1388">
                  <c:v>7.7575409171540688</c:v>
                </c:pt>
                <c:pt idx="1389">
                  <c:v>7.3501275055660953</c:v>
                </c:pt>
                <c:pt idx="1390">
                  <c:v>7.2699974798095246</c:v>
                </c:pt>
                <c:pt idx="1391">
                  <c:v>6.9622322796861535</c:v>
                </c:pt>
                <c:pt idx="1392">
                  <c:v>6.9121116970391725</c:v>
                </c:pt>
                <c:pt idx="1393">
                  <c:v>7.0604729789715028</c:v>
                </c:pt>
                <c:pt idx="1394">
                  <c:v>7.2086073472124603</c:v>
                </c:pt>
                <c:pt idx="1395">
                  <c:v>7.1752823001098491</c:v>
                </c:pt>
                <c:pt idx="1396">
                  <c:v>7.1707216469941688</c:v>
                </c:pt>
                <c:pt idx="1397">
                  <c:v>7.1302048950931338</c:v>
                </c:pt>
                <c:pt idx="1398">
                  <c:v>7.063578921590274</c:v>
                </c:pt>
                <c:pt idx="1399">
                  <c:v>6.9064787445630502</c:v>
                </c:pt>
                <c:pt idx="1400">
                  <c:v>6.4942821147560927</c:v>
                </c:pt>
                <c:pt idx="1401">
                  <c:v>6.509446263641304</c:v>
                </c:pt>
                <c:pt idx="1402">
                  <c:v>6.562044954172876</c:v>
                </c:pt>
                <c:pt idx="1403">
                  <c:v>6.6321100390546928</c:v>
                </c:pt>
                <c:pt idx="1404">
                  <c:v>6.5442280166877049</c:v>
                </c:pt>
                <c:pt idx="1405">
                  <c:v>6.6493073840589174</c:v>
                </c:pt>
                <c:pt idx="1406">
                  <c:v>7.0281293974277146</c:v>
                </c:pt>
                <c:pt idx="1407">
                  <c:v>6.9387389431254558</c:v>
                </c:pt>
                <c:pt idx="1408">
                  <c:v>6.7252220235808631</c:v>
                </c:pt>
                <c:pt idx="1409">
                  <c:v>6.8139220396622404</c:v>
                </c:pt>
                <c:pt idx="1410">
                  <c:v>7.2815354306411662</c:v>
                </c:pt>
                <c:pt idx="1411">
                  <c:v>7.3681511001799844</c:v>
                </c:pt>
                <c:pt idx="1412">
                  <c:v>7.1761949727068348</c:v>
                </c:pt>
                <c:pt idx="1413">
                  <c:v>7.5052703080733769</c:v>
                </c:pt>
                <c:pt idx="1414">
                  <c:v>7.1613623502555726</c:v>
                </c:pt>
                <c:pt idx="1415">
                  <c:v>7.4118891969695575</c:v>
                </c:pt>
                <c:pt idx="1416">
                  <c:v>7.4739453538585598</c:v>
                </c:pt>
                <c:pt idx="1417">
                  <c:v>7.4301571685889405</c:v>
                </c:pt>
                <c:pt idx="1418">
                  <c:v>7.5291965790076691</c:v>
                </c:pt>
                <c:pt idx="1419">
                  <c:v>8.2212615502300164</c:v>
                </c:pt>
                <c:pt idx="1420">
                  <c:v>8.3530392449787847</c:v>
                </c:pt>
                <c:pt idx="1421">
                  <c:v>8.229329836585956</c:v>
                </c:pt>
                <c:pt idx="1422">
                  <c:v>8.2218452941323719</c:v>
                </c:pt>
                <c:pt idx="1423">
                  <c:v>8.0439387140276217</c:v>
                </c:pt>
                <c:pt idx="1424">
                  <c:v>7.9551629020952008</c:v>
                </c:pt>
                <c:pt idx="1425">
                  <c:v>7.9770676620077161</c:v>
                </c:pt>
                <c:pt idx="1426">
                  <c:v>8.0875043454345761</c:v>
                </c:pt>
                <c:pt idx="1427">
                  <c:v>8.2477282539437855</c:v>
                </c:pt>
                <c:pt idx="1428">
                  <c:v>8.3397307511299168</c:v>
                </c:pt>
                <c:pt idx="1429">
                  <c:v>8.295707103439927</c:v>
                </c:pt>
                <c:pt idx="1430">
                  <c:v>8.3157220835477261</c:v>
                </c:pt>
                <c:pt idx="1431">
                  <c:v>8.2953334022568193</c:v>
                </c:pt>
                <c:pt idx="1432">
                  <c:v>8.2646263306687899</c:v>
                </c:pt>
                <c:pt idx="1433">
                  <c:v>8.2586641908192249</c:v>
                </c:pt>
                <c:pt idx="1434">
                  <c:v>8.4312458987153818</c:v>
                </c:pt>
                <c:pt idx="1435">
                  <c:v>8.5970509957781491</c:v>
                </c:pt>
                <c:pt idx="1436">
                  <c:v>8.5967295011348241</c:v>
                </c:pt>
                <c:pt idx="1437">
                  <c:v>8.6195627140084543</c:v>
                </c:pt>
                <c:pt idx="1438">
                  <c:v>8.6386927156329651</c:v>
                </c:pt>
                <c:pt idx="1439">
                  <c:v>8.6610365826671618</c:v>
                </c:pt>
                <c:pt idx="1440">
                  <c:v>8.6823530200211323</c:v>
                </c:pt>
                <c:pt idx="1441">
                  <c:v>8.6150416371012781</c:v>
                </c:pt>
                <c:pt idx="1442">
                  <c:v>8.4268461448009546</c:v>
                </c:pt>
                <c:pt idx="1443">
                  <c:v>8.4039266045895822</c:v>
                </c:pt>
                <c:pt idx="1444">
                  <c:v>8.4264074174186891</c:v>
                </c:pt>
                <c:pt idx="1445">
                  <c:v>8.4038276036139745</c:v>
                </c:pt>
                <c:pt idx="1446">
                  <c:v>8.0883538660495784</c:v>
                </c:pt>
                <c:pt idx="1447">
                  <c:v>7.6596113445829213</c:v>
                </c:pt>
                <c:pt idx="1448">
                  <c:v>7.636191621436593</c:v>
                </c:pt>
                <c:pt idx="1449">
                  <c:v>7.2800504137750774</c:v>
                </c:pt>
                <c:pt idx="1450">
                  <c:v>7.0616927797393538</c:v>
                </c:pt>
                <c:pt idx="1451">
                  <c:v>7.4172801194862279</c:v>
                </c:pt>
                <c:pt idx="1452">
                  <c:v>7.3768987054172488</c:v>
                </c:pt>
                <c:pt idx="1453">
                  <c:v>7.4559206410363092</c:v>
                </c:pt>
                <c:pt idx="1454">
                  <c:v>7.2777526999063999</c:v>
                </c:pt>
                <c:pt idx="1455">
                  <c:v>7.2013735258158134</c:v>
                </c:pt>
                <c:pt idx="1456">
                  <c:v>6.9434267833935897</c:v>
                </c:pt>
                <c:pt idx="1457">
                  <c:v>6.8241891705177151</c:v>
                </c:pt>
                <c:pt idx="1458">
                  <c:v>7.6744846071868418</c:v>
                </c:pt>
                <c:pt idx="1459">
                  <c:v>7.5537031592519552</c:v>
                </c:pt>
                <c:pt idx="1460">
                  <c:v>7.9686666399931037</c:v>
                </c:pt>
                <c:pt idx="1461">
                  <c:v>7.9348209540816113</c:v>
                </c:pt>
                <c:pt idx="1462">
                  <c:v>7.8583212694512659</c:v>
                </c:pt>
                <c:pt idx="1463">
                  <c:v>7.8088102788585942</c:v>
                </c:pt>
                <c:pt idx="1464">
                  <c:v>7.7426782529289424</c:v>
                </c:pt>
                <c:pt idx="1465">
                  <c:v>7.7062109169138271</c:v>
                </c:pt>
                <c:pt idx="1466">
                  <c:v>7.7038834803448015</c:v>
                </c:pt>
                <c:pt idx="1467">
                  <c:v>7.7219197981369323</c:v>
                </c:pt>
                <c:pt idx="1468">
                  <c:v>7.6386936056901096</c:v>
                </c:pt>
                <c:pt idx="1469">
                  <c:v>7.5723830957427056</c:v>
                </c:pt>
                <c:pt idx="1470">
                  <c:v>7.6358647105984501</c:v>
                </c:pt>
                <c:pt idx="1471">
                  <c:v>7.7148782464201728</c:v>
                </c:pt>
                <c:pt idx="1472">
                  <c:v>7.7352687238849684</c:v>
                </c:pt>
                <c:pt idx="1473">
                  <c:v>7.7300801455952461</c:v>
                </c:pt>
                <c:pt idx="1474">
                  <c:v>7.4822580766965547</c:v>
                </c:pt>
                <c:pt idx="1475">
                  <c:v>7.3197108267291702</c:v>
                </c:pt>
                <c:pt idx="1476">
                  <c:v>7.4421671442559489</c:v>
                </c:pt>
                <c:pt idx="1477">
                  <c:v>8.0208973246085034</c:v>
                </c:pt>
                <c:pt idx="1478">
                  <c:v>8.397680720852275</c:v>
                </c:pt>
                <c:pt idx="1479">
                  <c:v>8.0460594125649383</c:v>
                </c:pt>
                <c:pt idx="1480">
                  <c:v>8.0256022814240371</c:v>
                </c:pt>
                <c:pt idx="1481">
                  <c:v>8.3831944635285449</c:v>
                </c:pt>
                <c:pt idx="1482">
                  <c:v>8.3020633643072266</c:v>
                </c:pt>
                <c:pt idx="1483">
                  <c:v>8.4229708711832707</c:v>
                </c:pt>
                <c:pt idx="1484">
                  <c:v>8.3650615131340835</c:v>
                </c:pt>
                <c:pt idx="1485">
                  <c:v>8.3222054939303955</c:v>
                </c:pt>
                <c:pt idx="1486">
                  <c:v>8.3709335067781847</c:v>
                </c:pt>
                <c:pt idx="1487">
                  <c:v>8.4198663240747997</c:v>
                </c:pt>
                <c:pt idx="1488">
                  <c:v>8.3422477442967899</c:v>
                </c:pt>
                <c:pt idx="1489">
                  <c:v>8.1745339497972722</c:v>
                </c:pt>
                <c:pt idx="1490">
                  <c:v>7.9920531122104972</c:v>
                </c:pt>
                <c:pt idx="1491">
                  <c:v>8.1581888597278116</c:v>
                </c:pt>
                <c:pt idx="1492">
                  <c:v>8.4229274005131902</c:v>
                </c:pt>
                <c:pt idx="1493">
                  <c:v>8.8171421947423116</c:v>
                </c:pt>
                <c:pt idx="1494">
                  <c:v>8.8206608596732146</c:v>
                </c:pt>
                <c:pt idx="1495">
                  <c:v>8.6673658785095373</c:v>
                </c:pt>
                <c:pt idx="1496">
                  <c:v>8.5387607179958778</c:v>
                </c:pt>
                <c:pt idx="1497">
                  <c:v>8.4484106847322131</c:v>
                </c:pt>
                <c:pt idx="1498">
                  <c:v>8.6827507617612465</c:v>
                </c:pt>
                <c:pt idx="1499">
                  <c:v>8.3828124148875851</c:v>
                </c:pt>
                <c:pt idx="1500">
                  <c:v>8.251485778892107</c:v>
                </c:pt>
                <c:pt idx="1501">
                  <c:v>8.2701857632557303</c:v>
                </c:pt>
                <c:pt idx="1502">
                  <c:v>8.1630113219481597</c:v>
                </c:pt>
                <c:pt idx="1503">
                  <c:v>8.0128015085379172</c:v>
                </c:pt>
                <c:pt idx="1504">
                  <c:v>7.954385622428835</c:v>
                </c:pt>
                <c:pt idx="1505">
                  <c:v>7.8664255554054172</c:v>
                </c:pt>
                <c:pt idx="1506">
                  <c:v>7.8853521402410847</c:v>
                </c:pt>
                <c:pt idx="1507">
                  <c:v>7.9871240680524975</c:v>
                </c:pt>
                <c:pt idx="1508">
                  <c:v>7.89414957728403</c:v>
                </c:pt>
                <c:pt idx="1509">
                  <c:v>7.9430881099457702</c:v>
                </c:pt>
                <c:pt idx="1510">
                  <c:v>7.8538318810955383</c:v>
                </c:pt>
                <c:pt idx="1511">
                  <c:v>7.8382749260733284</c:v>
                </c:pt>
                <c:pt idx="1512">
                  <c:v>7.719239146598837</c:v>
                </c:pt>
                <c:pt idx="1513">
                  <c:v>7.9276872554665641</c:v>
                </c:pt>
                <c:pt idx="1514">
                  <c:v>7.4954930438700149</c:v>
                </c:pt>
                <c:pt idx="1515">
                  <c:v>7.1545097687319625</c:v>
                </c:pt>
                <c:pt idx="1516">
                  <c:v>7.0538811139573028</c:v>
                </c:pt>
                <c:pt idx="1517">
                  <c:v>6.8763355154145778</c:v>
                </c:pt>
                <c:pt idx="1518">
                  <c:v>6.8168464277776666</c:v>
                </c:pt>
                <c:pt idx="1519">
                  <c:v>6.6985065541966353</c:v>
                </c:pt>
                <c:pt idx="1520">
                  <c:v>6.5997431399056721</c:v>
                </c:pt>
                <c:pt idx="1521">
                  <c:v>6.5798295612587694</c:v>
                </c:pt>
                <c:pt idx="1522">
                  <c:v>6.7964855940828643</c:v>
                </c:pt>
                <c:pt idx="1523">
                  <c:v>6.9732943219220678</c:v>
                </c:pt>
                <c:pt idx="1524">
                  <c:v>7.0713873846580793</c:v>
                </c:pt>
                <c:pt idx="1525">
                  <c:v>6.9926062134145939</c:v>
                </c:pt>
                <c:pt idx="1526">
                  <c:v>7.040978795459953</c:v>
                </c:pt>
                <c:pt idx="1527">
                  <c:v>7.3124047744407168</c:v>
                </c:pt>
                <c:pt idx="1528">
                  <c:v>7.6470241466864159</c:v>
                </c:pt>
                <c:pt idx="1529">
                  <c:v>7.6295227782119657</c:v>
                </c:pt>
                <c:pt idx="1530">
                  <c:v>7.3686637463589033</c:v>
                </c:pt>
                <c:pt idx="1531">
                  <c:v>7.3981642517005879</c:v>
                </c:pt>
                <c:pt idx="1532">
                  <c:v>7.5460302309826268</c:v>
                </c:pt>
                <c:pt idx="1533">
                  <c:v>7.4316394928667346</c:v>
                </c:pt>
                <c:pt idx="1534">
                  <c:v>7.3670741734037284</c:v>
                </c:pt>
                <c:pt idx="1535">
                  <c:v>7.2567112451876152</c:v>
                </c:pt>
                <c:pt idx="1536">
                  <c:v>7.4150961991852586</c:v>
                </c:pt>
                <c:pt idx="1537">
                  <c:v>7.6201316893376747</c:v>
                </c:pt>
                <c:pt idx="1538">
                  <c:v>7.5244855396830879</c:v>
                </c:pt>
                <c:pt idx="1539">
                  <c:v>7.5398931826078126</c:v>
                </c:pt>
                <c:pt idx="1540">
                  <c:v>7.4790498672442114</c:v>
                </c:pt>
                <c:pt idx="1541">
                  <c:v>7.3573142448524962</c:v>
                </c:pt>
                <c:pt idx="1542">
                  <c:v>7.116470076821436</c:v>
                </c:pt>
                <c:pt idx="1543">
                  <c:v>7.7179642997494398</c:v>
                </c:pt>
                <c:pt idx="1544">
                  <c:v>7.6520332996890605</c:v>
                </c:pt>
                <c:pt idx="1545">
                  <c:v>7.613734585623785</c:v>
                </c:pt>
                <c:pt idx="1546">
                  <c:v>7.6003514290227683</c:v>
                </c:pt>
                <c:pt idx="1547">
                  <c:v>7.6086616710250832</c:v>
                </c:pt>
                <c:pt idx="1548">
                  <c:v>7.5063122968878924</c:v>
                </c:pt>
                <c:pt idx="1549">
                  <c:v>7.6715902304620434</c:v>
                </c:pt>
                <c:pt idx="1550">
                  <c:v>7.4212857497414539</c:v>
                </c:pt>
                <c:pt idx="1551">
                  <c:v>7.3994825377152553</c:v>
                </c:pt>
                <c:pt idx="1552">
                  <c:v>7.6161925420703698</c:v>
                </c:pt>
                <c:pt idx="1553">
                  <c:v>6.9176790474695098</c:v>
                </c:pt>
                <c:pt idx="1554">
                  <c:v>6.9821642735330496</c:v>
                </c:pt>
                <c:pt idx="1555">
                  <c:v>7.1217079730080322</c:v>
                </c:pt>
                <c:pt idx="1556">
                  <c:v>7.4533652883364665</c:v>
                </c:pt>
                <c:pt idx="1557">
                  <c:v>7.6348336003383297</c:v>
                </c:pt>
                <c:pt idx="1558">
                  <c:v>7.589965537552243</c:v>
                </c:pt>
                <c:pt idx="1559">
                  <c:v>7.5446568961740148</c:v>
                </c:pt>
                <c:pt idx="1560">
                  <c:v>7.5274386548860592</c:v>
                </c:pt>
                <c:pt idx="1561">
                  <c:v>7.4524996699256469</c:v>
                </c:pt>
                <c:pt idx="1562">
                  <c:v>7.600349562154797</c:v>
                </c:pt>
                <c:pt idx="1563">
                  <c:v>7.605819089123905</c:v>
                </c:pt>
                <c:pt idx="1564">
                  <c:v>7.3344834191771184</c:v>
                </c:pt>
                <c:pt idx="1565">
                  <c:v>7.0196616256165978</c:v>
                </c:pt>
                <c:pt idx="1566">
                  <c:v>7.0190072470857734</c:v>
                </c:pt>
                <c:pt idx="1567">
                  <c:v>7.143237649865859</c:v>
                </c:pt>
                <c:pt idx="1568">
                  <c:v>6.935910391417722</c:v>
                </c:pt>
                <c:pt idx="1569">
                  <c:v>7.0803973728463685</c:v>
                </c:pt>
                <c:pt idx="1570">
                  <c:v>7.8046729665786385</c:v>
                </c:pt>
                <c:pt idx="1571">
                  <c:v>8.0810833929483312</c:v>
                </c:pt>
                <c:pt idx="1572">
                  <c:v>7.9856845740644964</c:v>
                </c:pt>
                <c:pt idx="1573">
                  <c:v>7.6770766860241535</c:v>
                </c:pt>
                <c:pt idx="1574">
                  <c:v>7.8437364346985614</c:v>
                </c:pt>
                <c:pt idx="1575">
                  <c:v>7.5327161731955492</c:v>
                </c:pt>
                <c:pt idx="1576">
                  <c:v>7.9804360824304039</c:v>
                </c:pt>
                <c:pt idx="1577">
                  <c:v>8.1410195733473394</c:v>
                </c:pt>
                <c:pt idx="1578">
                  <c:v>8.3402630817435952</c:v>
                </c:pt>
                <c:pt idx="1579">
                  <c:v>8.3354184680525343</c:v>
                </c:pt>
                <c:pt idx="1580">
                  <c:v>8.6927334798467637</c:v>
                </c:pt>
                <c:pt idx="1581">
                  <c:v>8.8124000870614978</c:v>
                </c:pt>
                <c:pt idx="1582">
                  <c:v>8.9319415980263148</c:v>
                </c:pt>
                <c:pt idx="1583">
                  <c:v>8.9274677276432701</c:v>
                </c:pt>
                <c:pt idx="1584">
                  <c:v>9.0035661536441598</c:v>
                </c:pt>
                <c:pt idx="1585">
                  <c:v>9.1638450688169684</c:v>
                </c:pt>
                <c:pt idx="1586">
                  <c:v>8.6097060190347481</c:v>
                </c:pt>
                <c:pt idx="1587">
                  <c:v>8.6698542996787769</c:v>
                </c:pt>
                <c:pt idx="1588">
                  <c:v>6.5136359878474659</c:v>
                </c:pt>
                <c:pt idx="1589">
                  <c:v>6.137272822069459</c:v>
                </c:pt>
                <c:pt idx="1590">
                  <c:v>4.5789789369726464</c:v>
                </c:pt>
                <c:pt idx="1591">
                  <c:v>5.3343644031785864</c:v>
                </c:pt>
                <c:pt idx="1592">
                  <c:v>4.3704872359984579</c:v>
                </c:pt>
                <c:pt idx="1593">
                  <c:v>4.4274998750116872</c:v>
                </c:pt>
                <c:pt idx="1594">
                  <c:v>4.3997569524644469</c:v>
                </c:pt>
                <c:pt idx="1595">
                  <c:v>4.5107225019444819</c:v>
                </c:pt>
                <c:pt idx="1596">
                  <c:v>4.4926393234153874</c:v>
                </c:pt>
                <c:pt idx="1597">
                  <c:v>4.4412697743538549</c:v>
                </c:pt>
                <c:pt idx="1598">
                  <c:v>4.2714572439540142</c:v>
                </c:pt>
                <c:pt idx="1599">
                  <c:v>4.2286200972958996</c:v>
                </c:pt>
                <c:pt idx="1600">
                  <c:v>4.167854697697762</c:v>
                </c:pt>
                <c:pt idx="1601">
                  <c:v>4.2823151392566707</c:v>
                </c:pt>
                <c:pt idx="1602">
                  <c:v>4.3274132351033634</c:v>
                </c:pt>
                <c:pt idx="1603">
                  <c:v>4.2836477664178627</c:v>
                </c:pt>
                <c:pt idx="1604">
                  <c:v>4.3004561353147421</c:v>
                </c:pt>
                <c:pt idx="1605">
                  <c:v>4.3646509728073051</c:v>
                </c:pt>
                <c:pt idx="1606">
                  <c:v>4.3493220821435745</c:v>
                </c:pt>
                <c:pt idx="1607">
                  <c:v>4.339515690103962</c:v>
                </c:pt>
                <c:pt idx="1608">
                  <c:v>4.3431183566305034</c:v>
                </c:pt>
                <c:pt idx="1609">
                  <c:v>4.3867583099366065</c:v>
                </c:pt>
                <c:pt idx="1610">
                  <c:v>4.406441926584364</c:v>
                </c:pt>
                <c:pt idx="1611">
                  <c:v>4.4264783088735991</c:v>
                </c:pt>
                <c:pt idx="1612">
                  <c:v>4.3878065207911066</c:v>
                </c:pt>
                <c:pt idx="1613">
                  <c:v>4.3719109860446279</c:v>
                </c:pt>
                <c:pt idx="1614">
                  <c:v>4.3767987131733568</c:v>
                </c:pt>
                <c:pt idx="1615">
                  <c:v>4.41387352336137</c:v>
                </c:pt>
                <c:pt idx="1616">
                  <c:v>4.5876293473717569</c:v>
                </c:pt>
                <c:pt idx="1617">
                  <c:v>4.7617846333059211</c:v>
                </c:pt>
                <c:pt idx="1618">
                  <c:v>4.7677092365264517</c:v>
                </c:pt>
                <c:pt idx="1619">
                  <c:v>4.8325457169964574</c:v>
                </c:pt>
                <c:pt idx="1620">
                  <c:v>4.8096394043267079</c:v>
                </c:pt>
                <c:pt idx="1621">
                  <c:v>4.9907115289593449</c:v>
                </c:pt>
                <c:pt idx="1622">
                  <c:v>5.1641066052064284</c:v>
                </c:pt>
                <c:pt idx="1623">
                  <c:v>5.1342435425268347</c:v>
                </c:pt>
                <c:pt idx="1624">
                  <c:v>5.2976774619044855</c:v>
                </c:pt>
                <c:pt idx="1625">
                  <c:v>5.393134512954858</c:v>
                </c:pt>
                <c:pt idx="1626">
                  <c:v>5.1771698177730574</c:v>
                </c:pt>
                <c:pt idx="1627">
                  <c:v>5.2200385009811496</c:v>
                </c:pt>
                <c:pt idx="1628">
                  <c:v>4.7888699604839742</c:v>
                </c:pt>
                <c:pt idx="1629">
                  <c:v>4.6035173697187517</c:v>
                </c:pt>
                <c:pt idx="1630">
                  <c:v>5.010295176015652</c:v>
                </c:pt>
                <c:pt idx="1631">
                  <c:v>5.2972891659239441</c:v>
                </c:pt>
                <c:pt idx="1632">
                  <c:v>5.3106322299067896</c:v>
                </c:pt>
                <c:pt idx="1633">
                  <c:v>5.3081314700163338</c:v>
                </c:pt>
                <c:pt idx="1634">
                  <c:v>5.1720161461785157</c:v>
                </c:pt>
                <c:pt idx="1635">
                  <c:v>5.1623037151489797</c:v>
                </c:pt>
                <c:pt idx="1636">
                  <c:v>4.8618824311520932</c:v>
                </c:pt>
                <c:pt idx="1637">
                  <c:v>4.8416088919156604</c:v>
                </c:pt>
                <c:pt idx="1638">
                  <c:v>4.5531068346697854</c:v>
                </c:pt>
                <c:pt idx="1639">
                  <c:v>5.1109861904687026</c:v>
                </c:pt>
                <c:pt idx="1640">
                  <c:v>4.8071360038224196</c:v>
                </c:pt>
                <c:pt idx="1641">
                  <c:v>4.8981847787235679</c:v>
                </c:pt>
                <c:pt idx="1642">
                  <c:v>4.9117560992604643</c:v>
                </c:pt>
                <c:pt idx="1643">
                  <c:v>4.9607518227906304</c:v>
                </c:pt>
                <c:pt idx="1644">
                  <c:v>5.0350728932564452</c:v>
                </c:pt>
                <c:pt idx="1645">
                  <c:v>5.0834618506446061</c:v>
                </c:pt>
                <c:pt idx="1646">
                  <c:v>4.9641373135935769</c:v>
                </c:pt>
                <c:pt idx="1647">
                  <c:v>5.0382263063547237</c:v>
                </c:pt>
                <c:pt idx="1648">
                  <c:v>5.0368565563960885</c:v>
                </c:pt>
                <c:pt idx="1649">
                  <c:v>5.554025960764144</c:v>
                </c:pt>
                <c:pt idx="1650">
                  <c:v>6.0955115440400407</c:v>
                </c:pt>
                <c:pt idx="1651">
                  <c:v>6.0700785711195815</c:v>
                </c:pt>
                <c:pt idx="1652">
                  <c:v>6.1909417591618361</c:v>
                </c:pt>
                <c:pt idx="1653">
                  <c:v>6.165889927896675</c:v>
                </c:pt>
                <c:pt idx="1654">
                  <c:v>6.168050434230957</c:v>
                </c:pt>
                <c:pt idx="1655">
                  <c:v>6.2274704148054045</c:v>
                </c:pt>
                <c:pt idx="1656">
                  <c:v>6.081797360828749</c:v>
                </c:pt>
                <c:pt idx="1657">
                  <c:v>5.9976675270338227</c:v>
                </c:pt>
                <c:pt idx="1658">
                  <c:v>6.1103326067559411</c:v>
                </c:pt>
                <c:pt idx="1659">
                  <c:v>6.0872780426076707</c:v>
                </c:pt>
                <c:pt idx="1660">
                  <c:v>6.0850268797030571</c:v>
                </c:pt>
                <c:pt idx="1661">
                  <c:v>6.0724390129309773</c:v>
                </c:pt>
                <c:pt idx="1662">
                  <c:v>6.064241978525307</c:v>
                </c:pt>
                <c:pt idx="1663">
                  <c:v>6.1155611928678404</c:v>
                </c:pt>
                <c:pt idx="1664">
                  <c:v>6.0842466470577214</c:v>
                </c:pt>
                <c:pt idx="1665">
                  <c:v>6.0957362201212346</c:v>
                </c:pt>
                <c:pt idx="1666">
                  <c:v>6.0616860874694236</c:v>
                </c:pt>
                <c:pt idx="1667">
                  <c:v>6.0569912895910303</c:v>
                </c:pt>
                <c:pt idx="1668">
                  <c:v>6.1261314651301646</c:v>
                </c:pt>
                <c:pt idx="1669">
                  <c:v>6.1574538024137988</c:v>
                </c:pt>
                <c:pt idx="1670">
                  <c:v>6.11497810579493</c:v>
                </c:pt>
                <c:pt idx="1671">
                  <c:v>6.0962032517955658</c:v>
                </c:pt>
                <c:pt idx="1672">
                  <c:v>6.076290543138243</c:v>
                </c:pt>
                <c:pt idx="1673">
                  <c:v>6.0761433504254008</c:v>
                </c:pt>
                <c:pt idx="1674">
                  <c:v>6.1134462997148509</c:v>
                </c:pt>
                <c:pt idx="1675">
                  <c:v>6.16741695761963</c:v>
                </c:pt>
                <c:pt idx="1676">
                  <c:v>6.2899585489426579</c:v>
                </c:pt>
                <c:pt idx="1677">
                  <c:v>6.1427957443137888</c:v>
                </c:pt>
                <c:pt idx="1678">
                  <c:v>6.115569997708076</c:v>
                </c:pt>
                <c:pt idx="1679">
                  <c:v>6.0278754164745125</c:v>
                </c:pt>
                <c:pt idx="1680">
                  <c:v>6.0238039130494538</c:v>
                </c:pt>
                <c:pt idx="1681">
                  <c:v>5.9558239354642151</c:v>
                </c:pt>
                <c:pt idx="1682">
                  <c:v>5.9516563397354965</c:v>
                </c:pt>
                <c:pt idx="1683">
                  <c:v>5.8791474621700477</c:v>
                </c:pt>
                <c:pt idx="1684">
                  <c:v>5.6424211245429747</c:v>
                </c:pt>
                <c:pt idx="1685">
                  <c:v>5.2914344759866614</c:v>
                </c:pt>
                <c:pt idx="1686">
                  <c:v>5.4179712453653286</c:v>
                </c:pt>
                <c:pt idx="1687">
                  <c:v>5.5471922595840235</c:v>
                </c:pt>
                <c:pt idx="1688">
                  <c:v>5.4929397358277274</c:v>
                </c:pt>
                <c:pt idx="1689">
                  <c:v>5.7096655274047849</c:v>
                </c:pt>
                <c:pt idx="1690">
                  <c:v>5.5755347324603317</c:v>
                </c:pt>
                <c:pt idx="1691">
                  <c:v>5.5829186956478214</c:v>
                </c:pt>
                <c:pt idx="1692">
                  <c:v>5.4365165095422761</c:v>
                </c:pt>
                <c:pt idx="1693">
                  <c:v>5.4562024044978408</c:v>
                </c:pt>
                <c:pt idx="1694">
                  <c:v>5.3869392128666185</c:v>
                </c:pt>
                <c:pt idx="1695">
                  <c:v>5.2759396149228497</c:v>
                </c:pt>
                <c:pt idx="1696">
                  <c:v>5.2387992765532969</c:v>
                </c:pt>
                <c:pt idx="1697">
                  <c:v>5.1215828307299764</c:v>
                </c:pt>
                <c:pt idx="1698">
                  <c:v>5.2588290910173523</c:v>
                </c:pt>
                <c:pt idx="1699">
                  <c:v>5.0866610403002834</c:v>
                </c:pt>
                <c:pt idx="1700">
                  <c:v>5.1612565767683538</c:v>
                </c:pt>
                <c:pt idx="1701">
                  <c:v>5.1289657007661784</c:v>
                </c:pt>
                <c:pt idx="1702">
                  <c:v>5.0057193827585973</c:v>
                </c:pt>
                <c:pt idx="1703">
                  <c:v>4.9247539079939395</c:v>
                </c:pt>
                <c:pt idx="1704">
                  <c:v>4.7889012007126341</c:v>
                </c:pt>
                <c:pt idx="1705">
                  <c:v>4.6666630909309115</c:v>
                </c:pt>
                <c:pt idx="1706">
                  <c:v>4.6444957577047763</c:v>
                </c:pt>
                <c:pt idx="1707">
                  <c:v>4.5129996297923078</c:v>
                </c:pt>
                <c:pt idx="1708">
                  <c:v>4.5017649052494066</c:v>
                </c:pt>
                <c:pt idx="1709">
                  <c:v>4.4141155043432541</c:v>
                </c:pt>
                <c:pt idx="1710">
                  <c:v>4.5344113390727845</c:v>
                </c:pt>
                <c:pt idx="1711">
                  <c:v>4.5779491534499197</c:v>
                </c:pt>
                <c:pt idx="1712">
                  <c:v>4.3478594052895918</c:v>
                </c:pt>
                <c:pt idx="1713">
                  <c:v>4.2587324671867721</c:v>
                </c:pt>
                <c:pt idx="1714">
                  <c:v>3.9875298124332117</c:v>
                </c:pt>
                <c:pt idx="1715">
                  <c:v>4.0203026318260457</c:v>
                </c:pt>
                <c:pt idx="1716">
                  <c:v>4.0868626068823453</c:v>
                </c:pt>
                <c:pt idx="1717">
                  <c:v>4.2644038503472785</c:v>
                </c:pt>
                <c:pt idx="1718">
                  <c:v>4.4416789677160757</c:v>
                </c:pt>
                <c:pt idx="1719">
                  <c:v>4.5543003678909528</c:v>
                </c:pt>
                <c:pt idx="1720">
                  <c:v>4.7826842826806804</c:v>
                </c:pt>
                <c:pt idx="1721">
                  <c:v>4.6594052408193241</c:v>
                </c:pt>
                <c:pt idx="1722">
                  <c:v>4.4940627451280433</c:v>
                </c:pt>
                <c:pt idx="1723">
                  <c:v>4.7240018663192176</c:v>
                </c:pt>
                <c:pt idx="1724">
                  <c:v>4.7635563090103323</c:v>
                </c:pt>
                <c:pt idx="1725">
                  <c:v>4.7665302177443527</c:v>
                </c:pt>
                <c:pt idx="1726">
                  <c:v>4.8187556998125007</c:v>
                </c:pt>
                <c:pt idx="1727">
                  <c:v>4.8682853940279696</c:v>
                </c:pt>
                <c:pt idx="1728">
                  <c:v>4.9551751341196679</c:v>
                </c:pt>
                <c:pt idx="1729">
                  <c:v>5.0307147377938843</c:v>
                </c:pt>
                <c:pt idx="1730">
                  <c:v>4.9324733627533375</c:v>
                </c:pt>
                <c:pt idx="1731">
                  <c:v>4.9398704324890934</c:v>
                </c:pt>
                <c:pt idx="1732">
                  <c:v>4.8025340239170431</c:v>
                </c:pt>
                <c:pt idx="1733">
                  <c:v>4.8385704268485306</c:v>
                </c:pt>
                <c:pt idx="1734">
                  <c:v>4.7903163031289511</c:v>
                </c:pt>
                <c:pt idx="1735">
                  <c:v>5.037844336576101</c:v>
                </c:pt>
                <c:pt idx="1736">
                  <c:v>4.8271671836026284</c:v>
                </c:pt>
                <c:pt idx="1737">
                  <c:v>4.9669420746030539</c:v>
                </c:pt>
                <c:pt idx="1738">
                  <c:v>4.9457114317319633</c:v>
                </c:pt>
                <c:pt idx="1739">
                  <c:v>4.7891104604562322</c:v>
                </c:pt>
                <c:pt idx="1740">
                  <c:v>4.6552017261187615</c:v>
                </c:pt>
                <c:pt idx="1741">
                  <c:v>4.8704028480972577</c:v>
                </c:pt>
                <c:pt idx="1742">
                  <c:v>4.6646843840217205</c:v>
                </c:pt>
                <c:pt idx="1743">
                  <c:v>4.6379187156565997</c:v>
                </c:pt>
                <c:pt idx="1744">
                  <c:v>4.2919995625032321</c:v>
                </c:pt>
                <c:pt idx="1745">
                  <c:v>4.0981592753426934</c:v>
                </c:pt>
                <c:pt idx="1746">
                  <c:v>3.8831904780105875</c:v>
                </c:pt>
                <c:pt idx="1747">
                  <c:v>3.936379067175932</c:v>
                </c:pt>
                <c:pt idx="1748">
                  <c:v>3.6466614817617806</c:v>
                </c:pt>
                <c:pt idx="1749">
                  <c:v>3.3457585866505686</c:v>
                </c:pt>
                <c:pt idx="1750">
                  <c:v>3.7740952482589294</c:v>
                </c:pt>
                <c:pt idx="1751">
                  <c:v>3.7837527502829573</c:v>
                </c:pt>
                <c:pt idx="1752">
                  <c:v>3.7202857798542555</c:v>
                </c:pt>
                <c:pt idx="1753">
                  <c:v>3.6976929974880091</c:v>
                </c:pt>
                <c:pt idx="1754">
                  <c:v>3.7139265441551603</c:v>
                </c:pt>
                <c:pt idx="1755">
                  <c:v>3.731630231532002</c:v>
                </c:pt>
                <c:pt idx="1756">
                  <c:v>3.7530597329647155</c:v>
                </c:pt>
                <c:pt idx="1757">
                  <c:v>3.7507223316523679</c:v>
                </c:pt>
                <c:pt idx="1758">
                  <c:v>3.6653313446954132</c:v>
                </c:pt>
                <c:pt idx="1759">
                  <c:v>3.4907738203107295</c:v>
                </c:pt>
                <c:pt idx="1760">
                  <c:v>3.559179672414825</c:v>
                </c:pt>
                <c:pt idx="1761">
                  <c:v>3.9885055177074977</c:v>
                </c:pt>
                <c:pt idx="1762">
                  <c:v>3.648422078182469</c:v>
                </c:pt>
                <c:pt idx="1763">
                  <c:v>3.6357537585476214</c:v>
                </c:pt>
                <c:pt idx="1764">
                  <c:v>3.7193829313482389</c:v>
                </c:pt>
                <c:pt idx="1765">
                  <c:v>3.698783890334377</c:v>
                </c:pt>
                <c:pt idx="1766">
                  <c:v>3.6868874918871031</c:v>
                </c:pt>
                <c:pt idx="1767">
                  <c:v>3.6651418635191271</c:v>
                </c:pt>
                <c:pt idx="1768">
                  <c:v>3.7049441805635746</c:v>
                </c:pt>
                <c:pt idx="1769">
                  <c:v>3.6344838120643304</c:v>
                </c:pt>
                <c:pt idx="1770">
                  <c:v>3.602884183106871</c:v>
                </c:pt>
                <c:pt idx="1771">
                  <c:v>3.564717630664354</c:v>
                </c:pt>
                <c:pt idx="1772">
                  <c:v>3.5689604303318174</c:v>
                </c:pt>
                <c:pt idx="1773">
                  <c:v>3.6438054813775325</c:v>
                </c:pt>
                <c:pt idx="1774">
                  <c:v>3.5723802797590549</c:v>
                </c:pt>
                <c:pt idx="1775">
                  <c:v>3.5743297989569407</c:v>
                </c:pt>
                <c:pt idx="1776">
                  <c:v>3.6587934737942018</c:v>
                </c:pt>
                <c:pt idx="1777">
                  <c:v>3.7588157790891374</c:v>
                </c:pt>
                <c:pt idx="1778">
                  <c:v>3.7563549275460879</c:v>
                </c:pt>
                <c:pt idx="1779">
                  <c:v>3.7314642046392921</c:v>
                </c:pt>
                <c:pt idx="1780">
                  <c:v>3.6725679219238017</c:v>
                </c:pt>
                <c:pt idx="1781">
                  <c:v>3.767687354508789</c:v>
                </c:pt>
                <c:pt idx="1782">
                  <c:v>3.6541563799960985</c:v>
                </c:pt>
                <c:pt idx="1783">
                  <c:v>3.5902728440324552</c:v>
                </c:pt>
                <c:pt idx="1784">
                  <c:v>3.4906630008377353</c:v>
                </c:pt>
                <c:pt idx="1785">
                  <c:v>3.415426509270866</c:v>
                </c:pt>
                <c:pt idx="1786">
                  <c:v>3.1633109979517235</c:v>
                </c:pt>
                <c:pt idx="1787">
                  <c:v>2.9213234491977667</c:v>
                </c:pt>
                <c:pt idx="1788">
                  <c:v>3.3300256711665837</c:v>
                </c:pt>
                <c:pt idx="1789">
                  <c:v>3.2328752894247028</c:v>
                </c:pt>
                <c:pt idx="1790">
                  <c:v>3.2325554730357857</c:v>
                </c:pt>
                <c:pt idx="1791">
                  <c:v>3.2576921979057096</c:v>
                </c:pt>
                <c:pt idx="1792">
                  <c:v>3.2473950777002631</c:v>
                </c:pt>
                <c:pt idx="1793">
                  <c:v>3.2269631763973727</c:v>
                </c:pt>
                <c:pt idx="1794">
                  <c:v>3.2619135145193083</c:v>
                </c:pt>
                <c:pt idx="1795">
                  <c:v>3.2815981701104495</c:v>
                </c:pt>
                <c:pt idx="1796">
                  <c:v>3.2344080052771842</c:v>
                </c:pt>
                <c:pt idx="1797">
                  <c:v>3.2549721334384962</c:v>
                </c:pt>
                <c:pt idx="1798">
                  <c:v>3.3500036892825231</c:v>
                </c:pt>
                <c:pt idx="1799">
                  <c:v>3.4810014036012005</c:v>
                </c:pt>
                <c:pt idx="1800">
                  <c:v>3.4821099838186074</c:v>
                </c:pt>
                <c:pt idx="1801">
                  <c:v>3.3901635277253797</c:v>
                </c:pt>
                <c:pt idx="1802">
                  <c:v>3.6079534974683312</c:v>
                </c:pt>
                <c:pt idx="1803">
                  <c:v>3.478661472838481</c:v>
                </c:pt>
                <c:pt idx="1804">
                  <c:v>3.4801728908708927</c:v>
                </c:pt>
                <c:pt idx="1805">
                  <c:v>3.3990271404009431</c:v>
                </c:pt>
                <c:pt idx="1806">
                  <c:v>3.4078053084348663</c:v>
                </c:pt>
                <c:pt idx="1807">
                  <c:v>3.3285279500643288</c:v>
                </c:pt>
                <c:pt idx="1808">
                  <c:v>3.3341306769052252</c:v>
                </c:pt>
                <c:pt idx="1809">
                  <c:v>3.1774870675311493</c:v>
                </c:pt>
                <c:pt idx="1810">
                  <c:v>3.5054619989317075</c:v>
                </c:pt>
                <c:pt idx="1811">
                  <c:v>3.2865491801000091</c:v>
                </c:pt>
                <c:pt idx="1812">
                  <c:v>3.2907054456278524</c:v>
                </c:pt>
                <c:pt idx="1813">
                  <c:v>3.2499931099008541</c:v>
                </c:pt>
                <c:pt idx="1814">
                  <c:v>3.2473208858087665</c:v>
                </c:pt>
                <c:pt idx="1815">
                  <c:v>3.2339321745179208</c:v>
                </c:pt>
                <c:pt idx="1816">
                  <c:v>3.1880498029735627</c:v>
                </c:pt>
                <c:pt idx="1817">
                  <c:v>3.1499326770206402</c:v>
                </c:pt>
                <c:pt idx="1818">
                  <c:v>3.1064224643843397</c:v>
                </c:pt>
                <c:pt idx="1819">
                  <c:v>3.255061983364719</c:v>
                </c:pt>
                <c:pt idx="1820">
                  <c:v>3.1772842978955849</c:v>
                </c:pt>
                <c:pt idx="1821">
                  <c:v>3.1878683298194113</c:v>
                </c:pt>
                <c:pt idx="1822">
                  <c:v>3.262888260936371</c:v>
                </c:pt>
                <c:pt idx="1823">
                  <c:v>3.1989876656837031</c:v>
                </c:pt>
                <c:pt idx="1824">
                  <c:v>3.1990281583243769</c:v>
                </c:pt>
                <c:pt idx="1825">
                  <c:v>3.1429932685551711</c:v>
                </c:pt>
                <c:pt idx="1826">
                  <c:v>3.1410355371150409</c:v>
                </c:pt>
                <c:pt idx="1827">
                  <c:v>3.0877345664071907</c:v>
                </c:pt>
                <c:pt idx="1828">
                  <c:v>3.093690627270353</c:v>
                </c:pt>
                <c:pt idx="1829">
                  <c:v>3.0423724497722029</c:v>
                </c:pt>
                <c:pt idx="1830">
                  <c:v>3.1325071408220659</c:v>
                </c:pt>
                <c:pt idx="1831">
                  <c:v>3.3227702701942836</c:v>
                </c:pt>
                <c:pt idx="1832">
                  <c:v>3.3659468220772575</c:v>
                </c:pt>
                <c:pt idx="1833">
                  <c:v>3.4379308679785199</c:v>
                </c:pt>
                <c:pt idx="1834">
                  <c:v>3.7530995081960512</c:v>
                </c:pt>
                <c:pt idx="1835">
                  <c:v>3.8331789038053277</c:v>
                </c:pt>
                <c:pt idx="1836">
                  <c:v>3.8627082272262765</c:v>
                </c:pt>
                <c:pt idx="1837">
                  <c:v>3.8947288184641908</c:v>
                </c:pt>
                <c:pt idx="1838">
                  <c:v>3.8906775533337274</c:v>
                </c:pt>
                <c:pt idx="1839">
                  <c:v>3.9168420171991651</c:v>
                </c:pt>
                <c:pt idx="1840">
                  <c:v>3.9034118370636199</c:v>
                </c:pt>
                <c:pt idx="1841">
                  <c:v>3.843661891328209</c:v>
                </c:pt>
                <c:pt idx="1842">
                  <c:v>4.0233468085422652</c:v>
                </c:pt>
                <c:pt idx="1843">
                  <c:v>3.8291680788694928</c:v>
                </c:pt>
                <c:pt idx="1844">
                  <c:v>3.7903660336028873</c:v>
                </c:pt>
                <c:pt idx="1845">
                  <c:v>3.7465902070482722</c:v>
                </c:pt>
                <c:pt idx="1846">
                  <c:v>3.6322092602377287</c:v>
                </c:pt>
                <c:pt idx="1847">
                  <c:v>3.766226091810684</c:v>
                </c:pt>
                <c:pt idx="1848">
                  <c:v>3.7201757931928006</c:v>
                </c:pt>
                <c:pt idx="1849">
                  <c:v>3.6823859150135481</c:v>
                </c:pt>
                <c:pt idx="1850">
                  <c:v>3.6375402659081053</c:v>
                </c:pt>
                <c:pt idx="1851">
                  <c:v>3.6415980570315032</c:v>
                </c:pt>
                <c:pt idx="1852">
                  <c:v>3.7064630672405672</c:v>
                </c:pt>
                <c:pt idx="1853">
                  <c:v>3.7380663197804593</c:v>
                </c:pt>
                <c:pt idx="1854">
                  <c:v>3.7430042975731808</c:v>
                </c:pt>
                <c:pt idx="1855">
                  <c:v>3.7545486717629943</c:v>
                </c:pt>
                <c:pt idx="1856">
                  <c:v>3.7278970082836369</c:v>
                </c:pt>
                <c:pt idx="1857">
                  <c:v>3.7316805123039964</c:v>
                </c:pt>
                <c:pt idx="1858">
                  <c:v>3.729700542650634</c:v>
                </c:pt>
                <c:pt idx="1859">
                  <c:v>3.7044344144363475</c:v>
                </c:pt>
                <c:pt idx="1860">
                  <c:v>3.7767665091446894</c:v>
                </c:pt>
                <c:pt idx="1861">
                  <c:v>3.8324653987703239</c:v>
                </c:pt>
                <c:pt idx="1862">
                  <c:v>3.8239633851989288</c:v>
                </c:pt>
                <c:pt idx="1863">
                  <c:v>3.5591213790591416</c:v>
                </c:pt>
                <c:pt idx="1864">
                  <c:v>3.3344037275890672</c:v>
                </c:pt>
                <c:pt idx="1865">
                  <c:v>3.6430987230558927</c:v>
                </c:pt>
                <c:pt idx="1866">
                  <c:v>3.664436455737103</c:v>
                </c:pt>
                <c:pt idx="1867">
                  <c:v>3.4877865896653435</c:v>
                </c:pt>
                <c:pt idx="1868">
                  <c:v>3.3105045535643329</c:v>
                </c:pt>
                <c:pt idx="1869">
                  <c:v>3.4904537325382252</c:v>
                </c:pt>
                <c:pt idx="1870">
                  <c:v>3.3894441150201975</c:v>
                </c:pt>
                <c:pt idx="1871">
                  <c:v>3.3129120664212905</c:v>
                </c:pt>
                <c:pt idx="1872">
                  <c:v>3.2836571253415037</c:v>
                </c:pt>
                <c:pt idx="1873">
                  <c:v>3.3411113641437153</c:v>
                </c:pt>
                <c:pt idx="1874">
                  <c:v>3.2891278070203014</c:v>
                </c:pt>
                <c:pt idx="1875">
                  <c:v>3.2749826739332204</c:v>
                </c:pt>
                <c:pt idx="1876">
                  <c:v>3.4225824177293398</c:v>
                </c:pt>
                <c:pt idx="1877">
                  <c:v>3.4880617764751207</c:v>
                </c:pt>
                <c:pt idx="1878">
                  <c:v>3.5908855053959576</c:v>
                </c:pt>
                <c:pt idx="1879">
                  <c:v>3.5445818656316996</c:v>
                </c:pt>
                <c:pt idx="1880">
                  <c:v>3.5659080401842211</c:v>
                </c:pt>
                <c:pt idx="1881">
                  <c:v>3.5613060153413385</c:v>
                </c:pt>
                <c:pt idx="1882">
                  <c:v>3.5641059864197775</c:v>
                </c:pt>
                <c:pt idx="1883">
                  <c:v>3.5682372613824684</c:v>
                </c:pt>
                <c:pt idx="1884">
                  <c:v>3.5672638453560235</c:v>
                </c:pt>
                <c:pt idx="1885">
                  <c:v>3.5798946610334337</c:v>
                </c:pt>
                <c:pt idx="1886">
                  <c:v>3.6759888414497639</c:v>
                </c:pt>
                <c:pt idx="1887">
                  <c:v>3.6814659188328633</c:v>
                </c:pt>
                <c:pt idx="1888">
                  <c:v>3.7019058461525494</c:v>
                </c:pt>
                <c:pt idx="1889">
                  <c:v>3.6660220597549364</c:v>
                </c:pt>
                <c:pt idx="1890">
                  <c:v>3.6365102340161761</c:v>
                </c:pt>
                <c:pt idx="1891">
                  <c:v>3.6548444250353906</c:v>
                </c:pt>
                <c:pt idx="1892">
                  <c:v>3.6209156910549747</c:v>
                </c:pt>
                <c:pt idx="1893">
                  <c:v>3.6582586115956812</c:v>
                </c:pt>
                <c:pt idx="1894">
                  <c:v>3.8303184027451325</c:v>
                </c:pt>
                <c:pt idx="1895">
                  <c:v>3.7952607299888013</c:v>
                </c:pt>
                <c:pt idx="1896">
                  <c:v>3.7013769362199054</c:v>
                </c:pt>
                <c:pt idx="1897">
                  <c:v>3.6978243333225196</c:v>
                </c:pt>
                <c:pt idx="1898">
                  <c:v>3.7783027039916974</c:v>
                </c:pt>
                <c:pt idx="1899">
                  <c:v>3.7873403303620305</c:v>
                </c:pt>
                <c:pt idx="1900">
                  <c:v>3.6819426795183023</c:v>
                </c:pt>
                <c:pt idx="1901">
                  <c:v>3.9386648925783692</c:v>
                </c:pt>
                <c:pt idx="1902">
                  <c:v>3.7252455956120802</c:v>
                </c:pt>
                <c:pt idx="1903">
                  <c:v>3.7523783811382612</c:v>
                </c:pt>
                <c:pt idx="1904">
                  <c:v>3.7249993568662116</c:v>
                </c:pt>
                <c:pt idx="1905">
                  <c:v>3.7260113423924497</c:v>
                </c:pt>
                <c:pt idx="1906">
                  <c:v>3.6774284805200628</c:v>
                </c:pt>
                <c:pt idx="1907">
                  <c:v>3.6636421173274076</c:v>
                </c:pt>
                <c:pt idx="1908">
                  <c:v>3.7178911864944086</c:v>
                </c:pt>
                <c:pt idx="1909">
                  <c:v>3.7252785777103403</c:v>
                </c:pt>
                <c:pt idx="1910">
                  <c:v>3.8040229742597145</c:v>
                </c:pt>
                <c:pt idx="1911">
                  <c:v>3.8228096045573912</c:v>
                </c:pt>
                <c:pt idx="1912">
                  <c:v>3.8270466905074603</c:v>
                </c:pt>
                <c:pt idx="1913">
                  <c:v>3.8546090839391711</c:v>
                </c:pt>
                <c:pt idx="1914">
                  <c:v>3.8373138731902259</c:v>
                </c:pt>
                <c:pt idx="1915">
                  <c:v>3.8425045389377606</c:v>
                </c:pt>
                <c:pt idx="1916">
                  <c:v>3.7711824935916067</c:v>
                </c:pt>
                <c:pt idx="1917">
                  <c:v>3.6877068393329906</c:v>
                </c:pt>
                <c:pt idx="1918">
                  <c:v>3.7961166322337481</c:v>
                </c:pt>
                <c:pt idx="1919">
                  <c:v>3.6572131694855203</c:v>
                </c:pt>
                <c:pt idx="1920">
                  <c:v>3.6247803977354902</c:v>
                </c:pt>
                <c:pt idx="1921">
                  <c:v>3.6732411375496303</c:v>
                </c:pt>
                <c:pt idx="1922">
                  <c:v>3.8077818888747688</c:v>
                </c:pt>
                <c:pt idx="1923">
                  <c:v>3.8152807776265631</c:v>
                </c:pt>
                <c:pt idx="1924">
                  <c:v>3.8349131989071248</c:v>
                </c:pt>
                <c:pt idx="1925">
                  <c:v>3.8090922171126356</c:v>
                </c:pt>
                <c:pt idx="1926">
                  <c:v>3.8170324684669894</c:v>
                </c:pt>
                <c:pt idx="1927">
                  <c:v>3.8142462530819818</c:v>
                </c:pt>
                <c:pt idx="1928">
                  <c:v>3.8173964494541073</c:v>
                </c:pt>
                <c:pt idx="1929">
                  <c:v>3.8144368887745999</c:v>
                </c:pt>
                <c:pt idx="1930">
                  <c:v>3.8648883322354779</c:v>
                </c:pt>
                <c:pt idx="1931">
                  <c:v>3.8643408666830212</c:v>
                </c:pt>
                <c:pt idx="1932">
                  <c:v>3.9539020885633072</c:v>
                </c:pt>
                <c:pt idx="1933">
                  <c:v>3.9773178680563599</c:v>
                </c:pt>
                <c:pt idx="1934">
                  <c:v>4.0805960899046871</c:v>
                </c:pt>
                <c:pt idx="1935">
                  <c:v>4.1715434887238425</c:v>
                </c:pt>
                <c:pt idx="1936">
                  <c:v>4.071368127636835</c:v>
                </c:pt>
                <c:pt idx="1937">
                  <c:v>3.9776884455943282</c:v>
                </c:pt>
                <c:pt idx="1938">
                  <c:v>3.7962094411589784</c:v>
                </c:pt>
                <c:pt idx="1939">
                  <c:v>3.8736987967001015</c:v>
                </c:pt>
                <c:pt idx="1940">
                  <c:v>3.214385432537529</c:v>
                </c:pt>
                <c:pt idx="1941">
                  <c:v>3.8819471926457165</c:v>
                </c:pt>
                <c:pt idx="1942">
                  <c:v>4.3407392635772482</c:v>
                </c:pt>
                <c:pt idx="1943">
                  <c:v>4.3425150029520916</c:v>
                </c:pt>
                <c:pt idx="1944">
                  <c:v>4.2324431646246721</c:v>
                </c:pt>
                <c:pt idx="1945">
                  <c:v>4.1478603801468292</c:v>
                </c:pt>
                <c:pt idx="1946">
                  <c:v>4.1279719234347922</c:v>
                </c:pt>
                <c:pt idx="1947">
                  <c:v>4.1376745276049549</c:v>
                </c:pt>
                <c:pt idx="1948">
                  <c:v>4.0413713461464917</c:v>
                </c:pt>
                <c:pt idx="1949">
                  <c:v>4.0263815955328122</c:v>
                </c:pt>
                <c:pt idx="1950">
                  <c:v>4.019027364814888</c:v>
                </c:pt>
                <c:pt idx="1951">
                  <c:v>4.0001279628920745</c:v>
                </c:pt>
                <c:pt idx="1952">
                  <c:v>3.9761276518508004</c:v>
                </c:pt>
                <c:pt idx="1953">
                  <c:v>3.9875770885705961</c:v>
                </c:pt>
                <c:pt idx="1954">
                  <c:v>3.9175111570118544</c:v>
                </c:pt>
                <c:pt idx="1955">
                  <c:v>3.8932741420589934</c:v>
                </c:pt>
                <c:pt idx="1956">
                  <c:v>3.8554212244035764</c:v>
                </c:pt>
                <c:pt idx="1957">
                  <c:v>3.887578884258335</c:v>
                </c:pt>
                <c:pt idx="1958">
                  <c:v>3.9083264235605273</c:v>
                </c:pt>
                <c:pt idx="1959">
                  <c:v>3.9549452861339409</c:v>
                </c:pt>
                <c:pt idx="1960">
                  <c:v>3.9171958586061564</c:v>
                </c:pt>
                <c:pt idx="1961">
                  <c:v>3.93180113971628</c:v>
                </c:pt>
                <c:pt idx="1962">
                  <c:v>3.9168611935352184</c:v>
                </c:pt>
                <c:pt idx="1963">
                  <c:v>3.9951486284002984</c:v>
                </c:pt>
                <c:pt idx="1964">
                  <c:v>3.812956839488006</c:v>
                </c:pt>
                <c:pt idx="1965">
                  <c:v>3.7940686738130376</c:v>
                </c:pt>
                <c:pt idx="1966">
                  <c:v>3.8511505422629213</c:v>
                </c:pt>
                <c:pt idx="1967">
                  <c:v>3.8418862886326801</c:v>
                </c:pt>
                <c:pt idx="1968">
                  <c:v>3.809650679821492</c:v>
                </c:pt>
                <c:pt idx="1969">
                  <c:v>3.7971065996052191</c:v>
                </c:pt>
                <c:pt idx="1970">
                  <c:v>3.7643856252030354</c:v>
                </c:pt>
                <c:pt idx="1971">
                  <c:v>3.7541082687673364</c:v>
                </c:pt>
                <c:pt idx="1972">
                  <c:v>3.7067521505571577</c:v>
                </c:pt>
                <c:pt idx="1973">
                  <c:v>3.6958500100692735</c:v>
                </c:pt>
                <c:pt idx="1974">
                  <c:v>3.5680069644913903</c:v>
                </c:pt>
                <c:pt idx="1975">
                  <c:v>3.8656944036594845</c:v>
                </c:pt>
                <c:pt idx="1976">
                  <c:v>3.8895832970497102</c:v>
                </c:pt>
                <c:pt idx="1977">
                  <c:v>3.960773896206077</c:v>
                </c:pt>
                <c:pt idx="1978">
                  <c:v>3.5028460653911817</c:v>
                </c:pt>
                <c:pt idx="1979">
                  <c:v>3.501015272795716</c:v>
                </c:pt>
                <c:pt idx="1980">
                  <c:v>3.832343959637345</c:v>
                </c:pt>
                <c:pt idx="1981">
                  <c:v>3.6764339086413078</c:v>
                </c:pt>
                <c:pt idx="1982">
                  <c:v>3.6676336714851883</c:v>
                </c:pt>
                <c:pt idx="1983">
                  <c:v>3.7602522214488849</c:v>
                </c:pt>
                <c:pt idx="1984">
                  <c:v>3.7966482098206207</c:v>
                </c:pt>
                <c:pt idx="1985">
                  <c:v>3.8028238309173825</c:v>
                </c:pt>
                <c:pt idx="1986">
                  <c:v>3.7317496479697807</c:v>
                </c:pt>
                <c:pt idx="1987">
                  <c:v>3.6831890177726154</c:v>
                </c:pt>
                <c:pt idx="1988">
                  <c:v>3.5471967854740503</c:v>
                </c:pt>
                <c:pt idx="1989">
                  <c:v>3.5981952993441975</c:v>
                </c:pt>
                <c:pt idx="1990">
                  <c:v>3.52177543075357</c:v>
                </c:pt>
                <c:pt idx="1991">
                  <c:v>3.4508576989735711</c:v>
                </c:pt>
                <c:pt idx="1992">
                  <c:v>3.4661813421137602</c:v>
                </c:pt>
                <c:pt idx="1993">
                  <c:v>3.5808006839408035</c:v>
                </c:pt>
                <c:pt idx="1994">
                  <c:v>3.5788948040793658</c:v>
                </c:pt>
                <c:pt idx="1995">
                  <c:v>3.5535644739550514</c:v>
                </c:pt>
                <c:pt idx="1996">
                  <c:v>3.5585977233995663</c:v>
                </c:pt>
                <c:pt idx="1997">
                  <c:v>3.5433156493992257</c:v>
                </c:pt>
                <c:pt idx="1998">
                  <c:v>3.5366074096037901</c:v>
                </c:pt>
                <c:pt idx="1999">
                  <c:v>3.5287139188923553</c:v>
                </c:pt>
                <c:pt idx="2000">
                  <c:v>3.543216161164918</c:v>
                </c:pt>
                <c:pt idx="2001">
                  <c:v>3.5149150044339441</c:v>
                </c:pt>
                <c:pt idx="2002">
                  <c:v>3.5347861818286774</c:v>
                </c:pt>
                <c:pt idx="2003">
                  <c:v>3.4343261170843613</c:v>
                </c:pt>
                <c:pt idx="2004">
                  <c:v>3.5087987086846257</c:v>
                </c:pt>
                <c:pt idx="2005">
                  <c:v>3.4082400193719153</c:v>
                </c:pt>
                <c:pt idx="2006">
                  <c:v>3.3908765198354889</c:v>
                </c:pt>
                <c:pt idx="2007">
                  <c:v>3.3448944063064836</c:v>
                </c:pt>
                <c:pt idx="2008">
                  <c:v>3.3430707955060086</c:v>
                </c:pt>
                <c:pt idx="2009">
                  <c:v>3.2260368955877432</c:v>
                </c:pt>
                <c:pt idx="2010">
                  <c:v>3.2373508483861348</c:v>
                </c:pt>
                <c:pt idx="2011">
                  <c:v>3.1591674914139269</c:v>
                </c:pt>
                <c:pt idx="2012">
                  <c:v>3.7171528840217123</c:v>
                </c:pt>
                <c:pt idx="2013">
                  <c:v>3.2915331056642732</c:v>
                </c:pt>
                <c:pt idx="2014">
                  <c:v>2.9299516504847523</c:v>
                </c:pt>
                <c:pt idx="2015">
                  <c:v>2.9549487954883578</c:v>
                </c:pt>
                <c:pt idx="2016">
                  <c:v>3.0624601803546572</c:v>
                </c:pt>
                <c:pt idx="2017">
                  <c:v>3.1584028221589757</c:v>
                </c:pt>
                <c:pt idx="2018">
                  <c:v>3.1914378713238256</c:v>
                </c:pt>
                <c:pt idx="2019">
                  <c:v>3.1905212256413051</c:v>
                </c:pt>
                <c:pt idx="2020">
                  <c:v>3.1994441473581947</c:v>
                </c:pt>
                <c:pt idx="2021">
                  <c:v>3.199198057056865</c:v>
                </c:pt>
                <c:pt idx="2022">
                  <c:v>3.1961018936805163</c:v>
                </c:pt>
                <c:pt idx="2023">
                  <c:v>3.1775293762741925</c:v>
                </c:pt>
                <c:pt idx="2024">
                  <c:v>3.2123433090912754</c:v>
                </c:pt>
                <c:pt idx="2025">
                  <c:v>3.1669192313884</c:v>
                </c:pt>
                <c:pt idx="2026">
                  <c:v>3.1648208815864738</c:v>
                </c:pt>
                <c:pt idx="2027">
                  <c:v>3.1522475901899103</c:v>
                </c:pt>
                <c:pt idx="2028">
                  <c:v>3.1494384554368406</c:v>
                </c:pt>
                <c:pt idx="2029">
                  <c:v>3.1594199030429211</c:v>
                </c:pt>
                <c:pt idx="2030">
                  <c:v>3.1731262064981163</c:v>
                </c:pt>
                <c:pt idx="2031">
                  <c:v>3.1560966174373455</c:v>
                </c:pt>
                <c:pt idx="2032">
                  <c:v>3.1513618642564363</c:v>
                </c:pt>
                <c:pt idx="2033">
                  <c:v>3.1457027130580637</c:v>
                </c:pt>
                <c:pt idx="2034">
                  <c:v>3.1583099865555955</c:v>
                </c:pt>
                <c:pt idx="2035">
                  <c:v>3.191871084883283</c:v>
                </c:pt>
                <c:pt idx="2036">
                  <c:v>3.1671702719479589</c:v>
                </c:pt>
                <c:pt idx="2037">
                  <c:v>3.163208142845948</c:v>
                </c:pt>
                <c:pt idx="2038">
                  <c:v>3.181052803920084</c:v>
                </c:pt>
                <c:pt idx="2039">
                  <c:v>3.1741379700745456</c:v>
                </c:pt>
                <c:pt idx="2040">
                  <c:v>3.137389025627622</c:v>
                </c:pt>
                <c:pt idx="2041">
                  <c:v>3.1348794093328638</c:v>
                </c:pt>
                <c:pt idx="2042">
                  <c:v>3.191116826690469</c:v>
                </c:pt>
                <c:pt idx="2043">
                  <c:v>3.1489900095488683</c:v>
                </c:pt>
                <c:pt idx="2044">
                  <c:v>3.1408608636109907</c:v>
                </c:pt>
                <c:pt idx="2045">
                  <c:v>3.0812394662718954</c:v>
                </c:pt>
                <c:pt idx="2046">
                  <c:v>3.0849283756193073</c:v>
                </c:pt>
                <c:pt idx="2047">
                  <c:v>3.0616050769493741</c:v>
                </c:pt>
                <c:pt idx="2048">
                  <c:v>2.8809094383004115</c:v>
                </c:pt>
                <c:pt idx="2049">
                  <c:v>2.9650224956012257</c:v>
                </c:pt>
                <c:pt idx="2050">
                  <c:v>3.0991956057512913</c:v>
                </c:pt>
                <c:pt idx="2051">
                  <c:v>3.1381193125061304</c:v>
                </c:pt>
                <c:pt idx="2052">
                  <c:v>3.1989038290880192</c:v>
                </c:pt>
                <c:pt idx="2053">
                  <c:v>3.4224285722314596</c:v>
                </c:pt>
                <c:pt idx="2054">
                  <c:v>3.6795689955113238</c:v>
                </c:pt>
                <c:pt idx="2055">
                  <c:v>3.5541971590294397</c:v>
                </c:pt>
                <c:pt idx="2056">
                  <c:v>3.5776446476576687</c:v>
                </c:pt>
                <c:pt idx="2057">
                  <c:v>3.5954759145340374</c:v>
                </c:pt>
                <c:pt idx="2058">
                  <c:v>3.5947381093681474</c:v>
                </c:pt>
                <c:pt idx="2059">
                  <c:v>3.6049228955321735</c:v>
                </c:pt>
                <c:pt idx="2060">
                  <c:v>3.594923847378265</c:v>
                </c:pt>
                <c:pt idx="2061">
                  <c:v>3.368812550803375</c:v>
                </c:pt>
                <c:pt idx="2062">
                  <c:v>3.4273191594165602</c:v>
                </c:pt>
                <c:pt idx="2063">
                  <c:v>3.5176849048081058</c:v>
                </c:pt>
                <c:pt idx="2064">
                  <c:v>3.5663215921162434</c:v>
                </c:pt>
                <c:pt idx="2065">
                  <c:v>3.5681327010853687</c:v>
                </c:pt>
                <c:pt idx="2066">
                  <c:v>3.5473625912854345</c:v>
                </c:pt>
                <c:pt idx="2067">
                  <c:v>3.543698984490689</c:v>
                </c:pt>
                <c:pt idx="2068">
                  <c:v>3.5062598357174291</c:v>
                </c:pt>
                <c:pt idx="2069">
                  <c:v>3.3650242352378852</c:v>
                </c:pt>
                <c:pt idx="2070">
                  <c:v>3.267348680322812</c:v>
                </c:pt>
                <c:pt idx="2071">
                  <c:v>3.2121752232635794</c:v>
                </c:pt>
                <c:pt idx="2072">
                  <c:v>3.1588813510696476</c:v>
                </c:pt>
                <c:pt idx="2073">
                  <c:v>3.0843141231919766</c:v>
                </c:pt>
                <c:pt idx="2074">
                  <c:v>3.1129790760937586</c:v>
                </c:pt>
                <c:pt idx="2075">
                  <c:v>3.0264391117986431</c:v>
                </c:pt>
                <c:pt idx="2076">
                  <c:v>3.1127282849146631</c:v>
                </c:pt>
                <c:pt idx="2077">
                  <c:v>2.997242545909927</c:v>
                </c:pt>
                <c:pt idx="2078">
                  <c:v>2.9748159267350642</c:v>
                </c:pt>
                <c:pt idx="2079">
                  <c:v>2.8767438207537679</c:v>
                </c:pt>
                <c:pt idx="2080">
                  <c:v>2.8469658160618967</c:v>
                </c:pt>
                <c:pt idx="2081">
                  <c:v>2.8356531967243095</c:v>
                </c:pt>
                <c:pt idx="2082">
                  <c:v>2.8646654789544659</c:v>
                </c:pt>
                <c:pt idx="2083">
                  <c:v>2.8065285872800367</c:v>
                </c:pt>
                <c:pt idx="2084">
                  <c:v>2.7967278163598084</c:v>
                </c:pt>
                <c:pt idx="2085">
                  <c:v>2.8354188913554461</c:v>
                </c:pt>
                <c:pt idx="2086">
                  <c:v>2.7675894508772685</c:v>
                </c:pt>
                <c:pt idx="2087">
                  <c:v>2.711357646269736</c:v>
                </c:pt>
                <c:pt idx="2088">
                  <c:v>2.6509630004001759</c:v>
                </c:pt>
                <c:pt idx="2089">
                  <c:v>2.5631228593036339</c:v>
                </c:pt>
                <c:pt idx="2090">
                  <c:v>2.5434432320619673</c:v>
                </c:pt>
                <c:pt idx="2091">
                  <c:v>2.6116184266472806</c:v>
                </c:pt>
                <c:pt idx="2092">
                  <c:v>2.6406983581843066</c:v>
                </c:pt>
                <c:pt idx="2093">
                  <c:v>2.5821628316416967</c:v>
                </c:pt>
                <c:pt idx="2094">
                  <c:v>2.6405060709738137</c:v>
                </c:pt>
                <c:pt idx="2095">
                  <c:v>2.6013970407899309</c:v>
                </c:pt>
                <c:pt idx="2096">
                  <c:v>2.583735285999913</c:v>
                </c:pt>
                <c:pt idx="2097">
                  <c:v>2.610230885893321</c:v>
                </c:pt>
                <c:pt idx="2098">
                  <c:v>2.7838071226460857</c:v>
                </c:pt>
                <c:pt idx="2099">
                  <c:v>2.7787254397202807</c:v>
                </c:pt>
                <c:pt idx="2100">
                  <c:v>2.7106969839495756</c:v>
                </c:pt>
                <c:pt idx="2101">
                  <c:v>2.761549079692831</c:v>
                </c:pt>
                <c:pt idx="2102">
                  <c:v>2.682030567711327</c:v>
                </c:pt>
                <c:pt idx="2103">
                  <c:v>2.7901411145139581</c:v>
                </c:pt>
                <c:pt idx="2104">
                  <c:v>2.8350451207531076</c:v>
                </c:pt>
                <c:pt idx="2105">
                  <c:v>2.7996744897950472</c:v>
                </c:pt>
                <c:pt idx="2106">
                  <c:v>2.8809145848144366</c:v>
                </c:pt>
                <c:pt idx="2107">
                  <c:v>2.8550845577455135</c:v>
                </c:pt>
                <c:pt idx="2108">
                  <c:v>2.8535104728513718</c:v>
                </c:pt>
                <c:pt idx="2109">
                  <c:v>2.8288425828713577</c:v>
                </c:pt>
                <c:pt idx="2110">
                  <c:v>2.9338595890420187</c:v>
                </c:pt>
                <c:pt idx="2111">
                  <c:v>2.959734951692405</c:v>
                </c:pt>
                <c:pt idx="2112">
                  <c:v>2.9880024393040108</c:v>
                </c:pt>
                <c:pt idx="2113">
                  <c:v>2.9815150979173213</c:v>
                </c:pt>
                <c:pt idx="2114">
                  <c:v>2.9486225637731351</c:v>
                </c:pt>
                <c:pt idx="2115">
                  <c:v>2.9177577138314326</c:v>
                </c:pt>
                <c:pt idx="2116">
                  <c:v>2.7973385661510761</c:v>
                </c:pt>
                <c:pt idx="2117">
                  <c:v>2.8451632928075439</c:v>
                </c:pt>
                <c:pt idx="2118">
                  <c:v>2.8450557342286387</c:v>
                </c:pt>
                <c:pt idx="2119">
                  <c:v>2.8000369137619066</c:v>
                </c:pt>
                <c:pt idx="2120">
                  <c:v>2.7819319113546874</c:v>
                </c:pt>
                <c:pt idx="2121">
                  <c:v>2.6468471888994927</c:v>
                </c:pt>
                <c:pt idx="2122">
                  <c:v>2.6555678303822186</c:v>
                </c:pt>
                <c:pt idx="2123">
                  <c:v>2.7005597402395871</c:v>
                </c:pt>
                <c:pt idx="2124">
                  <c:v>2.763468701689991</c:v>
                </c:pt>
                <c:pt idx="2125">
                  <c:v>2.7148064694521126</c:v>
                </c:pt>
                <c:pt idx="2126">
                  <c:v>2.7101301898034276</c:v>
                </c:pt>
                <c:pt idx="2127">
                  <c:v>2.6893025452374735</c:v>
                </c:pt>
                <c:pt idx="2128">
                  <c:v>2.7560157554023332</c:v>
                </c:pt>
                <c:pt idx="2129">
                  <c:v>2.8698915463237036</c:v>
                </c:pt>
                <c:pt idx="2130">
                  <c:v>2.9720427389229265</c:v>
                </c:pt>
                <c:pt idx="2131">
                  <c:v>2.7977109692981164</c:v>
                </c:pt>
                <c:pt idx="2132">
                  <c:v>2.7162009854452984</c:v>
                </c:pt>
                <c:pt idx="2133">
                  <c:v>2.7842841074163029</c:v>
                </c:pt>
                <c:pt idx="2134">
                  <c:v>2.502379352840804</c:v>
                </c:pt>
                <c:pt idx="2135">
                  <c:v>2.3800838636013464</c:v>
                </c:pt>
                <c:pt idx="2136">
                  <c:v>2.4473045920049561</c:v>
                </c:pt>
                <c:pt idx="2137">
                  <c:v>2.7652377798745511</c:v>
                </c:pt>
                <c:pt idx="2138">
                  <c:v>2.8382988498916917</c:v>
                </c:pt>
                <c:pt idx="2139">
                  <c:v>2.8455287520443213</c:v>
                </c:pt>
                <c:pt idx="2140">
                  <c:v>2.9149717582445049</c:v>
                </c:pt>
                <c:pt idx="2141">
                  <c:v>2.7674037562789744</c:v>
                </c:pt>
                <c:pt idx="2142">
                  <c:v>2.729073219694941</c:v>
                </c:pt>
                <c:pt idx="2143">
                  <c:v>2.6884823218456826</c:v>
                </c:pt>
                <c:pt idx="2144">
                  <c:v>2.735003202371614</c:v>
                </c:pt>
                <c:pt idx="2145">
                  <c:v>2.7348983742354696</c:v>
                </c:pt>
                <c:pt idx="2146">
                  <c:v>2.7508396807214952</c:v>
                </c:pt>
                <c:pt idx="2147">
                  <c:v>2.7185375284033424</c:v>
                </c:pt>
                <c:pt idx="2148">
                  <c:v>2.7208641121377211</c:v>
                </c:pt>
                <c:pt idx="2149">
                  <c:v>2.7247029127989855</c:v>
                </c:pt>
                <c:pt idx="2150">
                  <c:v>2.7182551595419868</c:v>
                </c:pt>
                <c:pt idx="2151">
                  <c:v>2.7210020172016187</c:v>
                </c:pt>
                <c:pt idx="2152">
                  <c:v>2.7195496436068671</c:v>
                </c:pt>
                <c:pt idx="2153">
                  <c:v>2.7189928828360834</c:v>
                </c:pt>
                <c:pt idx="2154">
                  <c:v>2.7173496958995784</c:v>
                </c:pt>
                <c:pt idx="2155">
                  <c:v>2.7176458640444263</c:v>
                </c:pt>
                <c:pt idx="2156">
                  <c:v>2.6919506811435112</c:v>
                </c:pt>
                <c:pt idx="2157">
                  <c:v>2.727969855089341</c:v>
                </c:pt>
                <c:pt idx="2158">
                  <c:v>2.663253896981892</c:v>
                </c:pt>
                <c:pt idx="2159">
                  <c:v>2.6574755720068497</c:v>
                </c:pt>
                <c:pt idx="2160">
                  <c:v>2.6613280990696979</c:v>
                </c:pt>
                <c:pt idx="2161">
                  <c:v>2.6405589328773424</c:v>
                </c:pt>
                <c:pt idx="2162">
                  <c:v>2.6030235393034289</c:v>
                </c:pt>
                <c:pt idx="2163">
                  <c:v>2.5579895815204883</c:v>
                </c:pt>
                <c:pt idx="2164">
                  <c:v>2.5489736532353859</c:v>
                </c:pt>
                <c:pt idx="2165">
                  <c:v>2.5846092993069267</c:v>
                </c:pt>
                <c:pt idx="2166">
                  <c:v>2.5221390674438462</c:v>
                </c:pt>
                <c:pt idx="2167">
                  <c:v>2.4418003641334609</c:v>
                </c:pt>
                <c:pt idx="2168">
                  <c:v>2.4237999866859665</c:v>
                </c:pt>
                <c:pt idx="2169">
                  <c:v>2.4326715741641216</c:v>
                </c:pt>
                <c:pt idx="2170">
                  <c:v>2.4504799048956056</c:v>
                </c:pt>
                <c:pt idx="2171">
                  <c:v>2.4682610145025734</c:v>
                </c:pt>
                <c:pt idx="2172">
                  <c:v>2.4860418577569257</c:v>
                </c:pt>
                <c:pt idx="2173">
                  <c:v>2.5318779792938333</c:v>
                </c:pt>
                <c:pt idx="2174">
                  <c:v>2.5346674609897586</c:v>
                </c:pt>
                <c:pt idx="2175">
                  <c:v>2.5976986792489209</c:v>
                </c:pt>
                <c:pt idx="2176">
                  <c:v>2.5428499500400084</c:v>
                </c:pt>
                <c:pt idx="2177">
                  <c:v>2.6444358585984094</c:v>
                </c:pt>
                <c:pt idx="2178">
                  <c:v>2.6819473708584778</c:v>
                </c:pt>
                <c:pt idx="2179">
                  <c:v>2.6874474039568454</c:v>
                </c:pt>
                <c:pt idx="2180">
                  <c:v>2.8665984836270173</c:v>
                </c:pt>
                <c:pt idx="2181">
                  <c:v>2.9277913776249793</c:v>
                </c:pt>
                <c:pt idx="2182">
                  <c:v>2.916938457511705</c:v>
                </c:pt>
                <c:pt idx="2183">
                  <c:v>2.8698885794192752</c:v>
                </c:pt>
                <c:pt idx="2184">
                  <c:v>2.9062331531002776</c:v>
                </c:pt>
                <c:pt idx="2185">
                  <c:v>3.1023940332914171</c:v>
                </c:pt>
                <c:pt idx="2186">
                  <c:v>3.1126298935058596</c:v>
                </c:pt>
                <c:pt idx="2187">
                  <c:v>3.1016603454460028</c:v>
                </c:pt>
                <c:pt idx="2188">
                  <c:v>3.0199534405056601</c:v>
                </c:pt>
                <c:pt idx="2189">
                  <c:v>2.9296486101378227</c:v>
                </c:pt>
                <c:pt idx="2190">
                  <c:v>2.9283073790507013</c:v>
                </c:pt>
                <c:pt idx="2191">
                  <c:v>2.9938682342055492</c:v>
                </c:pt>
                <c:pt idx="2192">
                  <c:v>3.037430988066252</c:v>
                </c:pt>
                <c:pt idx="2193">
                  <c:v>3.0482582150835147</c:v>
                </c:pt>
                <c:pt idx="2194">
                  <c:v>3.0831565652219748</c:v>
                </c:pt>
                <c:pt idx="2195">
                  <c:v>3.0709530077953038</c:v>
                </c:pt>
                <c:pt idx="2196">
                  <c:v>3.0797673397479484</c:v>
                </c:pt>
                <c:pt idx="2197">
                  <c:v>3.0909441200921393</c:v>
                </c:pt>
                <c:pt idx="2198">
                  <c:v>3.0892779945643483</c:v>
                </c:pt>
                <c:pt idx="2199">
                  <c:v>3.0828877712452503</c:v>
                </c:pt>
                <c:pt idx="2200">
                  <c:v>3.0650418674228708</c:v>
                </c:pt>
                <c:pt idx="2201">
                  <c:v>3.1097335693516044</c:v>
                </c:pt>
                <c:pt idx="2202">
                  <c:v>2.9477219994248487</c:v>
                </c:pt>
                <c:pt idx="2203">
                  <c:v>2.941702332604911</c:v>
                </c:pt>
                <c:pt idx="2204">
                  <c:v>3.0023840794511911</c:v>
                </c:pt>
                <c:pt idx="2205">
                  <c:v>2.9917400304091237</c:v>
                </c:pt>
                <c:pt idx="2206">
                  <c:v>2.9784160255878906</c:v>
                </c:pt>
                <c:pt idx="2207">
                  <c:v>2.9597418084234506</c:v>
                </c:pt>
                <c:pt idx="2208">
                  <c:v>3.0036952673776391</c:v>
                </c:pt>
                <c:pt idx="2209">
                  <c:v>3.4242895460448168</c:v>
                </c:pt>
                <c:pt idx="2210">
                  <c:v>3.4163466408774688</c:v>
                </c:pt>
                <c:pt idx="2211">
                  <c:v>3.6001658857510415</c:v>
                </c:pt>
                <c:pt idx="2212">
                  <c:v>3.315497066211325</c:v>
                </c:pt>
                <c:pt idx="2213">
                  <c:v>3.2780728256968521</c:v>
                </c:pt>
                <c:pt idx="2214">
                  <c:v>3.0888218660523843</c:v>
                </c:pt>
                <c:pt idx="2215">
                  <c:v>2.8076300578568101</c:v>
                </c:pt>
                <c:pt idx="2216">
                  <c:v>2.887499157334025</c:v>
                </c:pt>
                <c:pt idx="2217">
                  <c:v>2.8099036983303476</c:v>
                </c:pt>
                <c:pt idx="2218">
                  <c:v>3.1252094989375334</c:v>
                </c:pt>
                <c:pt idx="2219">
                  <c:v>3.4001934780353662</c:v>
                </c:pt>
                <c:pt idx="2220">
                  <c:v>3.3953296580250791</c:v>
                </c:pt>
                <c:pt idx="2221">
                  <c:v>3.3024299582796166</c:v>
                </c:pt>
                <c:pt idx="2222">
                  <c:v>3.2362794762266649</c:v>
                </c:pt>
                <c:pt idx="2223">
                  <c:v>3.2438785579749947</c:v>
                </c:pt>
                <c:pt idx="2224">
                  <c:v>3.1887191658357836</c:v>
                </c:pt>
                <c:pt idx="2225">
                  <c:v>3.1380287104587583</c:v>
                </c:pt>
                <c:pt idx="2226">
                  <c:v>3.3247798308355891</c:v>
                </c:pt>
                <c:pt idx="2227">
                  <c:v>3.2455577736650101</c:v>
                </c:pt>
                <c:pt idx="2228">
                  <c:v>3.2490016230046663</c:v>
                </c:pt>
                <c:pt idx="2229">
                  <c:v>3.2426694608740356</c:v>
                </c:pt>
                <c:pt idx="2230">
                  <c:v>3.2411489352760299</c:v>
                </c:pt>
                <c:pt idx="2231">
                  <c:v>3.2454272447979697</c:v>
                </c:pt>
                <c:pt idx="2232">
                  <c:v>3.243372524408958</c:v>
                </c:pt>
                <c:pt idx="2233">
                  <c:v>3.2348431610248554</c:v>
                </c:pt>
                <c:pt idx="2234">
                  <c:v>3.2110987039703014</c:v>
                </c:pt>
                <c:pt idx="2235">
                  <c:v>3.2582656863757924</c:v>
                </c:pt>
                <c:pt idx="2236">
                  <c:v>3.2438473454256211</c:v>
                </c:pt>
                <c:pt idx="2237">
                  <c:v>3.2346608222506568</c:v>
                </c:pt>
                <c:pt idx="2238">
                  <c:v>3.2400826339904145</c:v>
                </c:pt>
                <c:pt idx="2239">
                  <c:v>3.2340707485200411</c:v>
                </c:pt>
                <c:pt idx="2240">
                  <c:v>3.2219883148177537</c:v>
                </c:pt>
                <c:pt idx="2241">
                  <c:v>3.2193788339840648</c:v>
                </c:pt>
                <c:pt idx="2242">
                  <c:v>3.1930806995396619</c:v>
                </c:pt>
                <c:pt idx="2243">
                  <c:v>3.2007437520009976</c:v>
                </c:pt>
                <c:pt idx="2244">
                  <c:v>3.2905067897625955</c:v>
                </c:pt>
                <c:pt idx="2245">
                  <c:v>3.3891837119112775</c:v>
                </c:pt>
                <c:pt idx="2246">
                  <c:v>3.3810303493504357</c:v>
                </c:pt>
                <c:pt idx="2247">
                  <c:v>3.3507817451875117</c:v>
                </c:pt>
                <c:pt idx="2248">
                  <c:v>3.3559954346174647</c:v>
                </c:pt>
                <c:pt idx="2249">
                  <c:v>3.3493178185059311</c:v>
                </c:pt>
                <c:pt idx="2250">
                  <c:v>3.3398795097443594</c:v>
                </c:pt>
                <c:pt idx="2251">
                  <c:v>3.3539169492904359</c:v>
                </c:pt>
                <c:pt idx="2252">
                  <c:v>3.3263608661730042</c:v>
                </c:pt>
                <c:pt idx="2253">
                  <c:v>3.3224617727661538</c:v>
                </c:pt>
                <c:pt idx="2254">
                  <c:v>3.2941384925327903</c:v>
                </c:pt>
                <c:pt idx="2255">
                  <c:v>3.2538755048416381</c:v>
                </c:pt>
                <c:pt idx="2256">
                  <c:v>3.2695320498223452</c:v>
                </c:pt>
                <c:pt idx="2257">
                  <c:v>3.2352388200774427</c:v>
                </c:pt>
                <c:pt idx="2258">
                  <c:v>3.3247261724730492</c:v>
                </c:pt>
                <c:pt idx="2259">
                  <c:v>3.4700523843673596</c:v>
                </c:pt>
                <c:pt idx="2260">
                  <c:v>3.3967382469203056</c:v>
                </c:pt>
                <c:pt idx="2261">
                  <c:v>3.4726301023137913</c:v>
                </c:pt>
                <c:pt idx="2262">
                  <c:v>3.4687628650606985</c:v>
                </c:pt>
                <c:pt idx="2263">
                  <c:v>3.5412780644737758</c:v>
                </c:pt>
                <c:pt idx="2264">
                  <c:v>3.5260432588236399</c:v>
                </c:pt>
                <c:pt idx="2265">
                  <c:v>3.5683951356365111</c:v>
                </c:pt>
                <c:pt idx="2266">
                  <c:v>3.6876029227930887</c:v>
                </c:pt>
                <c:pt idx="2267">
                  <c:v>3.7569095204427705</c:v>
                </c:pt>
                <c:pt idx="2268">
                  <c:v>3.7567179200796237</c:v>
                </c:pt>
                <c:pt idx="2269">
                  <c:v>3.7354164859872023</c:v>
                </c:pt>
                <c:pt idx="2270">
                  <c:v>3.7617309620328006</c:v>
                </c:pt>
                <c:pt idx="2271">
                  <c:v>3.7833722824764324</c:v>
                </c:pt>
                <c:pt idx="2272">
                  <c:v>3.7976961618914515</c:v>
                </c:pt>
                <c:pt idx="2273">
                  <c:v>3.7356281358461034</c:v>
                </c:pt>
                <c:pt idx="2274">
                  <c:v>3.7151670679860778</c:v>
                </c:pt>
                <c:pt idx="2275">
                  <c:v>3.7118110411123504</c:v>
                </c:pt>
                <c:pt idx="2276">
                  <c:v>3.6891525091977231</c:v>
                </c:pt>
                <c:pt idx="2277">
                  <c:v>3.687885655456987</c:v>
                </c:pt>
                <c:pt idx="2278">
                  <c:v>3.6339328254616068</c:v>
                </c:pt>
                <c:pt idx="2279">
                  <c:v>3.6553763859493564</c:v>
                </c:pt>
                <c:pt idx="2280">
                  <c:v>3.5654627173318199</c:v>
                </c:pt>
                <c:pt idx="2281">
                  <c:v>3.5725951757664922</c:v>
                </c:pt>
                <c:pt idx="2282">
                  <c:v>3.4716044532627897</c:v>
                </c:pt>
                <c:pt idx="2283">
                  <c:v>3.3355005308353491</c:v>
                </c:pt>
                <c:pt idx="2284">
                  <c:v>3.3352132881859302</c:v>
                </c:pt>
                <c:pt idx="2285">
                  <c:v>3.2734457233046528</c:v>
                </c:pt>
                <c:pt idx="2286">
                  <c:v>3.3844869116199479</c:v>
                </c:pt>
                <c:pt idx="2287">
                  <c:v>3.32745526999474</c:v>
                </c:pt>
                <c:pt idx="2288">
                  <c:v>3.2591866631206883</c:v>
                </c:pt>
                <c:pt idx="2289">
                  <c:v>3.2703989832170146</c:v>
                </c:pt>
                <c:pt idx="2290">
                  <c:v>3.2022337358409136</c:v>
                </c:pt>
                <c:pt idx="2291">
                  <c:v>3.1907401443688159</c:v>
                </c:pt>
                <c:pt idx="2292">
                  <c:v>3.1566411405036541</c:v>
                </c:pt>
                <c:pt idx="2293">
                  <c:v>3.0543806657016477</c:v>
                </c:pt>
                <c:pt idx="2294">
                  <c:v>3.0541631386070192</c:v>
                </c:pt>
                <c:pt idx="2295">
                  <c:v>3.0201042871327286</c:v>
                </c:pt>
                <c:pt idx="2296">
                  <c:v>3.0200301932441254</c:v>
                </c:pt>
                <c:pt idx="2297">
                  <c:v>2.9973170117809604</c:v>
                </c:pt>
                <c:pt idx="2298">
                  <c:v>3.0199806000540454</c:v>
                </c:pt>
                <c:pt idx="2299">
                  <c:v>2.9972174447442179</c:v>
                </c:pt>
                <c:pt idx="2300">
                  <c:v>2.8722847726634302</c:v>
                </c:pt>
                <c:pt idx="2301">
                  <c:v>2.7244402784430477</c:v>
                </c:pt>
                <c:pt idx="2302">
                  <c:v>2.7695284830364697</c:v>
                </c:pt>
                <c:pt idx="2303">
                  <c:v>2.7353777392104894</c:v>
                </c:pt>
                <c:pt idx="2304">
                  <c:v>2.8374593746098338</c:v>
                </c:pt>
                <c:pt idx="2305">
                  <c:v>2.9961203972897459</c:v>
                </c:pt>
                <c:pt idx="2306">
                  <c:v>2.9263596336345716</c:v>
                </c:pt>
                <c:pt idx="2307">
                  <c:v>2.9140812863433108</c:v>
                </c:pt>
                <c:pt idx="2308">
                  <c:v>2.9468113549543826</c:v>
                </c:pt>
                <c:pt idx="2309">
                  <c:v>3.0438379725996834</c:v>
                </c:pt>
                <c:pt idx="2310">
                  <c:v>3.0429652227512389</c:v>
                </c:pt>
                <c:pt idx="2311">
                  <c:v>3.0611756749724917</c:v>
                </c:pt>
                <c:pt idx="2312">
                  <c:v>2.9899249597319657</c:v>
                </c:pt>
                <c:pt idx="2313">
                  <c:v>3.0982139869258414</c:v>
                </c:pt>
                <c:pt idx="2314">
                  <c:v>2.9914633349006978</c:v>
                </c:pt>
                <c:pt idx="2315">
                  <c:v>2.9957942897422924</c:v>
                </c:pt>
                <c:pt idx="2316">
                  <c:v>2.9680525184067412</c:v>
                </c:pt>
                <c:pt idx="2317">
                  <c:v>2.9362949140406749</c:v>
                </c:pt>
                <c:pt idx="2318">
                  <c:v>2.8865542133313844</c:v>
                </c:pt>
                <c:pt idx="2319">
                  <c:v>2.8588639678939409</c:v>
                </c:pt>
                <c:pt idx="2320">
                  <c:v>2.8213155033986799</c:v>
                </c:pt>
                <c:pt idx="2321">
                  <c:v>2.9049168473775637</c:v>
                </c:pt>
                <c:pt idx="2322">
                  <c:v>2.9645060753353176</c:v>
                </c:pt>
                <c:pt idx="2323">
                  <c:v>2.9379478102122016</c:v>
                </c:pt>
                <c:pt idx="2324">
                  <c:v>2.9308572819735632</c:v>
                </c:pt>
                <c:pt idx="2325">
                  <c:v>2.9246116214390656</c:v>
                </c:pt>
                <c:pt idx="2326">
                  <c:v>3.0168935757563236</c:v>
                </c:pt>
                <c:pt idx="2327">
                  <c:v>2.9575043217079213</c:v>
                </c:pt>
                <c:pt idx="2328">
                  <c:v>2.966792033255345</c:v>
                </c:pt>
                <c:pt idx="2329">
                  <c:v>2.7875088590107207</c:v>
                </c:pt>
                <c:pt idx="2330">
                  <c:v>2.7779357660488349</c:v>
                </c:pt>
                <c:pt idx="2331">
                  <c:v>2.6861729174000293</c:v>
                </c:pt>
                <c:pt idx="2332">
                  <c:v>2.688676981345639</c:v>
                </c:pt>
                <c:pt idx="2333">
                  <c:v>2.679317719159251</c:v>
                </c:pt>
                <c:pt idx="2334">
                  <c:v>2.6783676775926941</c:v>
                </c:pt>
                <c:pt idx="2335">
                  <c:v>2.6851088177829436</c:v>
                </c:pt>
                <c:pt idx="2336">
                  <c:v>2.6890876912896204</c:v>
                </c:pt>
                <c:pt idx="2337">
                  <c:v>2.6724925738877499</c:v>
                </c:pt>
                <c:pt idx="2338">
                  <c:v>2.6643023242161399</c:v>
                </c:pt>
                <c:pt idx="2339">
                  <c:v>2.5341775783235425</c:v>
                </c:pt>
                <c:pt idx="2340">
                  <c:v>2.4719008510645994</c:v>
                </c:pt>
                <c:pt idx="2341">
                  <c:v>2.6384051812663629</c:v>
                </c:pt>
                <c:pt idx="2342">
                  <c:v>2.4262256085152338</c:v>
                </c:pt>
                <c:pt idx="2343">
                  <c:v>2.4185075896289265</c:v>
                </c:pt>
                <c:pt idx="2344">
                  <c:v>2.3507993325279011</c:v>
                </c:pt>
                <c:pt idx="2345">
                  <c:v>2.4424315826981786</c:v>
                </c:pt>
                <c:pt idx="2346">
                  <c:v>2.625398301491694</c:v>
                </c:pt>
                <c:pt idx="2347">
                  <c:v>2.6407599593479416</c:v>
                </c:pt>
                <c:pt idx="2348">
                  <c:v>2.5745019923712826</c:v>
                </c:pt>
                <c:pt idx="2349">
                  <c:v>2.5167060967443948</c:v>
                </c:pt>
                <c:pt idx="2350">
                  <c:v>2.5137959733747395</c:v>
                </c:pt>
                <c:pt idx="2351">
                  <c:v>2.4233738864069294</c:v>
                </c:pt>
                <c:pt idx="2352">
                  <c:v>2.4412709561424903</c:v>
                </c:pt>
                <c:pt idx="2353">
                  <c:v>2.4412308667914608</c:v>
                </c:pt>
                <c:pt idx="2354">
                  <c:v>2.4231437418658714</c:v>
                </c:pt>
                <c:pt idx="2355">
                  <c:v>2.4411081235188004</c:v>
                </c:pt>
                <c:pt idx="2356">
                  <c:v>2.4188925434446724</c:v>
                </c:pt>
                <c:pt idx="2357">
                  <c:v>2.4254257725056494</c:v>
                </c:pt>
                <c:pt idx="2358">
                  <c:v>2.4320540298969724</c:v>
                </c:pt>
                <c:pt idx="2359">
                  <c:v>2.4320626886901988</c:v>
                </c:pt>
                <c:pt idx="2360">
                  <c:v>2.431077060487957</c:v>
                </c:pt>
                <c:pt idx="2361">
                  <c:v>2.4314257465316937</c:v>
                </c:pt>
                <c:pt idx="2362">
                  <c:v>2.4454333995283637</c:v>
                </c:pt>
                <c:pt idx="2363">
                  <c:v>2.4424991971475967</c:v>
                </c:pt>
                <c:pt idx="2364">
                  <c:v>2.435897428599386</c:v>
                </c:pt>
                <c:pt idx="2365">
                  <c:v>2.435170277425224</c:v>
                </c:pt>
                <c:pt idx="2366">
                  <c:v>2.4874746449004062</c:v>
                </c:pt>
                <c:pt idx="2367">
                  <c:v>2.4770899458420108</c:v>
                </c:pt>
                <c:pt idx="2368">
                  <c:v>2.4925676668432364</c:v>
                </c:pt>
                <c:pt idx="2369">
                  <c:v>2.4735870613456381</c:v>
                </c:pt>
                <c:pt idx="2370">
                  <c:v>2.4824975616417766</c:v>
                </c:pt>
                <c:pt idx="2371">
                  <c:v>2.6067252071883176</c:v>
                </c:pt>
                <c:pt idx="2372">
                  <c:v>2.6335730445170253</c:v>
                </c:pt>
                <c:pt idx="2373">
                  <c:v>2.5955623372647341</c:v>
                </c:pt>
                <c:pt idx="2374">
                  <c:v>2.6125816887547924</c:v>
                </c:pt>
                <c:pt idx="2375">
                  <c:v>2.7510094828799145</c:v>
                </c:pt>
                <c:pt idx="2376">
                  <c:v>2.8430078722894185</c:v>
                </c:pt>
                <c:pt idx="2377">
                  <c:v>2.9687518630685008</c:v>
                </c:pt>
                <c:pt idx="2378">
                  <c:v>2.7353883749988515</c:v>
                </c:pt>
                <c:pt idx="2379">
                  <c:v>2.7340936945190881</c:v>
                </c:pt>
                <c:pt idx="2380">
                  <c:v>2.5681340722696606</c:v>
                </c:pt>
                <c:pt idx="2381">
                  <c:v>2.5602268330593989</c:v>
                </c:pt>
                <c:pt idx="2382">
                  <c:v>2.4651826830574199</c:v>
                </c:pt>
                <c:pt idx="2383">
                  <c:v>2.5160332633320031</c:v>
                </c:pt>
                <c:pt idx="2384">
                  <c:v>2.7211551505382721</c:v>
                </c:pt>
                <c:pt idx="2385">
                  <c:v>2.6222098671483209</c:v>
                </c:pt>
                <c:pt idx="2386">
                  <c:v>2.7275041261572595</c:v>
                </c:pt>
                <c:pt idx="2387">
                  <c:v>2.7102877655051452</c:v>
                </c:pt>
                <c:pt idx="2388">
                  <c:v>2.4051348561323258</c:v>
                </c:pt>
                <c:pt idx="2389">
                  <c:v>2.5682218991715167</c:v>
                </c:pt>
                <c:pt idx="2390">
                  <c:v>2.3894528001183279</c:v>
                </c:pt>
                <c:pt idx="2391">
                  <c:v>2.5810006678279014</c:v>
                </c:pt>
                <c:pt idx="2392">
                  <c:v>2.2038802355854723</c:v>
                </c:pt>
                <c:pt idx="2393">
                  <c:v>2.3184020561322458</c:v>
                </c:pt>
                <c:pt idx="2394">
                  <c:v>2.4380941278709702</c:v>
                </c:pt>
                <c:pt idx="2395">
                  <c:v>2.5634335892607023</c:v>
                </c:pt>
                <c:pt idx="2396">
                  <c:v>2.6200821701119508</c:v>
                </c:pt>
                <c:pt idx="2397">
                  <c:v>2.6308049468035519</c:v>
                </c:pt>
                <c:pt idx="2398">
                  <c:v>2.5896417581143272</c:v>
                </c:pt>
                <c:pt idx="2399">
                  <c:v>2.5786292266453468</c:v>
                </c:pt>
                <c:pt idx="2400">
                  <c:v>2.5775915116890684</c:v>
                </c:pt>
                <c:pt idx="2401">
                  <c:v>2.4990209348330419</c:v>
                </c:pt>
                <c:pt idx="2402">
                  <c:v>2.5312646271837123</c:v>
                </c:pt>
                <c:pt idx="2403">
                  <c:v>2.5186656197344388</c:v>
                </c:pt>
                <c:pt idx="2404">
                  <c:v>2.5025873452398031</c:v>
                </c:pt>
                <c:pt idx="2405">
                  <c:v>2.507407397525995</c:v>
                </c:pt>
                <c:pt idx="2406">
                  <c:v>2.5039221317523359</c:v>
                </c:pt>
                <c:pt idx="2407">
                  <c:v>2.4912802208558382</c:v>
                </c:pt>
                <c:pt idx="2408">
                  <c:v>2.4816903333029798</c:v>
                </c:pt>
                <c:pt idx="2409">
                  <c:v>2.4772320825523098</c:v>
                </c:pt>
                <c:pt idx="2410">
                  <c:v>2.4336370989983647</c:v>
                </c:pt>
                <c:pt idx="2411">
                  <c:v>2.4395918394094167</c:v>
                </c:pt>
                <c:pt idx="2412">
                  <c:v>2.4744014660179188</c:v>
                </c:pt>
                <c:pt idx="2413">
                  <c:v>2.5074132966511629</c:v>
                </c:pt>
                <c:pt idx="2414">
                  <c:v>2.4740979803092866</c:v>
                </c:pt>
                <c:pt idx="2415">
                  <c:v>2.4742956393898483</c:v>
                </c:pt>
                <c:pt idx="2416">
                  <c:v>2.4695603353486111</c:v>
                </c:pt>
                <c:pt idx="2417">
                  <c:v>2.4795634163787237</c:v>
                </c:pt>
                <c:pt idx="2418">
                  <c:v>2.4640861428444585</c:v>
                </c:pt>
                <c:pt idx="2419">
                  <c:v>2.4671434253249038</c:v>
                </c:pt>
                <c:pt idx="2420">
                  <c:v>2.4399832704976765</c:v>
                </c:pt>
                <c:pt idx="2421">
                  <c:v>2.4282476561465414</c:v>
                </c:pt>
                <c:pt idx="2422">
                  <c:v>2.3841716831499364</c:v>
                </c:pt>
                <c:pt idx="2423">
                  <c:v>2.4932207072818686</c:v>
                </c:pt>
                <c:pt idx="2424">
                  <c:v>2.6188861680655102</c:v>
                </c:pt>
                <c:pt idx="2425">
                  <c:v>2.5470319350643913</c:v>
                </c:pt>
                <c:pt idx="2426">
                  <c:v>2.539903564332826</c:v>
                </c:pt>
                <c:pt idx="2427">
                  <c:v>2.4776785866623574</c:v>
                </c:pt>
                <c:pt idx="2428">
                  <c:v>2.4271264122651743</c:v>
                </c:pt>
                <c:pt idx="2429">
                  <c:v>2.6222741584156593</c:v>
                </c:pt>
                <c:pt idx="2430">
                  <c:v>2.6574782569117494</c:v>
                </c:pt>
                <c:pt idx="2431">
                  <c:v>2.5006256112887697</c:v>
                </c:pt>
                <c:pt idx="2432">
                  <c:v>2.3524271917383888</c:v>
                </c:pt>
                <c:pt idx="2433">
                  <c:v>2.2890879376114208</c:v>
                </c:pt>
                <c:pt idx="2434">
                  <c:v>2.3367717585836973</c:v>
                </c:pt>
                <c:pt idx="2435">
                  <c:v>2.1684123135142106</c:v>
                </c:pt>
                <c:pt idx="2436">
                  <c:v>2.4323823175365287</c:v>
                </c:pt>
                <c:pt idx="2437">
                  <c:v>2.4937412317659629</c:v>
                </c:pt>
                <c:pt idx="2438">
                  <c:v>2.5282769580759941</c:v>
                </c:pt>
                <c:pt idx="2439">
                  <c:v>2.5285436385991624</c:v>
                </c:pt>
                <c:pt idx="2440">
                  <c:v>2.5058602899620892</c:v>
                </c:pt>
                <c:pt idx="2441">
                  <c:v>2.5237864987994469</c:v>
                </c:pt>
                <c:pt idx="2442">
                  <c:v>2.483009929992448</c:v>
                </c:pt>
                <c:pt idx="2443">
                  <c:v>2.5016284099903792</c:v>
                </c:pt>
                <c:pt idx="2444">
                  <c:v>2.5308664830518937</c:v>
                </c:pt>
                <c:pt idx="2445">
                  <c:v>2.6161221179628766</c:v>
                </c:pt>
                <c:pt idx="2446">
                  <c:v>2.6106176286545679</c:v>
                </c:pt>
                <c:pt idx="2447">
                  <c:v>2.5104529744521908</c:v>
                </c:pt>
                <c:pt idx="2448">
                  <c:v>2.4674718274887684</c:v>
                </c:pt>
                <c:pt idx="2449">
                  <c:v>2.5621904244988389</c:v>
                </c:pt>
                <c:pt idx="2450">
                  <c:v>2.6998475832196958</c:v>
                </c:pt>
                <c:pt idx="2451">
                  <c:v>2.6255917279512726</c:v>
                </c:pt>
                <c:pt idx="2452">
                  <c:v>2.6169526473879547</c:v>
                </c:pt>
                <c:pt idx="2453">
                  <c:v>2.5863860348410026</c:v>
                </c:pt>
                <c:pt idx="2454">
                  <c:v>2.551721088588002</c:v>
                </c:pt>
                <c:pt idx="2455">
                  <c:v>2.4725334156212591</c:v>
                </c:pt>
                <c:pt idx="2456">
                  <c:v>2.5390540901628706</c:v>
                </c:pt>
                <c:pt idx="2457">
                  <c:v>2.5373955885224269</c:v>
                </c:pt>
                <c:pt idx="2458">
                  <c:v>2.6361759475280211</c:v>
                </c:pt>
                <c:pt idx="2459">
                  <c:v>2.7128019125106215</c:v>
                </c:pt>
                <c:pt idx="2460">
                  <c:v>2.726316499219362</c:v>
                </c:pt>
                <c:pt idx="2461">
                  <c:v>2.5849983031724433</c:v>
                </c:pt>
                <c:pt idx="2462">
                  <c:v>2.639447702106636</c:v>
                </c:pt>
                <c:pt idx="2463">
                  <c:v>3.0209916807625317</c:v>
                </c:pt>
                <c:pt idx="2464">
                  <c:v>2.8787337437313183</c:v>
                </c:pt>
                <c:pt idx="2465">
                  <c:v>2.7269653031892847</c:v>
                </c:pt>
                <c:pt idx="2466">
                  <c:v>2.7244942074107041</c:v>
                </c:pt>
                <c:pt idx="2467">
                  <c:v>2.8206212648498639</c:v>
                </c:pt>
                <c:pt idx="2468">
                  <c:v>2.7767365920934437</c:v>
                </c:pt>
                <c:pt idx="2469">
                  <c:v>2.7715762185527102</c:v>
                </c:pt>
                <c:pt idx="2470">
                  <c:v>2.7505296466983657</c:v>
                </c:pt>
                <c:pt idx="2471">
                  <c:v>2.7576925048374088</c:v>
                </c:pt>
                <c:pt idx="2472">
                  <c:v>2.75631507678606</c:v>
                </c:pt>
                <c:pt idx="2473">
                  <c:v>2.7574299746162296</c:v>
                </c:pt>
                <c:pt idx="2474">
                  <c:v>2.6734179241568681</c:v>
                </c:pt>
                <c:pt idx="2475">
                  <c:v>2.6532390941782937</c:v>
                </c:pt>
                <c:pt idx="2476">
                  <c:v>2.662161823341195</c:v>
                </c:pt>
                <c:pt idx="2477">
                  <c:v>2.6184106650386059</c:v>
                </c:pt>
                <c:pt idx="2478">
                  <c:v>2.5936882258051255</c:v>
                </c:pt>
                <c:pt idx="2479">
                  <c:v>2.5223839565718174</c:v>
                </c:pt>
                <c:pt idx="2480">
                  <c:v>2.5324306310890514</c:v>
                </c:pt>
                <c:pt idx="2481">
                  <c:v>2.4179337207689526</c:v>
                </c:pt>
                <c:pt idx="2482">
                  <c:v>2.4466967806454578</c:v>
                </c:pt>
                <c:pt idx="2483">
                  <c:v>2.3945443450736015</c:v>
                </c:pt>
                <c:pt idx="2484">
                  <c:v>2.3762210195926743</c:v>
                </c:pt>
                <c:pt idx="2485">
                  <c:v>2.3145906651489474</c:v>
                </c:pt>
                <c:pt idx="2486">
                  <c:v>2.3727120873870726</c:v>
                </c:pt>
                <c:pt idx="2487">
                  <c:v>2.3646067521806264</c:v>
                </c:pt>
                <c:pt idx="2488">
                  <c:v>2.3208085956973949</c:v>
                </c:pt>
                <c:pt idx="2489">
                  <c:v>2.4040430479222414</c:v>
                </c:pt>
                <c:pt idx="2490">
                  <c:v>2.3508437571688892</c:v>
                </c:pt>
                <c:pt idx="2491">
                  <c:v>2.2955738420513501</c:v>
                </c:pt>
                <c:pt idx="2492">
                  <c:v>2.2953067710708388</c:v>
                </c:pt>
                <c:pt idx="2493">
                  <c:v>2.4699486377475237</c:v>
                </c:pt>
                <c:pt idx="2494">
                  <c:v>2.3839517806312696</c:v>
                </c:pt>
                <c:pt idx="2495">
                  <c:v>2.3721081497806225</c:v>
                </c:pt>
                <c:pt idx="2496">
                  <c:v>2.3750523396093612</c:v>
                </c:pt>
                <c:pt idx="2497">
                  <c:v>2.362977074840491</c:v>
                </c:pt>
                <c:pt idx="2498">
                  <c:v>2.3622949731467635</c:v>
                </c:pt>
                <c:pt idx="2499">
                  <c:v>2.3089698804543373</c:v>
                </c:pt>
                <c:pt idx="2500">
                  <c:v>2.2949802178829768</c:v>
                </c:pt>
                <c:pt idx="2501">
                  <c:v>2.2662748954891541</c:v>
                </c:pt>
                <c:pt idx="2502">
                  <c:v>2.3661396929898135</c:v>
                </c:pt>
                <c:pt idx="2503">
                  <c:v>2.3516337454579239</c:v>
                </c:pt>
                <c:pt idx="2504">
                  <c:v>2.3400454561669308</c:v>
                </c:pt>
                <c:pt idx="2505">
                  <c:v>2.3242320292122098</c:v>
                </c:pt>
                <c:pt idx="2506">
                  <c:v>2.3492500455292271</c:v>
                </c:pt>
                <c:pt idx="2507">
                  <c:v>2.3223902502676563</c:v>
                </c:pt>
                <c:pt idx="2508">
                  <c:v>2.3205840052049087</c:v>
                </c:pt>
                <c:pt idx="2509">
                  <c:v>2.3087714023080466</c:v>
                </c:pt>
                <c:pt idx="2510">
                  <c:v>2.306844322243792</c:v>
                </c:pt>
                <c:pt idx="2511">
                  <c:v>2.2367541847870975</c:v>
                </c:pt>
                <c:pt idx="2512">
                  <c:v>2.1314166760540245</c:v>
                </c:pt>
                <c:pt idx="2513">
                  <c:v>2.0324254567893307</c:v>
                </c:pt>
                <c:pt idx="2514">
                  <c:v>2.117869531670542</c:v>
                </c:pt>
                <c:pt idx="2515">
                  <c:v>2.0583815280301905</c:v>
                </c:pt>
                <c:pt idx="2516">
                  <c:v>2.0187383411453195</c:v>
                </c:pt>
                <c:pt idx="2517">
                  <c:v>1.9923066673460992</c:v>
                </c:pt>
                <c:pt idx="2518">
                  <c:v>2.0646961516685236</c:v>
                </c:pt>
                <c:pt idx="2519">
                  <c:v>1.9986752811064312</c:v>
                </c:pt>
                <c:pt idx="2520">
                  <c:v>1.9925520490383017</c:v>
                </c:pt>
                <c:pt idx="2521">
                  <c:v>1.9655411630608128</c:v>
                </c:pt>
                <c:pt idx="2522">
                  <c:v>1.9391443287568366</c:v>
                </c:pt>
                <c:pt idx="2523">
                  <c:v>1.9259120326680108</c:v>
                </c:pt>
                <c:pt idx="2524">
                  <c:v>1.9917341708393215</c:v>
                </c:pt>
                <c:pt idx="2525">
                  <c:v>1.9059839322154777</c:v>
                </c:pt>
                <c:pt idx="2526">
                  <c:v>1.9046953042708168</c:v>
                </c:pt>
                <c:pt idx="2527">
                  <c:v>1.9575088465394499</c:v>
                </c:pt>
                <c:pt idx="2528">
                  <c:v>1.9698741572416711</c:v>
                </c:pt>
                <c:pt idx="2529">
                  <c:v>1.9668411051679042</c:v>
                </c:pt>
                <c:pt idx="2530">
                  <c:v>2.0256914163524771</c:v>
                </c:pt>
                <c:pt idx="2531">
                  <c:v>2.0582478995184541</c:v>
                </c:pt>
                <c:pt idx="2532">
                  <c:v>2.068899392231264</c:v>
                </c:pt>
                <c:pt idx="2533">
                  <c:v>2.1986816645798952</c:v>
                </c:pt>
                <c:pt idx="2534">
                  <c:v>2.1472887958827278</c:v>
                </c:pt>
                <c:pt idx="2535">
                  <c:v>2.1067718020936836</c:v>
                </c:pt>
                <c:pt idx="2536">
                  <c:v>2.1015723850199035</c:v>
                </c:pt>
                <c:pt idx="2537">
                  <c:v>2.0589071851223584</c:v>
                </c:pt>
                <c:pt idx="2538">
                  <c:v>2.051683288897304</c:v>
                </c:pt>
                <c:pt idx="2539">
                  <c:v>1.9779321999274559</c:v>
                </c:pt>
                <c:pt idx="2540">
                  <c:v>1.9645767855052203</c:v>
                </c:pt>
                <c:pt idx="2541">
                  <c:v>1.9645479388741924</c:v>
                </c:pt>
                <c:pt idx="2542">
                  <c:v>1.8919025295544381</c:v>
                </c:pt>
                <c:pt idx="2543">
                  <c:v>1.9049615862481801</c:v>
                </c:pt>
                <c:pt idx="2544">
                  <c:v>1.970952955039351</c:v>
                </c:pt>
                <c:pt idx="2545">
                  <c:v>1.9179817709625022</c:v>
                </c:pt>
                <c:pt idx="2546">
                  <c:v>1.913018477742459</c:v>
                </c:pt>
                <c:pt idx="2547">
                  <c:v>1.9245330142630239</c:v>
                </c:pt>
                <c:pt idx="2548">
                  <c:v>1.9205771101668139</c:v>
                </c:pt>
                <c:pt idx="2549">
                  <c:v>1.9263667467033108</c:v>
                </c:pt>
                <c:pt idx="2550">
                  <c:v>1.9162273136259222</c:v>
                </c:pt>
                <c:pt idx="2551">
                  <c:v>1.8813852434066514</c:v>
                </c:pt>
                <c:pt idx="2552">
                  <c:v>1.8638994898173018</c:v>
                </c:pt>
                <c:pt idx="2553">
                  <c:v>1.8164505571110294</c:v>
                </c:pt>
                <c:pt idx="2554">
                  <c:v>1.8209923106628341</c:v>
                </c:pt>
                <c:pt idx="2555">
                  <c:v>1.9342350895822487</c:v>
                </c:pt>
                <c:pt idx="2556">
                  <c:v>1.9444501631691797</c:v>
                </c:pt>
                <c:pt idx="2557">
                  <c:v>2.0361003410954965</c:v>
                </c:pt>
                <c:pt idx="2558">
                  <c:v>2.1219478159582561</c:v>
                </c:pt>
                <c:pt idx="2559">
                  <c:v>2.0909473919051091</c:v>
                </c:pt>
                <c:pt idx="2560">
                  <c:v>2.087765102640684</c:v>
                </c:pt>
                <c:pt idx="2561">
                  <c:v>2.0799589679938233</c:v>
                </c:pt>
                <c:pt idx="2562">
                  <c:v>2.0868232049292894</c:v>
                </c:pt>
                <c:pt idx="2563">
                  <c:v>1.9721634643662811</c:v>
                </c:pt>
                <c:pt idx="2564">
                  <c:v>1.9601670194900316</c:v>
                </c:pt>
                <c:pt idx="2565">
                  <c:v>2.0260945661519041</c:v>
                </c:pt>
                <c:pt idx="2566">
                  <c:v>2.0328748047286305</c:v>
                </c:pt>
                <c:pt idx="2567">
                  <c:v>2.0219657872082299</c:v>
                </c:pt>
                <c:pt idx="2568">
                  <c:v>2.2638414074520217</c:v>
                </c:pt>
                <c:pt idx="2569">
                  <c:v>2.2592280720420308</c:v>
                </c:pt>
                <c:pt idx="2570">
                  <c:v>2.4336622435718862</c:v>
                </c:pt>
                <c:pt idx="2571">
                  <c:v>2.2804136609161785</c:v>
                </c:pt>
                <c:pt idx="2572">
                  <c:v>2.2639778077794031</c:v>
                </c:pt>
                <c:pt idx="2573">
                  <c:v>2.34145856825837</c:v>
                </c:pt>
                <c:pt idx="2574">
                  <c:v>2.1245842918342976</c:v>
                </c:pt>
                <c:pt idx="2575">
                  <c:v>2.1116385577796577</c:v>
                </c:pt>
                <c:pt idx="2576">
                  <c:v>2.2814434467629203</c:v>
                </c:pt>
                <c:pt idx="2577">
                  <c:v>2.5193493705580461</c:v>
                </c:pt>
                <c:pt idx="2578">
                  <c:v>2.5120853172396047</c:v>
                </c:pt>
                <c:pt idx="2579">
                  <c:v>2.4961257102899754</c:v>
                </c:pt>
                <c:pt idx="2580">
                  <c:v>2.358815373114767</c:v>
                </c:pt>
                <c:pt idx="2581">
                  <c:v>2.3587829007414367</c:v>
                </c:pt>
                <c:pt idx="2582">
                  <c:v>2.3290128107437194</c:v>
                </c:pt>
                <c:pt idx="2583">
                  <c:v>2.3285505695372954</c:v>
                </c:pt>
                <c:pt idx="2584">
                  <c:v>2.3224222820009506</c:v>
                </c:pt>
                <c:pt idx="2585">
                  <c:v>2.3321687041466022</c:v>
                </c:pt>
                <c:pt idx="2586">
                  <c:v>2.3798281362674123</c:v>
                </c:pt>
                <c:pt idx="2587">
                  <c:v>2.4163312945694781</c:v>
                </c:pt>
                <c:pt idx="2588">
                  <c:v>2.4215088998005525</c:v>
                </c:pt>
                <c:pt idx="2589">
                  <c:v>2.4348598805527897</c:v>
                </c:pt>
                <c:pt idx="2590">
                  <c:v>2.4302553227992854</c:v>
                </c:pt>
                <c:pt idx="2591">
                  <c:v>2.4313087027590186</c:v>
                </c:pt>
                <c:pt idx="2592">
                  <c:v>2.4272517538312495</c:v>
                </c:pt>
                <c:pt idx="2593">
                  <c:v>2.4351034140228096</c:v>
                </c:pt>
                <c:pt idx="2594">
                  <c:v>2.4275821451687953</c:v>
                </c:pt>
                <c:pt idx="2595">
                  <c:v>2.4364422435208732</c:v>
                </c:pt>
                <c:pt idx="2596">
                  <c:v>2.4281443694882547</c:v>
                </c:pt>
                <c:pt idx="2597">
                  <c:v>2.4361425861740069</c:v>
                </c:pt>
                <c:pt idx="2598">
                  <c:v>2.4352153353843931</c:v>
                </c:pt>
                <c:pt idx="2599">
                  <c:v>2.4158292185918842</c:v>
                </c:pt>
                <c:pt idx="2600">
                  <c:v>2.421666980307589</c:v>
                </c:pt>
                <c:pt idx="2601">
                  <c:v>2.4161622101580966</c:v>
                </c:pt>
                <c:pt idx="2602">
                  <c:v>2.4164997750320003</c:v>
                </c:pt>
                <c:pt idx="2603">
                  <c:v>2.4116338709171985</c:v>
                </c:pt>
                <c:pt idx="2604">
                  <c:v>2.4103918374551112</c:v>
                </c:pt>
                <c:pt idx="2605">
                  <c:v>2.3665405975904519</c:v>
                </c:pt>
                <c:pt idx="2606">
                  <c:v>2.1090481394260734</c:v>
                </c:pt>
                <c:pt idx="2607">
                  <c:v>1.5545000691385946</c:v>
                </c:pt>
                <c:pt idx="2608">
                  <c:v>1.5412325608289812</c:v>
                </c:pt>
                <c:pt idx="2609">
                  <c:v>1.6385810966948053</c:v>
                </c:pt>
                <c:pt idx="2610">
                  <c:v>1.6072678289030327</c:v>
                </c:pt>
                <c:pt idx="2611">
                  <c:v>1.5905773515527477</c:v>
                </c:pt>
                <c:pt idx="2612">
                  <c:v>1.4603067357113761</c:v>
                </c:pt>
                <c:pt idx="2613">
                  <c:v>1.289766946251657</c:v>
                </c:pt>
                <c:pt idx="2614">
                  <c:v>1.4488734974168771</c:v>
                </c:pt>
                <c:pt idx="2615">
                  <c:v>1.4679357070126882</c:v>
                </c:pt>
                <c:pt idx="2616">
                  <c:v>1.4270471971145773</c:v>
                </c:pt>
                <c:pt idx="2617">
                  <c:v>1.4432149379700023</c:v>
                </c:pt>
                <c:pt idx="2618">
                  <c:v>1.4231508497795333</c:v>
                </c:pt>
                <c:pt idx="2619">
                  <c:v>1.4134242053087562</c:v>
                </c:pt>
                <c:pt idx="2620">
                  <c:v>1.4131821080895668</c:v>
                </c:pt>
                <c:pt idx="2621">
                  <c:v>1.412277954638834</c:v>
                </c:pt>
                <c:pt idx="2622">
                  <c:v>1.3740842166319454</c:v>
                </c:pt>
                <c:pt idx="2623">
                  <c:v>1.349766147213876</c:v>
                </c:pt>
                <c:pt idx="2624">
                  <c:v>1.3989859995894793</c:v>
                </c:pt>
                <c:pt idx="2625">
                  <c:v>1.440894430585443</c:v>
                </c:pt>
                <c:pt idx="2626">
                  <c:v>1.4032319859291236</c:v>
                </c:pt>
                <c:pt idx="2627">
                  <c:v>1.4217374895393269</c:v>
                </c:pt>
                <c:pt idx="2628">
                  <c:v>1.4082333416076178</c:v>
                </c:pt>
                <c:pt idx="2629">
                  <c:v>1.4061140079907304</c:v>
                </c:pt>
                <c:pt idx="2630">
                  <c:v>1.4069031472933009</c:v>
                </c:pt>
                <c:pt idx="2631">
                  <c:v>1.3905584888456042</c:v>
                </c:pt>
                <c:pt idx="2632">
                  <c:v>1.3930485630698193</c:v>
                </c:pt>
                <c:pt idx="2633">
                  <c:v>1.4171084970784189</c:v>
                </c:pt>
                <c:pt idx="2634">
                  <c:v>1.4380863635567118</c:v>
                </c:pt>
                <c:pt idx="2635">
                  <c:v>1.4542349098107807</c:v>
                </c:pt>
                <c:pt idx="2636">
                  <c:v>1.4559050949488719</c:v>
                </c:pt>
                <c:pt idx="2637">
                  <c:v>1.4631681879693632</c:v>
                </c:pt>
                <c:pt idx="2638">
                  <c:v>1.4255177191890545</c:v>
                </c:pt>
                <c:pt idx="2639">
                  <c:v>1.3843082487921141</c:v>
                </c:pt>
                <c:pt idx="2640">
                  <c:v>1.3687833265905796</c:v>
                </c:pt>
                <c:pt idx="2641">
                  <c:v>1.2588919884108651</c:v>
                </c:pt>
                <c:pt idx="2642">
                  <c:v>1.375343185067077</c:v>
                </c:pt>
                <c:pt idx="2643">
                  <c:v>1.3788225457889036</c:v>
                </c:pt>
                <c:pt idx="2644">
                  <c:v>1.3107596016556495</c:v>
                </c:pt>
                <c:pt idx="2645">
                  <c:v>1.2970214860810312</c:v>
                </c:pt>
                <c:pt idx="2646">
                  <c:v>1.2250419521169262</c:v>
                </c:pt>
                <c:pt idx="2647">
                  <c:v>1.29623604423973</c:v>
                </c:pt>
                <c:pt idx="2648">
                  <c:v>1.3873749856396345</c:v>
                </c:pt>
                <c:pt idx="2649">
                  <c:v>1.2846749580573074</c:v>
                </c:pt>
                <c:pt idx="2650">
                  <c:v>1.2801861356265207</c:v>
                </c:pt>
                <c:pt idx="2651">
                  <c:v>1.2940140784929146</c:v>
                </c:pt>
                <c:pt idx="2652">
                  <c:v>1.2823026221687317</c:v>
                </c:pt>
                <c:pt idx="2653">
                  <c:v>1.2750549689328763</c:v>
                </c:pt>
                <c:pt idx="2654">
                  <c:v>1.2787670849314112</c:v>
                </c:pt>
                <c:pt idx="2655">
                  <c:v>1.2899781208850662</c:v>
                </c:pt>
                <c:pt idx="2656">
                  <c:v>1.2787112323398162</c:v>
                </c:pt>
                <c:pt idx="2657">
                  <c:v>1.2778525629635782</c:v>
                </c:pt>
                <c:pt idx="2658">
                  <c:v>1.2914756169604065</c:v>
                </c:pt>
                <c:pt idx="2659">
                  <c:v>1.2824828875201757</c:v>
                </c:pt>
                <c:pt idx="2660">
                  <c:v>1.2861296040357157</c:v>
                </c:pt>
                <c:pt idx="2661">
                  <c:v>1.3013342480830563</c:v>
                </c:pt>
                <c:pt idx="2662">
                  <c:v>1.2849953360493032</c:v>
                </c:pt>
                <c:pt idx="2663">
                  <c:v>1.2689871861139879</c:v>
                </c:pt>
                <c:pt idx="2664">
                  <c:v>1.2690167266677654</c:v>
                </c:pt>
                <c:pt idx="2665">
                  <c:v>1.2429219437667383</c:v>
                </c:pt>
                <c:pt idx="2666">
                  <c:v>1.3525392207122604</c:v>
                </c:pt>
                <c:pt idx="2667">
                  <c:v>1.302767521411224</c:v>
                </c:pt>
                <c:pt idx="2668">
                  <c:v>1.3226775093536547</c:v>
                </c:pt>
                <c:pt idx="2669">
                  <c:v>1.3056373201956071</c:v>
                </c:pt>
                <c:pt idx="2670">
                  <c:v>1.3176888417422796</c:v>
                </c:pt>
                <c:pt idx="2671">
                  <c:v>1.3287290811440753</c:v>
                </c:pt>
                <c:pt idx="2672">
                  <c:v>1.3306790799073178</c:v>
                </c:pt>
                <c:pt idx="2673">
                  <c:v>1.3136679281834949</c:v>
                </c:pt>
                <c:pt idx="2674">
                  <c:v>1.3199073457503929</c:v>
                </c:pt>
                <c:pt idx="2675">
                  <c:v>1.3103397586322685</c:v>
                </c:pt>
                <c:pt idx="2676">
                  <c:v>1.2898256391577172</c:v>
                </c:pt>
                <c:pt idx="2677">
                  <c:v>1.3037963032478965</c:v>
                </c:pt>
                <c:pt idx="2678">
                  <c:v>1.3778254061365258</c:v>
                </c:pt>
                <c:pt idx="2679">
                  <c:v>1.3463339463945019</c:v>
                </c:pt>
                <c:pt idx="2680">
                  <c:v>1.3325562932935582</c:v>
                </c:pt>
                <c:pt idx="2681">
                  <c:v>1.3603532680637653</c:v>
                </c:pt>
                <c:pt idx="2682">
                  <c:v>1.3736537301606766</c:v>
                </c:pt>
                <c:pt idx="2683">
                  <c:v>1.365020795403032</c:v>
                </c:pt>
                <c:pt idx="2684">
                  <c:v>1.1698450875986828</c:v>
                </c:pt>
                <c:pt idx="2685">
                  <c:v>1.2230370704905396</c:v>
                </c:pt>
                <c:pt idx="2686">
                  <c:v>1.3148367717388572</c:v>
                </c:pt>
                <c:pt idx="2687">
                  <c:v>1.3578866739057993</c:v>
                </c:pt>
                <c:pt idx="2688">
                  <c:v>1.3244875271997758</c:v>
                </c:pt>
                <c:pt idx="2689">
                  <c:v>1.3157167736130184</c:v>
                </c:pt>
                <c:pt idx="2690">
                  <c:v>1.3491502188193936</c:v>
                </c:pt>
                <c:pt idx="2691">
                  <c:v>1.3808374406200279</c:v>
                </c:pt>
                <c:pt idx="2692">
                  <c:v>1.3795680543272162</c:v>
                </c:pt>
                <c:pt idx="2693">
                  <c:v>1.3866637992946333</c:v>
                </c:pt>
                <c:pt idx="2694">
                  <c:v>1.3778369372211163</c:v>
                </c:pt>
                <c:pt idx="2695">
                  <c:v>1.3718273211653744</c:v>
                </c:pt>
                <c:pt idx="2696">
                  <c:v>1.3869816776424502</c:v>
                </c:pt>
                <c:pt idx="2697">
                  <c:v>1.3901216284214086</c:v>
                </c:pt>
                <c:pt idx="2698">
                  <c:v>1.3906871399714635</c:v>
                </c:pt>
                <c:pt idx="2699">
                  <c:v>1.3911282625019517</c:v>
                </c:pt>
                <c:pt idx="2700">
                  <c:v>1.3697186189110171</c:v>
                </c:pt>
                <c:pt idx="2701">
                  <c:v>1.3076092449925956</c:v>
                </c:pt>
                <c:pt idx="2702">
                  <c:v>1.260651502918182</c:v>
                </c:pt>
                <c:pt idx="2703">
                  <c:v>1.3432321784286696</c:v>
                </c:pt>
                <c:pt idx="2704">
                  <c:v>1.4229457380313895</c:v>
                </c:pt>
                <c:pt idx="2705">
                  <c:v>1.3156518983524141</c:v>
                </c:pt>
                <c:pt idx="2706">
                  <c:v>1.3397018288223361</c:v>
                </c:pt>
                <c:pt idx="2707">
                  <c:v>1.2042375949222306</c:v>
                </c:pt>
                <c:pt idx="2708">
                  <c:v>1.2097270022019302</c:v>
                </c:pt>
                <c:pt idx="2709">
                  <c:v>1.1811066227230667</c:v>
                </c:pt>
                <c:pt idx="2710">
                  <c:v>1.170605376163425</c:v>
                </c:pt>
                <c:pt idx="2711">
                  <c:v>1.2355003300034353</c:v>
                </c:pt>
                <c:pt idx="2712">
                  <c:v>1.1967314917669567</c:v>
                </c:pt>
                <c:pt idx="2713">
                  <c:v>1.1913924879688707</c:v>
                </c:pt>
                <c:pt idx="2714">
                  <c:v>1.1811413873789367</c:v>
                </c:pt>
                <c:pt idx="2715">
                  <c:v>1.1787608992492147</c:v>
                </c:pt>
                <c:pt idx="2716">
                  <c:v>1.1819953023028411</c:v>
                </c:pt>
                <c:pt idx="2717">
                  <c:v>1.1812461812222226</c:v>
                </c:pt>
                <c:pt idx="2718">
                  <c:v>1.2206317564523124</c:v>
                </c:pt>
                <c:pt idx="2719">
                  <c:v>1.2118606992695611</c:v>
                </c:pt>
                <c:pt idx="2720">
                  <c:v>1.2111268741208165</c:v>
                </c:pt>
                <c:pt idx="2721">
                  <c:v>1.2145171042242031</c:v>
                </c:pt>
                <c:pt idx="2722">
                  <c:v>1.2113565124414434</c:v>
                </c:pt>
                <c:pt idx="2723">
                  <c:v>1.2005936676979614</c:v>
                </c:pt>
                <c:pt idx="2724">
                  <c:v>1.1954761377862457</c:v>
                </c:pt>
                <c:pt idx="2725">
                  <c:v>1.1306111088510109</c:v>
                </c:pt>
                <c:pt idx="2726">
                  <c:v>1.1696784649814282</c:v>
                </c:pt>
                <c:pt idx="2727">
                  <c:v>1.2295425513597327</c:v>
                </c:pt>
                <c:pt idx="2728">
                  <c:v>1.2634621407629307</c:v>
                </c:pt>
                <c:pt idx="2729">
                  <c:v>1.2633369584921899</c:v>
                </c:pt>
                <c:pt idx="2730">
                  <c:v>1.2554532876934279</c:v>
                </c:pt>
                <c:pt idx="2731">
                  <c:v>1.2214420428064647</c:v>
                </c:pt>
                <c:pt idx="2732">
                  <c:v>1.2500920318194595</c:v>
                </c:pt>
              </c:numCache>
            </c:numRef>
          </c:val>
          <c:smooth val="0"/>
          <c:extLst xmlns:c16r2="http://schemas.microsoft.com/office/drawing/2015/06/chart">
            <c:ext xmlns:c16="http://schemas.microsoft.com/office/drawing/2014/chart" uri="{C3380CC4-5D6E-409C-BE32-E72D297353CC}">
              <c16:uniqueId val="{00000000-54B9-45AF-81D4-026908AD2AAF}"/>
            </c:ext>
          </c:extLst>
        </c:ser>
        <c:ser>
          <c:idx val="1"/>
          <c:order val="1"/>
          <c:tx>
            <c:strRef>
              <c:f>'1M'!$P$30</c:f>
              <c:strCache>
                <c:ptCount val="1"/>
                <c:pt idx="0">
                  <c:v>SPX Index</c:v>
                </c:pt>
              </c:strCache>
            </c:strRef>
          </c:tx>
          <c:spPr>
            <a:ln>
              <a:solidFill>
                <a:schemeClr val="tx1"/>
              </a:solidFill>
            </a:ln>
          </c:spPr>
          <c:marker>
            <c:symbol val="none"/>
          </c:marker>
          <c:cat>
            <c:numRef>
              <c:f>'1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1M'!$P$31:$P$2763</c:f>
              <c:numCache>
                <c:formatCode>General</c:formatCode>
                <c:ptCount val="2733"/>
                <c:pt idx="0">
                  <c:v>100</c:v>
                </c:pt>
                <c:pt idx="1">
                  <c:v>100</c:v>
                </c:pt>
                <c:pt idx="2">
                  <c:v>100.59337859299464</c:v>
                </c:pt>
                <c:pt idx="3">
                  <c:v>99.260021989912573</c:v>
                </c:pt>
                <c:pt idx="4">
                  <c:v>101.21904396237282</c:v>
                </c:pt>
                <c:pt idx="5">
                  <c:v>100.53578596485104</c:v>
                </c:pt>
                <c:pt idx="6">
                  <c:v>101.40665631162848</c:v>
                </c:pt>
                <c:pt idx="7">
                  <c:v>100.5026265728896</c:v>
                </c:pt>
                <c:pt idx="8">
                  <c:v>100.90752020105066</c:v>
                </c:pt>
                <c:pt idx="9">
                  <c:v>99.759158100490424</c:v>
                </c:pt>
                <c:pt idx="10">
                  <c:v>100.94853313321349</c:v>
                </c:pt>
                <c:pt idx="11">
                  <c:v>101.41189200509608</c:v>
                </c:pt>
                <c:pt idx="12">
                  <c:v>101.32550306288068</c:v>
                </c:pt>
                <c:pt idx="13">
                  <c:v>102.58905041972811</c:v>
                </c:pt>
                <c:pt idx="14">
                  <c:v>102.32552051519225</c:v>
                </c:pt>
                <c:pt idx="15">
                  <c:v>102.21382572121678</c:v>
                </c:pt>
                <c:pt idx="16">
                  <c:v>102.86741478908881</c:v>
                </c:pt>
                <c:pt idx="17">
                  <c:v>101.76617392973699</c:v>
                </c:pt>
                <c:pt idx="18">
                  <c:v>102.19288294734638</c:v>
                </c:pt>
                <c:pt idx="19">
                  <c:v>101.16755964327474</c:v>
                </c:pt>
                <c:pt idx="20">
                  <c:v>100.70420077139218</c:v>
                </c:pt>
                <c:pt idx="21">
                  <c:v>101.71992530410655</c:v>
                </c:pt>
                <c:pt idx="22">
                  <c:v>102.42761653781047</c:v>
                </c:pt>
                <c:pt idx="23">
                  <c:v>103.45381245746002</c:v>
                </c:pt>
                <c:pt idx="24">
                  <c:v>103.9354962564792</c:v>
                </c:pt>
                <c:pt idx="25">
                  <c:v>103.7784254524512</c:v>
                </c:pt>
                <c:pt idx="26">
                  <c:v>104.17808338714465</c:v>
                </c:pt>
                <c:pt idx="27">
                  <c:v>104.19640831428124</c:v>
                </c:pt>
                <c:pt idx="28">
                  <c:v>103.84212638964033</c:v>
                </c:pt>
                <c:pt idx="29">
                  <c:v>104.50618684444754</c:v>
                </c:pt>
                <c:pt idx="30">
                  <c:v>104.60741025148781</c:v>
                </c:pt>
                <c:pt idx="31">
                  <c:v>103.97214611075239</c:v>
                </c:pt>
                <c:pt idx="32">
                  <c:v>104.91195308818655</c:v>
                </c:pt>
                <c:pt idx="33">
                  <c:v>105.08822143492907</c:v>
                </c:pt>
                <c:pt idx="34">
                  <c:v>104.36656835197823</c:v>
                </c:pt>
                <c:pt idx="35">
                  <c:v>104.49658807309029</c:v>
                </c:pt>
                <c:pt idx="36">
                  <c:v>104.47477268364196</c:v>
                </c:pt>
                <c:pt idx="37">
                  <c:v>104.24876524895724</c:v>
                </c:pt>
                <c:pt idx="38">
                  <c:v>104.79502260074348</c:v>
                </c:pt>
                <c:pt idx="39">
                  <c:v>104.54894500776628</c:v>
                </c:pt>
                <c:pt idx="40">
                  <c:v>104.7854238293862</c:v>
                </c:pt>
                <c:pt idx="41">
                  <c:v>105.05506204296759</c:v>
                </c:pt>
                <c:pt idx="42">
                  <c:v>105.28805040227579</c:v>
                </c:pt>
                <c:pt idx="43">
                  <c:v>105.67025602541059</c:v>
                </c:pt>
                <c:pt idx="44">
                  <c:v>106.19382537217058</c:v>
                </c:pt>
                <c:pt idx="45">
                  <c:v>106.1187804324683</c:v>
                </c:pt>
                <c:pt idx="46">
                  <c:v>105.90149915356291</c:v>
                </c:pt>
                <c:pt idx="47">
                  <c:v>105.92505977416712</c:v>
                </c:pt>
                <c:pt idx="48">
                  <c:v>104.77757028918484</c:v>
                </c:pt>
                <c:pt idx="49">
                  <c:v>103.97825441979792</c:v>
                </c:pt>
                <c:pt idx="50">
                  <c:v>103.90146424893979</c:v>
                </c:pt>
                <c:pt idx="51">
                  <c:v>104.85086999773121</c:v>
                </c:pt>
                <c:pt idx="52">
                  <c:v>104.70078011832668</c:v>
                </c:pt>
                <c:pt idx="53">
                  <c:v>103.95731164592752</c:v>
                </c:pt>
                <c:pt idx="54">
                  <c:v>104.22869509066479</c:v>
                </c:pt>
                <c:pt idx="55">
                  <c:v>105.14930452538441</c:v>
                </c:pt>
                <c:pt idx="56">
                  <c:v>104.27232586956146</c:v>
                </c:pt>
                <c:pt idx="57">
                  <c:v>104.5280022338959</c:v>
                </c:pt>
                <c:pt idx="58">
                  <c:v>105.74879142742459</c:v>
                </c:pt>
                <c:pt idx="59">
                  <c:v>106.41023403549805</c:v>
                </c:pt>
                <c:pt idx="60">
                  <c:v>106.65194855058557</c:v>
                </c:pt>
                <c:pt idx="61">
                  <c:v>106.74619103300238</c:v>
                </c:pt>
                <c:pt idx="62">
                  <c:v>107.02630063351897</c:v>
                </c:pt>
                <c:pt idx="63">
                  <c:v>107.15021204558549</c:v>
                </c:pt>
                <c:pt idx="64">
                  <c:v>106.55770606816877</c:v>
                </c:pt>
                <c:pt idx="65">
                  <c:v>107.27499607322991</c:v>
                </c:pt>
                <c:pt idx="66">
                  <c:v>107.78547618632089</c:v>
                </c:pt>
                <c:pt idx="67">
                  <c:v>107.07342187472732</c:v>
                </c:pt>
                <c:pt idx="68">
                  <c:v>107.65283861847502</c:v>
                </c:pt>
                <c:pt idx="69">
                  <c:v>107.24707237473602</c:v>
                </c:pt>
                <c:pt idx="70">
                  <c:v>107.43293949283581</c:v>
                </c:pt>
                <c:pt idx="71">
                  <c:v>107.92422206321226</c:v>
                </c:pt>
                <c:pt idx="72">
                  <c:v>108.52894465872004</c:v>
                </c:pt>
                <c:pt idx="73">
                  <c:v>107.69646939737169</c:v>
                </c:pt>
                <c:pt idx="74">
                  <c:v>107.79856541998986</c:v>
                </c:pt>
                <c:pt idx="75">
                  <c:v>108.56384928183736</c:v>
                </c:pt>
                <c:pt idx="76">
                  <c:v>108.64412991500724</c:v>
                </c:pt>
                <c:pt idx="77">
                  <c:v>107.84306881446446</c:v>
                </c:pt>
                <c:pt idx="78">
                  <c:v>107.01931970889544</c:v>
                </c:pt>
                <c:pt idx="79">
                  <c:v>106.73222918375538</c:v>
                </c:pt>
                <c:pt idx="80">
                  <c:v>107.45213703555035</c:v>
                </c:pt>
                <c:pt idx="81">
                  <c:v>107.25579853051535</c:v>
                </c:pt>
                <c:pt idx="82">
                  <c:v>108.01322885216143</c:v>
                </c:pt>
                <c:pt idx="83">
                  <c:v>107.36574809333493</c:v>
                </c:pt>
                <c:pt idx="84">
                  <c:v>107.66941831445571</c:v>
                </c:pt>
                <c:pt idx="85">
                  <c:v>106.40150787971864</c:v>
                </c:pt>
                <c:pt idx="86">
                  <c:v>106.48004328173262</c:v>
                </c:pt>
                <c:pt idx="87">
                  <c:v>106.37358418122476</c:v>
                </c:pt>
                <c:pt idx="88">
                  <c:v>106.43379465610215</c:v>
                </c:pt>
                <c:pt idx="89">
                  <c:v>106.61006300284467</c:v>
                </c:pt>
                <c:pt idx="90">
                  <c:v>106.24705492242441</c:v>
                </c:pt>
                <c:pt idx="91">
                  <c:v>105.55070769123364</c:v>
                </c:pt>
                <c:pt idx="92">
                  <c:v>105.79591266863291</c:v>
                </c:pt>
                <c:pt idx="93">
                  <c:v>105.15890329674158</c:v>
                </c:pt>
                <c:pt idx="94">
                  <c:v>105.78544128169769</c:v>
                </c:pt>
                <c:pt idx="95">
                  <c:v>105.44773905303751</c:v>
                </c:pt>
                <c:pt idx="96">
                  <c:v>106.48789682193399</c:v>
                </c:pt>
                <c:pt idx="97">
                  <c:v>106.59784638475358</c:v>
                </c:pt>
                <c:pt idx="98">
                  <c:v>106.2863226234314</c:v>
                </c:pt>
                <c:pt idx="99">
                  <c:v>107.62753276671488</c:v>
                </c:pt>
                <c:pt idx="100">
                  <c:v>107.88669959336104</c:v>
                </c:pt>
                <c:pt idx="101">
                  <c:v>107.47744288731036</c:v>
                </c:pt>
                <c:pt idx="102">
                  <c:v>108.33347876926292</c:v>
                </c:pt>
                <c:pt idx="103">
                  <c:v>108.25319813609308</c:v>
                </c:pt>
                <c:pt idx="104">
                  <c:v>107.4364299551475</c:v>
                </c:pt>
                <c:pt idx="105">
                  <c:v>107.08389326166247</c:v>
                </c:pt>
                <c:pt idx="106">
                  <c:v>107.13363234960465</c:v>
                </c:pt>
                <c:pt idx="107">
                  <c:v>108.02195500794078</c:v>
                </c:pt>
                <c:pt idx="108">
                  <c:v>107.42072287474473</c:v>
                </c:pt>
                <c:pt idx="109">
                  <c:v>106.57603099530527</c:v>
                </c:pt>
                <c:pt idx="110">
                  <c:v>105.60393724148759</c:v>
                </c:pt>
                <c:pt idx="111">
                  <c:v>105.9896333269341</c:v>
                </c:pt>
                <c:pt idx="112">
                  <c:v>106.04809857065563</c:v>
                </c:pt>
                <c:pt idx="113">
                  <c:v>106.07776750030536</c:v>
                </c:pt>
                <c:pt idx="114">
                  <c:v>106.08038534703914</c:v>
                </c:pt>
                <c:pt idx="115">
                  <c:v>106.18771706312495</c:v>
                </c:pt>
                <c:pt idx="116">
                  <c:v>107.12926927171496</c:v>
                </c:pt>
                <c:pt idx="117">
                  <c:v>107.22787483202141</c:v>
                </c:pt>
                <c:pt idx="118">
                  <c:v>107.0437529450775</c:v>
                </c:pt>
                <c:pt idx="119">
                  <c:v>105.97654409326508</c:v>
                </c:pt>
                <c:pt idx="120">
                  <c:v>104.3988551283617</c:v>
                </c:pt>
                <c:pt idx="121">
                  <c:v>103.97127349517437</c:v>
                </c:pt>
                <c:pt idx="122">
                  <c:v>104.35609696504295</c:v>
                </c:pt>
                <c:pt idx="123">
                  <c:v>103.60826541475411</c:v>
                </c:pt>
                <c:pt idx="124">
                  <c:v>103.39360198258251</c:v>
                </c:pt>
                <c:pt idx="125">
                  <c:v>102.76619138204849</c:v>
                </c:pt>
                <c:pt idx="126">
                  <c:v>102.69289167350207</c:v>
                </c:pt>
                <c:pt idx="127">
                  <c:v>103.54194663083118</c:v>
                </c:pt>
                <c:pt idx="128">
                  <c:v>103.84997992984164</c:v>
                </c:pt>
                <c:pt idx="129">
                  <c:v>102.80633169863343</c:v>
                </c:pt>
                <c:pt idx="130">
                  <c:v>104.34388034695189</c:v>
                </c:pt>
                <c:pt idx="131">
                  <c:v>102.77666276898368</c:v>
                </c:pt>
                <c:pt idx="132">
                  <c:v>102.93286095743373</c:v>
                </c:pt>
                <c:pt idx="133">
                  <c:v>104.65976718616375</c:v>
                </c:pt>
                <c:pt idx="134">
                  <c:v>104.41194436203068</c:v>
                </c:pt>
                <c:pt idx="135">
                  <c:v>103.96167472381711</c:v>
                </c:pt>
                <c:pt idx="136">
                  <c:v>102.87265048255635</c:v>
                </c:pt>
                <c:pt idx="137">
                  <c:v>104.57512347510422</c:v>
                </c:pt>
                <c:pt idx="138">
                  <c:v>105.32557287212684</c:v>
                </c:pt>
                <c:pt idx="139">
                  <c:v>104.95471125150519</c:v>
                </c:pt>
                <c:pt idx="140">
                  <c:v>106.00184994502514</c:v>
                </c:pt>
                <c:pt idx="141">
                  <c:v>106.45386481439459</c:v>
                </c:pt>
                <c:pt idx="142">
                  <c:v>106.47131712595328</c:v>
                </c:pt>
                <c:pt idx="143">
                  <c:v>106.70430548526144</c:v>
                </c:pt>
                <c:pt idx="144">
                  <c:v>106.3360617113736</c:v>
                </c:pt>
                <c:pt idx="145">
                  <c:v>106.51582052042788</c:v>
                </c:pt>
                <c:pt idx="146">
                  <c:v>107.4154871812771</c:v>
                </c:pt>
                <c:pt idx="147">
                  <c:v>107.74359063858002</c:v>
                </c:pt>
                <c:pt idx="148">
                  <c:v>107.65981954309842</c:v>
                </c:pt>
                <c:pt idx="149">
                  <c:v>107.2453271435801</c:v>
                </c:pt>
                <c:pt idx="150">
                  <c:v>107.43730257072544</c:v>
                </c:pt>
                <c:pt idx="151">
                  <c:v>108.44866402555013</c:v>
                </c:pt>
                <c:pt idx="152">
                  <c:v>108.92598474667965</c:v>
                </c:pt>
                <c:pt idx="153">
                  <c:v>109.50016579695973</c:v>
                </c:pt>
                <c:pt idx="154">
                  <c:v>110.0568945356812</c:v>
                </c:pt>
                <c:pt idx="155">
                  <c:v>110.43910015881598</c:v>
                </c:pt>
                <c:pt idx="156">
                  <c:v>110.66947067139039</c:v>
                </c:pt>
                <c:pt idx="157">
                  <c:v>109.72791846280037</c:v>
                </c:pt>
                <c:pt idx="158">
                  <c:v>109.72966369395623</c:v>
                </c:pt>
                <c:pt idx="159">
                  <c:v>109.03157123160958</c:v>
                </c:pt>
                <c:pt idx="160">
                  <c:v>110.35707429449026</c:v>
                </c:pt>
                <c:pt idx="161">
                  <c:v>110.39285153318549</c:v>
                </c:pt>
                <c:pt idx="162">
                  <c:v>110.13193947538345</c:v>
                </c:pt>
                <c:pt idx="163">
                  <c:v>110.27243058343072</c:v>
                </c:pt>
                <c:pt idx="164">
                  <c:v>109.72006492259891</c:v>
                </c:pt>
                <c:pt idx="165">
                  <c:v>109.58655473917513</c:v>
                </c:pt>
                <c:pt idx="166">
                  <c:v>109.89458803818559</c:v>
                </c:pt>
                <c:pt idx="167">
                  <c:v>109.98708528944654</c:v>
                </c:pt>
                <c:pt idx="168">
                  <c:v>110.59791619399986</c:v>
                </c:pt>
                <c:pt idx="169">
                  <c:v>111.06127506588243</c:v>
                </c:pt>
                <c:pt idx="170">
                  <c:v>110.90420426185446</c:v>
                </c:pt>
                <c:pt idx="171">
                  <c:v>110.58831742264259</c:v>
                </c:pt>
                <c:pt idx="172">
                  <c:v>109.94258189497195</c:v>
                </c:pt>
                <c:pt idx="173">
                  <c:v>109.91640342763394</c:v>
                </c:pt>
                <c:pt idx="174">
                  <c:v>110.1930225658388</c:v>
                </c:pt>
                <c:pt idx="175">
                  <c:v>110.65812666887726</c:v>
                </c:pt>
                <c:pt idx="176">
                  <c:v>110.70524791008566</c:v>
                </c:pt>
                <c:pt idx="177">
                  <c:v>109.6476378296305</c:v>
                </c:pt>
                <c:pt idx="178">
                  <c:v>109.78987416883363</c:v>
                </c:pt>
                <c:pt idx="179">
                  <c:v>109.46264332710865</c:v>
                </c:pt>
                <c:pt idx="180">
                  <c:v>108.92772997783553</c:v>
                </c:pt>
                <c:pt idx="181">
                  <c:v>110.71746452817671</c:v>
                </c:pt>
                <c:pt idx="182">
                  <c:v>111.12410338749363</c:v>
                </c:pt>
                <c:pt idx="183">
                  <c:v>111.12584861864948</c:v>
                </c:pt>
                <c:pt idx="184">
                  <c:v>112.17036946543564</c:v>
                </c:pt>
                <c:pt idx="185">
                  <c:v>112.58049878706429</c:v>
                </c:pt>
                <c:pt idx="186">
                  <c:v>112.54035847047935</c:v>
                </c:pt>
                <c:pt idx="187">
                  <c:v>112.9321628649714</c:v>
                </c:pt>
                <c:pt idx="188">
                  <c:v>112.22359901568954</c:v>
                </c:pt>
                <c:pt idx="189">
                  <c:v>112.35885443026919</c:v>
                </c:pt>
                <c:pt idx="190">
                  <c:v>111.95047033979642</c:v>
                </c:pt>
                <c:pt idx="191">
                  <c:v>111.51416255082978</c:v>
                </c:pt>
                <c:pt idx="192">
                  <c:v>112.13459222674034</c:v>
                </c:pt>
                <c:pt idx="193">
                  <c:v>110.07958254070743</c:v>
                </c:pt>
                <c:pt idx="194">
                  <c:v>110.28290197036588</c:v>
                </c:pt>
                <c:pt idx="195">
                  <c:v>110.54817710605761</c:v>
                </c:pt>
                <c:pt idx="196">
                  <c:v>110.35794691006815</c:v>
                </c:pt>
                <c:pt idx="197">
                  <c:v>111.15639016387711</c:v>
                </c:pt>
                <c:pt idx="198">
                  <c:v>112.01940697045315</c:v>
                </c:pt>
                <c:pt idx="199">
                  <c:v>112.14855407598726</c:v>
                </c:pt>
                <c:pt idx="200">
                  <c:v>111.7017749000854</c:v>
                </c:pt>
                <c:pt idx="201">
                  <c:v>111.90945740763352</c:v>
                </c:pt>
                <c:pt idx="202">
                  <c:v>110.89547810607503</c:v>
                </c:pt>
                <c:pt idx="203">
                  <c:v>110.30122689750247</c:v>
                </c:pt>
                <c:pt idx="204">
                  <c:v>110.3876158397179</c:v>
                </c:pt>
                <c:pt idx="205">
                  <c:v>109.49405748791419</c:v>
                </c:pt>
                <c:pt idx="206">
                  <c:v>110.44259062112771</c:v>
                </c:pt>
                <c:pt idx="207">
                  <c:v>110.27941150805418</c:v>
                </c:pt>
                <c:pt idx="208">
                  <c:v>110.55952110857078</c:v>
                </c:pt>
                <c:pt idx="209">
                  <c:v>110.19913087488432</c:v>
                </c:pt>
                <c:pt idx="210">
                  <c:v>111.3047348121258</c:v>
                </c:pt>
                <c:pt idx="211">
                  <c:v>111.69479397546196</c:v>
                </c:pt>
                <c:pt idx="212">
                  <c:v>112.51330738756342</c:v>
                </c:pt>
                <c:pt idx="213">
                  <c:v>112.3265676538857</c:v>
                </c:pt>
                <c:pt idx="214">
                  <c:v>111.95919649557578</c:v>
                </c:pt>
                <c:pt idx="215">
                  <c:v>112.80039791270349</c:v>
                </c:pt>
                <c:pt idx="216">
                  <c:v>112.37456151067204</c:v>
                </c:pt>
                <c:pt idx="217">
                  <c:v>112.51767046545311</c:v>
                </c:pt>
                <c:pt idx="218">
                  <c:v>112.92692717150382</c:v>
                </c:pt>
                <c:pt idx="219">
                  <c:v>111.7523866036056</c:v>
                </c:pt>
                <c:pt idx="220">
                  <c:v>112.67561388505904</c:v>
                </c:pt>
                <c:pt idx="221">
                  <c:v>112.49236461369304</c:v>
                </c:pt>
                <c:pt idx="222">
                  <c:v>112.32569503830779</c:v>
                </c:pt>
                <c:pt idx="223">
                  <c:v>111.54295886490162</c:v>
                </c:pt>
                <c:pt idx="224">
                  <c:v>111.33527635735351</c:v>
                </c:pt>
                <c:pt idx="225">
                  <c:v>111.56128379203821</c:v>
                </c:pt>
                <c:pt idx="226">
                  <c:v>111.01677167140782</c:v>
                </c:pt>
                <c:pt idx="227">
                  <c:v>111.83266723677545</c:v>
                </c:pt>
                <c:pt idx="228">
                  <c:v>112.05518420914846</c:v>
                </c:pt>
                <c:pt idx="229">
                  <c:v>113.22012600568941</c:v>
                </c:pt>
                <c:pt idx="230">
                  <c:v>113.70355503586444</c:v>
                </c:pt>
                <c:pt idx="231">
                  <c:v>113.90512923436701</c:v>
                </c:pt>
                <c:pt idx="232">
                  <c:v>114.07267142533021</c:v>
                </c:pt>
                <c:pt idx="233">
                  <c:v>113.88331384491867</c:v>
                </c:pt>
                <c:pt idx="234">
                  <c:v>113.19831061624105</c:v>
                </c:pt>
                <c:pt idx="235">
                  <c:v>113.87982338260697</c:v>
                </c:pt>
                <c:pt idx="236">
                  <c:v>113.58575193284345</c:v>
                </c:pt>
                <c:pt idx="237">
                  <c:v>113.69744672681891</c:v>
                </c:pt>
                <c:pt idx="238">
                  <c:v>113.58051623937584</c:v>
                </c:pt>
                <c:pt idx="239">
                  <c:v>112.84926438506776</c:v>
                </c:pt>
                <c:pt idx="240">
                  <c:v>113.69221103335133</c:v>
                </c:pt>
                <c:pt idx="241">
                  <c:v>113.46184052077692</c:v>
                </c:pt>
                <c:pt idx="242">
                  <c:v>112.98888287753707</c:v>
                </c:pt>
                <c:pt idx="243">
                  <c:v>113.24892231976118</c:v>
                </c:pt>
                <c:pt idx="244">
                  <c:v>113.95748616904304</c:v>
                </c:pt>
                <c:pt idx="245">
                  <c:v>114.44876873941946</c:v>
                </c:pt>
                <c:pt idx="246">
                  <c:v>114.22886961378028</c:v>
                </c:pt>
                <c:pt idx="247">
                  <c:v>113.04734812125858</c:v>
                </c:pt>
                <c:pt idx="248">
                  <c:v>113.14333583483123</c:v>
                </c:pt>
                <c:pt idx="249">
                  <c:v>112.26810241016413</c:v>
                </c:pt>
                <c:pt idx="250">
                  <c:v>112.40335782474379</c:v>
                </c:pt>
                <c:pt idx="251">
                  <c:v>112.49061938253713</c:v>
                </c:pt>
                <c:pt idx="252">
                  <c:v>112.15989807850042</c:v>
                </c:pt>
                <c:pt idx="253">
                  <c:v>114.10757604844756</c:v>
                </c:pt>
                <c:pt idx="254">
                  <c:v>114.30653240021634</c:v>
                </c:pt>
                <c:pt idx="255">
                  <c:v>114.44004258364014</c:v>
                </c:pt>
                <c:pt idx="256">
                  <c:v>114.42433550323733</c:v>
                </c:pt>
                <c:pt idx="257">
                  <c:v>114.14771636503248</c:v>
                </c:pt>
                <c:pt idx="258">
                  <c:v>113.59186024188898</c:v>
                </c:pt>
                <c:pt idx="259">
                  <c:v>113.91211015899049</c:v>
                </c:pt>
                <c:pt idx="260">
                  <c:v>114.28820747307974</c:v>
                </c:pt>
                <c:pt idx="261">
                  <c:v>114.3658702595158</c:v>
                </c:pt>
                <c:pt idx="262">
                  <c:v>113.89291261627598</c:v>
                </c:pt>
                <c:pt idx="263">
                  <c:v>114.59275030977849</c:v>
                </c:pt>
                <c:pt idx="264">
                  <c:v>114.12502836000624</c:v>
                </c:pt>
                <c:pt idx="265">
                  <c:v>114.5089792142969</c:v>
                </c:pt>
                <c:pt idx="266">
                  <c:v>115.68788286008478</c:v>
                </c:pt>
                <c:pt idx="267">
                  <c:v>115.59189514651213</c:v>
                </c:pt>
                <c:pt idx="268">
                  <c:v>115.63378069425292</c:v>
                </c:pt>
                <c:pt idx="269">
                  <c:v>115.43395172690619</c:v>
                </c:pt>
                <c:pt idx="270">
                  <c:v>113.95661355346513</c:v>
                </c:pt>
                <c:pt idx="271">
                  <c:v>112.67561388505906</c:v>
                </c:pt>
                <c:pt idx="272">
                  <c:v>112.96008656346532</c:v>
                </c:pt>
                <c:pt idx="273">
                  <c:v>112.74891359360545</c:v>
                </c:pt>
                <c:pt idx="274">
                  <c:v>110.8501020960226</c:v>
                </c:pt>
                <c:pt idx="275">
                  <c:v>110.10750623920136</c:v>
                </c:pt>
                <c:pt idx="276">
                  <c:v>110.56301157088255</c:v>
                </c:pt>
                <c:pt idx="277">
                  <c:v>110.13019424422764</c:v>
                </c:pt>
                <c:pt idx="278">
                  <c:v>109.65112829194224</c:v>
                </c:pt>
                <c:pt idx="279">
                  <c:v>109.82477879195099</c:v>
                </c:pt>
                <c:pt idx="280">
                  <c:v>111.07349168397353</c:v>
                </c:pt>
                <c:pt idx="281">
                  <c:v>111.70875582470894</c:v>
                </c:pt>
                <c:pt idx="282">
                  <c:v>109.93560097034846</c:v>
                </c:pt>
                <c:pt idx="283">
                  <c:v>110.8300319377301</c:v>
                </c:pt>
                <c:pt idx="284">
                  <c:v>112.19305747046194</c:v>
                </c:pt>
                <c:pt idx="285">
                  <c:v>112.41208398052321</c:v>
                </c:pt>
                <c:pt idx="286">
                  <c:v>110.41117646032217</c:v>
                </c:pt>
                <c:pt idx="287">
                  <c:v>110.28551981709977</c:v>
                </c:pt>
                <c:pt idx="288">
                  <c:v>109.61360582209116</c:v>
                </c:pt>
                <c:pt idx="289">
                  <c:v>109.76893139496327</c:v>
                </c:pt>
                <c:pt idx="290">
                  <c:v>109.27764882458681</c:v>
                </c:pt>
                <c:pt idx="291">
                  <c:v>107.89019005567287</c:v>
                </c:pt>
                <c:pt idx="292">
                  <c:v>106.78109565611966</c:v>
                </c:pt>
                <c:pt idx="293">
                  <c:v>107.33520654810729</c:v>
                </c:pt>
                <c:pt idx="294">
                  <c:v>109.61447843766908</c:v>
                </c:pt>
                <c:pt idx="295">
                  <c:v>109.2113300406639</c:v>
                </c:pt>
                <c:pt idx="296">
                  <c:v>108.21654828181995</c:v>
                </c:pt>
                <c:pt idx="297">
                  <c:v>108.21480305066407</c:v>
                </c:pt>
                <c:pt idx="298">
                  <c:v>109.26892266880749</c:v>
                </c:pt>
                <c:pt idx="299">
                  <c:v>108.69299638737149</c:v>
                </c:pt>
                <c:pt idx="300">
                  <c:v>108.59700867379884</c:v>
                </c:pt>
                <c:pt idx="301">
                  <c:v>109.12581371402642</c:v>
                </c:pt>
                <c:pt idx="302">
                  <c:v>108.1345224174942</c:v>
                </c:pt>
                <c:pt idx="303">
                  <c:v>108.72790101048885</c:v>
                </c:pt>
                <c:pt idx="304">
                  <c:v>111.0726190683956</c:v>
                </c:pt>
                <c:pt idx="305">
                  <c:v>110.83963070908743</c:v>
                </c:pt>
                <c:pt idx="306">
                  <c:v>111.71137367144279</c:v>
                </c:pt>
                <c:pt idx="307">
                  <c:v>110.90158641512068</c:v>
                </c:pt>
                <c:pt idx="308">
                  <c:v>111.17820555332551</c:v>
                </c:pt>
                <c:pt idx="309">
                  <c:v>110.42775615630286</c:v>
                </c:pt>
                <c:pt idx="310">
                  <c:v>110.59006265379843</c:v>
                </c:pt>
                <c:pt idx="311">
                  <c:v>111.04207752316788</c:v>
                </c:pt>
                <c:pt idx="312">
                  <c:v>109.82739663868472</c:v>
                </c:pt>
                <c:pt idx="313">
                  <c:v>108.40416063107551</c:v>
                </c:pt>
                <c:pt idx="314">
                  <c:v>107.87273774411415</c:v>
                </c:pt>
                <c:pt idx="315">
                  <c:v>107.72352048028756</c:v>
                </c:pt>
                <c:pt idx="316">
                  <c:v>107.93033037225774</c:v>
                </c:pt>
                <c:pt idx="317">
                  <c:v>109.93298312361468</c:v>
                </c:pt>
                <c:pt idx="318">
                  <c:v>109.00102968638194</c:v>
                </c:pt>
                <c:pt idx="319">
                  <c:v>108.2296375154889</c:v>
                </c:pt>
                <c:pt idx="320">
                  <c:v>110.02897083718736</c:v>
                </c:pt>
                <c:pt idx="321">
                  <c:v>110.72444545280018</c:v>
                </c:pt>
                <c:pt idx="322">
                  <c:v>110.68255990505938</c:v>
                </c:pt>
                <c:pt idx="323">
                  <c:v>110.22879980453405</c:v>
                </c:pt>
                <c:pt idx="324">
                  <c:v>111.56826471666166</c:v>
                </c:pt>
                <c:pt idx="325">
                  <c:v>111.40334037243227</c:v>
                </c:pt>
                <c:pt idx="326">
                  <c:v>110.90245903069855</c:v>
                </c:pt>
                <c:pt idx="327">
                  <c:v>111.56826471666164</c:v>
                </c:pt>
                <c:pt idx="328">
                  <c:v>111.71835459606615</c:v>
                </c:pt>
                <c:pt idx="329">
                  <c:v>111.63894657847422</c:v>
                </c:pt>
                <c:pt idx="330">
                  <c:v>111.32567758599619</c:v>
                </c:pt>
                <c:pt idx="331">
                  <c:v>110.9513255030628</c:v>
                </c:pt>
                <c:pt idx="332">
                  <c:v>110.46876908846569</c:v>
                </c:pt>
                <c:pt idx="333">
                  <c:v>110.9801218171346</c:v>
                </c:pt>
                <c:pt idx="334">
                  <c:v>110.53770571912244</c:v>
                </c:pt>
                <c:pt idx="335">
                  <c:v>110.66598020907864</c:v>
                </c:pt>
                <c:pt idx="336">
                  <c:v>112.18171346794877</c:v>
                </c:pt>
                <c:pt idx="337">
                  <c:v>113.04123981221308</c:v>
                </c:pt>
                <c:pt idx="338">
                  <c:v>113.22012600568938</c:v>
                </c:pt>
                <c:pt idx="339">
                  <c:v>113.64072671425322</c:v>
                </c:pt>
                <c:pt idx="340">
                  <c:v>113.2236164680011</c:v>
                </c:pt>
                <c:pt idx="341">
                  <c:v>113.33705649313242</c:v>
                </c:pt>
                <c:pt idx="342">
                  <c:v>112.82832161119732</c:v>
                </c:pt>
                <c:pt idx="343">
                  <c:v>113.09621459362286</c:v>
                </c:pt>
                <c:pt idx="344">
                  <c:v>113.01157088256332</c:v>
                </c:pt>
                <c:pt idx="345">
                  <c:v>113.59535070420068</c:v>
                </c:pt>
                <c:pt idx="346">
                  <c:v>113.81350459868402</c:v>
                </c:pt>
                <c:pt idx="347">
                  <c:v>113.81263198310607</c:v>
                </c:pt>
                <c:pt idx="348">
                  <c:v>113.77336428209907</c:v>
                </c:pt>
                <c:pt idx="349">
                  <c:v>114.4007748826331</c:v>
                </c:pt>
                <c:pt idx="350">
                  <c:v>114.59624077209014</c:v>
                </c:pt>
                <c:pt idx="351">
                  <c:v>113.46271313635478</c:v>
                </c:pt>
                <c:pt idx="352">
                  <c:v>112.91820101572441</c:v>
                </c:pt>
                <c:pt idx="353">
                  <c:v>113.34578264891174</c:v>
                </c:pt>
                <c:pt idx="354">
                  <c:v>113.39988481474359</c:v>
                </c:pt>
                <c:pt idx="355">
                  <c:v>114.58402415399905</c:v>
                </c:pt>
                <c:pt idx="356">
                  <c:v>115.01684148065395</c:v>
                </c:pt>
                <c:pt idx="357">
                  <c:v>114.8606432922039</c:v>
                </c:pt>
                <c:pt idx="358">
                  <c:v>115.17391228468196</c:v>
                </c:pt>
                <c:pt idx="359">
                  <c:v>115.28822492539123</c:v>
                </c:pt>
                <c:pt idx="360">
                  <c:v>115.03778425452435</c:v>
                </c:pt>
                <c:pt idx="361">
                  <c:v>115.63727115656451</c:v>
                </c:pt>
                <c:pt idx="362">
                  <c:v>115.01335101834219</c:v>
                </c:pt>
                <c:pt idx="363">
                  <c:v>114.72975095551388</c:v>
                </c:pt>
                <c:pt idx="364">
                  <c:v>115.74111241033856</c:v>
                </c:pt>
                <c:pt idx="365">
                  <c:v>116.61111014153808</c:v>
                </c:pt>
                <c:pt idx="366">
                  <c:v>116.6329255309864</c:v>
                </c:pt>
                <c:pt idx="367">
                  <c:v>116.85631511893732</c:v>
                </c:pt>
                <c:pt idx="368">
                  <c:v>116.56835197821931</c:v>
                </c:pt>
                <c:pt idx="369">
                  <c:v>116.17305712141554</c:v>
                </c:pt>
                <c:pt idx="370">
                  <c:v>116.41651686765893</c:v>
                </c:pt>
                <c:pt idx="371">
                  <c:v>117.82230056370948</c:v>
                </c:pt>
                <c:pt idx="372">
                  <c:v>118.08408523708945</c:v>
                </c:pt>
                <c:pt idx="373">
                  <c:v>117.76645316672172</c:v>
                </c:pt>
                <c:pt idx="374">
                  <c:v>117.86069564913853</c:v>
                </c:pt>
                <c:pt idx="375">
                  <c:v>118.10153754864811</c:v>
                </c:pt>
                <c:pt idx="376">
                  <c:v>117.79873994310525</c:v>
                </c:pt>
                <c:pt idx="377">
                  <c:v>118.9226688074833</c:v>
                </c:pt>
                <c:pt idx="378">
                  <c:v>119.16612855372668</c:v>
                </c:pt>
                <c:pt idx="379">
                  <c:v>119.46543569695781</c:v>
                </c:pt>
                <c:pt idx="380">
                  <c:v>119.02912790799115</c:v>
                </c:pt>
                <c:pt idx="381">
                  <c:v>119.19579748337642</c:v>
                </c:pt>
                <c:pt idx="382">
                  <c:v>119.28305904116974</c:v>
                </c:pt>
                <c:pt idx="383">
                  <c:v>119.42616799595078</c:v>
                </c:pt>
                <c:pt idx="384">
                  <c:v>120.16091031257062</c:v>
                </c:pt>
                <c:pt idx="385">
                  <c:v>120.19232447337625</c:v>
                </c:pt>
                <c:pt idx="386">
                  <c:v>120.61467041309595</c:v>
                </c:pt>
                <c:pt idx="387">
                  <c:v>121.21328469955819</c:v>
                </c:pt>
                <c:pt idx="388">
                  <c:v>120.1888340110645</c:v>
                </c:pt>
                <c:pt idx="389">
                  <c:v>120.24031833016257</c:v>
                </c:pt>
                <c:pt idx="390">
                  <c:v>120.2411909457405</c:v>
                </c:pt>
                <c:pt idx="391">
                  <c:v>119.35723136529406</c:v>
                </c:pt>
                <c:pt idx="392">
                  <c:v>119.31621843313118</c:v>
                </c:pt>
                <c:pt idx="393">
                  <c:v>119.05094329743946</c:v>
                </c:pt>
                <c:pt idx="394">
                  <c:v>120.40175221208023</c:v>
                </c:pt>
                <c:pt idx="395">
                  <c:v>120.6687725789278</c:v>
                </c:pt>
                <c:pt idx="396">
                  <c:v>120.9200858653726</c:v>
                </c:pt>
                <c:pt idx="397">
                  <c:v>120.27522295327988</c:v>
                </c:pt>
                <c:pt idx="398">
                  <c:v>120.49948515680876</c:v>
                </c:pt>
                <c:pt idx="399">
                  <c:v>120.80664584024127</c:v>
                </c:pt>
                <c:pt idx="400">
                  <c:v>121.57454754882257</c:v>
                </c:pt>
                <c:pt idx="401">
                  <c:v>121.86687376743022</c:v>
                </c:pt>
                <c:pt idx="402">
                  <c:v>122.14523813679095</c:v>
                </c:pt>
                <c:pt idx="403">
                  <c:v>122.27089478001334</c:v>
                </c:pt>
                <c:pt idx="404">
                  <c:v>122.20981168955799</c:v>
                </c:pt>
                <c:pt idx="405">
                  <c:v>122.41138588806056</c:v>
                </c:pt>
                <c:pt idx="406">
                  <c:v>122.69760379762268</c:v>
                </c:pt>
                <c:pt idx="407">
                  <c:v>122.24907939056499</c:v>
                </c:pt>
                <c:pt idx="408">
                  <c:v>120.58674671460206</c:v>
                </c:pt>
                <c:pt idx="409">
                  <c:v>121.00734742316591</c:v>
                </c:pt>
                <c:pt idx="410">
                  <c:v>122.1208049006088</c:v>
                </c:pt>
                <c:pt idx="411">
                  <c:v>122.22115569207115</c:v>
                </c:pt>
                <c:pt idx="412">
                  <c:v>121.87909038552128</c:v>
                </c:pt>
                <c:pt idx="413">
                  <c:v>122.96200631773648</c:v>
                </c:pt>
                <c:pt idx="414">
                  <c:v>123.45416150369087</c:v>
                </c:pt>
                <c:pt idx="415">
                  <c:v>123.29185500619531</c:v>
                </c:pt>
                <c:pt idx="416">
                  <c:v>122.80231766697473</c:v>
                </c:pt>
                <c:pt idx="417">
                  <c:v>123.0248346393477</c:v>
                </c:pt>
                <c:pt idx="418">
                  <c:v>123.30407162428635</c:v>
                </c:pt>
                <c:pt idx="419">
                  <c:v>123.17492451875222</c:v>
                </c:pt>
                <c:pt idx="420">
                  <c:v>123.3189060891112</c:v>
                </c:pt>
                <c:pt idx="421">
                  <c:v>124.39047801881327</c:v>
                </c:pt>
                <c:pt idx="422">
                  <c:v>124.53009651128258</c:v>
                </c:pt>
                <c:pt idx="423">
                  <c:v>124.12782072985533</c:v>
                </c:pt>
                <c:pt idx="424">
                  <c:v>124.39571371228085</c:v>
                </c:pt>
                <c:pt idx="425">
                  <c:v>124.21944536553835</c:v>
                </c:pt>
                <c:pt idx="426">
                  <c:v>123.76306741827923</c:v>
                </c:pt>
                <c:pt idx="427">
                  <c:v>123.10511527251754</c:v>
                </c:pt>
                <c:pt idx="428">
                  <c:v>123.64090123736858</c:v>
                </c:pt>
                <c:pt idx="429">
                  <c:v>124.50828112183426</c:v>
                </c:pt>
                <c:pt idx="430">
                  <c:v>124.32415923489035</c:v>
                </c:pt>
                <c:pt idx="431">
                  <c:v>123.76306741827925</c:v>
                </c:pt>
                <c:pt idx="432">
                  <c:v>123.61472277003058</c:v>
                </c:pt>
                <c:pt idx="433">
                  <c:v>123.76655788059099</c:v>
                </c:pt>
                <c:pt idx="434">
                  <c:v>123.01349063683458</c:v>
                </c:pt>
                <c:pt idx="435">
                  <c:v>123.28661931272767</c:v>
                </c:pt>
                <c:pt idx="436">
                  <c:v>123.22291837553854</c:v>
                </c:pt>
                <c:pt idx="437">
                  <c:v>123.46201504389228</c:v>
                </c:pt>
                <c:pt idx="438">
                  <c:v>124.24475121729846</c:v>
                </c:pt>
                <c:pt idx="439">
                  <c:v>124.84772858165037</c:v>
                </c:pt>
                <c:pt idx="440">
                  <c:v>124.94982460426856</c:v>
                </c:pt>
                <c:pt idx="441">
                  <c:v>124.83812981029308</c:v>
                </c:pt>
                <c:pt idx="442">
                  <c:v>124.46726818967143</c:v>
                </c:pt>
                <c:pt idx="443">
                  <c:v>124.82765842335789</c:v>
                </c:pt>
                <c:pt idx="444">
                  <c:v>124.16883366201824</c:v>
                </c:pt>
                <c:pt idx="445">
                  <c:v>124.60863191329661</c:v>
                </c:pt>
                <c:pt idx="446">
                  <c:v>125.66798722490765</c:v>
                </c:pt>
                <c:pt idx="447">
                  <c:v>124.25173214192192</c:v>
                </c:pt>
                <c:pt idx="448">
                  <c:v>124.10164226251739</c:v>
                </c:pt>
                <c:pt idx="449">
                  <c:v>123.96551423235978</c:v>
                </c:pt>
                <c:pt idx="450">
                  <c:v>124.68105900626507</c:v>
                </c:pt>
                <c:pt idx="451">
                  <c:v>125.50306288067824</c:v>
                </c:pt>
                <c:pt idx="452">
                  <c:v>126.17497687568688</c:v>
                </c:pt>
                <c:pt idx="453">
                  <c:v>126.38876769228054</c:v>
                </c:pt>
                <c:pt idx="454">
                  <c:v>126.26660151136987</c:v>
                </c:pt>
                <c:pt idx="455">
                  <c:v>126.35473568474112</c:v>
                </c:pt>
                <c:pt idx="456">
                  <c:v>126.53100403148363</c:v>
                </c:pt>
                <c:pt idx="457">
                  <c:v>126.38178676765705</c:v>
                </c:pt>
                <c:pt idx="458">
                  <c:v>125.48735580027542</c:v>
                </c:pt>
                <c:pt idx="459">
                  <c:v>125.0780990942247</c:v>
                </c:pt>
                <c:pt idx="460">
                  <c:v>126.02837745859406</c:v>
                </c:pt>
                <c:pt idx="461">
                  <c:v>126.99174505663241</c:v>
                </c:pt>
                <c:pt idx="462">
                  <c:v>127.12351000890033</c:v>
                </c:pt>
                <c:pt idx="463">
                  <c:v>127.01268783050278</c:v>
                </c:pt>
                <c:pt idx="464">
                  <c:v>127.37395067976716</c:v>
                </c:pt>
                <c:pt idx="465">
                  <c:v>127.19506448629085</c:v>
                </c:pt>
                <c:pt idx="466">
                  <c:v>127.08598753904919</c:v>
                </c:pt>
                <c:pt idx="467">
                  <c:v>126.6331000541018</c:v>
                </c:pt>
                <c:pt idx="468">
                  <c:v>126.47428401891791</c:v>
                </c:pt>
                <c:pt idx="469">
                  <c:v>122.08240981517966</c:v>
                </c:pt>
                <c:pt idx="470">
                  <c:v>122.76130473481177</c:v>
                </c:pt>
                <c:pt idx="471">
                  <c:v>122.44280004886613</c:v>
                </c:pt>
                <c:pt idx="472">
                  <c:v>121.04661512417287</c:v>
                </c:pt>
                <c:pt idx="473">
                  <c:v>119.90785179496989</c:v>
                </c:pt>
                <c:pt idx="474">
                  <c:v>121.7656503603899</c:v>
                </c:pt>
                <c:pt idx="475">
                  <c:v>121.46547060158085</c:v>
                </c:pt>
                <c:pt idx="476">
                  <c:v>122.3311052548907</c:v>
                </c:pt>
                <c:pt idx="477">
                  <c:v>122.4148763503723</c:v>
                </c:pt>
                <c:pt idx="478">
                  <c:v>122.74210719209727</c:v>
                </c:pt>
                <c:pt idx="479">
                  <c:v>120.24206356131839</c:v>
                </c:pt>
                <c:pt idx="480">
                  <c:v>121.04661512417289</c:v>
                </c:pt>
                <c:pt idx="481">
                  <c:v>121.49252168449679</c:v>
                </c:pt>
                <c:pt idx="482">
                  <c:v>121.02741758145837</c:v>
                </c:pt>
                <c:pt idx="483">
                  <c:v>122.34593971971556</c:v>
                </c:pt>
                <c:pt idx="484">
                  <c:v>123.12082235292033</c:v>
                </c:pt>
                <c:pt idx="485">
                  <c:v>125.22382589573955</c:v>
                </c:pt>
                <c:pt idx="486">
                  <c:v>125.18019511684288</c:v>
                </c:pt>
                <c:pt idx="487">
                  <c:v>125.31719576257839</c:v>
                </c:pt>
                <c:pt idx="488">
                  <c:v>125.43848932791116</c:v>
                </c:pt>
                <c:pt idx="489">
                  <c:v>124.66273407912847</c:v>
                </c:pt>
                <c:pt idx="490">
                  <c:v>123.66969755144038</c:v>
                </c:pt>
                <c:pt idx="491">
                  <c:v>124.13218380774502</c:v>
                </c:pt>
                <c:pt idx="492">
                  <c:v>123.98645700623014</c:v>
                </c:pt>
                <c:pt idx="493">
                  <c:v>124.30845215448754</c:v>
                </c:pt>
                <c:pt idx="494">
                  <c:v>125.46204994851536</c:v>
                </c:pt>
                <c:pt idx="495">
                  <c:v>125.60166844098467</c:v>
                </c:pt>
                <c:pt idx="496">
                  <c:v>125.98474667969738</c:v>
                </c:pt>
                <c:pt idx="497">
                  <c:v>126.0589190038217</c:v>
                </c:pt>
                <c:pt idx="498">
                  <c:v>126.38876769228051</c:v>
                </c:pt>
                <c:pt idx="499">
                  <c:v>125.558037662088</c:v>
                </c:pt>
                <c:pt idx="500">
                  <c:v>126.33728337318243</c:v>
                </c:pt>
                <c:pt idx="501">
                  <c:v>126.77795424003872</c:v>
                </c:pt>
                <c:pt idx="502">
                  <c:v>128.14097977277058</c:v>
                </c:pt>
                <c:pt idx="503">
                  <c:v>128.40363706172852</c:v>
                </c:pt>
                <c:pt idx="504">
                  <c:v>128.49264385067772</c:v>
                </c:pt>
                <c:pt idx="505">
                  <c:v>128.33819089338351</c:v>
                </c:pt>
                <c:pt idx="506">
                  <c:v>129.52669331052863</c:v>
                </c:pt>
                <c:pt idx="507">
                  <c:v>129.22825878287549</c:v>
                </c:pt>
                <c:pt idx="508">
                  <c:v>129.18288277282295</c:v>
                </c:pt>
                <c:pt idx="509">
                  <c:v>130.49267875530083</c:v>
                </c:pt>
                <c:pt idx="510">
                  <c:v>130.39058273268262</c:v>
                </c:pt>
                <c:pt idx="511">
                  <c:v>130.37487565227983</c:v>
                </c:pt>
                <c:pt idx="512">
                  <c:v>129.35391542609784</c:v>
                </c:pt>
                <c:pt idx="513">
                  <c:v>129.69685334822563</c:v>
                </c:pt>
                <c:pt idx="514">
                  <c:v>130.53630953419747</c:v>
                </c:pt>
                <c:pt idx="515">
                  <c:v>131.10089181312034</c:v>
                </c:pt>
                <c:pt idx="516">
                  <c:v>131.38274664479277</c:v>
                </c:pt>
                <c:pt idx="517">
                  <c:v>131.71957625787505</c:v>
                </c:pt>
                <c:pt idx="518">
                  <c:v>131.56599591615878</c:v>
                </c:pt>
                <c:pt idx="519">
                  <c:v>131.99008708703437</c:v>
                </c:pt>
                <c:pt idx="520">
                  <c:v>130.1479956020172</c:v>
                </c:pt>
                <c:pt idx="521">
                  <c:v>131.40281680308527</c:v>
                </c:pt>
                <c:pt idx="522">
                  <c:v>131.16721059704329</c:v>
                </c:pt>
                <c:pt idx="523">
                  <c:v>130.99617794376837</c:v>
                </c:pt>
                <c:pt idx="524">
                  <c:v>132.126215117192</c:v>
                </c:pt>
                <c:pt idx="525">
                  <c:v>132.00492155185927</c:v>
                </c:pt>
                <c:pt idx="526">
                  <c:v>132.87753712979256</c:v>
                </c:pt>
                <c:pt idx="527">
                  <c:v>133.08260179060687</c:v>
                </c:pt>
                <c:pt idx="528">
                  <c:v>132.99708546396943</c:v>
                </c:pt>
                <c:pt idx="529">
                  <c:v>132.8365241976297</c:v>
                </c:pt>
                <c:pt idx="530">
                  <c:v>131.54767098902224</c:v>
                </c:pt>
                <c:pt idx="531">
                  <c:v>132.26496099408342</c:v>
                </c:pt>
                <c:pt idx="532">
                  <c:v>132.47264350163155</c:v>
                </c:pt>
                <c:pt idx="533">
                  <c:v>133.53025358208674</c:v>
                </c:pt>
                <c:pt idx="534">
                  <c:v>133.56428558962614</c:v>
                </c:pt>
                <c:pt idx="535">
                  <c:v>134.06342170020397</c:v>
                </c:pt>
                <c:pt idx="536">
                  <c:v>134.31124452433704</c:v>
                </c:pt>
                <c:pt idx="537">
                  <c:v>133.59308190369794</c:v>
                </c:pt>
                <c:pt idx="538">
                  <c:v>132.40894256444247</c:v>
                </c:pt>
                <c:pt idx="539">
                  <c:v>130.08254943367228</c:v>
                </c:pt>
                <c:pt idx="540">
                  <c:v>131.56163283826925</c:v>
                </c:pt>
                <c:pt idx="541">
                  <c:v>131.68816209706958</c:v>
                </c:pt>
                <c:pt idx="542">
                  <c:v>130.28150578544111</c:v>
                </c:pt>
                <c:pt idx="543">
                  <c:v>132.25972530061591</c:v>
                </c:pt>
                <c:pt idx="544">
                  <c:v>132.89673467250722</c:v>
                </c:pt>
                <c:pt idx="545">
                  <c:v>133.76411455697291</c:v>
                </c:pt>
                <c:pt idx="546">
                  <c:v>133.60180805947729</c:v>
                </c:pt>
                <c:pt idx="547">
                  <c:v>133.83305118762965</c:v>
                </c:pt>
                <c:pt idx="548">
                  <c:v>132.01277509206079</c:v>
                </c:pt>
                <c:pt idx="549">
                  <c:v>132.82867065742843</c:v>
                </c:pt>
                <c:pt idx="550">
                  <c:v>131.11572627794536</c:v>
                </c:pt>
                <c:pt idx="551">
                  <c:v>130.6951255693815</c:v>
                </c:pt>
                <c:pt idx="552">
                  <c:v>130.27190701408387</c:v>
                </c:pt>
                <c:pt idx="553">
                  <c:v>131.44557496640414</c:v>
                </c:pt>
                <c:pt idx="554">
                  <c:v>131.39060018499433</c:v>
                </c:pt>
                <c:pt idx="555">
                  <c:v>131.18466290860206</c:v>
                </c:pt>
                <c:pt idx="556">
                  <c:v>132.5878287579188</c:v>
                </c:pt>
                <c:pt idx="557">
                  <c:v>133.06253163231446</c:v>
                </c:pt>
                <c:pt idx="558">
                  <c:v>133.10878025794497</c:v>
                </c:pt>
                <c:pt idx="559">
                  <c:v>133.54857850922338</c:v>
                </c:pt>
                <c:pt idx="560">
                  <c:v>133.67161730571198</c:v>
                </c:pt>
                <c:pt idx="561">
                  <c:v>131.77542365486292</c:v>
                </c:pt>
                <c:pt idx="562">
                  <c:v>132.52936351419729</c:v>
                </c:pt>
                <c:pt idx="563">
                  <c:v>135.05471299673627</c:v>
                </c:pt>
                <c:pt idx="564">
                  <c:v>135.47356847414426</c:v>
                </c:pt>
                <c:pt idx="565">
                  <c:v>135.21352903192016</c:v>
                </c:pt>
                <c:pt idx="566">
                  <c:v>135.20043979825115</c:v>
                </c:pt>
                <c:pt idx="567">
                  <c:v>134.9212028133125</c:v>
                </c:pt>
                <c:pt idx="568">
                  <c:v>135.52418017766442</c:v>
                </c:pt>
                <c:pt idx="569">
                  <c:v>133.86795581074702</c:v>
                </c:pt>
                <c:pt idx="570">
                  <c:v>134.5197996474632</c:v>
                </c:pt>
                <c:pt idx="571">
                  <c:v>131.85570428803285</c:v>
                </c:pt>
                <c:pt idx="572">
                  <c:v>132.47089827047583</c:v>
                </c:pt>
                <c:pt idx="573">
                  <c:v>129.37922127785816</c:v>
                </c:pt>
                <c:pt idx="574">
                  <c:v>127.31024974257832</c:v>
                </c:pt>
                <c:pt idx="575">
                  <c:v>128.61568264716655</c:v>
                </c:pt>
                <c:pt idx="576">
                  <c:v>126.98912720989888</c:v>
                </c:pt>
                <c:pt idx="577">
                  <c:v>127.90886402904057</c:v>
                </c:pt>
                <c:pt idx="578">
                  <c:v>128.46646538333997</c:v>
                </c:pt>
                <c:pt idx="579">
                  <c:v>125.05104801130905</c:v>
                </c:pt>
                <c:pt idx="580">
                  <c:v>128.07117052653618</c:v>
                </c:pt>
                <c:pt idx="581">
                  <c:v>128.86001500898789</c:v>
                </c:pt>
                <c:pt idx="582">
                  <c:v>130.67331017993328</c:v>
                </c:pt>
                <c:pt idx="583">
                  <c:v>126.79889701390944</c:v>
                </c:pt>
                <c:pt idx="584">
                  <c:v>126.84689087069579</c:v>
                </c:pt>
                <c:pt idx="585">
                  <c:v>126.7840625490846</c:v>
                </c:pt>
                <c:pt idx="586">
                  <c:v>124.48210265449653</c:v>
                </c:pt>
                <c:pt idx="587">
                  <c:v>122.75083334787688</c:v>
                </c:pt>
                <c:pt idx="588">
                  <c:v>123.14961866699238</c:v>
                </c:pt>
                <c:pt idx="589">
                  <c:v>126.17497687568712</c:v>
                </c:pt>
                <c:pt idx="590">
                  <c:v>126.14094486814771</c:v>
                </c:pt>
                <c:pt idx="591">
                  <c:v>126.27794551388324</c:v>
                </c:pt>
                <c:pt idx="592">
                  <c:v>127.7570289184802</c:v>
                </c:pt>
                <c:pt idx="593">
                  <c:v>127.62002827274468</c:v>
                </c:pt>
                <c:pt idx="594">
                  <c:v>129.09213075271813</c:v>
                </c:pt>
                <c:pt idx="595">
                  <c:v>127.99438035567805</c:v>
                </c:pt>
                <c:pt idx="596">
                  <c:v>124.98996492085368</c:v>
                </c:pt>
                <c:pt idx="597">
                  <c:v>127.72997783556423</c:v>
                </c:pt>
                <c:pt idx="598">
                  <c:v>127.19593710186905</c:v>
                </c:pt>
                <c:pt idx="599">
                  <c:v>128.62266357179001</c:v>
                </c:pt>
                <c:pt idx="600">
                  <c:v>129.9691094085411</c:v>
                </c:pt>
                <c:pt idx="601">
                  <c:v>128.47431892354135</c:v>
                </c:pt>
                <c:pt idx="602">
                  <c:v>129.02057627532761</c:v>
                </c:pt>
                <c:pt idx="603">
                  <c:v>126.83903733049438</c:v>
                </c:pt>
                <c:pt idx="604">
                  <c:v>126.67760344857672</c:v>
                </c:pt>
                <c:pt idx="605">
                  <c:v>128.40450967730672</c:v>
                </c:pt>
                <c:pt idx="606">
                  <c:v>128.41061798635226</c:v>
                </c:pt>
                <c:pt idx="607">
                  <c:v>129.49178868741166</c:v>
                </c:pt>
                <c:pt idx="608">
                  <c:v>129.51796715474964</c:v>
                </c:pt>
                <c:pt idx="609">
                  <c:v>128.85477931552035</c:v>
                </c:pt>
                <c:pt idx="610">
                  <c:v>132.61837030314663</c:v>
                </c:pt>
                <c:pt idx="611">
                  <c:v>133.42553971273495</c:v>
                </c:pt>
                <c:pt idx="612">
                  <c:v>132.52849089861951</c:v>
                </c:pt>
                <c:pt idx="613">
                  <c:v>133.13932180317281</c:v>
                </c:pt>
                <c:pt idx="614">
                  <c:v>132.4394841096703</c:v>
                </c:pt>
                <c:pt idx="615">
                  <c:v>132.39410809961777</c:v>
                </c:pt>
                <c:pt idx="616">
                  <c:v>133.11052548910101</c:v>
                </c:pt>
                <c:pt idx="617">
                  <c:v>133.63060437354923</c:v>
                </c:pt>
                <c:pt idx="618">
                  <c:v>133.22658336096612</c:v>
                </c:pt>
                <c:pt idx="619">
                  <c:v>134.99712036859276</c:v>
                </c:pt>
                <c:pt idx="620">
                  <c:v>134.9613431298975</c:v>
                </c:pt>
                <c:pt idx="621">
                  <c:v>134.34702176303244</c:v>
                </c:pt>
                <c:pt idx="622">
                  <c:v>134.63062182586077</c:v>
                </c:pt>
                <c:pt idx="623">
                  <c:v>135.91772980331237</c:v>
                </c:pt>
                <c:pt idx="624">
                  <c:v>135.48054939876778</c:v>
                </c:pt>
                <c:pt idx="625">
                  <c:v>136.57742718022993</c:v>
                </c:pt>
                <c:pt idx="626">
                  <c:v>136.34356620534379</c:v>
                </c:pt>
                <c:pt idx="627">
                  <c:v>135.64023804952956</c:v>
                </c:pt>
                <c:pt idx="628">
                  <c:v>136.28510096162225</c:v>
                </c:pt>
                <c:pt idx="629">
                  <c:v>135.14284717010756</c:v>
                </c:pt>
                <c:pt idx="630">
                  <c:v>134.25452451177145</c:v>
                </c:pt>
                <c:pt idx="631">
                  <c:v>134.49100333339138</c:v>
                </c:pt>
                <c:pt idx="632">
                  <c:v>134.38977992635108</c:v>
                </c:pt>
                <c:pt idx="633">
                  <c:v>130.94731147140425</c:v>
                </c:pt>
                <c:pt idx="634">
                  <c:v>131.44470235082619</c:v>
                </c:pt>
                <c:pt idx="635">
                  <c:v>132.60179060716575</c:v>
                </c:pt>
                <c:pt idx="636">
                  <c:v>132.27805022775252</c:v>
                </c:pt>
                <c:pt idx="637">
                  <c:v>132.14890312221837</c:v>
                </c:pt>
                <c:pt idx="638">
                  <c:v>133.97092444894309</c:v>
                </c:pt>
                <c:pt idx="639">
                  <c:v>134.46831532836509</c:v>
                </c:pt>
                <c:pt idx="640">
                  <c:v>133.59919021274354</c:v>
                </c:pt>
                <c:pt idx="641">
                  <c:v>135.20131241382907</c:v>
                </c:pt>
                <c:pt idx="642">
                  <c:v>131.62882423777015</c:v>
                </c:pt>
                <c:pt idx="643">
                  <c:v>131.73441072270009</c:v>
                </c:pt>
                <c:pt idx="644">
                  <c:v>131.08169427040599</c:v>
                </c:pt>
                <c:pt idx="645">
                  <c:v>132.66112846646527</c:v>
                </c:pt>
                <c:pt idx="646">
                  <c:v>128.76489991099308</c:v>
                </c:pt>
                <c:pt idx="647">
                  <c:v>128.69072758686875</c:v>
                </c:pt>
                <c:pt idx="648">
                  <c:v>126.85212656416329</c:v>
                </c:pt>
                <c:pt idx="649">
                  <c:v>125.58508874500413</c:v>
                </c:pt>
                <c:pt idx="650">
                  <c:v>129.23873016981085</c:v>
                </c:pt>
                <c:pt idx="651">
                  <c:v>128.32510165971468</c:v>
                </c:pt>
                <c:pt idx="652">
                  <c:v>126.6296095917903</c:v>
                </c:pt>
                <c:pt idx="653">
                  <c:v>127.29192481544167</c:v>
                </c:pt>
                <c:pt idx="654">
                  <c:v>125.06937293844557</c:v>
                </c:pt>
                <c:pt idx="655">
                  <c:v>125.63046475505668</c:v>
                </c:pt>
                <c:pt idx="656">
                  <c:v>123.62955723485562</c:v>
                </c:pt>
                <c:pt idx="657">
                  <c:v>125.71772631284999</c:v>
                </c:pt>
                <c:pt idx="658">
                  <c:v>122.79620935792931</c:v>
                </c:pt>
                <c:pt idx="659">
                  <c:v>124.62957468716716</c:v>
                </c:pt>
                <c:pt idx="660">
                  <c:v>128.1889736295571</c:v>
                </c:pt>
                <c:pt idx="661">
                  <c:v>128.25005672001242</c:v>
                </c:pt>
                <c:pt idx="662">
                  <c:v>129.24658371001226</c:v>
                </c:pt>
                <c:pt idx="663">
                  <c:v>128.48566292605443</c:v>
                </c:pt>
                <c:pt idx="664">
                  <c:v>127.64533412450467</c:v>
                </c:pt>
                <c:pt idx="665">
                  <c:v>129.58428593867245</c:v>
                </c:pt>
                <c:pt idx="666">
                  <c:v>131.53283652419748</c:v>
                </c:pt>
                <c:pt idx="667">
                  <c:v>131.29897554931136</c:v>
                </c:pt>
                <c:pt idx="668">
                  <c:v>132.28503115237598</c:v>
                </c:pt>
                <c:pt idx="669">
                  <c:v>128.94204087331354</c:v>
                </c:pt>
                <c:pt idx="670">
                  <c:v>129.7221591999859</c:v>
                </c:pt>
                <c:pt idx="671">
                  <c:v>129.88097523516976</c:v>
                </c:pt>
                <c:pt idx="672">
                  <c:v>128.09560376271821</c:v>
                </c:pt>
                <c:pt idx="673">
                  <c:v>126.17148641337528</c:v>
                </c:pt>
                <c:pt idx="674">
                  <c:v>126.96382135813869</c:v>
                </c:pt>
                <c:pt idx="675">
                  <c:v>126.7910434737079</c:v>
                </c:pt>
                <c:pt idx="676">
                  <c:v>127.41234576519641</c:v>
                </c:pt>
                <c:pt idx="677">
                  <c:v>129.53629208188607</c:v>
                </c:pt>
                <c:pt idx="678">
                  <c:v>130.58255815982807</c:v>
                </c:pt>
                <c:pt idx="679">
                  <c:v>130.68814464475801</c:v>
                </c:pt>
                <c:pt idx="680">
                  <c:v>128.830346079338</c:v>
                </c:pt>
                <c:pt idx="681">
                  <c:v>129.01534058185987</c:v>
                </c:pt>
                <c:pt idx="682">
                  <c:v>128.13138100141342</c:v>
                </c:pt>
                <c:pt idx="683">
                  <c:v>126.28143597619486</c:v>
                </c:pt>
                <c:pt idx="684">
                  <c:v>126.28143597619486</c:v>
                </c:pt>
                <c:pt idx="685">
                  <c:v>123.18103282779785</c:v>
                </c:pt>
                <c:pt idx="686">
                  <c:v>123.57807291575747</c:v>
                </c:pt>
                <c:pt idx="687">
                  <c:v>121.31014502870885</c:v>
                </c:pt>
                <c:pt idx="688">
                  <c:v>122.96287893331453</c:v>
                </c:pt>
                <c:pt idx="689">
                  <c:v>123.94020838059978</c:v>
                </c:pt>
                <c:pt idx="690">
                  <c:v>122.25518769961059</c:v>
                </c:pt>
                <c:pt idx="691">
                  <c:v>123.58418122480302</c:v>
                </c:pt>
                <c:pt idx="692">
                  <c:v>120.50384823469851</c:v>
                </c:pt>
                <c:pt idx="693">
                  <c:v>119.82757116180021</c:v>
                </c:pt>
                <c:pt idx="694">
                  <c:v>116.3414719279567</c:v>
                </c:pt>
                <c:pt idx="695">
                  <c:v>115.63814377214246</c:v>
                </c:pt>
                <c:pt idx="696">
                  <c:v>114.35627148815844</c:v>
                </c:pt>
                <c:pt idx="697">
                  <c:v>116.80832126215098</c:v>
                </c:pt>
                <c:pt idx="698">
                  <c:v>117.98373444562714</c:v>
                </c:pt>
                <c:pt idx="699">
                  <c:v>116.11110141538227</c:v>
                </c:pt>
                <c:pt idx="700">
                  <c:v>118.14953140543446</c:v>
                </c:pt>
                <c:pt idx="701">
                  <c:v>118.87642018185291</c:v>
                </c:pt>
                <c:pt idx="702">
                  <c:v>118.31009267177421</c:v>
                </c:pt>
                <c:pt idx="703">
                  <c:v>120.29442049599453</c:v>
                </c:pt>
                <c:pt idx="704">
                  <c:v>121.76652297596802</c:v>
                </c:pt>
                <c:pt idx="705">
                  <c:v>120.4925042321854</c:v>
                </c:pt>
                <c:pt idx="706">
                  <c:v>116.6372886088761</c:v>
                </c:pt>
                <c:pt idx="707">
                  <c:v>115.74809333496206</c:v>
                </c:pt>
                <c:pt idx="708">
                  <c:v>116.66084922948031</c:v>
                </c:pt>
                <c:pt idx="709">
                  <c:v>116.17043927468178</c:v>
                </c:pt>
                <c:pt idx="710">
                  <c:v>116.85456988778149</c:v>
                </c:pt>
                <c:pt idx="711">
                  <c:v>117.70362484511058</c:v>
                </c:pt>
                <c:pt idx="712">
                  <c:v>119.3048744306182</c:v>
                </c:pt>
                <c:pt idx="713">
                  <c:v>117.70362484511057</c:v>
                </c:pt>
                <c:pt idx="714">
                  <c:v>117.80223040541705</c:v>
                </c:pt>
                <c:pt idx="715">
                  <c:v>117.69664392048712</c:v>
                </c:pt>
                <c:pt idx="716">
                  <c:v>118.67833644566208</c:v>
                </c:pt>
                <c:pt idx="717">
                  <c:v>117.1512591842788</c:v>
                </c:pt>
                <c:pt idx="718">
                  <c:v>118.07448646573221</c:v>
                </c:pt>
                <c:pt idx="719">
                  <c:v>119.70540498088955</c:v>
                </c:pt>
                <c:pt idx="720">
                  <c:v>120.53351716434825</c:v>
                </c:pt>
                <c:pt idx="721">
                  <c:v>120.42269498595073</c:v>
                </c:pt>
                <c:pt idx="722">
                  <c:v>119.34588736278104</c:v>
                </c:pt>
                <c:pt idx="723">
                  <c:v>116.11284664653819</c:v>
                </c:pt>
                <c:pt idx="724">
                  <c:v>116.17480235257145</c:v>
                </c:pt>
                <c:pt idx="725">
                  <c:v>115.77427180230008</c:v>
                </c:pt>
                <c:pt idx="726">
                  <c:v>116.38073962896372</c:v>
                </c:pt>
                <c:pt idx="727">
                  <c:v>113.81874029215156</c:v>
                </c:pt>
                <c:pt idx="728">
                  <c:v>112.86148100315873</c:v>
                </c:pt>
                <c:pt idx="729">
                  <c:v>111.11624984729212</c:v>
                </c:pt>
                <c:pt idx="730">
                  <c:v>115.24197629976076</c:v>
                </c:pt>
                <c:pt idx="731">
                  <c:v>114.20530899317599</c:v>
                </c:pt>
                <c:pt idx="732">
                  <c:v>114.79083404596922</c:v>
                </c:pt>
                <c:pt idx="733">
                  <c:v>112.4051030558996</c:v>
                </c:pt>
                <c:pt idx="734">
                  <c:v>111.39810467896456</c:v>
                </c:pt>
                <c:pt idx="735">
                  <c:v>116.12244541789542</c:v>
                </c:pt>
                <c:pt idx="736">
                  <c:v>113.30215187001502</c:v>
                </c:pt>
                <c:pt idx="737">
                  <c:v>116.01511370180964</c:v>
                </c:pt>
                <c:pt idx="738">
                  <c:v>117.79263163405977</c:v>
                </c:pt>
                <c:pt idx="739">
                  <c:v>118.06401507879704</c:v>
                </c:pt>
                <c:pt idx="740">
                  <c:v>117.02909300336816</c:v>
                </c:pt>
                <c:pt idx="741">
                  <c:v>115.68788286008468</c:v>
                </c:pt>
                <c:pt idx="742">
                  <c:v>114.76814604094299</c:v>
                </c:pt>
                <c:pt idx="743">
                  <c:v>115.42086249323711</c:v>
                </c:pt>
                <c:pt idx="744">
                  <c:v>119.56404125726438</c:v>
                </c:pt>
                <c:pt idx="745">
                  <c:v>119.33279812911205</c:v>
                </c:pt>
                <c:pt idx="746">
                  <c:v>119.48812370198419</c:v>
                </c:pt>
                <c:pt idx="747">
                  <c:v>119.58323879997894</c:v>
                </c:pt>
                <c:pt idx="748">
                  <c:v>119.76997853365667</c:v>
                </c:pt>
                <c:pt idx="749">
                  <c:v>119.15914762910336</c:v>
                </c:pt>
                <c:pt idx="750">
                  <c:v>118.19490741548708</c:v>
                </c:pt>
                <c:pt idx="751">
                  <c:v>118.72371245571468</c:v>
                </c:pt>
                <c:pt idx="752">
                  <c:v>116.30482207368358</c:v>
                </c:pt>
                <c:pt idx="753">
                  <c:v>115.91127244803566</c:v>
                </c:pt>
                <c:pt idx="754">
                  <c:v>116.44444056615292</c:v>
                </c:pt>
                <c:pt idx="755">
                  <c:v>119.08672053613493</c:v>
                </c:pt>
                <c:pt idx="756">
                  <c:v>119.16089286025925</c:v>
                </c:pt>
                <c:pt idx="757">
                  <c:v>121.32236164680005</c:v>
                </c:pt>
                <c:pt idx="758">
                  <c:v>121.13387668196646</c:v>
                </c:pt>
                <c:pt idx="759">
                  <c:v>120.06666783015403</c:v>
                </c:pt>
                <c:pt idx="760">
                  <c:v>120.41484144574942</c:v>
                </c:pt>
                <c:pt idx="761">
                  <c:v>121.1905966945321</c:v>
                </c:pt>
                <c:pt idx="762">
                  <c:v>121.97769594582795</c:v>
                </c:pt>
                <c:pt idx="763">
                  <c:v>121.84942145587175</c:v>
                </c:pt>
                <c:pt idx="764">
                  <c:v>121.37559119705399</c:v>
                </c:pt>
                <c:pt idx="765">
                  <c:v>120.90874186285967</c:v>
                </c:pt>
                <c:pt idx="766">
                  <c:v>122.98120386045125</c:v>
                </c:pt>
                <c:pt idx="767">
                  <c:v>123.37911656398884</c:v>
                </c:pt>
                <c:pt idx="768">
                  <c:v>122.81976997853361</c:v>
                </c:pt>
                <c:pt idx="769">
                  <c:v>123.75957695596776</c:v>
                </c:pt>
                <c:pt idx="770">
                  <c:v>121.51782753625712</c:v>
                </c:pt>
                <c:pt idx="771">
                  <c:v>121.96373409658104</c:v>
                </c:pt>
                <c:pt idx="772">
                  <c:v>121.14347545332375</c:v>
                </c:pt>
                <c:pt idx="773">
                  <c:v>122.47857728756168</c:v>
                </c:pt>
                <c:pt idx="774">
                  <c:v>122.43145604635329</c:v>
                </c:pt>
                <c:pt idx="775">
                  <c:v>122.92186600115181</c:v>
                </c:pt>
                <c:pt idx="776">
                  <c:v>124.22293582785035</c:v>
                </c:pt>
                <c:pt idx="777">
                  <c:v>124.37826140072247</c:v>
                </c:pt>
                <c:pt idx="778">
                  <c:v>124.48995619469795</c:v>
                </c:pt>
                <c:pt idx="779">
                  <c:v>123.3354857850922</c:v>
                </c:pt>
                <c:pt idx="780">
                  <c:v>121.35552103876155</c:v>
                </c:pt>
                <c:pt idx="781">
                  <c:v>121.67315310912926</c:v>
                </c:pt>
                <c:pt idx="782">
                  <c:v>120.06579521457613</c:v>
                </c:pt>
                <c:pt idx="783">
                  <c:v>120.8877990889893</c:v>
                </c:pt>
                <c:pt idx="784">
                  <c:v>121.36686504127468</c:v>
                </c:pt>
                <c:pt idx="785">
                  <c:v>122.01434580010117</c:v>
                </c:pt>
                <c:pt idx="786">
                  <c:v>122.19934030262306</c:v>
                </c:pt>
                <c:pt idx="787">
                  <c:v>120.91572278748316</c:v>
                </c:pt>
                <c:pt idx="788">
                  <c:v>120.21588509398065</c:v>
                </c:pt>
                <c:pt idx="789">
                  <c:v>120.17661739297363</c:v>
                </c:pt>
                <c:pt idx="790">
                  <c:v>122.51959021972453</c:v>
                </c:pt>
                <c:pt idx="791">
                  <c:v>118.73505645822783</c:v>
                </c:pt>
                <c:pt idx="792">
                  <c:v>118.82929894064463</c:v>
                </c:pt>
                <c:pt idx="793">
                  <c:v>118.53959056877078</c:v>
                </c:pt>
                <c:pt idx="794">
                  <c:v>116.53693781741386</c:v>
                </c:pt>
                <c:pt idx="795">
                  <c:v>116.91914344054862</c:v>
                </c:pt>
                <c:pt idx="796">
                  <c:v>118.67833644566217</c:v>
                </c:pt>
                <c:pt idx="797">
                  <c:v>118.68793521701944</c:v>
                </c:pt>
                <c:pt idx="798">
                  <c:v>117.88425626974286</c:v>
                </c:pt>
                <c:pt idx="799">
                  <c:v>116.73938463149437</c:v>
                </c:pt>
                <c:pt idx="800">
                  <c:v>117.17743765161688</c:v>
                </c:pt>
                <c:pt idx="801">
                  <c:v>115.00462486256298</c:v>
                </c:pt>
                <c:pt idx="802">
                  <c:v>115.01073317160849</c:v>
                </c:pt>
                <c:pt idx="803">
                  <c:v>114.68699279219523</c:v>
                </c:pt>
                <c:pt idx="804">
                  <c:v>115.35716155604801</c:v>
                </c:pt>
                <c:pt idx="805">
                  <c:v>111.96966788251096</c:v>
                </c:pt>
                <c:pt idx="806">
                  <c:v>111.5534302518368</c:v>
                </c:pt>
                <c:pt idx="807">
                  <c:v>111.69479397546199</c:v>
                </c:pt>
                <c:pt idx="808">
                  <c:v>112.12324822422723</c:v>
                </c:pt>
                <c:pt idx="809">
                  <c:v>110.08220038744125</c:v>
                </c:pt>
                <c:pt idx="810">
                  <c:v>110.20262133719605</c:v>
                </c:pt>
                <c:pt idx="811">
                  <c:v>109.27852144016467</c:v>
                </c:pt>
                <c:pt idx="812">
                  <c:v>111.14504616136401</c:v>
                </c:pt>
                <c:pt idx="813">
                  <c:v>108.61358836977951</c:v>
                </c:pt>
                <c:pt idx="814">
                  <c:v>109.37276392258147</c:v>
                </c:pt>
                <c:pt idx="815">
                  <c:v>108.15982826925419</c:v>
                </c:pt>
                <c:pt idx="816">
                  <c:v>107.18337143754681</c:v>
                </c:pt>
                <c:pt idx="817">
                  <c:v>106.01493917869415</c:v>
                </c:pt>
                <c:pt idx="818">
                  <c:v>108.67205361350103</c:v>
                </c:pt>
                <c:pt idx="819">
                  <c:v>109.97748651808925</c:v>
                </c:pt>
                <c:pt idx="820">
                  <c:v>110.00890067889486</c:v>
                </c:pt>
                <c:pt idx="821">
                  <c:v>109.9495628195954</c:v>
                </c:pt>
                <c:pt idx="822">
                  <c:v>111.43300930208203</c:v>
                </c:pt>
                <c:pt idx="823">
                  <c:v>111.8858967870294</c:v>
                </c:pt>
                <c:pt idx="824">
                  <c:v>109.29859159845716</c:v>
                </c:pt>
                <c:pt idx="825">
                  <c:v>109.75409693013833</c:v>
                </c:pt>
                <c:pt idx="826">
                  <c:v>107.71304909335235</c:v>
                </c:pt>
                <c:pt idx="827">
                  <c:v>110.22879980453406</c:v>
                </c:pt>
                <c:pt idx="828">
                  <c:v>112.06652821166156</c:v>
                </c:pt>
                <c:pt idx="829">
                  <c:v>110.59355311611016</c:v>
                </c:pt>
                <c:pt idx="830">
                  <c:v>109.97661390251132</c:v>
                </c:pt>
                <c:pt idx="831">
                  <c:v>108.9905582994467</c:v>
                </c:pt>
                <c:pt idx="832">
                  <c:v>112.12063037749346</c:v>
                </c:pt>
                <c:pt idx="833">
                  <c:v>112.49672769158272</c:v>
                </c:pt>
                <c:pt idx="834">
                  <c:v>110.47924047540093</c:v>
                </c:pt>
                <c:pt idx="835">
                  <c:v>113.11890259864914</c:v>
                </c:pt>
                <c:pt idx="836">
                  <c:v>113.90425661878909</c:v>
                </c:pt>
                <c:pt idx="837">
                  <c:v>112.5316323147</c:v>
                </c:pt>
                <c:pt idx="838">
                  <c:v>112.20352885739709</c:v>
                </c:pt>
                <c:pt idx="839">
                  <c:v>112.82308591772976</c:v>
                </c:pt>
                <c:pt idx="840">
                  <c:v>113.28295432730062</c:v>
                </c:pt>
                <c:pt idx="841">
                  <c:v>111.57262779455134</c:v>
                </c:pt>
                <c:pt idx="842">
                  <c:v>110.53334264123279</c:v>
                </c:pt>
                <c:pt idx="843">
                  <c:v>111.21834586991044</c:v>
                </c:pt>
                <c:pt idx="844">
                  <c:v>111.49583762369323</c:v>
                </c:pt>
                <c:pt idx="845">
                  <c:v>112.75938498054066</c:v>
                </c:pt>
                <c:pt idx="846">
                  <c:v>110.54643187490181</c:v>
                </c:pt>
                <c:pt idx="847">
                  <c:v>110.95394334979667</c:v>
                </c:pt>
                <c:pt idx="848">
                  <c:v>111.83964816139897</c:v>
                </c:pt>
                <c:pt idx="849">
                  <c:v>113.49936299062811</c:v>
                </c:pt>
                <c:pt idx="850">
                  <c:v>111.94174418401717</c:v>
                </c:pt>
                <c:pt idx="851">
                  <c:v>111.4836210056022</c:v>
                </c:pt>
                <c:pt idx="852">
                  <c:v>111.25674095533957</c:v>
                </c:pt>
                <c:pt idx="853">
                  <c:v>107.92771252552403</c:v>
                </c:pt>
                <c:pt idx="854">
                  <c:v>108.40590586223148</c:v>
                </c:pt>
                <c:pt idx="855">
                  <c:v>110.62933035480552</c:v>
                </c:pt>
                <c:pt idx="856">
                  <c:v>106.85265013351022</c:v>
                </c:pt>
                <c:pt idx="857">
                  <c:v>107.50972966369402</c:v>
                </c:pt>
                <c:pt idx="858">
                  <c:v>108.99404876175855</c:v>
                </c:pt>
                <c:pt idx="859">
                  <c:v>109.22529188991086</c:v>
                </c:pt>
                <c:pt idx="860">
                  <c:v>104.0768599801044</c:v>
                </c:pt>
                <c:pt idx="861">
                  <c:v>105.89975392240707</c:v>
                </c:pt>
                <c:pt idx="862">
                  <c:v>100.90839281662861</c:v>
                </c:pt>
                <c:pt idx="863">
                  <c:v>105.28194209323028</c:v>
                </c:pt>
                <c:pt idx="864">
                  <c:v>109.5202359552523</c:v>
                </c:pt>
                <c:pt idx="865">
                  <c:v>105.3325537967504</c:v>
                </c:pt>
                <c:pt idx="866">
                  <c:v>103.68592820119026</c:v>
                </c:pt>
                <c:pt idx="867">
                  <c:v>103.48086354037594</c:v>
                </c:pt>
                <c:pt idx="868">
                  <c:v>105.51493045253847</c:v>
                </c:pt>
                <c:pt idx="869">
                  <c:v>105.84914221888691</c:v>
                </c:pt>
                <c:pt idx="870">
                  <c:v>96.545314926962092</c:v>
                </c:pt>
                <c:pt idx="871">
                  <c:v>101.77839054782807</c:v>
                </c:pt>
                <c:pt idx="872">
                  <c:v>101.31590429152342</c:v>
                </c:pt>
                <c:pt idx="873">
                  <c:v>97.233808617951468</c:v>
                </c:pt>
                <c:pt idx="874">
                  <c:v>95.920522173161856</c:v>
                </c:pt>
                <c:pt idx="875">
                  <c:v>92.225867816192292</c:v>
                </c:pt>
                <c:pt idx="876">
                  <c:v>86.932581720448894</c:v>
                </c:pt>
                <c:pt idx="877">
                  <c:v>85.947398732962199</c:v>
                </c:pt>
                <c:pt idx="878">
                  <c:v>79.401036667306585</c:v>
                </c:pt>
                <c:pt idx="879">
                  <c:v>78.467337998917969</c:v>
                </c:pt>
                <c:pt idx="880">
                  <c:v>87.553884011937413</c:v>
                </c:pt>
                <c:pt idx="881">
                  <c:v>87.087907293321038</c:v>
                </c:pt>
                <c:pt idx="882">
                  <c:v>79.219532627096484</c:v>
                </c:pt>
                <c:pt idx="883">
                  <c:v>82.586956142341066</c:v>
                </c:pt>
                <c:pt idx="884">
                  <c:v>82.07385818251629</c:v>
                </c:pt>
                <c:pt idx="885">
                  <c:v>85.987539049547124</c:v>
                </c:pt>
                <c:pt idx="886">
                  <c:v>83.339150770519552</c:v>
                </c:pt>
                <c:pt idx="887">
                  <c:v>78.254419797902244</c:v>
                </c:pt>
                <c:pt idx="888">
                  <c:v>79.243093247700656</c:v>
                </c:pt>
                <c:pt idx="889">
                  <c:v>76.508316026457692</c:v>
                </c:pt>
                <c:pt idx="890">
                  <c:v>74.078081641913457</c:v>
                </c:pt>
                <c:pt idx="891">
                  <c:v>82.070367720204516</c:v>
                </c:pt>
                <c:pt idx="892">
                  <c:v>81.16110228799802</c:v>
                </c:pt>
                <c:pt idx="893">
                  <c:v>83.255379675037915</c:v>
                </c:pt>
                <c:pt idx="894">
                  <c:v>84.534634112288131</c:v>
                </c:pt>
                <c:pt idx="895">
                  <c:v>84.320843295694473</c:v>
                </c:pt>
                <c:pt idx="896">
                  <c:v>87.763311750641336</c:v>
                </c:pt>
                <c:pt idx="897">
                  <c:v>83.14019441875071</c:v>
                </c:pt>
                <c:pt idx="898">
                  <c:v>78.961238416028152</c:v>
                </c:pt>
                <c:pt idx="899">
                  <c:v>81.239637690012003</c:v>
                </c:pt>
                <c:pt idx="900">
                  <c:v>80.211696539206585</c:v>
                </c:pt>
                <c:pt idx="901">
                  <c:v>78.443777378313712</c:v>
                </c:pt>
                <c:pt idx="902">
                  <c:v>74.373025707254882</c:v>
                </c:pt>
                <c:pt idx="903">
                  <c:v>79.520585001483397</c:v>
                </c:pt>
                <c:pt idx="904">
                  <c:v>76.204645805336881</c:v>
                </c:pt>
                <c:pt idx="905">
                  <c:v>74.237770292675236</c:v>
                </c:pt>
                <c:pt idx="906">
                  <c:v>74.968149531405416</c:v>
                </c:pt>
                <c:pt idx="907">
                  <c:v>70.383427284943878</c:v>
                </c:pt>
                <c:pt idx="908">
                  <c:v>65.659086546013015</c:v>
                </c:pt>
                <c:pt idx="909">
                  <c:v>69.811864081397559</c:v>
                </c:pt>
                <c:pt idx="910">
                  <c:v>74.330267543936174</c:v>
                </c:pt>
                <c:pt idx="911">
                  <c:v>74.817187036422951</c:v>
                </c:pt>
                <c:pt idx="912">
                  <c:v>77.460339621982911</c:v>
                </c:pt>
                <c:pt idx="913">
                  <c:v>78.207298556693814</c:v>
                </c:pt>
                <c:pt idx="914">
                  <c:v>71.223756086493651</c:v>
                </c:pt>
                <c:pt idx="915">
                  <c:v>74.068482870556181</c:v>
                </c:pt>
                <c:pt idx="916">
                  <c:v>75.982128832963909</c:v>
                </c:pt>
                <c:pt idx="917">
                  <c:v>73.755213878078138</c:v>
                </c:pt>
                <c:pt idx="918">
                  <c:v>76.447232936002379</c:v>
                </c:pt>
                <c:pt idx="919">
                  <c:v>79.381839124592048</c:v>
                </c:pt>
                <c:pt idx="920">
                  <c:v>77.546728564198318</c:v>
                </c:pt>
                <c:pt idx="921">
                  <c:v>78.469083230073807</c:v>
                </c:pt>
                <c:pt idx="922">
                  <c:v>76.230824272674894</c:v>
                </c:pt>
                <c:pt idx="923">
                  <c:v>76.766610237525938</c:v>
                </c:pt>
                <c:pt idx="924">
                  <c:v>75.792771252552384</c:v>
                </c:pt>
                <c:pt idx="925">
                  <c:v>79.685509345712831</c:v>
                </c:pt>
                <c:pt idx="926">
                  <c:v>78.921098099443256</c:v>
                </c:pt>
                <c:pt idx="927">
                  <c:v>77.250911883278917</c:v>
                </c:pt>
                <c:pt idx="928">
                  <c:v>77.477791933541567</c:v>
                </c:pt>
                <c:pt idx="929">
                  <c:v>76.059791619399974</c:v>
                </c:pt>
                <c:pt idx="930">
                  <c:v>75.320686224890466</c:v>
                </c:pt>
                <c:pt idx="931">
                  <c:v>75.756121398279191</c:v>
                </c:pt>
                <c:pt idx="932">
                  <c:v>76.161887642018158</c:v>
                </c:pt>
                <c:pt idx="933">
                  <c:v>75.866943576676704</c:v>
                </c:pt>
                <c:pt idx="934">
                  <c:v>77.718633833051172</c:v>
                </c:pt>
                <c:pt idx="935">
                  <c:v>78.819002076825072</c:v>
                </c:pt>
                <c:pt idx="936">
                  <c:v>81.310319551824634</c:v>
                </c:pt>
                <c:pt idx="937">
                  <c:v>80.930731775423652</c:v>
                </c:pt>
                <c:pt idx="938">
                  <c:v>81.563378069425298</c:v>
                </c:pt>
                <c:pt idx="939">
                  <c:v>79.115691373322392</c:v>
                </c:pt>
                <c:pt idx="940">
                  <c:v>79.384456971325847</c:v>
                </c:pt>
                <c:pt idx="941">
                  <c:v>77.693327981291119</c:v>
                </c:pt>
                <c:pt idx="942">
                  <c:v>75.940243285223119</c:v>
                </c:pt>
                <c:pt idx="943">
                  <c:v>76.073753468646913</c:v>
                </c:pt>
                <c:pt idx="944">
                  <c:v>73.528333827815487</c:v>
                </c:pt>
                <c:pt idx="945">
                  <c:v>73.626066772544007</c:v>
                </c:pt>
                <c:pt idx="946">
                  <c:v>74.182795511265454</c:v>
                </c:pt>
                <c:pt idx="947">
                  <c:v>70.264751566344955</c:v>
                </c:pt>
                <c:pt idx="948">
                  <c:v>73.320651320267359</c:v>
                </c:pt>
                <c:pt idx="949">
                  <c:v>72.208939073980332</c:v>
                </c:pt>
                <c:pt idx="950">
                  <c:v>72.597253006160656</c:v>
                </c:pt>
                <c:pt idx="951">
                  <c:v>73.000401403165839</c:v>
                </c:pt>
                <c:pt idx="952">
                  <c:v>73.797972041396889</c:v>
                </c:pt>
                <c:pt idx="953">
                  <c:v>76.274455051571579</c:v>
                </c:pt>
                <c:pt idx="954">
                  <c:v>73.748232953454675</c:v>
                </c:pt>
                <c:pt idx="955">
                  <c:v>72.067575350355142</c:v>
                </c:pt>
                <c:pt idx="956">
                  <c:v>72.029180264926083</c:v>
                </c:pt>
                <c:pt idx="957">
                  <c:v>73.169688825284894</c:v>
                </c:pt>
                <c:pt idx="958">
                  <c:v>72.62168624234279</c:v>
                </c:pt>
                <c:pt idx="959">
                  <c:v>73.810188659487949</c:v>
                </c:pt>
                <c:pt idx="960">
                  <c:v>75.795389099286211</c:v>
                </c:pt>
                <c:pt idx="961">
                  <c:v>75.907956508839604</c:v>
                </c:pt>
                <c:pt idx="962">
                  <c:v>72.179270144330616</c:v>
                </c:pt>
                <c:pt idx="963">
                  <c:v>72.753451194610733</c:v>
                </c:pt>
                <c:pt idx="964">
                  <c:v>72.879980453411065</c:v>
                </c:pt>
                <c:pt idx="965">
                  <c:v>72.151346445836765</c:v>
                </c:pt>
                <c:pt idx="966">
                  <c:v>68.864203563762018</c:v>
                </c:pt>
                <c:pt idx="967">
                  <c:v>68.798757395417027</c:v>
                </c:pt>
                <c:pt idx="968">
                  <c:v>67.971517827536275</c:v>
                </c:pt>
                <c:pt idx="969">
                  <c:v>67.195762578753559</c:v>
                </c:pt>
                <c:pt idx="970">
                  <c:v>64.864133754515791</c:v>
                </c:pt>
                <c:pt idx="971">
                  <c:v>67.465400792334933</c:v>
                </c:pt>
                <c:pt idx="972">
                  <c:v>66.746365556117894</c:v>
                </c:pt>
                <c:pt idx="973">
                  <c:v>65.693118553552409</c:v>
                </c:pt>
                <c:pt idx="974">
                  <c:v>64.145098518298752</c:v>
                </c:pt>
                <c:pt idx="975">
                  <c:v>61.154644932721347</c:v>
                </c:pt>
                <c:pt idx="976">
                  <c:v>60.762840538229298</c:v>
                </c:pt>
                <c:pt idx="977">
                  <c:v>62.206146704130973</c:v>
                </c:pt>
                <c:pt idx="978">
                  <c:v>59.560376271837214</c:v>
                </c:pt>
                <c:pt idx="979">
                  <c:v>59.632803364805689</c:v>
                </c:pt>
                <c:pt idx="980">
                  <c:v>59.035061693921378</c:v>
                </c:pt>
                <c:pt idx="981">
                  <c:v>62.793416988080089</c:v>
                </c:pt>
                <c:pt idx="982">
                  <c:v>62.946997329796346</c:v>
                </c:pt>
                <c:pt idx="983">
                  <c:v>65.510741897764362</c:v>
                </c:pt>
                <c:pt idx="984">
                  <c:v>66.017731548543608</c:v>
                </c:pt>
                <c:pt idx="985">
                  <c:v>65.785615804813347</c:v>
                </c:pt>
                <c:pt idx="986">
                  <c:v>67.899963350145725</c:v>
                </c:pt>
                <c:pt idx="987">
                  <c:v>69.316218433131453</c:v>
                </c:pt>
                <c:pt idx="988">
                  <c:v>68.416551772282219</c:v>
                </c:pt>
                <c:pt idx="989">
                  <c:v>67.063997626485602</c:v>
                </c:pt>
                <c:pt idx="990">
                  <c:v>71.809281139286867</c:v>
                </c:pt>
                <c:pt idx="991">
                  <c:v>70.343286968358939</c:v>
                </c:pt>
                <c:pt idx="992">
                  <c:v>71.020436656835187</c:v>
                </c:pt>
                <c:pt idx="993">
                  <c:v>72.676661023752601</c:v>
                </c:pt>
                <c:pt idx="994">
                  <c:v>71.200195465889465</c:v>
                </c:pt>
                <c:pt idx="995">
                  <c:v>68.721094608980962</c:v>
                </c:pt>
                <c:pt idx="996">
                  <c:v>69.623379116563996</c:v>
                </c:pt>
                <c:pt idx="997">
                  <c:v>70.77610429501388</c:v>
                </c:pt>
                <c:pt idx="998">
                  <c:v>72.809298591598463</c:v>
                </c:pt>
                <c:pt idx="999">
                  <c:v>73.517862440880293</c:v>
                </c:pt>
                <c:pt idx="1000">
                  <c:v>72.905286305171117</c:v>
                </c:pt>
                <c:pt idx="1001">
                  <c:v>71.166163458350056</c:v>
                </c:pt>
                <c:pt idx="1002">
                  <c:v>72.004747028743964</c:v>
                </c:pt>
                <c:pt idx="1003">
                  <c:v>74.744759943454525</c:v>
                </c:pt>
                <c:pt idx="1004">
                  <c:v>74.93411752386605</c:v>
                </c:pt>
                <c:pt idx="1005">
                  <c:v>73.430600883086981</c:v>
                </c:pt>
                <c:pt idx="1006">
                  <c:v>74.352082933384537</c:v>
                </c:pt>
                <c:pt idx="1007">
                  <c:v>75.50742595856822</c:v>
                </c:pt>
                <c:pt idx="1008">
                  <c:v>75.882650657079537</c:v>
                </c:pt>
                <c:pt idx="1009">
                  <c:v>72.635648091589729</c:v>
                </c:pt>
                <c:pt idx="1010">
                  <c:v>74.179305048953736</c:v>
                </c:pt>
                <c:pt idx="1011">
                  <c:v>73.609487076563283</c:v>
                </c:pt>
                <c:pt idx="1012">
                  <c:v>74.339866315293449</c:v>
                </c:pt>
                <c:pt idx="1013">
                  <c:v>75.588579207315988</c:v>
                </c:pt>
                <c:pt idx="1014">
                  <c:v>74.827658423358145</c:v>
                </c:pt>
                <c:pt idx="1015">
                  <c:v>74.622593762543815</c:v>
                </c:pt>
                <c:pt idx="1016">
                  <c:v>76.235187350564559</c:v>
                </c:pt>
                <c:pt idx="1017">
                  <c:v>76.162760257596105</c:v>
                </c:pt>
                <c:pt idx="1018">
                  <c:v>76.573762194802683</c:v>
                </c:pt>
                <c:pt idx="1019">
                  <c:v>79.167175692420443</c:v>
                </c:pt>
                <c:pt idx="1020">
                  <c:v>78.866995933611392</c:v>
                </c:pt>
                <c:pt idx="1021">
                  <c:v>80.239620237700478</c:v>
                </c:pt>
                <c:pt idx="1022">
                  <c:v>79.18026492608945</c:v>
                </c:pt>
                <c:pt idx="1023">
                  <c:v>81.086057348295768</c:v>
                </c:pt>
                <c:pt idx="1024">
                  <c:v>79.341698808007109</c:v>
                </c:pt>
                <c:pt idx="1025">
                  <c:v>79.264036021571044</c:v>
                </c:pt>
                <c:pt idx="1026">
                  <c:v>77.132236164679995</c:v>
                </c:pt>
                <c:pt idx="1027">
                  <c:v>77.930679418488978</c:v>
                </c:pt>
                <c:pt idx="1028">
                  <c:v>77.041484144574952</c:v>
                </c:pt>
                <c:pt idx="1029">
                  <c:v>79.382711740169981</c:v>
                </c:pt>
                <c:pt idx="1030">
                  <c:v>79.244838478856508</c:v>
                </c:pt>
                <c:pt idx="1031">
                  <c:v>78.838199619539594</c:v>
                </c:pt>
                <c:pt idx="1032">
                  <c:v>77.517059634548588</c:v>
                </c:pt>
                <c:pt idx="1033">
                  <c:v>77.401001762683464</c:v>
                </c:pt>
                <c:pt idx="1034">
                  <c:v>79.436813906001859</c:v>
                </c:pt>
                <c:pt idx="1035">
                  <c:v>77.92980680291106</c:v>
                </c:pt>
                <c:pt idx="1036">
                  <c:v>79.131398453725225</c:v>
                </c:pt>
                <c:pt idx="1037">
                  <c:v>80.205588230161112</c:v>
                </c:pt>
                <c:pt idx="1038">
                  <c:v>82.276304996596835</c:v>
                </c:pt>
                <c:pt idx="1039">
                  <c:v>82.43948410967036</c:v>
                </c:pt>
                <c:pt idx="1040">
                  <c:v>81.306829089512931</c:v>
                </c:pt>
                <c:pt idx="1041">
                  <c:v>82.24052775790156</c:v>
                </c:pt>
                <c:pt idx="1042">
                  <c:v>82.033717865931379</c:v>
                </c:pt>
                <c:pt idx="1043">
                  <c:v>81.950819386027717</c:v>
                </c:pt>
                <c:pt idx="1044">
                  <c:v>82.237909911167762</c:v>
                </c:pt>
                <c:pt idx="1045">
                  <c:v>81.95169200160565</c:v>
                </c:pt>
                <c:pt idx="1046">
                  <c:v>82.452573343339338</c:v>
                </c:pt>
                <c:pt idx="1047">
                  <c:v>82.567758599626544</c:v>
                </c:pt>
                <c:pt idx="1048">
                  <c:v>80.605246164854535</c:v>
                </c:pt>
                <c:pt idx="1049">
                  <c:v>79.579922860782901</c:v>
                </c:pt>
                <c:pt idx="1050">
                  <c:v>79.469973297963307</c:v>
                </c:pt>
                <c:pt idx="1051">
                  <c:v>80.138396830660213</c:v>
                </c:pt>
                <c:pt idx="1052">
                  <c:v>80.387964885949145</c:v>
                </c:pt>
                <c:pt idx="1053">
                  <c:v>77.92806157175518</c:v>
                </c:pt>
                <c:pt idx="1054">
                  <c:v>78.107820380809443</c:v>
                </c:pt>
                <c:pt idx="1055">
                  <c:v>78.617427878322474</c:v>
                </c:pt>
                <c:pt idx="1056">
                  <c:v>80.303321174889604</c:v>
                </c:pt>
                <c:pt idx="1057">
                  <c:v>80.184645456290667</c:v>
                </c:pt>
                <c:pt idx="1058">
                  <c:v>80.911534232709101</c:v>
                </c:pt>
                <c:pt idx="1059">
                  <c:v>80.221295310563875</c:v>
                </c:pt>
                <c:pt idx="1060">
                  <c:v>80.571214157315126</c:v>
                </c:pt>
                <c:pt idx="1061">
                  <c:v>78.223005637096605</c:v>
                </c:pt>
                <c:pt idx="1062">
                  <c:v>78.423707220021257</c:v>
                </c:pt>
                <c:pt idx="1063">
                  <c:v>76.880050262657264</c:v>
                </c:pt>
                <c:pt idx="1064">
                  <c:v>76.751775772701066</c:v>
                </c:pt>
                <c:pt idx="1065">
                  <c:v>77.024031833016252</c:v>
                </c:pt>
                <c:pt idx="1066">
                  <c:v>76.714253302849926</c:v>
                </c:pt>
                <c:pt idx="1067">
                  <c:v>78.627026649679706</c:v>
                </c:pt>
                <c:pt idx="1068">
                  <c:v>79.045009511509747</c:v>
                </c:pt>
                <c:pt idx="1069">
                  <c:v>81.387109722682709</c:v>
                </c:pt>
                <c:pt idx="1070">
                  <c:v>82.090437878496957</c:v>
                </c:pt>
                <c:pt idx="1071">
                  <c:v>82.05902371769136</c:v>
                </c:pt>
                <c:pt idx="1072">
                  <c:v>82.997085463969668</c:v>
                </c:pt>
                <c:pt idx="1073">
                  <c:v>83.298137838356652</c:v>
                </c:pt>
                <c:pt idx="1074">
                  <c:v>83.253634443882063</c:v>
                </c:pt>
                <c:pt idx="1075">
                  <c:v>85.192586258049843</c:v>
                </c:pt>
                <c:pt idx="1076">
                  <c:v>85.451753084696037</c:v>
                </c:pt>
                <c:pt idx="1077">
                  <c:v>85.706556833452552</c:v>
                </c:pt>
                <c:pt idx="1078">
                  <c:v>85.483167245501619</c:v>
                </c:pt>
                <c:pt idx="1079">
                  <c:v>85.093108082165429</c:v>
                </c:pt>
                <c:pt idx="1080">
                  <c:v>86.105342152568056</c:v>
                </c:pt>
                <c:pt idx="1081">
                  <c:v>86.169043089757196</c:v>
                </c:pt>
                <c:pt idx="1082">
                  <c:v>87.491055690326149</c:v>
                </c:pt>
                <c:pt idx="1083">
                  <c:v>87.754585594861993</c:v>
                </c:pt>
                <c:pt idx="1084">
                  <c:v>87.498909230527531</c:v>
                </c:pt>
                <c:pt idx="1085">
                  <c:v>87.006754044573157</c:v>
                </c:pt>
                <c:pt idx="1086">
                  <c:v>88.176058919003779</c:v>
                </c:pt>
                <c:pt idx="1087">
                  <c:v>87.881114853662325</c:v>
                </c:pt>
                <c:pt idx="1088">
                  <c:v>86.768529991797379</c:v>
                </c:pt>
                <c:pt idx="1089">
                  <c:v>87.768547444108933</c:v>
                </c:pt>
                <c:pt idx="1090">
                  <c:v>88.372397424038766</c:v>
                </c:pt>
                <c:pt idx="1091">
                  <c:v>87.6184575647044</c:v>
                </c:pt>
                <c:pt idx="1092">
                  <c:v>85.492766016858894</c:v>
                </c:pt>
                <c:pt idx="1093">
                  <c:v>86.3601459013246</c:v>
                </c:pt>
                <c:pt idx="1094">
                  <c:v>86.952651878741307</c:v>
                </c:pt>
                <c:pt idx="1095">
                  <c:v>87.904675474266526</c:v>
                </c:pt>
                <c:pt idx="1096">
                  <c:v>89.541702298469403</c:v>
                </c:pt>
                <c:pt idx="1097">
                  <c:v>89.492835826105122</c:v>
                </c:pt>
                <c:pt idx="1098">
                  <c:v>89.704881411542914</c:v>
                </c:pt>
                <c:pt idx="1099">
                  <c:v>89.715352798478094</c:v>
                </c:pt>
                <c:pt idx="1100">
                  <c:v>89.964920853767026</c:v>
                </c:pt>
                <c:pt idx="1101">
                  <c:v>89.78603466029071</c:v>
                </c:pt>
                <c:pt idx="1102">
                  <c:v>89.060891115028127</c:v>
                </c:pt>
                <c:pt idx="1103">
                  <c:v>87.090525140054737</c:v>
                </c:pt>
                <c:pt idx="1104">
                  <c:v>86.803434614914678</c:v>
                </c:pt>
                <c:pt idx="1105">
                  <c:v>87.544285240580052</c:v>
                </c:pt>
                <c:pt idx="1106">
                  <c:v>88.692647341140272</c:v>
                </c:pt>
                <c:pt idx="1107">
                  <c:v>89.477128745702316</c:v>
                </c:pt>
                <c:pt idx="1108">
                  <c:v>90.173475976893073</c:v>
                </c:pt>
                <c:pt idx="1109">
                  <c:v>91.113282954327246</c:v>
                </c:pt>
                <c:pt idx="1110">
                  <c:v>90.990244157838646</c:v>
                </c:pt>
                <c:pt idx="1111">
                  <c:v>91.567043054852533</c:v>
                </c:pt>
                <c:pt idx="1112">
                  <c:v>91.854133579992606</c:v>
                </c:pt>
                <c:pt idx="1113">
                  <c:v>93.261662507199006</c:v>
                </c:pt>
                <c:pt idx="1114">
                  <c:v>92.976317213214813</c:v>
                </c:pt>
                <c:pt idx="1115">
                  <c:v>93.221522190614067</c:v>
                </c:pt>
                <c:pt idx="1116">
                  <c:v>92.903890120246345</c:v>
                </c:pt>
                <c:pt idx="1117">
                  <c:v>93.514721024799655</c:v>
                </c:pt>
                <c:pt idx="1118">
                  <c:v>92.573168816209616</c:v>
                </c:pt>
                <c:pt idx="1119">
                  <c:v>91.692699698074946</c:v>
                </c:pt>
                <c:pt idx="1120">
                  <c:v>91.134225728197649</c:v>
                </c:pt>
                <c:pt idx="1121">
                  <c:v>92.757290703153572</c:v>
                </c:pt>
                <c:pt idx="1122">
                  <c:v>92.550480811183377</c:v>
                </c:pt>
                <c:pt idx="1123">
                  <c:v>92.24244751217293</c:v>
                </c:pt>
                <c:pt idx="1124">
                  <c:v>89.866315293460573</c:v>
                </c:pt>
                <c:pt idx="1125">
                  <c:v>89.461421665299525</c:v>
                </c:pt>
                <c:pt idx="1126">
                  <c:v>90.792160421647807</c:v>
                </c:pt>
                <c:pt idx="1127">
                  <c:v>92.036510235780682</c:v>
                </c:pt>
                <c:pt idx="1128">
                  <c:v>92.2860782910696</c:v>
                </c:pt>
                <c:pt idx="1129">
                  <c:v>92.975444597636908</c:v>
                </c:pt>
                <c:pt idx="1130">
                  <c:v>93.499886559974811</c:v>
                </c:pt>
                <c:pt idx="1131">
                  <c:v>93.910015881603485</c:v>
                </c:pt>
                <c:pt idx="1132">
                  <c:v>93.648231208223478</c:v>
                </c:pt>
                <c:pt idx="1133">
                  <c:v>95.291366341471857</c:v>
                </c:pt>
                <c:pt idx="1134">
                  <c:v>95.687533813853562</c:v>
                </c:pt>
                <c:pt idx="1135">
                  <c:v>94.912651180648808</c:v>
                </c:pt>
                <c:pt idx="1136">
                  <c:v>95.80533691687458</c:v>
                </c:pt>
                <c:pt idx="1137">
                  <c:v>95.207595245990248</c:v>
                </c:pt>
                <c:pt idx="1138">
                  <c:v>94.364648597706704</c:v>
                </c:pt>
                <c:pt idx="1139">
                  <c:v>95.369029127907936</c:v>
                </c:pt>
                <c:pt idx="1140">
                  <c:v>94.207577793678695</c:v>
                </c:pt>
                <c:pt idx="1141">
                  <c:v>93.103719087593092</c:v>
                </c:pt>
                <c:pt idx="1142">
                  <c:v>92.794813173004698</c:v>
                </c:pt>
                <c:pt idx="1143">
                  <c:v>90.981518002059317</c:v>
                </c:pt>
                <c:pt idx="1144">
                  <c:v>93.030419379046677</c:v>
                </c:pt>
                <c:pt idx="1145">
                  <c:v>90.419553569870274</c:v>
                </c:pt>
                <c:pt idx="1146">
                  <c:v>91.003333391507653</c:v>
                </c:pt>
                <c:pt idx="1147">
                  <c:v>91.224105132724773</c:v>
                </c:pt>
                <c:pt idx="1148">
                  <c:v>91.319220230719495</c:v>
                </c:pt>
                <c:pt idx="1149">
                  <c:v>93.075795389099227</c:v>
                </c:pt>
                <c:pt idx="1150">
                  <c:v>93.308783748407421</c:v>
                </c:pt>
                <c:pt idx="1151">
                  <c:v>95.38386359273278</c:v>
                </c:pt>
                <c:pt idx="1152">
                  <c:v>95.37775528368725</c:v>
                </c:pt>
                <c:pt idx="1153">
                  <c:v>95.857693851550565</c:v>
                </c:pt>
                <c:pt idx="1154">
                  <c:v>94.874256095219749</c:v>
                </c:pt>
                <c:pt idx="1155">
                  <c:v>95.418768215850136</c:v>
                </c:pt>
                <c:pt idx="1156">
                  <c:v>96.799246060140604</c:v>
                </c:pt>
                <c:pt idx="1157">
                  <c:v>96.888252849089795</c:v>
                </c:pt>
                <c:pt idx="1158">
                  <c:v>96.84287683903726</c:v>
                </c:pt>
                <c:pt idx="1159">
                  <c:v>95.542679627916655</c:v>
                </c:pt>
                <c:pt idx="1160">
                  <c:v>95.235518944484127</c:v>
                </c:pt>
                <c:pt idx="1161">
                  <c:v>96.532225693293</c:v>
                </c:pt>
                <c:pt idx="1162">
                  <c:v>96.480741374194949</c:v>
                </c:pt>
                <c:pt idx="1163">
                  <c:v>96.915303932005742</c:v>
                </c:pt>
                <c:pt idx="1164">
                  <c:v>95.245117715841403</c:v>
                </c:pt>
                <c:pt idx="1165">
                  <c:v>95.606380565105809</c:v>
                </c:pt>
                <c:pt idx="1166">
                  <c:v>96.760850974711545</c:v>
                </c:pt>
                <c:pt idx="1167">
                  <c:v>96.794010366673007</c:v>
                </c:pt>
                <c:pt idx="1168">
                  <c:v>95.980732648039179</c:v>
                </c:pt>
                <c:pt idx="1169">
                  <c:v>96.509537688266747</c:v>
                </c:pt>
                <c:pt idx="1170">
                  <c:v>96.271313635490955</c:v>
                </c:pt>
                <c:pt idx="1171">
                  <c:v>95.284385416848409</c:v>
                </c:pt>
                <c:pt idx="1172">
                  <c:v>95.63430426359966</c:v>
                </c:pt>
                <c:pt idx="1173">
                  <c:v>96.192778233476957</c:v>
                </c:pt>
                <c:pt idx="1174">
                  <c:v>96.547060158117901</c:v>
                </c:pt>
                <c:pt idx="1175">
                  <c:v>97.21897415312651</c:v>
                </c:pt>
                <c:pt idx="1176">
                  <c:v>96.679697725963749</c:v>
                </c:pt>
                <c:pt idx="1177">
                  <c:v>96.788774673205396</c:v>
                </c:pt>
                <c:pt idx="1178">
                  <c:v>95.645648266112758</c:v>
                </c:pt>
                <c:pt idx="1179">
                  <c:v>96.203249620412137</c:v>
                </c:pt>
                <c:pt idx="1180">
                  <c:v>97.213738459658884</c:v>
                </c:pt>
                <c:pt idx="1181">
                  <c:v>97.56016684409839</c:v>
                </c:pt>
                <c:pt idx="1182">
                  <c:v>97.784429047627242</c:v>
                </c:pt>
                <c:pt idx="1183">
                  <c:v>98.298399623029965</c:v>
                </c:pt>
                <c:pt idx="1184">
                  <c:v>98.41183964816129</c:v>
                </c:pt>
                <c:pt idx="1185">
                  <c:v>98.273966386847846</c:v>
                </c:pt>
                <c:pt idx="1186">
                  <c:v>98.293163929562382</c:v>
                </c:pt>
                <c:pt idx="1187">
                  <c:v>97.305363095341875</c:v>
                </c:pt>
                <c:pt idx="1188">
                  <c:v>98.866472364264567</c:v>
                </c:pt>
                <c:pt idx="1189">
                  <c:v>99.174505663275013</c:v>
                </c:pt>
                <c:pt idx="1190">
                  <c:v>99.228607829106878</c:v>
                </c:pt>
                <c:pt idx="1191">
                  <c:v>99.62564791706653</c:v>
                </c:pt>
                <c:pt idx="1192">
                  <c:v>99.912738442206575</c:v>
                </c:pt>
                <c:pt idx="1193">
                  <c:v>100.08726155779324</c:v>
                </c:pt>
                <c:pt idx="1194">
                  <c:v>99.148327195937014</c:v>
                </c:pt>
                <c:pt idx="1195">
                  <c:v>99.973821532661901</c:v>
                </c:pt>
                <c:pt idx="1196">
                  <c:v>100.21640866332737</c:v>
                </c:pt>
                <c:pt idx="1197">
                  <c:v>99.131747499956276</c:v>
                </c:pt>
                <c:pt idx="1198">
                  <c:v>100.37086162062155</c:v>
                </c:pt>
                <c:pt idx="1199">
                  <c:v>99.307143231120861</c:v>
                </c:pt>
                <c:pt idx="1200">
                  <c:v>97.425784045096677</c:v>
                </c:pt>
                <c:pt idx="1201">
                  <c:v>95.268678336445547</c:v>
                </c:pt>
                <c:pt idx="1202">
                  <c:v>95.706731356568056</c:v>
                </c:pt>
                <c:pt idx="1203">
                  <c:v>95.304455575140807</c:v>
                </c:pt>
                <c:pt idx="1204">
                  <c:v>95.769559678179235</c:v>
                </c:pt>
                <c:pt idx="1205">
                  <c:v>94.637777273599752</c:v>
                </c:pt>
                <c:pt idx="1206">
                  <c:v>93.707569067522854</c:v>
                </c:pt>
                <c:pt idx="1207">
                  <c:v>95.044416132916666</c:v>
                </c:pt>
                <c:pt idx="1208">
                  <c:v>96.277421944536385</c:v>
                </c:pt>
                <c:pt idx="1209">
                  <c:v>95.750362135464684</c:v>
                </c:pt>
                <c:pt idx="1210">
                  <c:v>92.768634705666614</c:v>
                </c:pt>
                <c:pt idx="1211">
                  <c:v>93.037400303670069</c:v>
                </c:pt>
                <c:pt idx="1212">
                  <c:v>92.2127785825231</c:v>
                </c:pt>
                <c:pt idx="1213">
                  <c:v>93.415242848915199</c:v>
                </c:pt>
                <c:pt idx="1214">
                  <c:v>93.206687725789152</c:v>
                </c:pt>
                <c:pt idx="1215">
                  <c:v>94.108972233372171</c:v>
                </c:pt>
                <c:pt idx="1216">
                  <c:v>93.85067802230391</c:v>
                </c:pt>
                <c:pt idx="1217">
                  <c:v>95.540061781182757</c:v>
                </c:pt>
                <c:pt idx="1218">
                  <c:v>95.944955409343805</c:v>
                </c:pt>
                <c:pt idx="1219">
                  <c:v>96.576729087767504</c:v>
                </c:pt>
                <c:pt idx="1220">
                  <c:v>96.787902057627377</c:v>
                </c:pt>
                <c:pt idx="1221">
                  <c:v>96.686678650587126</c:v>
                </c:pt>
                <c:pt idx="1222">
                  <c:v>95.516501160578571</c:v>
                </c:pt>
                <c:pt idx="1223">
                  <c:v>96.444964135499617</c:v>
                </c:pt>
                <c:pt idx="1224">
                  <c:v>96.244262552574952</c:v>
                </c:pt>
                <c:pt idx="1225">
                  <c:v>96.379517967154626</c:v>
                </c:pt>
                <c:pt idx="1226">
                  <c:v>97.358592645595778</c:v>
                </c:pt>
                <c:pt idx="1227">
                  <c:v>97.585472695858428</c:v>
                </c:pt>
                <c:pt idx="1228">
                  <c:v>97.627358243599218</c:v>
                </c:pt>
                <c:pt idx="1229">
                  <c:v>97.992111555175342</c:v>
                </c:pt>
                <c:pt idx="1230">
                  <c:v>99.364735859264428</c:v>
                </c:pt>
                <c:pt idx="1231">
                  <c:v>99.347283547705757</c:v>
                </c:pt>
                <c:pt idx="1232">
                  <c:v>99.517443585402759</c:v>
                </c:pt>
                <c:pt idx="1233">
                  <c:v>99.967713223616315</c:v>
                </c:pt>
                <c:pt idx="1234">
                  <c:v>100.37173423619943</c:v>
                </c:pt>
                <c:pt idx="1235">
                  <c:v>100.34991884675111</c:v>
                </c:pt>
                <c:pt idx="1236">
                  <c:v>100.39529485680364</c:v>
                </c:pt>
                <c:pt idx="1237">
                  <c:v>101.17628579905394</c:v>
                </c:pt>
                <c:pt idx="1238">
                  <c:v>101.76530131415892</c:v>
                </c:pt>
                <c:pt idx="1239">
                  <c:v>101.73214192219744</c:v>
                </c:pt>
                <c:pt idx="1240">
                  <c:v>101.214680884483</c:v>
                </c:pt>
                <c:pt idx="1241">
                  <c:v>101.73039669104156</c:v>
                </c:pt>
                <c:pt idx="1242">
                  <c:v>102.45990331419381</c:v>
                </c:pt>
                <c:pt idx="1243">
                  <c:v>101.89706626642683</c:v>
                </c:pt>
                <c:pt idx="1244">
                  <c:v>101.72341576641811</c:v>
                </c:pt>
                <c:pt idx="1245">
                  <c:v>101.79846070612037</c:v>
                </c:pt>
                <c:pt idx="1246">
                  <c:v>102.37700483429016</c:v>
                </c:pt>
                <c:pt idx="1247">
                  <c:v>102.38136791217981</c:v>
                </c:pt>
                <c:pt idx="1248">
                  <c:v>102.04628353025343</c:v>
                </c:pt>
                <c:pt idx="1249">
                  <c:v>102.80284123632158</c:v>
                </c:pt>
                <c:pt idx="1250">
                  <c:v>103.61786418611129</c:v>
                </c:pt>
                <c:pt idx="1251">
                  <c:v>103.79238730169796</c:v>
                </c:pt>
                <c:pt idx="1252">
                  <c:v>103.18242901272258</c:v>
                </c:pt>
                <c:pt idx="1253">
                  <c:v>103.53060262831796</c:v>
                </c:pt>
                <c:pt idx="1254">
                  <c:v>104.22258678161906</c:v>
                </c:pt>
                <c:pt idx="1255">
                  <c:v>104.40670866856298</c:v>
                </c:pt>
                <c:pt idx="1256">
                  <c:v>104.47826314595349</c:v>
                </c:pt>
                <c:pt idx="1257">
                  <c:v>105.64320494249444</c:v>
                </c:pt>
                <c:pt idx="1258">
                  <c:v>105.73221173144363</c:v>
                </c:pt>
                <c:pt idx="1259">
                  <c:v>104.02712089216197</c:v>
                </c:pt>
                <c:pt idx="1260">
                  <c:v>104.497460688668</c:v>
                </c:pt>
                <c:pt idx="1261">
                  <c:v>105.33953472137364</c:v>
                </c:pt>
                <c:pt idx="1262">
                  <c:v>105.23220300528784</c:v>
                </c:pt>
                <c:pt idx="1263">
                  <c:v>105.47042705806363</c:v>
                </c:pt>
                <c:pt idx="1264">
                  <c:v>106.22174907066419</c:v>
                </c:pt>
                <c:pt idx="1265">
                  <c:v>105.76537112340507</c:v>
                </c:pt>
                <c:pt idx="1266">
                  <c:v>103.29237857554212</c:v>
                </c:pt>
                <c:pt idx="1267">
                  <c:v>103.95992949266108</c:v>
                </c:pt>
                <c:pt idx="1268">
                  <c:v>105.30550271383422</c:v>
                </c:pt>
                <c:pt idx="1269">
                  <c:v>103.55241801776624</c:v>
                </c:pt>
                <c:pt idx="1270">
                  <c:v>104.91108047260838</c:v>
                </c:pt>
                <c:pt idx="1271">
                  <c:v>102.41016422625154</c:v>
                </c:pt>
                <c:pt idx="1272">
                  <c:v>101.73825023124293</c:v>
                </c:pt>
                <c:pt idx="1273">
                  <c:v>98.44412642454472</c:v>
                </c:pt>
                <c:pt idx="1274">
                  <c:v>96.93711932145392</c:v>
                </c:pt>
                <c:pt idx="1275">
                  <c:v>101.19984641965806</c:v>
                </c:pt>
                <c:pt idx="1276">
                  <c:v>100.85603588195234</c:v>
                </c:pt>
                <c:pt idx="1277">
                  <c:v>102.2417494197104</c:v>
                </c:pt>
                <c:pt idx="1278">
                  <c:v>101.00001745231131</c:v>
                </c:pt>
                <c:pt idx="1279">
                  <c:v>99.101205954728457</c:v>
                </c:pt>
                <c:pt idx="1280">
                  <c:v>99.21115551754805</c:v>
                </c:pt>
                <c:pt idx="1281">
                  <c:v>97.802753974763704</c:v>
                </c:pt>
                <c:pt idx="1282">
                  <c:v>97.301000017452054</c:v>
                </c:pt>
                <c:pt idx="1283">
                  <c:v>93.508612715753955</c:v>
                </c:pt>
                <c:pt idx="1284">
                  <c:v>94.913523796226571</c:v>
                </c:pt>
                <c:pt idx="1285">
                  <c:v>93.688371524808218</c:v>
                </c:pt>
                <c:pt idx="1286">
                  <c:v>93.721530916769666</c:v>
                </c:pt>
                <c:pt idx="1287">
                  <c:v>93.190980645386233</c:v>
                </c:pt>
                <c:pt idx="1288">
                  <c:v>96.254733939510032</c:v>
                </c:pt>
                <c:pt idx="1289">
                  <c:v>95.063613675631089</c:v>
                </c:pt>
                <c:pt idx="1290">
                  <c:v>93.431822544895837</c:v>
                </c:pt>
                <c:pt idx="1291">
                  <c:v>95.846349849037267</c:v>
                </c:pt>
                <c:pt idx="1292">
                  <c:v>96.234663781217549</c:v>
                </c:pt>
                <c:pt idx="1293">
                  <c:v>92.923087662960711</c:v>
                </c:pt>
                <c:pt idx="1294">
                  <c:v>91.665648615158815</c:v>
                </c:pt>
                <c:pt idx="1295">
                  <c:v>92.671774376515899</c:v>
                </c:pt>
                <c:pt idx="1296">
                  <c:v>92.121153946839982</c:v>
                </c:pt>
                <c:pt idx="1297">
                  <c:v>94.839351472102166</c:v>
                </c:pt>
                <c:pt idx="1298">
                  <c:v>95.254716487198408</c:v>
                </c:pt>
                <c:pt idx="1299">
                  <c:v>95.082811218345569</c:v>
                </c:pt>
                <c:pt idx="1300">
                  <c:v>97.316707097854774</c:v>
                </c:pt>
                <c:pt idx="1301">
                  <c:v>97.26260493202291</c:v>
                </c:pt>
                <c:pt idx="1302">
                  <c:v>97.387388959667362</c:v>
                </c:pt>
                <c:pt idx="1303">
                  <c:v>97.51566344962356</c:v>
                </c:pt>
                <c:pt idx="1304">
                  <c:v>97.139566135534324</c:v>
                </c:pt>
                <c:pt idx="1305">
                  <c:v>95.578456866611646</c:v>
                </c:pt>
                <c:pt idx="1306">
                  <c:v>95.293111572627453</c:v>
                </c:pt>
                <c:pt idx="1307">
                  <c:v>93.691861987119864</c:v>
                </c:pt>
                <c:pt idx="1308">
                  <c:v>93.959754969545386</c:v>
                </c:pt>
                <c:pt idx="1309">
                  <c:v>93.768652157977996</c:v>
                </c:pt>
                <c:pt idx="1310">
                  <c:v>90.860224436726327</c:v>
                </c:pt>
                <c:pt idx="1311">
                  <c:v>89.94136023316257</c:v>
                </c:pt>
                <c:pt idx="1312">
                  <c:v>89.649906630132833</c:v>
                </c:pt>
                <c:pt idx="1313">
                  <c:v>89.231923768302792</c:v>
                </c:pt>
                <c:pt idx="1314">
                  <c:v>89.710117105010227</c:v>
                </c:pt>
                <c:pt idx="1315">
                  <c:v>92.520811881533362</c:v>
                </c:pt>
                <c:pt idx="1316">
                  <c:v>93.391682228310799</c:v>
                </c:pt>
                <c:pt idx="1317">
                  <c:v>94.064468838897355</c:v>
                </c:pt>
                <c:pt idx="1318">
                  <c:v>94.133405469554091</c:v>
                </c:pt>
                <c:pt idx="1319">
                  <c:v>95.58107471334543</c:v>
                </c:pt>
                <c:pt idx="1320">
                  <c:v>95.566240248520572</c:v>
                </c:pt>
                <c:pt idx="1321">
                  <c:v>95.680552889229844</c:v>
                </c:pt>
                <c:pt idx="1322">
                  <c:v>92.92308766296064</c:v>
                </c:pt>
                <c:pt idx="1323">
                  <c:v>93.478943786104139</c:v>
                </c:pt>
                <c:pt idx="1324">
                  <c:v>94.546152637916578</c:v>
                </c:pt>
                <c:pt idx="1325">
                  <c:v>93.334089600167218</c:v>
                </c:pt>
                <c:pt idx="1326">
                  <c:v>95.435347911830604</c:v>
                </c:pt>
                <c:pt idx="1327">
                  <c:v>96.219829316392634</c:v>
                </c:pt>
                <c:pt idx="1328">
                  <c:v>97.297509555140252</c:v>
                </c:pt>
                <c:pt idx="1329">
                  <c:v>97.195413532522039</c:v>
                </c:pt>
                <c:pt idx="1330">
                  <c:v>96.522626921935483</c:v>
                </c:pt>
                <c:pt idx="1331">
                  <c:v>96.121223756086152</c:v>
                </c:pt>
                <c:pt idx="1332">
                  <c:v>96.127332065131682</c:v>
                </c:pt>
                <c:pt idx="1333">
                  <c:v>98.244297457197845</c:v>
                </c:pt>
                <c:pt idx="1334">
                  <c:v>97.773085045113874</c:v>
                </c:pt>
                <c:pt idx="1335">
                  <c:v>98.364718406952647</c:v>
                </c:pt>
                <c:pt idx="1336">
                  <c:v>98.239934379308181</c:v>
                </c:pt>
                <c:pt idx="1337">
                  <c:v>97.876053683310005</c:v>
                </c:pt>
                <c:pt idx="1338">
                  <c:v>98.412712263738968</c:v>
                </c:pt>
                <c:pt idx="1339">
                  <c:v>97.825441979789858</c:v>
                </c:pt>
                <c:pt idx="1340">
                  <c:v>95.068849369098587</c:v>
                </c:pt>
                <c:pt idx="1341">
                  <c:v>94.557496640429662</c:v>
                </c:pt>
                <c:pt idx="1342">
                  <c:v>94.177036248450747</c:v>
                </c:pt>
                <c:pt idx="1343">
                  <c:v>94.188380250963888</c:v>
                </c:pt>
                <c:pt idx="1344">
                  <c:v>95.336742351524109</c:v>
                </c:pt>
                <c:pt idx="1345">
                  <c:v>95.478106075149327</c:v>
                </c:pt>
                <c:pt idx="1346">
                  <c:v>93.861149409238934</c:v>
                </c:pt>
                <c:pt idx="1347">
                  <c:v>93.517338871533212</c:v>
                </c:pt>
                <c:pt idx="1348">
                  <c:v>93.139496326288068</c:v>
                </c:pt>
                <c:pt idx="1349">
                  <c:v>91.787814796069412</c:v>
                </c:pt>
                <c:pt idx="1350">
                  <c:v>92.089739786034343</c:v>
                </c:pt>
                <c:pt idx="1351">
                  <c:v>91.38204855233046</c:v>
                </c:pt>
                <c:pt idx="1352">
                  <c:v>92.897781811200588</c:v>
                </c:pt>
                <c:pt idx="1353">
                  <c:v>91.530393200579127</c:v>
                </c:pt>
                <c:pt idx="1354">
                  <c:v>91.566170439274387</c:v>
                </c:pt>
                <c:pt idx="1355">
                  <c:v>94.267788268555876</c:v>
                </c:pt>
                <c:pt idx="1356">
                  <c:v>95.12382415050844</c:v>
                </c:pt>
                <c:pt idx="1357">
                  <c:v>96.381263198310322</c:v>
                </c:pt>
                <c:pt idx="1358">
                  <c:v>95.275659261068839</c:v>
                </c:pt>
                <c:pt idx="1359">
                  <c:v>95.889108012355948</c:v>
                </c:pt>
                <c:pt idx="1360">
                  <c:v>96.352466884238552</c:v>
                </c:pt>
                <c:pt idx="1361">
                  <c:v>96.82106144958874</c:v>
                </c:pt>
                <c:pt idx="1362">
                  <c:v>97.898741688336386</c:v>
                </c:pt>
                <c:pt idx="1363">
                  <c:v>97.828932442101703</c:v>
                </c:pt>
                <c:pt idx="1364">
                  <c:v>98.175360826541223</c:v>
                </c:pt>
                <c:pt idx="1365">
                  <c:v>98.139583587845976</c:v>
                </c:pt>
                <c:pt idx="1366">
                  <c:v>98.220736836593758</c:v>
                </c:pt>
                <c:pt idx="1367">
                  <c:v>99.71465470601558</c:v>
                </c:pt>
                <c:pt idx="1368">
                  <c:v>99.458978341681117</c:v>
                </c:pt>
                <c:pt idx="1369">
                  <c:v>98.979039773817803</c:v>
                </c:pt>
                <c:pt idx="1370">
                  <c:v>98.154418052670835</c:v>
                </c:pt>
                <c:pt idx="1371">
                  <c:v>100.23473359046383</c:v>
                </c:pt>
                <c:pt idx="1372">
                  <c:v>99.66666084922926</c:v>
                </c:pt>
                <c:pt idx="1373">
                  <c:v>100.15008987940428</c:v>
                </c:pt>
                <c:pt idx="1374">
                  <c:v>99.890923052758083</c:v>
                </c:pt>
                <c:pt idx="1375">
                  <c:v>99.582889753747622</c:v>
                </c:pt>
                <c:pt idx="1376">
                  <c:v>100.02268800502601</c:v>
                </c:pt>
                <c:pt idx="1377">
                  <c:v>99.219009057749446</c:v>
                </c:pt>
                <c:pt idx="1378">
                  <c:v>101.28885320860722</c:v>
                </c:pt>
                <c:pt idx="1379">
                  <c:v>101.22078919352843</c:v>
                </c:pt>
                <c:pt idx="1380">
                  <c:v>101.05411961814318</c:v>
                </c:pt>
                <c:pt idx="1381">
                  <c:v>101.67280406289791</c:v>
                </c:pt>
                <c:pt idx="1382">
                  <c:v>101.68763852772277</c:v>
                </c:pt>
                <c:pt idx="1383">
                  <c:v>102.07595245990309</c:v>
                </c:pt>
                <c:pt idx="1384">
                  <c:v>102.80284123632153</c:v>
                </c:pt>
                <c:pt idx="1385">
                  <c:v>102.42848915338814</c:v>
                </c:pt>
                <c:pt idx="1386">
                  <c:v>102.63617166093627</c:v>
                </c:pt>
                <c:pt idx="1387">
                  <c:v>103.37964013333544</c:v>
                </c:pt>
                <c:pt idx="1388">
                  <c:v>101.73825023124292</c:v>
                </c:pt>
                <c:pt idx="1389">
                  <c:v>102.80894954536708</c:v>
                </c:pt>
                <c:pt idx="1390">
                  <c:v>102.99132620115513</c:v>
                </c:pt>
                <c:pt idx="1391">
                  <c:v>103.23740379413232</c:v>
                </c:pt>
                <c:pt idx="1392">
                  <c:v>103.45904815092736</c:v>
                </c:pt>
                <c:pt idx="1393">
                  <c:v>103.46079338208324</c:v>
                </c:pt>
                <c:pt idx="1394">
                  <c:v>103.18242901272251</c:v>
                </c:pt>
                <c:pt idx="1395">
                  <c:v>103.29848688458762</c:v>
                </c:pt>
                <c:pt idx="1396">
                  <c:v>103.2531108745351</c:v>
                </c:pt>
                <c:pt idx="1397">
                  <c:v>103.35084381926364</c:v>
                </c:pt>
                <c:pt idx="1398">
                  <c:v>104.15277753538432</c:v>
                </c:pt>
                <c:pt idx="1399">
                  <c:v>104.53585577409703</c:v>
                </c:pt>
                <c:pt idx="1400">
                  <c:v>106.55159775912293</c:v>
                </c:pt>
                <c:pt idx="1401">
                  <c:v>106.96958062095298</c:v>
                </c:pt>
                <c:pt idx="1402">
                  <c:v>106.74270057069033</c:v>
                </c:pt>
                <c:pt idx="1403">
                  <c:v>105.88317422642605</c:v>
                </c:pt>
                <c:pt idx="1404">
                  <c:v>106.34653309830863</c:v>
                </c:pt>
                <c:pt idx="1405">
                  <c:v>105.8953908445171</c:v>
                </c:pt>
                <c:pt idx="1406">
                  <c:v>104.64493272133869</c:v>
                </c:pt>
                <c:pt idx="1407">
                  <c:v>104.51753084696043</c:v>
                </c:pt>
                <c:pt idx="1408">
                  <c:v>102.8237840101919</c:v>
                </c:pt>
                <c:pt idx="1409">
                  <c:v>102.84559939964024</c:v>
                </c:pt>
                <c:pt idx="1410">
                  <c:v>104.4250335956995</c:v>
                </c:pt>
                <c:pt idx="1411">
                  <c:v>104.69030873139121</c:v>
                </c:pt>
                <c:pt idx="1412">
                  <c:v>104.52538438716181</c:v>
                </c:pt>
                <c:pt idx="1413">
                  <c:v>103.03233913331795</c:v>
                </c:pt>
                <c:pt idx="1414">
                  <c:v>104.56988778163641</c:v>
                </c:pt>
                <c:pt idx="1415">
                  <c:v>103.78889683938614</c:v>
                </c:pt>
                <c:pt idx="1416">
                  <c:v>103.64578788460508</c:v>
                </c:pt>
                <c:pt idx="1417">
                  <c:v>103.01663205291517</c:v>
                </c:pt>
                <c:pt idx="1418">
                  <c:v>105.24354700780093</c:v>
                </c:pt>
                <c:pt idx="1419">
                  <c:v>106.59261069128581</c:v>
                </c:pt>
                <c:pt idx="1420">
                  <c:v>106.8701024450686</c:v>
                </c:pt>
                <c:pt idx="1421">
                  <c:v>106.73135656817719</c:v>
                </c:pt>
                <c:pt idx="1422">
                  <c:v>106.78633134958702</c:v>
                </c:pt>
                <c:pt idx="1423">
                  <c:v>107.1816262063908</c:v>
                </c:pt>
                <c:pt idx="1424">
                  <c:v>107.59350075917533</c:v>
                </c:pt>
                <c:pt idx="1425">
                  <c:v>108.23923628684598</c:v>
                </c:pt>
                <c:pt idx="1426">
                  <c:v>108.24447198031359</c:v>
                </c:pt>
                <c:pt idx="1427">
                  <c:v>108.34307754062004</c:v>
                </c:pt>
                <c:pt idx="1428">
                  <c:v>107.78809403305448</c:v>
                </c:pt>
                <c:pt idx="1429">
                  <c:v>108.4547723345955</c:v>
                </c:pt>
                <c:pt idx="1430">
                  <c:v>108.54552435470058</c:v>
                </c:pt>
                <c:pt idx="1431">
                  <c:v>108.82214349290544</c:v>
                </c:pt>
                <c:pt idx="1432">
                  <c:v>109.47835040751127</c:v>
                </c:pt>
                <c:pt idx="1433">
                  <c:v>109.84833941255498</c:v>
                </c:pt>
                <c:pt idx="1434">
                  <c:v>109.66770798792278</c:v>
                </c:pt>
                <c:pt idx="1435">
                  <c:v>109.73489938742364</c:v>
                </c:pt>
                <c:pt idx="1436">
                  <c:v>109.81954309848317</c:v>
                </c:pt>
                <c:pt idx="1437">
                  <c:v>109.93036527688071</c:v>
                </c:pt>
                <c:pt idx="1438">
                  <c:v>109.7645683170734</c:v>
                </c:pt>
                <c:pt idx="1439">
                  <c:v>109.74362554320298</c:v>
                </c:pt>
                <c:pt idx="1440">
                  <c:v>110.98535751060206</c:v>
                </c:pt>
                <c:pt idx="1441">
                  <c:v>110.8396307090872</c:v>
                </c:pt>
                <c:pt idx="1442">
                  <c:v>111.3946142166528</c:v>
                </c:pt>
                <c:pt idx="1443">
                  <c:v>111.15813539503289</c:v>
                </c:pt>
                <c:pt idx="1444">
                  <c:v>110.95307073421857</c:v>
                </c:pt>
                <c:pt idx="1445">
                  <c:v>110.80036300808025</c:v>
                </c:pt>
                <c:pt idx="1446">
                  <c:v>111.21311017644273</c:v>
                </c:pt>
                <c:pt idx="1447">
                  <c:v>112.21487285991016</c:v>
                </c:pt>
                <c:pt idx="1448">
                  <c:v>112.02289743276484</c:v>
                </c:pt>
                <c:pt idx="1449">
                  <c:v>112.8501370006456</c:v>
                </c:pt>
                <c:pt idx="1450">
                  <c:v>113.00546257351772</c:v>
                </c:pt>
                <c:pt idx="1451">
                  <c:v>111.86233616642511</c:v>
                </c:pt>
                <c:pt idx="1452">
                  <c:v>111.71748198048819</c:v>
                </c:pt>
                <c:pt idx="1453">
                  <c:v>111.98712019406956</c:v>
                </c:pt>
                <c:pt idx="1454">
                  <c:v>112.64070926194161</c:v>
                </c:pt>
                <c:pt idx="1455">
                  <c:v>112.67037819159135</c:v>
                </c:pt>
                <c:pt idx="1456">
                  <c:v>113.145953681565</c:v>
                </c:pt>
                <c:pt idx="1457">
                  <c:v>113.39988481474359</c:v>
                </c:pt>
                <c:pt idx="1458">
                  <c:v>111.37541667393833</c:v>
                </c:pt>
                <c:pt idx="1459">
                  <c:v>112.22883470915708</c:v>
                </c:pt>
                <c:pt idx="1460">
                  <c:v>114.10234035497986</c:v>
                </c:pt>
                <c:pt idx="1461">
                  <c:v>113.79168920923561</c:v>
                </c:pt>
                <c:pt idx="1462">
                  <c:v>114.05958219166112</c:v>
                </c:pt>
                <c:pt idx="1463">
                  <c:v>114.38855826454196</c:v>
                </c:pt>
                <c:pt idx="1464">
                  <c:v>115.1023578072914</c:v>
                </c:pt>
                <c:pt idx="1465">
                  <c:v>115.58404160631058</c:v>
                </c:pt>
                <c:pt idx="1466">
                  <c:v>115.26204645805321</c:v>
                </c:pt>
                <c:pt idx="1467">
                  <c:v>115.34843540026858</c:v>
                </c:pt>
                <c:pt idx="1468">
                  <c:v>115.98369954100403</c:v>
                </c:pt>
                <c:pt idx="1469">
                  <c:v>116.26031867920885</c:v>
                </c:pt>
                <c:pt idx="1470">
                  <c:v>115.88422136511959</c:v>
                </c:pt>
                <c:pt idx="1471">
                  <c:v>116.60936491038213</c:v>
                </c:pt>
                <c:pt idx="1472">
                  <c:v>116.96800991291273</c:v>
                </c:pt>
                <c:pt idx="1473">
                  <c:v>117.1931447320195</c:v>
                </c:pt>
                <c:pt idx="1474">
                  <c:v>114.78734358365742</c:v>
                </c:pt>
                <c:pt idx="1475">
                  <c:v>114.08576065899906</c:v>
                </c:pt>
                <c:pt idx="1476">
                  <c:v>113.97232063386771</c:v>
                </c:pt>
                <c:pt idx="1477">
                  <c:v>115.17478490025981</c:v>
                </c:pt>
                <c:pt idx="1478">
                  <c:v>115.81528473446282</c:v>
                </c:pt>
                <c:pt idx="1479">
                  <c:v>113.99239079216015</c:v>
                </c:pt>
                <c:pt idx="1480">
                  <c:v>114.17651267910409</c:v>
                </c:pt>
                <c:pt idx="1481">
                  <c:v>116.14251557618782</c:v>
                </c:pt>
                <c:pt idx="1482">
                  <c:v>115.28560707865732</c:v>
                </c:pt>
                <c:pt idx="1483">
                  <c:v>114.32398471177484</c:v>
                </c:pt>
                <c:pt idx="1484">
                  <c:v>115.34407232237884</c:v>
                </c:pt>
                <c:pt idx="1485">
                  <c:v>115.18700151835083</c:v>
                </c:pt>
                <c:pt idx="1486">
                  <c:v>113.01331611371897</c:v>
                </c:pt>
                <c:pt idx="1487">
                  <c:v>113.81350459868382</c:v>
                </c:pt>
                <c:pt idx="1488">
                  <c:v>113.12501090769446</c:v>
                </c:pt>
                <c:pt idx="1489">
                  <c:v>111.8579730885353</c:v>
                </c:pt>
                <c:pt idx="1490">
                  <c:v>109.67730675928001</c:v>
                </c:pt>
                <c:pt idx="1491">
                  <c:v>111.14679139251969</c:v>
                </c:pt>
                <c:pt idx="1492">
                  <c:v>111.62498472922714</c:v>
                </c:pt>
                <c:pt idx="1493">
                  <c:v>113.29866140770319</c:v>
                </c:pt>
                <c:pt idx="1494">
                  <c:v>112.89638562627593</c:v>
                </c:pt>
                <c:pt idx="1495">
                  <c:v>113.22536169915678</c:v>
                </c:pt>
                <c:pt idx="1496">
                  <c:v>114.28297177961194</c:v>
                </c:pt>
                <c:pt idx="1497">
                  <c:v>114.64423462887633</c:v>
                </c:pt>
                <c:pt idx="1498">
                  <c:v>114.32922040524241</c:v>
                </c:pt>
                <c:pt idx="1499">
                  <c:v>115.13638981483071</c:v>
                </c:pt>
                <c:pt idx="1500">
                  <c:v>115.90603675456786</c:v>
                </c:pt>
                <c:pt idx="1501">
                  <c:v>115.69399116913006</c:v>
                </c:pt>
                <c:pt idx="1502">
                  <c:v>116.26817221941019</c:v>
                </c:pt>
                <c:pt idx="1503">
                  <c:v>116.3083125359951</c:v>
                </c:pt>
                <c:pt idx="1504">
                  <c:v>116.28736976212473</c:v>
                </c:pt>
                <c:pt idx="1505">
                  <c:v>116.54130089530331</c:v>
                </c:pt>
                <c:pt idx="1506">
                  <c:v>116.36415993298286</c:v>
                </c:pt>
                <c:pt idx="1507">
                  <c:v>115.89818321436648</c:v>
                </c:pt>
                <c:pt idx="1508">
                  <c:v>115.57444283495322</c:v>
                </c:pt>
                <c:pt idx="1509">
                  <c:v>114.67564878968192</c:v>
                </c:pt>
                <c:pt idx="1510">
                  <c:v>114.69746417913025</c:v>
                </c:pt>
                <c:pt idx="1511">
                  <c:v>114.7070629504875</c:v>
                </c:pt>
                <c:pt idx="1512">
                  <c:v>115.1573325887011</c:v>
                </c:pt>
                <c:pt idx="1513">
                  <c:v>113.88854953838609</c:v>
                </c:pt>
                <c:pt idx="1514">
                  <c:v>114.54126599068016</c:v>
                </c:pt>
                <c:pt idx="1515">
                  <c:v>116.08928602593383</c:v>
                </c:pt>
                <c:pt idx="1516">
                  <c:v>116.70186216164304</c:v>
                </c:pt>
                <c:pt idx="1517">
                  <c:v>116.51599504354323</c:v>
                </c:pt>
                <c:pt idx="1518">
                  <c:v>117.56226112148526</c:v>
                </c:pt>
                <c:pt idx="1519">
                  <c:v>118.29700343810509</c:v>
                </c:pt>
                <c:pt idx="1520">
                  <c:v>118.71760414666893</c:v>
                </c:pt>
                <c:pt idx="1521">
                  <c:v>118.99073282256204</c:v>
                </c:pt>
                <c:pt idx="1522">
                  <c:v>118.78217769943599</c:v>
                </c:pt>
                <c:pt idx="1523">
                  <c:v>118.38077453358665</c:v>
                </c:pt>
                <c:pt idx="1524">
                  <c:v>117.56924204610868</c:v>
                </c:pt>
                <c:pt idx="1525">
                  <c:v>116.50290580987421</c:v>
                </c:pt>
                <c:pt idx="1526">
                  <c:v>116.94793975462022</c:v>
                </c:pt>
                <c:pt idx="1527">
                  <c:v>117.4793626415816</c:v>
                </c:pt>
                <c:pt idx="1528">
                  <c:v>118.42789577479512</c:v>
                </c:pt>
                <c:pt idx="1529">
                  <c:v>117.11199148327169</c:v>
                </c:pt>
                <c:pt idx="1530">
                  <c:v>117.68529991797391</c:v>
                </c:pt>
                <c:pt idx="1531">
                  <c:v>116.73589416918247</c:v>
                </c:pt>
                <c:pt idx="1532">
                  <c:v>116.01162323949784</c:v>
                </c:pt>
                <c:pt idx="1533">
                  <c:v>115.96886507617913</c:v>
                </c:pt>
                <c:pt idx="1534">
                  <c:v>116.98982530236108</c:v>
                </c:pt>
                <c:pt idx="1535">
                  <c:v>117.24462905111758</c:v>
                </c:pt>
                <c:pt idx="1536">
                  <c:v>116.34321715911248</c:v>
                </c:pt>
                <c:pt idx="1537">
                  <c:v>114.95575839019854</c:v>
                </c:pt>
                <c:pt idx="1538">
                  <c:v>114.8606432922038</c:v>
                </c:pt>
                <c:pt idx="1539">
                  <c:v>115.22626921935786</c:v>
                </c:pt>
                <c:pt idx="1540">
                  <c:v>115.68177455103904</c:v>
                </c:pt>
                <c:pt idx="1541">
                  <c:v>116.15385957870095</c:v>
                </c:pt>
                <c:pt idx="1542">
                  <c:v>117.38424754358691</c:v>
                </c:pt>
                <c:pt idx="1543">
                  <c:v>114.70968079722135</c:v>
                </c:pt>
                <c:pt idx="1544">
                  <c:v>114.5691896891741</c:v>
                </c:pt>
                <c:pt idx="1545">
                  <c:v>113.45398698057534</c:v>
                </c:pt>
                <c:pt idx="1546">
                  <c:v>112.23319778704666</c:v>
                </c:pt>
                <c:pt idx="1547">
                  <c:v>112.12586607096085</c:v>
                </c:pt>
                <c:pt idx="1548">
                  <c:v>111.65639889003272</c:v>
                </c:pt>
                <c:pt idx="1549">
                  <c:v>112.48014799560174</c:v>
                </c:pt>
                <c:pt idx="1550">
                  <c:v>110.90769472416595</c:v>
                </c:pt>
                <c:pt idx="1551">
                  <c:v>110.98186704829025</c:v>
                </c:pt>
                <c:pt idx="1552">
                  <c:v>112.38154243529527</c:v>
                </c:pt>
                <c:pt idx="1553">
                  <c:v>110.42252046283504</c:v>
                </c:pt>
                <c:pt idx="1554">
                  <c:v>110.61624112113623</c:v>
                </c:pt>
                <c:pt idx="1555">
                  <c:v>110.95307073421846</c:v>
                </c:pt>
                <c:pt idx="1556">
                  <c:v>111.55168502068069</c:v>
                </c:pt>
                <c:pt idx="1557">
                  <c:v>113.04909335241423</c:v>
                </c:pt>
                <c:pt idx="1558">
                  <c:v>112.31784149810615</c:v>
                </c:pt>
                <c:pt idx="1559">
                  <c:v>112.00020942773843</c:v>
                </c:pt>
                <c:pt idx="1560">
                  <c:v>110.68692298294883</c:v>
                </c:pt>
                <c:pt idx="1561">
                  <c:v>111.70352013124111</c:v>
                </c:pt>
                <c:pt idx="1562">
                  <c:v>113.14944414387661</c:v>
                </c:pt>
                <c:pt idx="1563">
                  <c:v>114.08663327457697</c:v>
                </c:pt>
                <c:pt idx="1564">
                  <c:v>115.2411036841827</c:v>
                </c:pt>
                <c:pt idx="1565">
                  <c:v>116.90169112898974</c:v>
                </c:pt>
                <c:pt idx="1566">
                  <c:v>116.74549294053969</c:v>
                </c:pt>
                <c:pt idx="1567">
                  <c:v>116.86242342798273</c:v>
                </c:pt>
                <c:pt idx="1568">
                  <c:v>118.08408523708934</c:v>
                </c:pt>
                <c:pt idx="1569">
                  <c:v>117.26208136267617</c:v>
                </c:pt>
                <c:pt idx="1570">
                  <c:v>115.14075289272034</c:v>
                </c:pt>
                <c:pt idx="1571">
                  <c:v>114.63027277962938</c:v>
                </c:pt>
                <c:pt idx="1572">
                  <c:v>114.98629993542615</c:v>
                </c:pt>
                <c:pt idx="1573">
                  <c:v>114.21403514895518</c:v>
                </c:pt>
                <c:pt idx="1574">
                  <c:v>114.84842667411272</c:v>
                </c:pt>
                <c:pt idx="1575">
                  <c:v>113.9147280057241</c:v>
                </c:pt>
                <c:pt idx="1576">
                  <c:v>115.77252657114408</c:v>
                </c:pt>
                <c:pt idx="1577">
                  <c:v>115.69486378470802</c:v>
                </c:pt>
                <c:pt idx="1578">
                  <c:v>117.26208136267621</c:v>
                </c:pt>
                <c:pt idx="1579">
                  <c:v>117.36854046318408</c:v>
                </c:pt>
                <c:pt idx="1580">
                  <c:v>116.70622523953271</c:v>
                </c:pt>
                <c:pt idx="1581">
                  <c:v>116.22715928724735</c:v>
                </c:pt>
                <c:pt idx="1582">
                  <c:v>113.86673414893779</c:v>
                </c:pt>
                <c:pt idx="1583">
                  <c:v>113.49849037504994</c:v>
                </c:pt>
                <c:pt idx="1584">
                  <c:v>112.76636590516389</c:v>
                </c:pt>
                <c:pt idx="1585">
                  <c:v>112.30038918654752</c:v>
                </c:pt>
                <c:pt idx="1586">
                  <c:v>109.43035655072489</c:v>
                </c:pt>
                <c:pt idx="1587">
                  <c:v>109.97923174924495</c:v>
                </c:pt>
                <c:pt idx="1588">
                  <c:v>104.71997766104097</c:v>
                </c:pt>
                <c:pt idx="1589">
                  <c:v>104.65976718616359</c:v>
                </c:pt>
                <c:pt idx="1590">
                  <c:v>97.68582348732069</c:v>
                </c:pt>
                <c:pt idx="1591">
                  <c:v>102.3167943594127</c:v>
                </c:pt>
                <c:pt idx="1592">
                  <c:v>97.799263512452029</c:v>
                </c:pt>
                <c:pt idx="1593">
                  <c:v>102.32639313076997</c:v>
                </c:pt>
                <c:pt idx="1594">
                  <c:v>102.8647969423548</c:v>
                </c:pt>
                <c:pt idx="1595">
                  <c:v>105.1056737464875</c:v>
                </c:pt>
                <c:pt idx="1596">
                  <c:v>104.08209567357174</c:v>
                </c:pt>
                <c:pt idx="1597">
                  <c:v>104.18070123387822</c:v>
                </c:pt>
                <c:pt idx="1598">
                  <c:v>99.534895896961359</c:v>
                </c:pt>
                <c:pt idx="1599">
                  <c:v>98.040978027539552</c:v>
                </c:pt>
                <c:pt idx="1600">
                  <c:v>98.066283879299604</c:v>
                </c:pt>
                <c:pt idx="1601">
                  <c:v>101.42847170107659</c:v>
                </c:pt>
                <c:pt idx="1602">
                  <c:v>102.75921045742486</c:v>
                </c:pt>
                <c:pt idx="1603">
                  <c:v>101.15970610307313</c:v>
                </c:pt>
                <c:pt idx="1604">
                  <c:v>102.6894012111902</c:v>
                </c:pt>
                <c:pt idx="1605">
                  <c:v>105.59346585455221</c:v>
                </c:pt>
                <c:pt idx="1606">
                  <c:v>105.84128867868529</c:v>
                </c:pt>
                <c:pt idx="1607">
                  <c:v>106.36224017871147</c:v>
                </c:pt>
                <c:pt idx="1608">
                  <c:v>105.09956543744201</c:v>
                </c:pt>
                <c:pt idx="1609">
                  <c:v>102.44245100263511</c:v>
                </c:pt>
                <c:pt idx="1610">
                  <c:v>101.68065760309933</c:v>
                </c:pt>
                <c:pt idx="1611">
                  <c:v>104.59344840224067</c:v>
                </c:pt>
                <c:pt idx="1612">
                  <c:v>103.48348138710953</c:v>
                </c:pt>
                <c:pt idx="1613">
                  <c:v>100.71990785179479</c:v>
                </c:pt>
                <c:pt idx="1614">
                  <c:v>101.42149077645317</c:v>
                </c:pt>
                <c:pt idx="1615">
                  <c:v>102.34646328906247</c:v>
                </c:pt>
                <c:pt idx="1616">
                  <c:v>103.72606851777503</c:v>
                </c:pt>
                <c:pt idx="1617">
                  <c:v>105.50882214349274</c:v>
                </c:pt>
                <c:pt idx="1618">
                  <c:v>106.1109268922667</c:v>
                </c:pt>
                <c:pt idx="1619">
                  <c:v>105.0707691233702</c:v>
                </c:pt>
                <c:pt idx="1620">
                  <c:v>104.89624600778353</c:v>
                </c:pt>
                <c:pt idx="1621">
                  <c:v>101.81329517094521</c:v>
                </c:pt>
                <c:pt idx="1622">
                  <c:v>98.567165221033349</c:v>
                </c:pt>
                <c:pt idx="1623">
                  <c:v>99.166652123073533</c:v>
                </c:pt>
                <c:pt idx="1624">
                  <c:v>101.48082863575263</c:v>
                </c:pt>
                <c:pt idx="1625">
                  <c:v>102.56548979912372</c:v>
                </c:pt>
                <c:pt idx="1626">
                  <c:v>100.44328871358994</c:v>
                </c:pt>
                <c:pt idx="1627">
                  <c:v>101.25831166337964</c:v>
                </c:pt>
                <c:pt idx="1628">
                  <c:v>98.729471718528956</c:v>
                </c:pt>
                <c:pt idx="1629">
                  <c:v>95.920522173161658</c:v>
                </c:pt>
                <c:pt idx="1630">
                  <c:v>98.077627881812759</c:v>
                </c:pt>
                <c:pt idx="1631">
                  <c:v>99.829839962302799</c:v>
                </c:pt>
                <c:pt idx="1632">
                  <c:v>101.65709698249512</c:v>
                </c:pt>
                <c:pt idx="1633">
                  <c:v>100.82723956788057</c:v>
                </c:pt>
                <c:pt idx="1634">
                  <c:v>104.26796279167158</c:v>
                </c:pt>
                <c:pt idx="1635">
                  <c:v>104.32468280423723</c:v>
                </c:pt>
                <c:pt idx="1636">
                  <c:v>105.34651564599713</c:v>
                </c:pt>
                <c:pt idx="1637">
                  <c:v>105.03324665351909</c:v>
                </c:pt>
                <c:pt idx="1638">
                  <c:v>106.85875844255551</c:v>
                </c:pt>
                <c:pt idx="1639">
                  <c:v>104.78891429169772</c:v>
                </c:pt>
                <c:pt idx="1640">
                  <c:v>106.92856768879018</c:v>
                </c:pt>
                <c:pt idx="1641">
                  <c:v>105.57601354299358</c:v>
                </c:pt>
                <c:pt idx="1642">
                  <c:v>106.05682472643481</c:v>
                </c:pt>
                <c:pt idx="1643">
                  <c:v>108.05162393759031</c:v>
                </c:pt>
                <c:pt idx="1644">
                  <c:v>109.442573168816</c:v>
                </c:pt>
                <c:pt idx="1645">
                  <c:v>107.24881760589169</c:v>
                </c:pt>
                <c:pt idx="1646">
                  <c:v>108.37885477931529</c:v>
                </c:pt>
                <c:pt idx="1647">
                  <c:v>112.09532452573319</c:v>
                </c:pt>
                <c:pt idx="1648">
                  <c:v>112.13895530462985</c:v>
                </c:pt>
                <c:pt idx="1649">
                  <c:v>109.3649103823799</c:v>
                </c:pt>
                <c:pt idx="1650">
                  <c:v>106.3090106284575</c:v>
                </c:pt>
                <c:pt idx="1651">
                  <c:v>108.02108239236264</c:v>
                </c:pt>
                <c:pt idx="1652">
                  <c:v>110.04991361105756</c:v>
                </c:pt>
                <c:pt idx="1653">
                  <c:v>109.35880207333437</c:v>
                </c:pt>
                <c:pt idx="1654">
                  <c:v>110.04729576432375</c:v>
                </c:pt>
                <c:pt idx="1655">
                  <c:v>111.33876681966504</c:v>
                </c:pt>
                <c:pt idx="1656">
                  <c:v>107.25318068378134</c:v>
                </c:pt>
                <c:pt idx="1657">
                  <c:v>108.17728058081272</c:v>
                </c:pt>
                <c:pt idx="1658">
                  <c:v>110.28551981709955</c:v>
                </c:pt>
                <c:pt idx="1659">
                  <c:v>109.23227281453407</c:v>
                </c:pt>
                <c:pt idx="1660">
                  <c:v>109.75846000802787</c:v>
                </c:pt>
                <c:pt idx="1661">
                  <c:v>107.93469345014729</c:v>
                </c:pt>
                <c:pt idx="1662">
                  <c:v>106.12139827920191</c:v>
                </c:pt>
                <c:pt idx="1663">
                  <c:v>106.07951273146111</c:v>
                </c:pt>
                <c:pt idx="1664">
                  <c:v>104.10129321628634</c:v>
                </c:pt>
                <c:pt idx="1665">
                  <c:v>103.67022112078729</c:v>
                </c:pt>
                <c:pt idx="1666">
                  <c:v>101.37960522871239</c:v>
                </c:pt>
                <c:pt idx="1667">
                  <c:v>101.10734916839722</c:v>
                </c:pt>
                <c:pt idx="1668">
                  <c:v>104.06377074643522</c:v>
                </c:pt>
                <c:pt idx="1669">
                  <c:v>104.29414125900963</c:v>
                </c:pt>
                <c:pt idx="1670">
                  <c:v>108.81167210597032</c:v>
                </c:pt>
                <c:pt idx="1671">
                  <c:v>108.60398959842219</c:v>
                </c:pt>
                <c:pt idx="1672">
                  <c:v>108.57781113108419</c:v>
                </c:pt>
                <c:pt idx="1673">
                  <c:v>109.69475907083878</c:v>
                </c:pt>
                <c:pt idx="1674">
                  <c:v>109.81605263617152</c:v>
                </c:pt>
                <c:pt idx="1675">
                  <c:v>110.03769699296657</c:v>
                </c:pt>
                <c:pt idx="1676">
                  <c:v>107.7113038621964</c:v>
                </c:pt>
                <c:pt idx="1677">
                  <c:v>109.52983472660942</c:v>
                </c:pt>
                <c:pt idx="1678">
                  <c:v>107.89629836471831</c:v>
                </c:pt>
                <c:pt idx="1679">
                  <c:v>106.95910923401794</c:v>
                </c:pt>
                <c:pt idx="1680">
                  <c:v>105.74530096511272</c:v>
                </c:pt>
                <c:pt idx="1681">
                  <c:v>106.08823888724051</c:v>
                </c:pt>
                <c:pt idx="1682">
                  <c:v>106.42943157821244</c:v>
                </c:pt>
                <c:pt idx="1683">
                  <c:v>105.18071868618988</c:v>
                </c:pt>
                <c:pt idx="1684">
                  <c:v>108.31777168886009</c:v>
                </c:pt>
                <c:pt idx="1685">
                  <c:v>108.52894465871994</c:v>
                </c:pt>
                <c:pt idx="1686">
                  <c:v>109.42599347283536</c:v>
                </c:pt>
                <c:pt idx="1687">
                  <c:v>110.41466692263377</c:v>
                </c:pt>
                <c:pt idx="1688">
                  <c:v>110.42339307841311</c:v>
                </c:pt>
                <c:pt idx="1689">
                  <c:v>109.04553308085644</c:v>
                </c:pt>
                <c:pt idx="1690">
                  <c:v>110.2130927241312</c:v>
                </c:pt>
                <c:pt idx="1691">
                  <c:v>109.74013508089133</c:v>
                </c:pt>
                <c:pt idx="1692">
                  <c:v>111.43824499554954</c:v>
                </c:pt>
                <c:pt idx="1693">
                  <c:v>111.45918776941991</c:v>
                </c:pt>
                <c:pt idx="1694">
                  <c:v>111.78729122672283</c:v>
                </c:pt>
                <c:pt idx="1695">
                  <c:v>111.5036911638945</c:v>
                </c:pt>
                <c:pt idx="1696">
                  <c:v>111.75587706591722</c:v>
                </c:pt>
                <c:pt idx="1697">
                  <c:v>112.74891359360529</c:v>
                </c:pt>
                <c:pt idx="1698">
                  <c:v>112.78381821672262</c:v>
                </c:pt>
                <c:pt idx="1699">
                  <c:v>113.04734812125847</c:v>
                </c:pt>
                <c:pt idx="1700">
                  <c:v>112.48800153580321</c:v>
                </c:pt>
                <c:pt idx="1701">
                  <c:v>112.88765947049666</c:v>
                </c:pt>
                <c:pt idx="1702">
                  <c:v>114.14160805598679</c:v>
                </c:pt>
                <c:pt idx="1703">
                  <c:v>114.7053177193317</c:v>
                </c:pt>
                <c:pt idx="1704">
                  <c:v>114.78210789018985</c:v>
                </c:pt>
                <c:pt idx="1705">
                  <c:v>114.8362100560217</c:v>
                </c:pt>
                <c:pt idx="1706">
                  <c:v>114.71840695300071</c:v>
                </c:pt>
                <c:pt idx="1707">
                  <c:v>115.71318871184465</c:v>
                </c:pt>
                <c:pt idx="1708">
                  <c:v>115.04825564145948</c:v>
                </c:pt>
                <c:pt idx="1709">
                  <c:v>114.86500637009347</c:v>
                </c:pt>
                <c:pt idx="1710">
                  <c:v>114.57529799821963</c:v>
                </c:pt>
                <c:pt idx="1711">
                  <c:v>114.52294106354364</c:v>
                </c:pt>
                <c:pt idx="1712">
                  <c:v>115.54215605856973</c:v>
                </c:pt>
                <c:pt idx="1713">
                  <c:v>115.66868531737006</c:v>
                </c:pt>
                <c:pt idx="1714">
                  <c:v>117.35806907624895</c:v>
                </c:pt>
                <c:pt idx="1715">
                  <c:v>117.30832998830675</c:v>
                </c:pt>
                <c:pt idx="1716">
                  <c:v>117.54568142550461</c:v>
                </c:pt>
                <c:pt idx="1717">
                  <c:v>117.79961255868321</c:v>
                </c:pt>
                <c:pt idx="1718">
                  <c:v>117.97326305869193</c:v>
                </c:pt>
                <c:pt idx="1719">
                  <c:v>117.16085795563603</c:v>
                </c:pt>
                <c:pt idx="1720">
                  <c:v>117.95755597828911</c:v>
                </c:pt>
                <c:pt idx="1721">
                  <c:v>117.84673379989157</c:v>
                </c:pt>
                <c:pt idx="1722">
                  <c:v>117.21234227473407</c:v>
                </c:pt>
                <c:pt idx="1723">
                  <c:v>118.50468594565328</c:v>
                </c:pt>
                <c:pt idx="1724">
                  <c:v>118.78305031501399</c:v>
                </c:pt>
                <c:pt idx="1725">
                  <c:v>118.86856664165144</c:v>
                </c:pt>
                <c:pt idx="1726">
                  <c:v>118.47152655369179</c:v>
                </c:pt>
                <c:pt idx="1727">
                  <c:v>118.9776435888931</c:v>
                </c:pt>
                <c:pt idx="1728">
                  <c:v>119.17659994066187</c:v>
                </c:pt>
                <c:pt idx="1729">
                  <c:v>119.33803382257953</c:v>
                </c:pt>
                <c:pt idx="1730">
                  <c:v>119.73856437285093</c:v>
                </c:pt>
                <c:pt idx="1731">
                  <c:v>119.17136424719429</c:v>
                </c:pt>
                <c:pt idx="1732">
                  <c:v>119.90523394823616</c:v>
                </c:pt>
                <c:pt idx="1733">
                  <c:v>119.51604740047793</c:v>
                </c:pt>
                <c:pt idx="1734">
                  <c:v>119.05356114417327</c:v>
                </c:pt>
                <c:pt idx="1735">
                  <c:v>117.22368627724714</c:v>
                </c:pt>
                <c:pt idx="1736">
                  <c:v>118.0326009179913</c:v>
                </c:pt>
                <c:pt idx="1737">
                  <c:v>119.19143440548672</c:v>
                </c:pt>
                <c:pt idx="1738">
                  <c:v>119.62425173214162</c:v>
                </c:pt>
                <c:pt idx="1739">
                  <c:v>119.64344927485617</c:v>
                </c:pt>
                <c:pt idx="1740">
                  <c:v>121.81277160159836</c:v>
                </c:pt>
                <c:pt idx="1741">
                  <c:v>121.66704480008349</c:v>
                </c:pt>
                <c:pt idx="1742">
                  <c:v>122.39306096092398</c:v>
                </c:pt>
                <c:pt idx="1743">
                  <c:v>122.5300616066595</c:v>
                </c:pt>
                <c:pt idx="1744">
                  <c:v>123.01698109914629</c:v>
                </c:pt>
                <c:pt idx="1745">
                  <c:v>122.6478647096805</c:v>
                </c:pt>
                <c:pt idx="1746">
                  <c:v>122.41836681268408</c:v>
                </c:pt>
                <c:pt idx="1747">
                  <c:v>121.53615246339352</c:v>
                </c:pt>
                <c:pt idx="1748">
                  <c:v>121.91399500863864</c:v>
                </c:pt>
                <c:pt idx="1749">
                  <c:v>123.60686922982926</c:v>
                </c:pt>
                <c:pt idx="1750">
                  <c:v>123.25869561423386</c:v>
                </c:pt>
                <c:pt idx="1751">
                  <c:v>122.6496099408364</c:v>
                </c:pt>
                <c:pt idx="1752">
                  <c:v>122.45239882022346</c:v>
                </c:pt>
                <c:pt idx="1753">
                  <c:v>122.90528630517086</c:v>
                </c:pt>
                <c:pt idx="1754">
                  <c:v>123.82764097104635</c:v>
                </c:pt>
                <c:pt idx="1755">
                  <c:v>123.33374055393611</c:v>
                </c:pt>
                <c:pt idx="1756">
                  <c:v>122.07542889055628</c:v>
                </c:pt>
                <c:pt idx="1757">
                  <c:v>121.99863871969814</c:v>
                </c:pt>
                <c:pt idx="1758">
                  <c:v>120.61292518194008</c:v>
                </c:pt>
                <c:pt idx="1759">
                  <c:v>118.55267980243957</c:v>
                </c:pt>
                <c:pt idx="1760">
                  <c:v>119.43576676730807</c:v>
                </c:pt>
                <c:pt idx="1761">
                  <c:v>121.08151974729024</c:v>
                </c:pt>
                <c:pt idx="1762">
                  <c:v>119.57102218188771</c:v>
                </c:pt>
                <c:pt idx="1763">
                  <c:v>119.5108117070103</c:v>
                </c:pt>
                <c:pt idx="1764">
                  <c:v>121.36162934780681</c:v>
                </c:pt>
                <c:pt idx="1765">
                  <c:v>120.86947416185245</c:v>
                </c:pt>
                <c:pt idx="1766">
                  <c:v>120.15218415679128</c:v>
                </c:pt>
                <c:pt idx="1767">
                  <c:v>120.29267526483854</c:v>
                </c:pt>
                <c:pt idx="1768">
                  <c:v>119.28131381001384</c:v>
                </c:pt>
                <c:pt idx="1769">
                  <c:v>119.72023944571428</c:v>
                </c:pt>
                <c:pt idx="1770">
                  <c:v>121.3537758076054</c:v>
                </c:pt>
                <c:pt idx="1771">
                  <c:v>122.16443567950544</c:v>
                </c:pt>
                <c:pt idx="1772">
                  <c:v>122.4593797448469</c:v>
                </c:pt>
                <c:pt idx="1773">
                  <c:v>121.98380425487328</c:v>
                </c:pt>
                <c:pt idx="1774">
                  <c:v>122.6740431770185</c:v>
                </c:pt>
                <c:pt idx="1775">
                  <c:v>122.36775510916391</c:v>
                </c:pt>
                <c:pt idx="1776">
                  <c:v>121.43056597846356</c:v>
                </c:pt>
                <c:pt idx="1777">
                  <c:v>119.46979877484745</c:v>
                </c:pt>
                <c:pt idx="1778">
                  <c:v>119.51168432258822</c:v>
                </c:pt>
                <c:pt idx="1779">
                  <c:v>119.00033159391931</c:v>
                </c:pt>
                <c:pt idx="1780">
                  <c:v>118.20276095568828</c:v>
                </c:pt>
                <c:pt idx="1781">
                  <c:v>118.50032286776354</c:v>
                </c:pt>
                <c:pt idx="1782">
                  <c:v>118.09891970191423</c:v>
                </c:pt>
                <c:pt idx="1783">
                  <c:v>116.78650587270253</c:v>
                </c:pt>
                <c:pt idx="1784">
                  <c:v>116.11546449327183</c:v>
                </c:pt>
                <c:pt idx="1785">
                  <c:v>115.60411176460292</c:v>
                </c:pt>
                <c:pt idx="1786">
                  <c:v>113.86411630220394</c:v>
                </c:pt>
                <c:pt idx="1787">
                  <c:v>113.02291488507626</c:v>
                </c:pt>
                <c:pt idx="1788">
                  <c:v>114.83533744044372</c:v>
                </c:pt>
                <c:pt idx="1789">
                  <c:v>114.89118483743147</c:v>
                </c:pt>
                <c:pt idx="1790">
                  <c:v>115.08577811131059</c:v>
                </c:pt>
                <c:pt idx="1791">
                  <c:v>115.24459414649446</c:v>
                </c:pt>
                <c:pt idx="1792">
                  <c:v>114.99502609120555</c:v>
                </c:pt>
                <c:pt idx="1793">
                  <c:v>116.26904483498816</c:v>
                </c:pt>
                <c:pt idx="1794">
                  <c:v>114.60234908113554</c:v>
                </c:pt>
                <c:pt idx="1795">
                  <c:v>114.34143702333348</c:v>
                </c:pt>
                <c:pt idx="1796">
                  <c:v>111.52376132218687</c:v>
                </c:pt>
                <c:pt idx="1797">
                  <c:v>111.53597794027795</c:v>
                </c:pt>
                <c:pt idx="1798">
                  <c:v>112.17473254332511</c:v>
                </c:pt>
                <c:pt idx="1799">
                  <c:v>114.76029250074146</c:v>
                </c:pt>
                <c:pt idx="1800">
                  <c:v>114.74807588265037</c:v>
                </c:pt>
                <c:pt idx="1801">
                  <c:v>115.67915670430521</c:v>
                </c:pt>
                <c:pt idx="1802">
                  <c:v>114.2192708424228</c:v>
                </c:pt>
                <c:pt idx="1803">
                  <c:v>115.55000959877108</c:v>
                </c:pt>
                <c:pt idx="1804">
                  <c:v>114.73847711129312</c:v>
                </c:pt>
                <c:pt idx="1805">
                  <c:v>115.97933646311424</c:v>
                </c:pt>
                <c:pt idx="1806">
                  <c:v>117.17831026719458</c:v>
                </c:pt>
                <c:pt idx="1807">
                  <c:v>117.34759768931362</c:v>
                </c:pt>
                <c:pt idx="1808">
                  <c:v>118.49945025218555</c:v>
                </c:pt>
                <c:pt idx="1809">
                  <c:v>118.29962128483882</c:v>
                </c:pt>
                <c:pt idx="1810">
                  <c:v>115.66606747063614</c:v>
                </c:pt>
                <c:pt idx="1811">
                  <c:v>116.4959248852507</c:v>
                </c:pt>
                <c:pt idx="1812">
                  <c:v>114.63725370425279</c:v>
                </c:pt>
                <c:pt idx="1813">
                  <c:v>115.18438367161697</c:v>
                </c:pt>
                <c:pt idx="1814">
                  <c:v>116.21930574704585</c:v>
                </c:pt>
                <c:pt idx="1815">
                  <c:v>115.9741007696466</c:v>
                </c:pt>
                <c:pt idx="1816">
                  <c:v>118.86420356376168</c:v>
                </c:pt>
                <c:pt idx="1817">
                  <c:v>119.15652978236932</c:v>
                </c:pt>
                <c:pt idx="1818">
                  <c:v>119.89912563919054</c:v>
                </c:pt>
                <c:pt idx="1819">
                  <c:v>119.33716120700151</c:v>
                </c:pt>
                <c:pt idx="1820">
                  <c:v>118.21148711146758</c:v>
                </c:pt>
                <c:pt idx="1821">
                  <c:v>118.01776645316637</c:v>
                </c:pt>
                <c:pt idx="1822">
                  <c:v>117.05876193301769</c:v>
                </c:pt>
                <c:pt idx="1823">
                  <c:v>117.05701670186181</c:v>
                </c:pt>
                <c:pt idx="1824">
                  <c:v>116.47323688022445</c:v>
                </c:pt>
                <c:pt idx="1825">
                  <c:v>118.39473638283357</c:v>
                </c:pt>
                <c:pt idx="1826">
                  <c:v>118.12073509136253</c:v>
                </c:pt>
                <c:pt idx="1827">
                  <c:v>118.99596851602963</c:v>
                </c:pt>
                <c:pt idx="1828">
                  <c:v>119.79092130752686</c:v>
                </c:pt>
                <c:pt idx="1829">
                  <c:v>120.11640691809596</c:v>
                </c:pt>
                <c:pt idx="1830">
                  <c:v>118.90783434265836</c:v>
                </c:pt>
                <c:pt idx="1831">
                  <c:v>117.84847903104736</c:v>
                </c:pt>
                <c:pt idx="1832">
                  <c:v>116.78301541039079</c:v>
                </c:pt>
                <c:pt idx="1833">
                  <c:v>116.7463655561176</c:v>
                </c:pt>
                <c:pt idx="1834">
                  <c:v>118.67746383008395</c:v>
                </c:pt>
                <c:pt idx="1835">
                  <c:v>120.94190125482086</c:v>
                </c:pt>
                <c:pt idx="1836">
                  <c:v>120.88343601109933</c:v>
                </c:pt>
                <c:pt idx="1837">
                  <c:v>120.36161189549523</c:v>
                </c:pt>
                <c:pt idx="1838">
                  <c:v>119.99685858391912</c:v>
                </c:pt>
                <c:pt idx="1839">
                  <c:v>119.11202638789476</c:v>
                </c:pt>
                <c:pt idx="1840">
                  <c:v>121.37995427494337</c:v>
                </c:pt>
                <c:pt idx="1841">
                  <c:v>121.66268172219374</c:v>
                </c:pt>
                <c:pt idx="1842">
                  <c:v>122.28398401368224</c:v>
                </c:pt>
                <c:pt idx="1843">
                  <c:v>122.35990156896246</c:v>
                </c:pt>
                <c:pt idx="1844">
                  <c:v>122.41051327248259</c:v>
                </c:pt>
                <c:pt idx="1845">
                  <c:v>122.6784062549081</c:v>
                </c:pt>
                <c:pt idx="1846">
                  <c:v>122.52482591319183</c:v>
                </c:pt>
                <c:pt idx="1847">
                  <c:v>122.50911883278904</c:v>
                </c:pt>
                <c:pt idx="1848">
                  <c:v>122.64873732525835</c:v>
                </c:pt>
                <c:pt idx="1849">
                  <c:v>123.51960767203578</c:v>
                </c:pt>
                <c:pt idx="1850">
                  <c:v>123.75085080018813</c:v>
                </c:pt>
                <c:pt idx="1851">
                  <c:v>123.74823295345435</c:v>
                </c:pt>
                <c:pt idx="1852">
                  <c:v>123.31541562679944</c:v>
                </c:pt>
                <c:pt idx="1853">
                  <c:v>123.34333932529329</c:v>
                </c:pt>
                <c:pt idx="1854">
                  <c:v>122.34768495087138</c:v>
                </c:pt>
                <c:pt idx="1855">
                  <c:v>123.13740204890102</c:v>
                </c:pt>
                <c:pt idx="1856">
                  <c:v>123.07719157402362</c:v>
                </c:pt>
                <c:pt idx="1857">
                  <c:v>122.97771339813922</c:v>
                </c:pt>
                <c:pt idx="1858">
                  <c:v>123.08155465191328</c:v>
                </c:pt>
                <c:pt idx="1859">
                  <c:v>122.12080490060872</c:v>
                </c:pt>
                <c:pt idx="1860">
                  <c:v>122.74036196094134</c:v>
                </c:pt>
                <c:pt idx="1861">
                  <c:v>122.59725300616032</c:v>
                </c:pt>
                <c:pt idx="1862">
                  <c:v>122.4663606694703</c:v>
                </c:pt>
                <c:pt idx="1863">
                  <c:v>124.96902214698299</c:v>
                </c:pt>
                <c:pt idx="1864">
                  <c:v>125.47513918218434</c:v>
                </c:pt>
                <c:pt idx="1865">
                  <c:v>124.70374701129128</c:v>
                </c:pt>
                <c:pt idx="1866">
                  <c:v>125.09467879020542</c:v>
                </c:pt>
                <c:pt idx="1867">
                  <c:v>125.35646346358541</c:v>
                </c:pt>
                <c:pt idx="1868">
                  <c:v>127.40100176268312</c:v>
                </c:pt>
                <c:pt idx="1869">
                  <c:v>127.90537356672857</c:v>
                </c:pt>
                <c:pt idx="1870">
                  <c:v>127.50571563203513</c:v>
                </c:pt>
                <c:pt idx="1871">
                  <c:v>127.34253651896159</c:v>
                </c:pt>
                <c:pt idx="1872">
                  <c:v>127.49349901394403</c:v>
                </c:pt>
                <c:pt idx="1873">
                  <c:v>127.42456238328731</c:v>
                </c:pt>
                <c:pt idx="1874">
                  <c:v>127.41496361193003</c:v>
                </c:pt>
                <c:pt idx="1875">
                  <c:v>127.13049093352379</c:v>
                </c:pt>
                <c:pt idx="1876">
                  <c:v>125.79538909928583</c:v>
                </c:pt>
                <c:pt idx="1877">
                  <c:v>125.07373601633499</c:v>
                </c:pt>
                <c:pt idx="1878">
                  <c:v>126.28056336061675</c:v>
                </c:pt>
                <c:pt idx="1879">
                  <c:v>125.71510846611596</c:v>
                </c:pt>
                <c:pt idx="1880">
                  <c:v>126.04844761688646</c:v>
                </c:pt>
                <c:pt idx="1881">
                  <c:v>126.15839717970606</c:v>
                </c:pt>
                <c:pt idx="1882">
                  <c:v>126.61564774254309</c:v>
                </c:pt>
                <c:pt idx="1883">
                  <c:v>127.52404055917165</c:v>
                </c:pt>
                <c:pt idx="1884">
                  <c:v>127.48302762700878</c:v>
                </c:pt>
                <c:pt idx="1885">
                  <c:v>127.04235676015247</c:v>
                </c:pt>
                <c:pt idx="1886">
                  <c:v>125.78579032792852</c:v>
                </c:pt>
                <c:pt idx="1887">
                  <c:v>125.00741723241201</c:v>
                </c:pt>
                <c:pt idx="1888">
                  <c:v>125.03185046859414</c:v>
                </c:pt>
                <c:pt idx="1889">
                  <c:v>124.66098884797249</c:v>
                </c:pt>
                <c:pt idx="1890">
                  <c:v>125.66798722490755</c:v>
                </c:pt>
                <c:pt idx="1891">
                  <c:v>126.95858566467089</c:v>
                </c:pt>
                <c:pt idx="1892">
                  <c:v>127.48128239585296</c:v>
                </c:pt>
                <c:pt idx="1893">
                  <c:v>127.16975863453077</c:v>
                </c:pt>
                <c:pt idx="1894">
                  <c:v>125.06239201382188</c:v>
                </c:pt>
                <c:pt idx="1895">
                  <c:v>125.11736679523169</c:v>
                </c:pt>
                <c:pt idx="1896">
                  <c:v>123.31017993333182</c:v>
                </c:pt>
                <c:pt idx="1897">
                  <c:v>122.92971954135291</c:v>
                </c:pt>
                <c:pt idx="1898">
                  <c:v>123.29796331524075</c:v>
                </c:pt>
                <c:pt idx="1899">
                  <c:v>123.2080839107136</c:v>
                </c:pt>
                <c:pt idx="1900">
                  <c:v>123.22728145342812</c:v>
                </c:pt>
                <c:pt idx="1901">
                  <c:v>124.57372729017918</c:v>
                </c:pt>
                <c:pt idx="1902">
                  <c:v>123.4052950313265</c:v>
                </c:pt>
                <c:pt idx="1903">
                  <c:v>123.67231539817408</c:v>
                </c:pt>
                <c:pt idx="1904">
                  <c:v>124.64353653641386</c:v>
                </c:pt>
                <c:pt idx="1905">
                  <c:v>121.68886018953171</c:v>
                </c:pt>
                <c:pt idx="1906">
                  <c:v>120.20366847588924</c:v>
                </c:pt>
                <c:pt idx="1907">
                  <c:v>120.40786052112564</c:v>
                </c:pt>
                <c:pt idx="1908">
                  <c:v>120.42356760152843</c:v>
                </c:pt>
                <c:pt idx="1909">
                  <c:v>119.94362903366513</c:v>
                </c:pt>
                <c:pt idx="1910">
                  <c:v>118.28216897328014</c:v>
                </c:pt>
                <c:pt idx="1911">
                  <c:v>118.09368400844654</c:v>
                </c:pt>
                <c:pt idx="1912">
                  <c:v>118.66524721199288</c:v>
                </c:pt>
                <c:pt idx="1913">
                  <c:v>121.02218188799068</c:v>
                </c:pt>
                <c:pt idx="1914">
                  <c:v>121.10246252116053</c:v>
                </c:pt>
                <c:pt idx="1915">
                  <c:v>121.38344473725508</c:v>
                </c:pt>
                <c:pt idx="1916">
                  <c:v>122.96462416447021</c:v>
                </c:pt>
                <c:pt idx="1917">
                  <c:v>122.71505610918128</c:v>
                </c:pt>
                <c:pt idx="1918">
                  <c:v>122.0736836594003</c:v>
                </c:pt>
                <c:pt idx="1919">
                  <c:v>123.03268817954898</c:v>
                </c:pt>
                <c:pt idx="1920">
                  <c:v>123.55800275746481</c:v>
                </c:pt>
                <c:pt idx="1921">
                  <c:v>123.57807291575726</c:v>
                </c:pt>
                <c:pt idx="1922">
                  <c:v>122.99167524738607</c:v>
                </c:pt>
                <c:pt idx="1923">
                  <c:v>122.78137489310413</c:v>
                </c:pt>
                <c:pt idx="1924">
                  <c:v>122.97596816698328</c:v>
                </c:pt>
                <c:pt idx="1925">
                  <c:v>123.38260702630019</c:v>
                </c:pt>
                <c:pt idx="1926">
                  <c:v>123.74299725998662</c:v>
                </c:pt>
                <c:pt idx="1927">
                  <c:v>123.78488280772743</c:v>
                </c:pt>
                <c:pt idx="1928">
                  <c:v>124.59554267962744</c:v>
                </c:pt>
                <c:pt idx="1929">
                  <c:v>124.6513900766152</c:v>
                </c:pt>
                <c:pt idx="1930">
                  <c:v>123.86341820974145</c:v>
                </c:pt>
                <c:pt idx="1931">
                  <c:v>123.35119286549458</c:v>
                </c:pt>
                <c:pt idx="1932">
                  <c:v>124.81544180526663</c:v>
                </c:pt>
                <c:pt idx="1933">
                  <c:v>126.24914919981104</c:v>
                </c:pt>
                <c:pt idx="1934">
                  <c:v>125.29101729524029</c:v>
                </c:pt>
                <c:pt idx="1935">
                  <c:v>125.97863837065175</c:v>
                </c:pt>
                <c:pt idx="1936">
                  <c:v>124.79711687813008</c:v>
                </c:pt>
                <c:pt idx="1937">
                  <c:v>124.49257404143137</c:v>
                </c:pt>
                <c:pt idx="1938">
                  <c:v>123.8965776017029</c:v>
                </c:pt>
                <c:pt idx="1939">
                  <c:v>123.74561510672044</c:v>
                </c:pt>
                <c:pt idx="1940">
                  <c:v>122.37822649609899</c:v>
                </c:pt>
                <c:pt idx="1941">
                  <c:v>124.4515611092685</c:v>
                </c:pt>
                <c:pt idx="1942">
                  <c:v>127.61304734812082</c:v>
                </c:pt>
                <c:pt idx="1943">
                  <c:v>127.34689959685113</c:v>
                </c:pt>
                <c:pt idx="1944">
                  <c:v>127.9664566571838</c:v>
                </c:pt>
                <c:pt idx="1945">
                  <c:v>127.56679872249035</c:v>
                </c:pt>
                <c:pt idx="1946">
                  <c:v>127.15317893854997</c:v>
                </c:pt>
                <c:pt idx="1947">
                  <c:v>127.49088116721015</c:v>
                </c:pt>
                <c:pt idx="1948">
                  <c:v>128.45948445871608</c:v>
                </c:pt>
                <c:pt idx="1949">
                  <c:v>128.45337614967056</c:v>
                </c:pt>
                <c:pt idx="1950">
                  <c:v>128.33382781549372</c:v>
                </c:pt>
                <c:pt idx="1951">
                  <c:v>128.47868200143063</c:v>
                </c:pt>
                <c:pt idx="1952">
                  <c:v>128.50398785319069</c:v>
                </c:pt>
                <c:pt idx="1953">
                  <c:v>129.22913139845326</c:v>
                </c:pt>
                <c:pt idx="1954">
                  <c:v>129.66892964973164</c:v>
                </c:pt>
                <c:pt idx="1955">
                  <c:v>130.24311070001173</c:v>
                </c:pt>
                <c:pt idx="1956">
                  <c:v>130.43944920504671</c:v>
                </c:pt>
                <c:pt idx="1957">
                  <c:v>130.44032182062466</c:v>
                </c:pt>
                <c:pt idx="1958">
                  <c:v>131.15063090106239</c:v>
                </c:pt>
                <c:pt idx="1959">
                  <c:v>130.90804377039692</c:v>
                </c:pt>
                <c:pt idx="1960">
                  <c:v>131.57646730309381</c:v>
                </c:pt>
                <c:pt idx="1961">
                  <c:v>131.06336934326904</c:v>
                </c:pt>
                <c:pt idx="1962">
                  <c:v>130.72741234576472</c:v>
                </c:pt>
                <c:pt idx="1963">
                  <c:v>132.04157140613228</c:v>
                </c:pt>
                <c:pt idx="1964">
                  <c:v>130.51798460706073</c:v>
                </c:pt>
                <c:pt idx="1965">
                  <c:v>131.87751967748076</c:v>
                </c:pt>
                <c:pt idx="1966">
                  <c:v>131.9499467704492</c:v>
                </c:pt>
                <c:pt idx="1967">
                  <c:v>131.71172271767344</c:v>
                </c:pt>
                <c:pt idx="1968">
                  <c:v>132.45693642122848</c:v>
                </c:pt>
                <c:pt idx="1969">
                  <c:v>132.3766557880586</c:v>
                </c:pt>
                <c:pt idx="1970">
                  <c:v>132.58782875791846</c:v>
                </c:pt>
                <c:pt idx="1971">
                  <c:v>132.66636415993241</c:v>
                </c:pt>
                <c:pt idx="1972">
                  <c:v>132.75798879561543</c:v>
                </c:pt>
                <c:pt idx="1973">
                  <c:v>132.61924291872404</c:v>
                </c:pt>
                <c:pt idx="1974">
                  <c:v>133.59220928811968</c:v>
                </c:pt>
                <c:pt idx="1975">
                  <c:v>131.93511230562436</c:v>
                </c:pt>
                <c:pt idx="1976">
                  <c:v>131.10350965985396</c:v>
                </c:pt>
                <c:pt idx="1977">
                  <c:v>132.25361699157003</c:v>
                </c:pt>
                <c:pt idx="1978">
                  <c:v>129.83210876280512</c:v>
                </c:pt>
                <c:pt idx="1979">
                  <c:v>130.62531632314651</c:v>
                </c:pt>
                <c:pt idx="1980">
                  <c:v>132.28764899910942</c:v>
                </c:pt>
                <c:pt idx="1981">
                  <c:v>132.17333635840018</c:v>
                </c:pt>
                <c:pt idx="1982">
                  <c:v>132.48049704183268</c:v>
                </c:pt>
                <c:pt idx="1983">
                  <c:v>133.09132794638597</c:v>
                </c:pt>
                <c:pt idx="1984">
                  <c:v>134.36447407459065</c:v>
                </c:pt>
                <c:pt idx="1985">
                  <c:v>134.51020087610553</c:v>
                </c:pt>
                <c:pt idx="1986">
                  <c:v>134.75453323792684</c:v>
                </c:pt>
                <c:pt idx="1987">
                  <c:v>135.3583832178567</c:v>
                </c:pt>
                <c:pt idx="1988">
                  <c:v>135.79818146913507</c:v>
                </c:pt>
                <c:pt idx="1989">
                  <c:v>135.47182324298802</c:v>
                </c:pt>
                <c:pt idx="1990">
                  <c:v>135.64983682088643</c:v>
                </c:pt>
                <c:pt idx="1991">
                  <c:v>136.40988498926635</c:v>
                </c:pt>
                <c:pt idx="1992">
                  <c:v>136.18911324804921</c:v>
                </c:pt>
                <c:pt idx="1993">
                  <c:v>135.43866385102658</c:v>
                </c:pt>
                <c:pt idx="1994">
                  <c:v>135.11056039372366</c:v>
                </c:pt>
                <c:pt idx="1995">
                  <c:v>136.01546274804053</c:v>
                </c:pt>
                <c:pt idx="1996">
                  <c:v>134.88891603692866</c:v>
                </c:pt>
                <c:pt idx="1997">
                  <c:v>135.8566467128567</c:v>
                </c:pt>
                <c:pt idx="1998">
                  <c:v>135.4028866123314</c:v>
                </c:pt>
                <c:pt idx="1999">
                  <c:v>136.4570062304748</c:v>
                </c:pt>
                <c:pt idx="2000">
                  <c:v>136.37672559730493</c:v>
                </c:pt>
                <c:pt idx="2001">
                  <c:v>136.92996387371466</c:v>
                </c:pt>
                <c:pt idx="2002">
                  <c:v>136.31738773800549</c:v>
                </c:pt>
                <c:pt idx="2003">
                  <c:v>137.02246112497559</c:v>
                </c:pt>
                <c:pt idx="2004">
                  <c:v>135.57740972791805</c:v>
                </c:pt>
                <c:pt idx="2005">
                  <c:v>136.1262849264381</c:v>
                </c:pt>
                <c:pt idx="2006">
                  <c:v>135.54163248922279</c:v>
                </c:pt>
                <c:pt idx="2007">
                  <c:v>136.39592314001945</c:v>
                </c:pt>
                <c:pt idx="2008">
                  <c:v>136.87935217019447</c:v>
                </c:pt>
                <c:pt idx="2009">
                  <c:v>138.54779315520295</c:v>
                </c:pt>
                <c:pt idx="2010">
                  <c:v>139.03994834115733</c:v>
                </c:pt>
                <c:pt idx="2011">
                  <c:v>138.64552609993146</c:v>
                </c:pt>
                <c:pt idx="2012">
                  <c:v>135.46135185605286</c:v>
                </c:pt>
                <c:pt idx="2013">
                  <c:v>137.39943105464272</c:v>
                </c:pt>
                <c:pt idx="2014">
                  <c:v>135.43081031082519</c:v>
                </c:pt>
                <c:pt idx="2015">
                  <c:v>134.52329010977456</c:v>
                </c:pt>
                <c:pt idx="2016">
                  <c:v>135.71353775807557</c:v>
                </c:pt>
                <c:pt idx="2017">
                  <c:v>136.34618405207721</c:v>
                </c:pt>
                <c:pt idx="2018">
                  <c:v>137.76680221295263</c:v>
                </c:pt>
                <c:pt idx="2019">
                  <c:v>137.76767482853055</c:v>
                </c:pt>
                <c:pt idx="2020">
                  <c:v>138.32353095167403</c:v>
                </c:pt>
                <c:pt idx="2021">
                  <c:v>138.0687272029175</c:v>
                </c:pt>
                <c:pt idx="2022">
                  <c:v>139.06089111502763</c:v>
                </c:pt>
                <c:pt idx="2023">
                  <c:v>139.4064468838892</c:v>
                </c:pt>
                <c:pt idx="2024">
                  <c:v>138.10886751950241</c:v>
                </c:pt>
                <c:pt idx="2025">
                  <c:v>139.40819211504507</c:v>
                </c:pt>
                <c:pt idx="2026">
                  <c:v>140.87680413270684</c:v>
                </c:pt>
                <c:pt idx="2027">
                  <c:v>141.14556973071029</c:v>
                </c:pt>
                <c:pt idx="2028">
                  <c:v>141.88380250964184</c:v>
                </c:pt>
                <c:pt idx="2029">
                  <c:v>142.47107279359096</c:v>
                </c:pt>
                <c:pt idx="2030">
                  <c:v>141.94575821567511</c:v>
                </c:pt>
                <c:pt idx="2031">
                  <c:v>142.55920696696222</c:v>
                </c:pt>
                <c:pt idx="2032">
                  <c:v>142.56531527600774</c:v>
                </c:pt>
                <c:pt idx="2033">
                  <c:v>144.01123928864317</c:v>
                </c:pt>
                <c:pt idx="2034">
                  <c:v>144.74772683641885</c:v>
                </c:pt>
                <c:pt idx="2035">
                  <c:v>144.02258329115628</c:v>
                </c:pt>
                <c:pt idx="2036">
                  <c:v>145.50602977364287</c:v>
                </c:pt>
                <c:pt idx="2037">
                  <c:v>145.40306113544671</c:v>
                </c:pt>
                <c:pt idx="2038">
                  <c:v>145.65350180631359</c:v>
                </c:pt>
                <c:pt idx="2039">
                  <c:v>144.4484196931877</c:v>
                </c:pt>
                <c:pt idx="2040">
                  <c:v>144.02607375346801</c:v>
                </c:pt>
                <c:pt idx="2041">
                  <c:v>143.94666573587605</c:v>
                </c:pt>
                <c:pt idx="2042">
                  <c:v>144.85942163039425</c:v>
                </c:pt>
                <c:pt idx="2043">
                  <c:v>143.83846140421232</c:v>
                </c:pt>
                <c:pt idx="2044">
                  <c:v>144.36639382886196</c:v>
                </c:pt>
                <c:pt idx="2045">
                  <c:v>142.30091275589385</c:v>
                </c:pt>
                <c:pt idx="2046">
                  <c:v>143.14560463533329</c:v>
                </c:pt>
                <c:pt idx="2047">
                  <c:v>142.35676015288161</c:v>
                </c:pt>
                <c:pt idx="2048">
                  <c:v>140.39512033368754</c:v>
                </c:pt>
                <c:pt idx="2049">
                  <c:v>141.58711321314442</c:v>
                </c:pt>
                <c:pt idx="2050">
                  <c:v>143.40389884640155</c:v>
                </c:pt>
                <c:pt idx="2051">
                  <c:v>143.35415975845933</c:v>
                </c:pt>
                <c:pt idx="2052">
                  <c:v>141.8986369744666</c:v>
                </c:pt>
                <c:pt idx="2053">
                  <c:v>140.71100717289937</c:v>
                </c:pt>
                <c:pt idx="2054">
                  <c:v>142.79132271069236</c:v>
                </c:pt>
                <c:pt idx="2055">
                  <c:v>141.9509939091426</c:v>
                </c:pt>
                <c:pt idx="2056">
                  <c:v>143.02518368557847</c:v>
                </c:pt>
                <c:pt idx="2057">
                  <c:v>144.13951377859928</c:v>
                </c:pt>
                <c:pt idx="2058">
                  <c:v>142.1429693362879</c:v>
                </c:pt>
                <c:pt idx="2059">
                  <c:v>138.58793347178769</c:v>
                </c:pt>
                <c:pt idx="2060">
                  <c:v>138.95792247683138</c:v>
                </c:pt>
                <c:pt idx="2061">
                  <c:v>137.2702839491084</c:v>
                </c:pt>
                <c:pt idx="2062">
                  <c:v>138.57397162254074</c:v>
                </c:pt>
                <c:pt idx="2063">
                  <c:v>139.90296514773317</c:v>
                </c:pt>
                <c:pt idx="2064">
                  <c:v>140.77034503219889</c:v>
                </c:pt>
                <c:pt idx="2065">
                  <c:v>140.16649505226906</c:v>
                </c:pt>
                <c:pt idx="2066">
                  <c:v>140.92392537391515</c:v>
                </c:pt>
                <c:pt idx="2067">
                  <c:v>140.84713520305701</c:v>
                </c:pt>
                <c:pt idx="2068">
                  <c:v>140.96319307492215</c:v>
                </c:pt>
                <c:pt idx="2069">
                  <c:v>142.40126354735622</c:v>
                </c:pt>
                <c:pt idx="2070">
                  <c:v>143.14909509764507</c:v>
                </c:pt>
                <c:pt idx="2071">
                  <c:v>144.18401717307395</c:v>
                </c:pt>
                <c:pt idx="2072">
                  <c:v>144.21019564041197</c:v>
                </c:pt>
                <c:pt idx="2073">
                  <c:v>146.16485453498257</c:v>
                </c:pt>
                <c:pt idx="2074">
                  <c:v>146.61599678877405</c:v>
                </c:pt>
                <c:pt idx="2075">
                  <c:v>146.81757098727661</c:v>
                </c:pt>
                <c:pt idx="2076">
                  <c:v>146.27305886664621</c:v>
                </c:pt>
                <c:pt idx="2077">
                  <c:v>146.67882511038516</c:v>
                </c:pt>
                <c:pt idx="2078">
                  <c:v>147.41705788931671</c:v>
                </c:pt>
                <c:pt idx="2079">
                  <c:v>147.65440932651458</c:v>
                </c:pt>
                <c:pt idx="2080">
                  <c:v>147.95458908532365</c:v>
                </c:pt>
                <c:pt idx="2081">
                  <c:v>147.68058779385262</c:v>
                </c:pt>
                <c:pt idx="2082">
                  <c:v>147.11775074608565</c:v>
                </c:pt>
                <c:pt idx="2083">
                  <c:v>147.49384806017488</c:v>
                </c:pt>
                <c:pt idx="2084">
                  <c:v>147.61601424108554</c:v>
                </c:pt>
                <c:pt idx="2085">
                  <c:v>147.06452119583167</c:v>
                </c:pt>
                <c:pt idx="2086">
                  <c:v>147.11949597724148</c:v>
                </c:pt>
                <c:pt idx="2087">
                  <c:v>147.09942581894902</c:v>
                </c:pt>
                <c:pt idx="2088">
                  <c:v>148.94413515069996</c:v>
                </c:pt>
                <c:pt idx="2089">
                  <c:v>149.18846751252127</c:v>
                </c:pt>
                <c:pt idx="2090">
                  <c:v>148.96769577130416</c:v>
                </c:pt>
                <c:pt idx="2091">
                  <c:v>148.11515035166332</c:v>
                </c:pt>
                <c:pt idx="2092">
                  <c:v>147.55144068831842</c:v>
                </c:pt>
                <c:pt idx="2093">
                  <c:v>148.12474912302056</c:v>
                </c:pt>
                <c:pt idx="2094">
                  <c:v>147.59594408279298</c:v>
                </c:pt>
                <c:pt idx="2095">
                  <c:v>147.42578404509601</c:v>
                </c:pt>
                <c:pt idx="2096">
                  <c:v>147.83504075114672</c:v>
                </c:pt>
                <c:pt idx="2097">
                  <c:v>147.06975688929924</c:v>
                </c:pt>
                <c:pt idx="2098">
                  <c:v>144.96937119321379</c:v>
                </c:pt>
                <c:pt idx="2099">
                  <c:v>144.49030524092839</c:v>
                </c:pt>
                <c:pt idx="2100">
                  <c:v>143.63775982128757</c:v>
                </c:pt>
                <c:pt idx="2101">
                  <c:v>144.18663501980762</c:v>
                </c:pt>
                <c:pt idx="2102">
                  <c:v>143.35328714288133</c:v>
                </c:pt>
                <c:pt idx="2103">
                  <c:v>144.58891080123487</c:v>
                </c:pt>
                <c:pt idx="2104">
                  <c:v>145.15960138920326</c:v>
                </c:pt>
                <c:pt idx="2105">
                  <c:v>144.57320372083211</c:v>
                </c:pt>
                <c:pt idx="2106">
                  <c:v>142.27822475086757</c:v>
                </c:pt>
                <c:pt idx="2107">
                  <c:v>142.66915652978167</c:v>
                </c:pt>
                <c:pt idx="2108">
                  <c:v>142.94926613029824</c:v>
                </c:pt>
                <c:pt idx="2109">
                  <c:v>142.49550602977294</c:v>
                </c:pt>
                <c:pt idx="2110">
                  <c:v>143.08888462276755</c:v>
                </c:pt>
                <c:pt idx="2111">
                  <c:v>144.25033595699676</c:v>
                </c:pt>
                <c:pt idx="2112">
                  <c:v>144.42485907258342</c:v>
                </c:pt>
                <c:pt idx="2113">
                  <c:v>144.43271261278483</c:v>
                </c:pt>
                <c:pt idx="2114">
                  <c:v>145.87601877868644</c:v>
                </c:pt>
                <c:pt idx="2115">
                  <c:v>146.9475907083885</c:v>
                </c:pt>
                <c:pt idx="2116">
                  <c:v>147.39611511544624</c:v>
                </c:pt>
                <c:pt idx="2117">
                  <c:v>146.89785162044632</c:v>
                </c:pt>
                <c:pt idx="2118">
                  <c:v>147.29663693956184</c:v>
                </c:pt>
                <c:pt idx="2119">
                  <c:v>148.13522050995573</c:v>
                </c:pt>
                <c:pt idx="2120">
                  <c:v>148.76001326375598</c:v>
                </c:pt>
                <c:pt idx="2121">
                  <c:v>150.57156320354551</c:v>
                </c:pt>
                <c:pt idx="2122">
                  <c:v>150.29407144976273</c:v>
                </c:pt>
                <c:pt idx="2123">
                  <c:v>149.20941028639163</c:v>
                </c:pt>
                <c:pt idx="2124">
                  <c:v>148.50520951499945</c:v>
                </c:pt>
                <c:pt idx="2125">
                  <c:v>148.11951342955294</c:v>
                </c:pt>
                <c:pt idx="2126">
                  <c:v>147.71374718581393</c:v>
                </c:pt>
                <c:pt idx="2127">
                  <c:v>148.22859037679459</c:v>
                </c:pt>
                <c:pt idx="2128">
                  <c:v>147.62474039686475</c:v>
                </c:pt>
                <c:pt idx="2129">
                  <c:v>146.73467250737278</c:v>
                </c:pt>
                <c:pt idx="2130">
                  <c:v>147.90834045969305</c:v>
                </c:pt>
                <c:pt idx="2131">
                  <c:v>147.80973489938657</c:v>
                </c:pt>
                <c:pt idx="2132">
                  <c:v>146.48248660535006</c:v>
                </c:pt>
                <c:pt idx="2133">
                  <c:v>147.51566344962308</c:v>
                </c:pt>
                <c:pt idx="2134">
                  <c:v>146.26084224855498</c:v>
                </c:pt>
                <c:pt idx="2135">
                  <c:v>144.45714584896686</c:v>
                </c:pt>
                <c:pt idx="2136">
                  <c:v>144.54004432887055</c:v>
                </c:pt>
                <c:pt idx="2137">
                  <c:v>147.6954222586773</c:v>
                </c:pt>
                <c:pt idx="2138">
                  <c:v>148.62388523359829</c:v>
                </c:pt>
                <c:pt idx="2139">
                  <c:v>149.22948044468399</c:v>
                </c:pt>
                <c:pt idx="2140">
                  <c:v>148.17536082654055</c:v>
                </c:pt>
                <c:pt idx="2141">
                  <c:v>150.22426220352793</c:v>
                </c:pt>
                <c:pt idx="2142">
                  <c:v>151.23736888950847</c:v>
                </c:pt>
                <c:pt idx="2143">
                  <c:v>152.22778757046274</c:v>
                </c:pt>
                <c:pt idx="2144">
                  <c:v>152.24174941970966</c:v>
                </c:pt>
                <c:pt idx="2145">
                  <c:v>153.11523761322087</c:v>
                </c:pt>
                <c:pt idx="2146">
                  <c:v>152.3918392991142</c:v>
                </c:pt>
                <c:pt idx="2147">
                  <c:v>152.88835756295822</c:v>
                </c:pt>
                <c:pt idx="2148">
                  <c:v>153.56027155796684</c:v>
                </c:pt>
                <c:pt idx="2149">
                  <c:v>153.76446360320321</c:v>
                </c:pt>
                <c:pt idx="2150">
                  <c:v>154.62311733188957</c:v>
                </c:pt>
                <c:pt idx="2151">
                  <c:v>153.86917747255521</c:v>
                </c:pt>
                <c:pt idx="2152">
                  <c:v>153.27841672629435</c:v>
                </c:pt>
                <c:pt idx="2153">
                  <c:v>153.72345067104033</c:v>
                </c:pt>
                <c:pt idx="2154">
                  <c:v>154.27232586956035</c:v>
                </c:pt>
                <c:pt idx="2155">
                  <c:v>153.83950854290541</c:v>
                </c:pt>
                <c:pt idx="2156">
                  <c:v>154.49571545751124</c:v>
                </c:pt>
                <c:pt idx="2157">
                  <c:v>152.45903069861495</c:v>
                </c:pt>
                <c:pt idx="2158">
                  <c:v>154.50618684444643</c:v>
                </c:pt>
                <c:pt idx="2159">
                  <c:v>154.61788163842192</c:v>
                </c:pt>
                <c:pt idx="2160">
                  <c:v>154.2513830956899</c:v>
                </c:pt>
                <c:pt idx="2161">
                  <c:v>155.50009598771246</c:v>
                </c:pt>
                <c:pt idx="2162">
                  <c:v>156.25229061589093</c:v>
                </c:pt>
                <c:pt idx="2163">
                  <c:v>156.91198799280852</c:v>
                </c:pt>
                <c:pt idx="2164">
                  <c:v>156.33169863348292</c:v>
                </c:pt>
                <c:pt idx="2165">
                  <c:v>156.01232133195933</c:v>
                </c:pt>
                <c:pt idx="2166">
                  <c:v>155.44512120630267</c:v>
                </c:pt>
                <c:pt idx="2167">
                  <c:v>156.7086685631501</c:v>
                </c:pt>
                <c:pt idx="2168">
                  <c:v>157.48616904308867</c:v>
                </c:pt>
                <c:pt idx="2169">
                  <c:v>157.28721269131989</c:v>
                </c:pt>
                <c:pt idx="2170">
                  <c:v>157.31077331192407</c:v>
                </c:pt>
                <c:pt idx="2171">
                  <c:v>157.70170509083817</c:v>
                </c:pt>
                <c:pt idx="2172">
                  <c:v>157.57779367877166</c:v>
                </c:pt>
                <c:pt idx="2173">
                  <c:v>157.14933943000645</c:v>
                </c:pt>
                <c:pt idx="2174">
                  <c:v>156.6475854726948</c:v>
                </c:pt>
                <c:pt idx="2175">
                  <c:v>156.4433934274584</c:v>
                </c:pt>
                <c:pt idx="2176">
                  <c:v>155.76449850782629</c:v>
                </c:pt>
                <c:pt idx="2177">
                  <c:v>157.51496535716043</c:v>
                </c:pt>
                <c:pt idx="2178">
                  <c:v>157.80118326672255</c:v>
                </c:pt>
                <c:pt idx="2179">
                  <c:v>157.2994293094109</c:v>
                </c:pt>
                <c:pt idx="2180">
                  <c:v>155.51929353042698</c:v>
                </c:pt>
                <c:pt idx="2181">
                  <c:v>154.9328958620558</c:v>
                </c:pt>
                <c:pt idx="2182">
                  <c:v>154.91718878165298</c:v>
                </c:pt>
                <c:pt idx="2183">
                  <c:v>155.89626346009413</c:v>
                </c:pt>
                <c:pt idx="2184">
                  <c:v>155.41283442991909</c:v>
                </c:pt>
                <c:pt idx="2185">
                  <c:v>158.00013961849135</c:v>
                </c:pt>
                <c:pt idx="2186">
                  <c:v>157.90851498280833</c:v>
                </c:pt>
                <c:pt idx="2187">
                  <c:v>158.66943576676616</c:v>
                </c:pt>
                <c:pt idx="2188">
                  <c:v>159.51325503062762</c:v>
                </c:pt>
                <c:pt idx="2189">
                  <c:v>159.97835913366603</c:v>
                </c:pt>
                <c:pt idx="2190">
                  <c:v>160.73753468646802</c:v>
                </c:pt>
                <c:pt idx="2191">
                  <c:v>160.68343252063616</c:v>
                </c:pt>
                <c:pt idx="2192">
                  <c:v>160.65463620656436</c:v>
                </c:pt>
                <c:pt idx="2193">
                  <c:v>161.2907729628777</c:v>
                </c:pt>
                <c:pt idx="2194">
                  <c:v>159.86142864622298</c:v>
                </c:pt>
                <c:pt idx="2195">
                  <c:v>159.80819909596903</c:v>
                </c:pt>
                <c:pt idx="2196">
                  <c:v>159.4067959301197</c:v>
                </c:pt>
                <c:pt idx="2197">
                  <c:v>160.3762718372036</c:v>
                </c:pt>
                <c:pt idx="2198">
                  <c:v>160.34223982966418</c:v>
                </c:pt>
                <c:pt idx="2199">
                  <c:v>160.39808722665197</c:v>
                </c:pt>
                <c:pt idx="2200">
                  <c:v>160.76807623169566</c:v>
                </c:pt>
                <c:pt idx="2201">
                  <c:v>158.74622593762422</c:v>
                </c:pt>
                <c:pt idx="2202">
                  <c:v>160.46353339499694</c:v>
                </c:pt>
                <c:pt idx="2203">
                  <c:v>161.29251819403356</c:v>
                </c:pt>
                <c:pt idx="2204">
                  <c:v>161.07523691512816</c:v>
                </c:pt>
                <c:pt idx="2205">
                  <c:v>160.44782631459412</c:v>
                </c:pt>
                <c:pt idx="2206">
                  <c:v>160.8928602593401</c:v>
                </c:pt>
                <c:pt idx="2207">
                  <c:v>160.98535751060101</c:v>
                </c:pt>
                <c:pt idx="2208">
                  <c:v>159.55426796279045</c:v>
                </c:pt>
                <c:pt idx="2209">
                  <c:v>156.22349430181907</c:v>
                </c:pt>
                <c:pt idx="2210">
                  <c:v>155.4617009022833</c:v>
                </c:pt>
                <c:pt idx="2211">
                  <c:v>156.4163423445423</c:v>
                </c:pt>
                <c:pt idx="2212">
                  <c:v>154.81945583692439</c:v>
                </c:pt>
                <c:pt idx="2213">
                  <c:v>156.56381437721305</c:v>
                </c:pt>
                <c:pt idx="2214">
                  <c:v>155.55158030681039</c:v>
                </c:pt>
                <c:pt idx="2215">
                  <c:v>152.00003490462191</c:v>
                </c:pt>
                <c:pt idx="2216">
                  <c:v>153.1614862388511</c:v>
                </c:pt>
                <c:pt idx="2217">
                  <c:v>152.85083509310684</c:v>
                </c:pt>
                <c:pt idx="2218">
                  <c:v>154.75226443742349</c:v>
                </c:pt>
                <c:pt idx="2219">
                  <c:v>156.81076458576814</c:v>
                </c:pt>
                <c:pt idx="2220">
                  <c:v>157.05684217874534</c:v>
                </c:pt>
                <c:pt idx="2221">
                  <c:v>158.79421979441054</c:v>
                </c:pt>
                <c:pt idx="2222">
                  <c:v>158.75146163109179</c:v>
                </c:pt>
                <c:pt idx="2223">
                  <c:v>159.67381629696732</c:v>
                </c:pt>
                <c:pt idx="2224">
                  <c:v>160.44171800554864</c:v>
                </c:pt>
                <c:pt idx="2225">
                  <c:v>160.62758512364843</c:v>
                </c:pt>
                <c:pt idx="2226">
                  <c:v>159.57957381455057</c:v>
                </c:pt>
                <c:pt idx="2227">
                  <c:v>160.54206879701098</c:v>
                </c:pt>
                <c:pt idx="2228">
                  <c:v>160.23403549800054</c:v>
                </c:pt>
                <c:pt idx="2229">
                  <c:v>161.22532679453272</c:v>
                </c:pt>
                <c:pt idx="2230">
                  <c:v>161.00804551562732</c:v>
                </c:pt>
                <c:pt idx="2231">
                  <c:v>161.01153597793908</c:v>
                </c:pt>
                <c:pt idx="2232">
                  <c:v>161.80823400059217</c:v>
                </c:pt>
                <c:pt idx="2233">
                  <c:v>162.25850363880573</c:v>
                </c:pt>
                <c:pt idx="2234">
                  <c:v>161.06127506588123</c:v>
                </c:pt>
                <c:pt idx="2235">
                  <c:v>163.52030576449724</c:v>
                </c:pt>
                <c:pt idx="2236">
                  <c:v>163.51157960871788</c:v>
                </c:pt>
                <c:pt idx="2237">
                  <c:v>163.79256182481242</c:v>
                </c:pt>
                <c:pt idx="2238">
                  <c:v>163.88069599818371</c:v>
                </c:pt>
                <c:pt idx="2239">
                  <c:v>163.80477844290354</c:v>
                </c:pt>
                <c:pt idx="2240">
                  <c:v>162.97230318155516</c:v>
                </c:pt>
                <c:pt idx="2241">
                  <c:v>163.02204226949735</c:v>
                </c:pt>
                <c:pt idx="2242">
                  <c:v>161.11450461613518</c:v>
                </c:pt>
                <c:pt idx="2243">
                  <c:v>160.65987190003199</c:v>
                </c:pt>
                <c:pt idx="2244">
                  <c:v>162.20440147297387</c:v>
                </c:pt>
                <c:pt idx="2245">
                  <c:v>163.37545157856033</c:v>
                </c:pt>
                <c:pt idx="2246">
                  <c:v>162.3736888950929</c:v>
                </c:pt>
                <c:pt idx="2247">
                  <c:v>163.35450880468989</c:v>
                </c:pt>
                <c:pt idx="2248">
                  <c:v>162.87544285240452</c:v>
                </c:pt>
                <c:pt idx="2249">
                  <c:v>162.08310790764111</c:v>
                </c:pt>
                <c:pt idx="2250">
                  <c:v>162.79690745039051</c:v>
                </c:pt>
                <c:pt idx="2251">
                  <c:v>161.65727150560966</c:v>
                </c:pt>
                <c:pt idx="2252">
                  <c:v>161.35011082217713</c:v>
                </c:pt>
                <c:pt idx="2253">
                  <c:v>162.0988149880439</c:v>
                </c:pt>
                <c:pt idx="2254">
                  <c:v>163.38330511876171</c:v>
                </c:pt>
                <c:pt idx="2255">
                  <c:v>164.53341245047778</c:v>
                </c:pt>
                <c:pt idx="2256">
                  <c:v>165.0028796314059</c:v>
                </c:pt>
                <c:pt idx="2257">
                  <c:v>164.81701251330611</c:v>
                </c:pt>
                <c:pt idx="2258">
                  <c:v>162.75065882476008</c:v>
                </c:pt>
                <c:pt idx="2259">
                  <c:v>161.00106459100382</c:v>
                </c:pt>
                <c:pt idx="2260">
                  <c:v>161.60491457093366</c:v>
                </c:pt>
                <c:pt idx="2261">
                  <c:v>163.36934326951479</c:v>
                </c:pt>
                <c:pt idx="2262">
                  <c:v>159.95741635979559</c:v>
                </c:pt>
                <c:pt idx="2263">
                  <c:v>158.43993786976961</c:v>
                </c:pt>
                <c:pt idx="2264">
                  <c:v>159.74188031204608</c:v>
                </c:pt>
                <c:pt idx="2265">
                  <c:v>160.82130578194955</c:v>
                </c:pt>
                <c:pt idx="2266">
                  <c:v>162.50807169409458</c:v>
                </c:pt>
                <c:pt idx="2267">
                  <c:v>162.72971605088964</c:v>
                </c:pt>
                <c:pt idx="2268">
                  <c:v>163.34403741775472</c:v>
                </c:pt>
                <c:pt idx="2269">
                  <c:v>164.01246095045164</c:v>
                </c:pt>
                <c:pt idx="2270">
                  <c:v>163.64945287003138</c:v>
                </c:pt>
                <c:pt idx="2271">
                  <c:v>163.93043508612587</c:v>
                </c:pt>
                <c:pt idx="2272">
                  <c:v>162.60318679208936</c:v>
                </c:pt>
                <c:pt idx="2273">
                  <c:v>163.12937398558313</c:v>
                </c:pt>
                <c:pt idx="2274">
                  <c:v>163.90600184994378</c:v>
                </c:pt>
                <c:pt idx="2275">
                  <c:v>164.39641180474231</c:v>
                </c:pt>
                <c:pt idx="2276">
                  <c:v>164.37285118413809</c:v>
                </c:pt>
                <c:pt idx="2277">
                  <c:v>164.15120682734303</c:v>
                </c:pt>
                <c:pt idx="2278">
                  <c:v>164.45836751077556</c:v>
                </c:pt>
                <c:pt idx="2279">
                  <c:v>162.98015672175654</c:v>
                </c:pt>
                <c:pt idx="2280">
                  <c:v>163.89553046300855</c:v>
                </c:pt>
                <c:pt idx="2281">
                  <c:v>163.67039564390177</c:v>
                </c:pt>
                <c:pt idx="2282">
                  <c:v>163.91909108361276</c:v>
                </c:pt>
                <c:pt idx="2283">
                  <c:v>165.50463358871755</c:v>
                </c:pt>
                <c:pt idx="2284">
                  <c:v>165.57444283495224</c:v>
                </c:pt>
                <c:pt idx="2285">
                  <c:v>164.79606973943575</c:v>
                </c:pt>
                <c:pt idx="2286">
                  <c:v>163.25328539764971</c:v>
                </c:pt>
                <c:pt idx="2287">
                  <c:v>163.86498891778092</c:v>
                </c:pt>
                <c:pt idx="2288">
                  <c:v>164.49501736504874</c:v>
                </c:pt>
                <c:pt idx="2289">
                  <c:v>163.42606328208046</c:v>
                </c:pt>
                <c:pt idx="2290">
                  <c:v>164.75243896053908</c:v>
                </c:pt>
                <c:pt idx="2291">
                  <c:v>165.14162550829732</c:v>
                </c:pt>
                <c:pt idx="2292">
                  <c:v>165.84320843295566</c:v>
                </c:pt>
                <c:pt idx="2293">
                  <c:v>166.83624496064377</c:v>
                </c:pt>
                <c:pt idx="2294">
                  <c:v>166.65037784254397</c:v>
                </c:pt>
                <c:pt idx="2295">
                  <c:v>167.54480880992557</c:v>
                </c:pt>
                <c:pt idx="2296">
                  <c:v>167.85371472451396</c:v>
                </c:pt>
                <c:pt idx="2297">
                  <c:v>167.97588090542465</c:v>
                </c:pt>
                <c:pt idx="2298">
                  <c:v>167.91217996823551</c:v>
                </c:pt>
                <c:pt idx="2299">
                  <c:v>168.22981203860326</c:v>
                </c:pt>
                <c:pt idx="2300">
                  <c:v>169.32756243564336</c:v>
                </c:pt>
                <c:pt idx="2301">
                  <c:v>170.11117122462744</c:v>
                </c:pt>
                <c:pt idx="2302">
                  <c:v>170.27085987538922</c:v>
                </c:pt>
                <c:pt idx="2303">
                  <c:v>170.22897432764842</c:v>
                </c:pt>
                <c:pt idx="2304">
                  <c:v>169.62686957887445</c:v>
                </c:pt>
                <c:pt idx="2305">
                  <c:v>168.42440531248235</c:v>
                </c:pt>
                <c:pt idx="2306">
                  <c:v>168.95233773713204</c:v>
                </c:pt>
                <c:pt idx="2307">
                  <c:v>169.09370146075722</c:v>
                </c:pt>
                <c:pt idx="2308">
                  <c:v>169.46107261906712</c:v>
                </c:pt>
                <c:pt idx="2309">
                  <c:v>170.76912337038911</c:v>
                </c:pt>
                <c:pt idx="2310">
                  <c:v>170.98727726487246</c:v>
                </c:pt>
                <c:pt idx="2311">
                  <c:v>171.28309394579185</c:v>
                </c:pt>
                <c:pt idx="2312">
                  <c:v>171.26040594076559</c:v>
                </c:pt>
                <c:pt idx="2313">
                  <c:v>170.15829246583587</c:v>
                </c:pt>
                <c:pt idx="2314">
                  <c:v>170.99164034276217</c:v>
                </c:pt>
                <c:pt idx="2315">
                  <c:v>170.79006614425955</c:v>
                </c:pt>
                <c:pt idx="2316">
                  <c:v>171.11642437040658</c:v>
                </c:pt>
                <c:pt idx="2317">
                  <c:v>171.05272343321744</c:v>
                </c:pt>
                <c:pt idx="2318">
                  <c:v>172.1949772247321</c:v>
                </c:pt>
                <c:pt idx="2319">
                  <c:v>172.3084172498634</c:v>
                </c:pt>
                <c:pt idx="2320">
                  <c:v>173.25258730518723</c:v>
                </c:pt>
                <c:pt idx="2321">
                  <c:v>172.5728197699772</c:v>
                </c:pt>
                <c:pt idx="2322">
                  <c:v>171.35639365433818</c:v>
                </c:pt>
                <c:pt idx="2323">
                  <c:v>172.15221906141329</c:v>
                </c:pt>
                <c:pt idx="2324">
                  <c:v>171.44103736539768</c:v>
                </c:pt>
                <c:pt idx="2325">
                  <c:v>171.69322326742039</c:v>
                </c:pt>
                <c:pt idx="2326">
                  <c:v>172.52482591319085</c:v>
                </c:pt>
                <c:pt idx="2327">
                  <c:v>172.19148676242034</c:v>
                </c:pt>
                <c:pt idx="2328">
                  <c:v>172.91488507652701</c:v>
                </c:pt>
                <c:pt idx="2329">
                  <c:v>170.86860154627342</c:v>
                </c:pt>
                <c:pt idx="2330">
                  <c:v>172.62255885791936</c:v>
                </c:pt>
                <c:pt idx="2331">
                  <c:v>172.222028307648</c:v>
                </c:pt>
                <c:pt idx="2332">
                  <c:v>173.08591772980196</c:v>
                </c:pt>
                <c:pt idx="2333">
                  <c:v>173.38958795092276</c:v>
                </c:pt>
                <c:pt idx="2334">
                  <c:v>173.47423166198229</c:v>
                </c:pt>
                <c:pt idx="2335">
                  <c:v>172.63303024485458</c:v>
                </c:pt>
                <c:pt idx="2336">
                  <c:v>172.68276933279679</c:v>
                </c:pt>
                <c:pt idx="2337">
                  <c:v>171.90090577496855</c:v>
                </c:pt>
                <c:pt idx="2338">
                  <c:v>171.91137716190377</c:v>
                </c:pt>
                <c:pt idx="2339">
                  <c:v>168.47327178484662</c:v>
                </c:pt>
                <c:pt idx="2340">
                  <c:v>167.99158798582744</c:v>
                </c:pt>
                <c:pt idx="2341">
                  <c:v>169.19928794568713</c:v>
                </c:pt>
                <c:pt idx="2342">
                  <c:v>167.56051589032839</c:v>
                </c:pt>
                <c:pt idx="2343">
                  <c:v>167.5631337370622</c:v>
                </c:pt>
                <c:pt idx="2344">
                  <c:v>166.63205291540737</c:v>
                </c:pt>
                <c:pt idx="2345">
                  <c:v>168.55355241801652</c:v>
                </c:pt>
                <c:pt idx="2346">
                  <c:v>169.01865652105499</c:v>
                </c:pt>
                <c:pt idx="2347">
                  <c:v>168.74203738285013</c:v>
                </c:pt>
                <c:pt idx="2348">
                  <c:v>169.8738197874296</c:v>
                </c:pt>
                <c:pt idx="2349">
                  <c:v>170.61205256636117</c:v>
                </c:pt>
                <c:pt idx="2350">
                  <c:v>170.60158117942595</c:v>
                </c:pt>
                <c:pt idx="2351">
                  <c:v>172.05710396341865</c:v>
                </c:pt>
                <c:pt idx="2352">
                  <c:v>172.91750292326086</c:v>
                </c:pt>
                <c:pt idx="2353">
                  <c:v>173.34595717202609</c:v>
                </c:pt>
                <c:pt idx="2354">
                  <c:v>173.85730990069499</c:v>
                </c:pt>
                <c:pt idx="2355">
                  <c:v>173.51088151625547</c:v>
                </c:pt>
                <c:pt idx="2356">
                  <c:v>174.34161154644795</c:v>
                </c:pt>
                <c:pt idx="2357">
                  <c:v>174.52486081781396</c:v>
                </c:pt>
                <c:pt idx="2358">
                  <c:v>174.53358697359329</c:v>
                </c:pt>
                <c:pt idx="2359">
                  <c:v>174.23864290825185</c:v>
                </c:pt>
                <c:pt idx="2360">
                  <c:v>174.81718703642159</c:v>
                </c:pt>
                <c:pt idx="2361">
                  <c:v>174.72207193842686</c:v>
                </c:pt>
                <c:pt idx="2362">
                  <c:v>174.58594390826926</c:v>
                </c:pt>
                <c:pt idx="2363">
                  <c:v>174.31805092584378</c:v>
                </c:pt>
                <c:pt idx="2364">
                  <c:v>175.19590219724466</c:v>
                </c:pt>
                <c:pt idx="2365">
                  <c:v>174.65749838565984</c:v>
                </c:pt>
                <c:pt idx="2366">
                  <c:v>173.51437197856725</c:v>
                </c:pt>
                <c:pt idx="2367">
                  <c:v>174.14701827256891</c:v>
                </c:pt>
                <c:pt idx="2368">
                  <c:v>174.30059861428518</c:v>
                </c:pt>
                <c:pt idx="2369">
                  <c:v>173.26131346096662</c:v>
                </c:pt>
                <c:pt idx="2370">
                  <c:v>173.13827466447805</c:v>
                </c:pt>
                <c:pt idx="2371">
                  <c:v>174.43410879770897</c:v>
                </c:pt>
                <c:pt idx="2372">
                  <c:v>174.6601162323937</c:v>
                </c:pt>
                <c:pt idx="2373">
                  <c:v>175.51440688319039</c:v>
                </c:pt>
                <c:pt idx="2374">
                  <c:v>175.43063578770881</c:v>
                </c:pt>
                <c:pt idx="2375">
                  <c:v>174.02485209165829</c:v>
                </c:pt>
                <c:pt idx="2376">
                  <c:v>173.01959894587912</c:v>
                </c:pt>
                <c:pt idx="2377">
                  <c:v>174.37477093840951</c:v>
                </c:pt>
                <c:pt idx="2378">
                  <c:v>171.55535000610706</c:v>
                </c:pt>
                <c:pt idx="2379">
                  <c:v>173.02657987050256</c:v>
                </c:pt>
                <c:pt idx="2380">
                  <c:v>172.58590900364624</c:v>
                </c:pt>
                <c:pt idx="2381">
                  <c:v>172.105097820205</c:v>
                </c:pt>
                <c:pt idx="2382">
                  <c:v>169.82495331506533</c:v>
                </c:pt>
                <c:pt idx="2383">
                  <c:v>169.82582593064325</c:v>
                </c:pt>
                <c:pt idx="2384">
                  <c:v>171.7220195814923</c:v>
                </c:pt>
                <c:pt idx="2385">
                  <c:v>171.45325398348888</c:v>
                </c:pt>
                <c:pt idx="2386">
                  <c:v>168.85984048587113</c:v>
                </c:pt>
                <c:pt idx="2387">
                  <c:v>171.80840852370775</c:v>
                </c:pt>
                <c:pt idx="2388">
                  <c:v>168.25860835267511</c:v>
                </c:pt>
                <c:pt idx="2389">
                  <c:v>166.33187315659842</c:v>
                </c:pt>
                <c:pt idx="2390">
                  <c:v>163.59273285746579</c:v>
                </c:pt>
                <c:pt idx="2391">
                  <c:v>163.85102706853405</c:v>
                </c:pt>
                <c:pt idx="2392">
                  <c:v>162.52377877449749</c:v>
                </c:pt>
                <c:pt idx="2393">
                  <c:v>162.54733939510172</c:v>
                </c:pt>
                <c:pt idx="2394">
                  <c:v>164.64161678214163</c:v>
                </c:pt>
                <c:pt idx="2395">
                  <c:v>166.14687865407654</c:v>
                </c:pt>
                <c:pt idx="2396">
                  <c:v>169.39911691303391</c:v>
                </c:pt>
                <c:pt idx="2397">
                  <c:v>168.16262063910241</c:v>
                </c:pt>
                <c:pt idx="2398">
                  <c:v>170.23159217438223</c:v>
                </c:pt>
                <c:pt idx="2399">
                  <c:v>171.43231120961843</c:v>
                </c:pt>
                <c:pt idx="2400">
                  <c:v>171.17488961412812</c:v>
                </c:pt>
                <c:pt idx="2401">
                  <c:v>173.21855529764787</c:v>
                </c:pt>
                <c:pt idx="2402">
                  <c:v>172.97858601371624</c:v>
                </c:pt>
                <c:pt idx="2403">
                  <c:v>174.05626625246387</c:v>
                </c:pt>
                <c:pt idx="2404">
                  <c:v>176.09818670482778</c:v>
                </c:pt>
                <c:pt idx="2405">
                  <c:v>176.07724393095739</c:v>
                </c:pt>
                <c:pt idx="2406">
                  <c:v>175.57898043595748</c:v>
                </c:pt>
                <c:pt idx="2407">
                  <c:v>176.57987050384696</c:v>
                </c:pt>
                <c:pt idx="2408">
                  <c:v>177.24654880538804</c:v>
                </c:pt>
                <c:pt idx="2409">
                  <c:v>177.30850451142135</c:v>
                </c:pt>
                <c:pt idx="2410">
                  <c:v>177.86174278783105</c:v>
                </c:pt>
                <c:pt idx="2411">
                  <c:v>177.9856541998976</c:v>
                </c:pt>
                <c:pt idx="2412">
                  <c:v>177.86087017225313</c:v>
                </c:pt>
                <c:pt idx="2413">
                  <c:v>177.95511265466988</c:v>
                </c:pt>
                <c:pt idx="2414">
                  <c:v>177.99787081798863</c:v>
                </c:pt>
                <c:pt idx="2415">
                  <c:v>178.12876315467864</c:v>
                </c:pt>
                <c:pt idx="2416">
                  <c:v>179.04326428035276</c:v>
                </c:pt>
                <c:pt idx="2417">
                  <c:v>178.77449868234925</c:v>
                </c:pt>
                <c:pt idx="2418">
                  <c:v>179.12616276025639</c:v>
                </c:pt>
                <c:pt idx="2419">
                  <c:v>180.06422450653466</c:v>
                </c:pt>
                <c:pt idx="2420">
                  <c:v>180.5799403130932</c:v>
                </c:pt>
                <c:pt idx="2421">
                  <c:v>180.3722578055451</c:v>
                </c:pt>
                <c:pt idx="2422">
                  <c:v>180.87837484074637</c:v>
                </c:pt>
                <c:pt idx="2423">
                  <c:v>180.41850643117556</c:v>
                </c:pt>
                <c:pt idx="2424">
                  <c:v>179.18637323513374</c:v>
                </c:pt>
                <c:pt idx="2425">
                  <c:v>180.33037225780433</c:v>
                </c:pt>
                <c:pt idx="2426">
                  <c:v>181.00926717743641</c:v>
                </c:pt>
                <c:pt idx="2427">
                  <c:v>180.7989668231545</c:v>
                </c:pt>
                <c:pt idx="2428">
                  <c:v>181.10001919754146</c:v>
                </c:pt>
                <c:pt idx="2429">
                  <c:v>179.78586013717393</c:v>
                </c:pt>
                <c:pt idx="2430">
                  <c:v>179.74310197385523</c:v>
                </c:pt>
                <c:pt idx="2431">
                  <c:v>176.80413270737591</c:v>
                </c:pt>
                <c:pt idx="2432">
                  <c:v>177.6060664234966</c:v>
                </c:pt>
                <c:pt idx="2433">
                  <c:v>174.72643501631674</c:v>
                </c:pt>
                <c:pt idx="2434">
                  <c:v>173.61821323234147</c:v>
                </c:pt>
                <c:pt idx="2435">
                  <c:v>172.14436552121217</c:v>
                </c:pt>
                <c:pt idx="2436">
                  <c:v>175.64791706661433</c:v>
                </c:pt>
                <c:pt idx="2437">
                  <c:v>179.86614077034386</c:v>
                </c:pt>
                <c:pt idx="2438">
                  <c:v>180.68814464475699</c:v>
                </c:pt>
                <c:pt idx="2439">
                  <c:v>181.37663833574632</c:v>
                </c:pt>
                <c:pt idx="2440">
                  <c:v>181.69339779053615</c:v>
                </c:pt>
                <c:pt idx="2441">
                  <c:v>181.66809193877609</c:v>
                </c:pt>
                <c:pt idx="2442">
                  <c:v>182.26932407197214</c:v>
                </c:pt>
                <c:pt idx="2443">
                  <c:v>182.42639487600013</c:v>
                </c:pt>
                <c:pt idx="2444">
                  <c:v>181.53458175535229</c:v>
                </c:pt>
                <c:pt idx="2445">
                  <c:v>179.66282134068541</c:v>
                </c:pt>
                <c:pt idx="2446">
                  <c:v>179.60173825023006</c:v>
                </c:pt>
                <c:pt idx="2447">
                  <c:v>176.318958446045</c:v>
                </c:pt>
                <c:pt idx="2448">
                  <c:v>174.75086825249886</c:v>
                </c:pt>
                <c:pt idx="2449">
                  <c:v>176.78318993350553</c:v>
                </c:pt>
                <c:pt idx="2450">
                  <c:v>179.94554878793576</c:v>
                </c:pt>
                <c:pt idx="2451">
                  <c:v>178.43330599137735</c:v>
                </c:pt>
                <c:pt idx="2452">
                  <c:v>176.98912720989776</c:v>
                </c:pt>
                <c:pt idx="2453">
                  <c:v>176.53274926263865</c:v>
                </c:pt>
                <c:pt idx="2454">
                  <c:v>175.50655334298909</c:v>
                </c:pt>
                <c:pt idx="2455">
                  <c:v>173.88348836803317</c:v>
                </c:pt>
                <c:pt idx="2456">
                  <c:v>176.21773503900474</c:v>
                </c:pt>
                <c:pt idx="2457">
                  <c:v>176.49086371489784</c:v>
                </c:pt>
                <c:pt idx="2458">
                  <c:v>177.32595682298003</c:v>
                </c:pt>
                <c:pt idx="2459">
                  <c:v>180.03368296130705</c:v>
                </c:pt>
                <c:pt idx="2460">
                  <c:v>179.04500951150865</c:v>
                </c:pt>
                <c:pt idx="2461">
                  <c:v>179.50487792107947</c:v>
                </c:pt>
                <c:pt idx="2462">
                  <c:v>177.10169461945114</c:v>
                </c:pt>
                <c:pt idx="2463">
                  <c:v>174.71160055149187</c:v>
                </c:pt>
                <c:pt idx="2464">
                  <c:v>176.37742368976649</c:v>
                </c:pt>
                <c:pt idx="2465">
                  <c:v>174.08593518211367</c:v>
                </c:pt>
                <c:pt idx="2466">
                  <c:v>176.34251906664915</c:v>
                </c:pt>
                <c:pt idx="2467">
                  <c:v>178.88881132305852</c:v>
                </c:pt>
                <c:pt idx="2468">
                  <c:v>178.14534285065935</c:v>
                </c:pt>
                <c:pt idx="2469">
                  <c:v>179.97870817989718</c:v>
                </c:pt>
                <c:pt idx="2470">
                  <c:v>179.36351419745421</c:v>
                </c:pt>
                <c:pt idx="2471">
                  <c:v>178.60172079791849</c:v>
                </c:pt>
                <c:pt idx="2472">
                  <c:v>180.50838583570274</c:v>
                </c:pt>
                <c:pt idx="2473">
                  <c:v>180.50315014223517</c:v>
                </c:pt>
                <c:pt idx="2474">
                  <c:v>182.24401822021207</c:v>
                </c:pt>
                <c:pt idx="2475">
                  <c:v>182.98661407703329</c:v>
                </c:pt>
                <c:pt idx="2476">
                  <c:v>183.27894029564101</c:v>
                </c:pt>
                <c:pt idx="2477">
                  <c:v>183.22134766749738</c:v>
                </c:pt>
                <c:pt idx="2478">
                  <c:v>183.02675439361826</c:v>
                </c:pt>
                <c:pt idx="2479">
                  <c:v>184.14806541126254</c:v>
                </c:pt>
                <c:pt idx="2480">
                  <c:v>184.09221801427478</c:v>
                </c:pt>
                <c:pt idx="2481">
                  <c:v>184.60008028063197</c:v>
                </c:pt>
                <c:pt idx="2482">
                  <c:v>184.45871655700677</c:v>
                </c:pt>
                <c:pt idx="2483">
                  <c:v>184.18646049669155</c:v>
                </c:pt>
                <c:pt idx="2484">
                  <c:v>183.64194837606118</c:v>
                </c:pt>
                <c:pt idx="2485">
                  <c:v>184.76674985601719</c:v>
                </c:pt>
                <c:pt idx="2486">
                  <c:v>183.92816628562332</c:v>
                </c:pt>
                <c:pt idx="2487">
                  <c:v>183.12099687603504</c:v>
                </c:pt>
                <c:pt idx="2488">
                  <c:v>183.34002338609628</c:v>
                </c:pt>
                <c:pt idx="2489">
                  <c:v>180.74137419501093</c:v>
                </c:pt>
                <c:pt idx="2490">
                  <c:v>181.45430112218239</c:v>
                </c:pt>
                <c:pt idx="2491">
                  <c:v>178.3765859788117</c:v>
                </c:pt>
                <c:pt idx="2492">
                  <c:v>178.03452067226183</c:v>
                </c:pt>
                <c:pt idx="2493">
                  <c:v>180.2780153231283</c:v>
                </c:pt>
                <c:pt idx="2494">
                  <c:v>179.18288277282204</c:v>
                </c:pt>
                <c:pt idx="2495">
                  <c:v>181.60788146389865</c:v>
                </c:pt>
                <c:pt idx="2496">
                  <c:v>181.00490409954676</c:v>
                </c:pt>
                <c:pt idx="2497">
                  <c:v>183.20564058709451</c:v>
                </c:pt>
                <c:pt idx="2498">
                  <c:v>182.31295485086872</c:v>
                </c:pt>
                <c:pt idx="2499">
                  <c:v>183.95608998411709</c:v>
                </c:pt>
                <c:pt idx="2500">
                  <c:v>183.63496745143763</c:v>
                </c:pt>
                <c:pt idx="2501">
                  <c:v>182.50754812474781</c:v>
                </c:pt>
                <c:pt idx="2502">
                  <c:v>179.85043368994099</c:v>
                </c:pt>
                <c:pt idx="2503">
                  <c:v>179.42285205675367</c:v>
                </c:pt>
                <c:pt idx="2504">
                  <c:v>179.84781584320714</c:v>
                </c:pt>
                <c:pt idx="2505">
                  <c:v>182.04855233075486</c:v>
                </c:pt>
                <c:pt idx="2506">
                  <c:v>180.44730274524727</c:v>
                </c:pt>
                <c:pt idx="2507">
                  <c:v>179.73175797134198</c:v>
                </c:pt>
                <c:pt idx="2508">
                  <c:v>180.36614949649947</c:v>
                </c:pt>
                <c:pt idx="2509">
                  <c:v>181.55814237595635</c:v>
                </c:pt>
                <c:pt idx="2510">
                  <c:v>181.18379029302298</c:v>
                </c:pt>
                <c:pt idx="2511">
                  <c:v>181.66983716993181</c:v>
                </c:pt>
                <c:pt idx="2512">
                  <c:v>182.47962442625385</c:v>
                </c:pt>
                <c:pt idx="2513">
                  <c:v>183.42903017504528</c:v>
                </c:pt>
                <c:pt idx="2514">
                  <c:v>182.58870137349555</c:v>
                </c:pt>
                <c:pt idx="2515">
                  <c:v>182.88626328557083</c:v>
                </c:pt>
                <c:pt idx="2516">
                  <c:v>183.82781549416086</c:v>
                </c:pt>
                <c:pt idx="2517">
                  <c:v>183.68470653937979</c:v>
                </c:pt>
                <c:pt idx="2518">
                  <c:v>181.60700884832062</c:v>
                </c:pt>
                <c:pt idx="2519">
                  <c:v>183.28417598910843</c:v>
                </c:pt>
                <c:pt idx="2520">
                  <c:v>183.01279254437117</c:v>
                </c:pt>
                <c:pt idx="2521">
                  <c:v>183.943873366026</c:v>
                </c:pt>
                <c:pt idx="2522">
                  <c:v>184.37756330825883</c:v>
                </c:pt>
                <c:pt idx="2523">
                  <c:v>184.79292832335511</c:v>
                </c:pt>
                <c:pt idx="2524">
                  <c:v>184.02764446150763</c:v>
                </c:pt>
                <c:pt idx="2525">
                  <c:v>184.53725195902069</c:v>
                </c:pt>
                <c:pt idx="2526">
                  <c:v>183.84701303687544</c:v>
                </c:pt>
                <c:pt idx="2527">
                  <c:v>181.9848513935658</c:v>
                </c:pt>
                <c:pt idx="2528">
                  <c:v>183.97266968009777</c:v>
                </c:pt>
                <c:pt idx="2529">
                  <c:v>184.51369133841641</c:v>
                </c:pt>
                <c:pt idx="2530">
                  <c:v>182.3295345468494</c:v>
                </c:pt>
                <c:pt idx="2531">
                  <c:v>181.51712944379352</c:v>
                </c:pt>
                <c:pt idx="2532">
                  <c:v>182.20213267247112</c:v>
                </c:pt>
                <c:pt idx="2533">
                  <c:v>184.65418244646364</c:v>
                </c:pt>
                <c:pt idx="2534">
                  <c:v>183.71437546902948</c:v>
                </c:pt>
                <c:pt idx="2535">
                  <c:v>183.17248119513292</c:v>
                </c:pt>
                <c:pt idx="2536">
                  <c:v>183.11663379814519</c:v>
                </c:pt>
                <c:pt idx="2537">
                  <c:v>185.09049023543025</c:v>
                </c:pt>
                <c:pt idx="2538">
                  <c:v>185.23272657463338</c:v>
                </c:pt>
                <c:pt idx="2539">
                  <c:v>185.79730885355625</c:v>
                </c:pt>
                <c:pt idx="2540">
                  <c:v>185.6777605193794</c:v>
                </c:pt>
                <c:pt idx="2541">
                  <c:v>185.50498263494862</c:v>
                </c:pt>
                <c:pt idx="2542">
                  <c:v>185.93867257718145</c:v>
                </c:pt>
                <c:pt idx="2543">
                  <c:v>185.52330756208517</c:v>
                </c:pt>
                <c:pt idx="2544">
                  <c:v>183.615769908723</c:v>
                </c:pt>
                <c:pt idx="2545">
                  <c:v>185.29817274297838</c:v>
                </c:pt>
                <c:pt idx="2546">
                  <c:v>185.06343915251432</c:v>
                </c:pt>
                <c:pt idx="2547">
                  <c:v>183.89413427808373</c:v>
                </c:pt>
                <c:pt idx="2548">
                  <c:v>184.27284943890677</c:v>
                </c:pt>
                <c:pt idx="2549">
                  <c:v>184.08698232080695</c:v>
                </c:pt>
                <c:pt idx="2550">
                  <c:v>184.47704148414314</c:v>
                </c:pt>
                <c:pt idx="2551">
                  <c:v>182.88626328557075</c:v>
                </c:pt>
                <c:pt idx="2552">
                  <c:v>182.62360599661281</c:v>
                </c:pt>
                <c:pt idx="2553">
                  <c:v>181.44121188851321</c:v>
                </c:pt>
                <c:pt idx="2554">
                  <c:v>181.51712944379338</c:v>
                </c:pt>
                <c:pt idx="2555">
                  <c:v>183.70303146651625</c:v>
                </c:pt>
                <c:pt idx="2556">
                  <c:v>184.02240876803987</c:v>
                </c:pt>
                <c:pt idx="2557">
                  <c:v>182.73530079058824</c:v>
                </c:pt>
                <c:pt idx="2558">
                  <c:v>181.89060891114877</c:v>
                </c:pt>
                <c:pt idx="2559">
                  <c:v>182.92553098657768</c:v>
                </c:pt>
                <c:pt idx="2560">
                  <c:v>183.28766645141999</c:v>
                </c:pt>
                <c:pt idx="2561">
                  <c:v>185.1027068535212</c:v>
                </c:pt>
                <c:pt idx="2562">
                  <c:v>184.12101432834626</c:v>
                </c:pt>
                <c:pt idx="2563">
                  <c:v>185.24319796156851</c:v>
                </c:pt>
                <c:pt idx="2564">
                  <c:v>185.36100106458949</c:v>
                </c:pt>
                <c:pt idx="2565">
                  <c:v>183.99797553185772</c:v>
                </c:pt>
                <c:pt idx="2566">
                  <c:v>183.45084556449353</c:v>
                </c:pt>
                <c:pt idx="2567">
                  <c:v>183.37929108710301</c:v>
                </c:pt>
                <c:pt idx="2568">
                  <c:v>179.55287177786553</c:v>
                </c:pt>
                <c:pt idx="2569">
                  <c:v>180.03019249899506</c:v>
                </c:pt>
                <c:pt idx="2570">
                  <c:v>181.27890539101762</c:v>
                </c:pt>
                <c:pt idx="2571">
                  <c:v>181.22305799402989</c:v>
                </c:pt>
                <c:pt idx="2572">
                  <c:v>180.52322030052741</c:v>
                </c:pt>
                <c:pt idx="2573">
                  <c:v>181.62097069756749</c:v>
                </c:pt>
                <c:pt idx="2574">
                  <c:v>178.59648510445069</c:v>
                </c:pt>
                <c:pt idx="2575">
                  <c:v>179.00050611703381</c:v>
                </c:pt>
                <c:pt idx="2576">
                  <c:v>181.20909614478299</c:v>
                </c:pt>
                <c:pt idx="2577">
                  <c:v>183.21436674287369</c:v>
                </c:pt>
                <c:pt idx="2578">
                  <c:v>184.03026230824133</c:v>
                </c:pt>
                <c:pt idx="2579">
                  <c:v>183.8950068936617</c:v>
                </c:pt>
                <c:pt idx="2580">
                  <c:v>185.36885460479101</c:v>
                </c:pt>
                <c:pt idx="2581">
                  <c:v>185.57391926560533</c:v>
                </c:pt>
                <c:pt idx="2582">
                  <c:v>185.71702822038642</c:v>
                </c:pt>
                <c:pt idx="2583">
                  <c:v>184.92556589120093</c:v>
                </c:pt>
                <c:pt idx="2584">
                  <c:v>184.48402240876669</c:v>
                </c:pt>
                <c:pt idx="2585">
                  <c:v>183.43688371524672</c:v>
                </c:pt>
                <c:pt idx="2586">
                  <c:v>181.47349866489682</c:v>
                </c:pt>
                <c:pt idx="2587">
                  <c:v>180.42548735579891</c:v>
                </c:pt>
                <c:pt idx="2588">
                  <c:v>182.66025585088605</c:v>
                </c:pt>
                <c:pt idx="2589">
                  <c:v>183.99710291627986</c:v>
                </c:pt>
                <c:pt idx="2590">
                  <c:v>184.00233860974745</c:v>
                </c:pt>
                <c:pt idx="2591">
                  <c:v>183.58435574791741</c:v>
                </c:pt>
                <c:pt idx="2592">
                  <c:v>183.07823871271611</c:v>
                </c:pt>
                <c:pt idx="2593">
                  <c:v>182.66636415993165</c:v>
                </c:pt>
                <c:pt idx="2594">
                  <c:v>183.23530951674414</c:v>
                </c:pt>
                <c:pt idx="2595">
                  <c:v>181.81469135586875</c:v>
                </c:pt>
                <c:pt idx="2596">
                  <c:v>181.29199462468674</c:v>
                </c:pt>
                <c:pt idx="2597">
                  <c:v>183.61402467756719</c:v>
                </c:pt>
                <c:pt idx="2598">
                  <c:v>181.85919475034336</c:v>
                </c:pt>
                <c:pt idx="2599">
                  <c:v>182.03197263477412</c:v>
                </c:pt>
                <c:pt idx="2600">
                  <c:v>181.79985689104385</c:v>
                </c:pt>
                <c:pt idx="2601">
                  <c:v>182.51103858705946</c:v>
                </c:pt>
                <c:pt idx="2602">
                  <c:v>183.46218956700676</c:v>
                </c:pt>
                <c:pt idx="2603">
                  <c:v>182.98050576798758</c:v>
                </c:pt>
                <c:pt idx="2604">
                  <c:v>181.47000820258503</c:v>
                </c:pt>
                <c:pt idx="2605">
                  <c:v>177.64097104661371</c:v>
                </c:pt>
                <c:pt idx="2606">
                  <c:v>171.98293163929429</c:v>
                </c:pt>
                <c:pt idx="2607">
                  <c:v>165.20445382990849</c:v>
                </c:pt>
                <c:pt idx="2608">
                  <c:v>162.97055795039927</c:v>
                </c:pt>
                <c:pt idx="2609">
                  <c:v>169.33192551353295</c:v>
                </c:pt>
                <c:pt idx="2610">
                  <c:v>173.44630796348844</c:v>
                </c:pt>
                <c:pt idx="2611">
                  <c:v>173.55189444841835</c:v>
                </c:pt>
                <c:pt idx="2612">
                  <c:v>172.0954990488477</c:v>
                </c:pt>
                <c:pt idx="2613">
                  <c:v>167.00553238276277</c:v>
                </c:pt>
                <c:pt idx="2614">
                  <c:v>170.06055952110719</c:v>
                </c:pt>
                <c:pt idx="2615">
                  <c:v>170.25864325729808</c:v>
                </c:pt>
                <c:pt idx="2616">
                  <c:v>167.64865006369962</c:v>
                </c:pt>
                <c:pt idx="2617">
                  <c:v>171.85378453376015</c:v>
                </c:pt>
                <c:pt idx="2618">
                  <c:v>169.46543569695675</c:v>
                </c:pt>
                <c:pt idx="2619">
                  <c:v>170.35986666433837</c:v>
                </c:pt>
                <c:pt idx="2620">
                  <c:v>171.12427791060796</c:v>
                </c:pt>
                <c:pt idx="2621">
                  <c:v>170.42444021710546</c:v>
                </c:pt>
                <c:pt idx="2622">
                  <c:v>172.61121485540627</c:v>
                </c:pt>
                <c:pt idx="2623">
                  <c:v>174.11385888060738</c:v>
                </c:pt>
                <c:pt idx="2624">
                  <c:v>173.66795232028349</c:v>
                </c:pt>
                <c:pt idx="2625">
                  <c:v>170.86074800607207</c:v>
                </c:pt>
                <c:pt idx="2626">
                  <c:v>171.64086633274445</c:v>
                </c:pt>
                <c:pt idx="2627">
                  <c:v>169.52651878741207</c:v>
                </c:pt>
                <c:pt idx="2628">
                  <c:v>169.17921778739461</c:v>
                </c:pt>
                <c:pt idx="2629">
                  <c:v>168.61027243058211</c:v>
                </c:pt>
                <c:pt idx="2630">
                  <c:v>168.53173702856813</c:v>
                </c:pt>
                <c:pt idx="2631">
                  <c:v>164.20618160875281</c:v>
                </c:pt>
                <c:pt idx="2632">
                  <c:v>164.40862842283332</c:v>
                </c:pt>
                <c:pt idx="2633">
                  <c:v>167.54480880992554</c:v>
                </c:pt>
                <c:pt idx="2634">
                  <c:v>167.87553011396224</c:v>
                </c:pt>
                <c:pt idx="2635">
                  <c:v>170.27871341559052</c:v>
                </c:pt>
                <c:pt idx="2636">
                  <c:v>173.39307841323446</c:v>
                </c:pt>
                <c:pt idx="2637">
                  <c:v>172.77090350616803</c:v>
                </c:pt>
                <c:pt idx="2638">
                  <c:v>174.15923489065989</c:v>
                </c:pt>
                <c:pt idx="2639">
                  <c:v>175.6950383078225</c:v>
                </c:pt>
                <c:pt idx="2640">
                  <c:v>175.82244018220078</c:v>
                </c:pt>
                <c:pt idx="2641">
                  <c:v>176.04670238572962</c:v>
                </c:pt>
                <c:pt idx="2642">
                  <c:v>174.84511073491547</c:v>
                </c:pt>
                <c:pt idx="2643">
                  <c:v>174.02048901376853</c:v>
                </c:pt>
                <c:pt idx="2644">
                  <c:v>176.60517635560691</c:v>
                </c:pt>
                <c:pt idx="2645">
                  <c:v>177.4123457651952</c:v>
                </c:pt>
                <c:pt idx="2646">
                  <c:v>177.46033962198152</c:v>
                </c:pt>
                <c:pt idx="2647">
                  <c:v>177.20815371995877</c:v>
                </c:pt>
                <c:pt idx="2648">
                  <c:v>176.17584949126368</c:v>
                </c:pt>
                <c:pt idx="2649">
                  <c:v>179.10521998638572</c:v>
                </c:pt>
                <c:pt idx="2650">
                  <c:v>181.08082165482668</c:v>
                </c:pt>
                <c:pt idx="2651">
                  <c:v>180.73439327038713</c:v>
                </c:pt>
                <c:pt idx="2652">
                  <c:v>180.27277962966042</c:v>
                </c:pt>
                <c:pt idx="2653">
                  <c:v>182.4071973332853</c:v>
                </c:pt>
                <c:pt idx="2654">
                  <c:v>182.32517146895955</c:v>
                </c:pt>
                <c:pt idx="2655">
                  <c:v>181.44819281313661</c:v>
                </c:pt>
                <c:pt idx="2656">
                  <c:v>183.6026806750539</c:v>
                </c:pt>
                <c:pt idx="2657">
                  <c:v>184.10356201678761</c:v>
                </c:pt>
                <c:pt idx="2658">
                  <c:v>183.45084556449351</c:v>
                </c:pt>
                <c:pt idx="2659">
                  <c:v>183.24316305694538</c:v>
                </c:pt>
                <c:pt idx="2660">
                  <c:v>183.17946211975624</c:v>
                </c:pt>
                <c:pt idx="2661">
                  <c:v>181.3801287980578</c:v>
                </c:pt>
                <c:pt idx="2662">
                  <c:v>181.65413008952882</c:v>
                </c:pt>
                <c:pt idx="2663">
                  <c:v>181.06773242115767</c:v>
                </c:pt>
                <c:pt idx="2664">
                  <c:v>178.53452939841733</c:v>
                </c:pt>
                <c:pt idx="2665">
                  <c:v>176.53362187821631</c:v>
                </c:pt>
                <c:pt idx="2666">
                  <c:v>179.16455784568518</c:v>
                </c:pt>
                <c:pt idx="2667">
                  <c:v>178.92458856175352</c:v>
                </c:pt>
                <c:pt idx="2668">
                  <c:v>181.81643658702444</c:v>
                </c:pt>
                <c:pt idx="2669">
                  <c:v>181.61224454178804</c:v>
                </c:pt>
                <c:pt idx="2670">
                  <c:v>182.30422869508914</c:v>
                </c:pt>
                <c:pt idx="2671">
                  <c:v>182.07909387598235</c:v>
                </c:pt>
                <c:pt idx="2672">
                  <c:v>182.30161084835535</c:v>
                </c:pt>
                <c:pt idx="2673">
                  <c:v>182.27805022775115</c:v>
                </c:pt>
                <c:pt idx="2674">
                  <c:v>182.38625455941491</c:v>
                </c:pt>
                <c:pt idx="2675">
                  <c:v>181.53981744881958</c:v>
                </c:pt>
                <c:pt idx="2676">
                  <c:v>183.47876926298736</c:v>
                </c:pt>
                <c:pt idx="2677">
                  <c:v>181.46128204680559</c:v>
                </c:pt>
                <c:pt idx="2678">
                  <c:v>178.85303408436295</c:v>
                </c:pt>
                <c:pt idx="2679">
                  <c:v>182.52412782072832</c:v>
                </c:pt>
                <c:pt idx="2680">
                  <c:v>181.24836384578987</c:v>
                </c:pt>
                <c:pt idx="2681">
                  <c:v>180.07207804673581</c:v>
                </c:pt>
                <c:pt idx="2682">
                  <c:v>178.67851096877632</c:v>
                </c:pt>
                <c:pt idx="2683">
                  <c:v>179.0807867502036</c:v>
                </c:pt>
                <c:pt idx="2684">
                  <c:v>175.60254105656151</c:v>
                </c:pt>
                <c:pt idx="2685">
                  <c:v>176.4376341646437</c:v>
                </c:pt>
                <c:pt idx="2686">
                  <c:v>178.3111398104665</c:v>
                </c:pt>
                <c:pt idx="2687">
                  <c:v>180.89931761461662</c:v>
                </c:pt>
                <c:pt idx="2688">
                  <c:v>178.1785022426206</c:v>
                </c:pt>
                <c:pt idx="2689">
                  <c:v>175.007417232411</c:v>
                </c:pt>
                <c:pt idx="2690">
                  <c:v>176.36869753398696</c:v>
                </c:pt>
                <c:pt idx="2691">
                  <c:v>177.92369849386409</c:v>
                </c:pt>
                <c:pt idx="2692">
                  <c:v>180.13316113719117</c:v>
                </c:pt>
                <c:pt idx="2693">
                  <c:v>179.84519799647319</c:v>
                </c:pt>
                <c:pt idx="2694">
                  <c:v>179.45339360198116</c:v>
                </c:pt>
                <c:pt idx="2695">
                  <c:v>181.36093125534333</c:v>
                </c:pt>
                <c:pt idx="2696">
                  <c:v>180.05200788844337</c:v>
                </c:pt>
                <c:pt idx="2697">
                  <c:v>178.35738843609693</c:v>
                </c:pt>
                <c:pt idx="2698">
                  <c:v>175.6278469083216</c:v>
                </c:pt>
                <c:pt idx="2699">
                  <c:v>175.98125621738458</c:v>
                </c:pt>
                <c:pt idx="2700">
                  <c:v>173.67318801375106</c:v>
                </c:pt>
                <c:pt idx="2701">
                  <c:v>169.55706033263971</c:v>
                </c:pt>
                <c:pt idx="2702">
                  <c:v>167.71933192551217</c:v>
                </c:pt>
                <c:pt idx="2703">
                  <c:v>167.86244088029324</c:v>
                </c:pt>
                <c:pt idx="2704">
                  <c:v>169.17223686277111</c:v>
                </c:pt>
                <c:pt idx="2705">
                  <c:v>164.94877746557395</c:v>
                </c:pt>
                <c:pt idx="2706">
                  <c:v>167.7027522295314</c:v>
                </c:pt>
                <c:pt idx="2707">
                  <c:v>164.08052496553032</c:v>
                </c:pt>
                <c:pt idx="2708">
                  <c:v>164.16778652332366</c:v>
                </c:pt>
                <c:pt idx="2709">
                  <c:v>162.24803225187043</c:v>
                </c:pt>
                <c:pt idx="2710">
                  <c:v>163.090978900154</c:v>
                </c:pt>
                <c:pt idx="2711">
                  <c:v>166.39906455609912</c:v>
                </c:pt>
                <c:pt idx="2712">
                  <c:v>163.79692490270205</c:v>
                </c:pt>
                <c:pt idx="2713">
                  <c:v>166.11371926211496</c:v>
                </c:pt>
                <c:pt idx="2714">
                  <c:v>164.30915024694892</c:v>
                </c:pt>
                <c:pt idx="2715">
                  <c:v>165.21754306357749</c:v>
                </c:pt>
                <c:pt idx="2716">
                  <c:v>169.30836489292878</c:v>
                </c:pt>
                <c:pt idx="2717">
                  <c:v>169.23331995322656</c:v>
                </c:pt>
                <c:pt idx="2718">
                  <c:v>166.06136232743904</c:v>
                </c:pt>
                <c:pt idx="2719">
                  <c:v>166.89034712647569</c:v>
                </c:pt>
                <c:pt idx="2720">
                  <c:v>167.14515087523219</c:v>
                </c:pt>
                <c:pt idx="2721">
                  <c:v>164.05609172934834</c:v>
                </c:pt>
                <c:pt idx="2722">
                  <c:v>161.73406167646783</c:v>
                </c:pt>
                <c:pt idx="2723">
                  <c:v>161.62672996038205</c:v>
                </c:pt>
                <c:pt idx="2724">
                  <c:v>161.59618841515436</c:v>
                </c:pt>
                <c:pt idx="2725">
                  <c:v>159.60837012862231</c:v>
                </c:pt>
                <c:pt idx="2726">
                  <c:v>162.72360774184421</c:v>
                </c:pt>
                <c:pt idx="2727">
                  <c:v>165.41126372187873</c:v>
                </c:pt>
                <c:pt idx="2728">
                  <c:v>168.13731478734229</c:v>
                </c:pt>
                <c:pt idx="2729">
                  <c:v>167.35283338278026</c:v>
                </c:pt>
                <c:pt idx="2730">
                  <c:v>167.34847030489061</c:v>
                </c:pt>
                <c:pt idx="2731">
                  <c:v>169.76736068692168</c:v>
                </c:pt>
                <c:pt idx="2732">
                  <c:v>167.6530131415893</c:v>
                </c:pt>
              </c:numCache>
            </c:numRef>
          </c:val>
          <c:smooth val="0"/>
          <c:extLst xmlns:c16r2="http://schemas.microsoft.com/office/drawing/2015/06/chart">
            <c:ext xmlns:c16="http://schemas.microsoft.com/office/drawing/2014/chart" uri="{C3380CC4-5D6E-409C-BE32-E72D297353CC}">
              <c16:uniqueId val="{00000001-54B9-45AF-81D4-026908AD2AAF}"/>
            </c:ext>
          </c:extLst>
        </c:ser>
        <c:ser>
          <c:idx val="3"/>
          <c:order val="2"/>
          <c:tx>
            <c:strRef>
              <c:f>'1M'!$R$30</c:f>
              <c:strCache>
                <c:ptCount val="1"/>
                <c:pt idx="0">
                  <c:v>MR 0-0.1</c:v>
                </c:pt>
              </c:strCache>
            </c:strRef>
          </c:tx>
          <c:spPr>
            <a:ln>
              <a:solidFill>
                <a:srgbClr val="C00000"/>
              </a:solidFill>
            </a:ln>
          </c:spPr>
          <c:marker>
            <c:symbol val="none"/>
          </c:marker>
          <c:cat>
            <c:numRef>
              <c:f>'1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1M'!$R$31:$R$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2.56228753466785</c:v>
                </c:pt>
                <c:pt idx="18">
                  <c:v>102.43408467524951</c:v>
                </c:pt>
                <c:pt idx="19">
                  <c:v>102.30604206940545</c:v>
                </c:pt>
                <c:pt idx="20">
                  <c:v>102.30604206940545</c:v>
                </c:pt>
                <c:pt idx="21">
                  <c:v>102.30604206940545</c:v>
                </c:pt>
                <c:pt idx="22">
                  <c:v>102.30604206940545</c:v>
                </c:pt>
                <c:pt idx="23">
                  <c:v>102.30604206940545</c:v>
                </c:pt>
                <c:pt idx="24">
                  <c:v>102.30604206940545</c:v>
                </c:pt>
                <c:pt idx="25">
                  <c:v>101.14038539566687</c:v>
                </c:pt>
                <c:pt idx="26">
                  <c:v>98.740157528960268</c:v>
                </c:pt>
                <c:pt idx="27">
                  <c:v>98.225357928512778</c:v>
                </c:pt>
                <c:pt idx="28">
                  <c:v>99.171520713136729</c:v>
                </c:pt>
                <c:pt idx="29">
                  <c:v>95.453213042173886</c:v>
                </c:pt>
                <c:pt idx="30">
                  <c:v>95.955396804877083</c:v>
                </c:pt>
                <c:pt idx="31">
                  <c:v>96.682859623575851</c:v>
                </c:pt>
                <c:pt idx="32">
                  <c:v>94.276921024275993</c:v>
                </c:pt>
                <c:pt idx="33">
                  <c:v>93.470343203863678</c:v>
                </c:pt>
                <c:pt idx="34">
                  <c:v>93.395737125740922</c:v>
                </c:pt>
                <c:pt idx="35">
                  <c:v>90.991477904936289</c:v>
                </c:pt>
                <c:pt idx="36">
                  <c:v>88.436524163564698</c:v>
                </c:pt>
                <c:pt idx="37">
                  <c:v>89.232390366120327</c:v>
                </c:pt>
                <c:pt idx="38">
                  <c:v>89.084928580104474</c:v>
                </c:pt>
                <c:pt idx="39">
                  <c:v>90.278267039507597</c:v>
                </c:pt>
                <c:pt idx="40">
                  <c:v>90.278267039507597</c:v>
                </c:pt>
                <c:pt idx="41">
                  <c:v>89.905892552535065</c:v>
                </c:pt>
                <c:pt idx="42">
                  <c:v>88.706668365411616</c:v>
                </c:pt>
                <c:pt idx="43">
                  <c:v>88.512855670351229</c:v>
                </c:pt>
                <c:pt idx="44">
                  <c:v>89.34204530769955</c:v>
                </c:pt>
                <c:pt idx="45">
                  <c:v>89.340203067927618</c:v>
                </c:pt>
                <c:pt idx="46">
                  <c:v>88.696823455915847</c:v>
                </c:pt>
                <c:pt idx="47">
                  <c:v>88.643567345571086</c:v>
                </c:pt>
                <c:pt idx="48">
                  <c:v>89.058015157836252</c:v>
                </c:pt>
                <c:pt idx="49">
                  <c:v>89.058015157836252</c:v>
                </c:pt>
                <c:pt idx="50">
                  <c:v>88.946692638888962</c:v>
                </c:pt>
                <c:pt idx="51">
                  <c:v>88.946692638888962</c:v>
                </c:pt>
                <c:pt idx="52">
                  <c:v>87.788907043658497</c:v>
                </c:pt>
                <c:pt idx="53">
                  <c:v>87.679170909853923</c:v>
                </c:pt>
                <c:pt idx="54">
                  <c:v>87.569571946216612</c:v>
                </c:pt>
                <c:pt idx="55">
                  <c:v>87.569571946216612</c:v>
                </c:pt>
                <c:pt idx="56">
                  <c:v>87.193358004147314</c:v>
                </c:pt>
                <c:pt idx="57">
                  <c:v>87.084366306642139</c:v>
                </c:pt>
                <c:pt idx="58">
                  <c:v>86.975510848758844</c:v>
                </c:pt>
                <c:pt idx="59">
                  <c:v>87.268020271910117</c:v>
                </c:pt>
                <c:pt idx="60">
                  <c:v>85.966763913356374</c:v>
                </c:pt>
                <c:pt idx="61">
                  <c:v>84.616566300262761</c:v>
                </c:pt>
                <c:pt idx="62">
                  <c:v>83.522236259714887</c:v>
                </c:pt>
                <c:pt idx="63">
                  <c:v>82.749476116140286</c:v>
                </c:pt>
                <c:pt idx="64">
                  <c:v>82.234231690244201</c:v>
                </c:pt>
                <c:pt idx="65">
                  <c:v>81.141785036267166</c:v>
                </c:pt>
                <c:pt idx="66">
                  <c:v>80.304886141374283</c:v>
                </c:pt>
                <c:pt idx="67">
                  <c:v>79.91791505309503</c:v>
                </c:pt>
                <c:pt idx="68">
                  <c:v>78.697440208945977</c:v>
                </c:pt>
                <c:pt idx="69">
                  <c:v>79.272512637962606</c:v>
                </c:pt>
                <c:pt idx="70">
                  <c:v>79.848927765143983</c:v>
                </c:pt>
                <c:pt idx="71">
                  <c:v>79.013211440974231</c:v>
                </c:pt>
                <c:pt idx="72">
                  <c:v>77.791856337174991</c:v>
                </c:pt>
                <c:pt idx="73">
                  <c:v>79.008724905368339</c:v>
                </c:pt>
                <c:pt idx="74">
                  <c:v>79.904556651801045</c:v>
                </c:pt>
                <c:pt idx="75">
                  <c:v>79.904556651801045</c:v>
                </c:pt>
                <c:pt idx="76">
                  <c:v>79.804675955986298</c:v>
                </c:pt>
                <c:pt idx="77">
                  <c:v>79.804675955986298</c:v>
                </c:pt>
                <c:pt idx="78">
                  <c:v>79.804675955986298</c:v>
                </c:pt>
                <c:pt idx="79">
                  <c:v>79.804675955986298</c:v>
                </c:pt>
                <c:pt idx="80">
                  <c:v>79.804675955986298</c:v>
                </c:pt>
                <c:pt idx="81">
                  <c:v>79.804675955986298</c:v>
                </c:pt>
                <c:pt idx="82">
                  <c:v>78.940734835385598</c:v>
                </c:pt>
                <c:pt idx="83">
                  <c:v>80.938705087324934</c:v>
                </c:pt>
                <c:pt idx="84">
                  <c:v>80.938705087324934</c:v>
                </c:pt>
                <c:pt idx="85">
                  <c:v>80.837531705965773</c:v>
                </c:pt>
                <c:pt idx="86">
                  <c:v>80.837531705965773</c:v>
                </c:pt>
                <c:pt idx="87">
                  <c:v>80.837531705965773</c:v>
                </c:pt>
                <c:pt idx="88">
                  <c:v>80.837531705965773</c:v>
                </c:pt>
                <c:pt idx="89">
                  <c:v>80.837531705965773</c:v>
                </c:pt>
                <c:pt idx="90">
                  <c:v>80.837531705965773</c:v>
                </c:pt>
                <c:pt idx="91">
                  <c:v>80.837531705965773</c:v>
                </c:pt>
                <c:pt idx="92">
                  <c:v>80.837531705965773</c:v>
                </c:pt>
                <c:pt idx="93">
                  <c:v>80.837531705965773</c:v>
                </c:pt>
                <c:pt idx="94">
                  <c:v>80.837531705965773</c:v>
                </c:pt>
                <c:pt idx="95">
                  <c:v>80.682669330162369</c:v>
                </c:pt>
                <c:pt idx="96">
                  <c:v>80.581815993499674</c:v>
                </c:pt>
                <c:pt idx="97">
                  <c:v>80.34575140835436</c:v>
                </c:pt>
                <c:pt idx="98">
                  <c:v>80.245319219093915</c:v>
                </c:pt>
                <c:pt idx="99">
                  <c:v>80.145012570070051</c:v>
                </c:pt>
                <c:pt idx="100">
                  <c:v>79.971420715324896</c:v>
                </c:pt>
                <c:pt idx="101">
                  <c:v>79.826100105141961</c:v>
                </c:pt>
                <c:pt idx="102">
                  <c:v>78.508781435505654</c:v>
                </c:pt>
                <c:pt idx="103">
                  <c:v>78.162345150980656</c:v>
                </c:pt>
                <c:pt idx="104">
                  <c:v>78.90599710070957</c:v>
                </c:pt>
                <c:pt idx="105">
                  <c:v>78.847079656326613</c:v>
                </c:pt>
                <c:pt idx="106">
                  <c:v>78.503398492760553</c:v>
                </c:pt>
                <c:pt idx="107">
                  <c:v>77.758264610596655</c:v>
                </c:pt>
                <c:pt idx="108">
                  <c:v>78.386491261938261</c:v>
                </c:pt>
                <c:pt idx="109">
                  <c:v>78.213326765327167</c:v>
                </c:pt>
                <c:pt idx="110">
                  <c:v>80.445976298499545</c:v>
                </c:pt>
                <c:pt idx="111">
                  <c:v>80.445976298499545</c:v>
                </c:pt>
                <c:pt idx="112">
                  <c:v>80.345418828126427</c:v>
                </c:pt>
                <c:pt idx="113">
                  <c:v>80.345418828126427</c:v>
                </c:pt>
                <c:pt idx="114">
                  <c:v>80.345418828126427</c:v>
                </c:pt>
                <c:pt idx="115">
                  <c:v>79.055404623215324</c:v>
                </c:pt>
                <c:pt idx="116">
                  <c:v>77.275364278119199</c:v>
                </c:pt>
                <c:pt idx="117">
                  <c:v>76.037761684178207</c:v>
                </c:pt>
                <c:pt idx="118">
                  <c:v>75.565002691424937</c:v>
                </c:pt>
                <c:pt idx="119">
                  <c:v>77.444284102099587</c:v>
                </c:pt>
                <c:pt idx="120">
                  <c:v>81.083096811567373</c:v>
                </c:pt>
                <c:pt idx="121">
                  <c:v>81.083096811567373</c:v>
                </c:pt>
                <c:pt idx="122">
                  <c:v>80.98174294055292</c:v>
                </c:pt>
                <c:pt idx="123">
                  <c:v>80.98174294055292</c:v>
                </c:pt>
                <c:pt idx="124">
                  <c:v>80.98174294055292</c:v>
                </c:pt>
                <c:pt idx="125">
                  <c:v>80.98174294055292</c:v>
                </c:pt>
                <c:pt idx="126">
                  <c:v>80.98174294055292</c:v>
                </c:pt>
                <c:pt idx="127">
                  <c:v>80.98174294055292</c:v>
                </c:pt>
                <c:pt idx="128">
                  <c:v>80.98174294055292</c:v>
                </c:pt>
                <c:pt idx="129">
                  <c:v>80.98174294055292</c:v>
                </c:pt>
                <c:pt idx="130">
                  <c:v>80.98174294055292</c:v>
                </c:pt>
                <c:pt idx="131">
                  <c:v>80.98174294055292</c:v>
                </c:pt>
                <c:pt idx="132">
                  <c:v>80.98174294055292</c:v>
                </c:pt>
                <c:pt idx="133">
                  <c:v>80.98174294055292</c:v>
                </c:pt>
                <c:pt idx="134">
                  <c:v>80.98174294055292</c:v>
                </c:pt>
                <c:pt idx="135">
                  <c:v>80.98174294055292</c:v>
                </c:pt>
                <c:pt idx="136">
                  <c:v>80.98174294055292</c:v>
                </c:pt>
                <c:pt idx="137">
                  <c:v>80.98174294055292</c:v>
                </c:pt>
                <c:pt idx="138">
                  <c:v>80.98174294055292</c:v>
                </c:pt>
                <c:pt idx="139">
                  <c:v>80.98174294055292</c:v>
                </c:pt>
                <c:pt idx="140">
                  <c:v>80.98174294055292</c:v>
                </c:pt>
                <c:pt idx="141">
                  <c:v>80.98174294055292</c:v>
                </c:pt>
                <c:pt idx="142">
                  <c:v>80.485754915903129</c:v>
                </c:pt>
                <c:pt idx="143">
                  <c:v>79.835724545573484</c:v>
                </c:pt>
                <c:pt idx="144">
                  <c:v>80.199634473686345</c:v>
                </c:pt>
                <c:pt idx="145">
                  <c:v>78.495039558557053</c:v>
                </c:pt>
                <c:pt idx="146">
                  <c:v>75.388079811300898</c:v>
                </c:pt>
                <c:pt idx="147">
                  <c:v>73.079596587664923</c:v>
                </c:pt>
                <c:pt idx="148">
                  <c:v>74.052916367281085</c:v>
                </c:pt>
                <c:pt idx="149">
                  <c:v>73.647963083214137</c:v>
                </c:pt>
                <c:pt idx="150">
                  <c:v>73.416931216943311</c:v>
                </c:pt>
                <c:pt idx="151">
                  <c:v>71.460174916762668</c:v>
                </c:pt>
                <c:pt idx="152">
                  <c:v>69.327142236829587</c:v>
                </c:pt>
                <c:pt idx="153">
                  <c:v>69.495198810744142</c:v>
                </c:pt>
                <c:pt idx="154">
                  <c:v>69.092111948221444</c:v>
                </c:pt>
                <c:pt idx="155">
                  <c:v>68.688531103333361</c:v>
                </c:pt>
                <c:pt idx="156">
                  <c:v>68.80270408449384</c:v>
                </c:pt>
                <c:pt idx="157">
                  <c:v>69.377724626183792</c:v>
                </c:pt>
                <c:pt idx="158">
                  <c:v>69.377724626183792</c:v>
                </c:pt>
                <c:pt idx="159">
                  <c:v>69.291002470401068</c:v>
                </c:pt>
                <c:pt idx="160">
                  <c:v>69.291002470401068</c:v>
                </c:pt>
                <c:pt idx="161">
                  <c:v>69.291002470401068</c:v>
                </c:pt>
                <c:pt idx="162">
                  <c:v>69.324661876228376</c:v>
                </c:pt>
                <c:pt idx="163">
                  <c:v>69.013042075194335</c:v>
                </c:pt>
                <c:pt idx="164">
                  <c:v>70.999614071970242</c:v>
                </c:pt>
                <c:pt idx="165">
                  <c:v>70.999614071970242</c:v>
                </c:pt>
                <c:pt idx="166">
                  <c:v>70.910864554380282</c:v>
                </c:pt>
                <c:pt idx="167">
                  <c:v>70.910864554380282</c:v>
                </c:pt>
                <c:pt idx="168">
                  <c:v>70.910864554380282</c:v>
                </c:pt>
                <c:pt idx="169">
                  <c:v>69.929582692164942</c:v>
                </c:pt>
                <c:pt idx="170">
                  <c:v>68.703283240231258</c:v>
                </c:pt>
                <c:pt idx="171">
                  <c:v>69.507391754241496</c:v>
                </c:pt>
                <c:pt idx="172">
                  <c:v>69.236813034394402</c:v>
                </c:pt>
                <c:pt idx="173">
                  <c:v>68.591158114775908</c:v>
                </c:pt>
                <c:pt idx="174">
                  <c:v>67.675922294901653</c:v>
                </c:pt>
                <c:pt idx="175">
                  <c:v>67.082648272438149</c:v>
                </c:pt>
                <c:pt idx="176">
                  <c:v>65.630049286479874</c:v>
                </c:pt>
                <c:pt idx="177">
                  <c:v>66.916951715451063</c:v>
                </c:pt>
                <c:pt idx="178">
                  <c:v>66.215325776013017</c:v>
                </c:pt>
                <c:pt idx="179">
                  <c:v>66.213804682798099</c:v>
                </c:pt>
                <c:pt idx="180">
                  <c:v>66.912490329980983</c:v>
                </c:pt>
                <c:pt idx="181">
                  <c:v>66.912490329980983</c:v>
                </c:pt>
                <c:pt idx="182">
                  <c:v>66.091331286360614</c:v>
                </c:pt>
                <c:pt idx="183">
                  <c:v>65.907255320270295</c:v>
                </c:pt>
                <c:pt idx="184">
                  <c:v>64.402907451966968</c:v>
                </c:pt>
                <c:pt idx="185">
                  <c:v>63.118303237776871</c:v>
                </c:pt>
                <c:pt idx="186">
                  <c:v>62.502738285853354</c:v>
                </c:pt>
                <c:pt idx="187">
                  <c:v>62.334286317365567</c:v>
                </c:pt>
                <c:pt idx="188">
                  <c:v>62.946677201603471</c:v>
                </c:pt>
                <c:pt idx="189">
                  <c:v>62.751488346305223</c:v>
                </c:pt>
                <c:pt idx="190">
                  <c:v>63.429454630399093</c:v>
                </c:pt>
                <c:pt idx="191">
                  <c:v>63.429454630399093</c:v>
                </c:pt>
                <c:pt idx="192">
                  <c:v>63.350167812111096</c:v>
                </c:pt>
                <c:pt idx="193">
                  <c:v>63.350167812111096</c:v>
                </c:pt>
                <c:pt idx="194">
                  <c:v>63.350167812111096</c:v>
                </c:pt>
                <c:pt idx="195">
                  <c:v>63.350167812111096</c:v>
                </c:pt>
                <c:pt idx="196">
                  <c:v>63.350167812111096</c:v>
                </c:pt>
                <c:pt idx="197">
                  <c:v>63.350167812111096</c:v>
                </c:pt>
                <c:pt idx="198">
                  <c:v>63.816113882706283</c:v>
                </c:pt>
                <c:pt idx="199">
                  <c:v>62.568537368713734</c:v>
                </c:pt>
                <c:pt idx="200">
                  <c:v>63.41537409649159</c:v>
                </c:pt>
                <c:pt idx="201">
                  <c:v>63.213747014667234</c:v>
                </c:pt>
                <c:pt idx="202">
                  <c:v>64.211950298496888</c:v>
                </c:pt>
                <c:pt idx="203">
                  <c:v>64.211950298496888</c:v>
                </c:pt>
                <c:pt idx="204">
                  <c:v>64.131685360623763</c:v>
                </c:pt>
                <c:pt idx="205">
                  <c:v>64.131685360623763</c:v>
                </c:pt>
                <c:pt idx="206">
                  <c:v>64.131685360623763</c:v>
                </c:pt>
                <c:pt idx="207">
                  <c:v>64.20161075633527</c:v>
                </c:pt>
                <c:pt idx="208">
                  <c:v>63.640325115616015</c:v>
                </c:pt>
                <c:pt idx="209">
                  <c:v>64.729451251171156</c:v>
                </c:pt>
                <c:pt idx="210">
                  <c:v>64.729451251171156</c:v>
                </c:pt>
                <c:pt idx="211">
                  <c:v>64.737078190823638</c:v>
                </c:pt>
                <c:pt idx="212">
                  <c:v>64.656156843085114</c:v>
                </c:pt>
                <c:pt idx="213">
                  <c:v>64.009412923246373</c:v>
                </c:pt>
                <c:pt idx="214">
                  <c:v>63.080271407215442</c:v>
                </c:pt>
                <c:pt idx="215">
                  <c:v>61.810819003234649</c:v>
                </c:pt>
                <c:pt idx="216">
                  <c:v>61.858791834714616</c:v>
                </c:pt>
                <c:pt idx="217">
                  <c:v>61.351640604458957</c:v>
                </c:pt>
                <c:pt idx="218">
                  <c:v>60.640680509622506</c:v>
                </c:pt>
                <c:pt idx="219">
                  <c:v>61.805304782168307</c:v>
                </c:pt>
                <c:pt idx="220">
                  <c:v>61.09286590787832</c:v>
                </c:pt>
                <c:pt idx="221">
                  <c:v>61.192720158056403</c:v>
                </c:pt>
                <c:pt idx="222">
                  <c:v>61.39529019938405</c:v>
                </c:pt>
                <c:pt idx="223">
                  <c:v>61.39529019938405</c:v>
                </c:pt>
                <c:pt idx="224">
                  <c:v>61.318546086634818</c:v>
                </c:pt>
                <c:pt idx="225">
                  <c:v>61.318546086634818</c:v>
                </c:pt>
                <c:pt idx="226">
                  <c:v>61.318546086634818</c:v>
                </c:pt>
                <c:pt idx="227">
                  <c:v>61.318546086634818</c:v>
                </c:pt>
                <c:pt idx="228">
                  <c:v>61.318546086634818</c:v>
                </c:pt>
                <c:pt idx="229">
                  <c:v>61.460252641615106</c:v>
                </c:pt>
                <c:pt idx="230">
                  <c:v>61.070537017456843</c:v>
                </c:pt>
                <c:pt idx="231">
                  <c:v>60.910592536121037</c:v>
                </c:pt>
                <c:pt idx="232">
                  <c:v>61.008089343593483</c:v>
                </c:pt>
                <c:pt idx="233">
                  <c:v>61.448189720263741</c:v>
                </c:pt>
                <c:pt idx="234">
                  <c:v>61.448189720263741</c:v>
                </c:pt>
                <c:pt idx="235">
                  <c:v>61.371379483113415</c:v>
                </c:pt>
                <c:pt idx="236">
                  <c:v>61.468091561971121</c:v>
                </c:pt>
                <c:pt idx="237">
                  <c:v>60.946691246061292</c:v>
                </c:pt>
                <c:pt idx="238">
                  <c:v>61.044342896069416</c:v>
                </c:pt>
                <c:pt idx="239">
                  <c:v>60.896198066200654</c:v>
                </c:pt>
                <c:pt idx="240">
                  <c:v>59.498985888971717</c:v>
                </c:pt>
                <c:pt idx="241">
                  <c:v>59.196700215490296</c:v>
                </c:pt>
                <c:pt idx="242">
                  <c:v>59.788018240047442</c:v>
                </c:pt>
                <c:pt idx="243">
                  <c:v>59.638714795405875</c:v>
                </c:pt>
                <c:pt idx="244">
                  <c:v>59.194428403244622</c:v>
                </c:pt>
                <c:pt idx="245">
                  <c:v>58.700172769565278</c:v>
                </c:pt>
                <c:pt idx="246">
                  <c:v>58.797749982260584</c:v>
                </c:pt>
                <c:pt idx="247">
                  <c:v>59.537437126222756</c:v>
                </c:pt>
                <c:pt idx="248">
                  <c:v>59.537437126222756</c:v>
                </c:pt>
                <c:pt idx="249">
                  <c:v>59.463015329814979</c:v>
                </c:pt>
                <c:pt idx="250">
                  <c:v>59.463015329814979</c:v>
                </c:pt>
                <c:pt idx="251">
                  <c:v>59.463015329814979</c:v>
                </c:pt>
                <c:pt idx="252">
                  <c:v>59.463015329814979</c:v>
                </c:pt>
                <c:pt idx="253">
                  <c:v>59.463015329814979</c:v>
                </c:pt>
                <c:pt idx="254">
                  <c:v>59.463015329814979</c:v>
                </c:pt>
                <c:pt idx="255">
                  <c:v>59.463015329814979</c:v>
                </c:pt>
                <c:pt idx="256">
                  <c:v>59.463015329814979</c:v>
                </c:pt>
                <c:pt idx="257">
                  <c:v>59.463015329814979</c:v>
                </c:pt>
                <c:pt idx="258">
                  <c:v>59.463015329814979</c:v>
                </c:pt>
                <c:pt idx="259">
                  <c:v>59.463015329814979</c:v>
                </c:pt>
                <c:pt idx="260">
                  <c:v>59.463015329814979</c:v>
                </c:pt>
                <c:pt idx="261">
                  <c:v>58.884501916453985</c:v>
                </c:pt>
                <c:pt idx="262">
                  <c:v>60.254064329271706</c:v>
                </c:pt>
                <c:pt idx="263">
                  <c:v>60.254064329271706</c:v>
                </c:pt>
                <c:pt idx="264">
                  <c:v>60.178746748860121</c:v>
                </c:pt>
                <c:pt idx="265">
                  <c:v>60.178746748860121</c:v>
                </c:pt>
                <c:pt idx="266">
                  <c:v>59.782933188529725</c:v>
                </c:pt>
                <c:pt idx="267">
                  <c:v>59.530552896431985</c:v>
                </c:pt>
                <c:pt idx="268">
                  <c:v>58.938971387094398</c:v>
                </c:pt>
                <c:pt idx="269">
                  <c:v>59.036246049298363</c:v>
                </c:pt>
                <c:pt idx="270">
                  <c:v>60.908627862830173</c:v>
                </c:pt>
                <c:pt idx="271">
                  <c:v>60.908627862830173</c:v>
                </c:pt>
                <c:pt idx="272">
                  <c:v>60.832492078001636</c:v>
                </c:pt>
                <c:pt idx="273">
                  <c:v>60.832492078001636</c:v>
                </c:pt>
                <c:pt idx="274">
                  <c:v>60.832492078001636</c:v>
                </c:pt>
                <c:pt idx="275">
                  <c:v>60.832492078001636</c:v>
                </c:pt>
                <c:pt idx="276">
                  <c:v>60.832492078001636</c:v>
                </c:pt>
                <c:pt idx="277">
                  <c:v>60.832492078001636</c:v>
                </c:pt>
                <c:pt idx="278">
                  <c:v>60.832492078001636</c:v>
                </c:pt>
                <c:pt idx="279">
                  <c:v>60.832492078001636</c:v>
                </c:pt>
                <c:pt idx="280">
                  <c:v>60.832492078001636</c:v>
                </c:pt>
                <c:pt idx="281">
                  <c:v>60.832492078001636</c:v>
                </c:pt>
                <c:pt idx="282">
                  <c:v>60.832492078001636</c:v>
                </c:pt>
                <c:pt idx="283">
                  <c:v>60.832492078001636</c:v>
                </c:pt>
                <c:pt idx="284">
                  <c:v>60.832492078001636</c:v>
                </c:pt>
                <c:pt idx="285">
                  <c:v>60.832492078001636</c:v>
                </c:pt>
                <c:pt idx="286">
                  <c:v>60.832492078001636</c:v>
                </c:pt>
                <c:pt idx="287">
                  <c:v>60.832492078001636</c:v>
                </c:pt>
                <c:pt idx="288">
                  <c:v>60.832492078001636</c:v>
                </c:pt>
                <c:pt idx="289">
                  <c:v>60.832492078001636</c:v>
                </c:pt>
                <c:pt idx="290">
                  <c:v>60.832492078001636</c:v>
                </c:pt>
                <c:pt idx="291">
                  <c:v>60.832492078001636</c:v>
                </c:pt>
                <c:pt idx="292">
                  <c:v>60.832492078001636</c:v>
                </c:pt>
                <c:pt idx="293">
                  <c:v>60.832492078001636</c:v>
                </c:pt>
                <c:pt idx="294">
                  <c:v>60.832492078001636</c:v>
                </c:pt>
                <c:pt idx="295">
                  <c:v>60.832492078001636</c:v>
                </c:pt>
                <c:pt idx="296">
                  <c:v>60.832492078001636</c:v>
                </c:pt>
                <c:pt idx="297">
                  <c:v>60.832492078001636</c:v>
                </c:pt>
                <c:pt idx="298">
                  <c:v>60.832492078001636</c:v>
                </c:pt>
                <c:pt idx="299">
                  <c:v>60.832492078001636</c:v>
                </c:pt>
                <c:pt idx="300">
                  <c:v>60.832492078001636</c:v>
                </c:pt>
                <c:pt idx="301">
                  <c:v>60.832492078001636</c:v>
                </c:pt>
                <c:pt idx="302">
                  <c:v>60.832492078001636</c:v>
                </c:pt>
                <c:pt idx="303">
                  <c:v>60.832492078001636</c:v>
                </c:pt>
                <c:pt idx="304">
                  <c:v>60.832492078001636</c:v>
                </c:pt>
                <c:pt idx="305">
                  <c:v>60.773127429867017</c:v>
                </c:pt>
                <c:pt idx="306">
                  <c:v>60.172405373444299</c:v>
                </c:pt>
                <c:pt idx="307">
                  <c:v>61.323170564915287</c:v>
                </c:pt>
                <c:pt idx="308">
                  <c:v>60.908384794566928</c:v>
                </c:pt>
                <c:pt idx="309">
                  <c:v>61.024126653628066</c:v>
                </c:pt>
                <c:pt idx="310">
                  <c:v>61.024126653628066</c:v>
                </c:pt>
                <c:pt idx="311">
                  <c:v>60.947846495311033</c:v>
                </c:pt>
                <c:pt idx="312">
                  <c:v>61.149329816112456</c:v>
                </c:pt>
                <c:pt idx="313">
                  <c:v>61.072893153842315</c:v>
                </c:pt>
                <c:pt idx="314">
                  <c:v>60.996552037400015</c:v>
                </c:pt>
                <c:pt idx="315">
                  <c:v>60.996552037400015</c:v>
                </c:pt>
                <c:pt idx="316">
                  <c:v>60.996552037400015</c:v>
                </c:pt>
                <c:pt idx="317">
                  <c:v>60.996552037400015</c:v>
                </c:pt>
                <c:pt idx="318">
                  <c:v>60.996552037400015</c:v>
                </c:pt>
                <c:pt idx="319">
                  <c:v>60.996552037400015</c:v>
                </c:pt>
                <c:pt idx="320">
                  <c:v>60.996552037400015</c:v>
                </c:pt>
                <c:pt idx="321">
                  <c:v>60.996552037400015</c:v>
                </c:pt>
                <c:pt idx="322">
                  <c:v>60.996552037400015</c:v>
                </c:pt>
                <c:pt idx="323">
                  <c:v>60.996552037400015</c:v>
                </c:pt>
                <c:pt idx="324">
                  <c:v>60.996552037400015</c:v>
                </c:pt>
                <c:pt idx="325">
                  <c:v>60.996552037400015</c:v>
                </c:pt>
                <c:pt idx="326">
                  <c:v>60.996552037400015</c:v>
                </c:pt>
                <c:pt idx="327">
                  <c:v>60.996552037400015</c:v>
                </c:pt>
                <c:pt idx="328">
                  <c:v>60.996552037400015</c:v>
                </c:pt>
                <c:pt idx="329">
                  <c:v>60.996552037400015</c:v>
                </c:pt>
                <c:pt idx="330">
                  <c:v>60.996552037400015</c:v>
                </c:pt>
                <c:pt idx="331">
                  <c:v>60.996552037400015</c:v>
                </c:pt>
                <c:pt idx="332">
                  <c:v>60.996552037400015</c:v>
                </c:pt>
                <c:pt idx="333">
                  <c:v>60.996552037400015</c:v>
                </c:pt>
                <c:pt idx="334">
                  <c:v>60.996552037400015</c:v>
                </c:pt>
                <c:pt idx="335">
                  <c:v>60.996552037400015</c:v>
                </c:pt>
                <c:pt idx="336">
                  <c:v>60.983479449042854</c:v>
                </c:pt>
                <c:pt idx="337">
                  <c:v>57.860499389324097</c:v>
                </c:pt>
                <c:pt idx="338">
                  <c:v>57.401417015685531</c:v>
                </c:pt>
                <c:pt idx="339">
                  <c:v>56.462771604670138</c:v>
                </c:pt>
                <c:pt idx="340">
                  <c:v>55.808462166905848</c:v>
                </c:pt>
                <c:pt idx="341">
                  <c:v>55.440153486361282</c:v>
                </c:pt>
                <c:pt idx="342">
                  <c:v>56.784591932176895</c:v>
                </c:pt>
                <c:pt idx="343">
                  <c:v>56.784591932176895</c:v>
                </c:pt>
                <c:pt idx="344">
                  <c:v>55.401934857237897</c:v>
                </c:pt>
                <c:pt idx="345">
                  <c:v>54.388776433860613</c:v>
                </c:pt>
                <c:pt idx="346">
                  <c:v>55.408321505031765</c:v>
                </c:pt>
                <c:pt idx="347">
                  <c:v>54.997416042417001</c:v>
                </c:pt>
                <c:pt idx="348">
                  <c:v>54.123857628003833</c:v>
                </c:pt>
                <c:pt idx="349">
                  <c:v>52.967004685284131</c:v>
                </c:pt>
                <c:pt idx="350">
                  <c:v>53.128141183286694</c:v>
                </c:pt>
                <c:pt idx="351">
                  <c:v>55.990728207335742</c:v>
                </c:pt>
                <c:pt idx="352">
                  <c:v>55.990728207335742</c:v>
                </c:pt>
                <c:pt idx="353">
                  <c:v>55.920739797076571</c:v>
                </c:pt>
                <c:pt idx="354">
                  <c:v>55.920739797076571</c:v>
                </c:pt>
                <c:pt idx="355">
                  <c:v>55.920739797076571</c:v>
                </c:pt>
                <c:pt idx="356">
                  <c:v>56.828325261446906</c:v>
                </c:pt>
                <c:pt idx="357">
                  <c:v>56.93126851409243</c:v>
                </c:pt>
                <c:pt idx="358">
                  <c:v>56.809145774463069</c:v>
                </c:pt>
                <c:pt idx="359">
                  <c:v>56.283241696543151</c:v>
                </c:pt>
                <c:pt idx="360">
                  <c:v>56.039499471468304</c:v>
                </c:pt>
                <c:pt idx="361">
                  <c:v>54.947284120665024</c:v>
                </c:pt>
                <c:pt idx="362">
                  <c:v>56.440924190325788</c:v>
                </c:pt>
                <c:pt idx="363">
                  <c:v>56.440924190325788</c:v>
                </c:pt>
                <c:pt idx="364">
                  <c:v>56.37037303508788</c:v>
                </c:pt>
                <c:pt idx="365">
                  <c:v>55.89496797214251</c:v>
                </c:pt>
                <c:pt idx="366">
                  <c:v>55.703063043693099</c:v>
                </c:pt>
                <c:pt idx="367">
                  <c:v>55.576466804729876</c:v>
                </c:pt>
                <c:pt idx="368">
                  <c:v>55.238849941464608</c:v>
                </c:pt>
                <c:pt idx="369">
                  <c:v>56.376621772944183</c:v>
                </c:pt>
                <c:pt idx="370">
                  <c:v>56.376621772944183</c:v>
                </c:pt>
                <c:pt idx="371">
                  <c:v>56.306150995728004</c:v>
                </c:pt>
                <c:pt idx="372">
                  <c:v>56.309726190271974</c:v>
                </c:pt>
                <c:pt idx="373">
                  <c:v>55.65751698211276</c:v>
                </c:pt>
                <c:pt idx="374">
                  <c:v>54.541609737408791</c:v>
                </c:pt>
                <c:pt idx="375">
                  <c:v>52.264777723824238</c:v>
                </c:pt>
                <c:pt idx="376">
                  <c:v>51.814037527722277</c:v>
                </c:pt>
                <c:pt idx="377">
                  <c:v>50.65371601622364</c:v>
                </c:pt>
                <c:pt idx="378">
                  <c:v>49.98627118016551</c:v>
                </c:pt>
                <c:pt idx="379">
                  <c:v>48.928777999051746</c:v>
                </c:pt>
                <c:pt idx="380">
                  <c:v>49.474068672721756</c:v>
                </c:pt>
                <c:pt idx="381">
                  <c:v>49.238191439121003</c:v>
                </c:pt>
                <c:pt idx="382">
                  <c:v>48.96391338405374</c:v>
                </c:pt>
                <c:pt idx="383">
                  <c:v>48.02471086334004</c:v>
                </c:pt>
                <c:pt idx="384">
                  <c:v>46.732118075229607</c:v>
                </c:pt>
                <c:pt idx="385">
                  <c:v>46.064547733968702</c:v>
                </c:pt>
                <c:pt idx="386">
                  <c:v>44.92908853339523</c:v>
                </c:pt>
                <c:pt idx="387">
                  <c:v>43.988187965709997</c:v>
                </c:pt>
                <c:pt idx="388">
                  <c:v>44.220769800058548</c:v>
                </c:pt>
                <c:pt idx="389">
                  <c:v>44.37664674955662</c:v>
                </c:pt>
                <c:pt idx="390">
                  <c:v>44.219907488970158</c:v>
                </c:pt>
                <c:pt idx="391">
                  <c:v>45.157918758667904</c:v>
                </c:pt>
                <c:pt idx="392">
                  <c:v>45.157918758667904</c:v>
                </c:pt>
                <c:pt idx="393">
                  <c:v>45.10147136021957</c:v>
                </c:pt>
                <c:pt idx="394">
                  <c:v>45.10147136021957</c:v>
                </c:pt>
                <c:pt idx="395">
                  <c:v>45.075260455782299</c:v>
                </c:pt>
                <c:pt idx="396">
                  <c:v>43.878836738767816</c:v>
                </c:pt>
                <c:pt idx="397">
                  <c:v>44.157869145013635</c:v>
                </c:pt>
                <c:pt idx="398">
                  <c:v>44.454856876946209</c:v>
                </c:pt>
                <c:pt idx="399">
                  <c:v>44.528597757168633</c:v>
                </c:pt>
                <c:pt idx="400">
                  <c:v>44.528597757168633</c:v>
                </c:pt>
                <c:pt idx="401">
                  <c:v>44.09095373673631</c:v>
                </c:pt>
                <c:pt idx="402">
                  <c:v>43.883239174431971</c:v>
                </c:pt>
                <c:pt idx="403">
                  <c:v>44.223965619959095</c:v>
                </c:pt>
                <c:pt idx="404">
                  <c:v>43.313722446245471</c:v>
                </c:pt>
                <c:pt idx="405">
                  <c:v>43.577024910924948</c:v>
                </c:pt>
                <c:pt idx="406">
                  <c:v>43.993259929019146</c:v>
                </c:pt>
                <c:pt idx="407">
                  <c:v>43.993259929019146</c:v>
                </c:pt>
                <c:pt idx="408">
                  <c:v>43.938268354107876</c:v>
                </c:pt>
                <c:pt idx="409">
                  <c:v>43.938268354107876</c:v>
                </c:pt>
                <c:pt idx="410">
                  <c:v>43.938268354107876</c:v>
                </c:pt>
                <c:pt idx="411">
                  <c:v>44.278984543669068</c:v>
                </c:pt>
                <c:pt idx="412">
                  <c:v>45.000647445789973</c:v>
                </c:pt>
                <c:pt idx="413">
                  <c:v>45.000647445789973</c:v>
                </c:pt>
                <c:pt idx="414">
                  <c:v>44.944396636482736</c:v>
                </c:pt>
                <c:pt idx="415">
                  <c:v>44.944396636482736</c:v>
                </c:pt>
                <c:pt idx="416">
                  <c:v>44.944396636482736</c:v>
                </c:pt>
                <c:pt idx="417">
                  <c:v>44.944396636482736</c:v>
                </c:pt>
                <c:pt idx="418">
                  <c:v>44.944396636482736</c:v>
                </c:pt>
                <c:pt idx="419">
                  <c:v>45.777613320338766</c:v>
                </c:pt>
                <c:pt idx="420">
                  <c:v>43.832400871148877</c:v>
                </c:pt>
                <c:pt idx="421">
                  <c:v>43.089245708153918</c:v>
                </c:pt>
                <c:pt idx="422">
                  <c:v>43.706714366435335</c:v>
                </c:pt>
                <c:pt idx="423">
                  <c:v>43.808497106025939</c:v>
                </c:pt>
                <c:pt idx="424">
                  <c:v>42.604739461082232</c:v>
                </c:pt>
                <c:pt idx="425">
                  <c:v>42.464617455525534</c:v>
                </c:pt>
                <c:pt idx="426">
                  <c:v>42.77377504778547</c:v>
                </c:pt>
                <c:pt idx="427">
                  <c:v>43.392001932657152</c:v>
                </c:pt>
                <c:pt idx="428">
                  <c:v>43.392001932657152</c:v>
                </c:pt>
                <c:pt idx="429">
                  <c:v>42.900167730394799</c:v>
                </c:pt>
                <c:pt idx="430">
                  <c:v>43.263881304640826</c:v>
                </c:pt>
                <c:pt idx="431">
                  <c:v>44.01141445482979</c:v>
                </c:pt>
                <c:pt idx="432">
                  <c:v>44.01141445482979</c:v>
                </c:pt>
                <c:pt idx="433">
                  <c:v>43.788647132938856</c:v>
                </c:pt>
                <c:pt idx="434">
                  <c:v>44.133451037087639</c:v>
                </c:pt>
                <c:pt idx="435">
                  <c:v>44.133451037087639</c:v>
                </c:pt>
                <c:pt idx="436">
                  <c:v>44.078284223291277</c:v>
                </c:pt>
                <c:pt idx="437">
                  <c:v>44.078284223291277</c:v>
                </c:pt>
                <c:pt idx="438">
                  <c:v>43.833412397020204</c:v>
                </c:pt>
                <c:pt idx="439">
                  <c:v>43.009207454756975</c:v>
                </c:pt>
                <c:pt idx="440">
                  <c:v>42.362823970092023</c:v>
                </c:pt>
                <c:pt idx="441">
                  <c:v>42.397033118091393</c:v>
                </c:pt>
                <c:pt idx="442">
                  <c:v>42.930922843305787</c:v>
                </c:pt>
                <c:pt idx="443">
                  <c:v>41.612616220176974</c:v>
                </c:pt>
                <c:pt idx="444">
                  <c:v>42.179355023277814</c:v>
                </c:pt>
                <c:pt idx="445">
                  <c:v>40.825496747818171</c:v>
                </c:pt>
                <c:pt idx="446">
                  <c:v>40.288716863386107</c:v>
                </c:pt>
                <c:pt idx="447">
                  <c:v>42.102687919503651</c:v>
                </c:pt>
                <c:pt idx="448">
                  <c:v>42.102687919503651</c:v>
                </c:pt>
                <c:pt idx="449">
                  <c:v>42.050059559604271</c:v>
                </c:pt>
                <c:pt idx="450">
                  <c:v>42.050059559604271</c:v>
                </c:pt>
                <c:pt idx="451">
                  <c:v>42.078843035807765</c:v>
                </c:pt>
                <c:pt idx="452">
                  <c:v>41.621723417780878</c:v>
                </c:pt>
                <c:pt idx="453">
                  <c:v>41.433200074826495</c:v>
                </c:pt>
                <c:pt idx="454">
                  <c:v>41.247038284252625</c:v>
                </c:pt>
                <c:pt idx="455">
                  <c:v>41.246714196234883</c:v>
                </c:pt>
                <c:pt idx="456">
                  <c:v>40.47056804039768</c:v>
                </c:pt>
                <c:pt idx="457">
                  <c:v>40.69064869409145</c:v>
                </c:pt>
                <c:pt idx="458">
                  <c:v>41.472016685358973</c:v>
                </c:pt>
                <c:pt idx="459">
                  <c:v>41.472016685358973</c:v>
                </c:pt>
                <c:pt idx="460">
                  <c:v>41.420176664502279</c:v>
                </c:pt>
                <c:pt idx="461">
                  <c:v>42.53587685555469</c:v>
                </c:pt>
                <c:pt idx="462">
                  <c:v>42.03835202209094</c:v>
                </c:pt>
                <c:pt idx="463">
                  <c:v>42.06636080478669</c:v>
                </c:pt>
                <c:pt idx="464">
                  <c:v>41.374878602758756</c:v>
                </c:pt>
                <c:pt idx="465">
                  <c:v>40.900320359170365</c:v>
                </c:pt>
                <c:pt idx="466">
                  <c:v>40.5717974565422</c:v>
                </c:pt>
                <c:pt idx="467">
                  <c:v>42.17212186438325</c:v>
                </c:pt>
                <c:pt idx="468">
                  <c:v>42.17212186438325</c:v>
                </c:pt>
                <c:pt idx="469">
                  <c:v>42.119406712052772</c:v>
                </c:pt>
                <c:pt idx="470">
                  <c:v>42.119406712052772</c:v>
                </c:pt>
                <c:pt idx="471">
                  <c:v>42.119406712052772</c:v>
                </c:pt>
                <c:pt idx="472">
                  <c:v>42.119406712052772</c:v>
                </c:pt>
                <c:pt idx="473">
                  <c:v>42.119406712052772</c:v>
                </c:pt>
                <c:pt idx="474">
                  <c:v>42.119406712052772</c:v>
                </c:pt>
                <c:pt idx="475">
                  <c:v>42.119406712052772</c:v>
                </c:pt>
                <c:pt idx="476">
                  <c:v>42.119406712052772</c:v>
                </c:pt>
                <c:pt idx="477">
                  <c:v>42.119406712052772</c:v>
                </c:pt>
                <c:pt idx="478">
                  <c:v>42.119406712052772</c:v>
                </c:pt>
                <c:pt idx="479">
                  <c:v>42.119406712052772</c:v>
                </c:pt>
                <c:pt idx="480">
                  <c:v>42.119406712052772</c:v>
                </c:pt>
                <c:pt idx="481">
                  <c:v>42.119406712052772</c:v>
                </c:pt>
                <c:pt idx="482">
                  <c:v>42.119406712052772</c:v>
                </c:pt>
                <c:pt idx="483">
                  <c:v>42.119406712052772</c:v>
                </c:pt>
                <c:pt idx="484">
                  <c:v>42.119406712052772</c:v>
                </c:pt>
                <c:pt idx="485">
                  <c:v>42.119406712052772</c:v>
                </c:pt>
                <c:pt idx="486">
                  <c:v>42.119406712052772</c:v>
                </c:pt>
                <c:pt idx="487">
                  <c:v>42.119406712052772</c:v>
                </c:pt>
                <c:pt idx="488">
                  <c:v>42.119406712052772</c:v>
                </c:pt>
                <c:pt idx="489">
                  <c:v>42.119406712052772</c:v>
                </c:pt>
                <c:pt idx="490">
                  <c:v>42.119406712052772</c:v>
                </c:pt>
                <c:pt idx="491">
                  <c:v>42.119406712052772</c:v>
                </c:pt>
                <c:pt idx="492">
                  <c:v>42.119406712052772</c:v>
                </c:pt>
                <c:pt idx="493">
                  <c:v>42.119406712052772</c:v>
                </c:pt>
                <c:pt idx="494">
                  <c:v>42.119406712052772</c:v>
                </c:pt>
                <c:pt idx="495">
                  <c:v>42.119406712052772</c:v>
                </c:pt>
                <c:pt idx="496">
                  <c:v>42.119406712052772</c:v>
                </c:pt>
                <c:pt idx="497">
                  <c:v>42.119406712052772</c:v>
                </c:pt>
                <c:pt idx="498">
                  <c:v>41.429284376934703</c:v>
                </c:pt>
                <c:pt idx="499">
                  <c:v>42.351638568749657</c:v>
                </c:pt>
                <c:pt idx="500">
                  <c:v>41.110121782658084</c:v>
                </c:pt>
                <c:pt idx="501">
                  <c:v>40.712556775814569</c:v>
                </c:pt>
                <c:pt idx="502">
                  <c:v>38.895000629422441</c:v>
                </c:pt>
                <c:pt idx="503">
                  <c:v>39.401021188375893</c:v>
                </c:pt>
                <c:pt idx="504">
                  <c:v>39.369898060256318</c:v>
                </c:pt>
                <c:pt idx="505">
                  <c:v>39.040002170527359</c:v>
                </c:pt>
                <c:pt idx="506">
                  <c:v>39.067227693288537</c:v>
                </c:pt>
                <c:pt idx="507">
                  <c:v>39.634380932617439</c:v>
                </c:pt>
                <c:pt idx="508">
                  <c:v>39.634380932617439</c:v>
                </c:pt>
                <c:pt idx="509">
                  <c:v>39.584837956451672</c:v>
                </c:pt>
                <c:pt idx="510">
                  <c:v>39.584837956451672</c:v>
                </c:pt>
                <c:pt idx="511">
                  <c:v>39.584837956451672</c:v>
                </c:pt>
                <c:pt idx="512">
                  <c:v>39.719178080796958</c:v>
                </c:pt>
                <c:pt idx="513">
                  <c:v>39.66952910819596</c:v>
                </c:pt>
                <c:pt idx="514">
                  <c:v>39.619942196810719</c:v>
                </c:pt>
                <c:pt idx="515">
                  <c:v>39.619942196810719</c:v>
                </c:pt>
                <c:pt idx="516">
                  <c:v>39.619942196810719</c:v>
                </c:pt>
                <c:pt idx="517">
                  <c:v>39.619942196810719</c:v>
                </c:pt>
                <c:pt idx="518">
                  <c:v>39.619942196810719</c:v>
                </c:pt>
                <c:pt idx="519">
                  <c:v>39.619942196810719</c:v>
                </c:pt>
                <c:pt idx="520">
                  <c:v>38.744892654637539</c:v>
                </c:pt>
                <c:pt idx="521">
                  <c:v>38.696461538819243</c:v>
                </c:pt>
                <c:pt idx="522">
                  <c:v>38.648090961895718</c:v>
                </c:pt>
                <c:pt idx="523">
                  <c:v>38.648090961895718</c:v>
                </c:pt>
                <c:pt idx="524">
                  <c:v>38.648090961895718</c:v>
                </c:pt>
                <c:pt idx="525">
                  <c:v>38.648090961895718</c:v>
                </c:pt>
                <c:pt idx="526">
                  <c:v>38.648090961895718</c:v>
                </c:pt>
                <c:pt idx="527">
                  <c:v>38.648090961895718</c:v>
                </c:pt>
                <c:pt idx="528">
                  <c:v>38.58821394578267</c:v>
                </c:pt>
                <c:pt idx="529">
                  <c:v>38.338593737685549</c:v>
                </c:pt>
                <c:pt idx="530">
                  <c:v>39.592944304127748</c:v>
                </c:pt>
                <c:pt idx="531">
                  <c:v>39.592944304127748</c:v>
                </c:pt>
                <c:pt idx="532">
                  <c:v>39.543453123747589</c:v>
                </c:pt>
                <c:pt idx="533">
                  <c:v>39.543453123747589</c:v>
                </c:pt>
                <c:pt idx="534">
                  <c:v>39.509187401278488</c:v>
                </c:pt>
                <c:pt idx="535">
                  <c:v>38.99272835985844</c:v>
                </c:pt>
                <c:pt idx="536">
                  <c:v>39.456954932554019</c:v>
                </c:pt>
                <c:pt idx="537">
                  <c:v>39.862993068488393</c:v>
                </c:pt>
                <c:pt idx="538">
                  <c:v>39.862993068488393</c:v>
                </c:pt>
                <c:pt idx="539">
                  <c:v>39.813164327152784</c:v>
                </c:pt>
                <c:pt idx="540">
                  <c:v>39.813164327152784</c:v>
                </c:pt>
                <c:pt idx="541">
                  <c:v>39.813164327152784</c:v>
                </c:pt>
                <c:pt idx="542">
                  <c:v>39.813164327152784</c:v>
                </c:pt>
                <c:pt idx="543">
                  <c:v>39.813164327152784</c:v>
                </c:pt>
                <c:pt idx="544">
                  <c:v>39.813164327152784</c:v>
                </c:pt>
                <c:pt idx="545">
                  <c:v>39.813164327152784</c:v>
                </c:pt>
                <c:pt idx="546">
                  <c:v>39.813164327152784</c:v>
                </c:pt>
                <c:pt idx="547">
                  <c:v>39.813164327152784</c:v>
                </c:pt>
                <c:pt idx="548">
                  <c:v>42.197892344682614</c:v>
                </c:pt>
                <c:pt idx="549">
                  <c:v>42.145144979251761</c:v>
                </c:pt>
                <c:pt idx="550">
                  <c:v>42.092463548027695</c:v>
                </c:pt>
                <c:pt idx="551">
                  <c:v>42.092463548027695</c:v>
                </c:pt>
                <c:pt idx="552">
                  <c:v>42.092463548027695</c:v>
                </c:pt>
                <c:pt idx="553">
                  <c:v>42.092463548027695</c:v>
                </c:pt>
                <c:pt idx="554">
                  <c:v>42.092463548027695</c:v>
                </c:pt>
                <c:pt idx="555">
                  <c:v>42.092463548027695</c:v>
                </c:pt>
                <c:pt idx="556">
                  <c:v>42.092463548027695</c:v>
                </c:pt>
                <c:pt idx="557">
                  <c:v>42.092463548027695</c:v>
                </c:pt>
                <c:pt idx="558">
                  <c:v>42.092463548027695</c:v>
                </c:pt>
                <c:pt idx="559">
                  <c:v>42.092463548027695</c:v>
                </c:pt>
                <c:pt idx="560">
                  <c:v>42.092463548027695</c:v>
                </c:pt>
                <c:pt idx="561">
                  <c:v>42.092463548027695</c:v>
                </c:pt>
                <c:pt idx="562">
                  <c:v>42.092463548027695</c:v>
                </c:pt>
                <c:pt idx="563">
                  <c:v>42.092463548027695</c:v>
                </c:pt>
                <c:pt idx="564">
                  <c:v>42.092463548027695</c:v>
                </c:pt>
                <c:pt idx="565">
                  <c:v>42.092463548027695</c:v>
                </c:pt>
                <c:pt idx="566">
                  <c:v>42.092463548027695</c:v>
                </c:pt>
                <c:pt idx="567">
                  <c:v>42.092463548027695</c:v>
                </c:pt>
                <c:pt idx="568">
                  <c:v>42.092463548027695</c:v>
                </c:pt>
                <c:pt idx="569">
                  <c:v>42.092463548027695</c:v>
                </c:pt>
                <c:pt idx="570">
                  <c:v>42.092463548027695</c:v>
                </c:pt>
                <c:pt idx="571">
                  <c:v>42.092463548027695</c:v>
                </c:pt>
                <c:pt idx="572">
                  <c:v>42.092463548027695</c:v>
                </c:pt>
                <c:pt idx="573">
                  <c:v>42.092463548027695</c:v>
                </c:pt>
                <c:pt idx="574">
                  <c:v>42.092463548027695</c:v>
                </c:pt>
                <c:pt idx="575">
                  <c:v>42.092463548027695</c:v>
                </c:pt>
                <c:pt idx="576">
                  <c:v>42.092463548027695</c:v>
                </c:pt>
                <c:pt idx="577">
                  <c:v>42.092463548027695</c:v>
                </c:pt>
                <c:pt idx="578">
                  <c:v>42.092463548027695</c:v>
                </c:pt>
                <c:pt idx="579">
                  <c:v>42.092463548027695</c:v>
                </c:pt>
                <c:pt idx="580">
                  <c:v>42.092463548027695</c:v>
                </c:pt>
                <c:pt idx="581">
                  <c:v>42.092463548027695</c:v>
                </c:pt>
                <c:pt idx="582">
                  <c:v>42.092463548027695</c:v>
                </c:pt>
                <c:pt idx="583">
                  <c:v>42.092463548027695</c:v>
                </c:pt>
                <c:pt idx="584">
                  <c:v>42.092463548027695</c:v>
                </c:pt>
                <c:pt idx="585">
                  <c:v>42.092463548027695</c:v>
                </c:pt>
                <c:pt idx="586">
                  <c:v>42.092463548027695</c:v>
                </c:pt>
                <c:pt idx="587">
                  <c:v>42.092463548027695</c:v>
                </c:pt>
                <c:pt idx="588">
                  <c:v>42.092463548027695</c:v>
                </c:pt>
                <c:pt idx="589">
                  <c:v>42.092463548027695</c:v>
                </c:pt>
                <c:pt idx="590">
                  <c:v>42.092463548027695</c:v>
                </c:pt>
                <c:pt idx="591">
                  <c:v>42.092463548027695</c:v>
                </c:pt>
                <c:pt idx="592">
                  <c:v>42.092463548027695</c:v>
                </c:pt>
                <c:pt idx="593">
                  <c:v>42.092463548027695</c:v>
                </c:pt>
                <c:pt idx="594">
                  <c:v>42.092463548027695</c:v>
                </c:pt>
                <c:pt idx="595">
                  <c:v>42.092463548027695</c:v>
                </c:pt>
                <c:pt idx="596">
                  <c:v>42.092463548027695</c:v>
                </c:pt>
                <c:pt idx="597">
                  <c:v>42.092463548027695</c:v>
                </c:pt>
                <c:pt idx="598">
                  <c:v>42.092463548027695</c:v>
                </c:pt>
                <c:pt idx="599">
                  <c:v>42.092463548027695</c:v>
                </c:pt>
                <c:pt idx="600">
                  <c:v>42.092463548027695</c:v>
                </c:pt>
                <c:pt idx="601">
                  <c:v>42.092463548027695</c:v>
                </c:pt>
                <c:pt idx="602">
                  <c:v>42.092463548027695</c:v>
                </c:pt>
                <c:pt idx="603">
                  <c:v>42.092463548027695</c:v>
                </c:pt>
                <c:pt idx="604">
                  <c:v>42.092463548027695</c:v>
                </c:pt>
                <c:pt idx="605">
                  <c:v>42.092463548027695</c:v>
                </c:pt>
                <c:pt idx="606">
                  <c:v>42.092463548027695</c:v>
                </c:pt>
                <c:pt idx="607">
                  <c:v>42.092463548027695</c:v>
                </c:pt>
                <c:pt idx="608">
                  <c:v>42.092463548027695</c:v>
                </c:pt>
                <c:pt idx="609">
                  <c:v>42.092463548027695</c:v>
                </c:pt>
                <c:pt idx="610">
                  <c:v>42.092463548027695</c:v>
                </c:pt>
                <c:pt idx="611">
                  <c:v>42.55445578281271</c:v>
                </c:pt>
                <c:pt idx="612">
                  <c:v>42.892360236417872</c:v>
                </c:pt>
                <c:pt idx="613">
                  <c:v>40.935097937642851</c:v>
                </c:pt>
                <c:pt idx="614">
                  <c:v>40.601362594394551</c:v>
                </c:pt>
                <c:pt idx="615">
                  <c:v>40.950832225217518</c:v>
                </c:pt>
                <c:pt idx="616">
                  <c:v>39.199142539815725</c:v>
                </c:pt>
                <c:pt idx="617">
                  <c:v>38.616902836271457</c:v>
                </c:pt>
                <c:pt idx="618">
                  <c:v>39.020129491935762</c:v>
                </c:pt>
                <c:pt idx="619">
                  <c:v>38.008649059840678</c:v>
                </c:pt>
                <c:pt idx="620">
                  <c:v>38.809867209614161</c:v>
                </c:pt>
                <c:pt idx="621">
                  <c:v>39.100015578303584</c:v>
                </c:pt>
                <c:pt idx="622">
                  <c:v>39.100015578303584</c:v>
                </c:pt>
                <c:pt idx="623">
                  <c:v>39.051140558830703</c:v>
                </c:pt>
                <c:pt idx="624">
                  <c:v>39.000845444047137</c:v>
                </c:pt>
                <c:pt idx="625">
                  <c:v>37.024649471161474</c:v>
                </c:pt>
                <c:pt idx="626">
                  <c:v>37.257931121584988</c:v>
                </c:pt>
                <c:pt idx="627">
                  <c:v>39.840714702274376</c:v>
                </c:pt>
                <c:pt idx="628">
                  <c:v>39.840714702274376</c:v>
                </c:pt>
                <c:pt idx="629">
                  <c:v>39.790913808896534</c:v>
                </c:pt>
                <c:pt idx="630">
                  <c:v>39.790913808896534</c:v>
                </c:pt>
                <c:pt idx="631">
                  <c:v>39.790913808896534</c:v>
                </c:pt>
                <c:pt idx="632">
                  <c:v>39.790913808896534</c:v>
                </c:pt>
                <c:pt idx="633">
                  <c:v>39.790913808896534</c:v>
                </c:pt>
                <c:pt idx="634">
                  <c:v>39.790913808896534</c:v>
                </c:pt>
                <c:pt idx="635">
                  <c:v>39.790913808896534</c:v>
                </c:pt>
                <c:pt idx="636">
                  <c:v>39.790913808896534</c:v>
                </c:pt>
                <c:pt idx="637">
                  <c:v>39.790913808896534</c:v>
                </c:pt>
                <c:pt idx="638">
                  <c:v>39.790913808896534</c:v>
                </c:pt>
                <c:pt idx="639">
                  <c:v>39.790913808896534</c:v>
                </c:pt>
                <c:pt idx="640">
                  <c:v>39.790913808896534</c:v>
                </c:pt>
                <c:pt idx="641">
                  <c:v>39.790913808896534</c:v>
                </c:pt>
                <c:pt idx="642">
                  <c:v>42.107463086607964</c:v>
                </c:pt>
                <c:pt idx="643">
                  <c:v>42.054828757749704</c:v>
                </c:pt>
                <c:pt idx="644">
                  <c:v>42.002260221802516</c:v>
                </c:pt>
                <c:pt idx="645">
                  <c:v>42.002260221802516</c:v>
                </c:pt>
                <c:pt idx="646">
                  <c:v>42.002260221802516</c:v>
                </c:pt>
                <c:pt idx="647">
                  <c:v>42.002260221802516</c:v>
                </c:pt>
                <c:pt idx="648">
                  <c:v>42.002260221802516</c:v>
                </c:pt>
                <c:pt idx="649">
                  <c:v>42.002260221802516</c:v>
                </c:pt>
                <c:pt idx="650">
                  <c:v>42.002260221802516</c:v>
                </c:pt>
                <c:pt idx="651">
                  <c:v>42.002260221802516</c:v>
                </c:pt>
                <c:pt idx="652">
                  <c:v>42.002260221802516</c:v>
                </c:pt>
                <c:pt idx="653">
                  <c:v>42.002260221802516</c:v>
                </c:pt>
                <c:pt idx="654">
                  <c:v>42.002260221802516</c:v>
                </c:pt>
                <c:pt idx="655">
                  <c:v>42.002260221802516</c:v>
                </c:pt>
                <c:pt idx="656">
                  <c:v>42.002260221802516</c:v>
                </c:pt>
                <c:pt idx="657">
                  <c:v>42.002260221802516</c:v>
                </c:pt>
                <c:pt idx="658">
                  <c:v>42.002260221802516</c:v>
                </c:pt>
                <c:pt idx="659">
                  <c:v>42.002260221802516</c:v>
                </c:pt>
                <c:pt idx="660">
                  <c:v>42.002260221802516</c:v>
                </c:pt>
                <c:pt idx="661">
                  <c:v>42.002260221802516</c:v>
                </c:pt>
                <c:pt idx="662">
                  <c:v>42.002260221802516</c:v>
                </c:pt>
                <c:pt idx="663">
                  <c:v>42.002260221802516</c:v>
                </c:pt>
                <c:pt idx="664">
                  <c:v>42.002260221802516</c:v>
                </c:pt>
                <c:pt idx="665">
                  <c:v>42.002260221802516</c:v>
                </c:pt>
                <c:pt idx="666">
                  <c:v>42.002260221802516</c:v>
                </c:pt>
                <c:pt idx="667">
                  <c:v>42.413345002052253</c:v>
                </c:pt>
                <c:pt idx="668">
                  <c:v>41.008401344860872</c:v>
                </c:pt>
                <c:pt idx="669">
                  <c:v>44.165988473083644</c:v>
                </c:pt>
                <c:pt idx="670">
                  <c:v>44.165988473083644</c:v>
                </c:pt>
                <c:pt idx="671">
                  <c:v>44.110780987492291</c:v>
                </c:pt>
                <c:pt idx="672">
                  <c:v>44.110780987492291</c:v>
                </c:pt>
                <c:pt idx="673">
                  <c:v>44.110780987492291</c:v>
                </c:pt>
                <c:pt idx="674">
                  <c:v>44.110780987492291</c:v>
                </c:pt>
                <c:pt idx="675">
                  <c:v>44.110780987492291</c:v>
                </c:pt>
                <c:pt idx="676">
                  <c:v>44.110780987492291</c:v>
                </c:pt>
                <c:pt idx="677">
                  <c:v>44.110780987492291</c:v>
                </c:pt>
                <c:pt idx="678">
                  <c:v>43.973698074795394</c:v>
                </c:pt>
                <c:pt idx="679">
                  <c:v>43.181919153072613</c:v>
                </c:pt>
                <c:pt idx="680">
                  <c:v>44.52931105669542</c:v>
                </c:pt>
                <c:pt idx="681">
                  <c:v>44.702588984994144</c:v>
                </c:pt>
                <c:pt idx="682">
                  <c:v>44.702588984994144</c:v>
                </c:pt>
                <c:pt idx="683">
                  <c:v>44.646710748762899</c:v>
                </c:pt>
                <c:pt idx="684">
                  <c:v>44.646710748762899</c:v>
                </c:pt>
                <c:pt idx="685">
                  <c:v>44.646710748762899</c:v>
                </c:pt>
                <c:pt idx="686">
                  <c:v>44.646710748762899</c:v>
                </c:pt>
                <c:pt idx="687">
                  <c:v>44.646710748762899</c:v>
                </c:pt>
                <c:pt idx="688">
                  <c:v>44.646710748762899</c:v>
                </c:pt>
                <c:pt idx="689">
                  <c:v>44.646710748762899</c:v>
                </c:pt>
                <c:pt idx="690">
                  <c:v>44.646710748762899</c:v>
                </c:pt>
                <c:pt idx="691">
                  <c:v>44.646710748762899</c:v>
                </c:pt>
                <c:pt idx="692">
                  <c:v>44.646710748762899</c:v>
                </c:pt>
                <c:pt idx="693">
                  <c:v>44.646710748762899</c:v>
                </c:pt>
                <c:pt idx="694">
                  <c:v>44.646710748762899</c:v>
                </c:pt>
                <c:pt idx="695">
                  <c:v>44.646710748762899</c:v>
                </c:pt>
                <c:pt idx="696">
                  <c:v>44.646710748762899</c:v>
                </c:pt>
                <c:pt idx="697">
                  <c:v>44.646710748762899</c:v>
                </c:pt>
                <c:pt idx="698">
                  <c:v>44.646710748762899</c:v>
                </c:pt>
                <c:pt idx="699">
                  <c:v>44.646710748762899</c:v>
                </c:pt>
                <c:pt idx="700">
                  <c:v>44.646710748762899</c:v>
                </c:pt>
                <c:pt idx="701">
                  <c:v>44.646710748762899</c:v>
                </c:pt>
                <c:pt idx="702">
                  <c:v>44.646710748762899</c:v>
                </c:pt>
                <c:pt idx="703">
                  <c:v>44.646710748762899</c:v>
                </c:pt>
                <c:pt idx="704">
                  <c:v>44.646710748762899</c:v>
                </c:pt>
                <c:pt idx="705">
                  <c:v>44.646710748762899</c:v>
                </c:pt>
                <c:pt idx="706">
                  <c:v>44.646710748762899</c:v>
                </c:pt>
                <c:pt idx="707">
                  <c:v>44.646710748762899</c:v>
                </c:pt>
                <c:pt idx="708">
                  <c:v>44.646710748762899</c:v>
                </c:pt>
                <c:pt idx="709">
                  <c:v>44.646710748762899</c:v>
                </c:pt>
                <c:pt idx="710">
                  <c:v>44.646710748762899</c:v>
                </c:pt>
                <c:pt idx="711">
                  <c:v>44.646710748762899</c:v>
                </c:pt>
                <c:pt idx="712">
                  <c:v>44.646710748762899</c:v>
                </c:pt>
                <c:pt idx="713">
                  <c:v>44.646710748762899</c:v>
                </c:pt>
                <c:pt idx="714">
                  <c:v>44.646710748762899</c:v>
                </c:pt>
                <c:pt idx="715">
                  <c:v>44.646710748762899</c:v>
                </c:pt>
                <c:pt idx="716">
                  <c:v>44.646710748762899</c:v>
                </c:pt>
                <c:pt idx="717">
                  <c:v>44.646710748762899</c:v>
                </c:pt>
                <c:pt idx="718">
                  <c:v>44.646710748762899</c:v>
                </c:pt>
                <c:pt idx="719">
                  <c:v>43.38794186511435</c:v>
                </c:pt>
                <c:pt idx="720">
                  <c:v>42.50526468233592</c:v>
                </c:pt>
                <c:pt idx="721">
                  <c:v>42.808247463217803</c:v>
                </c:pt>
                <c:pt idx="722">
                  <c:v>44.062421656077476</c:v>
                </c:pt>
                <c:pt idx="723">
                  <c:v>44.062421656077476</c:v>
                </c:pt>
                <c:pt idx="724">
                  <c:v>44.00734362900738</c:v>
                </c:pt>
                <c:pt idx="725">
                  <c:v>44.00734362900738</c:v>
                </c:pt>
                <c:pt idx="726">
                  <c:v>44.00734362900738</c:v>
                </c:pt>
                <c:pt idx="727">
                  <c:v>44.00734362900738</c:v>
                </c:pt>
                <c:pt idx="728">
                  <c:v>44.00734362900738</c:v>
                </c:pt>
                <c:pt idx="729">
                  <c:v>44.00734362900738</c:v>
                </c:pt>
                <c:pt idx="730">
                  <c:v>44.00734362900738</c:v>
                </c:pt>
                <c:pt idx="731">
                  <c:v>44.00734362900738</c:v>
                </c:pt>
                <c:pt idx="732">
                  <c:v>44.00734362900738</c:v>
                </c:pt>
                <c:pt idx="733">
                  <c:v>44.00734362900738</c:v>
                </c:pt>
                <c:pt idx="734">
                  <c:v>44.00734362900738</c:v>
                </c:pt>
                <c:pt idx="735">
                  <c:v>44.00734362900738</c:v>
                </c:pt>
                <c:pt idx="736">
                  <c:v>44.00734362900738</c:v>
                </c:pt>
                <c:pt idx="737">
                  <c:v>44.00734362900738</c:v>
                </c:pt>
                <c:pt idx="738">
                  <c:v>44.00734362900738</c:v>
                </c:pt>
                <c:pt idx="739">
                  <c:v>44.00734362900738</c:v>
                </c:pt>
                <c:pt idx="740">
                  <c:v>44.00734362900738</c:v>
                </c:pt>
                <c:pt idx="741">
                  <c:v>44.00734362900738</c:v>
                </c:pt>
                <c:pt idx="742">
                  <c:v>44.00734362900738</c:v>
                </c:pt>
                <c:pt idx="743">
                  <c:v>44.00734362900738</c:v>
                </c:pt>
                <c:pt idx="744">
                  <c:v>44.00734362900738</c:v>
                </c:pt>
                <c:pt idx="745">
                  <c:v>44.602704256341354</c:v>
                </c:pt>
                <c:pt idx="746">
                  <c:v>43.832562507435263</c:v>
                </c:pt>
                <c:pt idx="747">
                  <c:v>43.339863556364342</c:v>
                </c:pt>
                <c:pt idx="748">
                  <c:v>41.736753969122397</c:v>
                </c:pt>
                <c:pt idx="749">
                  <c:v>41.744938661607954</c:v>
                </c:pt>
                <c:pt idx="750">
                  <c:v>42.851083322249636</c:v>
                </c:pt>
                <c:pt idx="751">
                  <c:v>41.434120775178897</c:v>
                </c:pt>
                <c:pt idx="752">
                  <c:v>42.224438981770298</c:v>
                </c:pt>
                <c:pt idx="753">
                  <c:v>42.224438981770298</c:v>
                </c:pt>
                <c:pt idx="754">
                  <c:v>42.171658433043085</c:v>
                </c:pt>
                <c:pt idx="755">
                  <c:v>41.618690512289234</c:v>
                </c:pt>
                <c:pt idx="756">
                  <c:v>41.603332223626694</c:v>
                </c:pt>
                <c:pt idx="757">
                  <c:v>40.059070688028093</c:v>
                </c:pt>
                <c:pt idx="758">
                  <c:v>39.550643045068504</c:v>
                </c:pt>
                <c:pt idx="759">
                  <c:v>39.874323349881742</c:v>
                </c:pt>
                <c:pt idx="760">
                  <c:v>39.440579858055095</c:v>
                </c:pt>
                <c:pt idx="761">
                  <c:v>38.302966904702728</c:v>
                </c:pt>
                <c:pt idx="762">
                  <c:v>37.326277193569219</c:v>
                </c:pt>
                <c:pt idx="763">
                  <c:v>37.0535783682177</c:v>
                </c:pt>
                <c:pt idx="764">
                  <c:v>37.54005764013111</c:v>
                </c:pt>
                <c:pt idx="765">
                  <c:v>38.314667462147604</c:v>
                </c:pt>
                <c:pt idx="766">
                  <c:v>38.314667462147604</c:v>
                </c:pt>
                <c:pt idx="767">
                  <c:v>38.022464075946992</c:v>
                </c:pt>
                <c:pt idx="768">
                  <c:v>37.994752652562696</c:v>
                </c:pt>
                <c:pt idx="769">
                  <c:v>36.315830635862021</c:v>
                </c:pt>
                <c:pt idx="770">
                  <c:v>38.010385979795956</c:v>
                </c:pt>
                <c:pt idx="771">
                  <c:v>37.948590479470056</c:v>
                </c:pt>
                <c:pt idx="772">
                  <c:v>38.134905752036438</c:v>
                </c:pt>
                <c:pt idx="773">
                  <c:v>38.134905752036438</c:v>
                </c:pt>
                <c:pt idx="774">
                  <c:v>37.9696107195834</c:v>
                </c:pt>
                <c:pt idx="775">
                  <c:v>37.041941175835156</c:v>
                </c:pt>
                <c:pt idx="776">
                  <c:v>35.279190029984541</c:v>
                </c:pt>
                <c:pt idx="777">
                  <c:v>35.736897330032754</c:v>
                </c:pt>
                <c:pt idx="778">
                  <c:v>35.061590133671736</c:v>
                </c:pt>
                <c:pt idx="779">
                  <c:v>36.940968304539858</c:v>
                </c:pt>
                <c:pt idx="780">
                  <c:v>36.940968304539858</c:v>
                </c:pt>
                <c:pt idx="781">
                  <c:v>36.894792094159186</c:v>
                </c:pt>
                <c:pt idx="782">
                  <c:v>36.894792094159186</c:v>
                </c:pt>
                <c:pt idx="783">
                  <c:v>36.894792094159186</c:v>
                </c:pt>
                <c:pt idx="784">
                  <c:v>36.894792094159186</c:v>
                </c:pt>
                <c:pt idx="785">
                  <c:v>36.894792094159186</c:v>
                </c:pt>
                <c:pt idx="786">
                  <c:v>37.206714520877298</c:v>
                </c:pt>
                <c:pt idx="787">
                  <c:v>39.035483323287913</c:v>
                </c:pt>
                <c:pt idx="788">
                  <c:v>39.035483323287913</c:v>
                </c:pt>
                <c:pt idx="789">
                  <c:v>38.986688969133802</c:v>
                </c:pt>
                <c:pt idx="790">
                  <c:v>38.986688969133802</c:v>
                </c:pt>
                <c:pt idx="791">
                  <c:v>38.986688969133802</c:v>
                </c:pt>
                <c:pt idx="792">
                  <c:v>38.986688969133802</c:v>
                </c:pt>
                <c:pt idx="793">
                  <c:v>38.986688969133802</c:v>
                </c:pt>
                <c:pt idx="794">
                  <c:v>38.986688969133802</c:v>
                </c:pt>
                <c:pt idx="795">
                  <c:v>38.986688969133802</c:v>
                </c:pt>
                <c:pt idx="796">
                  <c:v>38.986688969133802</c:v>
                </c:pt>
                <c:pt idx="797">
                  <c:v>38.986688969133802</c:v>
                </c:pt>
                <c:pt idx="798">
                  <c:v>38.986688969133802</c:v>
                </c:pt>
                <c:pt idx="799">
                  <c:v>38.986688969133802</c:v>
                </c:pt>
                <c:pt idx="800">
                  <c:v>38.986688969133802</c:v>
                </c:pt>
                <c:pt idx="801">
                  <c:v>38.986688969133802</c:v>
                </c:pt>
                <c:pt idx="802">
                  <c:v>38.986688969133802</c:v>
                </c:pt>
                <c:pt idx="803">
                  <c:v>38.986688969133802</c:v>
                </c:pt>
                <c:pt idx="804">
                  <c:v>38.986688969133802</c:v>
                </c:pt>
                <c:pt idx="805">
                  <c:v>38.986688969133802</c:v>
                </c:pt>
                <c:pt idx="806">
                  <c:v>38.986688969133802</c:v>
                </c:pt>
                <c:pt idx="807">
                  <c:v>38.986688969133802</c:v>
                </c:pt>
                <c:pt idx="808">
                  <c:v>38.986688969133802</c:v>
                </c:pt>
                <c:pt idx="809">
                  <c:v>38.986688969133802</c:v>
                </c:pt>
                <c:pt idx="810">
                  <c:v>38.986688969133802</c:v>
                </c:pt>
                <c:pt idx="811">
                  <c:v>38.986688969133802</c:v>
                </c:pt>
                <c:pt idx="812">
                  <c:v>38.986688969133802</c:v>
                </c:pt>
                <c:pt idx="813">
                  <c:v>38.986688969133802</c:v>
                </c:pt>
                <c:pt idx="814">
                  <c:v>38.986688969133802</c:v>
                </c:pt>
                <c:pt idx="815">
                  <c:v>38.986688969133802</c:v>
                </c:pt>
                <c:pt idx="816">
                  <c:v>38.986688969133802</c:v>
                </c:pt>
                <c:pt idx="817">
                  <c:v>38.986688969133802</c:v>
                </c:pt>
                <c:pt idx="818">
                  <c:v>38.986688969133802</c:v>
                </c:pt>
                <c:pt idx="819">
                  <c:v>38.986688969133802</c:v>
                </c:pt>
                <c:pt idx="820">
                  <c:v>38.986688969133802</c:v>
                </c:pt>
                <c:pt idx="821">
                  <c:v>38.986688969133802</c:v>
                </c:pt>
                <c:pt idx="822">
                  <c:v>38.986688969133802</c:v>
                </c:pt>
                <c:pt idx="823">
                  <c:v>38.895083732870113</c:v>
                </c:pt>
                <c:pt idx="824">
                  <c:v>40.777386399334198</c:v>
                </c:pt>
                <c:pt idx="825">
                  <c:v>40.777386399334198</c:v>
                </c:pt>
                <c:pt idx="826">
                  <c:v>40.726414666335032</c:v>
                </c:pt>
                <c:pt idx="827">
                  <c:v>40.726414666335032</c:v>
                </c:pt>
                <c:pt idx="828">
                  <c:v>40.726414666335032</c:v>
                </c:pt>
                <c:pt idx="829">
                  <c:v>42.05073606304277</c:v>
                </c:pt>
                <c:pt idx="830">
                  <c:v>41.998172642963965</c:v>
                </c:pt>
                <c:pt idx="831">
                  <c:v>41.945674927160262</c:v>
                </c:pt>
                <c:pt idx="832">
                  <c:v>41.945674927160262</c:v>
                </c:pt>
                <c:pt idx="833">
                  <c:v>41.838256252878615</c:v>
                </c:pt>
                <c:pt idx="834">
                  <c:v>43.337228891967222</c:v>
                </c:pt>
                <c:pt idx="835">
                  <c:v>42.124649214834108</c:v>
                </c:pt>
                <c:pt idx="836">
                  <c:v>41.212732342366706</c:v>
                </c:pt>
                <c:pt idx="837">
                  <c:v>43.175197584520667</c:v>
                </c:pt>
                <c:pt idx="838">
                  <c:v>43.175197584520667</c:v>
                </c:pt>
                <c:pt idx="839">
                  <c:v>43.121228587540017</c:v>
                </c:pt>
                <c:pt idx="840">
                  <c:v>43.071530163774291</c:v>
                </c:pt>
                <c:pt idx="841">
                  <c:v>43.258479034304585</c:v>
                </c:pt>
                <c:pt idx="842">
                  <c:v>43.258479034304585</c:v>
                </c:pt>
                <c:pt idx="843">
                  <c:v>43.204405935511708</c:v>
                </c:pt>
                <c:pt idx="844">
                  <c:v>43.204405935511708</c:v>
                </c:pt>
                <c:pt idx="845">
                  <c:v>43.204405935511708</c:v>
                </c:pt>
                <c:pt idx="846">
                  <c:v>43.434885955609701</c:v>
                </c:pt>
                <c:pt idx="847">
                  <c:v>43.380592348165187</c:v>
                </c:pt>
                <c:pt idx="848">
                  <c:v>43.32636660772998</c:v>
                </c:pt>
                <c:pt idx="849">
                  <c:v>43.397468555007727</c:v>
                </c:pt>
                <c:pt idx="850">
                  <c:v>43.83245428952263</c:v>
                </c:pt>
                <c:pt idx="851">
                  <c:v>43.83245428952263</c:v>
                </c:pt>
                <c:pt idx="852">
                  <c:v>43.77766372166073</c:v>
                </c:pt>
                <c:pt idx="853">
                  <c:v>43.77766372166073</c:v>
                </c:pt>
                <c:pt idx="854">
                  <c:v>43.77766372166073</c:v>
                </c:pt>
                <c:pt idx="855">
                  <c:v>43.77766372166073</c:v>
                </c:pt>
                <c:pt idx="856">
                  <c:v>43.77766372166073</c:v>
                </c:pt>
                <c:pt idx="857">
                  <c:v>43.77766372166073</c:v>
                </c:pt>
                <c:pt idx="858">
                  <c:v>43.77766372166073</c:v>
                </c:pt>
                <c:pt idx="859">
                  <c:v>43.77766372166073</c:v>
                </c:pt>
                <c:pt idx="860">
                  <c:v>43.77766372166073</c:v>
                </c:pt>
                <c:pt idx="861">
                  <c:v>43.77766372166073</c:v>
                </c:pt>
                <c:pt idx="862">
                  <c:v>43.77766372166073</c:v>
                </c:pt>
                <c:pt idx="863">
                  <c:v>43.77766372166073</c:v>
                </c:pt>
                <c:pt idx="864">
                  <c:v>43.77766372166073</c:v>
                </c:pt>
                <c:pt idx="865">
                  <c:v>43.77766372166073</c:v>
                </c:pt>
                <c:pt idx="866">
                  <c:v>43.77766372166073</c:v>
                </c:pt>
                <c:pt idx="867">
                  <c:v>43.77766372166073</c:v>
                </c:pt>
                <c:pt idx="868">
                  <c:v>43.77766372166073</c:v>
                </c:pt>
                <c:pt idx="869">
                  <c:v>43.77766372166073</c:v>
                </c:pt>
                <c:pt idx="870">
                  <c:v>43.77766372166073</c:v>
                </c:pt>
                <c:pt idx="871">
                  <c:v>43.77766372166073</c:v>
                </c:pt>
                <c:pt idx="872">
                  <c:v>43.77766372166073</c:v>
                </c:pt>
                <c:pt idx="873">
                  <c:v>43.77766372166073</c:v>
                </c:pt>
                <c:pt idx="874">
                  <c:v>43.77766372166073</c:v>
                </c:pt>
                <c:pt idx="875">
                  <c:v>43.77766372166073</c:v>
                </c:pt>
                <c:pt idx="876">
                  <c:v>43.77766372166073</c:v>
                </c:pt>
                <c:pt idx="877">
                  <c:v>43.77766372166073</c:v>
                </c:pt>
                <c:pt idx="878">
                  <c:v>43.77766372166073</c:v>
                </c:pt>
                <c:pt idx="879">
                  <c:v>43.77766372166073</c:v>
                </c:pt>
                <c:pt idx="880">
                  <c:v>43.77766372166073</c:v>
                </c:pt>
                <c:pt idx="881">
                  <c:v>43.77766372166073</c:v>
                </c:pt>
                <c:pt idx="882">
                  <c:v>43.77766372166073</c:v>
                </c:pt>
                <c:pt idx="883">
                  <c:v>43.77766372166073</c:v>
                </c:pt>
                <c:pt idx="884">
                  <c:v>43.77766372166073</c:v>
                </c:pt>
                <c:pt idx="885">
                  <c:v>43.77766372166073</c:v>
                </c:pt>
                <c:pt idx="886">
                  <c:v>43.77766372166073</c:v>
                </c:pt>
                <c:pt idx="887">
                  <c:v>43.77766372166073</c:v>
                </c:pt>
                <c:pt idx="888">
                  <c:v>43.77766372166073</c:v>
                </c:pt>
                <c:pt idx="889">
                  <c:v>43.77766372166073</c:v>
                </c:pt>
                <c:pt idx="890">
                  <c:v>43.77766372166073</c:v>
                </c:pt>
                <c:pt idx="891">
                  <c:v>43.77766372166073</c:v>
                </c:pt>
                <c:pt idx="892">
                  <c:v>43.77766372166073</c:v>
                </c:pt>
                <c:pt idx="893">
                  <c:v>43.77766372166073</c:v>
                </c:pt>
                <c:pt idx="894">
                  <c:v>43.77766372166073</c:v>
                </c:pt>
                <c:pt idx="895">
                  <c:v>43.77766372166073</c:v>
                </c:pt>
                <c:pt idx="896">
                  <c:v>43.77766372166073</c:v>
                </c:pt>
                <c:pt idx="897">
                  <c:v>43.77766372166073</c:v>
                </c:pt>
                <c:pt idx="898">
                  <c:v>43.77766372166073</c:v>
                </c:pt>
                <c:pt idx="899">
                  <c:v>43.77766372166073</c:v>
                </c:pt>
                <c:pt idx="900">
                  <c:v>43.77766372166073</c:v>
                </c:pt>
                <c:pt idx="901">
                  <c:v>43.77766372166073</c:v>
                </c:pt>
                <c:pt idx="902">
                  <c:v>43.77766372166073</c:v>
                </c:pt>
                <c:pt idx="903">
                  <c:v>43.77766372166073</c:v>
                </c:pt>
                <c:pt idx="904">
                  <c:v>43.77766372166073</c:v>
                </c:pt>
                <c:pt idx="905">
                  <c:v>43.77766372166073</c:v>
                </c:pt>
                <c:pt idx="906">
                  <c:v>43.77766372166073</c:v>
                </c:pt>
                <c:pt idx="907">
                  <c:v>43.77766372166073</c:v>
                </c:pt>
                <c:pt idx="908">
                  <c:v>43.77766372166073</c:v>
                </c:pt>
                <c:pt idx="909">
                  <c:v>43.77766372166073</c:v>
                </c:pt>
                <c:pt idx="910">
                  <c:v>43.77766372166073</c:v>
                </c:pt>
                <c:pt idx="911">
                  <c:v>43.77766372166073</c:v>
                </c:pt>
                <c:pt idx="912">
                  <c:v>43.77766372166073</c:v>
                </c:pt>
                <c:pt idx="913">
                  <c:v>43.77766372166073</c:v>
                </c:pt>
                <c:pt idx="914">
                  <c:v>43.77766372166073</c:v>
                </c:pt>
                <c:pt idx="915">
                  <c:v>43.77766372166073</c:v>
                </c:pt>
                <c:pt idx="916">
                  <c:v>43.77766372166073</c:v>
                </c:pt>
                <c:pt idx="917">
                  <c:v>43.77766372166073</c:v>
                </c:pt>
                <c:pt idx="918">
                  <c:v>43.77766372166073</c:v>
                </c:pt>
                <c:pt idx="919">
                  <c:v>43.77766372166073</c:v>
                </c:pt>
                <c:pt idx="920">
                  <c:v>43.77766372166073</c:v>
                </c:pt>
                <c:pt idx="921">
                  <c:v>43.77766372166073</c:v>
                </c:pt>
                <c:pt idx="922">
                  <c:v>43.77766372166073</c:v>
                </c:pt>
                <c:pt idx="923">
                  <c:v>43.77766372166073</c:v>
                </c:pt>
                <c:pt idx="924">
                  <c:v>43.77766372166073</c:v>
                </c:pt>
                <c:pt idx="925">
                  <c:v>43.77766372166073</c:v>
                </c:pt>
                <c:pt idx="926">
                  <c:v>43.721927887975021</c:v>
                </c:pt>
                <c:pt idx="927">
                  <c:v>42.681541532868422</c:v>
                </c:pt>
                <c:pt idx="928">
                  <c:v>41.214369784210973</c:v>
                </c:pt>
                <c:pt idx="929">
                  <c:v>39.837908258567495</c:v>
                </c:pt>
                <c:pt idx="930">
                  <c:v>40.381495911559362</c:v>
                </c:pt>
                <c:pt idx="931">
                  <c:v>40.012742647014484</c:v>
                </c:pt>
                <c:pt idx="932">
                  <c:v>39.504456015490284</c:v>
                </c:pt>
                <c:pt idx="933">
                  <c:v>40.544555061410236</c:v>
                </c:pt>
                <c:pt idx="934">
                  <c:v>40.544555061410236</c:v>
                </c:pt>
                <c:pt idx="935">
                  <c:v>39.230874369447172</c:v>
                </c:pt>
                <c:pt idx="936">
                  <c:v>36.113897398834851</c:v>
                </c:pt>
                <c:pt idx="937">
                  <c:v>37.283559060185588</c:v>
                </c:pt>
                <c:pt idx="938">
                  <c:v>36.879688910956176</c:v>
                </c:pt>
                <c:pt idx="939">
                  <c:v>40.601305736754782</c:v>
                </c:pt>
                <c:pt idx="940">
                  <c:v>40.601305736754782</c:v>
                </c:pt>
                <c:pt idx="941">
                  <c:v>40.550554104583838</c:v>
                </c:pt>
                <c:pt idx="942">
                  <c:v>40.550554104583838</c:v>
                </c:pt>
                <c:pt idx="943">
                  <c:v>40.550554104583838</c:v>
                </c:pt>
                <c:pt idx="944">
                  <c:v>40.550554104583838</c:v>
                </c:pt>
                <c:pt idx="945">
                  <c:v>40.550554104583838</c:v>
                </c:pt>
                <c:pt idx="946">
                  <c:v>40.550554104583838</c:v>
                </c:pt>
                <c:pt idx="947">
                  <c:v>40.550554104583838</c:v>
                </c:pt>
                <c:pt idx="948">
                  <c:v>40.550554104583838</c:v>
                </c:pt>
                <c:pt idx="949">
                  <c:v>40.550554104583838</c:v>
                </c:pt>
                <c:pt idx="950">
                  <c:v>40.550554104583838</c:v>
                </c:pt>
                <c:pt idx="951">
                  <c:v>40.550554104583838</c:v>
                </c:pt>
                <c:pt idx="952">
                  <c:v>40.550554104583838</c:v>
                </c:pt>
                <c:pt idx="953">
                  <c:v>40.550554104583838</c:v>
                </c:pt>
                <c:pt idx="954">
                  <c:v>40.550554104583838</c:v>
                </c:pt>
                <c:pt idx="955">
                  <c:v>40.550554104583838</c:v>
                </c:pt>
                <c:pt idx="956">
                  <c:v>40.550554104583838</c:v>
                </c:pt>
                <c:pt idx="957">
                  <c:v>40.550554104583838</c:v>
                </c:pt>
                <c:pt idx="958">
                  <c:v>40.550554104583838</c:v>
                </c:pt>
                <c:pt idx="959">
                  <c:v>40.550554104583838</c:v>
                </c:pt>
                <c:pt idx="960">
                  <c:v>40.550554104583838</c:v>
                </c:pt>
                <c:pt idx="961">
                  <c:v>40.550554104583838</c:v>
                </c:pt>
                <c:pt idx="962">
                  <c:v>40.550554104583838</c:v>
                </c:pt>
                <c:pt idx="963">
                  <c:v>40.550554104583838</c:v>
                </c:pt>
                <c:pt idx="964">
                  <c:v>40.550554104583838</c:v>
                </c:pt>
                <c:pt idx="965">
                  <c:v>40.550554104583838</c:v>
                </c:pt>
                <c:pt idx="966">
                  <c:v>40.550554104583838</c:v>
                </c:pt>
                <c:pt idx="967">
                  <c:v>40.550554104583838</c:v>
                </c:pt>
                <c:pt idx="968">
                  <c:v>40.550554104583838</c:v>
                </c:pt>
                <c:pt idx="969">
                  <c:v>40.550554104583838</c:v>
                </c:pt>
                <c:pt idx="970">
                  <c:v>40.550554104583838</c:v>
                </c:pt>
                <c:pt idx="971">
                  <c:v>40.550554104583838</c:v>
                </c:pt>
                <c:pt idx="972">
                  <c:v>40.550554104583838</c:v>
                </c:pt>
                <c:pt idx="973">
                  <c:v>40.550554104583838</c:v>
                </c:pt>
                <c:pt idx="974">
                  <c:v>40.550554104583838</c:v>
                </c:pt>
                <c:pt idx="975">
                  <c:v>40.550554104583838</c:v>
                </c:pt>
                <c:pt idx="976">
                  <c:v>40.550554104583838</c:v>
                </c:pt>
                <c:pt idx="977">
                  <c:v>40.550554104583838</c:v>
                </c:pt>
                <c:pt idx="978">
                  <c:v>40.550554104583838</c:v>
                </c:pt>
                <c:pt idx="979">
                  <c:v>40.550554104583838</c:v>
                </c:pt>
                <c:pt idx="980">
                  <c:v>40.550554104583838</c:v>
                </c:pt>
                <c:pt idx="981">
                  <c:v>40.550554104583838</c:v>
                </c:pt>
                <c:pt idx="982">
                  <c:v>40.550554104583838</c:v>
                </c:pt>
                <c:pt idx="983">
                  <c:v>40.550554104583838</c:v>
                </c:pt>
                <c:pt idx="984">
                  <c:v>40.898710256228988</c:v>
                </c:pt>
                <c:pt idx="985">
                  <c:v>42.29977931245449</c:v>
                </c:pt>
                <c:pt idx="986">
                  <c:v>42.29977931245449</c:v>
                </c:pt>
                <c:pt idx="987">
                  <c:v>42.071476814347164</c:v>
                </c:pt>
                <c:pt idx="988">
                  <c:v>43.841760024760106</c:v>
                </c:pt>
                <c:pt idx="989">
                  <c:v>43.841760024760106</c:v>
                </c:pt>
                <c:pt idx="990">
                  <c:v>43.786957824729157</c:v>
                </c:pt>
                <c:pt idx="991">
                  <c:v>43.786957824729157</c:v>
                </c:pt>
                <c:pt idx="992">
                  <c:v>43.786957824729157</c:v>
                </c:pt>
                <c:pt idx="993">
                  <c:v>43.786957824729157</c:v>
                </c:pt>
                <c:pt idx="994">
                  <c:v>43.786957824729157</c:v>
                </c:pt>
                <c:pt idx="995">
                  <c:v>43.786957824729157</c:v>
                </c:pt>
                <c:pt idx="996">
                  <c:v>43.786957824729157</c:v>
                </c:pt>
                <c:pt idx="997">
                  <c:v>43.786957824729157</c:v>
                </c:pt>
                <c:pt idx="998">
                  <c:v>43.786957824729157</c:v>
                </c:pt>
                <c:pt idx="999">
                  <c:v>43.786957824729157</c:v>
                </c:pt>
                <c:pt idx="1000">
                  <c:v>43.786957824729157</c:v>
                </c:pt>
                <c:pt idx="1001">
                  <c:v>43.786957824729157</c:v>
                </c:pt>
                <c:pt idx="1002">
                  <c:v>43.786957824729157</c:v>
                </c:pt>
                <c:pt idx="1003">
                  <c:v>42.628514095739362</c:v>
                </c:pt>
                <c:pt idx="1004">
                  <c:v>42.387857765967077</c:v>
                </c:pt>
                <c:pt idx="1005">
                  <c:v>42.256728329691782</c:v>
                </c:pt>
                <c:pt idx="1006">
                  <c:v>41.402824005845602</c:v>
                </c:pt>
                <c:pt idx="1007">
                  <c:v>39.853712270874887</c:v>
                </c:pt>
                <c:pt idx="1008">
                  <c:v>39.050160110247191</c:v>
                </c:pt>
                <c:pt idx="1009">
                  <c:v>42.142575232511319</c:v>
                </c:pt>
                <c:pt idx="1010">
                  <c:v>42.142575232511319</c:v>
                </c:pt>
                <c:pt idx="1011">
                  <c:v>42.142700389950662</c:v>
                </c:pt>
                <c:pt idx="1012">
                  <c:v>42.090022014463223</c:v>
                </c:pt>
                <c:pt idx="1013">
                  <c:v>41.993621143395295</c:v>
                </c:pt>
                <c:pt idx="1014">
                  <c:v>42.31626758648946</c:v>
                </c:pt>
                <c:pt idx="1015">
                  <c:v>42.31626758648946</c:v>
                </c:pt>
                <c:pt idx="1016">
                  <c:v>42.263372252006349</c:v>
                </c:pt>
                <c:pt idx="1017">
                  <c:v>42.209126760204541</c:v>
                </c:pt>
                <c:pt idx="1018">
                  <c:v>41.428729538990432</c:v>
                </c:pt>
                <c:pt idx="1019">
                  <c:v>40.348544520291043</c:v>
                </c:pt>
                <c:pt idx="1020">
                  <c:v>40.081084794939123</c:v>
                </c:pt>
                <c:pt idx="1021">
                  <c:v>38.284321364139394</c:v>
                </c:pt>
                <c:pt idx="1022">
                  <c:v>39.033494496468563</c:v>
                </c:pt>
                <c:pt idx="1023">
                  <c:v>37.29440943109536</c:v>
                </c:pt>
                <c:pt idx="1024">
                  <c:v>37.580310729424276</c:v>
                </c:pt>
                <c:pt idx="1025">
                  <c:v>37.000616940619956</c:v>
                </c:pt>
                <c:pt idx="1026">
                  <c:v>38.678575479546225</c:v>
                </c:pt>
                <c:pt idx="1027">
                  <c:v>38.678575479546225</c:v>
                </c:pt>
                <c:pt idx="1028">
                  <c:v>38.84745366228529</c:v>
                </c:pt>
                <c:pt idx="1029">
                  <c:v>38.798894345207437</c:v>
                </c:pt>
                <c:pt idx="1030">
                  <c:v>38.462834632485468</c:v>
                </c:pt>
                <c:pt idx="1031">
                  <c:v>38.492792505530758</c:v>
                </c:pt>
                <c:pt idx="1032">
                  <c:v>40.6380146983592</c:v>
                </c:pt>
                <c:pt idx="1033">
                  <c:v>40.6380146983592</c:v>
                </c:pt>
                <c:pt idx="1034">
                  <c:v>40.587217179986254</c:v>
                </c:pt>
                <c:pt idx="1035">
                  <c:v>40.587217179986254</c:v>
                </c:pt>
                <c:pt idx="1036">
                  <c:v>40.587217179986254</c:v>
                </c:pt>
                <c:pt idx="1037">
                  <c:v>40.587217179986254</c:v>
                </c:pt>
                <c:pt idx="1038">
                  <c:v>40.479698542168506</c:v>
                </c:pt>
                <c:pt idx="1039">
                  <c:v>40.378407164793117</c:v>
                </c:pt>
                <c:pt idx="1040">
                  <c:v>42.240845763747352</c:v>
                </c:pt>
                <c:pt idx="1041">
                  <c:v>42.240845763747352</c:v>
                </c:pt>
                <c:pt idx="1042">
                  <c:v>42.188044706542669</c:v>
                </c:pt>
                <c:pt idx="1043">
                  <c:v>42.188044706542669</c:v>
                </c:pt>
                <c:pt idx="1044">
                  <c:v>41.795386154919392</c:v>
                </c:pt>
                <c:pt idx="1045">
                  <c:v>41.736810423002289</c:v>
                </c:pt>
                <c:pt idx="1046">
                  <c:v>40.396070540804217</c:v>
                </c:pt>
                <c:pt idx="1047">
                  <c:v>39.768855433768273</c:v>
                </c:pt>
                <c:pt idx="1048">
                  <c:v>41.601600453234553</c:v>
                </c:pt>
                <c:pt idx="1049">
                  <c:v>42.990676354027059</c:v>
                </c:pt>
                <c:pt idx="1050">
                  <c:v>42.990676354027059</c:v>
                </c:pt>
                <c:pt idx="1051">
                  <c:v>42.936938008584526</c:v>
                </c:pt>
                <c:pt idx="1052">
                  <c:v>42.936938008584526</c:v>
                </c:pt>
                <c:pt idx="1053">
                  <c:v>42.123964048301268</c:v>
                </c:pt>
                <c:pt idx="1054">
                  <c:v>42.071309093240892</c:v>
                </c:pt>
                <c:pt idx="1055">
                  <c:v>42.018719956874342</c:v>
                </c:pt>
                <c:pt idx="1056">
                  <c:v>42.624083745145796</c:v>
                </c:pt>
                <c:pt idx="1057">
                  <c:v>41.754357587315425</c:v>
                </c:pt>
                <c:pt idx="1058">
                  <c:v>40.132725915550303</c:v>
                </c:pt>
                <c:pt idx="1059">
                  <c:v>41.006543335557531</c:v>
                </c:pt>
                <c:pt idx="1060">
                  <c:v>40.419808146792072</c:v>
                </c:pt>
                <c:pt idx="1061">
                  <c:v>42.830571340509024</c:v>
                </c:pt>
                <c:pt idx="1062">
                  <c:v>42.830571340509024</c:v>
                </c:pt>
                <c:pt idx="1063">
                  <c:v>42.777033126333386</c:v>
                </c:pt>
                <c:pt idx="1064">
                  <c:v>42.777033126333386</c:v>
                </c:pt>
                <c:pt idx="1065">
                  <c:v>42.777033126333386</c:v>
                </c:pt>
                <c:pt idx="1066">
                  <c:v>42.777033126333386</c:v>
                </c:pt>
                <c:pt idx="1067">
                  <c:v>42.777033126333386</c:v>
                </c:pt>
                <c:pt idx="1068">
                  <c:v>43.265831666939661</c:v>
                </c:pt>
                <c:pt idx="1069">
                  <c:v>42.309992937288946</c:v>
                </c:pt>
                <c:pt idx="1070">
                  <c:v>41.416281990712356</c:v>
                </c:pt>
                <c:pt idx="1071">
                  <c:v>41.48591944681246</c:v>
                </c:pt>
                <c:pt idx="1072">
                  <c:v>40.627432300468662</c:v>
                </c:pt>
                <c:pt idx="1073">
                  <c:v>39.838782114075791</c:v>
                </c:pt>
                <c:pt idx="1074">
                  <c:v>38.907275658360817</c:v>
                </c:pt>
                <c:pt idx="1075">
                  <c:v>37.54638575639396</c:v>
                </c:pt>
                <c:pt idx="1076">
                  <c:v>37.185915803410225</c:v>
                </c:pt>
                <c:pt idx="1077">
                  <c:v>37.685714449048085</c:v>
                </c:pt>
                <c:pt idx="1078">
                  <c:v>39.043287216621827</c:v>
                </c:pt>
                <c:pt idx="1079">
                  <c:v>39.043287216621827</c:v>
                </c:pt>
                <c:pt idx="1080">
                  <c:v>38.994483107601049</c:v>
                </c:pt>
                <c:pt idx="1081">
                  <c:v>38.994483107601049</c:v>
                </c:pt>
                <c:pt idx="1082">
                  <c:v>38.994483107601049</c:v>
                </c:pt>
                <c:pt idx="1083">
                  <c:v>38.99560265414285</c:v>
                </c:pt>
                <c:pt idx="1084">
                  <c:v>38.698458023469485</c:v>
                </c:pt>
                <c:pt idx="1085">
                  <c:v>39.164575790172698</c:v>
                </c:pt>
                <c:pt idx="1086">
                  <c:v>39.164575790172698</c:v>
                </c:pt>
                <c:pt idx="1087">
                  <c:v>39.053837776475987</c:v>
                </c:pt>
                <c:pt idx="1088">
                  <c:v>39.844955278812144</c:v>
                </c:pt>
                <c:pt idx="1089">
                  <c:v>39.844955278812144</c:v>
                </c:pt>
                <c:pt idx="1090">
                  <c:v>39.332754268106434</c:v>
                </c:pt>
                <c:pt idx="1091">
                  <c:v>39.95068314684702</c:v>
                </c:pt>
                <c:pt idx="1092">
                  <c:v>42.20779878753261</c:v>
                </c:pt>
                <c:pt idx="1093">
                  <c:v>42.20779878753261</c:v>
                </c:pt>
                <c:pt idx="1094">
                  <c:v>42.155039039048198</c:v>
                </c:pt>
                <c:pt idx="1095">
                  <c:v>42.625606362836528</c:v>
                </c:pt>
                <c:pt idx="1096">
                  <c:v>42.115798405237157</c:v>
                </c:pt>
                <c:pt idx="1097">
                  <c:v>42.146652827513918</c:v>
                </c:pt>
                <c:pt idx="1098">
                  <c:v>42.684853554991896</c:v>
                </c:pt>
                <c:pt idx="1099">
                  <c:v>43.52965891308822</c:v>
                </c:pt>
                <c:pt idx="1100">
                  <c:v>43.52965891308822</c:v>
                </c:pt>
                <c:pt idx="1101">
                  <c:v>43.475246839446861</c:v>
                </c:pt>
                <c:pt idx="1102">
                  <c:v>43.475246839446861</c:v>
                </c:pt>
                <c:pt idx="1103">
                  <c:v>43.475246839446861</c:v>
                </c:pt>
                <c:pt idx="1104">
                  <c:v>43.475246839446861</c:v>
                </c:pt>
                <c:pt idx="1105">
                  <c:v>43.475246839446861</c:v>
                </c:pt>
                <c:pt idx="1106">
                  <c:v>43.475246839446861</c:v>
                </c:pt>
                <c:pt idx="1107">
                  <c:v>44.202979845111493</c:v>
                </c:pt>
                <c:pt idx="1108">
                  <c:v>42.866069692773173</c:v>
                </c:pt>
                <c:pt idx="1109">
                  <c:v>40.378209228854175</c:v>
                </c:pt>
                <c:pt idx="1110">
                  <c:v>40.889797627196998</c:v>
                </c:pt>
                <c:pt idx="1111">
                  <c:v>39.929139341810803</c:v>
                </c:pt>
                <c:pt idx="1112">
                  <c:v>40.074690730654254</c:v>
                </c:pt>
                <c:pt idx="1113">
                  <c:v>38.30310656835978</c:v>
                </c:pt>
                <c:pt idx="1114">
                  <c:v>38.520786794668332</c:v>
                </c:pt>
                <c:pt idx="1115">
                  <c:v>39.479629286703656</c:v>
                </c:pt>
                <c:pt idx="1116">
                  <c:v>39.403670212598797</c:v>
                </c:pt>
                <c:pt idx="1117">
                  <c:v>38.563903122337834</c:v>
                </c:pt>
                <c:pt idx="1118">
                  <c:v>38.768953959655398</c:v>
                </c:pt>
                <c:pt idx="1119">
                  <c:v>38.768953959655398</c:v>
                </c:pt>
                <c:pt idx="1120">
                  <c:v>38.720492767205833</c:v>
                </c:pt>
                <c:pt idx="1121">
                  <c:v>38.720492767205833</c:v>
                </c:pt>
                <c:pt idx="1122">
                  <c:v>38.676444929357025</c:v>
                </c:pt>
                <c:pt idx="1123">
                  <c:v>38.888582320497292</c:v>
                </c:pt>
                <c:pt idx="1124">
                  <c:v>38.888582320497292</c:v>
                </c:pt>
                <c:pt idx="1125">
                  <c:v>38.839971592596669</c:v>
                </c:pt>
                <c:pt idx="1126">
                  <c:v>38.839971592596669</c:v>
                </c:pt>
                <c:pt idx="1127">
                  <c:v>38.839971592596669</c:v>
                </c:pt>
                <c:pt idx="1128">
                  <c:v>38.839971592596669</c:v>
                </c:pt>
                <c:pt idx="1129">
                  <c:v>38.374102884024325</c:v>
                </c:pt>
                <c:pt idx="1130">
                  <c:v>37.536773389977334</c:v>
                </c:pt>
                <c:pt idx="1131">
                  <c:v>36.770628960165517</c:v>
                </c:pt>
                <c:pt idx="1132">
                  <c:v>36.004519558916328</c:v>
                </c:pt>
                <c:pt idx="1133">
                  <c:v>35.544217550156965</c:v>
                </c:pt>
                <c:pt idx="1134">
                  <c:v>34.16731614931426</c:v>
                </c:pt>
                <c:pt idx="1135">
                  <c:v>34.713278770286614</c:v>
                </c:pt>
                <c:pt idx="1136">
                  <c:v>33.82020913702064</c:v>
                </c:pt>
                <c:pt idx="1137">
                  <c:v>33.681095950039072</c:v>
                </c:pt>
                <c:pt idx="1138">
                  <c:v>33.680795348073346</c:v>
                </c:pt>
                <c:pt idx="1139">
                  <c:v>32.446061950734197</c:v>
                </c:pt>
                <c:pt idx="1140">
                  <c:v>32.992214417549846</c:v>
                </c:pt>
                <c:pt idx="1141">
                  <c:v>33.676896499570397</c:v>
                </c:pt>
                <c:pt idx="1142">
                  <c:v>33.812532900631567</c:v>
                </c:pt>
                <c:pt idx="1143">
                  <c:v>33.812532900631567</c:v>
                </c:pt>
                <c:pt idx="1144">
                  <c:v>33.770267234505781</c:v>
                </c:pt>
                <c:pt idx="1145">
                  <c:v>33.770267234505781</c:v>
                </c:pt>
                <c:pt idx="1146">
                  <c:v>33.770267234505781</c:v>
                </c:pt>
                <c:pt idx="1147">
                  <c:v>33.770267234505781</c:v>
                </c:pt>
                <c:pt idx="1148">
                  <c:v>33.770267234505781</c:v>
                </c:pt>
                <c:pt idx="1149">
                  <c:v>33.770267234505781</c:v>
                </c:pt>
                <c:pt idx="1150">
                  <c:v>33.770267234505781</c:v>
                </c:pt>
                <c:pt idx="1151">
                  <c:v>33.770267234505781</c:v>
                </c:pt>
                <c:pt idx="1152">
                  <c:v>33.730503095947988</c:v>
                </c:pt>
                <c:pt idx="1153">
                  <c:v>33.881053619530896</c:v>
                </c:pt>
                <c:pt idx="1154">
                  <c:v>35.528070321319412</c:v>
                </c:pt>
                <c:pt idx="1155">
                  <c:v>35.528070321319412</c:v>
                </c:pt>
                <c:pt idx="1156">
                  <c:v>35.483660233417766</c:v>
                </c:pt>
                <c:pt idx="1157">
                  <c:v>35.483660233417766</c:v>
                </c:pt>
                <c:pt idx="1158">
                  <c:v>35.483660233417766</c:v>
                </c:pt>
                <c:pt idx="1159">
                  <c:v>35.632304436813527</c:v>
                </c:pt>
                <c:pt idx="1160">
                  <c:v>35.12921846744068</c:v>
                </c:pt>
                <c:pt idx="1161">
                  <c:v>34.459595514231658</c:v>
                </c:pt>
                <c:pt idx="1162">
                  <c:v>34.339399510800291</c:v>
                </c:pt>
                <c:pt idx="1163">
                  <c:v>33.770151647103219</c:v>
                </c:pt>
                <c:pt idx="1164">
                  <c:v>36.337652051413016</c:v>
                </c:pt>
                <c:pt idx="1165">
                  <c:v>36.337652051413016</c:v>
                </c:pt>
                <c:pt idx="1166">
                  <c:v>36.292229986348751</c:v>
                </c:pt>
                <c:pt idx="1167">
                  <c:v>36.336833376305584</c:v>
                </c:pt>
                <c:pt idx="1168">
                  <c:v>36.782959033696358</c:v>
                </c:pt>
                <c:pt idx="1169">
                  <c:v>36.782959033696358</c:v>
                </c:pt>
                <c:pt idx="1170">
                  <c:v>36.675801561743256</c:v>
                </c:pt>
                <c:pt idx="1171">
                  <c:v>37.442421045390645</c:v>
                </c:pt>
                <c:pt idx="1172">
                  <c:v>37.442421045390645</c:v>
                </c:pt>
                <c:pt idx="1173">
                  <c:v>37.395618019083905</c:v>
                </c:pt>
                <c:pt idx="1174">
                  <c:v>37.346765163062543</c:v>
                </c:pt>
                <c:pt idx="1175">
                  <c:v>36.843275560556805</c:v>
                </c:pt>
                <c:pt idx="1176">
                  <c:v>36.571577022101771</c:v>
                </c:pt>
                <c:pt idx="1177">
                  <c:v>35.144264860693688</c:v>
                </c:pt>
                <c:pt idx="1178">
                  <c:v>35.639769857839589</c:v>
                </c:pt>
                <c:pt idx="1179">
                  <c:v>35.128452541209015</c:v>
                </c:pt>
                <c:pt idx="1180">
                  <c:v>33.888375023599181</c:v>
                </c:pt>
                <c:pt idx="1181">
                  <c:v>33.011207401230003</c:v>
                </c:pt>
                <c:pt idx="1182">
                  <c:v>32.717842296746952</c:v>
                </c:pt>
                <c:pt idx="1183">
                  <c:v>32.207131134263399</c:v>
                </c:pt>
                <c:pt idx="1184">
                  <c:v>31.841692330862511</c:v>
                </c:pt>
                <c:pt idx="1185">
                  <c:v>32.059492224300278</c:v>
                </c:pt>
                <c:pt idx="1186">
                  <c:v>32.641907472319488</c:v>
                </c:pt>
                <c:pt idx="1187">
                  <c:v>32.641907472319488</c:v>
                </c:pt>
                <c:pt idx="1188">
                  <c:v>32.601105087979093</c:v>
                </c:pt>
                <c:pt idx="1189">
                  <c:v>32.738910463595253</c:v>
                </c:pt>
                <c:pt idx="1190">
                  <c:v>31.612951270056733</c:v>
                </c:pt>
                <c:pt idx="1191">
                  <c:v>31.070488936352227</c:v>
                </c:pt>
                <c:pt idx="1192">
                  <c:v>30.233703015817465</c:v>
                </c:pt>
                <c:pt idx="1193">
                  <c:v>29.624201911852523</c:v>
                </c:pt>
                <c:pt idx="1194">
                  <c:v>30.76228462471801</c:v>
                </c:pt>
                <c:pt idx="1195">
                  <c:v>29.468425791278118</c:v>
                </c:pt>
                <c:pt idx="1196">
                  <c:v>28.782157165534702</c:v>
                </c:pt>
                <c:pt idx="1197">
                  <c:v>29.500241000939301</c:v>
                </c:pt>
                <c:pt idx="1198">
                  <c:v>28.190403277442599</c:v>
                </c:pt>
                <c:pt idx="1199">
                  <c:v>27.991432978134625</c:v>
                </c:pt>
                <c:pt idx="1200">
                  <c:v>29.626017473663921</c:v>
                </c:pt>
                <c:pt idx="1201">
                  <c:v>29.626017473663921</c:v>
                </c:pt>
                <c:pt idx="1202">
                  <c:v>29.588984951821843</c:v>
                </c:pt>
                <c:pt idx="1203">
                  <c:v>29.588984951821843</c:v>
                </c:pt>
                <c:pt idx="1204">
                  <c:v>29.588984951821843</c:v>
                </c:pt>
                <c:pt idx="1205">
                  <c:v>29.588984951821843</c:v>
                </c:pt>
                <c:pt idx="1206">
                  <c:v>29.588984951821843</c:v>
                </c:pt>
                <c:pt idx="1207">
                  <c:v>29.588984951821843</c:v>
                </c:pt>
                <c:pt idx="1208">
                  <c:v>29.588984951821843</c:v>
                </c:pt>
                <c:pt idx="1209">
                  <c:v>29.527534013377906</c:v>
                </c:pt>
                <c:pt idx="1210">
                  <c:v>29.490624595861185</c:v>
                </c:pt>
                <c:pt idx="1211">
                  <c:v>29.45376131511636</c:v>
                </c:pt>
                <c:pt idx="1212">
                  <c:v>29.45376131511636</c:v>
                </c:pt>
                <c:pt idx="1213">
                  <c:v>29.45376131511636</c:v>
                </c:pt>
                <c:pt idx="1214">
                  <c:v>29.45376131511636</c:v>
                </c:pt>
                <c:pt idx="1215">
                  <c:v>29.45376131511636</c:v>
                </c:pt>
                <c:pt idx="1216">
                  <c:v>29.45376131511636</c:v>
                </c:pt>
                <c:pt idx="1217">
                  <c:v>29.45376131511636</c:v>
                </c:pt>
                <c:pt idx="1218">
                  <c:v>29.45376131511636</c:v>
                </c:pt>
                <c:pt idx="1219">
                  <c:v>29.45376131511636</c:v>
                </c:pt>
                <c:pt idx="1220">
                  <c:v>28.85792722565844</c:v>
                </c:pt>
                <c:pt idx="1221">
                  <c:v>28.275967298842428</c:v>
                </c:pt>
                <c:pt idx="1222">
                  <c:v>29.219584579129251</c:v>
                </c:pt>
                <c:pt idx="1223">
                  <c:v>28.475138455132598</c:v>
                </c:pt>
                <c:pt idx="1224">
                  <c:v>28.291204614501577</c:v>
                </c:pt>
                <c:pt idx="1225">
                  <c:v>27.605513780158862</c:v>
                </c:pt>
                <c:pt idx="1226">
                  <c:v>27.180951546187934</c:v>
                </c:pt>
                <c:pt idx="1227">
                  <c:v>26.949274727196574</c:v>
                </c:pt>
                <c:pt idx="1228">
                  <c:v>26.726405794513113</c:v>
                </c:pt>
                <c:pt idx="1229">
                  <c:v>26.725886534460937</c:v>
                </c:pt>
                <c:pt idx="1230">
                  <c:v>25.59198651904449</c:v>
                </c:pt>
                <c:pt idx="1231">
                  <c:v>25.408617547255176</c:v>
                </c:pt>
                <c:pt idx="1232">
                  <c:v>25.595976512137373</c:v>
                </c:pt>
                <c:pt idx="1233">
                  <c:v>25.733871819089899</c:v>
                </c:pt>
                <c:pt idx="1234">
                  <c:v>25.733565796909897</c:v>
                </c:pt>
                <c:pt idx="1235">
                  <c:v>25.733565796909897</c:v>
                </c:pt>
                <c:pt idx="1236">
                  <c:v>25.760553863568525</c:v>
                </c:pt>
                <c:pt idx="1237">
                  <c:v>25.728353171239064</c:v>
                </c:pt>
                <c:pt idx="1238">
                  <c:v>25.038282409751137</c:v>
                </c:pt>
                <c:pt idx="1239">
                  <c:v>24.61260243106064</c:v>
                </c:pt>
                <c:pt idx="1240">
                  <c:v>25.109017183376324</c:v>
                </c:pt>
                <c:pt idx="1241">
                  <c:v>24.73499603614918</c:v>
                </c:pt>
                <c:pt idx="1242">
                  <c:v>24.174853622956544</c:v>
                </c:pt>
                <c:pt idx="1243">
                  <c:v>24.732966498190688</c:v>
                </c:pt>
                <c:pt idx="1244">
                  <c:v>24.9802811321298</c:v>
                </c:pt>
                <c:pt idx="1245">
                  <c:v>24.9802811321298</c:v>
                </c:pt>
                <c:pt idx="1246">
                  <c:v>24.635926972698279</c:v>
                </c:pt>
                <c:pt idx="1247">
                  <c:v>24.208353707514892</c:v>
                </c:pt>
                <c:pt idx="1248">
                  <c:v>24.00483178717213</c:v>
                </c:pt>
                <c:pt idx="1249">
                  <c:v>23.814405697229631</c:v>
                </c:pt>
                <c:pt idx="1250">
                  <c:v>22.800613082942395</c:v>
                </c:pt>
                <c:pt idx="1251">
                  <c:v>22.101791665769319</c:v>
                </c:pt>
                <c:pt idx="1252">
                  <c:v>22.670266341967395</c:v>
                </c:pt>
                <c:pt idx="1253">
                  <c:v>22.099057117430625</c:v>
                </c:pt>
                <c:pt idx="1254">
                  <c:v>21.78122861928129</c:v>
                </c:pt>
                <c:pt idx="1255">
                  <c:v>21.653909110618201</c:v>
                </c:pt>
                <c:pt idx="1256">
                  <c:v>21.716947494409755</c:v>
                </c:pt>
                <c:pt idx="1257">
                  <c:v>21.146973495364879</c:v>
                </c:pt>
                <c:pt idx="1258">
                  <c:v>21.145752762301822</c:v>
                </c:pt>
                <c:pt idx="1259">
                  <c:v>21.857915638171349</c:v>
                </c:pt>
                <c:pt idx="1260">
                  <c:v>21.857915638171349</c:v>
                </c:pt>
                <c:pt idx="1261">
                  <c:v>21.713467020717339</c:v>
                </c:pt>
                <c:pt idx="1262">
                  <c:v>21.753213791823711</c:v>
                </c:pt>
                <c:pt idx="1263">
                  <c:v>21.69153992982249</c:v>
                </c:pt>
                <c:pt idx="1264">
                  <c:v>21.516949369182118</c:v>
                </c:pt>
                <c:pt idx="1265">
                  <c:v>21.807339137803758</c:v>
                </c:pt>
                <c:pt idx="1266">
                  <c:v>21.807339137803758</c:v>
                </c:pt>
                <c:pt idx="1267">
                  <c:v>21.780079963881505</c:v>
                </c:pt>
                <c:pt idx="1268">
                  <c:v>21.780079963881505</c:v>
                </c:pt>
                <c:pt idx="1269">
                  <c:v>21.780079963881505</c:v>
                </c:pt>
                <c:pt idx="1270">
                  <c:v>21.780079963881505</c:v>
                </c:pt>
                <c:pt idx="1271">
                  <c:v>21.780079963881505</c:v>
                </c:pt>
                <c:pt idx="1272">
                  <c:v>21.780079963881505</c:v>
                </c:pt>
                <c:pt idx="1273">
                  <c:v>21.780079963881505</c:v>
                </c:pt>
                <c:pt idx="1274">
                  <c:v>21.780079963881505</c:v>
                </c:pt>
                <c:pt idx="1275">
                  <c:v>21.780079963881505</c:v>
                </c:pt>
                <c:pt idx="1276">
                  <c:v>21.780079963881505</c:v>
                </c:pt>
                <c:pt idx="1277">
                  <c:v>21.780079963881505</c:v>
                </c:pt>
                <c:pt idx="1278">
                  <c:v>21.780079963881505</c:v>
                </c:pt>
                <c:pt idx="1279">
                  <c:v>21.780079963881505</c:v>
                </c:pt>
                <c:pt idx="1280">
                  <c:v>21.780079963881505</c:v>
                </c:pt>
                <c:pt idx="1281">
                  <c:v>21.780079963881505</c:v>
                </c:pt>
                <c:pt idx="1282">
                  <c:v>21.780079963881505</c:v>
                </c:pt>
                <c:pt idx="1283">
                  <c:v>21.780079963881505</c:v>
                </c:pt>
                <c:pt idx="1284">
                  <c:v>21.780079963881505</c:v>
                </c:pt>
                <c:pt idx="1285">
                  <c:v>21.780079963881505</c:v>
                </c:pt>
                <c:pt idx="1286">
                  <c:v>21.780079963881505</c:v>
                </c:pt>
                <c:pt idx="1287">
                  <c:v>21.780079963881505</c:v>
                </c:pt>
                <c:pt idx="1288">
                  <c:v>21.780079963881505</c:v>
                </c:pt>
                <c:pt idx="1289">
                  <c:v>21.780079963881505</c:v>
                </c:pt>
                <c:pt idx="1290">
                  <c:v>21.780079963881505</c:v>
                </c:pt>
                <c:pt idx="1291">
                  <c:v>21.780079963881505</c:v>
                </c:pt>
                <c:pt idx="1292">
                  <c:v>21.780079963881505</c:v>
                </c:pt>
                <c:pt idx="1293">
                  <c:v>21.780079963881505</c:v>
                </c:pt>
                <c:pt idx="1294">
                  <c:v>21.780079963881505</c:v>
                </c:pt>
                <c:pt idx="1295">
                  <c:v>21.780079963881505</c:v>
                </c:pt>
                <c:pt idx="1296">
                  <c:v>21.780079963881505</c:v>
                </c:pt>
                <c:pt idx="1297">
                  <c:v>21.780079963881505</c:v>
                </c:pt>
                <c:pt idx="1298">
                  <c:v>21.780079963881505</c:v>
                </c:pt>
                <c:pt idx="1299">
                  <c:v>21.780079963881505</c:v>
                </c:pt>
                <c:pt idx="1300">
                  <c:v>21.780079963881505</c:v>
                </c:pt>
                <c:pt idx="1301">
                  <c:v>21.507525812023879</c:v>
                </c:pt>
                <c:pt idx="1302">
                  <c:v>21.197753380537392</c:v>
                </c:pt>
                <c:pt idx="1303">
                  <c:v>20.898928325802984</c:v>
                </c:pt>
                <c:pt idx="1304">
                  <c:v>21.067757374863394</c:v>
                </c:pt>
                <c:pt idx="1305">
                  <c:v>22.073290405420462</c:v>
                </c:pt>
                <c:pt idx="1306">
                  <c:v>22.073290405420462</c:v>
                </c:pt>
                <c:pt idx="1307">
                  <c:v>22.045698792413688</c:v>
                </c:pt>
                <c:pt idx="1308">
                  <c:v>22.045698792413688</c:v>
                </c:pt>
                <c:pt idx="1309">
                  <c:v>22.045698792413688</c:v>
                </c:pt>
                <c:pt idx="1310">
                  <c:v>22.045698792413688</c:v>
                </c:pt>
                <c:pt idx="1311">
                  <c:v>22.045698792413688</c:v>
                </c:pt>
                <c:pt idx="1312">
                  <c:v>22.045698792413688</c:v>
                </c:pt>
                <c:pt idx="1313">
                  <c:v>22.045698792413688</c:v>
                </c:pt>
                <c:pt idx="1314">
                  <c:v>22.045698792413688</c:v>
                </c:pt>
                <c:pt idx="1315">
                  <c:v>22.045698792413688</c:v>
                </c:pt>
                <c:pt idx="1316">
                  <c:v>22.045698792413688</c:v>
                </c:pt>
                <c:pt idx="1317">
                  <c:v>21.61026964068482</c:v>
                </c:pt>
                <c:pt idx="1318">
                  <c:v>21.012614320068327</c:v>
                </c:pt>
                <c:pt idx="1319">
                  <c:v>20.970753771448646</c:v>
                </c:pt>
                <c:pt idx="1320">
                  <c:v>21.74284343752057</c:v>
                </c:pt>
                <c:pt idx="1321">
                  <c:v>21.74284343752057</c:v>
                </c:pt>
                <c:pt idx="1322">
                  <c:v>22.621276707508613</c:v>
                </c:pt>
                <c:pt idx="1323">
                  <c:v>22.593000111624228</c:v>
                </c:pt>
                <c:pt idx="1324">
                  <c:v>22.564758861484698</c:v>
                </c:pt>
                <c:pt idx="1325">
                  <c:v>22.517492631500833</c:v>
                </c:pt>
                <c:pt idx="1326">
                  <c:v>22.489345765711459</c:v>
                </c:pt>
                <c:pt idx="1327">
                  <c:v>22.331522061156114</c:v>
                </c:pt>
                <c:pt idx="1328">
                  <c:v>21.636716139392167</c:v>
                </c:pt>
                <c:pt idx="1329">
                  <c:v>21.538190110408188</c:v>
                </c:pt>
                <c:pt idx="1330">
                  <c:v>21.791713555524382</c:v>
                </c:pt>
                <c:pt idx="1331">
                  <c:v>21.791148427551366</c:v>
                </c:pt>
                <c:pt idx="1332">
                  <c:v>21.537271389402303</c:v>
                </c:pt>
                <c:pt idx="1333">
                  <c:v>20.182706440551883</c:v>
                </c:pt>
                <c:pt idx="1334">
                  <c:v>20.38698396503445</c:v>
                </c:pt>
                <c:pt idx="1335">
                  <c:v>20.090159687794223</c:v>
                </c:pt>
                <c:pt idx="1336">
                  <c:v>20.131812290712165</c:v>
                </c:pt>
                <c:pt idx="1337">
                  <c:v>20.047131227644154</c:v>
                </c:pt>
                <c:pt idx="1338">
                  <c:v>19.53942596878144</c:v>
                </c:pt>
                <c:pt idx="1339">
                  <c:v>19.665215329649552</c:v>
                </c:pt>
                <c:pt idx="1340">
                  <c:v>21.737182056999035</c:v>
                </c:pt>
                <c:pt idx="1341">
                  <c:v>21.737182056999035</c:v>
                </c:pt>
                <c:pt idx="1342">
                  <c:v>21.710010579427788</c:v>
                </c:pt>
                <c:pt idx="1343">
                  <c:v>21.710010579427788</c:v>
                </c:pt>
                <c:pt idx="1344">
                  <c:v>21.710010579427788</c:v>
                </c:pt>
                <c:pt idx="1345">
                  <c:v>21.710010579427788</c:v>
                </c:pt>
                <c:pt idx="1346">
                  <c:v>21.710010579427788</c:v>
                </c:pt>
                <c:pt idx="1347">
                  <c:v>21.710010579427788</c:v>
                </c:pt>
                <c:pt idx="1348">
                  <c:v>21.710010579427788</c:v>
                </c:pt>
                <c:pt idx="1349">
                  <c:v>21.710010579427788</c:v>
                </c:pt>
                <c:pt idx="1350">
                  <c:v>21.710010579427788</c:v>
                </c:pt>
                <c:pt idx="1351">
                  <c:v>21.710010579427788</c:v>
                </c:pt>
                <c:pt idx="1352">
                  <c:v>21.710010579427788</c:v>
                </c:pt>
                <c:pt idx="1353">
                  <c:v>21.710010579427788</c:v>
                </c:pt>
                <c:pt idx="1354">
                  <c:v>21.710010579427788</c:v>
                </c:pt>
                <c:pt idx="1355">
                  <c:v>21.710010579427788</c:v>
                </c:pt>
                <c:pt idx="1356">
                  <c:v>21.14560495296686</c:v>
                </c:pt>
                <c:pt idx="1357">
                  <c:v>19.925221835249506</c:v>
                </c:pt>
                <c:pt idx="1358">
                  <c:v>20.640410677908346</c:v>
                </c:pt>
                <c:pt idx="1359">
                  <c:v>20.132263044864228</c:v>
                </c:pt>
                <c:pt idx="1360">
                  <c:v>20.046764907193083</c:v>
                </c:pt>
                <c:pt idx="1361">
                  <c:v>19.646372638388808</c:v>
                </c:pt>
                <c:pt idx="1362">
                  <c:v>18.699571447761866</c:v>
                </c:pt>
                <c:pt idx="1363">
                  <c:v>18.697590674448371</c:v>
                </c:pt>
                <c:pt idx="1364">
                  <c:v>18.3338251991911</c:v>
                </c:pt>
                <c:pt idx="1365">
                  <c:v>18.260287743271004</c:v>
                </c:pt>
                <c:pt idx="1366">
                  <c:v>18.223752637933075</c:v>
                </c:pt>
                <c:pt idx="1367">
                  <c:v>17.714426384847471</c:v>
                </c:pt>
                <c:pt idx="1368">
                  <c:v>17.786086005524851</c:v>
                </c:pt>
                <c:pt idx="1369">
                  <c:v>18.149649829444957</c:v>
                </c:pt>
                <c:pt idx="1370">
                  <c:v>18.767157895004953</c:v>
                </c:pt>
                <c:pt idx="1371">
                  <c:v>18.767157895004953</c:v>
                </c:pt>
                <c:pt idx="1372">
                  <c:v>18.669492040543993</c:v>
                </c:pt>
                <c:pt idx="1373">
                  <c:v>18.585291790564288</c:v>
                </c:pt>
                <c:pt idx="1374">
                  <c:v>18.721533756159324</c:v>
                </c:pt>
                <c:pt idx="1375">
                  <c:v>18.721533756159324</c:v>
                </c:pt>
                <c:pt idx="1376">
                  <c:v>18.698131838964127</c:v>
                </c:pt>
                <c:pt idx="1377">
                  <c:v>18.698131838964127</c:v>
                </c:pt>
                <c:pt idx="1378">
                  <c:v>18.698131838964127</c:v>
                </c:pt>
                <c:pt idx="1379">
                  <c:v>18.830144992286957</c:v>
                </c:pt>
                <c:pt idx="1380">
                  <c:v>18.502832544492492</c:v>
                </c:pt>
                <c:pt idx="1381">
                  <c:v>17.696081759001622</c:v>
                </c:pt>
                <c:pt idx="1382">
                  <c:v>17.170356503658375</c:v>
                </c:pt>
                <c:pt idx="1383">
                  <c:v>16.645260761877964</c:v>
                </c:pt>
                <c:pt idx="1384">
                  <c:v>16.644143265042974</c:v>
                </c:pt>
                <c:pt idx="1385">
                  <c:v>17.36955244979805</c:v>
                </c:pt>
                <c:pt idx="1386">
                  <c:v>17.36955244979805</c:v>
                </c:pt>
                <c:pt idx="1387">
                  <c:v>17.347840509235802</c:v>
                </c:pt>
                <c:pt idx="1388">
                  <c:v>17.726845641714071</c:v>
                </c:pt>
                <c:pt idx="1389">
                  <c:v>17.704687084661931</c:v>
                </c:pt>
                <c:pt idx="1390">
                  <c:v>17.489542290873455</c:v>
                </c:pt>
                <c:pt idx="1391">
                  <c:v>16.727284991736937</c:v>
                </c:pt>
                <c:pt idx="1392">
                  <c:v>16.606866534522556</c:v>
                </c:pt>
                <c:pt idx="1393">
                  <c:v>16.963315636610456</c:v>
                </c:pt>
                <c:pt idx="1394">
                  <c:v>17.319219561543726</c:v>
                </c:pt>
                <c:pt idx="1395">
                  <c:v>17.319219561543726</c:v>
                </c:pt>
                <c:pt idx="1396">
                  <c:v>17.297570537091797</c:v>
                </c:pt>
                <c:pt idx="1397">
                  <c:v>17.297570537091797</c:v>
                </c:pt>
                <c:pt idx="1398">
                  <c:v>17.297570537091797</c:v>
                </c:pt>
                <c:pt idx="1399">
                  <c:v>16.912857430084252</c:v>
                </c:pt>
                <c:pt idx="1400">
                  <c:v>15.882313000822425</c:v>
                </c:pt>
                <c:pt idx="1401">
                  <c:v>15.919398202039472</c:v>
                </c:pt>
                <c:pt idx="1402">
                  <c:v>16.048032722636858</c:v>
                </c:pt>
                <c:pt idx="1403">
                  <c:v>16.219382779326533</c:v>
                </c:pt>
                <c:pt idx="1404">
                  <c:v>16.004459903831741</c:v>
                </c:pt>
                <c:pt idx="1405">
                  <c:v>16.261440332619394</c:v>
                </c:pt>
                <c:pt idx="1406">
                  <c:v>16.261440332619394</c:v>
                </c:pt>
                <c:pt idx="1407">
                  <c:v>16.24111353220362</c:v>
                </c:pt>
                <c:pt idx="1408">
                  <c:v>16.24111353220362</c:v>
                </c:pt>
                <c:pt idx="1409">
                  <c:v>16.24111353220362</c:v>
                </c:pt>
                <c:pt idx="1410">
                  <c:v>16.24111353220362</c:v>
                </c:pt>
                <c:pt idx="1411">
                  <c:v>16.24111353220362</c:v>
                </c:pt>
                <c:pt idx="1412">
                  <c:v>15.817997716973201</c:v>
                </c:pt>
                <c:pt idx="1413">
                  <c:v>16.523583564094032</c:v>
                </c:pt>
                <c:pt idx="1414">
                  <c:v>16.523583564094032</c:v>
                </c:pt>
                <c:pt idx="1415">
                  <c:v>17.080975702623519</c:v>
                </c:pt>
                <c:pt idx="1416">
                  <c:v>17.05962448299524</c:v>
                </c:pt>
                <c:pt idx="1417">
                  <c:v>17.038299952391498</c:v>
                </c:pt>
                <c:pt idx="1418">
                  <c:v>17.038299952391498</c:v>
                </c:pt>
                <c:pt idx="1419">
                  <c:v>17.038299952391498</c:v>
                </c:pt>
                <c:pt idx="1420">
                  <c:v>17.311404983346435</c:v>
                </c:pt>
                <c:pt idx="1421">
                  <c:v>17.033381959948219</c:v>
                </c:pt>
                <c:pt idx="1422">
                  <c:v>17.017890167428181</c:v>
                </c:pt>
                <c:pt idx="1423">
                  <c:v>16.649652316681212</c:v>
                </c:pt>
                <c:pt idx="1424">
                  <c:v>16.465900742315249</c:v>
                </c:pt>
                <c:pt idx="1425">
                  <c:v>16.511240053017325</c:v>
                </c:pt>
                <c:pt idx="1426">
                  <c:v>16.739826128500233</c:v>
                </c:pt>
                <c:pt idx="1427">
                  <c:v>16.739826128500233</c:v>
                </c:pt>
                <c:pt idx="1428">
                  <c:v>16.718901345839608</c:v>
                </c:pt>
                <c:pt idx="1429">
                  <c:v>16.718901345839608</c:v>
                </c:pt>
                <c:pt idx="1430">
                  <c:v>16.718901345839608</c:v>
                </c:pt>
                <c:pt idx="1431">
                  <c:v>16.677909553707828</c:v>
                </c:pt>
                <c:pt idx="1432">
                  <c:v>16.595325074623617</c:v>
                </c:pt>
                <c:pt idx="1433">
                  <c:v>16.58335312997843</c:v>
                </c:pt>
                <c:pt idx="1434">
                  <c:v>16.92989626815304</c:v>
                </c:pt>
                <c:pt idx="1435">
                  <c:v>16.92989626815304</c:v>
                </c:pt>
                <c:pt idx="1436">
                  <c:v>16.90873389781785</c:v>
                </c:pt>
                <c:pt idx="1437">
                  <c:v>16.90873389781785</c:v>
                </c:pt>
                <c:pt idx="1438">
                  <c:v>16.90873389781785</c:v>
                </c:pt>
                <c:pt idx="1439">
                  <c:v>16.90873389781785</c:v>
                </c:pt>
                <c:pt idx="1440">
                  <c:v>16.90873389781785</c:v>
                </c:pt>
                <c:pt idx="1441">
                  <c:v>16.777646131694841</c:v>
                </c:pt>
                <c:pt idx="1442">
                  <c:v>16.390166573962315</c:v>
                </c:pt>
                <c:pt idx="1443">
                  <c:v>16.345588202005828</c:v>
                </c:pt>
                <c:pt idx="1444">
                  <c:v>16.38931325176415</c:v>
                </c:pt>
                <c:pt idx="1445">
                  <c:v>16.345395645686025</c:v>
                </c:pt>
                <c:pt idx="1446">
                  <c:v>15.731801067175649</c:v>
                </c:pt>
                <c:pt idx="1447">
                  <c:v>14.897899364993199</c:v>
                </c:pt>
                <c:pt idx="1448">
                  <c:v>14.852348140147209</c:v>
                </c:pt>
                <c:pt idx="1449">
                  <c:v>14.159655569626542</c:v>
                </c:pt>
                <c:pt idx="1450">
                  <c:v>13.734951245725972</c:v>
                </c:pt>
                <c:pt idx="1451">
                  <c:v>14.426566546384942</c:v>
                </c:pt>
                <c:pt idx="1452">
                  <c:v>14.348024931680008</c:v>
                </c:pt>
                <c:pt idx="1453">
                  <c:v>14.501722135300179</c:v>
                </c:pt>
                <c:pt idx="1454">
                  <c:v>14.501722135300179</c:v>
                </c:pt>
                <c:pt idx="1455">
                  <c:v>14.331401083599605</c:v>
                </c:pt>
                <c:pt idx="1456">
                  <c:v>13.800148896001609</c:v>
                </c:pt>
                <c:pt idx="1457">
                  <c:v>13.563162626393876</c:v>
                </c:pt>
                <c:pt idx="1458">
                  <c:v>15.253135603381123</c:v>
                </c:pt>
                <c:pt idx="1459">
                  <c:v>15.253135603381123</c:v>
                </c:pt>
                <c:pt idx="1460">
                  <c:v>15.234069183876898</c:v>
                </c:pt>
                <c:pt idx="1461">
                  <c:v>15.234069183876898</c:v>
                </c:pt>
                <c:pt idx="1462">
                  <c:v>15.234069183876898</c:v>
                </c:pt>
                <c:pt idx="1463">
                  <c:v>15.138087633850029</c:v>
                </c:pt>
                <c:pt idx="1464">
                  <c:v>14.990962088370408</c:v>
                </c:pt>
                <c:pt idx="1465">
                  <c:v>14.920355970718592</c:v>
                </c:pt>
                <c:pt idx="1466">
                  <c:v>14.915849711743393</c:v>
                </c:pt>
                <c:pt idx="1467">
                  <c:v>14.950770671571906</c:v>
                </c:pt>
                <c:pt idx="1468">
                  <c:v>14.789632541460691</c:v>
                </c:pt>
                <c:pt idx="1469">
                  <c:v>14.661245656689132</c:v>
                </c:pt>
                <c:pt idx="1470">
                  <c:v>14.784155385147887</c:v>
                </c:pt>
                <c:pt idx="1471">
                  <c:v>14.937137193416035</c:v>
                </c:pt>
                <c:pt idx="1472">
                  <c:v>14.937137193416035</c:v>
                </c:pt>
                <c:pt idx="1473">
                  <c:v>14.918465771924266</c:v>
                </c:pt>
                <c:pt idx="1474">
                  <c:v>14.918465771924266</c:v>
                </c:pt>
                <c:pt idx="1475">
                  <c:v>14.918465771924266</c:v>
                </c:pt>
                <c:pt idx="1476">
                  <c:v>14.918465771924266</c:v>
                </c:pt>
                <c:pt idx="1477">
                  <c:v>14.918465771924266</c:v>
                </c:pt>
                <c:pt idx="1478">
                  <c:v>14.918465771924266</c:v>
                </c:pt>
                <c:pt idx="1479">
                  <c:v>14.918465771924266</c:v>
                </c:pt>
                <c:pt idx="1480">
                  <c:v>14.918465771924266</c:v>
                </c:pt>
                <c:pt idx="1481">
                  <c:v>14.918465771924266</c:v>
                </c:pt>
                <c:pt idx="1482">
                  <c:v>14.918465771924266</c:v>
                </c:pt>
                <c:pt idx="1483">
                  <c:v>14.918465771924266</c:v>
                </c:pt>
                <c:pt idx="1484">
                  <c:v>14.918465771924266</c:v>
                </c:pt>
                <c:pt idx="1485">
                  <c:v>14.918465771924266</c:v>
                </c:pt>
                <c:pt idx="1486">
                  <c:v>14.918465771924266</c:v>
                </c:pt>
                <c:pt idx="1487">
                  <c:v>14.918465771924266</c:v>
                </c:pt>
                <c:pt idx="1488">
                  <c:v>14.918465771924266</c:v>
                </c:pt>
                <c:pt idx="1489">
                  <c:v>14.918465771924266</c:v>
                </c:pt>
                <c:pt idx="1490">
                  <c:v>14.918465771924266</c:v>
                </c:pt>
                <c:pt idx="1491">
                  <c:v>14.918465771924266</c:v>
                </c:pt>
                <c:pt idx="1492">
                  <c:v>14.918465771924266</c:v>
                </c:pt>
                <c:pt idx="1493">
                  <c:v>14.918465771924266</c:v>
                </c:pt>
                <c:pt idx="1494">
                  <c:v>14.918465771924266</c:v>
                </c:pt>
                <c:pt idx="1495">
                  <c:v>14.918465771924266</c:v>
                </c:pt>
                <c:pt idx="1496">
                  <c:v>14.918465771924266</c:v>
                </c:pt>
                <c:pt idx="1497">
                  <c:v>14.760611028917419</c:v>
                </c:pt>
                <c:pt idx="1498">
                  <c:v>15.151586706930928</c:v>
                </c:pt>
                <c:pt idx="1499">
                  <c:v>15.151586706930928</c:v>
                </c:pt>
                <c:pt idx="1500">
                  <c:v>14.895279760966185</c:v>
                </c:pt>
                <c:pt idx="1501">
                  <c:v>14.910417187796769</c:v>
                </c:pt>
                <c:pt idx="1502">
                  <c:v>14.717191101042483</c:v>
                </c:pt>
                <c:pt idx="1503">
                  <c:v>14.446376025328135</c:v>
                </c:pt>
                <c:pt idx="1504">
                  <c:v>14.341057323038388</c:v>
                </c:pt>
                <c:pt idx="1505">
                  <c:v>14.182473062330148</c:v>
                </c:pt>
                <c:pt idx="1506">
                  <c:v>14.216596029324899</c:v>
                </c:pt>
                <c:pt idx="1507">
                  <c:v>14.400081859645248</c:v>
                </c:pt>
                <c:pt idx="1508">
                  <c:v>14.400081859645248</c:v>
                </c:pt>
                <c:pt idx="1509">
                  <c:v>14.471352788927168</c:v>
                </c:pt>
                <c:pt idx="1510">
                  <c:v>14.45326359794101</c:v>
                </c:pt>
                <c:pt idx="1511">
                  <c:v>14.40656783779375</c:v>
                </c:pt>
                <c:pt idx="1512">
                  <c:v>14.169774621308433</c:v>
                </c:pt>
                <c:pt idx="1513">
                  <c:v>14.552411130788135</c:v>
                </c:pt>
                <c:pt idx="1514">
                  <c:v>13.759056441983669</c:v>
                </c:pt>
                <c:pt idx="1515">
                  <c:v>13.133132556665169</c:v>
                </c:pt>
                <c:pt idx="1516">
                  <c:v>12.948414175549766</c:v>
                </c:pt>
                <c:pt idx="1517">
                  <c:v>12.622503672120915</c:v>
                </c:pt>
                <c:pt idx="1518">
                  <c:v>12.513302888438275</c:v>
                </c:pt>
                <c:pt idx="1519">
                  <c:v>12.29607301571226</c:v>
                </c:pt>
                <c:pt idx="1520">
                  <c:v>12.114778552002003</c:v>
                </c:pt>
                <c:pt idx="1521">
                  <c:v>12.078224311879174</c:v>
                </c:pt>
                <c:pt idx="1522">
                  <c:v>12.475927647293634</c:v>
                </c:pt>
                <c:pt idx="1523">
                  <c:v>12.475927647293634</c:v>
                </c:pt>
                <c:pt idx="1524">
                  <c:v>12.460332737734518</c:v>
                </c:pt>
                <c:pt idx="1525">
                  <c:v>12.460332737734518</c:v>
                </c:pt>
                <c:pt idx="1526">
                  <c:v>12.460332737734518</c:v>
                </c:pt>
                <c:pt idx="1527">
                  <c:v>12.460332737734518</c:v>
                </c:pt>
                <c:pt idx="1528">
                  <c:v>12.460332737734518</c:v>
                </c:pt>
                <c:pt idx="1529">
                  <c:v>12.431815386360409</c:v>
                </c:pt>
                <c:pt idx="1530">
                  <c:v>12.416275617127459</c:v>
                </c:pt>
                <c:pt idx="1531">
                  <c:v>12.450463933195685</c:v>
                </c:pt>
                <c:pt idx="1532">
                  <c:v>12.43490085327919</c:v>
                </c:pt>
                <c:pt idx="1533">
                  <c:v>12.419357227212592</c:v>
                </c:pt>
                <c:pt idx="1534">
                  <c:v>12.419357227212592</c:v>
                </c:pt>
                <c:pt idx="1535">
                  <c:v>12.233308247944088</c:v>
                </c:pt>
                <c:pt idx="1536">
                  <c:v>12.485020755230369</c:v>
                </c:pt>
                <c:pt idx="1537">
                  <c:v>12.830245184064214</c:v>
                </c:pt>
                <c:pt idx="1538">
                  <c:v>12.830245184064214</c:v>
                </c:pt>
                <c:pt idx="1539">
                  <c:v>12.814207377584134</c:v>
                </c:pt>
                <c:pt idx="1540">
                  <c:v>12.710802880766147</c:v>
                </c:pt>
                <c:pt idx="1541">
                  <c:v>12.488022121162809</c:v>
                </c:pt>
                <c:pt idx="1542">
                  <c:v>12.079222497002506</c:v>
                </c:pt>
                <c:pt idx="1543">
                  <c:v>13.100175648070087</c:v>
                </c:pt>
                <c:pt idx="1544">
                  <c:v>13.100175648070087</c:v>
                </c:pt>
                <c:pt idx="1545">
                  <c:v>13.083800428509999</c:v>
                </c:pt>
                <c:pt idx="1546">
                  <c:v>13.083800428509999</c:v>
                </c:pt>
                <c:pt idx="1547">
                  <c:v>13.083800428509999</c:v>
                </c:pt>
                <c:pt idx="1548">
                  <c:v>13.083800428509999</c:v>
                </c:pt>
                <c:pt idx="1549">
                  <c:v>13.083800428509999</c:v>
                </c:pt>
                <c:pt idx="1550">
                  <c:v>13.083800428509999</c:v>
                </c:pt>
                <c:pt idx="1551">
                  <c:v>13.083800428509999</c:v>
                </c:pt>
                <c:pt idx="1552">
                  <c:v>13.083800428509999</c:v>
                </c:pt>
                <c:pt idx="1553">
                  <c:v>13.083800428509999</c:v>
                </c:pt>
                <c:pt idx="1554">
                  <c:v>13.083800428509999</c:v>
                </c:pt>
                <c:pt idx="1555">
                  <c:v>13.083800428509999</c:v>
                </c:pt>
                <c:pt idx="1556">
                  <c:v>13.083800428509999</c:v>
                </c:pt>
                <c:pt idx="1557">
                  <c:v>13.083800428509999</c:v>
                </c:pt>
                <c:pt idx="1558">
                  <c:v>13.083800428509999</c:v>
                </c:pt>
                <c:pt idx="1559">
                  <c:v>13.083800428509999</c:v>
                </c:pt>
                <c:pt idx="1560">
                  <c:v>13.083800428509999</c:v>
                </c:pt>
                <c:pt idx="1561">
                  <c:v>13.083800428509999</c:v>
                </c:pt>
                <c:pt idx="1562">
                  <c:v>13.083800428509999</c:v>
                </c:pt>
                <c:pt idx="1563">
                  <c:v>13.083800428509999</c:v>
                </c:pt>
                <c:pt idx="1564">
                  <c:v>12.617039161495859</c:v>
                </c:pt>
                <c:pt idx="1565">
                  <c:v>12.059700219503206</c:v>
                </c:pt>
                <c:pt idx="1566">
                  <c:v>12.058576004500731</c:v>
                </c:pt>
                <c:pt idx="1567">
                  <c:v>12.272002448050189</c:v>
                </c:pt>
                <c:pt idx="1568">
                  <c:v>11.915816535172036</c:v>
                </c:pt>
                <c:pt idx="1569">
                  <c:v>12.164043554447677</c:v>
                </c:pt>
                <c:pt idx="1570">
                  <c:v>12.164043554447677</c:v>
                </c:pt>
                <c:pt idx="1571">
                  <c:v>12.148838500004617</c:v>
                </c:pt>
                <c:pt idx="1572">
                  <c:v>12.148838500004617</c:v>
                </c:pt>
                <c:pt idx="1573">
                  <c:v>12.148838500004617</c:v>
                </c:pt>
                <c:pt idx="1574">
                  <c:v>12.148838500004617</c:v>
                </c:pt>
                <c:pt idx="1575">
                  <c:v>12.148838500004617</c:v>
                </c:pt>
                <c:pt idx="1576">
                  <c:v>12.148838500004617</c:v>
                </c:pt>
                <c:pt idx="1577">
                  <c:v>12.148838500004617</c:v>
                </c:pt>
                <c:pt idx="1578">
                  <c:v>12.148838500004617</c:v>
                </c:pt>
                <c:pt idx="1579">
                  <c:v>12.148838500004617</c:v>
                </c:pt>
                <c:pt idx="1580">
                  <c:v>12.148838500004617</c:v>
                </c:pt>
                <c:pt idx="1581">
                  <c:v>12.148838500004617</c:v>
                </c:pt>
                <c:pt idx="1582">
                  <c:v>12.148838500004617</c:v>
                </c:pt>
                <c:pt idx="1583">
                  <c:v>12.148838500004617</c:v>
                </c:pt>
                <c:pt idx="1584">
                  <c:v>12.148838500004617</c:v>
                </c:pt>
                <c:pt idx="1585">
                  <c:v>12.148838500004617</c:v>
                </c:pt>
                <c:pt idx="1586">
                  <c:v>12.148838500004617</c:v>
                </c:pt>
                <c:pt idx="1587">
                  <c:v>12.148838500004617</c:v>
                </c:pt>
                <c:pt idx="1588">
                  <c:v>12.148838500004617</c:v>
                </c:pt>
                <c:pt idx="1589">
                  <c:v>12.148838500004617</c:v>
                </c:pt>
                <c:pt idx="1590">
                  <c:v>12.148838500004617</c:v>
                </c:pt>
                <c:pt idx="1591">
                  <c:v>12.148838500004617</c:v>
                </c:pt>
                <c:pt idx="1592">
                  <c:v>12.148838500004617</c:v>
                </c:pt>
                <c:pt idx="1593">
                  <c:v>12.148838500004617</c:v>
                </c:pt>
                <c:pt idx="1594">
                  <c:v>12.148838500004617</c:v>
                </c:pt>
                <c:pt idx="1595">
                  <c:v>12.148838500004617</c:v>
                </c:pt>
                <c:pt idx="1596">
                  <c:v>12.148838500004617</c:v>
                </c:pt>
                <c:pt idx="1597">
                  <c:v>12.148838500004617</c:v>
                </c:pt>
                <c:pt idx="1598">
                  <c:v>12.148838500004617</c:v>
                </c:pt>
                <c:pt idx="1599">
                  <c:v>12.148838500004617</c:v>
                </c:pt>
                <c:pt idx="1600">
                  <c:v>12.148838500004617</c:v>
                </c:pt>
                <c:pt idx="1601">
                  <c:v>12.148838500004617</c:v>
                </c:pt>
                <c:pt idx="1602">
                  <c:v>12.148838500004617</c:v>
                </c:pt>
                <c:pt idx="1603">
                  <c:v>12.148838500004617</c:v>
                </c:pt>
                <c:pt idx="1604">
                  <c:v>12.148838500004617</c:v>
                </c:pt>
                <c:pt idx="1605">
                  <c:v>12.148838500004617</c:v>
                </c:pt>
                <c:pt idx="1606">
                  <c:v>12.148838500004617</c:v>
                </c:pt>
                <c:pt idx="1607">
                  <c:v>12.148838500004617</c:v>
                </c:pt>
                <c:pt idx="1608">
                  <c:v>12.148838500004617</c:v>
                </c:pt>
                <c:pt idx="1609">
                  <c:v>12.148838500004617</c:v>
                </c:pt>
                <c:pt idx="1610">
                  <c:v>12.148838500004617</c:v>
                </c:pt>
                <c:pt idx="1611">
                  <c:v>12.148838500004617</c:v>
                </c:pt>
                <c:pt idx="1612">
                  <c:v>12.148838500004617</c:v>
                </c:pt>
                <c:pt idx="1613">
                  <c:v>12.148838500004617</c:v>
                </c:pt>
                <c:pt idx="1614">
                  <c:v>12.148838500004617</c:v>
                </c:pt>
                <c:pt idx="1615">
                  <c:v>12.148838500004617</c:v>
                </c:pt>
                <c:pt idx="1616">
                  <c:v>12.148838500004617</c:v>
                </c:pt>
                <c:pt idx="1617">
                  <c:v>12.148838500004617</c:v>
                </c:pt>
                <c:pt idx="1618">
                  <c:v>12.148838500004617</c:v>
                </c:pt>
                <c:pt idx="1619">
                  <c:v>12.148838500004617</c:v>
                </c:pt>
                <c:pt idx="1620">
                  <c:v>12.148838500004617</c:v>
                </c:pt>
                <c:pt idx="1621">
                  <c:v>12.148838500004617</c:v>
                </c:pt>
                <c:pt idx="1622">
                  <c:v>12.148838500004617</c:v>
                </c:pt>
                <c:pt idx="1623">
                  <c:v>12.148838500004617</c:v>
                </c:pt>
                <c:pt idx="1624">
                  <c:v>12.148838500004617</c:v>
                </c:pt>
                <c:pt idx="1625">
                  <c:v>12.148838500004617</c:v>
                </c:pt>
                <c:pt idx="1626">
                  <c:v>12.148838500004617</c:v>
                </c:pt>
                <c:pt idx="1627">
                  <c:v>12.148838500004617</c:v>
                </c:pt>
                <c:pt idx="1628">
                  <c:v>12.148838500004617</c:v>
                </c:pt>
                <c:pt idx="1629">
                  <c:v>12.148838500004617</c:v>
                </c:pt>
                <c:pt idx="1630">
                  <c:v>12.148838500004617</c:v>
                </c:pt>
                <c:pt idx="1631">
                  <c:v>12.148838500004617</c:v>
                </c:pt>
                <c:pt idx="1632">
                  <c:v>12.148838500004617</c:v>
                </c:pt>
                <c:pt idx="1633">
                  <c:v>12.148838500004617</c:v>
                </c:pt>
                <c:pt idx="1634">
                  <c:v>12.148838500004617</c:v>
                </c:pt>
                <c:pt idx="1635">
                  <c:v>12.148838500004617</c:v>
                </c:pt>
                <c:pt idx="1636">
                  <c:v>12.148838500004617</c:v>
                </c:pt>
                <c:pt idx="1637">
                  <c:v>12.098179119097177</c:v>
                </c:pt>
                <c:pt idx="1638">
                  <c:v>11.362149431685273</c:v>
                </c:pt>
                <c:pt idx="1639">
                  <c:v>12.754321597990113</c:v>
                </c:pt>
                <c:pt idx="1640">
                  <c:v>12.754321597990113</c:v>
                </c:pt>
                <c:pt idx="1641">
                  <c:v>12.979949842569063</c:v>
                </c:pt>
                <c:pt idx="1642">
                  <c:v>12.963724905265853</c:v>
                </c:pt>
                <c:pt idx="1643">
                  <c:v>12.947520249134271</c:v>
                </c:pt>
                <c:pt idx="1644">
                  <c:v>12.947520249134271</c:v>
                </c:pt>
                <c:pt idx="1645">
                  <c:v>13.071950822216303</c:v>
                </c:pt>
                <c:pt idx="1646">
                  <c:v>13.055610883688534</c:v>
                </c:pt>
                <c:pt idx="1647">
                  <c:v>13.234144372559339</c:v>
                </c:pt>
                <c:pt idx="1648">
                  <c:v>13.214003705896788</c:v>
                </c:pt>
                <c:pt idx="1649">
                  <c:v>14.570778184061719</c:v>
                </c:pt>
                <c:pt idx="1650">
                  <c:v>14.570778184061719</c:v>
                </c:pt>
                <c:pt idx="1651">
                  <c:v>14.552564711331643</c:v>
                </c:pt>
                <c:pt idx="1652">
                  <c:v>14.552564711331643</c:v>
                </c:pt>
                <c:pt idx="1653">
                  <c:v>14.552564711331643</c:v>
                </c:pt>
                <c:pt idx="1654">
                  <c:v>14.552564711331643</c:v>
                </c:pt>
                <c:pt idx="1655">
                  <c:v>14.552564711331643</c:v>
                </c:pt>
                <c:pt idx="1656">
                  <c:v>14.212150963294778</c:v>
                </c:pt>
                <c:pt idx="1657">
                  <c:v>14.194385774590661</c:v>
                </c:pt>
                <c:pt idx="1658">
                  <c:v>14.176642792372423</c:v>
                </c:pt>
                <c:pt idx="1659">
                  <c:v>14.176642792372423</c:v>
                </c:pt>
                <c:pt idx="1660">
                  <c:v>14.176642792372423</c:v>
                </c:pt>
                <c:pt idx="1661">
                  <c:v>14.176642792372423</c:v>
                </c:pt>
                <c:pt idx="1662">
                  <c:v>14.176642792372423</c:v>
                </c:pt>
                <c:pt idx="1663">
                  <c:v>14.176642792372423</c:v>
                </c:pt>
                <c:pt idx="1664">
                  <c:v>14.176642792372423</c:v>
                </c:pt>
                <c:pt idx="1665">
                  <c:v>14.176642792372423</c:v>
                </c:pt>
                <c:pt idx="1666">
                  <c:v>14.176642792372423</c:v>
                </c:pt>
                <c:pt idx="1667">
                  <c:v>14.176642792372423</c:v>
                </c:pt>
                <c:pt idx="1668">
                  <c:v>14.176642792372423</c:v>
                </c:pt>
                <c:pt idx="1669">
                  <c:v>14.176642792372423</c:v>
                </c:pt>
                <c:pt idx="1670">
                  <c:v>14.176642792372423</c:v>
                </c:pt>
                <c:pt idx="1671">
                  <c:v>14.176642792372423</c:v>
                </c:pt>
                <c:pt idx="1672">
                  <c:v>14.130336042744233</c:v>
                </c:pt>
                <c:pt idx="1673">
                  <c:v>14.112330827917249</c:v>
                </c:pt>
                <c:pt idx="1674">
                  <c:v>14.198969922959812</c:v>
                </c:pt>
                <c:pt idx="1675">
                  <c:v>14.198969922959812</c:v>
                </c:pt>
                <c:pt idx="1676">
                  <c:v>14.181221210556112</c:v>
                </c:pt>
                <c:pt idx="1677">
                  <c:v>14.181221210556112</c:v>
                </c:pt>
                <c:pt idx="1678">
                  <c:v>14.118368016129851</c:v>
                </c:pt>
                <c:pt idx="1679">
                  <c:v>13.898268874725151</c:v>
                </c:pt>
                <c:pt idx="1680">
                  <c:v>13.888881346713013</c:v>
                </c:pt>
                <c:pt idx="1681">
                  <c:v>13.732142207082616</c:v>
                </c:pt>
                <c:pt idx="1682">
                  <c:v>13.722533122289558</c:v>
                </c:pt>
                <c:pt idx="1683">
                  <c:v>13.555351850849391</c:v>
                </c:pt>
                <c:pt idx="1684">
                  <c:v>13.00953992496286</c:v>
                </c:pt>
                <c:pt idx="1685">
                  <c:v>12.200281857063485</c:v>
                </c:pt>
                <c:pt idx="1686">
                  <c:v>12.492033414927031</c:v>
                </c:pt>
                <c:pt idx="1687">
                  <c:v>12.789973945510605</c:v>
                </c:pt>
                <c:pt idx="1688">
                  <c:v>12.664885732798602</c:v>
                </c:pt>
                <c:pt idx="1689">
                  <c:v>13.16458307478303</c:v>
                </c:pt>
                <c:pt idx="1690">
                  <c:v>13.16458307478303</c:v>
                </c:pt>
                <c:pt idx="1691">
                  <c:v>13.148127345939551</c:v>
                </c:pt>
                <c:pt idx="1692">
                  <c:v>13.148127345939551</c:v>
                </c:pt>
                <c:pt idx="1693">
                  <c:v>13.195737364844165</c:v>
                </c:pt>
                <c:pt idx="1694">
                  <c:v>13.011730783194476</c:v>
                </c:pt>
                <c:pt idx="1695">
                  <c:v>12.743619926840749</c:v>
                </c:pt>
                <c:pt idx="1696">
                  <c:v>12.653910341310786</c:v>
                </c:pt>
                <c:pt idx="1697">
                  <c:v>12.370783174630855</c:v>
                </c:pt>
                <c:pt idx="1698">
                  <c:v>12.702290793204718</c:v>
                </c:pt>
                <c:pt idx="1699">
                  <c:v>12.286432318312857</c:v>
                </c:pt>
                <c:pt idx="1700">
                  <c:v>12.466612008447877</c:v>
                </c:pt>
                <c:pt idx="1701">
                  <c:v>12.388615920374287</c:v>
                </c:pt>
                <c:pt idx="1702">
                  <c:v>12.09092406855158</c:v>
                </c:pt>
                <c:pt idx="1703">
                  <c:v>11.895358290149073</c:v>
                </c:pt>
                <c:pt idx="1704">
                  <c:v>11.567216689982063</c:v>
                </c:pt>
                <c:pt idx="1705">
                  <c:v>11.271960086356874</c:v>
                </c:pt>
                <c:pt idx="1706">
                  <c:v>11.218416624899037</c:v>
                </c:pt>
                <c:pt idx="1707">
                  <c:v>10.900798001814731</c:v>
                </c:pt>
                <c:pt idx="1708">
                  <c:v>10.873661402458566</c:v>
                </c:pt>
                <c:pt idx="1709">
                  <c:v>10.661951122681296</c:v>
                </c:pt>
                <c:pt idx="1710">
                  <c:v>10.95251631266928</c:v>
                </c:pt>
                <c:pt idx="1711">
                  <c:v>11.057678501656097</c:v>
                </c:pt>
                <c:pt idx="1712">
                  <c:v>11.057678501656097</c:v>
                </c:pt>
                <c:pt idx="1713">
                  <c:v>10.817184624267034</c:v>
                </c:pt>
                <c:pt idx="1714">
                  <c:v>10.114808135649469</c:v>
                </c:pt>
                <c:pt idx="1715">
                  <c:v>10.197939998184818</c:v>
                </c:pt>
                <c:pt idx="1716">
                  <c:v>10.366776698818102</c:v>
                </c:pt>
                <c:pt idx="1717">
                  <c:v>10.817129598553947</c:v>
                </c:pt>
                <c:pt idx="1718">
                  <c:v>10.817129598553947</c:v>
                </c:pt>
                <c:pt idx="1719">
                  <c:v>10.803608186555755</c:v>
                </c:pt>
                <c:pt idx="1720">
                  <c:v>10.803608186555755</c:v>
                </c:pt>
                <c:pt idx="1721">
                  <c:v>10.803608186555755</c:v>
                </c:pt>
                <c:pt idx="1722">
                  <c:v>10.803608186555755</c:v>
                </c:pt>
                <c:pt idx="1723">
                  <c:v>10.803608186555755</c:v>
                </c:pt>
                <c:pt idx="1724">
                  <c:v>10.803608186555755</c:v>
                </c:pt>
                <c:pt idx="1725">
                  <c:v>10.803608186555755</c:v>
                </c:pt>
                <c:pt idx="1726">
                  <c:v>10.803608186555755</c:v>
                </c:pt>
                <c:pt idx="1727">
                  <c:v>10.803608186555755</c:v>
                </c:pt>
                <c:pt idx="1728">
                  <c:v>10.996432277874213</c:v>
                </c:pt>
                <c:pt idx="1729">
                  <c:v>10.982686737526871</c:v>
                </c:pt>
                <c:pt idx="1730">
                  <c:v>10.968958379104963</c:v>
                </c:pt>
                <c:pt idx="1731">
                  <c:v>10.968958379104963</c:v>
                </c:pt>
                <c:pt idx="1732">
                  <c:v>10.968958379104963</c:v>
                </c:pt>
                <c:pt idx="1733">
                  <c:v>11.051265303307812</c:v>
                </c:pt>
                <c:pt idx="1734">
                  <c:v>11.037451221678678</c:v>
                </c:pt>
                <c:pt idx="1735">
                  <c:v>11.023654407651581</c:v>
                </c:pt>
                <c:pt idx="1736">
                  <c:v>11.023654407651581</c:v>
                </c:pt>
                <c:pt idx="1737">
                  <c:v>11.023654407651581</c:v>
                </c:pt>
                <c:pt idx="1738">
                  <c:v>10.976535019837524</c:v>
                </c:pt>
                <c:pt idx="1739">
                  <c:v>10.615253424980416</c:v>
                </c:pt>
                <c:pt idx="1740">
                  <c:v>10.318439400215739</c:v>
                </c:pt>
                <c:pt idx="1741">
                  <c:v>10.795441228844313</c:v>
                </c:pt>
                <c:pt idx="1742">
                  <c:v>10.339458087843317</c:v>
                </c:pt>
                <c:pt idx="1743">
                  <c:v>10.28013092152908</c:v>
                </c:pt>
                <c:pt idx="1744">
                  <c:v>9.5133873883411244</c:v>
                </c:pt>
                <c:pt idx="1745">
                  <c:v>9.083732697940837</c:v>
                </c:pt>
                <c:pt idx="1746">
                  <c:v>8.6072458261124165</c:v>
                </c:pt>
                <c:pt idx="1747">
                  <c:v>8.72514044515896</c:v>
                </c:pt>
                <c:pt idx="1748">
                  <c:v>8.0829699176176835</c:v>
                </c:pt>
                <c:pt idx="1749">
                  <c:v>7.4160067071655433</c:v>
                </c:pt>
                <c:pt idx="1750">
                  <c:v>8.365431919159855</c:v>
                </c:pt>
                <c:pt idx="1751">
                  <c:v>8.386838155721696</c:v>
                </c:pt>
                <c:pt idx="1752">
                  <c:v>8.2461610966353973</c:v>
                </c:pt>
                <c:pt idx="1753">
                  <c:v>8.1960832977678635</c:v>
                </c:pt>
                <c:pt idx="1754">
                  <c:v>8.2320655982975612</c:v>
                </c:pt>
                <c:pt idx="1755">
                  <c:v>8.2713065240631156</c:v>
                </c:pt>
                <c:pt idx="1756">
                  <c:v>8.2713065240631156</c:v>
                </c:pt>
                <c:pt idx="1757">
                  <c:v>8.2609673909080374</c:v>
                </c:pt>
                <c:pt idx="1758">
                  <c:v>8.2609673909080374</c:v>
                </c:pt>
                <c:pt idx="1759">
                  <c:v>8.2609673909080374</c:v>
                </c:pt>
                <c:pt idx="1760">
                  <c:v>8.2609673909080374</c:v>
                </c:pt>
                <c:pt idx="1761">
                  <c:v>8.2609673909080374</c:v>
                </c:pt>
                <c:pt idx="1762">
                  <c:v>8.2609673909080374</c:v>
                </c:pt>
                <c:pt idx="1763">
                  <c:v>8.2609673909080374</c:v>
                </c:pt>
                <c:pt idx="1764">
                  <c:v>8.2609673909080374</c:v>
                </c:pt>
                <c:pt idx="1765">
                  <c:v>8.2609673909080374</c:v>
                </c:pt>
                <c:pt idx="1766">
                  <c:v>8.2609673909080374</c:v>
                </c:pt>
                <c:pt idx="1767">
                  <c:v>8.2609673909080374</c:v>
                </c:pt>
                <c:pt idx="1768">
                  <c:v>8.2609673909080374</c:v>
                </c:pt>
                <c:pt idx="1769">
                  <c:v>8.2609673909080374</c:v>
                </c:pt>
                <c:pt idx="1770">
                  <c:v>8.2609673909080374</c:v>
                </c:pt>
                <c:pt idx="1771">
                  <c:v>8.1734562112177898</c:v>
                </c:pt>
                <c:pt idx="1772">
                  <c:v>8.1729676053280773</c:v>
                </c:pt>
                <c:pt idx="1773">
                  <c:v>8.3443637834467808</c:v>
                </c:pt>
                <c:pt idx="1774">
                  <c:v>8.180799106721695</c:v>
                </c:pt>
                <c:pt idx="1775">
                  <c:v>8.1852635320246119</c:v>
                </c:pt>
                <c:pt idx="1776">
                  <c:v>8.3786864885822219</c:v>
                </c:pt>
                <c:pt idx="1777">
                  <c:v>8.3786864885822219</c:v>
                </c:pt>
                <c:pt idx="1778">
                  <c:v>8.368213130471494</c:v>
                </c:pt>
                <c:pt idx="1779">
                  <c:v>8.368213130471494</c:v>
                </c:pt>
                <c:pt idx="1780">
                  <c:v>8.368213130471494</c:v>
                </c:pt>
                <c:pt idx="1781">
                  <c:v>8.368213130471494</c:v>
                </c:pt>
                <c:pt idx="1782">
                  <c:v>8.368213130471494</c:v>
                </c:pt>
                <c:pt idx="1783">
                  <c:v>8.368213130471494</c:v>
                </c:pt>
                <c:pt idx="1784">
                  <c:v>8.368213130471494</c:v>
                </c:pt>
                <c:pt idx="1785">
                  <c:v>8.368213130471494</c:v>
                </c:pt>
                <c:pt idx="1786">
                  <c:v>8.368213130471494</c:v>
                </c:pt>
                <c:pt idx="1787">
                  <c:v>8.368213130471494</c:v>
                </c:pt>
                <c:pt idx="1788">
                  <c:v>8.368213130471494</c:v>
                </c:pt>
                <c:pt idx="1789">
                  <c:v>8.368213130471494</c:v>
                </c:pt>
                <c:pt idx="1790">
                  <c:v>8.368213130471494</c:v>
                </c:pt>
                <c:pt idx="1791">
                  <c:v>8.368213130471494</c:v>
                </c:pt>
                <c:pt idx="1792">
                  <c:v>8.368213130471494</c:v>
                </c:pt>
                <c:pt idx="1793">
                  <c:v>8.368213130471494</c:v>
                </c:pt>
                <c:pt idx="1794">
                  <c:v>8.368213130471494</c:v>
                </c:pt>
                <c:pt idx="1795">
                  <c:v>8.368213130471494</c:v>
                </c:pt>
                <c:pt idx="1796">
                  <c:v>8.368213130471494</c:v>
                </c:pt>
                <c:pt idx="1797">
                  <c:v>8.368213130471494</c:v>
                </c:pt>
                <c:pt idx="1798">
                  <c:v>8.368213130471494</c:v>
                </c:pt>
                <c:pt idx="1799">
                  <c:v>8.368213130471494</c:v>
                </c:pt>
                <c:pt idx="1800">
                  <c:v>8.368213130471494</c:v>
                </c:pt>
                <c:pt idx="1801">
                  <c:v>8.368213130471494</c:v>
                </c:pt>
                <c:pt idx="1802">
                  <c:v>8.368213130471494</c:v>
                </c:pt>
                <c:pt idx="1803">
                  <c:v>8.368213130471494</c:v>
                </c:pt>
                <c:pt idx="1804">
                  <c:v>8.368213130471494</c:v>
                </c:pt>
                <c:pt idx="1805">
                  <c:v>8.368213130471494</c:v>
                </c:pt>
                <c:pt idx="1806">
                  <c:v>8.3898244851234889</c:v>
                </c:pt>
                <c:pt idx="1807">
                  <c:v>8.1841608190801711</c:v>
                </c:pt>
                <c:pt idx="1808">
                  <c:v>8.1979367639360312</c:v>
                </c:pt>
                <c:pt idx="1809">
                  <c:v>7.8127825727645748</c:v>
                </c:pt>
                <c:pt idx="1810">
                  <c:v>8.619204998376798</c:v>
                </c:pt>
                <c:pt idx="1811">
                  <c:v>8.619204998376798</c:v>
                </c:pt>
                <c:pt idx="1812">
                  <c:v>8.6193310890539188</c:v>
                </c:pt>
                <c:pt idx="1813">
                  <c:v>8.6085569251926017</c:v>
                </c:pt>
                <c:pt idx="1814">
                  <c:v>8.5907180622721491</c:v>
                </c:pt>
                <c:pt idx="1815">
                  <c:v>8.5445601148680321</c:v>
                </c:pt>
                <c:pt idx="1816">
                  <c:v>8.4233316348885729</c:v>
                </c:pt>
                <c:pt idx="1817">
                  <c:v>8.3226201615073183</c:v>
                </c:pt>
                <c:pt idx="1818">
                  <c:v>8.2076593004196923</c:v>
                </c:pt>
                <c:pt idx="1819">
                  <c:v>8.6003884106281472</c:v>
                </c:pt>
                <c:pt idx="1820">
                  <c:v>8.3948874683625956</c:v>
                </c:pt>
                <c:pt idx="1821">
                  <c:v>8.422852154122987</c:v>
                </c:pt>
                <c:pt idx="1822">
                  <c:v>8.422852154122987</c:v>
                </c:pt>
                <c:pt idx="1823">
                  <c:v>8.4123235889303327</c:v>
                </c:pt>
                <c:pt idx="1824">
                  <c:v>8.4123235889303327</c:v>
                </c:pt>
                <c:pt idx="1825">
                  <c:v>8.4123235889303327</c:v>
                </c:pt>
                <c:pt idx="1826">
                  <c:v>8.4070836571304888</c:v>
                </c:pt>
                <c:pt idx="1827">
                  <c:v>8.253913022884106</c:v>
                </c:pt>
                <c:pt idx="1828">
                  <c:v>8.2698343423065683</c:v>
                </c:pt>
                <c:pt idx="1829">
                  <c:v>8.1326542303335625</c:v>
                </c:pt>
                <c:pt idx="1830">
                  <c:v>8.3735958929894174</c:v>
                </c:pt>
                <c:pt idx="1831">
                  <c:v>8.3735958929894174</c:v>
                </c:pt>
                <c:pt idx="1832">
                  <c:v>8.3631288981231808</c:v>
                </c:pt>
                <c:pt idx="1833">
                  <c:v>8.3631288981231808</c:v>
                </c:pt>
                <c:pt idx="1834">
                  <c:v>8.3631288981231808</c:v>
                </c:pt>
                <c:pt idx="1835">
                  <c:v>8.3631288981231808</c:v>
                </c:pt>
                <c:pt idx="1836">
                  <c:v>8.4275551991754476</c:v>
                </c:pt>
                <c:pt idx="1837">
                  <c:v>8.4170207551764786</c:v>
                </c:pt>
                <c:pt idx="1838">
                  <c:v>8.4064994792325081</c:v>
                </c:pt>
                <c:pt idx="1839">
                  <c:v>8.4064994792325081</c:v>
                </c:pt>
                <c:pt idx="1840">
                  <c:v>8.4064994792325081</c:v>
                </c:pt>
                <c:pt idx="1841">
                  <c:v>8.2778202855743892</c:v>
                </c:pt>
                <c:pt idx="1842">
                  <c:v>8.6544475919521027</c:v>
                </c:pt>
                <c:pt idx="1843">
                  <c:v>8.2367581111803165</c:v>
                </c:pt>
                <c:pt idx="1844">
                  <c:v>8.1532927070775916</c:v>
                </c:pt>
                <c:pt idx="1845">
                  <c:v>8.0591284168138415</c:v>
                </c:pt>
                <c:pt idx="1846">
                  <c:v>7.8130885010929374</c:v>
                </c:pt>
                <c:pt idx="1847">
                  <c:v>8.101366320649797</c:v>
                </c:pt>
                <c:pt idx="1848">
                  <c:v>8.002309511742336</c:v>
                </c:pt>
                <c:pt idx="1849">
                  <c:v>7.9210213365558939</c:v>
                </c:pt>
                <c:pt idx="1850">
                  <c:v>7.8245557971979416</c:v>
                </c:pt>
                <c:pt idx="1851">
                  <c:v>7.8332843364682754</c:v>
                </c:pt>
                <c:pt idx="1852">
                  <c:v>7.9728126590612698</c:v>
                </c:pt>
                <c:pt idx="1853">
                  <c:v>7.9728126590612698</c:v>
                </c:pt>
                <c:pt idx="1854">
                  <c:v>7.9628466432374436</c:v>
                </c:pt>
                <c:pt idx="1855">
                  <c:v>7.9628466432374436</c:v>
                </c:pt>
                <c:pt idx="1856">
                  <c:v>7.9063223769070134</c:v>
                </c:pt>
                <c:pt idx="1857">
                  <c:v>7.8964394739358799</c:v>
                </c:pt>
                <c:pt idx="1858">
                  <c:v>7.88656892459346</c:v>
                </c:pt>
                <c:pt idx="1859">
                  <c:v>7.88656892459346</c:v>
                </c:pt>
                <c:pt idx="1860">
                  <c:v>7.88656892459346</c:v>
                </c:pt>
                <c:pt idx="1861">
                  <c:v>7.88656892459346</c:v>
                </c:pt>
                <c:pt idx="1862">
                  <c:v>7.88656892459346</c:v>
                </c:pt>
                <c:pt idx="1863">
                  <c:v>7.3403569123044408</c:v>
                </c:pt>
                <c:pt idx="1864">
                  <c:v>6.8677222045635942</c:v>
                </c:pt>
                <c:pt idx="1865">
                  <c:v>7.5035274783113115</c:v>
                </c:pt>
                <c:pt idx="1866">
                  <c:v>7.5474758518442746</c:v>
                </c:pt>
                <c:pt idx="1867">
                  <c:v>7.1836380245241269</c:v>
                </c:pt>
                <c:pt idx="1868">
                  <c:v>6.818498144872696</c:v>
                </c:pt>
                <c:pt idx="1869">
                  <c:v>7.1891314193938829</c:v>
                </c:pt>
                <c:pt idx="1870">
                  <c:v>6.981086428511925</c:v>
                </c:pt>
                <c:pt idx="1871">
                  <c:v>6.8234567914123145</c:v>
                </c:pt>
                <c:pt idx="1872">
                  <c:v>6.7632016978900547</c:v>
                </c:pt>
                <c:pt idx="1873">
                  <c:v>6.8815376235320134</c:v>
                </c:pt>
                <c:pt idx="1874">
                  <c:v>6.7744694162316321</c:v>
                </c:pt>
                <c:pt idx="1875">
                  <c:v>6.7453353183463429</c:v>
                </c:pt>
                <c:pt idx="1876">
                  <c:v>7.0493399082732626</c:v>
                </c:pt>
                <c:pt idx="1877">
                  <c:v>7.0493399082732626</c:v>
                </c:pt>
                <c:pt idx="1878">
                  <c:v>7.0405282333879216</c:v>
                </c:pt>
                <c:pt idx="1879">
                  <c:v>7.0405282333879216</c:v>
                </c:pt>
                <c:pt idx="1880">
                  <c:v>7.0405282333879216</c:v>
                </c:pt>
                <c:pt idx="1881">
                  <c:v>7.0405282333879216</c:v>
                </c:pt>
                <c:pt idx="1882">
                  <c:v>7.0405282333879216</c:v>
                </c:pt>
                <c:pt idx="1883">
                  <c:v>7.0405282333879216</c:v>
                </c:pt>
                <c:pt idx="1884">
                  <c:v>7.0386075755070152</c:v>
                </c:pt>
                <c:pt idx="1885">
                  <c:v>7.0547313175395923</c:v>
                </c:pt>
                <c:pt idx="1886">
                  <c:v>7.2440996337069414</c:v>
                </c:pt>
                <c:pt idx="1887">
                  <c:v>7.2440996337069414</c:v>
                </c:pt>
                <c:pt idx="1888">
                  <c:v>7.2350445091648083</c:v>
                </c:pt>
                <c:pt idx="1889">
                  <c:v>7.2350445091648083</c:v>
                </c:pt>
                <c:pt idx="1890">
                  <c:v>7.2350445091648083</c:v>
                </c:pt>
                <c:pt idx="1891">
                  <c:v>7.2715214278388549</c:v>
                </c:pt>
                <c:pt idx="1892">
                  <c:v>7.1949288747658455</c:v>
                </c:pt>
                <c:pt idx="1893">
                  <c:v>7.2691310048872833</c:v>
                </c:pt>
                <c:pt idx="1894">
                  <c:v>7.6110218593431291</c:v>
                </c:pt>
                <c:pt idx="1895">
                  <c:v>7.6110218593431291</c:v>
                </c:pt>
                <c:pt idx="1896">
                  <c:v>7.6015080820189507</c:v>
                </c:pt>
                <c:pt idx="1897">
                  <c:v>7.6015080820189507</c:v>
                </c:pt>
                <c:pt idx="1898">
                  <c:v>7.6015080820189507</c:v>
                </c:pt>
                <c:pt idx="1899">
                  <c:v>7.6015080820189507</c:v>
                </c:pt>
                <c:pt idx="1900">
                  <c:v>7.6015080820189507</c:v>
                </c:pt>
                <c:pt idx="1901">
                  <c:v>7.6015080820189507</c:v>
                </c:pt>
                <c:pt idx="1902">
                  <c:v>7.6015080820189507</c:v>
                </c:pt>
                <c:pt idx="1903">
                  <c:v>7.6015080820189507</c:v>
                </c:pt>
                <c:pt idx="1904">
                  <c:v>7.6015080820189507</c:v>
                </c:pt>
                <c:pt idx="1905">
                  <c:v>7.6015080820189507</c:v>
                </c:pt>
                <c:pt idx="1906">
                  <c:v>7.6015080820189507</c:v>
                </c:pt>
                <c:pt idx="1907">
                  <c:v>7.6015080820189507</c:v>
                </c:pt>
                <c:pt idx="1908">
                  <c:v>7.6015080820189507</c:v>
                </c:pt>
                <c:pt idx="1909">
                  <c:v>7.6015080820189507</c:v>
                </c:pt>
                <c:pt idx="1910">
                  <c:v>7.6015080820189507</c:v>
                </c:pt>
                <c:pt idx="1911">
                  <c:v>7.6015080820189507</c:v>
                </c:pt>
                <c:pt idx="1912">
                  <c:v>7.6015080820189507</c:v>
                </c:pt>
                <c:pt idx="1913">
                  <c:v>7.6015080820189507</c:v>
                </c:pt>
                <c:pt idx="1914">
                  <c:v>7.5674009439342829</c:v>
                </c:pt>
                <c:pt idx="1915">
                  <c:v>7.5681779804742657</c:v>
                </c:pt>
                <c:pt idx="1916">
                  <c:v>7.4277024318727367</c:v>
                </c:pt>
                <c:pt idx="1917">
                  <c:v>7.2632891951247096</c:v>
                </c:pt>
                <c:pt idx="1918">
                  <c:v>7.4768125883140124</c:v>
                </c:pt>
                <c:pt idx="1919">
                  <c:v>7.2032290134528685</c:v>
                </c:pt>
                <c:pt idx="1920">
                  <c:v>7.1393495862415257</c:v>
                </c:pt>
                <c:pt idx="1921">
                  <c:v>7.2347976202678579</c:v>
                </c:pt>
                <c:pt idx="1922">
                  <c:v>7.4997884202362712</c:v>
                </c:pt>
                <c:pt idx="1923">
                  <c:v>7.4997884202362712</c:v>
                </c:pt>
                <c:pt idx="1924">
                  <c:v>7.4904136847109761</c:v>
                </c:pt>
                <c:pt idx="1925">
                  <c:v>7.4904136847109761</c:v>
                </c:pt>
                <c:pt idx="1926">
                  <c:v>7.4904136847109761</c:v>
                </c:pt>
                <c:pt idx="1927">
                  <c:v>7.4904136847109761</c:v>
                </c:pt>
                <c:pt idx="1928">
                  <c:v>7.4904136847109761</c:v>
                </c:pt>
                <c:pt idx="1929">
                  <c:v>7.4846064980307228</c:v>
                </c:pt>
                <c:pt idx="1930">
                  <c:v>7.4752507399081844</c:v>
                </c:pt>
                <c:pt idx="1931">
                  <c:v>7.4659066764832991</c:v>
                </c:pt>
                <c:pt idx="1932">
                  <c:v>7.4659066764832991</c:v>
                </c:pt>
                <c:pt idx="1933">
                  <c:v>7.4659066764832991</c:v>
                </c:pt>
                <c:pt idx="1934">
                  <c:v>7.6597723899143348</c:v>
                </c:pt>
                <c:pt idx="1935">
                  <c:v>7.6501976744269422</c:v>
                </c:pt>
                <c:pt idx="1936">
                  <c:v>7.6406349273339087</c:v>
                </c:pt>
                <c:pt idx="1937">
                  <c:v>7.6406349273339087</c:v>
                </c:pt>
                <c:pt idx="1938">
                  <c:v>7.6406349273339087</c:v>
                </c:pt>
                <c:pt idx="1939">
                  <c:v>7.6406349273339087</c:v>
                </c:pt>
                <c:pt idx="1940">
                  <c:v>7.6406349273339087</c:v>
                </c:pt>
                <c:pt idx="1941">
                  <c:v>7.6406349273339087</c:v>
                </c:pt>
                <c:pt idx="1942">
                  <c:v>7.6406349273339087</c:v>
                </c:pt>
                <c:pt idx="1943">
                  <c:v>7.6437606106485267</c:v>
                </c:pt>
                <c:pt idx="1944">
                  <c:v>7.4404557946693028</c:v>
                </c:pt>
                <c:pt idx="1945">
                  <c:v>7.2917628425329362</c:v>
                </c:pt>
                <c:pt idx="1946">
                  <c:v>7.2567997781197073</c:v>
                </c:pt>
                <c:pt idx="1947">
                  <c:v>7.2738565452429276</c:v>
                </c:pt>
                <c:pt idx="1948">
                  <c:v>7.104559631697426</c:v>
                </c:pt>
                <c:pt idx="1949">
                  <c:v>7.0782082850930852</c:v>
                </c:pt>
                <c:pt idx="1950">
                  <c:v>7.0652798590204418</c:v>
                </c:pt>
                <c:pt idx="1951">
                  <c:v>7.0320555110297338</c:v>
                </c:pt>
                <c:pt idx="1952">
                  <c:v>6.9898639808862333</c:v>
                </c:pt>
                <c:pt idx="1953">
                  <c:v>7.0099916056348714</c:v>
                </c:pt>
                <c:pt idx="1954">
                  <c:v>6.8868186659879962</c:v>
                </c:pt>
                <c:pt idx="1955">
                  <c:v>6.844211020394841</c:v>
                </c:pt>
                <c:pt idx="1956">
                  <c:v>6.7776671946281075</c:v>
                </c:pt>
                <c:pt idx="1957">
                  <c:v>6.8341989984356983</c:v>
                </c:pt>
                <c:pt idx="1958">
                  <c:v>6.8706722936511859</c:v>
                </c:pt>
                <c:pt idx="1959">
                  <c:v>6.95262627925326</c:v>
                </c:pt>
                <c:pt idx="1960">
                  <c:v>6.95262627925326</c:v>
                </c:pt>
                <c:pt idx="1961">
                  <c:v>6.9698583925083115</c:v>
                </c:pt>
                <c:pt idx="1962">
                  <c:v>6.9611460695176763</c:v>
                </c:pt>
                <c:pt idx="1963">
                  <c:v>6.9524446369307791</c:v>
                </c:pt>
                <c:pt idx="1964">
                  <c:v>6.9524446369307791</c:v>
                </c:pt>
                <c:pt idx="1965">
                  <c:v>6.9524446369307791</c:v>
                </c:pt>
                <c:pt idx="1966">
                  <c:v>6.9524446369307791</c:v>
                </c:pt>
                <c:pt idx="1967">
                  <c:v>6.9524446369307791</c:v>
                </c:pt>
                <c:pt idx="1968">
                  <c:v>6.9524446369307791</c:v>
                </c:pt>
                <c:pt idx="1969">
                  <c:v>6.9295522432300158</c:v>
                </c:pt>
                <c:pt idx="1970">
                  <c:v>6.8611759663327163</c:v>
                </c:pt>
                <c:pt idx="1971">
                  <c:v>6.8424438920994204</c:v>
                </c:pt>
                <c:pt idx="1972">
                  <c:v>6.7561300304304357</c:v>
                </c:pt>
                <c:pt idx="1973">
                  <c:v>6.7362591904728477</c:v>
                </c:pt>
                <c:pt idx="1974">
                  <c:v>6.5032454349454927</c:v>
                </c:pt>
                <c:pt idx="1975">
                  <c:v>7.0458269094428347</c:v>
                </c:pt>
                <c:pt idx="1976">
                  <c:v>7.0458269094428347</c:v>
                </c:pt>
                <c:pt idx="1977">
                  <c:v>7.0370196258060318</c:v>
                </c:pt>
                <c:pt idx="1978">
                  <c:v>7.0370196258060318</c:v>
                </c:pt>
                <c:pt idx="1979">
                  <c:v>7.0370196258060318</c:v>
                </c:pt>
                <c:pt idx="1980">
                  <c:v>7.0370196258060318</c:v>
                </c:pt>
                <c:pt idx="1981">
                  <c:v>7.0370196258060318</c:v>
                </c:pt>
                <c:pt idx="1982">
                  <c:v>7.0370196258060318</c:v>
                </c:pt>
                <c:pt idx="1983">
                  <c:v>7.0370196258060318</c:v>
                </c:pt>
                <c:pt idx="1984">
                  <c:v>7.0370196258060318</c:v>
                </c:pt>
                <c:pt idx="1985">
                  <c:v>7.048466029174941</c:v>
                </c:pt>
                <c:pt idx="1986">
                  <c:v>7.0396554466384726</c:v>
                </c:pt>
                <c:pt idx="1987">
                  <c:v>6.9392500256231475</c:v>
                </c:pt>
                <c:pt idx="1988">
                  <c:v>6.6743620960023602</c:v>
                </c:pt>
                <c:pt idx="1989">
                  <c:v>6.7703202760845151</c:v>
                </c:pt>
                <c:pt idx="1990">
                  <c:v>6.6265295858156641</c:v>
                </c:pt>
                <c:pt idx="1991">
                  <c:v>6.493091648888905</c:v>
                </c:pt>
                <c:pt idx="1992">
                  <c:v>6.5219244284421478</c:v>
                </c:pt>
                <c:pt idx="1993">
                  <c:v>6.7375907804449229</c:v>
                </c:pt>
                <c:pt idx="1994">
                  <c:v>6.7375907804449229</c:v>
                </c:pt>
                <c:pt idx="1995">
                  <c:v>6.729168791969367</c:v>
                </c:pt>
                <c:pt idx="1996">
                  <c:v>6.7386999501437757</c:v>
                </c:pt>
                <c:pt idx="1997">
                  <c:v>6.730276575206096</c:v>
                </c:pt>
                <c:pt idx="1998">
                  <c:v>6.7218637294870884</c:v>
                </c:pt>
                <c:pt idx="1999">
                  <c:v>6.7068609421355285</c:v>
                </c:pt>
                <c:pt idx="2000">
                  <c:v>6.726041097251148</c:v>
                </c:pt>
                <c:pt idx="2001">
                  <c:v>6.6723173799801998</c:v>
                </c:pt>
                <c:pt idx="2002">
                  <c:v>6.7100385772564621</c:v>
                </c:pt>
                <c:pt idx="2003">
                  <c:v>6.5193365445922655</c:v>
                </c:pt>
                <c:pt idx="2004">
                  <c:v>6.6607068954086532</c:v>
                </c:pt>
                <c:pt idx="2005">
                  <c:v>6.6607068954086532</c:v>
                </c:pt>
                <c:pt idx="2006">
                  <c:v>6.6523810117893927</c:v>
                </c:pt>
                <c:pt idx="2007">
                  <c:v>6.6523810117893927</c:v>
                </c:pt>
                <c:pt idx="2008">
                  <c:v>6.6487541846348188</c:v>
                </c:pt>
                <c:pt idx="2009">
                  <c:v>6.4076842967833549</c:v>
                </c:pt>
                <c:pt idx="2010">
                  <c:v>6.4301565251016228</c:v>
                </c:pt>
                <c:pt idx="2011">
                  <c:v>6.2748655954083485</c:v>
                </c:pt>
                <c:pt idx="2012">
                  <c:v>7.3831586353724834</c:v>
                </c:pt>
                <c:pt idx="2013">
                  <c:v>7.3831586353724834</c:v>
                </c:pt>
                <c:pt idx="2014">
                  <c:v>7.3739296870782676</c:v>
                </c:pt>
                <c:pt idx="2015">
                  <c:v>7.3739296870782676</c:v>
                </c:pt>
                <c:pt idx="2016">
                  <c:v>7.3739296870782676</c:v>
                </c:pt>
                <c:pt idx="2017">
                  <c:v>7.3739296870782676</c:v>
                </c:pt>
                <c:pt idx="2018">
                  <c:v>7.3739296870782676</c:v>
                </c:pt>
                <c:pt idx="2019">
                  <c:v>7.3718117449207208</c:v>
                </c:pt>
                <c:pt idx="2020">
                  <c:v>7.3625969802395703</c:v>
                </c:pt>
                <c:pt idx="2021">
                  <c:v>7.3533937340142712</c:v>
                </c:pt>
                <c:pt idx="2022">
                  <c:v>7.3533937340142712</c:v>
                </c:pt>
                <c:pt idx="2023">
                  <c:v>7.3533937340142712</c:v>
                </c:pt>
                <c:pt idx="2024">
                  <c:v>7.4339596470613767</c:v>
                </c:pt>
                <c:pt idx="2025">
                  <c:v>7.4246671975025498</c:v>
                </c:pt>
                <c:pt idx="2026">
                  <c:v>7.4153863635056716</c:v>
                </c:pt>
                <c:pt idx="2027">
                  <c:v>7.3859263033458937</c:v>
                </c:pt>
                <c:pt idx="2028">
                  <c:v>7.3701119054203357</c:v>
                </c:pt>
                <c:pt idx="2029">
                  <c:v>7.3934698426767085</c:v>
                </c:pt>
                <c:pt idx="2030">
                  <c:v>7.4255444463572635</c:v>
                </c:pt>
                <c:pt idx="2031">
                  <c:v>7.4255444463572635</c:v>
                </c:pt>
                <c:pt idx="2032">
                  <c:v>7.4051227680510623</c:v>
                </c:pt>
                <c:pt idx="2033">
                  <c:v>7.3825683965403508</c:v>
                </c:pt>
                <c:pt idx="2034">
                  <c:v>7.412156080876529</c:v>
                </c:pt>
                <c:pt idx="2035">
                  <c:v>7.4909197551546702</c:v>
                </c:pt>
                <c:pt idx="2036">
                  <c:v>7.4909197551546702</c:v>
                </c:pt>
                <c:pt idx="2037">
                  <c:v>7.4721849669950737</c:v>
                </c:pt>
                <c:pt idx="2038">
                  <c:v>7.4628447357863301</c:v>
                </c:pt>
                <c:pt idx="2039">
                  <c:v>7.4535161798665976</c:v>
                </c:pt>
                <c:pt idx="2040">
                  <c:v>7.4535161798665976</c:v>
                </c:pt>
                <c:pt idx="2041">
                  <c:v>7.4535161798665976</c:v>
                </c:pt>
                <c:pt idx="2042">
                  <c:v>7.4535161798665976</c:v>
                </c:pt>
                <c:pt idx="2043">
                  <c:v>7.4535161798665976</c:v>
                </c:pt>
                <c:pt idx="2044">
                  <c:v>7.4535161798665976</c:v>
                </c:pt>
                <c:pt idx="2045">
                  <c:v>7.4535161798665976</c:v>
                </c:pt>
                <c:pt idx="2046">
                  <c:v>7.4535161798665976</c:v>
                </c:pt>
                <c:pt idx="2047">
                  <c:v>7.4535161798665976</c:v>
                </c:pt>
                <c:pt idx="2048">
                  <c:v>7.4535161798665976</c:v>
                </c:pt>
                <c:pt idx="2049">
                  <c:v>7.4535161798665976</c:v>
                </c:pt>
                <c:pt idx="2050">
                  <c:v>7.4535161798665976</c:v>
                </c:pt>
                <c:pt idx="2051">
                  <c:v>7.4535161798665976</c:v>
                </c:pt>
                <c:pt idx="2052">
                  <c:v>7.4535161798665976</c:v>
                </c:pt>
                <c:pt idx="2053">
                  <c:v>7.4535161798665976</c:v>
                </c:pt>
                <c:pt idx="2054">
                  <c:v>7.4535161798665976</c:v>
                </c:pt>
                <c:pt idx="2055">
                  <c:v>7.4535161798665976</c:v>
                </c:pt>
                <c:pt idx="2056">
                  <c:v>7.4535161798665976</c:v>
                </c:pt>
                <c:pt idx="2057">
                  <c:v>7.4535161798665976</c:v>
                </c:pt>
                <c:pt idx="2058">
                  <c:v>7.4535161798665976</c:v>
                </c:pt>
                <c:pt idx="2059">
                  <c:v>7.4535161798665976</c:v>
                </c:pt>
                <c:pt idx="2060">
                  <c:v>7.4535161798665976</c:v>
                </c:pt>
                <c:pt idx="2061">
                  <c:v>7.4535161798665976</c:v>
                </c:pt>
                <c:pt idx="2062">
                  <c:v>7.4535161798665976</c:v>
                </c:pt>
                <c:pt idx="2063">
                  <c:v>7.4535161798665976</c:v>
                </c:pt>
                <c:pt idx="2064">
                  <c:v>7.4535161798665976</c:v>
                </c:pt>
                <c:pt idx="2065">
                  <c:v>7.4535161798665976</c:v>
                </c:pt>
                <c:pt idx="2066">
                  <c:v>7.4535161798665976</c:v>
                </c:pt>
                <c:pt idx="2067">
                  <c:v>7.4535161798665976</c:v>
                </c:pt>
                <c:pt idx="2068">
                  <c:v>7.4535161798665976</c:v>
                </c:pt>
                <c:pt idx="2069">
                  <c:v>7.4535161798665976</c:v>
                </c:pt>
                <c:pt idx="2070">
                  <c:v>7.2371651885978885</c:v>
                </c:pt>
                <c:pt idx="2071">
                  <c:v>7.1059097296973057</c:v>
                </c:pt>
                <c:pt idx="2072">
                  <c:v>6.988014092431496</c:v>
                </c:pt>
                <c:pt idx="2073">
                  <c:v>6.8230579635581305</c:v>
                </c:pt>
                <c:pt idx="2074">
                  <c:v>6.8864699985713189</c:v>
                </c:pt>
                <c:pt idx="2075">
                  <c:v>6.6950280218576292</c:v>
                </c:pt>
                <c:pt idx="2076">
                  <c:v>6.885915203345097</c:v>
                </c:pt>
                <c:pt idx="2077">
                  <c:v>6.6304399632362232</c:v>
                </c:pt>
                <c:pt idx="2078">
                  <c:v>6.5808282452188722</c:v>
                </c:pt>
                <c:pt idx="2079">
                  <c:v>6.3638750955098242</c:v>
                </c:pt>
                <c:pt idx="2080">
                  <c:v>6.2980007896069372</c:v>
                </c:pt>
                <c:pt idx="2081">
                  <c:v>6.2729752395568843</c:v>
                </c:pt>
                <c:pt idx="2082">
                  <c:v>6.3371556295576932</c:v>
                </c:pt>
                <c:pt idx="2083">
                  <c:v>6.2085463615414982</c:v>
                </c:pt>
                <c:pt idx="2084">
                  <c:v>6.1868652922971412</c:v>
                </c:pt>
                <c:pt idx="2085">
                  <c:v>6.2724569139100543</c:v>
                </c:pt>
                <c:pt idx="2086">
                  <c:v>6.1224059834492612</c:v>
                </c:pt>
                <c:pt idx="2087">
                  <c:v>5.9980111109076786</c:v>
                </c:pt>
                <c:pt idx="2088">
                  <c:v>5.8644072842552513</c:v>
                </c:pt>
                <c:pt idx="2089">
                  <c:v>5.6700890824475279</c:v>
                </c:pt>
                <c:pt idx="2090">
                  <c:v>5.6265542049973192</c:v>
                </c:pt>
                <c:pt idx="2091">
                  <c:v>5.7773700057728403</c:v>
                </c:pt>
                <c:pt idx="2092">
                  <c:v>5.841700048216147</c:v>
                </c:pt>
                <c:pt idx="2093">
                  <c:v>5.841700048216147</c:v>
                </c:pt>
                <c:pt idx="2094">
                  <c:v>5.9663894845876646</c:v>
                </c:pt>
                <c:pt idx="2095">
                  <c:v>5.9589314977319301</c:v>
                </c:pt>
                <c:pt idx="2096">
                  <c:v>5.9514828333597656</c:v>
                </c:pt>
                <c:pt idx="2097">
                  <c:v>6.0125138951638233</c:v>
                </c:pt>
                <c:pt idx="2098">
                  <c:v>6.0049982527948691</c:v>
                </c:pt>
                <c:pt idx="2099">
                  <c:v>5.9974920049788754</c:v>
                </c:pt>
                <c:pt idx="2100">
                  <c:v>5.9974920049788754</c:v>
                </c:pt>
                <c:pt idx="2101">
                  <c:v>5.9974920049788754</c:v>
                </c:pt>
                <c:pt idx="2102">
                  <c:v>5.9974920049788754</c:v>
                </c:pt>
                <c:pt idx="2103">
                  <c:v>5.9974920049788754</c:v>
                </c:pt>
                <c:pt idx="2104">
                  <c:v>5.9974920049788754</c:v>
                </c:pt>
                <c:pt idx="2105">
                  <c:v>5.9974920049788754</c:v>
                </c:pt>
                <c:pt idx="2106">
                  <c:v>5.9974920049788754</c:v>
                </c:pt>
                <c:pt idx="2107">
                  <c:v>5.9974920049788754</c:v>
                </c:pt>
                <c:pt idx="2108">
                  <c:v>5.9974920049788754</c:v>
                </c:pt>
                <c:pt idx="2109">
                  <c:v>5.9974920049788754</c:v>
                </c:pt>
                <c:pt idx="2110">
                  <c:v>5.9974920049788754</c:v>
                </c:pt>
                <c:pt idx="2111">
                  <c:v>5.9974920049788754</c:v>
                </c:pt>
                <c:pt idx="2112">
                  <c:v>5.9974920049788754</c:v>
                </c:pt>
                <c:pt idx="2113">
                  <c:v>5.9974920049788754</c:v>
                </c:pt>
                <c:pt idx="2114">
                  <c:v>5.9974920049788754</c:v>
                </c:pt>
                <c:pt idx="2115">
                  <c:v>5.9974920049788754</c:v>
                </c:pt>
                <c:pt idx="2116">
                  <c:v>5.9974920049788754</c:v>
                </c:pt>
                <c:pt idx="2117">
                  <c:v>6.100028186774388</c:v>
                </c:pt>
                <c:pt idx="2118">
                  <c:v>6.0924031515409203</c:v>
                </c:pt>
                <c:pt idx="2119">
                  <c:v>6.0847876476014946</c:v>
                </c:pt>
                <c:pt idx="2120">
                  <c:v>6.0454434895063667</c:v>
                </c:pt>
                <c:pt idx="2121">
                  <c:v>5.7443327514319735</c:v>
                </c:pt>
                <c:pt idx="2122">
                  <c:v>5.7632587652543084</c:v>
                </c:pt>
                <c:pt idx="2123">
                  <c:v>5.8609026724760982</c:v>
                </c:pt>
                <c:pt idx="2124">
                  <c:v>5.9974311464785499</c:v>
                </c:pt>
                <c:pt idx="2125">
                  <c:v>5.9974311464785499</c:v>
                </c:pt>
                <c:pt idx="2126">
                  <c:v>5.9796037260509989</c:v>
                </c:pt>
                <c:pt idx="2127">
                  <c:v>5.9721292213934349</c:v>
                </c:pt>
                <c:pt idx="2128">
                  <c:v>6.1128139631135738</c:v>
                </c:pt>
                <c:pt idx="2129">
                  <c:v>6.1051729456596817</c:v>
                </c:pt>
                <c:pt idx="2130">
                  <c:v>6.0975414794776075</c:v>
                </c:pt>
                <c:pt idx="2131">
                  <c:v>6.0975414794776075</c:v>
                </c:pt>
                <c:pt idx="2132">
                  <c:v>6.0975414794776075</c:v>
                </c:pt>
                <c:pt idx="2133">
                  <c:v>6.0975414794776075</c:v>
                </c:pt>
                <c:pt idx="2134">
                  <c:v>6.0975414794776075</c:v>
                </c:pt>
                <c:pt idx="2135">
                  <c:v>6.0975414794776075</c:v>
                </c:pt>
                <c:pt idx="2136">
                  <c:v>6.0975414794776075</c:v>
                </c:pt>
                <c:pt idx="2137">
                  <c:v>6.0975414794776075</c:v>
                </c:pt>
                <c:pt idx="2138">
                  <c:v>6.0975414794776075</c:v>
                </c:pt>
                <c:pt idx="2139">
                  <c:v>6.0975414794776075</c:v>
                </c:pt>
                <c:pt idx="2140">
                  <c:v>6.0975414794776075</c:v>
                </c:pt>
                <c:pt idx="2141">
                  <c:v>6.0975414794776075</c:v>
                </c:pt>
                <c:pt idx="2142">
                  <c:v>6.0975414794776075</c:v>
                </c:pt>
                <c:pt idx="2143">
                  <c:v>6.0068496352504459</c:v>
                </c:pt>
                <c:pt idx="2144">
                  <c:v>6.1032822194612999</c:v>
                </c:pt>
                <c:pt idx="2145">
                  <c:v>6.1030482907774601</c:v>
                </c:pt>
                <c:pt idx="2146">
                  <c:v>6.13862203063516</c:v>
                </c:pt>
                <c:pt idx="2147">
                  <c:v>6.13862203063516</c:v>
                </c:pt>
                <c:pt idx="2148">
                  <c:v>6.1362023197733437</c:v>
                </c:pt>
                <c:pt idx="2149">
                  <c:v>6.1371894847203023</c:v>
                </c:pt>
                <c:pt idx="2150">
                  <c:v>6.1371894847203023</c:v>
                </c:pt>
                <c:pt idx="2151">
                  <c:v>6.1357197651582265</c:v>
                </c:pt>
                <c:pt idx="2152">
                  <c:v>6.1280501154517788</c:v>
                </c:pt>
                <c:pt idx="2153">
                  <c:v>6.1203900528074646</c:v>
                </c:pt>
                <c:pt idx="2154">
                  <c:v>6.1166912770421531</c:v>
                </c:pt>
                <c:pt idx="2155">
                  <c:v>6.1097120805855969</c:v>
                </c:pt>
                <c:pt idx="2156">
                  <c:v>6.051945109745275</c:v>
                </c:pt>
                <c:pt idx="2157">
                  <c:v>6.1329220998311147</c:v>
                </c:pt>
                <c:pt idx="2158">
                  <c:v>6.1329220998311147</c:v>
                </c:pt>
                <c:pt idx="2159">
                  <c:v>6.1119496616210114</c:v>
                </c:pt>
                <c:pt idx="2160">
                  <c:v>6.1131701828398937</c:v>
                </c:pt>
                <c:pt idx="2161">
                  <c:v>6.0654626312854889</c:v>
                </c:pt>
                <c:pt idx="2162">
                  <c:v>5.979242428343424</c:v>
                </c:pt>
                <c:pt idx="2163">
                  <c:v>5.8757977429511277</c:v>
                </c:pt>
                <c:pt idx="2164">
                  <c:v>5.8550878184655382</c:v>
                </c:pt>
                <c:pt idx="2165">
                  <c:v>5.9369442303400941</c:v>
                </c:pt>
                <c:pt idx="2166">
                  <c:v>5.793447771232338</c:v>
                </c:pt>
                <c:pt idx="2167">
                  <c:v>5.6089067648916515</c:v>
                </c:pt>
                <c:pt idx="2168">
                  <c:v>5.5675592246427232</c:v>
                </c:pt>
                <c:pt idx="2169">
                  <c:v>5.5879375928961048</c:v>
                </c:pt>
                <c:pt idx="2170">
                  <c:v>5.628843994655405</c:v>
                </c:pt>
                <c:pt idx="2171">
                  <c:v>5.6696878684735639</c:v>
                </c:pt>
                <c:pt idx="2172">
                  <c:v>5.6696878684735639</c:v>
                </c:pt>
                <c:pt idx="2173">
                  <c:v>5.6626007586379723</c:v>
                </c:pt>
                <c:pt idx="2174">
                  <c:v>5.6626007586379723</c:v>
                </c:pt>
                <c:pt idx="2175">
                  <c:v>5.6626007586379723</c:v>
                </c:pt>
                <c:pt idx="2176">
                  <c:v>5.6626007586379723</c:v>
                </c:pt>
                <c:pt idx="2177">
                  <c:v>5.6626007586379723</c:v>
                </c:pt>
                <c:pt idx="2178">
                  <c:v>5.6626007586379723</c:v>
                </c:pt>
                <c:pt idx="2179">
                  <c:v>5.6626007586379723</c:v>
                </c:pt>
                <c:pt idx="2180">
                  <c:v>5.6626007586379723</c:v>
                </c:pt>
                <c:pt idx="2181">
                  <c:v>5.6626007586379723</c:v>
                </c:pt>
                <c:pt idx="2182">
                  <c:v>5.6626007586379723</c:v>
                </c:pt>
                <c:pt idx="2183">
                  <c:v>5.6626007586379723</c:v>
                </c:pt>
                <c:pt idx="2184">
                  <c:v>5.6626007586379723</c:v>
                </c:pt>
                <c:pt idx="2185">
                  <c:v>5.6626007586379723</c:v>
                </c:pt>
                <c:pt idx="2186">
                  <c:v>5.6626007586379723</c:v>
                </c:pt>
                <c:pt idx="2187">
                  <c:v>5.6626007586379723</c:v>
                </c:pt>
                <c:pt idx="2188">
                  <c:v>5.6626007586379723</c:v>
                </c:pt>
                <c:pt idx="2189">
                  <c:v>5.6626007586379723</c:v>
                </c:pt>
                <c:pt idx="2190">
                  <c:v>5.6600083466520568</c:v>
                </c:pt>
                <c:pt idx="2191">
                  <c:v>5.7796532939816396</c:v>
                </c:pt>
                <c:pt idx="2192">
                  <c:v>5.7796532939816396</c:v>
                </c:pt>
                <c:pt idx="2193">
                  <c:v>5.7724287273641623</c:v>
                </c:pt>
                <c:pt idx="2194">
                  <c:v>5.7724287273641623</c:v>
                </c:pt>
                <c:pt idx="2195">
                  <c:v>5.7724287273641623</c:v>
                </c:pt>
                <c:pt idx="2196">
                  <c:v>5.7724287273641623</c:v>
                </c:pt>
                <c:pt idx="2197">
                  <c:v>5.7724287273641623</c:v>
                </c:pt>
                <c:pt idx="2198">
                  <c:v>5.7693171891136004</c:v>
                </c:pt>
                <c:pt idx="2199">
                  <c:v>5.7621055426272081</c:v>
                </c:pt>
                <c:pt idx="2200">
                  <c:v>5.7215478264538078</c:v>
                </c:pt>
                <c:pt idx="2201">
                  <c:v>5.7978223899344874</c:v>
                </c:pt>
                <c:pt idx="2202">
                  <c:v>5.7978223899344874</c:v>
                </c:pt>
                <c:pt idx="2203">
                  <c:v>5.7787351354922372</c:v>
                </c:pt>
                <c:pt idx="2204">
                  <c:v>5.8907160761360391</c:v>
                </c:pt>
                <c:pt idx="2205">
                  <c:v>5.8907160761360391</c:v>
                </c:pt>
                <c:pt idx="2206">
                  <c:v>5.8833526810408694</c:v>
                </c:pt>
                <c:pt idx="2207">
                  <c:v>5.8464649512284899</c:v>
                </c:pt>
                <c:pt idx="2208">
                  <c:v>5.9259794288618419</c:v>
                </c:pt>
                <c:pt idx="2209">
                  <c:v>5.9259794288618419</c:v>
                </c:pt>
                <c:pt idx="2210">
                  <c:v>5.9185719545757651</c:v>
                </c:pt>
                <c:pt idx="2211">
                  <c:v>5.9185719545757651</c:v>
                </c:pt>
                <c:pt idx="2212">
                  <c:v>5.9185719545757651</c:v>
                </c:pt>
                <c:pt idx="2213">
                  <c:v>5.9185719545757651</c:v>
                </c:pt>
                <c:pt idx="2214">
                  <c:v>5.9185719545757651</c:v>
                </c:pt>
                <c:pt idx="2215">
                  <c:v>5.9185719545757651</c:v>
                </c:pt>
                <c:pt idx="2216">
                  <c:v>5.9185719545757651</c:v>
                </c:pt>
                <c:pt idx="2217">
                  <c:v>5.9185719545757651</c:v>
                </c:pt>
                <c:pt idx="2218">
                  <c:v>5.9185719545757651</c:v>
                </c:pt>
                <c:pt idx="2219">
                  <c:v>5.9185719545757651</c:v>
                </c:pt>
                <c:pt idx="2220">
                  <c:v>5.9185719545757651</c:v>
                </c:pt>
                <c:pt idx="2221">
                  <c:v>5.9185719545757651</c:v>
                </c:pt>
                <c:pt idx="2222">
                  <c:v>5.9185719545757651</c:v>
                </c:pt>
                <c:pt idx="2223">
                  <c:v>5.9185719545757651</c:v>
                </c:pt>
                <c:pt idx="2224">
                  <c:v>5.9185719545757651</c:v>
                </c:pt>
                <c:pt idx="2225">
                  <c:v>5.9185719545757651</c:v>
                </c:pt>
                <c:pt idx="2226">
                  <c:v>5.9185719545757651</c:v>
                </c:pt>
                <c:pt idx="2227">
                  <c:v>5.9185719545757651</c:v>
                </c:pt>
                <c:pt idx="2228">
                  <c:v>5.9185719545757651</c:v>
                </c:pt>
                <c:pt idx="2229">
                  <c:v>5.9185719545757651</c:v>
                </c:pt>
                <c:pt idx="2230">
                  <c:v>5.9185719545757651</c:v>
                </c:pt>
                <c:pt idx="2231">
                  <c:v>5.9185719545757651</c:v>
                </c:pt>
                <c:pt idx="2232">
                  <c:v>5.9185719545757651</c:v>
                </c:pt>
                <c:pt idx="2233">
                  <c:v>5.9185719545757651</c:v>
                </c:pt>
                <c:pt idx="2234">
                  <c:v>5.9185719545757651</c:v>
                </c:pt>
                <c:pt idx="2235">
                  <c:v>5.9185719545757651</c:v>
                </c:pt>
                <c:pt idx="2236">
                  <c:v>5.9185719545757651</c:v>
                </c:pt>
                <c:pt idx="2237">
                  <c:v>5.9185719545757651</c:v>
                </c:pt>
                <c:pt idx="2238">
                  <c:v>5.9185719545757651</c:v>
                </c:pt>
                <c:pt idx="2239">
                  <c:v>5.9185719545757651</c:v>
                </c:pt>
                <c:pt idx="2240">
                  <c:v>5.9185719545757651</c:v>
                </c:pt>
                <c:pt idx="2241">
                  <c:v>5.9185719545757651</c:v>
                </c:pt>
                <c:pt idx="2242">
                  <c:v>5.9185719545757651</c:v>
                </c:pt>
                <c:pt idx="2243">
                  <c:v>5.9185719545757651</c:v>
                </c:pt>
                <c:pt idx="2244">
                  <c:v>5.9185719545757651</c:v>
                </c:pt>
                <c:pt idx="2245">
                  <c:v>5.9185719545757651</c:v>
                </c:pt>
                <c:pt idx="2246">
                  <c:v>5.9185719545757651</c:v>
                </c:pt>
                <c:pt idx="2247">
                  <c:v>5.9185719545757651</c:v>
                </c:pt>
                <c:pt idx="2248">
                  <c:v>5.9185719545757651</c:v>
                </c:pt>
                <c:pt idx="2249">
                  <c:v>5.9185719545757651</c:v>
                </c:pt>
                <c:pt idx="2250">
                  <c:v>5.9185719545757651</c:v>
                </c:pt>
                <c:pt idx="2251">
                  <c:v>5.9185719545757651</c:v>
                </c:pt>
                <c:pt idx="2252">
                  <c:v>5.9185719545757651</c:v>
                </c:pt>
                <c:pt idx="2253">
                  <c:v>5.9185719545757651</c:v>
                </c:pt>
                <c:pt idx="2254">
                  <c:v>5.8681173869943262</c:v>
                </c:pt>
                <c:pt idx="2255">
                  <c:v>5.7890584986333371</c:v>
                </c:pt>
                <c:pt idx="2256">
                  <c:v>5.8169134840637673</c:v>
                </c:pt>
                <c:pt idx="2257">
                  <c:v>5.75590146537869</c:v>
                </c:pt>
                <c:pt idx="2258">
                  <c:v>5.9151108503521312</c:v>
                </c:pt>
                <c:pt idx="2259">
                  <c:v>5.9151108503521312</c:v>
                </c:pt>
                <c:pt idx="2260">
                  <c:v>5.9077169617891911</c:v>
                </c:pt>
                <c:pt idx="2261">
                  <c:v>5.9077169617891911</c:v>
                </c:pt>
                <c:pt idx="2262">
                  <c:v>5.9011379302072964</c:v>
                </c:pt>
                <c:pt idx="2263">
                  <c:v>5.8937615077945376</c:v>
                </c:pt>
                <c:pt idx="2264">
                  <c:v>5.8863943059097945</c:v>
                </c:pt>
                <c:pt idx="2265">
                  <c:v>5.8863943059097945</c:v>
                </c:pt>
                <c:pt idx="2266">
                  <c:v>5.8863943059097945</c:v>
                </c:pt>
                <c:pt idx="2267">
                  <c:v>5.8863943059097945</c:v>
                </c:pt>
                <c:pt idx="2268">
                  <c:v>5.8863943059097945</c:v>
                </c:pt>
                <c:pt idx="2269">
                  <c:v>5.8863943059097945</c:v>
                </c:pt>
                <c:pt idx="2270">
                  <c:v>5.8863943059097945</c:v>
                </c:pt>
                <c:pt idx="2271">
                  <c:v>5.8863943059097945</c:v>
                </c:pt>
                <c:pt idx="2272">
                  <c:v>5.8863943059097945</c:v>
                </c:pt>
                <c:pt idx="2273">
                  <c:v>5.8863943059097945</c:v>
                </c:pt>
                <c:pt idx="2274">
                  <c:v>5.8863943059097945</c:v>
                </c:pt>
                <c:pt idx="2275">
                  <c:v>5.8863943059097945</c:v>
                </c:pt>
                <c:pt idx="2276">
                  <c:v>5.8863943059097945</c:v>
                </c:pt>
                <c:pt idx="2277">
                  <c:v>5.8863943059097945</c:v>
                </c:pt>
                <c:pt idx="2278">
                  <c:v>5.8863943059097945</c:v>
                </c:pt>
                <c:pt idx="2279">
                  <c:v>5.9211294698261741</c:v>
                </c:pt>
                <c:pt idx="2280">
                  <c:v>5.7680821882399105</c:v>
                </c:pt>
                <c:pt idx="2281">
                  <c:v>5.7796208326507497</c:v>
                </c:pt>
                <c:pt idx="2282">
                  <c:v>5.6162415369370615</c:v>
                </c:pt>
                <c:pt idx="2283">
                  <c:v>5.3960573216072776</c:v>
                </c:pt>
                <c:pt idx="2284">
                  <c:v>5.3955926303901292</c:v>
                </c:pt>
                <c:pt idx="2285">
                  <c:v>5.2956672016173751</c:v>
                </c:pt>
                <c:pt idx="2286">
                  <c:v>5.4753057930879807</c:v>
                </c:pt>
                <c:pt idx="2287">
                  <c:v>5.4753057930879807</c:v>
                </c:pt>
                <c:pt idx="2288">
                  <c:v>5.3561261166022849</c:v>
                </c:pt>
                <c:pt idx="2289">
                  <c:v>5.3678572127133926</c:v>
                </c:pt>
                <c:pt idx="2290">
                  <c:v>5.2559744373511439</c:v>
                </c:pt>
                <c:pt idx="2291">
                  <c:v>5.2371094737182382</c:v>
                </c:pt>
                <c:pt idx="2292">
                  <c:v>5.1811412004943094</c:v>
                </c:pt>
                <c:pt idx="2293">
                  <c:v>5.0132963503526655</c:v>
                </c:pt>
                <c:pt idx="2294">
                  <c:v>5.0129393130645994</c:v>
                </c:pt>
                <c:pt idx="2295">
                  <c:v>4.9570369438181512</c:v>
                </c:pt>
                <c:pt idx="2296">
                  <c:v>4.9569153300895517</c:v>
                </c:pt>
                <c:pt idx="2297">
                  <c:v>4.9196351341359721</c:v>
                </c:pt>
                <c:pt idx="2298">
                  <c:v>4.9568339304913867</c:v>
                </c:pt>
                <c:pt idx="2299">
                  <c:v>4.9194717101503755</c:v>
                </c:pt>
                <c:pt idx="2300">
                  <c:v>4.7144139332938222</c:v>
                </c:pt>
                <c:pt idx="2301">
                  <c:v>4.4717499223479189</c:v>
                </c:pt>
                <c:pt idx="2302">
                  <c:v>4.5457552793325338</c:v>
                </c:pt>
                <c:pt idx="2303">
                  <c:v>4.4897020829162688</c:v>
                </c:pt>
                <c:pt idx="2304">
                  <c:v>4.657253395669227</c:v>
                </c:pt>
                <c:pt idx="2305">
                  <c:v>4.657253395669227</c:v>
                </c:pt>
                <c:pt idx="2306">
                  <c:v>4.6514318289246406</c:v>
                </c:pt>
                <c:pt idx="2307">
                  <c:v>4.6514318289246406</c:v>
                </c:pt>
                <c:pt idx="2308">
                  <c:v>4.6514318289246406</c:v>
                </c:pt>
                <c:pt idx="2309">
                  <c:v>4.6514318289246406</c:v>
                </c:pt>
                <c:pt idx="2310">
                  <c:v>4.6500981388727105</c:v>
                </c:pt>
                <c:pt idx="2311">
                  <c:v>4.672113763905978</c:v>
                </c:pt>
                <c:pt idx="2312">
                  <c:v>4.672113763905978</c:v>
                </c:pt>
                <c:pt idx="2313">
                  <c:v>4.8354881208094111</c:v>
                </c:pt>
                <c:pt idx="2314">
                  <c:v>4.8294437606583998</c:v>
                </c:pt>
                <c:pt idx="2315">
                  <c:v>4.8303988861588962</c:v>
                </c:pt>
                <c:pt idx="2316">
                  <c:v>4.8243608875511974</c:v>
                </c:pt>
                <c:pt idx="2317">
                  <c:v>4.7667106812535254</c:v>
                </c:pt>
                <c:pt idx="2318">
                  <c:v>4.6800044333357222</c:v>
                </c:pt>
                <c:pt idx="2319">
                  <c:v>4.6351099114144354</c:v>
                </c:pt>
                <c:pt idx="2320">
                  <c:v>4.574232142519195</c:v>
                </c:pt>
                <c:pt idx="2321">
                  <c:v>4.7097759887587758</c:v>
                </c:pt>
                <c:pt idx="2322">
                  <c:v>4.8063887077346958</c:v>
                </c:pt>
                <c:pt idx="2323">
                  <c:v>4.8063887077346958</c:v>
                </c:pt>
                <c:pt idx="2324">
                  <c:v>4.8003807218500274</c:v>
                </c:pt>
                <c:pt idx="2325">
                  <c:v>4.8003807218500274</c:v>
                </c:pt>
                <c:pt idx="2326">
                  <c:v>4.8003807218500274</c:v>
                </c:pt>
                <c:pt idx="2327">
                  <c:v>4.8003807218500274</c:v>
                </c:pt>
                <c:pt idx="2328">
                  <c:v>4.8003807218500274</c:v>
                </c:pt>
                <c:pt idx="2329">
                  <c:v>4.8003807218500274</c:v>
                </c:pt>
                <c:pt idx="2330">
                  <c:v>4.8003807218500274</c:v>
                </c:pt>
                <c:pt idx="2331">
                  <c:v>4.8003807218500274</c:v>
                </c:pt>
                <c:pt idx="2332">
                  <c:v>4.8003807218500274</c:v>
                </c:pt>
                <c:pt idx="2333">
                  <c:v>4.8003807218500274</c:v>
                </c:pt>
                <c:pt idx="2334">
                  <c:v>4.8003807218500274</c:v>
                </c:pt>
                <c:pt idx="2335">
                  <c:v>4.8003807218500274</c:v>
                </c:pt>
                <c:pt idx="2336">
                  <c:v>4.8003807218500274</c:v>
                </c:pt>
                <c:pt idx="2337">
                  <c:v>4.8003807218500274</c:v>
                </c:pt>
                <c:pt idx="2338">
                  <c:v>4.8003807218500274</c:v>
                </c:pt>
                <c:pt idx="2339">
                  <c:v>4.8003807218500274</c:v>
                </c:pt>
                <c:pt idx="2340">
                  <c:v>4.8003807218500274</c:v>
                </c:pt>
                <c:pt idx="2341">
                  <c:v>4.8003807218500274</c:v>
                </c:pt>
                <c:pt idx="2342">
                  <c:v>4.8003807218500274</c:v>
                </c:pt>
                <c:pt idx="2343">
                  <c:v>4.8003807218500274</c:v>
                </c:pt>
                <c:pt idx="2344">
                  <c:v>4.8003807218500274</c:v>
                </c:pt>
                <c:pt idx="2345">
                  <c:v>4.8003807218500274</c:v>
                </c:pt>
                <c:pt idx="2346">
                  <c:v>4.8003807218500274</c:v>
                </c:pt>
                <c:pt idx="2347">
                  <c:v>4.8003807218500274</c:v>
                </c:pt>
                <c:pt idx="2348">
                  <c:v>4.8003807218500274</c:v>
                </c:pt>
                <c:pt idx="2349">
                  <c:v>4.8003807218500274</c:v>
                </c:pt>
                <c:pt idx="2350">
                  <c:v>4.7948299345968124</c:v>
                </c:pt>
                <c:pt idx="2351">
                  <c:v>4.6163647511364552</c:v>
                </c:pt>
                <c:pt idx="2352">
                  <c:v>4.6504574688715516</c:v>
                </c:pt>
                <c:pt idx="2353">
                  <c:v>4.6503811013460838</c:v>
                </c:pt>
                <c:pt idx="2354">
                  <c:v>4.6159263412183797</c:v>
                </c:pt>
                <c:pt idx="2355">
                  <c:v>4.6501472836423741</c:v>
                </c:pt>
                <c:pt idx="2356">
                  <c:v>4.6078280932956011</c:v>
                </c:pt>
                <c:pt idx="2357">
                  <c:v>4.620273456562642</c:v>
                </c:pt>
                <c:pt idx="2358">
                  <c:v>4.620273456562642</c:v>
                </c:pt>
                <c:pt idx="2359">
                  <c:v>4.6144981147419388</c:v>
                </c:pt>
                <c:pt idx="2360">
                  <c:v>4.6144981147419388</c:v>
                </c:pt>
                <c:pt idx="2361">
                  <c:v>4.6144981147419388</c:v>
                </c:pt>
                <c:pt idx="2362">
                  <c:v>4.6144981147419388</c:v>
                </c:pt>
                <c:pt idx="2363">
                  <c:v>4.6144981147419388</c:v>
                </c:pt>
                <c:pt idx="2364">
                  <c:v>4.6144981147419388</c:v>
                </c:pt>
                <c:pt idx="2365">
                  <c:v>4.6131206192518137</c:v>
                </c:pt>
                <c:pt idx="2366">
                  <c:v>4.7064381956080084</c:v>
                </c:pt>
                <c:pt idx="2367">
                  <c:v>4.7064381956080084</c:v>
                </c:pt>
                <c:pt idx="2368">
                  <c:v>4.7005551478634988</c:v>
                </c:pt>
                <c:pt idx="2369">
                  <c:v>4.7005551478634988</c:v>
                </c:pt>
                <c:pt idx="2370">
                  <c:v>4.7005551478634988</c:v>
                </c:pt>
                <c:pt idx="2371">
                  <c:v>4.7005551478634988</c:v>
                </c:pt>
                <c:pt idx="2372">
                  <c:v>4.7005551478634988</c:v>
                </c:pt>
                <c:pt idx="2373">
                  <c:v>4.6327114151746809</c:v>
                </c:pt>
                <c:pt idx="2374">
                  <c:v>4.6572976595213715</c:v>
                </c:pt>
                <c:pt idx="2375">
                  <c:v>4.9040648493729213</c:v>
                </c:pt>
                <c:pt idx="2376">
                  <c:v>4.9040648493729213</c:v>
                </c:pt>
                <c:pt idx="2377">
                  <c:v>4.8979347683112051</c:v>
                </c:pt>
                <c:pt idx="2378">
                  <c:v>4.8979347683112051</c:v>
                </c:pt>
                <c:pt idx="2379">
                  <c:v>4.8979347683112051</c:v>
                </c:pt>
                <c:pt idx="2380">
                  <c:v>4.8979347683112051</c:v>
                </c:pt>
                <c:pt idx="2381">
                  <c:v>4.8979347683112051</c:v>
                </c:pt>
                <c:pt idx="2382">
                  <c:v>4.8979347683112051</c:v>
                </c:pt>
                <c:pt idx="2383">
                  <c:v>4.8979347683112051</c:v>
                </c:pt>
                <c:pt idx="2384">
                  <c:v>4.8979347683112051</c:v>
                </c:pt>
                <c:pt idx="2385">
                  <c:v>4.8979347683112051</c:v>
                </c:pt>
                <c:pt idx="2386">
                  <c:v>4.8979347683112051</c:v>
                </c:pt>
                <c:pt idx="2387">
                  <c:v>4.8979347683112051</c:v>
                </c:pt>
                <c:pt idx="2388">
                  <c:v>4.8979347683112051</c:v>
                </c:pt>
                <c:pt idx="2389">
                  <c:v>4.8979347683112051</c:v>
                </c:pt>
                <c:pt idx="2390">
                  <c:v>4.8979347683112051</c:v>
                </c:pt>
                <c:pt idx="2391">
                  <c:v>4.8979347683112051</c:v>
                </c:pt>
                <c:pt idx="2392">
                  <c:v>4.8979347683112051</c:v>
                </c:pt>
                <c:pt idx="2393">
                  <c:v>4.8979347683112051</c:v>
                </c:pt>
                <c:pt idx="2394">
                  <c:v>4.8979347683112051</c:v>
                </c:pt>
                <c:pt idx="2395">
                  <c:v>4.8979347683112051</c:v>
                </c:pt>
                <c:pt idx="2396">
                  <c:v>4.8979347683112051</c:v>
                </c:pt>
                <c:pt idx="2397">
                  <c:v>4.8979347683112051</c:v>
                </c:pt>
                <c:pt idx="2398">
                  <c:v>4.8979347683112051</c:v>
                </c:pt>
                <c:pt idx="2399">
                  <c:v>4.8979347683112051</c:v>
                </c:pt>
                <c:pt idx="2400">
                  <c:v>4.8979347683112051</c:v>
                </c:pt>
                <c:pt idx="2401">
                  <c:v>4.8979347683112051</c:v>
                </c:pt>
                <c:pt idx="2402">
                  <c:v>4.8979347683112051</c:v>
                </c:pt>
                <c:pt idx="2403">
                  <c:v>4.8979347683112051</c:v>
                </c:pt>
                <c:pt idx="2404">
                  <c:v>4.8979347683112051</c:v>
                </c:pt>
                <c:pt idx="2405">
                  <c:v>4.8979347683112051</c:v>
                </c:pt>
                <c:pt idx="2406">
                  <c:v>4.8979347683112051</c:v>
                </c:pt>
                <c:pt idx="2407">
                  <c:v>4.8979347683112051</c:v>
                </c:pt>
                <c:pt idx="2408">
                  <c:v>4.8979347683112051</c:v>
                </c:pt>
                <c:pt idx="2409">
                  <c:v>4.8891358375725362</c:v>
                </c:pt>
                <c:pt idx="2410">
                  <c:v>4.7969841158058104</c:v>
                </c:pt>
                <c:pt idx="2411">
                  <c:v>4.8087216074709893</c:v>
                </c:pt>
                <c:pt idx="2412">
                  <c:v>4.8773354636563839</c:v>
                </c:pt>
                <c:pt idx="2413">
                  <c:v>4.9424056531462304</c:v>
                </c:pt>
                <c:pt idx="2414">
                  <c:v>4.9424056531462304</c:v>
                </c:pt>
                <c:pt idx="2415">
                  <c:v>4.9366225016453162</c:v>
                </c:pt>
                <c:pt idx="2416">
                  <c:v>4.9304517235182601</c:v>
                </c:pt>
                <c:pt idx="2417">
                  <c:v>4.9442597069081087</c:v>
                </c:pt>
                <c:pt idx="2418">
                  <c:v>4.9380793822744735</c:v>
                </c:pt>
                <c:pt idx="2419">
                  <c:v>4.9380336401073377</c:v>
                </c:pt>
                <c:pt idx="2420">
                  <c:v>4.8774995409500361</c:v>
                </c:pt>
                <c:pt idx="2421">
                  <c:v>4.854040177804996</c:v>
                </c:pt>
                <c:pt idx="2422">
                  <c:v>4.7659327958170783</c:v>
                </c:pt>
                <c:pt idx="2423">
                  <c:v>4.9839205876088064</c:v>
                </c:pt>
                <c:pt idx="2424">
                  <c:v>4.9839205876088064</c:v>
                </c:pt>
                <c:pt idx="2425">
                  <c:v>4.9776906868742952</c:v>
                </c:pt>
                <c:pt idx="2426">
                  <c:v>4.9637596386944054</c:v>
                </c:pt>
                <c:pt idx="2427">
                  <c:v>4.835948025790465</c:v>
                </c:pt>
                <c:pt idx="2428">
                  <c:v>4.7372799865655741</c:v>
                </c:pt>
                <c:pt idx="2429">
                  <c:v>5.1181705358135989</c:v>
                </c:pt>
                <c:pt idx="2430">
                  <c:v>5.1181705358135989</c:v>
                </c:pt>
                <c:pt idx="2431">
                  <c:v>5.1117728226438324</c:v>
                </c:pt>
                <c:pt idx="2432">
                  <c:v>5.1117728226438324</c:v>
                </c:pt>
                <c:pt idx="2433">
                  <c:v>5.1117728226438324</c:v>
                </c:pt>
                <c:pt idx="2434">
                  <c:v>5.1117728226438324</c:v>
                </c:pt>
                <c:pt idx="2435">
                  <c:v>5.1117728226438324</c:v>
                </c:pt>
                <c:pt idx="2436">
                  <c:v>5.1117728226438324</c:v>
                </c:pt>
                <c:pt idx="2437">
                  <c:v>5.1117728226438324</c:v>
                </c:pt>
                <c:pt idx="2438">
                  <c:v>5.1117728226438324</c:v>
                </c:pt>
                <c:pt idx="2439">
                  <c:v>5.1117728226438324</c:v>
                </c:pt>
                <c:pt idx="2440">
                  <c:v>5.1117728226438324</c:v>
                </c:pt>
                <c:pt idx="2441">
                  <c:v>5.1117728226438324</c:v>
                </c:pt>
                <c:pt idx="2442">
                  <c:v>5.1117728226438324</c:v>
                </c:pt>
                <c:pt idx="2443">
                  <c:v>5.1117728226438324</c:v>
                </c:pt>
                <c:pt idx="2444">
                  <c:v>5.1117728226438324</c:v>
                </c:pt>
                <c:pt idx="2445">
                  <c:v>5.1117728226438324</c:v>
                </c:pt>
                <c:pt idx="2446">
                  <c:v>5.1117728226438324</c:v>
                </c:pt>
                <c:pt idx="2447">
                  <c:v>5.1117728226438324</c:v>
                </c:pt>
                <c:pt idx="2448">
                  <c:v>5.1117728226438324</c:v>
                </c:pt>
                <c:pt idx="2449">
                  <c:v>5.1117728226438324</c:v>
                </c:pt>
                <c:pt idx="2450">
                  <c:v>5.1117728226438324</c:v>
                </c:pt>
                <c:pt idx="2451">
                  <c:v>5.1117728226438324</c:v>
                </c:pt>
                <c:pt idx="2452">
                  <c:v>5.1117728226438324</c:v>
                </c:pt>
                <c:pt idx="2453">
                  <c:v>5.1117728226438324</c:v>
                </c:pt>
                <c:pt idx="2454">
                  <c:v>5.1117728226438324</c:v>
                </c:pt>
                <c:pt idx="2455">
                  <c:v>5.1117728226438324</c:v>
                </c:pt>
                <c:pt idx="2456">
                  <c:v>5.1117728226438324</c:v>
                </c:pt>
                <c:pt idx="2457">
                  <c:v>5.1117728226438324</c:v>
                </c:pt>
                <c:pt idx="2458">
                  <c:v>5.1117728226438324</c:v>
                </c:pt>
                <c:pt idx="2459">
                  <c:v>5.1117728226438324</c:v>
                </c:pt>
                <c:pt idx="2460">
                  <c:v>5.1117728226438324</c:v>
                </c:pt>
                <c:pt idx="2461">
                  <c:v>5.1117728226438324</c:v>
                </c:pt>
                <c:pt idx="2462">
                  <c:v>5.1117728226438324</c:v>
                </c:pt>
                <c:pt idx="2463">
                  <c:v>5.1117728226438324</c:v>
                </c:pt>
                <c:pt idx="2464">
                  <c:v>5.1117728226438324</c:v>
                </c:pt>
                <c:pt idx="2465">
                  <c:v>5.1117728226438324</c:v>
                </c:pt>
                <c:pt idx="2466">
                  <c:v>5.1117728226438324</c:v>
                </c:pt>
                <c:pt idx="2467">
                  <c:v>5.1117728226438324</c:v>
                </c:pt>
                <c:pt idx="2468">
                  <c:v>5.1117728226438324</c:v>
                </c:pt>
                <c:pt idx="2469">
                  <c:v>5.1117728226438324</c:v>
                </c:pt>
                <c:pt idx="2470">
                  <c:v>5.1117728226438324</c:v>
                </c:pt>
                <c:pt idx="2471">
                  <c:v>5.1117728226438324</c:v>
                </c:pt>
                <c:pt idx="2472">
                  <c:v>5.1117728226438324</c:v>
                </c:pt>
                <c:pt idx="2473">
                  <c:v>5.1117728226438324</c:v>
                </c:pt>
                <c:pt idx="2474">
                  <c:v>5.1117728226438324</c:v>
                </c:pt>
                <c:pt idx="2475">
                  <c:v>5.0731894071048051</c:v>
                </c:pt>
                <c:pt idx="2476">
                  <c:v>5.0839088385161038</c:v>
                </c:pt>
                <c:pt idx="2477">
                  <c:v>5.0003576064160624</c:v>
                </c:pt>
                <c:pt idx="2478">
                  <c:v>4.9531453647608865</c:v>
                </c:pt>
                <c:pt idx="2479">
                  <c:v>4.8169761802279272</c:v>
                </c:pt>
                <c:pt idx="2480">
                  <c:v>4.8361622330546314</c:v>
                </c:pt>
                <c:pt idx="2481">
                  <c:v>4.6175084122179362</c:v>
                </c:pt>
                <c:pt idx="2482">
                  <c:v>4.6724369943374873</c:v>
                </c:pt>
                <c:pt idx="2483">
                  <c:v>4.5728419111876821</c:v>
                </c:pt>
                <c:pt idx="2484">
                  <c:v>4.537850005155998</c:v>
                </c:pt>
                <c:pt idx="2485">
                  <c:v>4.4201550172216804</c:v>
                </c:pt>
                <c:pt idx="2486">
                  <c:v>4.5311490257875002</c:v>
                </c:pt>
                <c:pt idx="2487">
                  <c:v>4.515670332894417</c:v>
                </c:pt>
                <c:pt idx="2488">
                  <c:v>4.4320293487500528</c:v>
                </c:pt>
                <c:pt idx="2489">
                  <c:v>4.590981506964031</c:v>
                </c:pt>
                <c:pt idx="2490">
                  <c:v>4.590981506964031</c:v>
                </c:pt>
                <c:pt idx="2491">
                  <c:v>4.5852427800803257</c:v>
                </c:pt>
                <c:pt idx="2492">
                  <c:v>4.5852427800803257</c:v>
                </c:pt>
                <c:pt idx="2493">
                  <c:v>4.5852427800803257</c:v>
                </c:pt>
                <c:pt idx="2494">
                  <c:v>4.5852427800803257</c:v>
                </c:pt>
                <c:pt idx="2495">
                  <c:v>4.5852427800803257</c:v>
                </c:pt>
                <c:pt idx="2496">
                  <c:v>4.5852427800803257</c:v>
                </c:pt>
                <c:pt idx="2497">
                  <c:v>4.5852427800803257</c:v>
                </c:pt>
                <c:pt idx="2498">
                  <c:v>4.5839191947185611</c:v>
                </c:pt>
                <c:pt idx="2499">
                  <c:v>4.4747145312560379</c:v>
                </c:pt>
                <c:pt idx="2500">
                  <c:v>4.4476029838403059</c:v>
                </c:pt>
                <c:pt idx="2501">
                  <c:v>4.3919729280620325</c:v>
                </c:pt>
                <c:pt idx="2502">
                  <c:v>4.5855079171149047</c:v>
                </c:pt>
                <c:pt idx="2503">
                  <c:v>4.5855079171149047</c:v>
                </c:pt>
                <c:pt idx="2504">
                  <c:v>4.5797760322185113</c:v>
                </c:pt>
                <c:pt idx="2505">
                  <c:v>4.5488270805374196</c:v>
                </c:pt>
                <c:pt idx="2506">
                  <c:v>4.5921045876300974</c:v>
                </c:pt>
                <c:pt idx="2507">
                  <c:v>4.5921045876300974</c:v>
                </c:pt>
                <c:pt idx="2508">
                  <c:v>4.5827929355984516</c:v>
                </c:pt>
                <c:pt idx="2509">
                  <c:v>4.5537363886527569</c:v>
                </c:pt>
                <c:pt idx="2510">
                  <c:v>4.5499354863184376</c:v>
                </c:pt>
                <c:pt idx="2511">
                  <c:v>4.411692259161712</c:v>
                </c:pt>
                <c:pt idx="2512">
                  <c:v>4.2039284042697576</c:v>
                </c:pt>
                <c:pt idx="2513">
                  <c:v>4.008681738934202</c:v>
                </c:pt>
                <c:pt idx="2514">
                  <c:v>4.1772085114818767</c:v>
                </c:pt>
                <c:pt idx="2515">
                  <c:v>4.0598765458335802</c:v>
                </c:pt>
                <c:pt idx="2516">
                  <c:v>3.9816857719443459</c:v>
                </c:pt>
                <c:pt idx="2517">
                  <c:v>3.9295529039297024</c:v>
                </c:pt>
                <c:pt idx="2518">
                  <c:v>4.0723312788633548</c:v>
                </c:pt>
                <c:pt idx="2519">
                  <c:v>4.0723312788633548</c:v>
                </c:pt>
                <c:pt idx="2520">
                  <c:v>4.0547646863107252</c:v>
                </c:pt>
                <c:pt idx="2521">
                  <c:v>3.9947301447938206</c:v>
                </c:pt>
                <c:pt idx="2522">
                  <c:v>3.9410816984000476</c:v>
                </c:pt>
                <c:pt idx="2523">
                  <c:v>3.9141886202675318</c:v>
                </c:pt>
                <c:pt idx="2524">
                  <c:v>4.0479643378608774</c:v>
                </c:pt>
                <c:pt idx="2525">
                  <c:v>4.0479643378608774</c:v>
                </c:pt>
                <c:pt idx="2526">
                  <c:v>4.040167570298328</c:v>
                </c:pt>
                <c:pt idx="2527">
                  <c:v>4.0351173608354554</c:v>
                </c:pt>
                <c:pt idx="2528">
                  <c:v>4.0300734641344116</c:v>
                </c:pt>
                <c:pt idx="2529">
                  <c:v>4.0238682846650073</c:v>
                </c:pt>
                <c:pt idx="2530">
                  <c:v>4.1392375502309831</c:v>
                </c:pt>
                <c:pt idx="2531">
                  <c:v>4.1392375502309831</c:v>
                </c:pt>
                <c:pt idx="2532">
                  <c:v>4.1340635032931941</c:v>
                </c:pt>
                <c:pt idx="2533">
                  <c:v>4.1340635032931941</c:v>
                </c:pt>
                <c:pt idx="2534">
                  <c:v>4.0374322418272035</c:v>
                </c:pt>
                <c:pt idx="2535">
                  <c:v>4.0323854515249193</c:v>
                </c:pt>
                <c:pt idx="2536">
                  <c:v>4.027344969710513</c:v>
                </c:pt>
                <c:pt idx="2537">
                  <c:v>3.9455835802795018</c:v>
                </c:pt>
                <c:pt idx="2538">
                  <c:v>3.9268080985145999</c:v>
                </c:pt>
                <c:pt idx="2539">
                  <c:v>3.7856526019483039</c:v>
                </c:pt>
                <c:pt idx="2540">
                  <c:v>3.7600910789802828</c:v>
                </c:pt>
                <c:pt idx="2541">
                  <c:v>3.7600358681273467</c:v>
                </c:pt>
                <c:pt idx="2542">
                  <c:v>3.6209965811280176</c:v>
                </c:pt>
                <c:pt idx="2543">
                  <c:v>3.645990891829602</c:v>
                </c:pt>
                <c:pt idx="2544">
                  <c:v>3.7722947140635434</c:v>
                </c:pt>
                <c:pt idx="2545">
                  <c:v>3.7722947140635434</c:v>
                </c:pt>
                <c:pt idx="2546">
                  <c:v>3.7578175194316454</c:v>
                </c:pt>
                <c:pt idx="2547">
                  <c:v>3.775738704995546</c:v>
                </c:pt>
                <c:pt idx="2548">
                  <c:v>3.775738704995546</c:v>
                </c:pt>
                <c:pt idx="2549">
                  <c:v>3.7710190316143017</c:v>
                </c:pt>
                <c:pt idx="2550">
                  <c:v>3.7710190316143017</c:v>
                </c:pt>
                <c:pt idx="2551">
                  <c:v>3.7024519524565096</c:v>
                </c:pt>
                <c:pt idx="2552">
                  <c:v>3.697823887515939</c:v>
                </c:pt>
                <c:pt idx="2553">
                  <c:v>3.6932016076565444</c:v>
                </c:pt>
                <c:pt idx="2554">
                  <c:v>3.6932016076565444</c:v>
                </c:pt>
                <c:pt idx="2555">
                  <c:v>3.6932016076565444</c:v>
                </c:pt>
                <c:pt idx="2556">
                  <c:v>3.712706127245077</c:v>
                </c:pt>
                <c:pt idx="2557">
                  <c:v>3.88306082101959</c:v>
                </c:pt>
                <c:pt idx="2558">
                  <c:v>4.0467811247270644</c:v>
                </c:pt>
                <c:pt idx="2559">
                  <c:v>4.0467811247270644</c:v>
                </c:pt>
                <c:pt idx="2560">
                  <c:v>4.0417226483211559</c:v>
                </c:pt>
                <c:pt idx="2561">
                  <c:v>4.0417226483211559</c:v>
                </c:pt>
                <c:pt idx="2562">
                  <c:v>4.0550610565842167</c:v>
                </c:pt>
                <c:pt idx="2563">
                  <c:v>4.0499922302634861</c:v>
                </c:pt>
                <c:pt idx="2564">
                  <c:v>4.0202941002746613</c:v>
                </c:pt>
                <c:pt idx="2565">
                  <c:v>4.1504858464232575</c:v>
                </c:pt>
                <c:pt idx="2566">
                  <c:v>4.1643752693150642</c:v>
                </c:pt>
                <c:pt idx="2567">
                  <c:v>4.1643752693150642</c:v>
                </c:pt>
                <c:pt idx="2568">
                  <c:v>4.6573289963759654</c:v>
                </c:pt>
                <c:pt idx="2569">
                  <c:v>4.6515073351304954</c:v>
                </c:pt>
                <c:pt idx="2570">
                  <c:v>4.6456929509615827</c:v>
                </c:pt>
                <c:pt idx="2571">
                  <c:v>4.6456929509615827</c:v>
                </c:pt>
                <c:pt idx="2572">
                  <c:v>4.6456929509615827</c:v>
                </c:pt>
                <c:pt idx="2573">
                  <c:v>4.6456929509615827</c:v>
                </c:pt>
                <c:pt idx="2574">
                  <c:v>4.6456929509615827</c:v>
                </c:pt>
                <c:pt idx="2575">
                  <c:v>4.6456929509615827</c:v>
                </c:pt>
                <c:pt idx="2576">
                  <c:v>4.6456929509615827</c:v>
                </c:pt>
                <c:pt idx="2577">
                  <c:v>4.6456929509615827</c:v>
                </c:pt>
                <c:pt idx="2578">
                  <c:v>4.6322979999908025</c:v>
                </c:pt>
                <c:pt idx="2579">
                  <c:v>4.5970780317497564</c:v>
                </c:pt>
                <c:pt idx="2580">
                  <c:v>4.3441956020074768</c:v>
                </c:pt>
                <c:pt idx="2581">
                  <c:v>4.3441357981148041</c:v>
                </c:pt>
                <c:pt idx="2582">
                  <c:v>4.2893086609367561</c:v>
                </c:pt>
                <c:pt idx="2583">
                  <c:v>4.288457358101061</c:v>
                </c:pt>
                <c:pt idx="2584">
                  <c:v>4.2771709810209959</c:v>
                </c:pt>
                <c:pt idx="2585">
                  <c:v>4.2951208234304667</c:v>
                </c:pt>
                <c:pt idx="2586">
                  <c:v>4.2951208234304667</c:v>
                </c:pt>
                <c:pt idx="2587">
                  <c:v>4.2897519224011784</c:v>
                </c:pt>
                <c:pt idx="2588">
                  <c:v>4.2897519224011784</c:v>
                </c:pt>
                <c:pt idx="2589">
                  <c:v>4.2897519224011784</c:v>
                </c:pt>
                <c:pt idx="2590">
                  <c:v>4.2816395827003753</c:v>
                </c:pt>
                <c:pt idx="2591">
                  <c:v>4.2781433848639674</c:v>
                </c:pt>
                <c:pt idx="2592">
                  <c:v>4.2710047565201581</c:v>
                </c:pt>
                <c:pt idx="2593">
                  <c:v>4.2848205784561406</c:v>
                </c:pt>
                <c:pt idx="2594">
                  <c:v>4.2848205784561406</c:v>
                </c:pt>
                <c:pt idx="2595">
                  <c:v>4.2951031303283473</c:v>
                </c:pt>
                <c:pt idx="2596">
                  <c:v>4.2897342514154371</c:v>
                </c:pt>
                <c:pt idx="2597">
                  <c:v>4.2843720836011681</c:v>
                </c:pt>
                <c:pt idx="2598">
                  <c:v>4.2827413549976514</c:v>
                </c:pt>
                <c:pt idx="2599">
                  <c:v>4.277387928303904</c:v>
                </c:pt>
                <c:pt idx="2600">
                  <c:v>4.2720411933935241</c:v>
                </c:pt>
                <c:pt idx="2601">
                  <c:v>4.2720411933935241</c:v>
                </c:pt>
                <c:pt idx="2602">
                  <c:v>4.2720411933935241</c:v>
                </c:pt>
                <c:pt idx="2603">
                  <c:v>4.2720411933935241</c:v>
                </c:pt>
                <c:pt idx="2604">
                  <c:v>4.2720411933935241</c:v>
                </c:pt>
                <c:pt idx="2605">
                  <c:v>4.2720411933935241</c:v>
                </c:pt>
                <c:pt idx="2606">
                  <c:v>4.2720411933935241</c:v>
                </c:pt>
                <c:pt idx="2607">
                  <c:v>4.2720411933935241</c:v>
                </c:pt>
                <c:pt idx="2608">
                  <c:v>4.2720411933935241</c:v>
                </c:pt>
                <c:pt idx="2609">
                  <c:v>4.2720411933935241</c:v>
                </c:pt>
                <c:pt idx="2610">
                  <c:v>4.2720411933935241</c:v>
                </c:pt>
                <c:pt idx="2611">
                  <c:v>4.2720411933935241</c:v>
                </c:pt>
                <c:pt idx="2612">
                  <c:v>4.2720411933935241</c:v>
                </c:pt>
                <c:pt idx="2613">
                  <c:v>4.2720411933935241</c:v>
                </c:pt>
                <c:pt idx="2614">
                  <c:v>4.2720411933935241</c:v>
                </c:pt>
                <c:pt idx="2615">
                  <c:v>4.2720411933935241</c:v>
                </c:pt>
                <c:pt idx="2616">
                  <c:v>4.2720411933935241</c:v>
                </c:pt>
                <c:pt idx="2617">
                  <c:v>4.2720411933935241</c:v>
                </c:pt>
                <c:pt idx="2618">
                  <c:v>4.2720411933935241</c:v>
                </c:pt>
                <c:pt idx="2619">
                  <c:v>4.2720411933935241</c:v>
                </c:pt>
                <c:pt idx="2620">
                  <c:v>4.2720411933935241</c:v>
                </c:pt>
                <c:pt idx="2621">
                  <c:v>4.2720411933935241</c:v>
                </c:pt>
                <c:pt idx="2622">
                  <c:v>4.2720411933935241</c:v>
                </c:pt>
                <c:pt idx="2623">
                  <c:v>4.2720411933935241</c:v>
                </c:pt>
                <c:pt idx="2624">
                  <c:v>4.2720411933935241</c:v>
                </c:pt>
                <c:pt idx="2625">
                  <c:v>4.2720411933935241</c:v>
                </c:pt>
                <c:pt idx="2626">
                  <c:v>4.2720411933935241</c:v>
                </c:pt>
                <c:pt idx="2627">
                  <c:v>4.2720411933935241</c:v>
                </c:pt>
                <c:pt idx="2628">
                  <c:v>4.2720411933935241</c:v>
                </c:pt>
                <c:pt idx="2629">
                  <c:v>4.2720411933935241</c:v>
                </c:pt>
                <c:pt idx="2630">
                  <c:v>4.2720411933935241</c:v>
                </c:pt>
                <c:pt idx="2631">
                  <c:v>4.2720411933935241</c:v>
                </c:pt>
                <c:pt idx="2632">
                  <c:v>4.2720411933935241</c:v>
                </c:pt>
                <c:pt idx="2633">
                  <c:v>4.2720411933935241</c:v>
                </c:pt>
                <c:pt idx="2634">
                  <c:v>4.2720411933935241</c:v>
                </c:pt>
                <c:pt idx="2635">
                  <c:v>4.2720411933935241</c:v>
                </c:pt>
                <c:pt idx="2636">
                  <c:v>4.2720411933935241</c:v>
                </c:pt>
                <c:pt idx="2637">
                  <c:v>4.2933531818484285</c:v>
                </c:pt>
                <c:pt idx="2638">
                  <c:v>4.287986490371118</c:v>
                </c:pt>
                <c:pt idx="2639">
                  <c:v>4.1586675764368994</c:v>
                </c:pt>
                <c:pt idx="2640">
                  <c:v>4.1068300699159366</c:v>
                </c:pt>
                <c:pt idx="2641">
                  <c:v>3.777117511841547</c:v>
                </c:pt>
                <c:pt idx="2642">
                  <c:v>4.1265119461649524</c:v>
                </c:pt>
                <c:pt idx="2643">
                  <c:v>4.1369512486892415</c:v>
                </c:pt>
                <c:pt idx="2644">
                  <c:v>4.1369512486892415</c:v>
                </c:pt>
                <c:pt idx="2645">
                  <c:v>4.0884205341217452</c:v>
                </c:pt>
                <c:pt idx="2646">
                  <c:v>3.8564189292750277</c:v>
                </c:pt>
                <c:pt idx="2647">
                  <c:v>4.0805371678712561</c:v>
                </c:pt>
                <c:pt idx="2648">
                  <c:v>4.3674415781253897</c:v>
                </c:pt>
                <c:pt idx="2649">
                  <c:v>4.3674415781253897</c:v>
                </c:pt>
                <c:pt idx="2650">
                  <c:v>4.346721863705147</c:v>
                </c:pt>
                <c:pt idx="2651">
                  <c:v>4.3882396194256721</c:v>
                </c:pt>
                <c:pt idx="2652">
                  <c:v>4.3882396194256721</c:v>
                </c:pt>
                <c:pt idx="2653">
                  <c:v>4.357951719853947</c:v>
                </c:pt>
                <c:pt idx="2654">
                  <c:v>4.3651917507009133</c:v>
                </c:pt>
                <c:pt idx="2655">
                  <c:v>4.3651917507009133</c:v>
                </c:pt>
                <c:pt idx="2656">
                  <c:v>4.3597352610125375</c:v>
                </c:pt>
                <c:pt idx="2657">
                  <c:v>4.3568076483800224</c:v>
                </c:pt>
                <c:pt idx="2658">
                  <c:v>4.3513616388195473</c:v>
                </c:pt>
                <c:pt idx="2659">
                  <c:v>4.3459224367710227</c:v>
                </c:pt>
                <c:pt idx="2660">
                  <c:v>4.3459224367710227</c:v>
                </c:pt>
                <c:pt idx="2661">
                  <c:v>4.3972999989553534</c:v>
                </c:pt>
                <c:pt idx="2662">
                  <c:v>4.3918033739566598</c:v>
                </c:pt>
                <c:pt idx="2663">
                  <c:v>4.3863136197392141</c:v>
                </c:pt>
                <c:pt idx="2664">
                  <c:v>4.3863136197392141</c:v>
                </c:pt>
                <c:pt idx="2665">
                  <c:v>4.3863136197392141</c:v>
                </c:pt>
                <c:pt idx="2666">
                  <c:v>4.3863136197392141</c:v>
                </c:pt>
                <c:pt idx="2667">
                  <c:v>4.3863136197392141</c:v>
                </c:pt>
                <c:pt idx="2668">
                  <c:v>4.3863136197392141</c:v>
                </c:pt>
                <c:pt idx="2669">
                  <c:v>4.3863136197392141</c:v>
                </c:pt>
                <c:pt idx="2670">
                  <c:v>4.3863136197392141</c:v>
                </c:pt>
                <c:pt idx="2671">
                  <c:v>4.3863136197392141</c:v>
                </c:pt>
                <c:pt idx="2672">
                  <c:v>4.3863136197392141</c:v>
                </c:pt>
                <c:pt idx="2673">
                  <c:v>4.3863136197392141</c:v>
                </c:pt>
                <c:pt idx="2674">
                  <c:v>4.3863136197392141</c:v>
                </c:pt>
                <c:pt idx="2675">
                  <c:v>4.3863136197392141</c:v>
                </c:pt>
                <c:pt idx="2676">
                  <c:v>4.3863136197392141</c:v>
                </c:pt>
                <c:pt idx="2677">
                  <c:v>4.3863136197392141</c:v>
                </c:pt>
                <c:pt idx="2678">
                  <c:v>4.3863136197392141</c:v>
                </c:pt>
                <c:pt idx="2679">
                  <c:v>4.3863136197392141</c:v>
                </c:pt>
                <c:pt idx="2680">
                  <c:v>4.3863136197392141</c:v>
                </c:pt>
                <c:pt idx="2681">
                  <c:v>4.3863136197392141</c:v>
                </c:pt>
                <c:pt idx="2682">
                  <c:v>4.3863136197392141</c:v>
                </c:pt>
                <c:pt idx="2683">
                  <c:v>4.3863136197392141</c:v>
                </c:pt>
                <c:pt idx="2684">
                  <c:v>4.3863136197392141</c:v>
                </c:pt>
                <c:pt idx="2685">
                  <c:v>4.3863136197392141</c:v>
                </c:pt>
                <c:pt idx="2686">
                  <c:v>4.3863136197392141</c:v>
                </c:pt>
                <c:pt idx="2687">
                  <c:v>4.3863136197392141</c:v>
                </c:pt>
                <c:pt idx="2688">
                  <c:v>4.3863136197392141</c:v>
                </c:pt>
                <c:pt idx="2689">
                  <c:v>4.3863136197392141</c:v>
                </c:pt>
                <c:pt idx="2690">
                  <c:v>4.3863136197392141</c:v>
                </c:pt>
                <c:pt idx="2691">
                  <c:v>4.3863136197392141</c:v>
                </c:pt>
                <c:pt idx="2692">
                  <c:v>4.3863136197392141</c:v>
                </c:pt>
                <c:pt idx="2693">
                  <c:v>4.3863136197392141</c:v>
                </c:pt>
                <c:pt idx="2694">
                  <c:v>4.3863136197392141</c:v>
                </c:pt>
                <c:pt idx="2695">
                  <c:v>4.3863136197392141</c:v>
                </c:pt>
                <c:pt idx="2696">
                  <c:v>4.3863136197392141</c:v>
                </c:pt>
                <c:pt idx="2697">
                  <c:v>4.3863136197392141</c:v>
                </c:pt>
                <c:pt idx="2698">
                  <c:v>4.3863136197392141</c:v>
                </c:pt>
                <c:pt idx="2699">
                  <c:v>4.3863136197392141</c:v>
                </c:pt>
                <c:pt idx="2700">
                  <c:v>4.3863136197392141</c:v>
                </c:pt>
                <c:pt idx="2701">
                  <c:v>4.3863136197392141</c:v>
                </c:pt>
                <c:pt idx="2702">
                  <c:v>4.3863136197392141</c:v>
                </c:pt>
                <c:pt idx="2703">
                  <c:v>4.3863136197392141</c:v>
                </c:pt>
                <c:pt idx="2704">
                  <c:v>4.3863136197392141</c:v>
                </c:pt>
                <c:pt idx="2705">
                  <c:v>4.3863136197392141</c:v>
                </c:pt>
                <c:pt idx="2706">
                  <c:v>4.3863136197392141</c:v>
                </c:pt>
                <c:pt idx="2707">
                  <c:v>4.3863136197392141</c:v>
                </c:pt>
                <c:pt idx="2708">
                  <c:v>4.3863136197392141</c:v>
                </c:pt>
                <c:pt idx="2709">
                  <c:v>4.3863136197392141</c:v>
                </c:pt>
                <c:pt idx="2710">
                  <c:v>4.3863136197392141</c:v>
                </c:pt>
                <c:pt idx="2711">
                  <c:v>4.3863136197392141</c:v>
                </c:pt>
                <c:pt idx="2712">
                  <c:v>4.3863136197392141</c:v>
                </c:pt>
                <c:pt idx="2713">
                  <c:v>4.3863136197392141</c:v>
                </c:pt>
                <c:pt idx="2714">
                  <c:v>4.3863136197392141</c:v>
                </c:pt>
                <c:pt idx="2715">
                  <c:v>4.3863136197392141</c:v>
                </c:pt>
                <c:pt idx="2716">
                  <c:v>4.3863136197392141</c:v>
                </c:pt>
                <c:pt idx="2717">
                  <c:v>4.3863136197392141</c:v>
                </c:pt>
                <c:pt idx="2718">
                  <c:v>4.3863136197392141</c:v>
                </c:pt>
                <c:pt idx="2719">
                  <c:v>4.3863136197392141</c:v>
                </c:pt>
                <c:pt idx="2720">
                  <c:v>4.3863136197392141</c:v>
                </c:pt>
                <c:pt idx="2721">
                  <c:v>4.3863136197392141</c:v>
                </c:pt>
                <c:pt idx="2722">
                  <c:v>4.3863136197392141</c:v>
                </c:pt>
                <c:pt idx="2723">
                  <c:v>4.3863136197392141</c:v>
                </c:pt>
                <c:pt idx="2724">
                  <c:v>4.3863136197392141</c:v>
                </c:pt>
                <c:pt idx="2725">
                  <c:v>4.3863136197392141</c:v>
                </c:pt>
                <c:pt idx="2726">
                  <c:v>4.3863136197392141</c:v>
                </c:pt>
                <c:pt idx="2727">
                  <c:v>4.3863136197392141</c:v>
                </c:pt>
                <c:pt idx="2728">
                  <c:v>4.3863136197392141</c:v>
                </c:pt>
                <c:pt idx="2729">
                  <c:v>4.3863136197392141</c:v>
                </c:pt>
                <c:pt idx="2730">
                  <c:v>4.3863136197392141</c:v>
                </c:pt>
                <c:pt idx="2731">
                  <c:v>4.3863136197392141</c:v>
                </c:pt>
                <c:pt idx="2732">
                  <c:v>4.4891984334339643</c:v>
                </c:pt>
              </c:numCache>
            </c:numRef>
          </c:val>
          <c:smooth val="0"/>
          <c:extLst xmlns:c16r2="http://schemas.microsoft.com/office/drawing/2015/06/chart">
            <c:ext xmlns:c16="http://schemas.microsoft.com/office/drawing/2014/chart" uri="{C3380CC4-5D6E-409C-BE32-E72D297353CC}">
              <c16:uniqueId val="{00000002-54B9-45AF-81D4-026908AD2AAF}"/>
            </c:ext>
          </c:extLst>
        </c:ser>
        <c:ser>
          <c:idx val="7"/>
          <c:order val="3"/>
          <c:tx>
            <c:strRef>
              <c:f>'1M'!$V$30</c:f>
              <c:strCache>
                <c:ptCount val="1"/>
                <c:pt idx="0">
                  <c:v>MR 0.4-0.5</c:v>
                </c:pt>
              </c:strCache>
            </c:strRef>
          </c:tx>
          <c:spPr>
            <a:ln>
              <a:solidFill>
                <a:srgbClr val="00B050"/>
              </a:solidFill>
            </a:ln>
          </c:spPr>
          <c:marker>
            <c:symbol val="none"/>
          </c:marker>
          <c:cat>
            <c:numRef>
              <c:f>'1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1M'!$V$31:$V$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65312313005192</c:v>
                </c:pt>
                <c:pt idx="19">
                  <c:v>102.26492183352569</c:v>
                </c:pt>
                <c:pt idx="20">
                  <c:v>102.26492183352569</c:v>
                </c:pt>
                <c:pt idx="21">
                  <c:v>102.13709068123379</c:v>
                </c:pt>
                <c:pt idx="22">
                  <c:v>102.13709068123379</c:v>
                </c:pt>
                <c:pt idx="23">
                  <c:v>102.13709068123379</c:v>
                </c:pt>
                <c:pt idx="24">
                  <c:v>102.13709068123379</c:v>
                </c:pt>
                <c:pt idx="25">
                  <c:v>102.13709068123379</c:v>
                </c:pt>
                <c:pt idx="26">
                  <c:v>102.13709068123379</c:v>
                </c:pt>
                <c:pt idx="27">
                  <c:v>102.13709068123379</c:v>
                </c:pt>
                <c:pt idx="28">
                  <c:v>102.13709068123379</c:v>
                </c:pt>
                <c:pt idx="29">
                  <c:v>102.13709068123379</c:v>
                </c:pt>
                <c:pt idx="30">
                  <c:v>102.13709068123379</c:v>
                </c:pt>
                <c:pt idx="31">
                  <c:v>102.13709068123379</c:v>
                </c:pt>
                <c:pt idx="32">
                  <c:v>102.13709068123379</c:v>
                </c:pt>
                <c:pt idx="33">
                  <c:v>102.13709068123379</c:v>
                </c:pt>
                <c:pt idx="34">
                  <c:v>102.13709068123379</c:v>
                </c:pt>
                <c:pt idx="35">
                  <c:v>102.13709068123379</c:v>
                </c:pt>
                <c:pt idx="36">
                  <c:v>102.13709068123379</c:v>
                </c:pt>
                <c:pt idx="37">
                  <c:v>102.13709068123379</c:v>
                </c:pt>
                <c:pt idx="38">
                  <c:v>102.13709068123379</c:v>
                </c:pt>
                <c:pt idx="39">
                  <c:v>102.13709068123379</c:v>
                </c:pt>
                <c:pt idx="40">
                  <c:v>102.13709068123379</c:v>
                </c:pt>
                <c:pt idx="41">
                  <c:v>102.13709068123379</c:v>
                </c:pt>
                <c:pt idx="42">
                  <c:v>102.13709068123379</c:v>
                </c:pt>
                <c:pt idx="43">
                  <c:v>102.13709068123379</c:v>
                </c:pt>
                <c:pt idx="44">
                  <c:v>102.13709068123379</c:v>
                </c:pt>
                <c:pt idx="45">
                  <c:v>102.13709068123379</c:v>
                </c:pt>
                <c:pt idx="46">
                  <c:v>102.13709068123379</c:v>
                </c:pt>
                <c:pt idx="47">
                  <c:v>102.13709068123379</c:v>
                </c:pt>
                <c:pt idx="48">
                  <c:v>102.13709068123379</c:v>
                </c:pt>
                <c:pt idx="49">
                  <c:v>102.13709068123379</c:v>
                </c:pt>
                <c:pt idx="50">
                  <c:v>102.13709068123379</c:v>
                </c:pt>
                <c:pt idx="51">
                  <c:v>103.65086535937756</c:v>
                </c:pt>
                <c:pt idx="52">
                  <c:v>103.52130177767835</c:v>
                </c:pt>
                <c:pt idx="53">
                  <c:v>103.39190015045625</c:v>
                </c:pt>
                <c:pt idx="54">
                  <c:v>103.1433756939352</c:v>
                </c:pt>
                <c:pt idx="55">
                  <c:v>103.01444647431778</c:v>
                </c:pt>
                <c:pt idx="56">
                  <c:v>102.88567841622489</c:v>
                </c:pt>
                <c:pt idx="57">
                  <c:v>102.88567841622489</c:v>
                </c:pt>
                <c:pt idx="58">
                  <c:v>100.92500318990569</c:v>
                </c:pt>
                <c:pt idx="59">
                  <c:v>100.79884693591832</c:v>
                </c:pt>
                <c:pt idx="60">
                  <c:v>100.67284837724843</c:v>
                </c:pt>
                <c:pt idx="61">
                  <c:v>100.67284837724843</c:v>
                </c:pt>
                <c:pt idx="62">
                  <c:v>100.67284837724843</c:v>
                </c:pt>
                <c:pt idx="63">
                  <c:v>100.67284837724843</c:v>
                </c:pt>
                <c:pt idx="64">
                  <c:v>100.67284837724843</c:v>
                </c:pt>
                <c:pt idx="65">
                  <c:v>100.67284837724843</c:v>
                </c:pt>
                <c:pt idx="66">
                  <c:v>100.67284837724843</c:v>
                </c:pt>
                <c:pt idx="67">
                  <c:v>100.67284837724843</c:v>
                </c:pt>
                <c:pt idx="68">
                  <c:v>100.67284837724843</c:v>
                </c:pt>
                <c:pt idx="69">
                  <c:v>100.67284837724843</c:v>
                </c:pt>
                <c:pt idx="70">
                  <c:v>100.67284837724843</c:v>
                </c:pt>
                <c:pt idx="71">
                  <c:v>100.67284837724843</c:v>
                </c:pt>
                <c:pt idx="72">
                  <c:v>100.67284837724843</c:v>
                </c:pt>
                <c:pt idx="73">
                  <c:v>100.67284837724843</c:v>
                </c:pt>
                <c:pt idx="74">
                  <c:v>100.67284837724843</c:v>
                </c:pt>
                <c:pt idx="75">
                  <c:v>100.67284837724843</c:v>
                </c:pt>
                <c:pt idx="76">
                  <c:v>100.67284837724843</c:v>
                </c:pt>
                <c:pt idx="77">
                  <c:v>100.67284837724843</c:v>
                </c:pt>
                <c:pt idx="78">
                  <c:v>100.67284837724843</c:v>
                </c:pt>
                <c:pt idx="79">
                  <c:v>100.67284837724843</c:v>
                </c:pt>
                <c:pt idx="80">
                  <c:v>100.67284837724843</c:v>
                </c:pt>
                <c:pt idx="81">
                  <c:v>100.67284837724843</c:v>
                </c:pt>
                <c:pt idx="82">
                  <c:v>100.67284837724843</c:v>
                </c:pt>
                <c:pt idx="83">
                  <c:v>100.67284837724843</c:v>
                </c:pt>
                <c:pt idx="84">
                  <c:v>100.67284837724843</c:v>
                </c:pt>
                <c:pt idx="85">
                  <c:v>100.67284837724843</c:v>
                </c:pt>
                <c:pt idx="86">
                  <c:v>100.67284837724843</c:v>
                </c:pt>
                <c:pt idx="87">
                  <c:v>100.67284837724843</c:v>
                </c:pt>
                <c:pt idx="88">
                  <c:v>100.67284837724843</c:v>
                </c:pt>
                <c:pt idx="89">
                  <c:v>100.67284837724843</c:v>
                </c:pt>
                <c:pt idx="90">
                  <c:v>100.67284837724843</c:v>
                </c:pt>
                <c:pt idx="91">
                  <c:v>100.67284837724843</c:v>
                </c:pt>
                <c:pt idx="92">
                  <c:v>100.67284837724843</c:v>
                </c:pt>
                <c:pt idx="93">
                  <c:v>100.67284837724843</c:v>
                </c:pt>
                <c:pt idx="94">
                  <c:v>100.67284837724843</c:v>
                </c:pt>
                <c:pt idx="95">
                  <c:v>100.67284837724843</c:v>
                </c:pt>
                <c:pt idx="96">
                  <c:v>100.67284837724843</c:v>
                </c:pt>
                <c:pt idx="97">
                  <c:v>100.67284837724843</c:v>
                </c:pt>
                <c:pt idx="98">
                  <c:v>100.67284837724843</c:v>
                </c:pt>
                <c:pt idx="99">
                  <c:v>100.67284837724843</c:v>
                </c:pt>
                <c:pt idx="100">
                  <c:v>100.67284837724843</c:v>
                </c:pt>
                <c:pt idx="101">
                  <c:v>100.67284837724843</c:v>
                </c:pt>
                <c:pt idx="102">
                  <c:v>100.67284837724843</c:v>
                </c:pt>
                <c:pt idx="103">
                  <c:v>100.67284837724843</c:v>
                </c:pt>
                <c:pt idx="104">
                  <c:v>100.67284837724843</c:v>
                </c:pt>
                <c:pt idx="105">
                  <c:v>100.67284837724843</c:v>
                </c:pt>
                <c:pt idx="106">
                  <c:v>100.67284837724843</c:v>
                </c:pt>
                <c:pt idx="107">
                  <c:v>100.67284837724843</c:v>
                </c:pt>
                <c:pt idx="108">
                  <c:v>100.67284837724843</c:v>
                </c:pt>
                <c:pt idx="109">
                  <c:v>100.67284837724843</c:v>
                </c:pt>
                <c:pt idx="110">
                  <c:v>100.67284837724843</c:v>
                </c:pt>
                <c:pt idx="111">
                  <c:v>101.59802002724331</c:v>
                </c:pt>
                <c:pt idx="112">
                  <c:v>101.47102250220925</c:v>
                </c:pt>
                <c:pt idx="113">
                  <c:v>102.79534438882303</c:v>
                </c:pt>
                <c:pt idx="114">
                  <c:v>102.666850208337</c:v>
                </c:pt>
                <c:pt idx="115">
                  <c:v>102.53851664557658</c:v>
                </c:pt>
                <c:pt idx="116">
                  <c:v>102.53851664557658</c:v>
                </c:pt>
                <c:pt idx="117">
                  <c:v>102.53851664557658</c:v>
                </c:pt>
                <c:pt idx="118">
                  <c:v>102.53851664557658</c:v>
                </c:pt>
                <c:pt idx="119">
                  <c:v>102.53851664557658</c:v>
                </c:pt>
                <c:pt idx="120">
                  <c:v>102.53851664557658</c:v>
                </c:pt>
                <c:pt idx="121">
                  <c:v>102.53851664557658</c:v>
                </c:pt>
                <c:pt idx="122">
                  <c:v>102.53851664557658</c:v>
                </c:pt>
                <c:pt idx="123">
                  <c:v>102.53851664557658</c:v>
                </c:pt>
                <c:pt idx="124">
                  <c:v>102.53851664557658</c:v>
                </c:pt>
                <c:pt idx="125">
                  <c:v>102.53851664557658</c:v>
                </c:pt>
                <c:pt idx="126">
                  <c:v>102.53851664557658</c:v>
                </c:pt>
                <c:pt idx="127">
                  <c:v>102.53851664557658</c:v>
                </c:pt>
                <c:pt idx="128">
                  <c:v>102.53851664557658</c:v>
                </c:pt>
                <c:pt idx="129">
                  <c:v>102.53851664557658</c:v>
                </c:pt>
                <c:pt idx="130">
                  <c:v>102.53851664557658</c:v>
                </c:pt>
                <c:pt idx="131">
                  <c:v>102.53851664557658</c:v>
                </c:pt>
                <c:pt idx="132">
                  <c:v>102.53851664557658</c:v>
                </c:pt>
                <c:pt idx="133">
                  <c:v>102.53851664557658</c:v>
                </c:pt>
                <c:pt idx="134">
                  <c:v>102.53851664557658</c:v>
                </c:pt>
                <c:pt idx="135">
                  <c:v>102.53851664557658</c:v>
                </c:pt>
                <c:pt idx="136">
                  <c:v>106.15967221543082</c:v>
                </c:pt>
                <c:pt idx="137">
                  <c:v>106.02697262516153</c:v>
                </c:pt>
                <c:pt idx="138">
                  <c:v>105.695543743542</c:v>
                </c:pt>
                <c:pt idx="139">
                  <c:v>104.53759261864825</c:v>
                </c:pt>
                <c:pt idx="140">
                  <c:v>104.53759261864825</c:v>
                </c:pt>
                <c:pt idx="141">
                  <c:v>104.40692062787494</c:v>
                </c:pt>
                <c:pt idx="142">
                  <c:v>104.40692062787494</c:v>
                </c:pt>
                <c:pt idx="143">
                  <c:v>104.40692062787494</c:v>
                </c:pt>
                <c:pt idx="144">
                  <c:v>104.40692062787494</c:v>
                </c:pt>
                <c:pt idx="145">
                  <c:v>104.40692062787494</c:v>
                </c:pt>
                <c:pt idx="146">
                  <c:v>104.40692062787494</c:v>
                </c:pt>
                <c:pt idx="147">
                  <c:v>104.40692062787494</c:v>
                </c:pt>
                <c:pt idx="148">
                  <c:v>104.40692062787494</c:v>
                </c:pt>
                <c:pt idx="149">
                  <c:v>104.40692062787494</c:v>
                </c:pt>
                <c:pt idx="150">
                  <c:v>104.40692062787494</c:v>
                </c:pt>
                <c:pt idx="151">
                  <c:v>104.40692062787494</c:v>
                </c:pt>
                <c:pt idx="152">
                  <c:v>104.40692062787494</c:v>
                </c:pt>
                <c:pt idx="153">
                  <c:v>104.40692062787494</c:v>
                </c:pt>
                <c:pt idx="154">
                  <c:v>104.40692062787494</c:v>
                </c:pt>
                <c:pt idx="155">
                  <c:v>104.40692062787494</c:v>
                </c:pt>
                <c:pt idx="156">
                  <c:v>104.40692062787494</c:v>
                </c:pt>
                <c:pt idx="157">
                  <c:v>104.40692062787494</c:v>
                </c:pt>
                <c:pt idx="158">
                  <c:v>104.40692062787494</c:v>
                </c:pt>
                <c:pt idx="159">
                  <c:v>104.40692062787494</c:v>
                </c:pt>
                <c:pt idx="160">
                  <c:v>104.40692062787494</c:v>
                </c:pt>
                <c:pt idx="161">
                  <c:v>104.40692062787494</c:v>
                </c:pt>
                <c:pt idx="162">
                  <c:v>104.40692062787494</c:v>
                </c:pt>
                <c:pt idx="163">
                  <c:v>104.40692062787494</c:v>
                </c:pt>
                <c:pt idx="164">
                  <c:v>104.40692062787494</c:v>
                </c:pt>
                <c:pt idx="165">
                  <c:v>104.40030789136688</c:v>
                </c:pt>
                <c:pt idx="166">
                  <c:v>105.00462529110101</c:v>
                </c:pt>
                <c:pt idx="167">
                  <c:v>105.00462529110101</c:v>
                </c:pt>
                <c:pt idx="168">
                  <c:v>104.87336950948713</c:v>
                </c:pt>
                <c:pt idx="169">
                  <c:v>104.87336950948713</c:v>
                </c:pt>
                <c:pt idx="170">
                  <c:v>104.87336950948713</c:v>
                </c:pt>
                <c:pt idx="171">
                  <c:v>104.87336950948713</c:v>
                </c:pt>
                <c:pt idx="172">
                  <c:v>104.87336950948713</c:v>
                </c:pt>
                <c:pt idx="173">
                  <c:v>104.87336950948713</c:v>
                </c:pt>
                <c:pt idx="174">
                  <c:v>104.87336950948713</c:v>
                </c:pt>
                <c:pt idx="175">
                  <c:v>104.87336950948713</c:v>
                </c:pt>
                <c:pt idx="176">
                  <c:v>104.87336950948713</c:v>
                </c:pt>
                <c:pt idx="177">
                  <c:v>104.87336950948713</c:v>
                </c:pt>
                <c:pt idx="178">
                  <c:v>104.87336950948713</c:v>
                </c:pt>
                <c:pt idx="179">
                  <c:v>104.87336950948713</c:v>
                </c:pt>
                <c:pt idx="180">
                  <c:v>104.87336950948713</c:v>
                </c:pt>
                <c:pt idx="181">
                  <c:v>104.87336950948713</c:v>
                </c:pt>
                <c:pt idx="182">
                  <c:v>104.87336950948713</c:v>
                </c:pt>
                <c:pt idx="183">
                  <c:v>104.87336950948713</c:v>
                </c:pt>
                <c:pt idx="184">
                  <c:v>104.87336950948713</c:v>
                </c:pt>
                <c:pt idx="185">
                  <c:v>104.87336950948713</c:v>
                </c:pt>
                <c:pt idx="186">
                  <c:v>104.87336950948713</c:v>
                </c:pt>
                <c:pt idx="187">
                  <c:v>104.87336950948713</c:v>
                </c:pt>
                <c:pt idx="188">
                  <c:v>104.87336950948713</c:v>
                </c:pt>
                <c:pt idx="189">
                  <c:v>104.87336950948713</c:v>
                </c:pt>
                <c:pt idx="190">
                  <c:v>104.87336950948713</c:v>
                </c:pt>
                <c:pt idx="191">
                  <c:v>104.87336950948713</c:v>
                </c:pt>
                <c:pt idx="192">
                  <c:v>104.87336950948713</c:v>
                </c:pt>
                <c:pt idx="193">
                  <c:v>104.87336950948713</c:v>
                </c:pt>
                <c:pt idx="194">
                  <c:v>104.87336950948713</c:v>
                </c:pt>
                <c:pt idx="195">
                  <c:v>104.87336950948713</c:v>
                </c:pt>
                <c:pt idx="196">
                  <c:v>106.72651995378992</c:v>
                </c:pt>
                <c:pt idx="197">
                  <c:v>106.59311180384768</c:v>
                </c:pt>
                <c:pt idx="198">
                  <c:v>106.45987041409288</c:v>
                </c:pt>
                <c:pt idx="199">
                  <c:v>106.45987041409288</c:v>
                </c:pt>
                <c:pt idx="200">
                  <c:v>106.45987041409288</c:v>
                </c:pt>
                <c:pt idx="201">
                  <c:v>106.45987041409288</c:v>
                </c:pt>
                <c:pt idx="202">
                  <c:v>106.45987041409288</c:v>
                </c:pt>
                <c:pt idx="203">
                  <c:v>106.45987041409288</c:v>
                </c:pt>
                <c:pt idx="204">
                  <c:v>106.45987041409288</c:v>
                </c:pt>
                <c:pt idx="205">
                  <c:v>106.45987041409288</c:v>
                </c:pt>
                <c:pt idx="206">
                  <c:v>106.45987041409288</c:v>
                </c:pt>
                <c:pt idx="207">
                  <c:v>106.45987041409288</c:v>
                </c:pt>
                <c:pt idx="208">
                  <c:v>106.45987041409288</c:v>
                </c:pt>
                <c:pt idx="209">
                  <c:v>106.45987041409288</c:v>
                </c:pt>
                <c:pt idx="210">
                  <c:v>106.45987041409288</c:v>
                </c:pt>
                <c:pt idx="211">
                  <c:v>106.45987041409288</c:v>
                </c:pt>
                <c:pt idx="212">
                  <c:v>106.45987041409288</c:v>
                </c:pt>
                <c:pt idx="213">
                  <c:v>106.45987041409288</c:v>
                </c:pt>
                <c:pt idx="214">
                  <c:v>106.45987041409288</c:v>
                </c:pt>
                <c:pt idx="215">
                  <c:v>106.45987041409288</c:v>
                </c:pt>
                <c:pt idx="216">
                  <c:v>106.45987041409288</c:v>
                </c:pt>
                <c:pt idx="217">
                  <c:v>106.45987041409288</c:v>
                </c:pt>
                <c:pt idx="218">
                  <c:v>106.45987041409288</c:v>
                </c:pt>
                <c:pt idx="219">
                  <c:v>106.45987041409288</c:v>
                </c:pt>
                <c:pt idx="220">
                  <c:v>106.45987041409288</c:v>
                </c:pt>
                <c:pt idx="221">
                  <c:v>106.45987041409288</c:v>
                </c:pt>
                <c:pt idx="222">
                  <c:v>106.45987041409288</c:v>
                </c:pt>
                <c:pt idx="223">
                  <c:v>106.45987041409288</c:v>
                </c:pt>
                <c:pt idx="224">
                  <c:v>106.45987041409288</c:v>
                </c:pt>
                <c:pt idx="225">
                  <c:v>107.68530908972957</c:v>
                </c:pt>
                <c:pt idx="226">
                  <c:v>107.55070245336741</c:v>
                </c:pt>
                <c:pt idx="227">
                  <c:v>108.29543613896892</c:v>
                </c:pt>
                <c:pt idx="228">
                  <c:v>108.16006684379522</c:v>
                </c:pt>
                <c:pt idx="229">
                  <c:v>108.02486676024049</c:v>
                </c:pt>
                <c:pt idx="230">
                  <c:v>108.02486676024049</c:v>
                </c:pt>
                <c:pt idx="231">
                  <c:v>108.02486676024049</c:v>
                </c:pt>
                <c:pt idx="232">
                  <c:v>108.02486676024049</c:v>
                </c:pt>
                <c:pt idx="233">
                  <c:v>108.02486676024049</c:v>
                </c:pt>
                <c:pt idx="234">
                  <c:v>108.02486676024049</c:v>
                </c:pt>
                <c:pt idx="235">
                  <c:v>108.02486676024049</c:v>
                </c:pt>
                <c:pt idx="236">
                  <c:v>108.02486676024049</c:v>
                </c:pt>
                <c:pt idx="237">
                  <c:v>108.02486676024049</c:v>
                </c:pt>
                <c:pt idx="238">
                  <c:v>108.02486676024049</c:v>
                </c:pt>
                <c:pt idx="239">
                  <c:v>108.02486676024049</c:v>
                </c:pt>
                <c:pt idx="240">
                  <c:v>108.02486676024049</c:v>
                </c:pt>
                <c:pt idx="241">
                  <c:v>108.02486676024049</c:v>
                </c:pt>
                <c:pt idx="242">
                  <c:v>108.02486676024049</c:v>
                </c:pt>
                <c:pt idx="243">
                  <c:v>108.02486676024049</c:v>
                </c:pt>
                <c:pt idx="244">
                  <c:v>108.02486676024049</c:v>
                </c:pt>
                <c:pt idx="245">
                  <c:v>108.02486676024049</c:v>
                </c:pt>
                <c:pt idx="246">
                  <c:v>108.02486676024049</c:v>
                </c:pt>
                <c:pt idx="247">
                  <c:v>108.02486676024049</c:v>
                </c:pt>
                <c:pt idx="248">
                  <c:v>108.02486676024049</c:v>
                </c:pt>
                <c:pt idx="249">
                  <c:v>108.02486676024049</c:v>
                </c:pt>
                <c:pt idx="250">
                  <c:v>108.02486676024049</c:v>
                </c:pt>
                <c:pt idx="251">
                  <c:v>108.02486676024049</c:v>
                </c:pt>
                <c:pt idx="252">
                  <c:v>108.02486676024049</c:v>
                </c:pt>
                <c:pt idx="253">
                  <c:v>108.02486676024049</c:v>
                </c:pt>
                <c:pt idx="254">
                  <c:v>108.02486676024049</c:v>
                </c:pt>
                <c:pt idx="255">
                  <c:v>108.02486676024049</c:v>
                </c:pt>
                <c:pt idx="256">
                  <c:v>108.02486676024049</c:v>
                </c:pt>
                <c:pt idx="257">
                  <c:v>107.56072576485829</c:v>
                </c:pt>
                <c:pt idx="258">
                  <c:v>107.42533880627724</c:v>
                </c:pt>
                <c:pt idx="259">
                  <c:v>105.9747943894931</c:v>
                </c:pt>
                <c:pt idx="260">
                  <c:v>105.9747943894931</c:v>
                </c:pt>
                <c:pt idx="261">
                  <c:v>105.84232589650624</c:v>
                </c:pt>
                <c:pt idx="262">
                  <c:v>105.84232589650624</c:v>
                </c:pt>
                <c:pt idx="263">
                  <c:v>105.84232589650624</c:v>
                </c:pt>
                <c:pt idx="264">
                  <c:v>105.84232589650624</c:v>
                </c:pt>
                <c:pt idx="265">
                  <c:v>105.84232589650624</c:v>
                </c:pt>
                <c:pt idx="266">
                  <c:v>105.84232589650624</c:v>
                </c:pt>
                <c:pt idx="267">
                  <c:v>105.84232589650624</c:v>
                </c:pt>
                <c:pt idx="268">
                  <c:v>105.84232589650624</c:v>
                </c:pt>
                <c:pt idx="269">
                  <c:v>105.84232589650624</c:v>
                </c:pt>
                <c:pt idx="270">
                  <c:v>105.84232589650624</c:v>
                </c:pt>
                <c:pt idx="271">
                  <c:v>105.84232589650624</c:v>
                </c:pt>
                <c:pt idx="272">
                  <c:v>105.84232589650624</c:v>
                </c:pt>
                <c:pt idx="273">
                  <c:v>105.84232589650624</c:v>
                </c:pt>
                <c:pt idx="274">
                  <c:v>105.84232589650624</c:v>
                </c:pt>
                <c:pt idx="275">
                  <c:v>105.84232589650624</c:v>
                </c:pt>
                <c:pt idx="276">
                  <c:v>105.84232589650624</c:v>
                </c:pt>
                <c:pt idx="277">
                  <c:v>105.84232589650624</c:v>
                </c:pt>
                <c:pt idx="278">
                  <c:v>105.84232589650624</c:v>
                </c:pt>
                <c:pt idx="279">
                  <c:v>105.84232589650624</c:v>
                </c:pt>
                <c:pt idx="280">
                  <c:v>105.84232589650624</c:v>
                </c:pt>
                <c:pt idx="281">
                  <c:v>105.84232589650624</c:v>
                </c:pt>
                <c:pt idx="282">
                  <c:v>105.84232589650624</c:v>
                </c:pt>
                <c:pt idx="283">
                  <c:v>105.84232589650624</c:v>
                </c:pt>
                <c:pt idx="284">
                  <c:v>105.84232589650624</c:v>
                </c:pt>
                <c:pt idx="285">
                  <c:v>105.84232589650624</c:v>
                </c:pt>
                <c:pt idx="286">
                  <c:v>105.84232589650624</c:v>
                </c:pt>
                <c:pt idx="287">
                  <c:v>105.84232589650624</c:v>
                </c:pt>
                <c:pt idx="288">
                  <c:v>105.84232589650624</c:v>
                </c:pt>
                <c:pt idx="289">
                  <c:v>105.84232589650624</c:v>
                </c:pt>
                <c:pt idx="290">
                  <c:v>105.84232589650624</c:v>
                </c:pt>
                <c:pt idx="291">
                  <c:v>105.84232589650624</c:v>
                </c:pt>
                <c:pt idx="292">
                  <c:v>105.84232589650624</c:v>
                </c:pt>
                <c:pt idx="293">
                  <c:v>105.84232589650624</c:v>
                </c:pt>
                <c:pt idx="294">
                  <c:v>105.84232589650624</c:v>
                </c:pt>
                <c:pt idx="295">
                  <c:v>105.84232589650624</c:v>
                </c:pt>
                <c:pt idx="296">
                  <c:v>105.84232589650624</c:v>
                </c:pt>
                <c:pt idx="297">
                  <c:v>105.84232589650624</c:v>
                </c:pt>
                <c:pt idx="298">
                  <c:v>105.84232589650624</c:v>
                </c:pt>
                <c:pt idx="299">
                  <c:v>105.84232589650624</c:v>
                </c:pt>
                <c:pt idx="300">
                  <c:v>105.84232589650624</c:v>
                </c:pt>
                <c:pt idx="301">
                  <c:v>105.84232589650624</c:v>
                </c:pt>
                <c:pt idx="302">
                  <c:v>105.84232589650624</c:v>
                </c:pt>
                <c:pt idx="303">
                  <c:v>105.84232589650624</c:v>
                </c:pt>
                <c:pt idx="304">
                  <c:v>105.84232589650624</c:v>
                </c:pt>
                <c:pt idx="305">
                  <c:v>105.84232589650624</c:v>
                </c:pt>
                <c:pt idx="306">
                  <c:v>105.84232589650624</c:v>
                </c:pt>
                <c:pt idx="307">
                  <c:v>105.84232589650624</c:v>
                </c:pt>
                <c:pt idx="308">
                  <c:v>105.84232589650624</c:v>
                </c:pt>
                <c:pt idx="309">
                  <c:v>105.84232589650624</c:v>
                </c:pt>
                <c:pt idx="310">
                  <c:v>105.84232589650624</c:v>
                </c:pt>
                <c:pt idx="311">
                  <c:v>105.84232589650624</c:v>
                </c:pt>
                <c:pt idx="312">
                  <c:v>105.84232589650624</c:v>
                </c:pt>
                <c:pt idx="313">
                  <c:v>105.84232589650624</c:v>
                </c:pt>
                <c:pt idx="314">
                  <c:v>105.84232589650624</c:v>
                </c:pt>
                <c:pt idx="315">
                  <c:v>105.84232589650624</c:v>
                </c:pt>
                <c:pt idx="316">
                  <c:v>105.84232589650624</c:v>
                </c:pt>
                <c:pt idx="317">
                  <c:v>105.84232589650624</c:v>
                </c:pt>
                <c:pt idx="318">
                  <c:v>102.45642245612557</c:v>
                </c:pt>
                <c:pt idx="319">
                  <c:v>102.32835192805541</c:v>
                </c:pt>
                <c:pt idx="320">
                  <c:v>102.20044148814534</c:v>
                </c:pt>
                <c:pt idx="321">
                  <c:v>102.20044148814534</c:v>
                </c:pt>
                <c:pt idx="322">
                  <c:v>102.20044148814534</c:v>
                </c:pt>
                <c:pt idx="323">
                  <c:v>102.20044148814534</c:v>
                </c:pt>
                <c:pt idx="324">
                  <c:v>99.210392683720755</c:v>
                </c:pt>
                <c:pt idx="325">
                  <c:v>99.086379692866103</c:v>
                </c:pt>
                <c:pt idx="326">
                  <c:v>98.962521718250017</c:v>
                </c:pt>
                <c:pt idx="327">
                  <c:v>98.962521718250017</c:v>
                </c:pt>
                <c:pt idx="328">
                  <c:v>98.647290633821243</c:v>
                </c:pt>
                <c:pt idx="329">
                  <c:v>98.523981520528963</c:v>
                </c:pt>
                <c:pt idx="330">
                  <c:v>98.956718140554329</c:v>
                </c:pt>
                <c:pt idx="331">
                  <c:v>98.833022242878641</c:v>
                </c:pt>
                <c:pt idx="332">
                  <c:v>98.684670925530753</c:v>
                </c:pt>
                <c:pt idx="333">
                  <c:v>98.703108801069078</c:v>
                </c:pt>
                <c:pt idx="334">
                  <c:v>98.703108801069078</c:v>
                </c:pt>
                <c:pt idx="335">
                  <c:v>98.579729915067745</c:v>
                </c:pt>
                <c:pt idx="336">
                  <c:v>98.579729915067745</c:v>
                </c:pt>
                <c:pt idx="337">
                  <c:v>98.579729915067745</c:v>
                </c:pt>
                <c:pt idx="338">
                  <c:v>98.579729915067745</c:v>
                </c:pt>
                <c:pt idx="339">
                  <c:v>98.579729915067745</c:v>
                </c:pt>
                <c:pt idx="340">
                  <c:v>98.579729915067745</c:v>
                </c:pt>
                <c:pt idx="341">
                  <c:v>98.579729915067745</c:v>
                </c:pt>
                <c:pt idx="342">
                  <c:v>98.579729915067745</c:v>
                </c:pt>
                <c:pt idx="343">
                  <c:v>98.579729915067745</c:v>
                </c:pt>
                <c:pt idx="344">
                  <c:v>98.579729915067745</c:v>
                </c:pt>
                <c:pt idx="345">
                  <c:v>98.579729915067745</c:v>
                </c:pt>
                <c:pt idx="346">
                  <c:v>98.579729915067745</c:v>
                </c:pt>
                <c:pt idx="347">
                  <c:v>98.579729915067745</c:v>
                </c:pt>
                <c:pt idx="348">
                  <c:v>98.579729915067745</c:v>
                </c:pt>
                <c:pt idx="349">
                  <c:v>98.579729915067745</c:v>
                </c:pt>
                <c:pt idx="350">
                  <c:v>98.579729915067745</c:v>
                </c:pt>
                <c:pt idx="351">
                  <c:v>98.579729915067745</c:v>
                </c:pt>
                <c:pt idx="352">
                  <c:v>98.579729915067745</c:v>
                </c:pt>
                <c:pt idx="353">
                  <c:v>99.077291628504724</c:v>
                </c:pt>
                <c:pt idx="354">
                  <c:v>98.953445013969102</c:v>
                </c:pt>
                <c:pt idx="355">
                  <c:v>98.829753207701643</c:v>
                </c:pt>
                <c:pt idx="356">
                  <c:v>98.829753207701643</c:v>
                </c:pt>
                <c:pt idx="357">
                  <c:v>98.829753207701643</c:v>
                </c:pt>
                <c:pt idx="358">
                  <c:v>98.829753207701643</c:v>
                </c:pt>
                <c:pt idx="359">
                  <c:v>98.829753207701643</c:v>
                </c:pt>
                <c:pt idx="360">
                  <c:v>98.829753207701643</c:v>
                </c:pt>
                <c:pt idx="361">
                  <c:v>98.829753207701643</c:v>
                </c:pt>
                <c:pt idx="362">
                  <c:v>98.829753207701643</c:v>
                </c:pt>
                <c:pt idx="363">
                  <c:v>98.829753207701643</c:v>
                </c:pt>
                <c:pt idx="364">
                  <c:v>98.829753207701643</c:v>
                </c:pt>
                <c:pt idx="365">
                  <c:v>98.829753207701643</c:v>
                </c:pt>
                <c:pt idx="366">
                  <c:v>98.829753207701643</c:v>
                </c:pt>
                <c:pt idx="367">
                  <c:v>98.829753207701643</c:v>
                </c:pt>
                <c:pt idx="368">
                  <c:v>98.829753207701643</c:v>
                </c:pt>
                <c:pt idx="369">
                  <c:v>98.829753207701643</c:v>
                </c:pt>
                <c:pt idx="370">
                  <c:v>98.829753207701643</c:v>
                </c:pt>
                <c:pt idx="371">
                  <c:v>98.829753207701643</c:v>
                </c:pt>
                <c:pt idx="372">
                  <c:v>98.829753207701643</c:v>
                </c:pt>
                <c:pt idx="373">
                  <c:v>98.829753207701643</c:v>
                </c:pt>
                <c:pt idx="374">
                  <c:v>98.829753207701643</c:v>
                </c:pt>
                <c:pt idx="375">
                  <c:v>98.829753207701643</c:v>
                </c:pt>
                <c:pt idx="376">
                  <c:v>98.829753207701643</c:v>
                </c:pt>
                <c:pt idx="377">
                  <c:v>98.829753207701643</c:v>
                </c:pt>
                <c:pt idx="378">
                  <c:v>98.829753207701643</c:v>
                </c:pt>
                <c:pt idx="379">
                  <c:v>98.829753207701643</c:v>
                </c:pt>
                <c:pt idx="380">
                  <c:v>98.829753207701643</c:v>
                </c:pt>
                <c:pt idx="381">
                  <c:v>98.829753207701643</c:v>
                </c:pt>
                <c:pt idx="382">
                  <c:v>98.829753207701643</c:v>
                </c:pt>
                <c:pt idx="383">
                  <c:v>98.829753207701643</c:v>
                </c:pt>
                <c:pt idx="384">
                  <c:v>98.829753207701643</c:v>
                </c:pt>
                <c:pt idx="385">
                  <c:v>98.829753207701643</c:v>
                </c:pt>
                <c:pt idx="386">
                  <c:v>98.829753207701643</c:v>
                </c:pt>
                <c:pt idx="387">
                  <c:v>98.829753207701643</c:v>
                </c:pt>
                <c:pt idx="388">
                  <c:v>98.829753207701643</c:v>
                </c:pt>
                <c:pt idx="389">
                  <c:v>98.829753207701643</c:v>
                </c:pt>
                <c:pt idx="390">
                  <c:v>98.829753207701643</c:v>
                </c:pt>
                <c:pt idx="391">
                  <c:v>98.829753207701643</c:v>
                </c:pt>
                <c:pt idx="392">
                  <c:v>98.829753207701643</c:v>
                </c:pt>
                <c:pt idx="393">
                  <c:v>98.829753207701643</c:v>
                </c:pt>
                <c:pt idx="394">
                  <c:v>98.829753207701643</c:v>
                </c:pt>
                <c:pt idx="395">
                  <c:v>98.829753207701643</c:v>
                </c:pt>
                <c:pt idx="396">
                  <c:v>98.829753207701643</c:v>
                </c:pt>
                <c:pt idx="397">
                  <c:v>98.829753207701643</c:v>
                </c:pt>
                <c:pt idx="398">
                  <c:v>98.829753207701643</c:v>
                </c:pt>
                <c:pt idx="399">
                  <c:v>98.829753207701643</c:v>
                </c:pt>
                <c:pt idx="400">
                  <c:v>98.829753207701643</c:v>
                </c:pt>
                <c:pt idx="401">
                  <c:v>98.829753207701643</c:v>
                </c:pt>
                <c:pt idx="402">
                  <c:v>98.829753207701643</c:v>
                </c:pt>
                <c:pt idx="403">
                  <c:v>98.829753207701643</c:v>
                </c:pt>
                <c:pt idx="404">
                  <c:v>98.829753207701643</c:v>
                </c:pt>
                <c:pt idx="405">
                  <c:v>98.829753207701643</c:v>
                </c:pt>
                <c:pt idx="406">
                  <c:v>98.829753207701643</c:v>
                </c:pt>
                <c:pt idx="407">
                  <c:v>98.829753207701643</c:v>
                </c:pt>
                <c:pt idx="408">
                  <c:v>98.829753207701643</c:v>
                </c:pt>
                <c:pt idx="409">
                  <c:v>98.829753207701643</c:v>
                </c:pt>
                <c:pt idx="410">
                  <c:v>98.829753207701643</c:v>
                </c:pt>
                <c:pt idx="411">
                  <c:v>98.829753207701643</c:v>
                </c:pt>
                <c:pt idx="412">
                  <c:v>98.829753207701643</c:v>
                </c:pt>
                <c:pt idx="413">
                  <c:v>98.829753207701643</c:v>
                </c:pt>
                <c:pt idx="414">
                  <c:v>98.829753207701643</c:v>
                </c:pt>
                <c:pt idx="415">
                  <c:v>98.829753207701643</c:v>
                </c:pt>
                <c:pt idx="416">
                  <c:v>98.829753207701643</c:v>
                </c:pt>
                <c:pt idx="417">
                  <c:v>98.829753207701643</c:v>
                </c:pt>
                <c:pt idx="418">
                  <c:v>98.829753207701643</c:v>
                </c:pt>
                <c:pt idx="419">
                  <c:v>98.829753207701643</c:v>
                </c:pt>
                <c:pt idx="420">
                  <c:v>98.829753207701643</c:v>
                </c:pt>
                <c:pt idx="421">
                  <c:v>98.829753207701643</c:v>
                </c:pt>
                <c:pt idx="422">
                  <c:v>98.829753207701643</c:v>
                </c:pt>
                <c:pt idx="423">
                  <c:v>98.829753207701643</c:v>
                </c:pt>
                <c:pt idx="424">
                  <c:v>98.829753207701643</c:v>
                </c:pt>
                <c:pt idx="425">
                  <c:v>98.829753207701643</c:v>
                </c:pt>
                <c:pt idx="426">
                  <c:v>98.829753207701643</c:v>
                </c:pt>
                <c:pt idx="427">
                  <c:v>98.829753207701643</c:v>
                </c:pt>
                <c:pt idx="428">
                  <c:v>98.829753207701643</c:v>
                </c:pt>
                <c:pt idx="429">
                  <c:v>98.829753207701643</c:v>
                </c:pt>
                <c:pt idx="430">
                  <c:v>98.829753207701643</c:v>
                </c:pt>
                <c:pt idx="431">
                  <c:v>98.829753207701643</c:v>
                </c:pt>
                <c:pt idx="432">
                  <c:v>98.829753207701643</c:v>
                </c:pt>
                <c:pt idx="433">
                  <c:v>98.829753207701643</c:v>
                </c:pt>
                <c:pt idx="434">
                  <c:v>98.829753207701643</c:v>
                </c:pt>
                <c:pt idx="435">
                  <c:v>98.829753207701643</c:v>
                </c:pt>
                <c:pt idx="436">
                  <c:v>98.829753207701643</c:v>
                </c:pt>
                <c:pt idx="437">
                  <c:v>98.829753207701643</c:v>
                </c:pt>
                <c:pt idx="438">
                  <c:v>98.829753207701643</c:v>
                </c:pt>
                <c:pt idx="439">
                  <c:v>98.829753207701643</c:v>
                </c:pt>
                <c:pt idx="440">
                  <c:v>98.829753207701643</c:v>
                </c:pt>
                <c:pt idx="441">
                  <c:v>98.829753207701643</c:v>
                </c:pt>
                <c:pt idx="442">
                  <c:v>98.829753207701643</c:v>
                </c:pt>
                <c:pt idx="443">
                  <c:v>98.829753207701643</c:v>
                </c:pt>
                <c:pt idx="444">
                  <c:v>98.829753207701643</c:v>
                </c:pt>
                <c:pt idx="445">
                  <c:v>98.829753207701643</c:v>
                </c:pt>
                <c:pt idx="446">
                  <c:v>98.829753207701643</c:v>
                </c:pt>
                <c:pt idx="447">
                  <c:v>98.829753207701643</c:v>
                </c:pt>
                <c:pt idx="448">
                  <c:v>98.829753207701643</c:v>
                </c:pt>
                <c:pt idx="449">
                  <c:v>98.829753207701643</c:v>
                </c:pt>
                <c:pt idx="450">
                  <c:v>98.829753207701643</c:v>
                </c:pt>
                <c:pt idx="451">
                  <c:v>98.829753207701643</c:v>
                </c:pt>
                <c:pt idx="452">
                  <c:v>98.829753207701643</c:v>
                </c:pt>
                <c:pt idx="453">
                  <c:v>98.829753207701643</c:v>
                </c:pt>
                <c:pt idx="454">
                  <c:v>98.829753207701643</c:v>
                </c:pt>
                <c:pt idx="455">
                  <c:v>98.829753207701643</c:v>
                </c:pt>
                <c:pt idx="456">
                  <c:v>98.829753207701643</c:v>
                </c:pt>
                <c:pt idx="457">
                  <c:v>98.829753207701643</c:v>
                </c:pt>
                <c:pt idx="458">
                  <c:v>98.829753207701643</c:v>
                </c:pt>
                <c:pt idx="459">
                  <c:v>98.829753207701643</c:v>
                </c:pt>
                <c:pt idx="460">
                  <c:v>98.829753207701643</c:v>
                </c:pt>
                <c:pt idx="461">
                  <c:v>98.829753207701643</c:v>
                </c:pt>
                <c:pt idx="462">
                  <c:v>98.829753207701643</c:v>
                </c:pt>
                <c:pt idx="463">
                  <c:v>98.829753207701643</c:v>
                </c:pt>
                <c:pt idx="464">
                  <c:v>98.829753207701643</c:v>
                </c:pt>
                <c:pt idx="465">
                  <c:v>98.829753207701643</c:v>
                </c:pt>
                <c:pt idx="466">
                  <c:v>98.829753207701643</c:v>
                </c:pt>
                <c:pt idx="467">
                  <c:v>98.829753207701643</c:v>
                </c:pt>
                <c:pt idx="468">
                  <c:v>98.829753207701643</c:v>
                </c:pt>
                <c:pt idx="469">
                  <c:v>98.829753207701643</c:v>
                </c:pt>
                <c:pt idx="470">
                  <c:v>98.829753207701643</c:v>
                </c:pt>
                <c:pt idx="471">
                  <c:v>98.829753207701643</c:v>
                </c:pt>
                <c:pt idx="472">
                  <c:v>98.829753207701643</c:v>
                </c:pt>
                <c:pt idx="473">
                  <c:v>98.829753207701643</c:v>
                </c:pt>
                <c:pt idx="474">
                  <c:v>98.829753207701643</c:v>
                </c:pt>
                <c:pt idx="475">
                  <c:v>98.829753207701643</c:v>
                </c:pt>
                <c:pt idx="476">
                  <c:v>98.829753207701643</c:v>
                </c:pt>
                <c:pt idx="477">
                  <c:v>98.829753207701643</c:v>
                </c:pt>
                <c:pt idx="478">
                  <c:v>98.829753207701643</c:v>
                </c:pt>
                <c:pt idx="479">
                  <c:v>98.829753207701643</c:v>
                </c:pt>
                <c:pt idx="480">
                  <c:v>98.829753207701643</c:v>
                </c:pt>
                <c:pt idx="481">
                  <c:v>98.829753207701643</c:v>
                </c:pt>
                <c:pt idx="482">
                  <c:v>98.829753207701643</c:v>
                </c:pt>
                <c:pt idx="483">
                  <c:v>98.829753207701643</c:v>
                </c:pt>
                <c:pt idx="484">
                  <c:v>98.829753207701643</c:v>
                </c:pt>
                <c:pt idx="485">
                  <c:v>98.829753207701643</c:v>
                </c:pt>
                <c:pt idx="486">
                  <c:v>98.829753207701643</c:v>
                </c:pt>
                <c:pt idx="487">
                  <c:v>98.829753207701643</c:v>
                </c:pt>
                <c:pt idx="488">
                  <c:v>98.829753207701643</c:v>
                </c:pt>
                <c:pt idx="489">
                  <c:v>98.829753207701643</c:v>
                </c:pt>
                <c:pt idx="490">
                  <c:v>100.34340214631112</c:v>
                </c:pt>
                <c:pt idx="491">
                  <c:v>100.21797289362823</c:v>
                </c:pt>
                <c:pt idx="492">
                  <c:v>100.09270042751119</c:v>
                </c:pt>
                <c:pt idx="493">
                  <c:v>100.09270042751119</c:v>
                </c:pt>
                <c:pt idx="494">
                  <c:v>100.09270042751119</c:v>
                </c:pt>
                <c:pt idx="495">
                  <c:v>100.09270042751119</c:v>
                </c:pt>
                <c:pt idx="496">
                  <c:v>100.09270042751119</c:v>
                </c:pt>
                <c:pt idx="497">
                  <c:v>100.09270042751119</c:v>
                </c:pt>
                <c:pt idx="498">
                  <c:v>100.09270042751119</c:v>
                </c:pt>
                <c:pt idx="499">
                  <c:v>100.09270042751119</c:v>
                </c:pt>
                <c:pt idx="500">
                  <c:v>100.09270042751119</c:v>
                </c:pt>
                <c:pt idx="501">
                  <c:v>100.09270042751119</c:v>
                </c:pt>
                <c:pt idx="502">
                  <c:v>100.09270042751119</c:v>
                </c:pt>
                <c:pt idx="503">
                  <c:v>100.09270042751119</c:v>
                </c:pt>
                <c:pt idx="504">
                  <c:v>100.09270042751119</c:v>
                </c:pt>
                <c:pt idx="505">
                  <c:v>100.09270042751119</c:v>
                </c:pt>
                <c:pt idx="506">
                  <c:v>100.09270042751119</c:v>
                </c:pt>
                <c:pt idx="507">
                  <c:v>100.09270042751119</c:v>
                </c:pt>
                <c:pt idx="508">
                  <c:v>100.09270042751119</c:v>
                </c:pt>
                <c:pt idx="509">
                  <c:v>100.09270042751119</c:v>
                </c:pt>
                <c:pt idx="510">
                  <c:v>100.09270042751119</c:v>
                </c:pt>
                <c:pt idx="511">
                  <c:v>100.09270042751119</c:v>
                </c:pt>
                <c:pt idx="512">
                  <c:v>100.09270042751119</c:v>
                </c:pt>
                <c:pt idx="513">
                  <c:v>100.10389099127309</c:v>
                </c:pt>
                <c:pt idx="514">
                  <c:v>101.357804457326</c:v>
                </c:pt>
                <c:pt idx="515">
                  <c:v>101.357804457326</c:v>
                </c:pt>
                <c:pt idx="516">
                  <c:v>101.23110720175434</c:v>
                </c:pt>
                <c:pt idx="517">
                  <c:v>101.23110720175434</c:v>
                </c:pt>
                <c:pt idx="518">
                  <c:v>101.23110720175434</c:v>
                </c:pt>
                <c:pt idx="519">
                  <c:v>101.23110720175434</c:v>
                </c:pt>
                <c:pt idx="520">
                  <c:v>101.23110720175434</c:v>
                </c:pt>
                <c:pt idx="521">
                  <c:v>101.23110720175434</c:v>
                </c:pt>
                <c:pt idx="522">
                  <c:v>101.23110720175434</c:v>
                </c:pt>
                <c:pt idx="523">
                  <c:v>101.23110720175434</c:v>
                </c:pt>
                <c:pt idx="524">
                  <c:v>101.23110720175434</c:v>
                </c:pt>
                <c:pt idx="525">
                  <c:v>101.23110720175434</c:v>
                </c:pt>
                <c:pt idx="526">
                  <c:v>101.23110720175434</c:v>
                </c:pt>
                <c:pt idx="527">
                  <c:v>102.17780735238827</c:v>
                </c:pt>
                <c:pt idx="528">
                  <c:v>102.05008509319779</c:v>
                </c:pt>
                <c:pt idx="529">
                  <c:v>101.9225224868313</c:v>
                </c:pt>
                <c:pt idx="530">
                  <c:v>101.9225224868313</c:v>
                </c:pt>
                <c:pt idx="531">
                  <c:v>101.9225224868313</c:v>
                </c:pt>
                <c:pt idx="532">
                  <c:v>101.9225224868313</c:v>
                </c:pt>
                <c:pt idx="533">
                  <c:v>101.9225224868313</c:v>
                </c:pt>
                <c:pt idx="534">
                  <c:v>101.9225224868313</c:v>
                </c:pt>
                <c:pt idx="535">
                  <c:v>101.9225224868313</c:v>
                </c:pt>
                <c:pt idx="536">
                  <c:v>101.9225224868313</c:v>
                </c:pt>
                <c:pt idx="537">
                  <c:v>101.9225224868313</c:v>
                </c:pt>
                <c:pt idx="538">
                  <c:v>101.9225224868313</c:v>
                </c:pt>
                <c:pt idx="539">
                  <c:v>101.9225224868313</c:v>
                </c:pt>
                <c:pt idx="540">
                  <c:v>101.9225224868313</c:v>
                </c:pt>
                <c:pt idx="541">
                  <c:v>101.9225224868313</c:v>
                </c:pt>
                <c:pt idx="542">
                  <c:v>101.9225224868313</c:v>
                </c:pt>
                <c:pt idx="543">
                  <c:v>101.9225224868313</c:v>
                </c:pt>
                <c:pt idx="544">
                  <c:v>101.9225224868313</c:v>
                </c:pt>
                <c:pt idx="545">
                  <c:v>101.9225224868313</c:v>
                </c:pt>
                <c:pt idx="546">
                  <c:v>101.9225224868313</c:v>
                </c:pt>
                <c:pt idx="547">
                  <c:v>101.9225224868313</c:v>
                </c:pt>
                <c:pt idx="548">
                  <c:v>101.9225224868313</c:v>
                </c:pt>
                <c:pt idx="549">
                  <c:v>101.9225224868313</c:v>
                </c:pt>
                <c:pt idx="550">
                  <c:v>101.9225224868313</c:v>
                </c:pt>
                <c:pt idx="551">
                  <c:v>101.9225224868313</c:v>
                </c:pt>
                <c:pt idx="552">
                  <c:v>101.9225224868313</c:v>
                </c:pt>
                <c:pt idx="553">
                  <c:v>101.9225224868313</c:v>
                </c:pt>
                <c:pt idx="554">
                  <c:v>101.9225224868313</c:v>
                </c:pt>
                <c:pt idx="555">
                  <c:v>101.9225224868313</c:v>
                </c:pt>
                <c:pt idx="556">
                  <c:v>101.9225224868313</c:v>
                </c:pt>
                <c:pt idx="557">
                  <c:v>101.9225224868313</c:v>
                </c:pt>
                <c:pt idx="558">
                  <c:v>101.66107917081466</c:v>
                </c:pt>
                <c:pt idx="559">
                  <c:v>101.53400282185115</c:v>
                </c:pt>
                <c:pt idx="560">
                  <c:v>101.40708531832384</c:v>
                </c:pt>
                <c:pt idx="561">
                  <c:v>101.40708531832384</c:v>
                </c:pt>
                <c:pt idx="562">
                  <c:v>101.40708531832384</c:v>
                </c:pt>
                <c:pt idx="563">
                  <c:v>101.40708531832384</c:v>
                </c:pt>
                <c:pt idx="564">
                  <c:v>101.40708531832384</c:v>
                </c:pt>
                <c:pt idx="565">
                  <c:v>101.60276338818771</c:v>
                </c:pt>
                <c:pt idx="566">
                  <c:v>101.47575993395247</c:v>
                </c:pt>
                <c:pt idx="567">
                  <c:v>101.34891523403503</c:v>
                </c:pt>
                <c:pt idx="568">
                  <c:v>101.34891523403503</c:v>
                </c:pt>
                <c:pt idx="569">
                  <c:v>101.34891523403503</c:v>
                </c:pt>
                <c:pt idx="570">
                  <c:v>101.34891523403503</c:v>
                </c:pt>
                <c:pt idx="571">
                  <c:v>101.34891523403503</c:v>
                </c:pt>
                <c:pt idx="572">
                  <c:v>101.34891523403503</c:v>
                </c:pt>
                <c:pt idx="573">
                  <c:v>101.34891523403503</c:v>
                </c:pt>
                <c:pt idx="574">
                  <c:v>101.34891523403503</c:v>
                </c:pt>
                <c:pt idx="575">
                  <c:v>101.34891523403503</c:v>
                </c:pt>
                <c:pt idx="576">
                  <c:v>101.34891523403503</c:v>
                </c:pt>
                <c:pt idx="577">
                  <c:v>101.34891523403503</c:v>
                </c:pt>
                <c:pt idx="578">
                  <c:v>101.34891523403503</c:v>
                </c:pt>
                <c:pt idx="579">
                  <c:v>101.34891523403503</c:v>
                </c:pt>
                <c:pt idx="580">
                  <c:v>101.34891523403503</c:v>
                </c:pt>
                <c:pt idx="581">
                  <c:v>101.34891523403503</c:v>
                </c:pt>
                <c:pt idx="582">
                  <c:v>101.34891523403503</c:v>
                </c:pt>
                <c:pt idx="583">
                  <c:v>101.34891523403503</c:v>
                </c:pt>
                <c:pt idx="584">
                  <c:v>101.34891523403503</c:v>
                </c:pt>
                <c:pt idx="585">
                  <c:v>101.34891523403503</c:v>
                </c:pt>
                <c:pt idx="586">
                  <c:v>101.34891523403503</c:v>
                </c:pt>
                <c:pt idx="587">
                  <c:v>101.34891523403503</c:v>
                </c:pt>
                <c:pt idx="588">
                  <c:v>101.34891523403503</c:v>
                </c:pt>
                <c:pt idx="589">
                  <c:v>101.34891523403503</c:v>
                </c:pt>
                <c:pt idx="590">
                  <c:v>101.34891523403503</c:v>
                </c:pt>
                <c:pt idx="591">
                  <c:v>101.34891523403503</c:v>
                </c:pt>
                <c:pt idx="592">
                  <c:v>101.34891523403503</c:v>
                </c:pt>
                <c:pt idx="593">
                  <c:v>101.34891523403503</c:v>
                </c:pt>
                <c:pt idx="594">
                  <c:v>101.34891523403503</c:v>
                </c:pt>
                <c:pt idx="595">
                  <c:v>101.34891523403503</c:v>
                </c:pt>
                <c:pt idx="596">
                  <c:v>101.34891523403503</c:v>
                </c:pt>
                <c:pt idx="597">
                  <c:v>101.34891523403503</c:v>
                </c:pt>
                <c:pt idx="598">
                  <c:v>101.34891523403503</c:v>
                </c:pt>
                <c:pt idx="599">
                  <c:v>101.34891523403503</c:v>
                </c:pt>
                <c:pt idx="600">
                  <c:v>101.34891523403503</c:v>
                </c:pt>
                <c:pt idx="601">
                  <c:v>101.34891523403503</c:v>
                </c:pt>
                <c:pt idx="602">
                  <c:v>101.34891523403503</c:v>
                </c:pt>
                <c:pt idx="603">
                  <c:v>101.34891523403503</c:v>
                </c:pt>
                <c:pt idx="604">
                  <c:v>101.34891523403503</c:v>
                </c:pt>
                <c:pt idx="605">
                  <c:v>101.34891523403503</c:v>
                </c:pt>
                <c:pt idx="606">
                  <c:v>101.34891523403503</c:v>
                </c:pt>
                <c:pt idx="607">
                  <c:v>101.34891523403503</c:v>
                </c:pt>
                <c:pt idx="608">
                  <c:v>101.34891523403503</c:v>
                </c:pt>
                <c:pt idx="609">
                  <c:v>101.34891523403503</c:v>
                </c:pt>
                <c:pt idx="610">
                  <c:v>101.34891523403503</c:v>
                </c:pt>
                <c:pt idx="611">
                  <c:v>101.34891523403503</c:v>
                </c:pt>
                <c:pt idx="612">
                  <c:v>101.34891523403503</c:v>
                </c:pt>
                <c:pt idx="613">
                  <c:v>101.34891523403503</c:v>
                </c:pt>
                <c:pt idx="614">
                  <c:v>101.34891523403503</c:v>
                </c:pt>
                <c:pt idx="615">
                  <c:v>101.34891523403503</c:v>
                </c:pt>
                <c:pt idx="616">
                  <c:v>101.34891523403503</c:v>
                </c:pt>
                <c:pt idx="617">
                  <c:v>101.34891523403503</c:v>
                </c:pt>
                <c:pt idx="618">
                  <c:v>101.34891523403503</c:v>
                </c:pt>
                <c:pt idx="619">
                  <c:v>101.34891523403503</c:v>
                </c:pt>
                <c:pt idx="620">
                  <c:v>101.34891523403503</c:v>
                </c:pt>
                <c:pt idx="621">
                  <c:v>101.34891523403503</c:v>
                </c:pt>
                <c:pt idx="622">
                  <c:v>101.34891523403503</c:v>
                </c:pt>
                <c:pt idx="623">
                  <c:v>101.34891523403503</c:v>
                </c:pt>
                <c:pt idx="624">
                  <c:v>101.34891523403503</c:v>
                </c:pt>
                <c:pt idx="625">
                  <c:v>101.34891523403503</c:v>
                </c:pt>
                <c:pt idx="626">
                  <c:v>101.34891523403503</c:v>
                </c:pt>
                <c:pt idx="627">
                  <c:v>101.34891523403503</c:v>
                </c:pt>
                <c:pt idx="628">
                  <c:v>101.34891523403503</c:v>
                </c:pt>
                <c:pt idx="629">
                  <c:v>101.34891523403503</c:v>
                </c:pt>
                <c:pt idx="630">
                  <c:v>101.34891523403503</c:v>
                </c:pt>
                <c:pt idx="631">
                  <c:v>101.34891523403503</c:v>
                </c:pt>
                <c:pt idx="632">
                  <c:v>101.34891523403503</c:v>
                </c:pt>
                <c:pt idx="633">
                  <c:v>101.34891523403503</c:v>
                </c:pt>
                <c:pt idx="634">
                  <c:v>101.34891523403503</c:v>
                </c:pt>
                <c:pt idx="635">
                  <c:v>101.34891523403503</c:v>
                </c:pt>
                <c:pt idx="636">
                  <c:v>101.34891523403503</c:v>
                </c:pt>
                <c:pt idx="637">
                  <c:v>101.34891523403503</c:v>
                </c:pt>
                <c:pt idx="638">
                  <c:v>101.34891523403503</c:v>
                </c:pt>
                <c:pt idx="639">
                  <c:v>101.34891523403503</c:v>
                </c:pt>
                <c:pt idx="640">
                  <c:v>103.1191405465844</c:v>
                </c:pt>
                <c:pt idx="641">
                  <c:v>102.99024162090117</c:v>
                </c:pt>
                <c:pt idx="642">
                  <c:v>102.86150381887505</c:v>
                </c:pt>
                <c:pt idx="643">
                  <c:v>102.86150381887505</c:v>
                </c:pt>
                <c:pt idx="644">
                  <c:v>102.86150381887505</c:v>
                </c:pt>
                <c:pt idx="645">
                  <c:v>102.86150381887505</c:v>
                </c:pt>
                <c:pt idx="646">
                  <c:v>102.86150381887505</c:v>
                </c:pt>
                <c:pt idx="647">
                  <c:v>102.86150381887505</c:v>
                </c:pt>
                <c:pt idx="648">
                  <c:v>102.86150381887505</c:v>
                </c:pt>
                <c:pt idx="649">
                  <c:v>102.86150381887505</c:v>
                </c:pt>
                <c:pt idx="650">
                  <c:v>102.86150381887505</c:v>
                </c:pt>
                <c:pt idx="651">
                  <c:v>102.86150381887505</c:v>
                </c:pt>
                <c:pt idx="652">
                  <c:v>102.86150381887505</c:v>
                </c:pt>
                <c:pt idx="653">
                  <c:v>102.86150381887505</c:v>
                </c:pt>
                <c:pt idx="654">
                  <c:v>102.86150381887505</c:v>
                </c:pt>
                <c:pt idx="655">
                  <c:v>102.86150381887505</c:v>
                </c:pt>
                <c:pt idx="656">
                  <c:v>102.86150381887505</c:v>
                </c:pt>
                <c:pt idx="657">
                  <c:v>102.86150381887505</c:v>
                </c:pt>
                <c:pt idx="658">
                  <c:v>102.86150381887505</c:v>
                </c:pt>
                <c:pt idx="659">
                  <c:v>102.86150381887505</c:v>
                </c:pt>
                <c:pt idx="660">
                  <c:v>102.86150381887505</c:v>
                </c:pt>
                <c:pt idx="661">
                  <c:v>102.70718387552328</c:v>
                </c:pt>
                <c:pt idx="662">
                  <c:v>102.57879989567888</c:v>
                </c:pt>
                <c:pt idx="663">
                  <c:v>102.45057639580929</c:v>
                </c:pt>
                <c:pt idx="664">
                  <c:v>102.45057639580929</c:v>
                </c:pt>
                <c:pt idx="665">
                  <c:v>102.45057639580929</c:v>
                </c:pt>
                <c:pt idx="666">
                  <c:v>102.45057639580929</c:v>
                </c:pt>
                <c:pt idx="667">
                  <c:v>102.45057639580929</c:v>
                </c:pt>
                <c:pt idx="668">
                  <c:v>102.45057639580929</c:v>
                </c:pt>
                <c:pt idx="669">
                  <c:v>102.45057639580929</c:v>
                </c:pt>
                <c:pt idx="670">
                  <c:v>102.45057639580929</c:v>
                </c:pt>
                <c:pt idx="671">
                  <c:v>102.45057639580929</c:v>
                </c:pt>
                <c:pt idx="672">
                  <c:v>102.45057639580929</c:v>
                </c:pt>
                <c:pt idx="673">
                  <c:v>102.45057639580929</c:v>
                </c:pt>
                <c:pt idx="674">
                  <c:v>102.45057639580929</c:v>
                </c:pt>
                <c:pt idx="675">
                  <c:v>102.45057639580929</c:v>
                </c:pt>
                <c:pt idx="676">
                  <c:v>102.45057639580929</c:v>
                </c:pt>
                <c:pt idx="677">
                  <c:v>102.45057639580929</c:v>
                </c:pt>
                <c:pt idx="678">
                  <c:v>102.45057639580929</c:v>
                </c:pt>
                <c:pt idx="679">
                  <c:v>102.45057639580929</c:v>
                </c:pt>
                <c:pt idx="680">
                  <c:v>102.45057639580929</c:v>
                </c:pt>
                <c:pt idx="681">
                  <c:v>102.45057639580929</c:v>
                </c:pt>
                <c:pt idx="682">
                  <c:v>102.45057639580929</c:v>
                </c:pt>
                <c:pt idx="683">
                  <c:v>102.45057639580929</c:v>
                </c:pt>
                <c:pt idx="684">
                  <c:v>102.45057639580929</c:v>
                </c:pt>
                <c:pt idx="685">
                  <c:v>102.45057639580929</c:v>
                </c:pt>
                <c:pt idx="686">
                  <c:v>102.45057639580929</c:v>
                </c:pt>
                <c:pt idx="687">
                  <c:v>102.45057639580929</c:v>
                </c:pt>
                <c:pt idx="688">
                  <c:v>102.45057639580929</c:v>
                </c:pt>
                <c:pt idx="689">
                  <c:v>102.45057639580929</c:v>
                </c:pt>
                <c:pt idx="690">
                  <c:v>102.45057639580929</c:v>
                </c:pt>
                <c:pt idx="691">
                  <c:v>102.45057639580929</c:v>
                </c:pt>
                <c:pt idx="692">
                  <c:v>102.45057639580929</c:v>
                </c:pt>
                <c:pt idx="693">
                  <c:v>102.45057639580929</c:v>
                </c:pt>
                <c:pt idx="694">
                  <c:v>103.07047223538665</c:v>
                </c:pt>
                <c:pt idx="695">
                  <c:v>102.94163414509242</c:v>
                </c:pt>
                <c:pt idx="696">
                  <c:v>102.81295710241106</c:v>
                </c:pt>
                <c:pt idx="697">
                  <c:v>102.81295710241106</c:v>
                </c:pt>
                <c:pt idx="698">
                  <c:v>102.81295710241106</c:v>
                </c:pt>
                <c:pt idx="699">
                  <c:v>102.81295710241106</c:v>
                </c:pt>
                <c:pt idx="700">
                  <c:v>102.81295710241106</c:v>
                </c:pt>
                <c:pt idx="701">
                  <c:v>102.81295710241106</c:v>
                </c:pt>
                <c:pt idx="702">
                  <c:v>102.81295710241106</c:v>
                </c:pt>
                <c:pt idx="703">
                  <c:v>102.81295710241106</c:v>
                </c:pt>
                <c:pt idx="704">
                  <c:v>102.00023810157109</c:v>
                </c:pt>
                <c:pt idx="705">
                  <c:v>101.87273780394412</c:v>
                </c:pt>
                <c:pt idx="706">
                  <c:v>101.74539688168919</c:v>
                </c:pt>
                <c:pt idx="707">
                  <c:v>101.74539688168919</c:v>
                </c:pt>
                <c:pt idx="708">
                  <c:v>101.74539688168919</c:v>
                </c:pt>
                <c:pt idx="709">
                  <c:v>101.74539688168919</c:v>
                </c:pt>
                <c:pt idx="710">
                  <c:v>101.74539688168919</c:v>
                </c:pt>
                <c:pt idx="711">
                  <c:v>101.74539688168919</c:v>
                </c:pt>
                <c:pt idx="712">
                  <c:v>101.74539688168919</c:v>
                </c:pt>
                <c:pt idx="713">
                  <c:v>101.74539688168919</c:v>
                </c:pt>
                <c:pt idx="714">
                  <c:v>101.74539688168919</c:v>
                </c:pt>
                <c:pt idx="715">
                  <c:v>101.74539688168919</c:v>
                </c:pt>
                <c:pt idx="716">
                  <c:v>101.74539688168919</c:v>
                </c:pt>
                <c:pt idx="717">
                  <c:v>101.74539688168919</c:v>
                </c:pt>
                <c:pt idx="718">
                  <c:v>101.74539688168919</c:v>
                </c:pt>
                <c:pt idx="719">
                  <c:v>101.74539688168919</c:v>
                </c:pt>
                <c:pt idx="720">
                  <c:v>101.74539688168919</c:v>
                </c:pt>
                <c:pt idx="721">
                  <c:v>101.74539688168919</c:v>
                </c:pt>
                <c:pt idx="722">
                  <c:v>101.74539688168919</c:v>
                </c:pt>
                <c:pt idx="723">
                  <c:v>101.74539688168919</c:v>
                </c:pt>
                <c:pt idx="724">
                  <c:v>101.74539688168919</c:v>
                </c:pt>
                <c:pt idx="725">
                  <c:v>101.74539688168919</c:v>
                </c:pt>
                <c:pt idx="726">
                  <c:v>101.74539688168919</c:v>
                </c:pt>
                <c:pt idx="727">
                  <c:v>101.74539688168919</c:v>
                </c:pt>
                <c:pt idx="728">
                  <c:v>101.74539688168919</c:v>
                </c:pt>
                <c:pt idx="729">
                  <c:v>101.74539688168919</c:v>
                </c:pt>
                <c:pt idx="730">
                  <c:v>101.74539688168919</c:v>
                </c:pt>
                <c:pt idx="731">
                  <c:v>101.74539688168919</c:v>
                </c:pt>
                <c:pt idx="732">
                  <c:v>101.74539688168919</c:v>
                </c:pt>
                <c:pt idx="733">
                  <c:v>101.74539688168919</c:v>
                </c:pt>
                <c:pt idx="734">
                  <c:v>101.74539688168919</c:v>
                </c:pt>
                <c:pt idx="735">
                  <c:v>101.74539688168919</c:v>
                </c:pt>
                <c:pt idx="736">
                  <c:v>101.74539688168919</c:v>
                </c:pt>
                <c:pt idx="737">
                  <c:v>101.74539688168919</c:v>
                </c:pt>
                <c:pt idx="738">
                  <c:v>101.74539688168919</c:v>
                </c:pt>
                <c:pt idx="739">
                  <c:v>101.6736227328292</c:v>
                </c:pt>
                <c:pt idx="740">
                  <c:v>102.69504798565563</c:v>
                </c:pt>
                <c:pt idx="741">
                  <c:v>102.69504798565563</c:v>
                </c:pt>
                <c:pt idx="742">
                  <c:v>102.56667917567357</c:v>
                </c:pt>
                <c:pt idx="743">
                  <c:v>102.56667917567357</c:v>
                </c:pt>
                <c:pt idx="744">
                  <c:v>102.56667917567357</c:v>
                </c:pt>
                <c:pt idx="745">
                  <c:v>102.56667917567357</c:v>
                </c:pt>
                <c:pt idx="746">
                  <c:v>102.56667917567357</c:v>
                </c:pt>
                <c:pt idx="747">
                  <c:v>102.56667917567357</c:v>
                </c:pt>
                <c:pt idx="748">
                  <c:v>102.56667917567357</c:v>
                </c:pt>
                <c:pt idx="749">
                  <c:v>102.56667917567357</c:v>
                </c:pt>
                <c:pt idx="750">
                  <c:v>102.56667917567357</c:v>
                </c:pt>
                <c:pt idx="751">
                  <c:v>102.56667917567357</c:v>
                </c:pt>
                <c:pt idx="752">
                  <c:v>102.56667917567357</c:v>
                </c:pt>
                <c:pt idx="753">
                  <c:v>102.56667917567357</c:v>
                </c:pt>
                <c:pt idx="754">
                  <c:v>102.56667917567357</c:v>
                </c:pt>
                <c:pt idx="755">
                  <c:v>102.56667917567357</c:v>
                </c:pt>
                <c:pt idx="756">
                  <c:v>102.56667917567357</c:v>
                </c:pt>
                <c:pt idx="757">
                  <c:v>102.56667917567357</c:v>
                </c:pt>
                <c:pt idx="758">
                  <c:v>102.56667917567357</c:v>
                </c:pt>
                <c:pt idx="759">
                  <c:v>102.56667917567357</c:v>
                </c:pt>
                <c:pt idx="760">
                  <c:v>102.56667917567357</c:v>
                </c:pt>
                <c:pt idx="761">
                  <c:v>102.56667917567357</c:v>
                </c:pt>
                <c:pt idx="762">
                  <c:v>102.56667917567357</c:v>
                </c:pt>
                <c:pt idx="763">
                  <c:v>102.56667917567357</c:v>
                </c:pt>
                <c:pt idx="764">
                  <c:v>102.56667917567357</c:v>
                </c:pt>
                <c:pt idx="765">
                  <c:v>102.56667917567357</c:v>
                </c:pt>
                <c:pt idx="766">
                  <c:v>102.56667917567357</c:v>
                </c:pt>
                <c:pt idx="767">
                  <c:v>102.56667917567357</c:v>
                </c:pt>
                <c:pt idx="768">
                  <c:v>102.56667917567357</c:v>
                </c:pt>
                <c:pt idx="769">
                  <c:v>102.56667917567357</c:v>
                </c:pt>
                <c:pt idx="770">
                  <c:v>102.56667917567357</c:v>
                </c:pt>
                <c:pt idx="771">
                  <c:v>102.56667917567357</c:v>
                </c:pt>
                <c:pt idx="772">
                  <c:v>102.56667917567357</c:v>
                </c:pt>
                <c:pt idx="773">
                  <c:v>102.56667917567357</c:v>
                </c:pt>
                <c:pt idx="774">
                  <c:v>102.56667917567357</c:v>
                </c:pt>
                <c:pt idx="775">
                  <c:v>102.56667917567357</c:v>
                </c:pt>
                <c:pt idx="776">
                  <c:v>102.56667917567357</c:v>
                </c:pt>
                <c:pt idx="777">
                  <c:v>102.56667917567357</c:v>
                </c:pt>
                <c:pt idx="778">
                  <c:v>102.56667917567357</c:v>
                </c:pt>
                <c:pt idx="779">
                  <c:v>102.56667917567357</c:v>
                </c:pt>
                <c:pt idx="780">
                  <c:v>102.56667917567357</c:v>
                </c:pt>
                <c:pt idx="781">
                  <c:v>102.56667917567357</c:v>
                </c:pt>
                <c:pt idx="782">
                  <c:v>102.56667917567357</c:v>
                </c:pt>
                <c:pt idx="783">
                  <c:v>104.67032235822855</c:v>
                </c:pt>
                <c:pt idx="784">
                  <c:v>104.53948445528076</c:v>
                </c:pt>
                <c:pt idx="785">
                  <c:v>104.40881009971166</c:v>
                </c:pt>
                <c:pt idx="786">
                  <c:v>104.40881009971166</c:v>
                </c:pt>
                <c:pt idx="787">
                  <c:v>104.40881009971166</c:v>
                </c:pt>
                <c:pt idx="788">
                  <c:v>104.40881009971166</c:v>
                </c:pt>
                <c:pt idx="789">
                  <c:v>104.40881009971166</c:v>
                </c:pt>
                <c:pt idx="790">
                  <c:v>104.40143771946812</c:v>
                </c:pt>
                <c:pt idx="791">
                  <c:v>104.27093592231878</c:v>
                </c:pt>
                <c:pt idx="792">
                  <c:v>104.14059725241589</c:v>
                </c:pt>
                <c:pt idx="793">
                  <c:v>104.14059725241589</c:v>
                </c:pt>
                <c:pt idx="794">
                  <c:v>104.14059725241589</c:v>
                </c:pt>
                <c:pt idx="795">
                  <c:v>104.14059725241589</c:v>
                </c:pt>
                <c:pt idx="796">
                  <c:v>104.14059725241589</c:v>
                </c:pt>
                <c:pt idx="797">
                  <c:v>104.14059725241589</c:v>
                </c:pt>
                <c:pt idx="798">
                  <c:v>104.14059725241589</c:v>
                </c:pt>
                <c:pt idx="799">
                  <c:v>104.14059725241589</c:v>
                </c:pt>
                <c:pt idx="800">
                  <c:v>104.14059725241589</c:v>
                </c:pt>
                <c:pt idx="801">
                  <c:v>104.14059725241589</c:v>
                </c:pt>
                <c:pt idx="802">
                  <c:v>104.14059725241589</c:v>
                </c:pt>
                <c:pt idx="803">
                  <c:v>104.14059725241589</c:v>
                </c:pt>
                <c:pt idx="804">
                  <c:v>104.14059725241589</c:v>
                </c:pt>
                <c:pt idx="805">
                  <c:v>104.14059725241589</c:v>
                </c:pt>
                <c:pt idx="806">
                  <c:v>104.14059725241589</c:v>
                </c:pt>
                <c:pt idx="807">
                  <c:v>104.14059725241589</c:v>
                </c:pt>
                <c:pt idx="808">
                  <c:v>104.14059725241589</c:v>
                </c:pt>
                <c:pt idx="809">
                  <c:v>104.14059725241589</c:v>
                </c:pt>
                <c:pt idx="810">
                  <c:v>104.14059725241589</c:v>
                </c:pt>
                <c:pt idx="811">
                  <c:v>104.14059725241589</c:v>
                </c:pt>
                <c:pt idx="812">
                  <c:v>104.14059725241589</c:v>
                </c:pt>
                <c:pt idx="813">
                  <c:v>104.14059725241589</c:v>
                </c:pt>
                <c:pt idx="814">
                  <c:v>104.14059725241589</c:v>
                </c:pt>
                <c:pt idx="815">
                  <c:v>104.14059725241589</c:v>
                </c:pt>
                <c:pt idx="816">
                  <c:v>104.14059725241589</c:v>
                </c:pt>
                <c:pt idx="817">
                  <c:v>104.14059725241589</c:v>
                </c:pt>
                <c:pt idx="818">
                  <c:v>104.14059725241589</c:v>
                </c:pt>
                <c:pt idx="819">
                  <c:v>104.14059725241589</c:v>
                </c:pt>
                <c:pt idx="820">
                  <c:v>104.14059725241589</c:v>
                </c:pt>
                <c:pt idx="821">
                  <c:v>104.14059725241589</c:v>
                </c:pt>
                <c:pt idx="822">
                  <c:v>104.14059725241589</c:v>
                </c:pt>
                <c:pt idx="823">
                  <c:v>104.14059725241589</c:v>
                </c:pt>
                <c:pt idx="824">
                  <c:v>104.14059725241589</c:v>
                </c:pt>
                <c:pt idx="825">
                  <c:v>103.68695363845514</c:v>
                </c:pt>
                <c:pt idx="826">
                  <c:v>103.55734494640707</c:v>
                </c:pt>
                <c:pt idx="827">
                  <c:v>103.42789826522406</c:v>
                </c:pt>
                <c:pt idx="828">
                  <c:v>103.42789826522406</c:v>
                </c:pt>
                <c:pt idx="829">
                  <c:v>103.42789826522406</c:v>
                </c:pt>
                <c:pt idx="830">
                  <c:v>103.42789826522406</c:v>
                </c:pt>
                <c:pt idx="831">
                  <c:v>103.42789826522406</c:v>
                </c:pt>
                <c:pt idx="832">
                  <c:v>103.42789826522406</c:v>
                </c:pt>
                <c:pt idx="833">
                  <c:v>103.42789826522406</c:v>
                </c:pt>
                <c:pt idx="834">
                  <c:v>103.42789826522406</c:v>
                </c:pt>
                <c:pt idx="835">
                  <c:v>103.42789826522406</c:v>
                </c:pt>
                <c:pt idx="836">
                  <c:v>103.42789826522406</c:v>
                </c:pt>
                <c:pt idx="837">
                  <c:v>103.42789826522406</c:v>
                </c:pt>
                <c:pt idx="838">
                  <c:v>103.42789826522406</c:v>
                </c:pt>
                <c:pt idx="839">
                  <c:v>103.42789826522406</c:v>
                </c:pt>
                <c:pt idx="840">
                  <c:v>103.42789826522406</c:v>
                </c:pt>
                <c:pt idx="841">
                  <c:v>103.42789826522406</c:v>
                </c:pt>
                <c:pt idx="842">
                  <c:v>103.42789826522406</c:v>
                </c:pt>
                <c:pt idx="843">
                  <c:v>103.10764431642833</c:v>
                </c:pt>
                <c:pt idx="844">
                  <c:v>102.9787597610328</c:v>
                </c:pt>
                <c:pt idx="845">
                  <c:v>102.85003631133152</c:v>
                </c:pt>
                <c:pt idx="846">
                  <c:v>102.85003631133152</c:v>
                </c:pt>
                <c:pt idx="847">
                  <c:v>102.12718254176089</c:v>
                </c:pt>
                <c:pt idx="848">
                  <c:v>101.99952356358369</c:v>
                </c:pt>
                <c:pt idx="849">
                  <c:v>101.87202415912921</c:v>
                </c:pt>
                <c:pt idx="850">
                  <c:v>101.87202415912921</c:v>
                </c:pt>
                <c:pt idx="851">
                  <c:v>101.87202415912921</c:v>
                </c:pt>
                <c:pt idx="852">
                  <c:v>101.87202415912921</c:v>
                </c:pt>
                <c:pt idx="853">
                  <c:v>101.87202415912921</c:v>
                </c:pt>
                <c:pt idx="854">
                  <c:v>101.87202415912921</c:v>
                </c:pt>
                <c:pt idx="855">
                  <c:v>101.87202415912921</c:v>
                </c:pt>
                <c:pt idx="856">
                  <c:v>101.87202415912921</c:v>
                </c:pt>
                <c:pt idx="857">
                  <c:v>101.87202415912921</c:v>
                </c:pt>
                <c:pt idx="858">
                  <c:v>101.87202415912921</c:v>
                </c:pt>
                <c:pt idx="859">
                  <c:v>101.87202415912921</c:v>
                </c:pt>
                <c:pt idx="860">
                  <c:v>101.87202415912921</c:v>
                </c:pt>
                <c:pt idx="861">
                  <c:v>101.87202415912921</c:v>
                </c:pt>
                <c:pt idx="862">
                  <c:v>101.87202415912921</c:v>
                </c:pt>
                <c:pt idx="863">
                  <c:v>101.87202415912921</c:v>
                </c:pt>
                <c:pt idx="864">
                  <c:v>101.87202415912921</c:v>
                </c:pt>
                <c:pt idx="865">
                  <c:v>101.87202415912921</c:v>
                </c:pt>
                <c:pt idx="866">
                  <c:v>101.87202415912921</c:v>
                </c:pt>
                <c:pt idx="867">
                  <c:v>101.87202415912921</c:v>
                </c:pt>
                <c:pt idx="868">
                  <c:v>101.87202415912921</c:v>
                </c:pt>
                <c:pt idx="869">
                  <c:v>101.87202415912921</c:v>
                </c:pt>
                <c:pt idx="870">
                  <c:v>101.87202415912921</c:v>
                </c:pt>
                <c:pt idx="871">
                  <c:v>101.87202415912921</c:v>
                </c:pt>
                <c:pt idx="872">
                  <c:v>101.87202415912921</c:v>
                </c:pt>
                <c:pt idx="873">
                  <c:v>101.87202415912921</c:v>
                </c:pt>
                <c:pt idx="874">
                  <c:v>101.87202415912921</c:v>
                </c:pt>
                <c:pt idx="875">
                  <c:v>101.87202415912921</c:v>
                </c:pt>
                <c:pt idx="876">
                  <c:v>101.87202415912921</c:v>
                </c:pt>
                <c:pt idx="877">
                  <c:v>101.87202415912921</c:v>
                </c:pt>
                <c:pt idx="878">
                  <c:v>101.87202415912921</c:v>
                </c:pt>
                <c:pt idx="879">
                  <c:v>101.87202415912921</c:v>
                </c:pt>
                <c:pt idx="880">
                  <c:v>101.87202415912921</c:v>
                </c:pt>
                <c:pt idx="881">
                  <c:v>101.87202415912921</c:v>
                </c:pt>
                <c:pt idx="882">
                  <c:v>101.87202415912921</c:v>
                </c:pt>
                <c:pt idx="883">
                  <c:v>101.87202415912921</c:v>
                </c:pt>
                <c:pt idx="884">
                  <c:v>101.87202415912921</c:v>
                </c:pt>
                <c:pt idx="885">
                  <c:v>101.87202415912921</c:v>
                </c:pt>
                <c:pt idx="886">
                  <c:v>101.87202415912921</c:v>
                </c:pt>
                <c:pt idx="887">
                  <c:v>101.87202415912921</c:v>
                </c:pt>
                <c:pt idx="888">
                  <c:v>101.87202415912921</c:v>
                </c:pt>
                <c:pt idx="889">
                  <c:v>101.87202415912921</c:v>
                </c:pt>
                <c:pt idx="890">
                  <c:v>101.87202415912921</c:v>
                </c:pt>
                <c:pt idx="891">
                  <c:v>101.87202415912921</c:v>
                </c:pt>
                <c:pt idx="892">
                  <c:v>101.87202415912921</c:v>
                </c:pt>
                <c:pt idx="893">
                  <c:v>101.87202415912921</c:v>
                </c:pt>
                <c:pt idx="894">
                  <c:v>101.87202415912921</c:v>
                </c:pt>
                <c:pt idx="895">
                  <c:v>101.87202415912921</c:v>
                </c:pt>
                <c:pt idx="896">
                  <c:v>101.87202415912921</c:v>
                </c:pt>
                <c:pt idx="897">
                  <c:v>101.87202415912921</c:v>
                </c:pt>
                <c:pt idx="898">
                  <c:v>101.87202415912921</c:v>
                </c:pt>
                <c:pt idx="899">
                  <c:v>101.87202415912921</c:v>
                </c:pt>
                <c:pt idx="900">
                  <c:v>101.87202415912921</c:v>
                </c:pt>
                <c:pt idx="901">
                  <c:v>101.87202415912921</c:v>
                </c:pt>
                <c:pt idx="902">
                  <c:v>101.87202415912921</c:v>
                </c:pt>
                <c:pt idx="903">
                  <c:v>101.87202415912921</c:v>
                </c:pt>
                <c:pt idx="904">
                  <c:v>101.87202415912921</c:v>
                </c:pt>
                <c:pt idx="905">
                  <c:v>101.87202415912921</c:v>
                </c:pt>
                <c:pt idx="906">
                  <c:v>101.87202415912921</c:v>
                </c:pt>
                <c:pt idx="907">
                  <c:v>101.87202415912921</c:v>
                </c:pt>
                <c:pt idx="908">
                  <c:v>101.87202415912921</c:v>
                </c:pt>
                <c:pt idx="909">
                  <c:v>101.87202415912921</c:v>
                </c:pt>
                <c:pt idx="910">
                  <c:v>101.87202415912921</c:v>
                </c:pt>
                <c:pt idx="911">
                  <c:v>101.87202415912921</c:v>
                </c:pt>
                <c:pt idx="912">
                  <c:v>101.87202415912921</c:v>
                </c:pt>
                <c:pt idx="913">
                  <c:v>101.87202415912921</c:v>
                </c:pt>
                <c:pt idx="914">
                  <c:v>101.87202415912921</c:v>
                </c:pt>
                <c:pt idx="915">
                  <c:v>101.87202415912921</c:v>
                </c:pt>
                <c:pt idx="916">
                  <c:v>101.87202415912921</c:v>
                </c:pt>
                <c:pt idx="917">
                  <c:v>101.87202415912921</c:v>
                </c:pt>
                <c:pt idx="918">
                  <c:v>101.87202415912921</c:v>
                </c:pt>
                <c:pt idx="919">
                  <c:v>101.87202415912921</c:v>
                </c:pt>
                <c:pt idx="920">
                  <c:v>101.76207193174579</c:v>
                </c:pt>
                <c:pt idx="921">
                  <c:v>101.63486934183112</c:v>
                </c:pt>
                <c:pt idx="922">
                  <c:v>101.50782575515383</c:v>
                </c:pt>
                <c:pt idx="923">
                  <c:v>101.50782575515383</c:v>
                </c:pt>
                <c:pt idx="924">
                  <c:v>101.50782575515383</c:v>
                </c:pt>
                <c:pt idx="925">
                  <c:v>101.50782575515383</c:v>
                </c:pt>
                <c:pt idx="926">
                  <c:v>101.50782575515383</c:v>
                </c:pt>
                <c:pt idx="927">
                  <c:v>101.50782575515383</c:v>
                </c:pt>
                <c:pt idx="928">
                  <c:v>101.50782575515383</c:v>
                </c:pt>
                <c:pt idx="929">
                  <c:v>101.50782575515383</c:v>
                </c:pt>
                <c:pt idx="930">
                  <c:v>101.50782575515383</c:v>
                </c:pt>
                <c:pt idx="931">
                  <c:v>101.50782575515383</c:v>
                </c:pt>
                <c:pt idx="932">
                  <c:v>101.50782575515383</c:v>
                </c:pt>
                <c:pt idx="933">
                  <c:v>101.50782575515383</c:v>
                </c:pt>
                <c:pt idx="934">
                  <c:v>101.50782575515383</c:v>
                </c:pt>
                <c:pt idx="935">
                  <c:v>101.50782575515383</c:v>
                </c:pt>
                <c:pt idx="936">
                  <c:v>101.50782575515383</c:v>
                </c:pt>
                <c:pt idx="937">
                  <c:v>101.50782575515383</c:v>
                </c:pt>
                <c:pt idx="938">
                  <c:v>101.50782575515383</c:v>
                </c:pt>
                <c:pt idx="939">
                  <c:v>101.50782575515383</c:v>
                </c:pt>
                <c:pt idx="940">
                  <c:v>101.50782575515383</c:v>
                </c:pt>
                <c:pt idx="941">
                  <c:v>101.50782575515383</c:v>
                </c:pt>
                <c:pt idx="942">
                  <c:v>101.50782575515383</c:v>
                </c:pt>
                <c:pt idx="943">
                  <c:v>101.50782575515383</c:v>
                </c:pt>
                <c:pt idx="944">
                  <c:v>101.50782575515383</c:v>
                </c:pt>
                <c:pt idx="945">
                  <c:v>101.50782575515383</c:v>
                </c:pt>
                <c:pt idx="946">
                  <c:v>101.50782575515383</c:v>
                </c:pt>
                <c:pt idx="947">
                  <c:v>101.50782575515383</c:v>
                </c:pt>
                <c:pt idx="948">
                  <c:v>101.50782575515383</c:v>
                </c:pt>
                <c:pt idx="949">
                  <c:v>101.50782575515383</c:v>
                </c:pt>
                <c:pt idx="950">
                  <c:v>101.50782575515383</c:v>
                </c:pt>
                <c:pt idx="951">
                  <c:v>101.50782575515383</c:v>
                </c:pt>
                <c:pt idx="952">
                  <c:v>101.50782575515383</c:v>
                </c:pt>
                <c:pt idx="953">
                  <c:v>101.50782575515383</c:v>
                </c:pt>
                <c:pt idx="954">
                  <c:v>101.50782575515383</c:v>
                </c:pt>
                <c:pt idx="955">
                  <c:v>105.0106200072925</c:v>
                </c:pt>
                <c:pt idx="956">
                  <c:v>104.87935673228338</c:v>
                </c:pt>
                <c:pt idx="957">
                  <c:v>104.74825753636803</c:v>
                </c:pt>
                <c:pt idx="958">
                  <c:v>104.74825753636803</c:v>
                </c:pt>
                <c:pt idx="959">
                  <c:v>104.07225829231056</c:v>
                </c:pt>
                <c:pt idx="960">
                  <c:v>103.94216796944518</c:v>
                </c:pt>
                <c:pt idx="961">
                  <c:v>103.81224025948337</c:v>
                </c:pt>
                <c:pt idx="962">
                  <c:v>103.81224025948337</c:v>
                </c:pt>
                <c:pt idx="963">
                  <c:v>103.81224025948337</c:v>
                </c:pt>
                <c:pt idx="964">
                  <c:v>105.56136331224302</c:v>
                </c:pt>
                <c:pt idx="965">
                  <c:v>105.42941160810271</c:v>
                </c:pt>
                <c:pt idx="966">
                  <c:v>105.29762484359259</c:v>
                </c:pt>
                <c:pt idx="967">
                  <c:v>105.29762484359259</c:v>
                </c:pt>
                <c:pt idx="968">
                  <c:v>105.29762484359259</c:v>
                </c:pt>
                <c:pt idx="969">
                  <c:v>105.29762484359259</c:v>
                </c:pt>
                <c:pt idx="970">
                  <c:v>105.29762484359259</c:v>
                </c:pt>
                <c:pt idx="971">
                  <c:v>105.29762484359259</c:v>
                </c:pt>
                <c:pt idx="972">
                  <c:v>105.29762484359259</c:v>
                </c:pt>
                <c:pt idx="973">
                  <c:v>105.08454943946565</c:v>
                </c:pt>
                <c:pt idx="974">
                  <c:v>104.95319375266632</c:v>
                </c:pt>
                <c:pt idx="975">
                  <c:v>104.82200226047549</c:v>
                </c:pt>
                <c:pt idx="976">
                  <c:v>104.82200226047549</c:v>
                </c:pt>
                <c:pt idx="977">
                  <c:v>104.82200226047549</c:v>
                </c:pt>
                <c:pt idx="978">
                  <c:v>104.82200226047549</c:v>
                </c:pt>
                <c:pt idx="979">
                  <c:v>104.82200226047549</c:v>
                </c:pt>
                <c:pt idx="980">
                  <c:v>104.82200226047549</c:v>
                </c:pt>
                <c:pt idx="981">
                  <c:v>104.82200226047549</c:v>
                </c:pt>
                <c:pt idx="982">
                  <c:v>104.82200226047549</c:v>
                </c:pt>
                <c:pt idx="983">
                  <c:v>104.82200226047549</c:v>
                </c:pt>
                <c:pt idx="984">
                  <c:v>104.82200226047549</c:v>
                </c:pt>
                <c:pt idx="985">
                  <c:v>104.82200226047549</c:v>
                </c:pt>
                <c:pt idx="986">
                  <c:v>104.82200226047549</c:v>
                </c:pt>
                <c:pt idx="987">
                  <c:v>104.82200226047549</c:v>
                </c:pt>
                <c:pt idx="988">
                  <c:v>104.82200226047549</c:v>
                </c:pt>
                <c:pt idx="989">
                  <c:v>104.82200226047549</c:v>
                </c:pt>
                <c:pt idx="990">
                  <c:v>104.82200226047549</c:v>
                </c:pt>
                <c:pt idx="991">
                  <c:v>104.82200226047549</c:v>
                </c:pt>
                <c:pt idx="992">
                  <c:v>105.01149813280209</c:v>
                </c:pt>
                <c:pt idx="993">
                  <c:v>104.88023376013609</c:v>
                </c:pt>
                <c:pt idx="994">
                  <c:v>104.74913346793592</c:v>
                </c:pt>
                <c:pt idx="995">
                  <c:v>104.74913346793592</c:v>
                </c:pt>
                <c:pt idx="996">
                  <c:v>104.74913346793592</c:v>
                </c:pt>
                <c:pt idx="997">
                  <c:v>104.74913346793592</c:v>
                </c:pt>
                <c:pt idx="998">
                  <c:v>105.16291281373626</c:v>
                </c:pt>
                <c:pt idx="999">
                  <c:v>105.03145917271908</c:v>
                </c:pt>
                <c:pt idx="1000">
                  <c:v>104.90016984875318</c:v>
                </c:pt>
                <c:pt idx="1001">
                  <c:v>104.90016984875318</c:v>
                </c:pt>
                <c:pt idx="1002">
                  <c:v>104.90016984875318</c:v>
                </c:pt>
                <c:pt idx="1003">
                  <c:v>104.90016984875318</c:v>
                </c:pt>
                <c:pt idx="1004">
                  <c:v>104.90016984875318</c:v>
                </c:pt>
                <c:pt idx="1005">
                  <c:v>104.90016984875318</c:v>
                </c:pt>
                <c:pt idx="1006">
                  <c:v>104.90016984875318</c:v>
                </c:pt>
                <c:pt idx="1007">
                  <c:v>104.90016984875318</c:v>
                </c:pt>
                <c:pt idx="1008">
                  <c:v>104.90016984875318</c:v>
                </c:pt>
                <c:pt idx="1009">
                  <c:v>104.90016984875318</c:v>
                </c:pt>
                <c:pt idx="1010">
                  <c:v>104.90016984875318</c:v>
                </c:pt>
                <c:pt idx="1011">
                  <c:v>104.90016984875318</c:v>
                </c:pt>
                <c:pt idx="1012">
                  <c:v>104.90016984875318</c:v>
                </c:pt>
                <c:pt idx="1013">
                  <c:v>104.90016984875318</c:v>
                </c:pt>
                <c:pt idx="1014">
                  <c:v>104.90016984875318</c:v>
                </c:pt>
                <c:pt idx="1015">
                  <c:v>104.90016984875318</c:v>
                </c:pt>
                <c:pt idx="1016">
                  <c:v>104.90016984875318</c:v>
                </c:pt>
                <c:pt idx="1017">
                  <c:v>104.90016984875318</c:v>
                </c:pt>
                <c:pt idx="1018">
                  <c:v>104.90016984875318</c:v>
                </c:pt>
                <c:pt idx="1019">
                  <c:v>104.90016984875318</c:v>
                </c:pt>
                <c:pt idx="1020">
                  <c:v>104.90016984875318</c:v>
                </c:pt>
                <c:pt idx="1021">
                  <c:v>104.90016984875318</c:v>
                </c:pt>
                <c:pt idx="1022">
                  <c:v>104.90016984875318</c:v>
                </c:pt>
                <c:pt idx="1023">
                  <c:v>104.90016984875318</c:v>
                </c:pt>
                <c:pt idx="1024">
                  <c:v>104.90016984875318</c:v>
                </c:pt>
                <c:pt idx="1025">
                  <c:v>104.90016984875318</c:v>
                </c:pt>
                <c:pt idx="1026">
                  <c:v>104.90016984875318</c:v>
                </c:pt>
                <c:pt idx="1027">
                  <c:v>104.90016984875318</c:v>
                </c:pt>
                <c:pt idx="1028">
                  <c:v>104.90016984875318</c:v>
                </c:pt>
                <c:pt idx="1029">
                  <c:v>104.90016984875318</c:v>
                </c:pt>
                <c:pt idx="1030">
                  <c:v>104.90016984875318</c:v>
                </c:pt>
                <c:pt idx="1031">
                  <c:v>104.90016984875318</c:v>
                </c:pt>
                <c:pt idx="1032">
                  <c:v>104.90016984875318</c:v>
                </c:pt>
                <c:pt idx="1033">
                  <c:v>104.90016984875318</c:v>
                </c:pt>
                <c:pt idx="1034">
                  <c:v>104.90016984875318</c:v>
                </c:pt>
                <c:pt idx="1035">
                  <c:v>104.90016984875318</c:v>
                </c:pt>
                <c:pt idx="1036">
                  <c:v>104.90016984875318</c:v>
                </c:pt>
                <c:pt idx="1037">
                  <c:v>104.90016984875318</c:v>
                </c:pt>
                <c:pt idx="1038">
                  <c:v>104.90016984875318</c:v>
                </c:pt>
                <c:pt idx="1039">
                  <c:v>104.90016984875318</c:v>
                </c:pt>
                <c:pt idx="1040">
                  <c:v>104.90016984875318</c:v>
                </c:pt>
                <c:pt idx="1041">
                  <c:v>104.90016984875318</c:v>
                </c:pt>
                <c:pt idx="1042">
                  <c:v>104.90016984875318</c:v>
                </c:pt>
                <c:pt idx="1043">
                  <c:v>104.90016984875318</c:v>
                </c:pt>
                <c:pt idx="1044">
                  <c:v>104.90016984875318</c:v>
                </c:pt>
                <c:pt idx="1045">
                  <c:v>104.90016984875318</c:v>
                </c:pt>
                <c:pt idx="1046">
                  <c:v>104.90016984875318</c:v>
                </c:pt>
                <c:pt idx="1047">
                  <c:v>104.90016984875318</c:v>
                </c:pt>
                <c:pt idx="1048">
                  <c:v>104.90016984875318</c:v>
                </c:pt>
                <c:pt idx="1049">
                  <c:v>104.90016984875318</c:v>
                </c:pt>
                <c:pt idx="1050">
                  <c:v>104.90016984875318</c:v>
                </c:pt>
                <c:pt idx="1051">
                  <c:v>104.90016984875318</c:v>
                </c:pt>
                <c:pt idx="1052">
                  <c:v>104.90016984875318</c:v>
                </c:pt>
                <c:pt idx="1053">
                  <c:v>104.90016984875318</c:v>
                </c:pt>
                <c:pt idx="1054">
                  <c:v>104.03478726612833</c:v>
                </c:pt>
                <c:pt idx="1055">
                  <c:v>103.90474378204567</c:v>
                </c:pt>
                <c:pt idx="1056">
                  <c:v>103.77486285231812</c:v>
                </c:pt>
                <c:pt idx="1057">
                  <c:v>103.77486285231812</c:v>
                </c:pt>
                <c:pt idx="1058">
                  <c:v>103.77486285231812</c:v>
                </c:pt>
                <c:pt idx="1059">
                  <c:v>103.77486285231812</c:v>
                </c:pt>
                <c:pt idx="1060">
                  <c:v>103.77486285231812</c:v>
                </c:pt>
                <c:pt idx="1061">
                  <c:v>103.77486285231812</c:v>
                </c:pt>
                <c:pt idx="1062">
                  <c:v>103.77486285231812</c:v>
                </c:pt>
                <c:pt idx="1063">
                  <c:v>103.77486285231812</c:v>
                </c:pt>
                <c:pt idx="1064">
                  <c:v>103.77486285231812</c:v>
                </c:pt>
                <c:pt idx="1065">
                  <c:v>106.25777352444004</c:v>
                </c:pt>
                <c:pt idx="1066">
                  <c:v>106.12495130753449</c:v>
                </c:pt>
                <c:pt idx="1067">
                  <c:v>105.99229511840008</c:v>
                </c:pt>
                <c:pt idx="1068">
                  <c:v>105.99229511840008</c:v>
                </c:pt>
                <c:pt idx="1069">
                  <c:v>105.99229511840008</c:v>
                </c:pt>
                <c:pt idx="1070">
                  <c:v>105.99229511840008</c:v>
                </c:pt>
                <c:pt idx="1071">
                  <c:v>105.99229511840008</c:v>
                </c:pt>
                <c:pt idx="1072">
                  <c:v>105.99229511840008</c:v>
                </c:pt>
                <c:pt idx="1073">
                  <c:v>105.99229511840008</c:v>
                </c:pt>
                <c:pt idx="1074">
                  <c:v>105.99229511840008</c:v>
                </c:pt>
                <c:pt idx="1075">
                  <c:v>105.99229511840008</c:v>
                </c:pt>
                <c:pt idx="1076">
                  <c:v>105.99229511840008</c:v>
                </c:pt>
                <c:pt idx="1077">
                  <c:v>105.99229511840008</c:v>
                </c:pt>
                <c:pt idx="1078">
                  <c:v>105.99229511840008</c:v>
                </c:pt>
                <c:pt idx="1079">
                  <c:v>105.99229511840008</c:v>
                </c:pt>
                <c:pt idx="1080">
                  <c:v>105.99229511840008</c:v>
                </c:pt>
                <c:pt idx="1081">
                  <c:v>105.99229511840008</c:v>
                </c:pt>
                <c:pt idx="1082">
                  <c:v>105.99229511840008</c:v>
                </c:pt>
                <c:pt idx="1083">
                  <c:v>105.99229511840008</c:v>
                </c:pt>
                <c:pt idx="1084">
                  <c:v>105.99229511840008</c:v>
                </c:pt>
                <c:pt idx="1085">
                  <c:v>105.99229511840008</c:v>
                </c:pt>
                <c:pt idx="1086">
                  <c:v>105.99229511840008</c:v>
                </c:pt>
                <c:pt idx="1087">
                  <c:v>105.99229511840008</c:v>
                </c:pt>
                <c:pt idx="1088">
                  <c:v>105.99229511840008</c:v>
                </c:pt>
                <c:pt idx="1089">
                  <c:v>105.99229511840008</c:v>
                </c:pt>
                <c:pt idx="1090">
                  <c:v>105.99229511840008</c:v>
                </c:pt>
                <c:pt idx="1091">
                  <c:v>105.99229511840008</c:v>
                </c:pt>
                <c:pt idx="1092">
                  <c:v>105.99229511840008</c:v>
                </c:pt>
                <c:pt idx="1093">
                  <c:v>105.99229511840008</c:v>
                </c:pt>
                <c:pt idx="1094">
                  <c:v>108.84703643958747</c:v>
                </c:pt>
                <c:pt idx="1095">
                  <c:v>108.71097764403798</c:v>
                </c:pt>
                <c:pt idx="1096">
                  <c:v>108.57508892198294</c:v>
                </c:pt>
                <c:pt idx="1097">
                  <c:v>108.57508892198294</c:v>
                </c:pt>
                <c:pt idx="1098">
                  <c:v>108.57508892198294</c:v>
                </c:pt>
                <c:pt idx="1099">
                  <c:v>108.57508892198294</c:v>
                </c:pt>
                <c:pt idx="1100">
                  <c:v>108.57508892198294</c:v>
                </c:pt>
                <c:pt idx="1101">
                  <c:v>108.57508892198294</c:v>
                </c:pt>
                <c:pt idx="1102">
                  <c:v>108.57508892198294</c:v>
                </c:pt>
                <c:pt idx="1103">
                  <c:v>108.57508892198294</c:v>
                </c:pt>
                <c:pt idx="1104">
                  <c:v>108.57508892198294</c:v>
                </c:pt>
                <c:pt idx="1105">
                  <c:v>108.57508892198294</c:v>
                </c:pt>
                <c:pt idx="1106">
                  <c:v>108.57508892198294</c:v>
                </c:pt>
                <c:pt idx="1107">
                  <c:v>108.57508892198294</c:v>
                </c:pt>
                <c:pt idx="1108">
                  <c:v>108.57508892198294</c:v>
                </c:pt>
                <c:pt idx="1109">
                  <c:v>108.57508892198294</c:v>
                </c:pt>
                <c:pt idx="1110">
                  <c:v>108.57508892198294</c:v>
                </c:pt>
                <c:pt idx="1111">
                  <c:v>108.57508892198294</c:v>
                </c:pt>
                <c:pt idx="1112">
                  <c:v>108.57508892198294</c:v>
                </c:pt>
                <c:pt idx="1113">
                  <c:v>108.57508892198294</c:v>
                </c:pt>
                <c:pt idx="1114">
                  <c:v>108.57508892198294</c:v>
                </c:pt>
                <c:pt idx="1115">
                  <c:v>108.57508892198294</c:v>
                </c:pt>
                <c:pt idx="1116">
                  <c:v>108.57508892198294</c:v>
                </c:pt>
                <c:pt idx="1117">
                  <c:v>108.57508892198294</c:v>
                </c:pt>
                <c:pt idx="1118">
                  <c:v>108.57508892198294</c:v>
                </c:pt>
                <c:pt idx="1119">
                  <c:v>108.57508892198294</c:v>
                </c:pt>
                <c:pt idx="1120">
                  <c:v>108.57508892198294</c:v>
                </c:pt>
                <c:pt idx="1121">
                  <c:v>108.57508892198294</c:v>
                </c:pt>
                <c:pt idx="1122">
                  <c:v>108.57508892198294</c:v>
                </c:pt>
                <c:pt idx="1123">
                  <c:v>108.57508892198294</c:v>
                </c:pt>
                <c:pt idx="1124">
                  <c:v>108.57508892198294</c:v>
                </c:pt>
                <c:pt idx="1125">
                  <c:v>108.57508892198294</c:v>
                </c:pt>
                <c:pt idx="1126">
                  <c:v>108.57508892198294</c:v>
                </c:pt>
                <c:pt idx="1127">
                  <c:v>108.57508892198294</c:v>
                </c:pt>
                <c:pt idx="1128">
                  <c:v>108.57508892198294</c:v>
                </c:pt>
                <c:pt idx="1129">
                  <c:v>108.57508892198294</c:v>
                </c:pt>
                <c:pt idx="1130">
                  <c:v>108.57508892198294</c:v>
                </c:pt>
                <c:pt idx="1131">
                  <c:v>108.57508892198294</c:v>
                </c:pt>
                <c:pt idx="1132">
                  <c:v>108.57508892198294</c:v>
                </c:pt>
                <c:pt idx="1133">
                  <c:v>108.57508892198294</c:v>
                </c:pt>
                <c:pt idx="1134">
                  <c:v>108.57508892198294</c:v>
                </c:pt>
                <c:pt idx="1135">
                  <c:v>108.57508892198294</c:v>
                </c:pt>
                <c:pt idx="1136">
                  <c:v>108.57508892198294</c:v>
                </c:pt>
                <c:pt idx="1137">
                  <c:v>108.57508892198294</c:v>
                </c:pt>
                <c:pt idx="1138">
                  <c:v>108.57508892198294</c:v>
                </c:pt>
                <c:pt idx="1139">
                  <c:v>108.57508892198294</c:v>
                </c:pt>
                <c:pt idx="1140">
                  <c:v>108.57508892198294</c:v>
                </c:pt>
                <c:pt idx="1141">
                  <c:v>108.57508892198294</c:v>
                </c:pt>
                <c:pt idx="1142">
                  <c:v>108.57508892198294</c:v>
                </c:pt>
                <c:pt idx="1143">
                  <c:v>108.57508892198294</c:v>
                </c:pt>
                <c:pt idx="1144">
                  <c:v>108.28850851122279</c:v>
                </c:pt>
                <c:pt idx="1145">
                  <c:v>108.15314787558376</c:v>
                </c:pt>
                <c:pt idx="1146">
                  <c:v>108.01795644073928</c:v>
                </c:pt>
                <c:pt idx="1147">
                  <c:v>108.01795644073928</c:v>
                </c:pt>
                <c:pt idx="1148">
                  <c:v>108.01795644073928</c:v>
                </c:pt>
                <c:pt idx="1149">
                  <c:v>108.01795644073928</c:v>
                </c:pt>
                <c:pt idx="1150">
                  <c:v>111.33977996993927</c:v>
                </c:pt>
                <c:pt idx="1151">
                  <c:v>111.20060524497686</c:v>
                </c:pt>
                <c:pt idx="1152">
                  <c:v>111.06160448842064</c:v>
                </c:pt>
                <c:pt idx="1153">
                  <c:v>111.06160448842064</c:v>
                </c:pt>
                <c:pt idx="1154">
                  <c:v>111.06160448842064</c:v>
                </c:pt>
                <c:pt idx="1155">
                  <c:v>109.35734836734839</c:v>
                </c:pt>
                <c:pt idx="1156">
                  <c:v>109.22065168188921</c:v>
                </c:pt>
                <c:pt idx="1157">
                  <c:v>109.08412586728684</c:v>
                </c:pt>
                <c:pt idx="1158">
                  <c:v>109.08412586728684</c:v>
                </c:pt>
                <c:pt idx="1159">
                  <c:v>109.08412586728684</c:v>
                </c:pt>
                <c:pt idx="1160">
                  <c:v>109.08412586728684</c:v>
                </c:pt>
                <c:pt idx="1161">
                  <c:v>109.08412586728684</c:v>
                </c:pt>
                <c:pt idx="1162">
                  <c:v>109.08412586728684</c:v>
                </c:pt>
                <c:pt idx="1163">
                  <c:v>109.08412586728684</c:v>
                </c:pt>
                <c:pt idx="1164">
                  <c:v>109.08412586728684</c:v>
                </c:pt>
                <c:pt idx="1165">
                  <c:v>109.08412586728684</c:v>
                </c:pt>
                <c:pt idx="1166">
                  <c:v>109.08412586728684</c:v>
                </c:pt>
                <c:pt idx="1167">
                  <c:v>109.08412586728684</c:v>
                </c:pt>
                <c:pt idx="1168">
                  <c:v>109.08412586728684</c:v>
                </c:pt>
                <c:pt idx="1169">
                  <c:v>109.08412586728684</c:v>
                </c:pt>
                <c:pt idx="1170">
                  <c:v>109.08412586728684</c:v>
                </c:pt>
                <c:pt idx="1171">
                  <c:v>109.08412586728684</c:v>
                </c:pt>
                <c:pt idx="1172">
                  <c:v>109.08412586728684</c:v>
                </c:pt>
                <c:pt idx="1173">
                  <c:v>109.08412586728684</c:v>
                </c:pt>
                <c:pt idx="1174">
                  <c:v>109.08412586728684</c:v>
                </c:pt>
                <c:pt idx="1175">
                  <c:v>109.08412586728684</c:v>
                </c:pt>
                <c:pt idx="1176">
                  <c:v>109.08412586728684</c:v>
                </c:pt>
                <c:pt idx="1177">
                  <c:v>109.08412586728684</c:v>
                </c:pt>
                <c:pt idx="1178">
                  <c:v>109.08412586728684</c:v>
                </c:pt>
                <c:pt idx="1179">
                  <c:v>109.08412586728684</c:v>
                </c:pt>
                <c:pt idx="1180">
                  <c:v>109.08412586728684</c:v>
                </c:pt>
                <c:pt idx="1181">
                  <c:v>109.08412586728684</c:v>
                </c:pt>
                <c:pt idx="1182">
                  <c:v>109.08412586728684</c:v>
                </c:pt>
                <c:pt idx="1183">
                  <c:v>109.08412586728684</c:v>
                </c:pt>
                <c:pt idx="1184">
                  <c:v>109.08412586728684</c:v>
                </c:pt>
                <c:pt idx="1185">
                  <c:v>109.08412586728684</c:v>
                </c:pt>
                <c:pt idx="1186">
                  <c:v>109.08412586728684</c:v>
                </c:pt>
                <c:pt idx="1187">
                  <c:v>109.08412586728684</c:v>
                </c:pt>
                <c:pt idx="1188">
                  <c:v>109.08412586728684</c:v>
                </c:pt>
                <c:pt idx="1189">
                  <c:v>109.08412586728684</c:v>
                </c:pt>
                <c:pt idx="1190">
                  <c:v>109.08412586728684</c:v>
                </c:pt>
                <c:pt idx="1191">
                  <c:v>109.08412586728684</c:v>
                </c:pt>
                <c:pt idx="1192">
                  <c:v>109.08412586728684</c:v>
                </c:pt>
                <c:pt idx="1193">
                  <c:v>109.08412586728684</c:v>
                </c:pt>
                <c:pt idx="1194">
                  <c:v>109.08412586728684</c:v>
                </c:pt>
                <c:pt idx="1195">
                  <c:v>109.08412586728684</c:v>
                </c:pt>
                <c:pt idx="1196">
                  <c:v>109.08412586728684</c:v>
                </c:pt>
                <c:pt idx="1197">
                  <c:v>109.08412586728684</c:v>
                </c:pt>
                <c:pt idx="1198">
                  <c:v>109.08412586728684</c:v>
                </c:pt>
                <c:pt idx="1199">
                  <c:v>109.08412586728684</c:v>
                </c:pt>
                <c:pt idx="1200">
                  <c:v>109.08412586728684</c:v>
                </c:pt>
                <c:pt idx="1201">
                  <c:v>109.08412586728684</c:v>
                </c:pt>
                <c:pt idx="1202">
                  <c:v>109.00596818034585</c:v>
                </c:pt>
                <c:pt idx="1203">
                  <c:v>107.76309399411801</c:v>
                </c:pt>
                <c:pt idx="1204">
                  <c:v>107.76309399411801</c:v>
                </c:pt>
                <c:pt idx="1205">
                  <c:v>106.48631444229366</c:v>
                </c:pt>
                <c:pt idx="1206">
                  <c:v>104.43002609119297</c:v>
                </c:pt>
                <c:pt idx="1207">
                  <c:v>104.43002609119297</c:v>
                </c:pt>
                <c:pt idx="1208">
                  <c:v>104.29948855857899</c:v>
                </c:pt>
                <c:pt idx="1209">
                  <c:v>104.29948855857899</c:v>
                </c:pt>
                <c:pt idx="1210">
                  <c:v>104.29948855857899</c:v>
                </c:pt>
                <c:pt idx="1211">
                  <c:v>104.29948855857899</c:v>
                </c:pt>
                <c:pt idx="1212">
                  <c:v>104.29948855857899</c:v>
                </c:pt>
                <c:pt idx="1213">
                  <c:v>104.29948855857899</c:v>
                </c:pt>
                <c:pt idx="1214">
                  <c:v>104.29948855857899</c:v>
                </c:pt>
                <c:pt idx="1215">
                  <c:v>104.29948855857899</c:v>
                </c:pt>
                <c:pt idx="1216">
                  <c:v>104.29948855857899</c:v>
                </c:pt>
                <c:pt idx="1217">
                  <c:v>104.29948855857899</c:v>
                </c:pt>
                <c:pt idx="1218">
                  <c:v>104.29948855857899</c:v>
                </c:pt>
                <c:pt idx="1219">
                  <c:v>104.29948855857899</c:v>
                </c:pt>
                <c:pt idx="1220">
                  <c:v>104.29948855857899</c:v>
                </c:pt>
                <c:pt idx="1221">
                  <c:v>104.29948855857899</c:v>
                </c:pt>
                <c:pt idx="1222">
                  <c:v>104.29948855857899</c:v>
                </c:pt>
                <c:pt idx="1223">
                  <c:v>104.29948855857899</c:v>
                </c:pt>
                <c:pt idx="1224">
                  <c:v>104.29948855857899</c:v>
                </c:pt>
                <c:pt idx="1225">
                  <c:v>104.29948855857899</c:v>
                </c:pt>
                <c:pt idx="1226">
                  <c:v>104.29948855857899</c:v>
                </c:pt>
                <c:pt idx="1227">
                  <c:v>104.29948855857899</c:v>
                </c:pt>
                <c:pt idx="1228">
                  <c:v>104.29948855857899</c:v>
                </c:pt>
                <c:pt idx="1229">
                  <c:v>104.29948855857899</c:v>
                </c:pt>
                <c:pt idx="1230">
                  <c:v>104.29948855857899</c:v>
                </c:pt>
                <c:pt idx="1231">
                  <c:v>104.29948855857899</c:v>
                </c:pt>
                <c:pt idx="1232">
                  <c:v>104.29948855857899</c:v>
                </c:pt>
                <c:pt idx="1233">
                  <c:v>104.29948855857899</c:v>
                </c:pt>
                <c:pt idx="1234">
                  <c:v>104.29948855857899</c:v>
                </c:pt>
                <c:pt idx="1235">
                  <c:v>104.29948855857899</c:v>
                </c:pt>
                <c:pt idx="1236">
                  <c:v>104.29948855857899</c:v>
                </c:pt>
                <c:pt idx="1237">
                  <c:v>104.29948855857899</c:v>
                </c:pt>
                <c:pt idx="1238">
                  <c:v>104.29948855857899</c:v>
                </c:pt>
                <c:pt idx="1239">
                  <c:v>104.29948855857899</c:v>
                </c:pt>
                <c:pt idx="1240">
                  <c:v>104.29948855857899</c:v>
                </c:pt>
                <c:pt idx="1241">
                  <c:v>104.29948855857899</c:v>
                </c:pt>
                <c:pt idx="1242">
                  <c:v>104.29948855857899</c:v>
                </c:pt>
                <c:pt idx="1243">
                  <c:v>104.29948855857899</c:v>
                </c:pt>
                <c:pt idx="1244">
                  <c:v>104.29948855857899</c:v>
                </c:pt>
                <c:pt idx="1245">
                  <c:v>104.29948855857899</c:v>
                </c:pt>
                <c:pt idx="1246">
                  <c:v>104.29948855857899</c:v>
                </c:pt>
                <c:pt idx="1247">
                  <c:v>104.29948855857899</c:v>
                </c:pt>
                <c:pt idx="1248">
                  <c:v>104.29948855857899</c:v>
                </c:pt>
                <c:pt idx="1249">
                  <c:v>104.29948855857899</c:v>
                </c:pt>
                <c:pt idx="1250">
                  <c:v>104.29948855857899</c:v>
                </c:pt>
                <c:pt idx="1251">
                  <c:v>104.29948855857899</c:v>
                </c:pt>
                <c:pt idx="1252">
                  <c:v>104.29948855857899</c:v>
                </c:pt>
                <c:pt idx="1253">
                  <c:v>104.29948855857899</c:v>
                </c:pt>
                <c:pt idx="1254">
                  <c:v>104.29948855857899</c:v>
                </c:pt>
                <c:pt idx="1255">
                  <c:v>104.29948855857899</c:v>
                </c:pt>
                <c:pt idx="1256">
                  <c:v>104.29948855857899</c:v>
                </c:pt>
                <c:pt idx="1257">
                  <c:v>104.29948855857899</c:v>
                </c:pt>
                <c:pt idx="1258">
                  <c:v>104.29948855857899</c:v>
                </c:pt>
                <c:pt idx="1259">
                  <c:v>104.29948855857899</c:v>
                </c:pt>
                <c:pt idx="1260">
                  <c:v>104.29948855857899</c:v>
                </c:pt>
                <c:pt idx="1261">
                  <c:v>104.29948855857899</c:v>
                </c:pt>
                <c:pt idx="1262">
                  <c:v>104.29948855857899</c:v>
                </c:pt>
                <c:pt idx="1263">
                  <c:v>104.29948855857899</c:v>
                </c:pt>
                <c:pt idx="1264">
                  <c:v>104.29948855857899</c:v>
                </c:pt>
                <c:pt idx="1265">
                  <c:v>104.29948855857899</c:v>
                </c:pt>
                <c:pt idx="1266">
                  <c:v>104.29948855857899</c:v>
                </c:pt>
                <c:pt idx="1267">
                  <c:v>104.29948855857899</c:v>
                </c:pt>
                <c:pt idx="1268">
                  <c:v>104.29948855857899</c:v>
                </c:pt>
                <c:pt idx="1269">
                  <c:v>104.29948855857899</c:v>
                </c:pt>
                <c:pt idx="1270">
                  <c:v>104.29948855857899</c:v>
                </c:pt>
                <c:pt idx="1271">
                  <c:v>104.29948855857899</c:v>
                </c:pt>
                <c:pt idx="1272">
                  <c:v>104.29948855857899</c:v>
                </c:pt>
                <c:pt idx="1273">
                  <c:v>104.29948855857899</c:v>
                </c:pt>
                <c:pt idx="1274">
                  <c:v>104.29948855857899</c:v>
                </c:pt>
                <c:pt idx="1275">
                  <c:v>104.29948855857899</c:v>
                </c:pt>
                <c:pt idx="1276">
                  <c:v>104.29948855857899</c:v>
                </c:pt>
                <c:pt idx="1277">
                  <c:v>104.29948855857899</c:v>
                </c:pt>
                <c:pt idx="1278">
                  <c:v>104.29948855857899</c:v>
                </c:pt>
                <c:pt idx="1279">
                  <c:v>104.29948855857899</c:v>
                </c:pt>
                <c:pt idx="1280">
                  <c:v>104.29948855857899</c:v>
                </c:pt>
                <c:pt idx="1281">
                  <c:v>104.29948855857899</c:v>
                </c:pt>
                <c:pt idx="1282">
                  <c:v>104.29948855857899</c:v>
                </c:pt>
                <c:pt idx="1283">
                  <c:v>104.29948855857899</c:v>
                </c:pt>
                <c:pt idx="1284">
                  <c:v>104.29948855857899</c:v>
                </c:pt>
                <c:pt idx="1285">
                  <c:v>104.29948855857899</c:v>
                </c:pt>
                <c:pt idx="1286">
                  <c:v>104.29948855857899</c:v>
                </c:pt>
                <c:pt idx="1287">
                  <c:v>104.29948855857899</c:v>
                </c:pt>
                <c:pt idx="1288">
                  <c:v>104.29948855857899</c:v>
                </c:pt>
                <c:pt idx="1289">
                  <c:v>104.29948855857899</c:v>
                </c:pt>
                <c:pt idx="1290">
                  <c:v>104.29948855857899</c:v>
                </c:pt>
                <c:pt idx="1291">
                  <c:v>104.29948855857899</c:v>
                </c:pt>
                <c:pt idx="1292">
                  <c:v>104.29948855857899</c:v>
                </c:pt>
                <c:pt idx="1293">
                  <c:v>108.28445842138555</c:v>
                </c:pt>
                <c:pt idx="1294">
                  <c:v>108.14910284835882</c:v>
                </c:pt>
                <c:pt idx="1295">
                  <c:v>108.01391646979837</c:v>
                </c:pt>
                <c:pt idx="1296">
                  <c:v>108.01391646979837</c:v>
                </c:pt>
                <c:pt idx="1297">
                  <c:v>108.01391646979837</c:v>
                </c:pt>
                <c:pt idx="1298">
                  <c:v>108.54951481651085</c:v>
                </c:pt>
                <c:pt idx="1299">
                  <c:v>108.41382792299021</c:v>
                </c:pt>
                <c:pt idx="1300">
                  <c:v>108.27831063808647</c:v>
                </c:pt>
                <c:pt idx="1301">
                  <c:v>108.27831063808647</c:v>
                </c:pt>
                <c:pt idx="1302">
                  <c:v>108.27831063808647</c:v>
                </c:pt>
                <c:pt idx="1303">
                  <c:v>108.27831063808647</c:v>
                </c:pt>
                <c:pt idx="1304">
                  <c:v>108.27831063808647</c:v>
                </c:pt>
                <c:pt idx="1305">
                  <c:v>108.27831063808647</c:v>
                </c:pt>
                <c:pt idx="1306">
                  <c:v>108.27831063808647</c:v>
                </c:pt>
                <c:pt idx="1307">
                  <c:v>108.27831063808647</c:v>
                </c:pt>
                <c:pt idx="1308">
                  <c:v>108.25614573244212</c:v>
                </c:pt>
                <c:pt idx="1309">
                  <c:v>108.12082555027658</c:v>
                </c:pt>
                <c:pt idx="1310">
                  <c:v>107.98567451833874</c:v>
                </c:pt>
                <c:pt idx="1311">
                  <c:v>107.98567451833874</c:v>
                </c:pt>
                <c:pt idx="1312">
                  <c:v>107.98567451833874</c:v>
                </c:pt>
                <c:pt idx="1313">
                  <c:v>107.98567451833874</c:v>
                </c:pt>
                <c:pt idx="1314">
                  <c:v>107.98567451833874</c:v>
                </c:pt>
                <c:pt idx="1315">
                  <c:v>107.98567451833874</c:v>
                </c:pt>
                <c:pt idx="1316">
                  <c:v>107.98567451833874</c:v>
                </c:pt>
                <c:pt idx="1317">
                  <c:v>107.98567451833874</c:v>
                </c:pt>
                <c:pt idx="1318">
                  <c:v>107.98567451833874</c:v>
                </c:pt>
                <c:pt idx="1319">
                  <c:v>107.98567451833874</c:v>
                </c:pt>
                <c:pt idx="1320">
                  <c:v>107.98567451833874</c:v>
                </c:pt>
                <c:pt idx="1321">
                  <c:v>107.98567451833874</c:v>
                </c:pt>
                <c:pt idx="1322">
                  <c:v>107.98567451833874</c:v>
                </c:pt>
                <c:pt idx="1323">
                  <c:v>107.13436039319814</c:v>
                </c:pt>
                <c:pt idx="1324">
                  <c:v>107.00044244270664</c:v>
                </c:pt>
                <c:pt idx="1325">
                  <c:v>106.86669188965327</c:v>
                </c:pt>
                <c:pt idx="1326">
                  <c:v>106.86669188965327</c:v>
                </c:pt>
                <c:pt idx="1327">
                  <c:v>106.86669188965327</c:v>
                </c:pt>
                <c:pt idx="1328">
                  <c:v>106.86669188965327</c:v>
                </c:pt>
                <c:pt idx="1329">
                  <c:v>106.86669188965327</c:v>
                </c:pt>
                <c:pt idx="1330">
                  <c:v>106.86669188965327</c:v>
                </c:pt>
                <c:pt idx="1331">
                  <c:v>106.86669188965327</c:v>
                </c:pt>
                <c:pt idx="1332">
                  <c:v>106.86669188965327</c:v>
                </c:pt>
                <c:pt idx="1333">
                  <c:v>106.86669188965327</c:v>
                </c:pt>
                <c:pt idx="1334">
                  <c:v>106.86669188965327</c:v>
                </c:pt>
                <c:pt idx="1335">
                  <c:v>106.86669188965327</c:v>
                </c:pt>
                <c:pt idx="1336">
                  <c:v>106.86669188965327</c:v>
                </c:pt>
                <c:pt idx="1337">
                  <c:v>106.86669188965327</c:v>
                </c:pt>
                <c:pt idx="1338">
                  <c:v>106.86669188965327</c:v>
                </c:pt>
                <c:pt idx="1339">
                  <c:v>106.86669188965327</c:v>
                </c:pt>
                <c:pt idx="1340">
                  <c:v>106.86669188965327</c:v>
                </c:pt>
                <c:pt idx="1341">
                  <c:v>108.71312845073069</c:v>
                </c:pt>
                <c:pt idx="1342">
                  <c:v>108.57723704016728</c:v>
                </c:pt>
                <c:pt idx="1343">
                  <c:v>108.44151549386707</c:v>
                </c:pt>
                <c:pt idx="1344">
                  <c:v>108.44151549386707</c:v>
                </c:pt>
                <c:pt idx="1345">
                  <c:v>110.09143865173556</c:v>
                </c:pt>
                <c:pt idx="1346">
                  <c:v>109.95382435342088</c:v>
                </c:pt>
                <c:pt idx="1347">
                  <c:v>109.81638207297911</c:v>
                </c:pt>
                <c:pt idx="1348">
                  <c:v>109.81638207297911</c:v>
                </c:pt>
                <c:pt idx="1349">
                  <c:v>109.81638207297911</c:v>
                </c:pt>
                <c:pt idx="1350">
                  <c:v>109.81638207297911</c:v>
                </c:pt>
                <c:pt idx="1351">
                  <c:v>109.81638207297911</c:v>
                </c:pt>
                <c:pt idx="1352">
                  <c:v>109.81638207297911</c:v>
                </c:pt>
                <c:pt idx="1353">
                  <c:v>109.81638207297911</c:v>
                </c:pt>
                <c:pt idx="1354">
                  <c:v>109.81638207297911</c:v>
                </c:pt>
                <c:pt idx="1355">
                  <c:v>109.81638207297911</c:v>
                </c:pt>
                <c:pt idx="1356">
                  <c:v>109.81638207297911</c:v>
                </c:pt>
                <c:pt idx="1357">
                  <c:v>109.81638207297911</c:v>
                </c:pt>
                <c:pt idx="1358">
                  <c:v>109.81638207297911</c:v>
                </c:pt>
                <c:pt idx="1359">
                  <c:v>109.81638207297911</c:v>
                </c:pt>
                <c:pt idx="1360">
                  <c:v>109.81638207297911</c:v>
                </c:pt>
                <c:pt idx="1361">
                  <c:v>109.81638207297911</c:v>
                </c:pt>
                <c:pt idx="1362">
                  <c:v>109.81638207297911</c:v>
                </c:pt>
                <c:pt idx="1363">
                  <c:v>109.81638207297911</c:v>
                </c:pt>
                <c:pt idx="1364">
                  <c:v>109.81638207297911</c:v>
                </c:pt>
                <c:pt idx="1365">
                  <c:v>109.81638207297911</c:v>
                </c:pt>
                <c:pt idx="1366">
                  <c:v>109.81638207297911</c:v>
                </c:pt>
                <c:pt idx="1367">
                  <c:v>109.81638207297911</c:v>
                </c:pt>
                <c:pt idx="1368">
                  <c:v>109.81638207297911</c:v>
                </c:pt>
                <c:pt idx="1369">
                  <c:v>109.81638207297911</c:v>
                </c:pt>
                <c:pt idx="1370">
                  <c:v>109.81638207297911</c:v>
                </c:pt>
                <c:pt idx="1371">
                  <c:v>109.81638207297911</c:v>
                </c:pt>
                <c:pt idx="1372">
                  <c:v>109.81638207297911</c:v>
                </c:pt>
                <c:pt idx="1373">
                  <c:v>109.81638207297911</c:v>
                </c:pt>
                <c:pt idx="1374">
                  <c:v>109.81638207297911</c:v>
                </c:pt>
                <c:pt idx="1375">
                  <c:v>109.81638207297911</c:v>
                </c:pt>
                <c:pt idx="1376">
                  <c:v>109.66610797227075</c:v>
                </c:pt>
                <c:pt idx="1377">
                  <c:v>109.52902533730541</c:v>
                </c:pt>
                <c:pt idx="1378">
                  <c:v>109.39691447306087</c:v>
                </c:pt>
                <c:pt idx="1379">
                  <c:v>109.26016832996955</c:v>
                </c:pt>
                <c:pt idx="1380">
                  <c:v>109.12359311955709</c:v>
                </c:pt>
                <c:pt idx="1381">
                  <c:v>109.12359311955709</c:v>
                </c:pt>
                <c:pt idx="1382">
                  <c:v>109.12359311955709</c:v>
                </c:pt>
                <c:pt idx="1383">
                  <c:v>109.12359311955709</c:v>
                </c:pt>
                <c:pt idx="1384">
                  <c:v>109.12359311955709</c:v>
                </c:pt>
                <c:pt idx="1385">
                  <c:v>109.12359311955709</c:v>
                </c:pt>
                <c:pt idx="1386">
                  <c:v>109.12359311955709</c:v>
                </c:pt>
                <c:pt idx="1387">
                  <c:v>109.12359311955709</c:v>
                </c:pt>
                <c:pt idx="1388">
                  <c:v>109.12359311955709</c:v>
                </c:pt>
                <c:pt idx="1389">
                  <c:v>109.12359311955709</c:v>
                </c:pt>
                <c:pt idx="1390">
                  <c:v>109.12359311955709</c:v>
                </c:pt>
                <c:pt idx="1391">
                  <c:v>109.12359311955709</c:v>
                </c:pt>
                <c:pt idx="1392">
                  <c:v>109.12359311955709</c:v>
                </c:pt>
                <c:pt idx="1393">
                  <c:v>109.12359311955709</c:v>
                </c:pt>
                <c:pt idx="1394">
                  <c:v>109.12359311955709</c:v>
                </c:pt>
                <c:pt idx="1395">
                  <c:v>109.12359311955709</c:v>
                </c:pt>
                <c:pt idx="1396">
                  <c:v>109.12359311955709</c:v>
                </c:pt>
                <c:pt idx="1397">
                  <c:v>109.12359311955709</c:v>
                </c:pt>
                <c:pt idx="1398">
                  <c:v>109.12359311955709</c:v>
                </c:pt>
                <c:pt idx="1399">
                  <c:v>109.12359311955709</c:v>
                </c:pt>
                <c:pt idx="1400">
                  <c:v>109.12359311955709</c:v>
                </c:pt>
                <c:pt idx="1401">
                  <c:v>109.12359311955709</c:v>
                </c:pt>
                <c:pt idx="1402">
                  <c:v>109.12359311955709</c:v>
                </c:pt>
                <c:pt idx="1403">
                  <c:v>109.12359311955709</c:v>
                </c:pt>
                <c:pt idx="1404">
                  <c:v>109.12359311955709</c:v>
                </c:pt>
                <c:pt idx="1405">
                  <c:v>109.12359311955709</c:v>
                </c:pt>
                <c:pt idx="1406">
                  <c:v>109.12359311955709</c:v>
                </c:pt>
                <c:pt idx="1407">
                  <c:v>109.12359311955709</c:v>
                </c:pt>
                <c:pt idx="1408">
                  <c:v>109.12359311955709</c:v>
                </c:pt>
                <c:pt idx="1409">
                  <c:v>109.12359311955709</c:v>
                </c:pt>
                <c:pt idx="1410">
                  <c:v>109.12359311955709</c:v>
                </c:pt>
                <c:pt idx="1411">
                  <c:v>109.12359311955709</c:v>
                </c:pt>
                <c:pt idx="1412">
                  <c:v>109.12359311955709</c:v>
                </c:pt>
                <c:pt idx="1413">
                  <c:v>109.12359311955709</c:v>
                </c:pt>
                <c:pt idx="1414">
                  <c:v>109.12359311955709</c:v>
                </c:pt>
                <c:pt idx="1415">
                  <c:v>109.12359311955709</c:v>
                </c:pt>
                <c:pt idx="1416">
                  <c:v>110.03723208999496</c:v>
                </c:pt>
                <c:pt idx="1417">
                  <c:v>109.89968554988246</c:v>
                </c:pt>
                <c:pt idx="1418">
                  <c:v>109.76231094294511</c:v>
                </c:pt>
                <c:pt idx="1419">
                  <c:v>109.76231094294511</c:v>
                </c:pt>
                <c:pt idx="1420">
                  <c:v>109.76231094294511</c:v>
                </c:pt>
                <c:pt idx="1421">
                  <c:v>109.76231094294511</c:v>
                </c:pt>
                <c:pt idx="1422">
                  <c:v>109.76231094294511</c:v>
                </c:pt>
                <c:pt idx="1423">
                  <c:v>109.76231094294511</c:v>
                </c:pt>
                <c:pt idx="1424">
                  <c:v>109.76231094294511</c:v>
                </c:pt>
                <c:pt idx="1425">
                  <c:v>109.76231094294511</c:v>
                </c:pt>
                <c:pt idx="1426">
                  <c:v>109.76231094294511</c:v>
                </c:pt>
                <c:pt idx="1427">
                  <c:v>109.76231094294511</c:v>
                </c:pt>
                <c:pt idx="1428">
                  <c:v>109.76231094294511</c:v>
                </c:pt>
                <c:pt idx="1429">
                  <c:v>109.76231094294511</c:v>
                </c:pt>
                <c:pt idx="1430">
                  <c:v>109.76231094294511</c:v>
                </c:pt>
                <c:pt idx="1431">
                  <c:v>109.76231094294511</c:v>
                </c:pt>
                <c:pt idx="1432">
                  <c:v>109.76231094294511</c:v>
                </c:pt>
                <c:pt idx="1433">
                  <c:v>109.76231094294511</c:v>
                </c:pt>
                <c:pt idx="1434">
                  <c:v>109.76231094294511</c:v>
                </c:pt>
                <c:pt idx="1435">
                  <c:v>109.76231094294511</c:v>
                </c:pt>
                <c:pt idx="1436">
                  <c:v>109.76231094294511</c:v>
                </c:pt>
                <c:pt idx="1437">
                  <c:v>110.0538434624842</c:v>
                </c:pt>
                <c:pt idx="1438">
                  <c:v>109.91627615815609</c:v>
                </c:pt>
                <c:pt idx="1439">
                  <c:v>109.77888081295841</c:v>
                </c:pt>
                <c:pt idx="1440">
                  <c:v>109.77888081295841</c:v>
                </c:pt>
                <c:pt idx="1441">
                  <c:v>109.77888081295841</c:v>
                </c:pt>
                <c:pt idx="1442">
                  <c:v>109.77888081295841</c:v>
                </c:pt>
                <c:pt idx="1443">
                  <c:v>109.77888081295841</c:v>
                </c:pt>
                <c:pt idx="1444">
                  <c:v>109.77888081295841</c:v>
                </c:pt>
                <c:pt idx="1445">
                  <c:v>109.77888081295841</c:v>
                </c:pt>
                <c:pt idx="1446">
                  <c:v>109.77888081295841</c:v>
                </c:pt>
                <c:pt idx="1447">
                  <c:v>109.77888081295841</c:v>
                </c:pt>
                <c:pt idx="1448">
                  <c:v>109.77888081295841</c:v>
                </c:pt>
                <c:pt idx="1449">
                  <c:v>109.77888081295841</c:v>
                </c:pt>
                <c:pt idx="1450">
                  <c:v>109.77888081295841</c:v>
                </c:pt>
                <c:pt idx="1451">
                  <c:v>109.77888081295841</c:v>
                </c:pt>
                <c:pt idx="1452">
                  <c:v>109.77888081295841</c:v>
                </c:pt>
                <c:pt idx="1453">
                  <c:v>109.77888081295841</c:v>
                </c:pt>
                <c:pt idx="1454">
                  <c:v>109.77888081295841</c:v>
                </c:pt>
                <c:pt idx="1455">
                  <c:v>109.77888081295841</c:v>
                </c:pt>
                <c:pt idx="1456">
                  <c:v>109.77888081295841</c:v>
                </c:pt>
                <c:pt idx="1457">
                  <c:v>109.77888081295841</c:v>
                </c:pt>
                <c:pt idx="1458">
                  <c:v>109.77888081295841</c:v>
                </c:pt>
                <c:pt idx="1459">
                  <c:v>108.05117493355073</c:v>
                </c:pt>
                <c:pt idx="1460">
                  <c:v>107.91611096488379</c:v>
                </c:pt>
                <c:pt idx="1461">
                  <c:v>107.78121582617769</c:v>
                </c:pt>
                <c:pt idx="1462">
                  <c:v>107.78121582617769</c:v>
                </c:pt>
                <c:pt idx="1463">
                  <c:v>107.78121582617769</c:v>
                </c:pt>
                <c:pt idx="1464">
                  <c:v>107.78121582617769</c:v>
                </c:pt>
                <c:pt idx="1465">
                  <c:v>107.78121582617769</c:v>
                </c:pt>
                <c:pt idx="1466">
                  <c:v>107.78121582617769</c:v>
                </c:pt>
                <c:pt idx="1467">
                  <c:v>107.78121582617769</c:v>
                </c:pt>
                <c:pt idx="1468">
                  <c:v>107.78121582617769</c:v>
                </c:pt>
                <c:pt idx="1469">
                  <c:v>107.78121582617769</c:v>
                </c:pt>
                <c:pt idx="1470">
                  <c:v>107.78121582617769</c:v>
                </c:pt>
                <c:pt idx="1471">
                  <c:v>107.78121582617769</c:v>
                </c:pt>
                <c:pt idx="1472">
                  <c:v>107.78121582617769</c:v>
                </c:pt>
                <c:pt idx="1473">
                  <c:v>107.78121582617769</c:v>
                </c:pt>
                <c:pt idx="1474">
                  <c:v>107.78121582617769</c:v>
                </c:pt>
                <c:pt idx="1475">
                  <c:v>107.78121582617769</c:v>
                </c:pt>
                <c:pt idx="1476">
                  <c:v>107.78121582617769</c:v>
                </c:pt>
                <c:pt idx="1477">
                  <c:v>107.78121582617769</c:v>
                </c:pt>
                <c:pt idx="1478">
                  <c:v>107.78121582617769</c:v>
                </c:pt>
                <c:pt idx="1479">
                  <c:v>107.78121582617769</c:v>
                </c:pt>
                <c:pt idx="1480">
                  <c:v>107.78121582617769</c:v>
                </c:pt>
                <c:pt idx="1481">
                  <c:v>107.78121582617769</c:v>
                </c:pt>
                <c:pt idx="1482">
                  <c:v>107.78121582617769</c:v>
                </c:pt>
                <c:pt idx="1483">
                  <c:v>107.78121582617769</c:v>
                </c:pt>
                <c:pt idx="1484">
                  <c:v>107.78121582617769</c:v>
                </c:pt>
                <c:pt idx="1485">
                  <c:v>107.78121582617769</c:v>
                </c:pt>
                <c:pt idx="1486">
                  <c:v>107.78121582617769</c:v>
                </c:pt>
                <c:pt idx="1487">
                  <c:v>107.78121582617769</c:v>
                </c:pt>
                <c:pt idx="1488">
                  <c:v>107.78121582617769</c:v>
                </c:pt>
                <c:pt idx="1489">
                  <c:v>107.78121582617769</c:v>
                </c:pt>
                <c:pt idx="1490">
                  <c:v>107.78121582617769</c:v>
                </c:pt>
                <c:pt idx="1491">
                  <c:v>107.78121582617769</c:v>
                </c:pt>
                <c:pt idx="1492">
                  <c:v>107.78121582617769</c:v>
                </c:pt>
                <c:pt idx="1493">
                  <c:v>107.78121582617769</c:v>
                </c:pt>
                <c:pt idx="1494">
                  <c:v>107.78121582617769</c:v>
                </c:pt>
                <c:pt idx="1495">
                  <c:v>105.90807732638457</c:v>
                </c:pt>
                <c:pt idx="1496">
                  <c:v>105.77569222972659</c:v>
                </c:pt>
                <c:pt idx="1497">
                  <c:v>105.64347261443943</c:v>
                </c:pt>
                <c:pt idx="1498">
                  <c:v>105.64347261443943</c:v>
                </c:pt>
                <c:pt idx="1499">
                  <c:v>105.64347261443943</c:v>
                </c:pt>
                <c:pt idx="1500">
                  <c:v>105.64347261443943</c:v>
                </c:pt>
                <c:pt idx="1501">
                  <c:v>105.64347261443943</c:v>
                </c:pt>
                <c:pt idx="1502">
                  <c:v>105.64347261443943</c:v>
                </c:pt>
                <c:pt idx="1503">
                  <c:v>105.64347261443943</c:v>
                </c:pt>
                <c:pt idx="1504">
                  <c:v>105.64347261443943</c:v>
                </c:pt>
                <c:pt idx="1505">
                  <c:v>105.64347261443943</c:v>
                </c:pt>
                <c:pt idx="1506">
                  <c:v>105.64347261443943</c:v>
                </c:pt>
                <c:pt idx="1507">
                  <c:v>105.64347261443943</c:v>
                </c:pt>
                <c:pt idx="1508">
                  <c:v>105.64347261443943</c:v>
                </c:pt>
                <c:pt idx="1509">
                  <c:v>105.64347261443943</c:v>
                </c:pt>
                <c:pt idx="1510">
                  <c:v>105.64347261443943</c:v>
                </c:pt>
                <c:pt idx="1511">
                  <c:v>105.64347261443943</c:v>
                </c:pt>
                <c:pt idx="1512">
                  <c:v>105.64347261443943</c:v>
                </c:pt>
                <c:pt idx="1513">
                  <c:v>105.64347261443943</c:v>
                </c:pt>
                <c:pt idx="1514">
                  <c:v>105.64347261443943</c:v>
                </c:pt>
                <c:pt idx="1515">
                  <c:v>105.64347261443943</c:v>
                </c:pt>
                <c:pt idx="1516">
                  <c:v>105.64347261443943</c:v>
                </c:pt>
                <c:pt idx="1517">
                  <c:v>105.64347261443943</c:v>
                </c:pt>
                <c:pt idx="1518">
                  <c:v>105.64347261443943</c:v>
                </c:pt>
                <c:pt idx="1519">
                  <c:v>105.64347261443943</c:v>
                </c:pt>
                <c:pt idx="1520">
                  <c:v>105.64347261443943</c:v>
                </c:pt>
                <c:pt idx="1521">
                  <c:v>105.64347261443943</c:v>
                </c:pt>
                <c:pt idx="1522">
                  <c:v>105.64347261443943</c:v>
                </c:pt>
                <c:pt idx="1523">
                  <c:v>105.64347261443943</c:v>
                </c:pt>
                <c:pt idx="1524">
                  <c:v>105.64347261443943</c:v>
                </c:pt>
                <c:pt idx="1525">
                  <c:v>105.64347261443943</c:v>
                </c:pt>
                <c:pt idx="1526">
                  <c:v>106.37427989725126</c:v>
                </c:pt>
                <c:pt idx="1527">
                  <c:v>110.34198382870966</c:v>
                </c:pt>
                <c:pt idx="1528">
                  <c:v>110.34198382870966</c:v>
                </c:pt>
                <c:pt idx="1529">
                  <c:v>110.20405634892377</c:v>
                </c:pt>
                <c:pt idx="1530">
                  <c:v>110.20405634892377</c:v>
                </c:pt>
                <c:pt idx="1531">
                  <c:v>110.20405634892377</c:v>
                </c:pt>
                <c:pt idx="1532">
                  <c:v>110.20405634892377</c:v>
                </c:pt>
                <c:pt idx="1533">
                  <c:v>110.20405634892377</c:v>
                </c:pt>
                <c:pt idx="1534">
                  <c:v>110.20405634892377</c:v>
                </c:pt>
                <c:pt idx="1535">
                  <c:v>110.20405634892377</c:v>
                </c:pt>
                <c:pt idx="1536">
                  <c:v>110.20405634892377</c:v>
                </c:pt>
                <c:pt idx="1537">
                  <c:v>110.20405634892377</c:v>
                </c:pt>
                <c:pt idx="1538">
                  <c:v>110.20405634892377</c:v>
                </c:pt>
                <c:pt idx="1539">
                  <c:v>110.20405634892377</c:v>
                </c:pt>
                <c:pt idx="1540">
                  <c:v>110.20405634892377</c:v>
                </c:pt>
                <c:pt idx="1541">
                  <c:v>110.20405634892377</c:v>
                </c:pt>
                <c:pt idx="1542">
                  <c:v>110.20405634892377</c:v>
                </c:pt>
                <c:pt idx="1543">
                  <c:v>110.20405634892377</c:v>
                </c:pt>
                <c:pt idx="1544">
                  <c:v>110.20405634892377</c:v>
                </c:pt>
                <c:pt idx="1545">
                  <c:v>110.20405634892377</c:v>
                </c:pt>
                <c:pt idx="1546">
                  <c:v>110.20405634892377</c:v>
                </c:pt>
                <c:pt idx="1547">
                  <c:v>110.32455372150567</c:v>
                </c:pt>
                <c:pt idx="1548">
                  <c:v>108.70259610096258</c:v>
                </c:pt>
                <c:pt idx="1549">
                  <c:v>108.70259610096258</c:v>
                </c:pt>
                <c:pt idx="1550">
                  <c:v>108.56671785583637</c:v>
                </c:pt>
                <c:pt idx="1551">
                  <c:v>108.56671785583637</c:v>
                </c:pt>
                <c:pt idx="1552">
                  <c:v>108.56671785583637</c:v>
                </c:pt>
                <c:pt idx="1553">
                  <c:v>108.56671785583637</c:v>
                </c:pt>
                <c:pt idx="1554">
                  <c:v>108.56671785583637</c:v>
                </c:pt>
                <c:pt idx="1555">
                  <c:v>108.56671785583637</c:v>
                </c:pt>
                <c:pt idx="1556">
                  <c:v>108.56671785583637</c:v>
                </c:pt>
                <c:pt idx="1557">
                  <c:v>108.56671785583637</c:v>
                </c:pt>
                <c:pt idx="1558">
                  <c:v>108.56671785583637</c:v>
                </c:pt>
                <c:pt idx="1559">
                  <c:v>108.56671785583637</c:v>
                </c:pt>
                <c:pt idx="1560">
                  <c:v>108.56671785583637</c:v>
                </c:pt>
                <c:pt idx="1561">
                  <c:v>108.56671785583637</c:v>
                </c:pt>
                <c:pt idx="1562">
                  <c:v>108.56671785583637</c:v>
                </c:pt>
                <c:pt idx="1563">
                  <c:v>108.64484697166242</c:v>
                </c:pt>
                <c:pt idx="1564">
                  <c:v>108.50904091294784</c:v>
                </c:pt>
                <c:pt idx="1565">
                  <c:v>108.37340461180666</c:v>
                </c:pt>
                <c:pt idx="1566">
                  <c:v>108.37340461180666</c:v>
                </c:pt>
                <c:pt idx="1567">
                  <c:v>108.37340461180666</c:v>
                </c:pt>
                <c:pt idx="1568">
                  <c:v>108.37340461180666</c:v>
                </c:pt>
                <c:pt idx="1569">
                  <c:v>108.37340461180666</c:v>
                </c:pt>
                <c:pt idx="1570">
                  <c:v>108.37340461180666</c:v>
                </c:pt>
                <c:pt idx="1571">
                  <c:v>108.37340461180666</c:v>
                </c:pt>
                <c:pt idx="1572">
                  <c:v>107.09403471848172</c:v>
                </c:pt>
                <c:pt idx="1573">
                  <c:v>106.96016717508363</c:v>
                </c:pt>
                <c:pt idx="1574">
                  <c:v>106.82646696611478</c:v>
                </c:pt>
                <c:pt idx="1575">
                  <c:v>106.82646696611478</c:v>
                </c:pt>
                <c:pt idx="1576">
                  <c:v>106.82646696611478</c:v>
                </c:pt>
                <c:pt idx="1577">
                  <c:v>108.97604460956069</c:v>
                </c:pt>
                <c:pt idx="1578">
                  <c:v>108.83982455379873</c:v>
                </c:pt>
                <c:pt idx="1579">
                  <c:v>108.70377477310649</c:v>
                </c:pt>
                <c:pt idx="1580">
                  <c:v>108.70377477310649</c:v>
                </c:pt>
                <c:pt idx="1581">
                  <c:v>110.20022142578375</c:v>
                </c:pt>
                <c:pt idx="1582">
                  <c:v>110.06247114900152</c:v>
                </c:pt>
                <c:pt idx="1583">
                  <c:v>109.92489306006527</c:v>
                </c:pt>
                <c:pt idx="1584">
                  <c:v>109.92489306006527</c:v>
                </c:pt>
                <c:pt idx="1585">
                  <c:v>109.92489306006527</c:v>
                </c:pt>
                <c:pt idx="1586">
                  <c:v>109.92489306006527</c:v>
                </c:pt>
                <c:pt idx="1587">
                  <c:v>109.92489306006527</c:v>
                </c:pt>
                <c:pt idx="1588">
                  <c:v>109.92489306006527</c:v>
                </c:pt>
                <c:pt idx="1589">
                  <c:v>109.92489306006527</c:v>
                </c:pt>
                <c:pt idx="1590">
                  <c:v>109.92489306006527</c:v>
                </c:pt>
                <c:pt idx="1591">
                  <c:v>109.92489306006527</c:v>
                </c:pt>
                <c:pt idx="1592">
                  <c:v>109.92489306006527</c:v>
                </c:pt>
                <c:pt idx="1593">
                  <c:v>109.92489306006527</c:v>
                </c:pt>
                <c:pt idx="1594">
                  <c:v>109.92489306006527</c:v>
                </c:pt>
                <c:pt idx="1595">
                  <c:v>109.92489306006527</c:v>
                </c:pt>
                <c:pt idx="1596">
                  <c:v>109.92489306006527</c:v>
                </c:pt>
                <c:pt idx="1597">
                  <c:v>109.92489306006527</c:v>
                </c:pt>
                <c:pt idx="1598">
                  <c:v>109.92489306006527</c:v>
                </c:pt>
                <c:pt idx="1599">
                  <c:v>109.92489306006527</c:v>
                </c:pt>
                <c:pt idx="1600">
                  <c:v>109.92489306006527</c:v>
                </c:pt>
                <c:pt idx="1601">
                  <c:v>109.92489306006527</c:v>
                </c:pt>
                <c:pt idx="1602">
                  <c:v>109.92489306006527</c:v>
                </c:pt>
                <c:pt idx="1603">
                  <c:v>109.92489306006527</c:v>
                </c:pt>
                <c:pt idx="1604">
                  <c:v>109.92489306006527</c:v>
                </c:pt>
                <c:pt idx="1605">
                  <c:v>109.92489306006527</c:v>
                </c:pt>
                <c:pt idx="1606">
                  <c:v>109.92489306006527</c:v>
                </c:pt>
                <c:pt idx="1607">
                  <c:v>109.92489306006527</c:v>
                </c:pt>
                <c:pt idx="1608">
                  <c:v>109.92489306006527</c:v>
                </c:pt>
                <c:pt idx="1609">
                  <c:v>109.92489306006527</c:v>
                </c:pt>
                <c:pt idx="1610">
                  <c:v>109.92489306006527</c:v>
                </c:pt>
                <c:pt idx="1611">
                  <c:v>109.92489306006527</c:v>
                </c:pt>
                <c:pt idx="1612">
                  <c:v>109.92489306006527</c:v>
                </c:pt>
                <c:pt idx="1613">
                  <c:v>109.92489306006527</c:v>
                </c:pt>
                <c:pt idx="1614">
                  <c:v>109.92489306006527</c:v>
                </c:pt>
                <c:pt idx="1615">
                  <c:v>109.92489306006527</c:v>
                </c:pt>
                <c:pt idx="1616">
                  <c:v>109.92489306006527</c:v>
                </c:pt>
                <c:pt idx="1617">
                  <c:v>109.92489306006527</c:v>
                </c:pt>
                <c:pt idx="1618">
                  <c:v>109.92489306006527</c:v>
                </c:pt>
                <c:pt idx="1619">
                  <c:v>109.92489306006527</c:v>
                </c:pt>
                <c:pt idx="1620">
                  <c:v>109.40384802126374</c:v>
                </c:pt>
                <c:pt idx="1621">
                  <c:v>113.38590244803264</c:v>
                </c:pt>
                <c:pt idx="1622">
                  <c:v>113.38590244803264</c:v>
                </c:pt>
                <c:pt idx="1623">
                  <c:v>113.2441700699726</c:v>
                </c:pt>
                <c:pt idx="1624">
                  <c:v>113.2441700699726</c:v>
                </c:pt>
                <c:pt idx="1625">
                  <c:v>113.2441700699726</c:v>
                </c:pt>
                <c:pt idx="1626">
                  <c:v>113.2441700699726</c:v>
                </c:pt>
                <c:pt idx="1627">
                  <c:v>113.2441700699726</c:v>
                </c:pt>
                <c:pt idx="1628">
                  <c:v>113.2441700699726</c:v>
                </c:pt>
                <c:pt idx="1629">
                  <c:v>113.2441700699726</c:v>
                </c:pt>
                <c:pt idx="1630">
                  <c:v>113.2441700699726</c:v>
                </c:pt>
                <c:pt idx="1631">
                  <c:v>113.2441700699726</c:v>
                </c:pt>
                <c:pt idx="1632">
                  <c:v>113.2441700699726</c:v>
                </c:pt>
                <c:pt idx="1633">
                  <c:v>113.2441700699726</c:v>
                </c:pt>
                <c:pt idx="1634">
                  <c:v>113.2441700699726</c:v>
                </c:pt>
                <c:pt idx="1635">
                  <c:v>113.2441700699726</c:v>
                </c:pt>
                <c:pt idx="1636">
                  <c:v>113.2441700699726</c:v>
                </c:pt>
                <c:pt idx="1637">
                  <c:v>113.2441700699726</c:v>
                </c:pt>
                <c:pt idx="1638">
                  <c:v>113.2441700699726</c:v>
                </c:pt>
                <c:pt idx="1639">
                  <c:v>113.2441700699726</c:v>
                </c:pt>
                <c:pt idx="1640">
                  <c:v>113.2441700699726</c:v>
                </c:pt>
                <c:pt idx="1641">
                  <c:v>113.2441700699726</c:v>
                </c:pt>
                <c:pt idx="1642">
                  <c:v>113.55793384173356</c:v>
                </c:pt>
                <c:pt idx="1643">
                  <c:v>114.5487489270329</c:v>
                </c:pt>
                <c:pt idx="1644">
                  <c:v>114.5487489270329</c:v>
                </c:pt>
                <c:pt idx="1645">
                  <c:v>114.40556299087412</c:v>
                </c:pt>
                <c:pt idx="1646">
                  <c:v>114.40556299087412</c:v>
                </c:pt>
                <c:pt idx="1647">
                  <c:v>114.40556299087412</c:v>
                </c:pt>
                <c:pt idx="1648">
                  <c:v>114.40556299087412</c:v>
                </c:pt>
                <c:pt idx="1649">
                  <c:v>114.40556299087412</c:v>
                </c:pt>
                <c:pt idx="1650">
                  <c:v>114.40556299087412</c:v>
                </c:pt>
                <c:pt idx="1651">
                  <c:v>114.40556299087412</c:v>
                </c:pt>
                <c:pt idx="1652">
                  <c:v>116.68352709147648</c:v>
                </c:pt>
                <c:pt idx="1653">
                  <c:v>116.53767268261214</c:v>
                </c:pt>
                <c:pt idx="1654">
                  <c:v>116.4328349859757</c:v>
                </c:pt>
                <c:pt idx="1655">
                  <c:v>116.28729394224324</c:v>
                </c:pt>
                <c:pt idx="1656">
                  <c:v>116.14193482481544</c:v>
                </c:pt>
                <c:pt idx="1657">
                  <c:v>116.14193482481544</c:v>
                </c:pt>
                <c:pt idx="1658">
                  <c:v>116.14193482481544</c:v>
                </c:pt>
                <c:pt idx="1659">
                  <c:v>116.14193482481544</c:v>
                </c:pt>
                <c:pt idx="1660">
                  <c:v>116.14193482481544</c:v>
                </c:pt>
                <c:pt idx="1661">
                  <c:v>116.14193482481544</c:v>
                </c:pt>
                <c:pt idx="1662">
                  <c:v>116.14193482481544</c:v>
                </c:pt>
                <c:pt idx="1663">
                  <c:v>116.14193482481544</c:v>
                </c:pt>
                <c:pt idx="1664">
                  <c:v>116.14193482481544</c:v>
                </c:pt>
                <c:pt idx="1665">
                  <c:v>116.14193482481544</c:v>
                </c:pt>
                <c:pt idx="1666">
                  <c:v>116.14193482481544</c:v>
                </c:pt>
                <c:pt idx="1667">
                  <c:v>116.14193482481544</c:v>
                </c:pt>
                <c:pt idx="1668">
                  <c:v>116.14193482481544</c:v>
                </c:pt>
                <c:pt idx="1669">
                  <c:v>116.14193482481544</c:v>
                </c:pt>
                <c:pt idx="1670">
                  <c:v>116.14193482481544</c:v>
                </c:pt>
                <c:pt idx="1671">
                  <c:v>116.14193482481544</c:v>
                </c:pt>
                <c:pt idx="1672">
                  <c:v>116.14193482481544</c:v>
                </c:pt>
                <c:pt idx="1673">
                  <c:v>116.14193482481544</c:v>
                </c:pt>
                <c:pt idx="1674">
                  <c:v>116.14193482481544</c:v>
                </c:pt>
                <c:pt idx="1675">
                  <c:v>116.14193482481544</c:v>
                </c:pt>
                <c:pt idx="1676">
                  <c:v>116.14193482481544</c:v>
                </c:pt>
                <c:pt idx="1677">
                  <c:v>113.42462393463218</c:v>
                </c:pt>
                <c:pt idx="1678">
                  <c:v>113.28284315471389</c:v>
                </c:pt>
                <c:pt idx="1679">
                  <c:v>113.1412396007705</c:v>
                </c:pt>
                <c:pt idx="1680">
                  <c:v>113.1412396007705</c:v>
                </c:pt>
                <c:pt idx="1681">
                  <c:v>113.1412396007705</c:v>
                </c:pt>
                <c:pt idx="1682">
                  <c:v>113.1412396007705</c:v>
                </c:pt>
                <c:pt idx="1683">
                  <c:v>113.1412396007705</c:v>
                </c:pt>
                <c:pt idx="1684">
                  <c:v>113.1412396007705</c:v>
                </c:pt>
                <c:pt idx="1685">
                  <c:v>113.1412396007705</c:v>
                </c:pt>
                <c:pt idx="1686">
                  <c:v>113.1412396007705</c:v>
                </c:pt>
                <c:pt idx="1687">
                  <c:v>113.1412396007705</c:v>
                </c:pt>
                <c:pt idx="1688">
                  <c:v>113.1412396007705</c:v>
                </c:pt>
                <c:pt idx="1689">
                  <c:v>113.1412396007705</c:v>
                </c:pt>
                <c:pt idx="1690">
                  <c:v>113.1412396007705</c:v>
                </c:pt>
                <c:pt idx="1691">
                  <c:v>113.1412396007705</c:v>
                </c:pt>
                <c:pt idx="1692">
                  <c:v>113.1412396007705</c:v>
                </c:pt>
                <c:pt idx="1693">
                  <c:v>113.1412396007705</c:v>
                </c:pt>
                <c:pt idx="1694">
                  <c:v>113.1412396007705</c:v>
                </c:pt>
                <c:pt idx="1695">
                  <c:v>113.1412396007705</c:v>
                </c:pt>
                <c:pt idx="1696">
                  <c:v>113.1412396007705</c:v>
                </c:pt>
                <c:pt idx="1697">
                  <c:v>113.1412396007705</c:v>
                </c:pt>
                <c:pt idx="1698">
                  <c:v>113.1412396007705</c:v>
                </c:pt>
                <c:pt idx="1699">
                  <c:v>113.1412396007705</c:v>
                </c:pt>
                <c:pt idx="1700">
                  <c:v>113.1412396007705</c:v>
                </c:pt>
                <c:pt idx="1701">
                  <c:v>113.1412396007705</c:v>
                </c:pt>
                <c:pt idx="1702">
                  <c:v>113.1412396007705</c:v>
                </c:pt>
                <c:pt idx="1703">
                  <c:v>113.1412396007705</c:v>
                </c:pt>
                <c:pt idx="1704">
                  <c:v>113.1412396007705</c:v>
                </c:pt>
                <c:pt idx="1705">
                  <c:v>113.1412396007705</c:v>
                </c:pt>
                <c:pt idx="1706">
                  <c:v>113.1412396007705</c:v>
                </c:pt>
                <c:pt idx="1707">
                  <c:v>113.1412396007705</c:v>
                </c:pt>
                <c:pt idx="1708">
                  <c:v>113.1412396007705</c:v>
                </c:pt>
                <c:pt idx="1709">
                  <c:v>113.1412396007705</c:v>
                </c:pt>
                <c:pt idx="1710">
                  <c:v>113.1412396007705</c:v>
                </c:pt>
                <c:pt idx="1711">
                  <c:v>113.1412396007705</c:v>
                </c:pt>
                <c:pt idx="1712">
                  <c:v>113.1412396007705</c:v>
                </c:pt>
                <c:pt idx="1713">
                  <c:v>113.1412396007705</c:v>
                </c:pt>
                <c:pt idx="1714">
                  <c:v>113.1412396007705</c:v>
                </c:pt>
                <c:pt idx="1715">
                  <c:v>113.1412396007705</c:v>
                </c:pt>
                <c:pt idx="1716">
                  <c:v>113.1412396007705</c:v>
                </c:pt>
                <c:pt idx="1717">
                  <c:v>113.1412396007705</c:v>
                </c:pt>
                <c:pt idx="1718">
                  <c:v>113.1412396007705</c:v>
                </c:pt>
                <c:pt idx="1719">
                  <c:v>113.1412396007705</c:v>
                </c:pt>
                <c:pt idx="1720">
                  <c:v>113.1412396007705</c:v>
                </c:pt>
                <c:pt idx="1721">
                  <c:v>113.1412396007705</c:v>
                </c:pt>
                <c:pt idx="1722">
                  <c:v>113.1412396007705</c:v>
                </c:pt>
                <c:pt idx="1723">
                  <c:v>113.1412396007705</c:v>
                </c:pt>
                <c:pt idx="1724">
                  <c:v>113.1412396007705</c:v>
                </c:pt>
                <c:pt idx="1725">
                  <c:v>113.21187416427722</c:v>
                </c:pt>
                <c:pt idx="1726">
                  <c:v>114.31078882353061</c:v>
                </c:pt>
                <c:pt idx="1727">
                  <c:v>114.31078882353061</c:v>
                </c:pt>
                <c:pt idx="1728">
                  <c:v>114.16790033750121</c:v>
                </c:pt>
                <c:pt idx="1729">
                  <c:v>114.16790033750121</c:v>
                </c:pt>
                <c:pt idx="1730">
                  <c:v>114.16790033750121</c:v>
                </c:pt>
                <c:pt idx="1731">
                  <c:v>114.16790033750121</c:v>
                </c:pt>
                <c:pt idx="1732">
                  <c:v>114.16790033750121</c:v>
                </c:pt>
                <c:pt idx="1733">
                  <c:v>114.16790033750121</c:v>
                </c:pt>
                <c:pt idx="1734">
                  <c:v>114.16790033750121</c:v>
                </c:pt>
                <c:pt idx="1735">
                  <c:v>114.16790033750121</c:v>
                </c:pt>
                <c:pt idx="1736">
                  <c:v>114.16790033750121</c:v>
                </c:pt>
                <c:pt idx="1737">
                  <c:v>114.16790033750121</c:v>
                </c:pt>
                <c:pt idx="1738">
                  <c:v>114.16790033750121</c:v>
                </c:pt>
                <c:pt idx="1739">
                  <c:v>114.16790033750121</c:v>
                </c:pt>
                <c:pt idx="1740">
                  <c:v>114.16790033750121</c:v>
                </c:pt>
                <c:pt idx="1741">
                  <c:v>114.16790033750121</c:v>
                </c:pt>
                <c:pt idx="1742">
                  <c:v>114.16790033750121</c:v>
                </c:pt>
                <c:pt idx="1743">
                  <c:v>114.16790033750121</c:v>
                </c:pt>
                <c:pt idx="1744">
                  <c:v>114.16790033750121</c:v>
                </c:pt>
                <c:pt idx="1745">
                  <c:v>114.16790033750121</c:v>
                </c:pt>
                <c:pt idx="1746">
                  <c:v>114.16790033750121</c:v>
                </c:pt>
                <c:pt idx="1747">
                  <c:v>114.16790033750121</c:v>
                </c:pt>
                <c:pt idx="1748">
                  <c:v>114.16790033750121</c:v>
                </c:pt>
                <c:pt idx="1749">
                  <c:v>114.16790033750121</c:v>
                </c:pt>
                <c:pt idx="1750">
                  <c:v>114.16790033750121</c:v>
                </c:pt>
                <c:pt idx="1751">
                  <c:v>114.16790033750121</c:v>
                </c:pt>
                <c:pt idx="1752">
                  <c:v>114.16790033750121</c:v>
                </c:pt>
                <c:pt idx="1753">
                  <c:v>114.16790033750121</c:v>
                </c:pt>
                <c:pt idx="1754">
                  <c:v>114.16790033750121</c:v>
                </c:pt>
                <c:pt idx="1755">
                  <c:v>114.16790033750121</c:v>
                </c:pt>
                <c:pt idx="1756">
                  <c:v>114.16790033750121</c:v>
                </c:pt>
                <c:pt idx="1757">
                  <c:v>114.16790033750121</c:v>
                </c:pt>
                <c:pt idx="1758">
                  <c:v>111.56869175137065</c:v>
                </c:pt>
                <c:pt idx="1759">
                  <c:v>111.42923088668144</c:v>
                </c:pt>
                <c:pt idx="1760">
                  <c:v>111.28994434807309</c:v>
                </c:pt>
                <c:pt idx="1761">
                  <c:v>111.28994434807309</c:v>
                </c:pt>
                <c:pt idx="1762">
                  <c:v>101.80070912189349</c:v>
                </c:pt>
                <c:pt idx="1763">
                  <c:v>101.67345823549113</c:v>
                </c:pt>
                <c:pt idx="1764">
                  <c:v>101.54636641269677</c:v>
                </c:pt>
                <c:pt idx="1765">
                  <c:v>100.98397264868991</c:v>
                </c:pt>
                <c:pt idx="1766">
                  <c:v>100.85774268287905</c:v>
                </c:pt>
                <c:pt idx="1767">
                  <c:v>100.73167050452545</c:v>
                </c:pt>
                <c:pt idx="1768">
                  <c:v>100.73167050452545</c:v>
                </c:pt>
                <c:pt idx="1769">
                  <c:v>100.73167050452545</c:v>
                </c:pt>
                <c:pt idx="1770">
                  <c:v>99.855869819530753</c:v>
                </c:pt>
                <c:pt idx="1771">
                  <c:v>99.731049982256337</c:v>
                </c:pt>
                <c:pt idx="1772">
                  <c:v>99.606386169778517</c:v>
                </c:pt>
                <c:pt idx="1773">
                  <c:v>99.606386169778517</c:v>
                </c:pt>
                <c:pt idx="1774">
                  <c:v>99.606386169778517</c:v>
                </c:pt>
                <c:pt idx="1775">
                  <c:v>99.606386169778517</c:v>
                </c:pt>
                <c:pt idx="1776">
                  <c:v>99.606386169778517</c:v>
                </c:pt>
                <c:pt idx="1777">
                  <c:v>99.606386169778517</c:v>
                </c:pt>
                <c:pt idx="1778">
                  <c:v>99.606386169778517</c:v>
                </c:pt>
                <c:pt idx="1779">
                  <c:v>99.606386169778517</c:v>
                </c:pt>
                <c:pt idx="1780">
                  <c:v>99.606386169778517</c:v>
                </c:pt>
                <c:pt idx="1781">
                  <c:v>99.606386169778517</c:v>
                </c:pt>
                <c:pt idx="1782">
                  <c:v>99.606386169778517</c:v>
                </c:pt>
                <c:pt idx="1783">
                  <c:v>99.606386169778517</c:v>
                </c:pt>
                <c:pt idx="1784">
                  <c:v>99.606386169778517</c:v>
                </c:pt>
                <c:pt idx="1785">
                  <c:v>99.606386169778517</c:v>
                </c:pt>
                <c:pt idx="1786">
                  <c:v>99.606386169778517</c:v>
                </c:pt>
                <c:pt idx="1787">
                  <c:v>99.606386169778517</c:v>
                </c:pt>
                <c:pt idx="1788">
                  <c:v>99.606386169778517</c:v>
                </c:pt>
                <c:pt idx="1789">
                  <c:v>99.606386169778517</c:v>
                </c:pt>
                <c:pt idx="1790">
                  <c:v>99.606386169778517</c:v>
                </c:pt>
                <c:pt idx="1791">
                  <c:v>99.606386169778517</c:v>
                </c:pt>
                <c:pt idx="1792">
                  <c:v>99.606386169778517</c:v>
                </c:pt>
                <c:pt idx="1793">
                  <c:v>99.606386169778517</c:v>
                </c:pt>
                <c:pt idx="1794">
                  <c:v>99.606386169778517</c:v>
                </c:pt>
                <c:pt idx="1795">
                  <c:v>99.606386169778517</c:v>
                </c:pt>
                <c:pt idx="1796">
                  <c:v>99.606386169778517</c:v>
                </c:pt>
                <c:pt idx="1797">
                  <c:v>99.606386169778517</c:v>
                </c:pt>
                <c:pt idx="1798">
                  <c:v>99.606386169778517</c:v>
                </c:pt>
                <c:pt idx="1799">
                  <c:v>99.606386169778517</c:v>
                </c:pt>
                <c:pt idx="1800">
                  <c:v>99.606386169778517</c:v>
                </c:pt>
                <c:pt idx="1801">
                  <c:v>99.606386169778517</c:v>
                </c:pt>
                <c:pt idx="1802">
                  <c:v>99.606386169778517</c:v>
                </c:pt>
                <c:pt idx="1803">
                  <c:v>99.606386169778517</c:v>
                </c:pt>
                <c:pt idx="1804">
                  <c:v>99.606386169778517</c:v>
                </c:pt>
                <c:pt idx="1805">
                  <c:v>99.606386169778517</c:v>
                </c:pt>
                <c:pt idx="1806">
                  <c:v>99.606386169778517</c:v>
                </c:pt>
                <c:pt idx="1807">
                  <c:v>99.606386169778517</c:v>
                </c:pt>
                <c:pt idx="1808">
                  <c:v>99.606386169778517</c:v>
                </c:pt>
                <c:pt idx="1809">
                  <c:v>99.606386169778517</c:v>
                </c:pt>
                <c:pt idx="1810">
                  <c:v>99.606386169778517</c:v>
                </c:pt>
                <c:pt idx="1811">
                  <c:v>99.606386169778517</c:v>
                </c:pt>
                <c:pt idx="1812">
                  <c:v>99.606386169778517</c:v>
                </c:pt>
                <c:pt idx="1813">
                  <c:v>99.606386169778517</c:v>
                </c:pt>
                <c:pt idx="1814">
                  <c:v>99.606386169778517</c:v>
                </c:pt>
                <c:pt idx="1815">
                  <c:v>99.606386169778517</c:v>
                </c:pt>
                <c:pt idx="1816">
                  <c:v>99.606386169778517</c:v>
                </c:pt>
                <c:pt idx="1817">
                  <c:v>99.606386169778517</c:v>
                </c:pt>
                <c:pt idx="1818">
                  <c:v>99.606386169778517</c:v>
                </c:pt>
                <c:pt idx="1819">
                  <c:v>99.606386169778517</c:v>
                </c:pt>
                <c:pt idx="1820">
                  <c:v>99.606386169778517</c:v>
                </c:pt>
                <c:pt idx="1821">
                  <c:v>99.606386169778517</c:v>
                </c:pt>
                <c:pt idx="1822">
                  <c:v>99.606386169778517</c:v>
                </c:pt>
                <c:pt idx="1823">
                  <c:v>99.606386169778517</c:v>
                </c:pt>
                <c:pt idx="1824">
                  <c:v>99.606386169778517</c:v>
                </c:pt>
                <c:pt idx="1825">
                  <c:v>99.606386169778517</c:v>
                </c:pt>
                <c:pt idx="1826">
                  <c:v>99.606386169778517</c:v>
                </c:pt>
                <c:pt idx="1827">
                  <c:v>99.606386169778517</c:v>
                </c:pt>
                <c:pt idx="1828">
                  <c:v>99.606386169778517</c:v>
                </c:pt>
                <c:pt idx="1829">
                  <c:v>99.606386169778517</c:v>
                </c:pt>
                <c:pt idx="1830">
                  <c:v>99.606386169778517</c:v>
                </c:pt>
                <c:pt idx="1831">
                  <c:v>99.606386169778517</c:v>
                </c:pt>
                <c:pt idx="1832">
                  <c:v>99.606386169778517</c:v>
                </c:pt>
                <c:pt idx="1833">
                  <c:v>99.606386169778517</c:v>
                </c:pt>
                <c:pt idx="1834">
                  <c:v>99.606386169778517</c:v>
                </c:pt>
                <c:pt idx="1835">
                  <c:v>99.606386169778517</c:v>
                </c:pt>
                <c:pt idx="1836">
                  <c:v>99.606386169778517</c:v>
                </c:pt>
                <c:pt idx="1837">
                  <c:v>99.606386169778517</c:v>
                </c:pt>
                <c:pt idx="1838">
                  <c:v>99.502776419813898</c:v>
                </c:pt>
                <c:pt idx="1839">
                  <c:v>100.04754535676734</c:v>
                </c:pt>
                <c:pt idx="1840">
                  <c:v>100.04754535676734</c:v>
                </c:pt>
                <c:pt idx="1841">
                  <c:v>99.922485925071385</c:v>
                </c:pt>
                <c:pt idx="1842">
                  <c:v>99.922485925071385</c:v>
                </c:pt>
                <c:pt idx="1843">
                  <c:v>99.922485925071385</c:v>
                </c:pt>
                <c:pt idx="1844">
                  <c:v>99.922485925071385</c:v>
                </c:pt>
                <c:pt idx="1845">
                  <c:v>99.922485925071385</c:v>
                </c:pt>
                <c:pt idx="1846">
                  <c:v>99.922485925071385</c:v>
                </c:pt>
                <c:pt idx="1847">
                  <c:v>99.922485925071385</c:v>
                </c:pt>
                <c:pt idx="1848">
                  <c:v>99.922485925071385</c:v>
                </c:pt>
                <c:pt idx="1849">
                  <c:v>99.922485925071385</c:v>
                </c:pt>
                <c:pt idx="1850">
                  <c:v>99.922485925071385</c:v>
                </c:pt>
                <c:pt idx="1851">
                  <c:v>99.922485925071385</c:v>
                </c:pt>
                <c:pt idx="1852">
                  <c:v>99.922485925071385</c:v>
                </c:pt>
                <c:pt idx="1853">
                  <c:v>99.922485925071385</c:v>
                </c:pt>
                <c:pt idx="1854">
                  <c:v>99.922485925071385</c:v>
                </c:pt>
                <c:pt idx="1855">
                  <c:v>99.922485925071385</c:v>
                </c:pt>
                <c:pt idx="1856">
                  <c:v>99.922485925071385</c:v>
                </c:pt>
                <c:pt idx="1857">
                  <c:v>99.922485925071385</c:v>
                </c:pt>
                <c:pt idx="1858">
                  <c:v>99.922485925071385</c:v>
                </c:pt>
                <c:pt idx="1859">
                  <c:v>99.245580551033271</c:v>
                </c:pt>
                <c:pt idx="1860">
                  <c:v>99.121523575344483</c:v>
                </c:pt>
                <c:pt idx="1861">
                  <c:v>98.997621670875304</c:v>
                </c:pt>
                <c:pt idx="1862">
                  <c:v>98.997621670875304</c:v>
                </c:pt>
                <c:pt idx="1863">
                  <c:v>98.997621670875304</c:v>
                </c:pt>
                <c:pt idx="1864">
                  <c:v>98.997621670875304</c:v>
                </c:pt>
                <c:pt idx="1865">
                  <c:v>98.997621670875304</c:v>
                </c:pt>
                <c:pt idx="1866">
                  <c:v>98.997621670875304</c:v>
                </c:pt>
                <c:pt idx="1867">
                  <c:v>98.997621670875304</c:v>
                </c:pt>
                <c:pt idx="1868">
                  <c:v>98.997621670875304</c:v>
                </c:pt>
                <c:pt idx="1869">
                  <c:v>98.997621670875304</c:v>
                </c:pt>
                <c:pt idx="1870">
                  <c:v>98.997621670875304</c:v>
                </c:pt>
                <c:pt idx="1871">
                  <c:v>98.997621670875304</c:v>
                </c:pt>
                <c:pt idx="1872">
                  <c:v>98.997621670875304</c:v>
                </c:pt>
                <c:pt idx="1873">
                  <c:v>98.997621670875304</c:v>
                </c:pt>
                <c:pt idx="1874">
                  <c:v>98.997621670875304</c:v>
                </c:pt>
                <c:pt idx="1875">
                  <c:v>98.997621670875304</c:v>
                </c:pt>
                <c:pt idx="1876">
                  <c:v>98.997621670875304</c:v>
                </c:pt>
                <c:pt idx="1877">
                  <c:v>98.997621670875304</c:v>
                </c:pt>
                <c:pt idx="1878">
                  <c:v>101.91594860050337</c:v>
                </c:pt>
                <c:pt idx="1879">
                  <c:v>101.78855366475274</c:v>
                </c:pt>
                <c:pt idx="1880">
                  <c:v>101.6613179726718</c:v>
                </c:pt>
                <c:pt idx="1881">
                  <c:v>101.53011775505591</c:v>
                </c:pt>
                <c:pt idx="1882">
                  <c:v>101.40320510786209</c:v>
                </c:pt>
                <c:pt idx="1883">
                  <c:v>101.27645110147726</c:v>
                </c:pt>
                <c:pt idx="1884">
                  <c:v>101.27645110147726</c:v>
                </c:pt>
                <c:pt idx="1885">
                  <c:v>101.27645110147726</c:v>
                </c:pt>
                <c:pt idx="1886">
                  <c:v>101.27645110147726</c:v>
                </c:pt>
                <c:pt idx="1887">
                  <c:v>101.27645110147726</c:v>
                </c:pt>
                <c:pt idx="1888">
                  <c:v>101.27645110147726</c:v>
                </c:pt>
                <c:pt idx="1889">
                  <c:v>101.27645110147726</c:v>
                </c:pt>
                <c:pt idx="1890">
                  <c:v>101.27645110147726</c:v>
                </c:pt>
                <c:pt idx="1891">
                  <c:v>101.27645110147726</c:v>
                </c:pt>
                <c:pt idx="1892">
                  <c:v>101.27645110147726</c:v>
                </c:pt>
                <c:pt idx="1893">
                  <c:v>101.27645110147726</c:v>
                </c:pt>
                <c:pt idx="1894">
                  <c:v>101.27645110147726</c:v>
                </c:pt>
                <c:pt idx="1895">
                  <c:v>101.27645110147726</c:v>
                </c:pt>
                <c:pt idx="1896">
                  <c:v>101.27645110147726</c:v>
                </c:pt>
                <c:pt idx="1897">
                  <c:v>101.27645110147726</c:v>
                </c:pt>
                <c:pt idx="1898">
                  <c:v>101.27645110147726</c:v>
                </c:pt>
                <c:pt idx="1899">
                  <c:v>101.27645110147726</c:v>
                </c:pt>
                <c:pt idx="1900">
                  <c:v>101.27645110147726</c:v>
                </c:pt>
                <c:pt idx="1901">
                  <c:v>101.27645110147726</c:v>
                </c:pt>
                <c:pt idx="1902">
                  <c:v>101.27645110147726</c:v>
                </c:pt>
                <c:pt idx="1903">
                  <c:v>101.27645110147726</c:v>
                </c:pt>
                <c:pt idx="1904">
                  <c:v>101.27645110147726</c:v>
                </c:pt>
                <c:pt idx="1905">
                  <c:v>101.27645110147726</c:v>
                </c:pt>
                <c:pt idx="1906">
                  <c:v>101.27645110147726</c:v>
                </c:pt>
                <c:pt idx="1907">
                  <c:v>101.27645110147726</c:v>
                </c:pt>
                <c:pt idx="1908">
                  <c:v>101.27645110147726</c:v>
                </c:pt>
                <c:pt idx="1909">
                  <c:v>101.27645110147726</c:v>
                </c:pt>
                <c:pt idx="1910">
                  <c:v>101.27645110147726</c:v>
                </c:pt>
                <c:pt idx="1911">
                  <c:v>101.27645110147726</c:v>
                </c:pt>
                <c:pt idx="1912">
                  <c:v>101.27645110147726</c:v>
                </c:pt>
                <c:pt idx="1913">
                  <c:v>101.27645110147726</c:v>
                </c:pt>
                <c:pt idx="1914">
                  <c:v>101.27645110147726</c:v>
                </c:pt>
                <c:pt idx="1915">
                  <c:v>101.27645110147726</c:v>
                </c:pt>
                <c:pt idx="1916">
                  <c:v>101.27645110147726</c:v>
                </c:pt>
                <c:pt idx="1917">
                  <c:v>101.27645110147726</c:v>
                </c:pt>
                <c:pt idx="1918">
                  <c:v>101.27645110147726</c:v>
                </c:pt>
                <c:pt idx="1919">
                  <c:v>101.27645110147726</c:v>
                </c:pt>
                <c:pt idx="1920">
                  <c:v>101.27645110147726</c:v>
                </c:pt>
                <c:pt idx="1921">
                  <c:v>101.27645110147726</c:v>
                </c:pt>
                <c:pt idx="1922">
                  <c:v>101.27645110147726</c:v>
                </c:pt>
                <c:pt idx="1923">
                  <c:v>101.27645110147726</c:v>
                </c:pt>
                <c:pt idx="1924">
                  <c:v>101.27645110147726</c:v>
                </c:pt>
                <c:pt idx="1925">
                  <c:v>101.27645110147726</c:v>
                </c:pt>
                <c:pt idx="1926">
                  <c:v>101.27645110147726</c:v>
                </c:pt>
                <c:pt idx="1927">
                  <c:v>101.27645110147726</c:v>
                </c:pt>
                <c:pt idx="1928">
                  <c:v>101.27645110147726</c:v>
                </c:pt>
                <c:pt idx="1929">
                  <c:v>101.27645110147726</c:v>
                </c:pt>
                <c:pt idx="1930">
                  <c:v>101.27645110147726</c:v>
                </c:pt>
                <c:pt idx="1931">
                  <c:v>101.27645110147726</c:v>
                </c:pt>
                <c:pt idx="1932">
                  <c:v>101.27645110147726</c:v>
                </c:pt>
                <c:pt idx="1933">
                  <c:v>101.27645110147726</c:v>
                </c:pt>
                <c:pt idx="1934">
                  <c:v>101.27645110147726</c:v>
                </c:pt>
                <c:pt idx="1935">
                  <c:v>101.27645110147726</c:v>
                </c:pt>
                <c:pt idx="1936">
                  <c:v>101.27645110147726</c:v>
                </c:pt>
                <c:pt idx="1937">
                  <c:v>101.27645110147726</c:v>
                </c:pt>
                <c:pt idx="1938">
                  <c:v>101.27645110147726</c:v>
                </c:pt>
                <c:pt idx="1939">
                  <c:v>101.27645110147726</c:v>
                </c:pt>
                <c:pt idx="1940">
                  <c:v>101.27645110147726</c:v>
                </c:pt>
                <c:pt idx="1941">
                  <c:v>101.27645110147726</c:v>
                </c:pt>
                <c:pt idx="1942">
                  <c:v>101.27645110147726</c:v>
                </c:pt>
                <c:pt idx="1943">
                  <c:v>101.27645110147726</c:v>
                </c:pt>
                <c:pt idx="1944">
                  <c:v>101.27645110147726</c:v>
                </c:pt>
                <c:pt idx="1945">
                  <c:v>101.27645110147726</c:v>
                </c:pt>
                <c:pt idx="1946">
                  <c:v>101.27645110147726</c:v>
                </c:pt>
                <c:pt idx="1947">
                  <c:v>101.27645110147726</c:v>
                </c:pt>
                <c:pt idx="1948">
                  <c:v>101.27645110147726</c:v>
                </c:pt>
                <c:pt idx="1949">
                  <c:v>101.27645110147726</c:v>
                </c:pt>
                <c:pt idx="1950">
                  <c:v>101.27645110147726</c:v>
                </c:pt>
                <c:pt idx="1951">
                  <c:v>101.27645110147726</c:v>
                </c:pt>
                <c:pt idx="1952">
                  <c:v>101.27645110147726</c:v>
                </c:pt>
                <c:pt idx="1953">
                  <c:v>101.27645110147726</c:v>
                </c:pt>
                <c:pt idx="1954">
                  <c:v>101.27645110147726</c:v>
                </c:pt>
                <c:pt idx="1955">
                  <c:v>101.27645110147726</c:v>
                </c:pt>
                <c:pt idx="1956">
                  <c:v>101.27645110147726</c:v>
                </c:pt>
                <c:pt idx="1957">
                  <c:v>101.27645110147726</c:v>
                </c:pt>
                <c:pt idx="1958">
                  <c:v>101.27645110147726</c:v>
                </c:pt>
                <c:pt idx="1959">
                  <c:v>101.27645110147726</c:v>
                </c:pt>
                <c:pt idx="1960">
                  <c:v>101.27645110147726</c:v>
                </c:pt>
                <c:pt idx="1961">
                  <c:v>101.27645110147726</c:v>
                </c:pt>
                <c:pt idx="1962">
                  <c:v>101.27645110147726</c:v>
                </c:pt>
                <c:pt idx="1963">
                  <c:v>101.27645110147726</c:v>
                </c:pt>
                <c:pt idx="1964">
                  <c:v>101.27645110147726</c:v>
                </c:pt>
                <c:pt idx="1965">
                  <c:v>100.77476003391342</c:v>
                </c:pt>
                <c:pt idx="1966">
                  <c:v>100.64879158387103</c:v>
                </c:pt>
                <c:pt idx="1967">
                  <c:v>100.5229805943912</c:v>
                </c:pt>
                <c:pt idx="1968">
                  <c:v>100.5229805943912</c:v>
                </c:pt>
                <c:pt idx="1969">
                  <c:v>100.5229805943912</c:v>
                </c:pt>
                <c:pt idx="1970">
                  <c:v>100.5229805943912</c:v>
                </c:pt>
                <c:pt idx="1971">
                  <c:v>100.5229805943912</c:v>
                </c:pt>
                <c:pt idx="1972">
                  <c:v>100.5229805943912</c:v>
                </c:pt>
                <c:pt idx="1973">
                  <c:v>100.5229805943912</c:v>
                </c:pt>
                <c:pt idx="1974">
                  <c:v>100.5229805943912</c:v>
                </c:pt>
                <c:pt idx="1975">
                  <c:v>100.5229805943912</c:v>
                </c:pt>
                <c:pt idx="1976">
                  <c:v>100.5229805943912</c:v>
                </c:pt>
                <c:pt idx="1977">
                  <c:v>100.5229805943912</c:v>
                </c:pt>
                <c:pt idx="1978">
                  <c:v>100.5229805943912</c:v>
                </c:pt>
                <c:pt idx="1979">
                  <c:v>100.5229805943912</c:v>
                </c:pt>
                <c:pt idx="1980">
                  <c:v>100.5229805943912</c:v>
                </c:pt>
                <c:pt idx="1981">
                  <c:v>100.5229805943912</c:v>
                </c:pt>
                <c:pt idx="1982">
                  <c:v>100.5229805943912</c:v>
                </c:pt>
                <c:pt idx="1983">
                  <c:v>100.5229805943912</c:v>
                </c:pt>
                <c:pt idx="1984">
                  <c:v>100.5229805943912</c:v>
                </c:pt>
                <c:pt idx="1985">
                  <c:v>100.5229805943912</c:v>
                </c:pt>
                <c:pt idx="1986">
                  <c:v>100.5229805943912</c:v>
                </c:pt>
                <c:pt idx="1987">
                  <c:v>100.5229805943912</c:v>
                </c:pt>
                <c:pt idx="1988">
                  <c:v>100.5229805943912</c:v>
                </c:pt>
                <c:pt idx="1989">
                  <c:v>100.5229805943912</c:v>
                </c:pt>
                <c:pt idx="1990">
                  <c:v>100.5229805943912</c:v>
                </c:pt>
                <c:pt idx="1991">
                  <c:v>100.5229805943912</c:v>
                </c:pt>
                <c:pt idx="1992">
                  <c:v>100.5229805943912</c:v>
                </c:pt>
                <c:pt idx="1993">
                  <c:v>100.5229805943912</c:v>
                </c:pt>
                <c:pt idx="1994">
                  <c:v>100.5229805943912</c:v>
                </c:pt>
                <c:pt idx="1995">
                  <c:v>100.5229805943912</c:v>
                </c:pt>
                <c:pt idx="1996">
                  <c:v>100.5229805943912</c:v>
                </c:pt>
                <c:pt idx="1997">
                  <c:v>100.5229805943912</c:v>
                </c:pt>
                <c:pt idx="1998">
                  <c:v>100.5229805943912</c:v>
                </c:pt>
                <c:pt idx="1999">
                  <c:v>100.5229805943912</c:v>
                </c:pt>
                <c:pt idx="2000">
                  <c:v>100.5229805943912</c:v>
                </c:pt>
                <c:pt idx="2001">
                  <c:v>100.5229805943912</c:v>
                </c:pt>
                <c:pt idx="2002">
                  <c:v>100.5229805943912</c:v>
                </c:pt>
                <c:pt idx="2003">
                  <c:v>100.5229805943912</c:v>
                </c:pt>
                <c:pt idx="2004">
                  <c:v>100.5229805943912</c:v>
                </c:pt>
                <c:pt idx="2005">
                  <c:v>100.5229805943912</c:v>
                </c:pt>
                <c:pt idx="2006">
                  <c:v>100.5229805943912</c:v>
                </c:pt>
                <c:pt idx="2007">
                  <c:v>100.5229805943912</c:v>
                </c:pt>
                <c:pt idx="2008">
                  <c:v>100.5229805943912</c:v>
                </c:pt>
                <c:pt idx="2009">
                  <c:v>100.5229805943912</c:v>
                </c:pt>
                <c:pt idx="2010">
                  <c:v>100.5229805943912</c:v>
                </c:pt>
                <c:pt idx="2011">
                  <c:v>100.5229805943912</c:v>
                </c:pt>
                <c:pt idx="2012">
                  <c:v>100.5229805943912</c:v>
                </c:pt>
                <c:pt idx="2013">
                  <c:v>100.5229805943912</c:v>
                </c:pt>
                <c:pt idx="2014">
                  <c:v>100.5229805943912</c:v>
                </c:pt>
                <c:pt idx="2015">
                  <c:v>100.5229805943912</c:v>
                </c:pt>
                <c:pt idx="2016">
                  <c:v>100.5229805943912</c:v>
                </c:pt>
                <c:pt idx="2017">
                  <c:v>100.5229805943912</c:v>
                </c:pt>
                <c:pt idx="2018">
                  <c:v>100.5229805943912</c:v>
                </c:pt>
                <c:pt idx="2019">
                  <c:v>100.5229805943912</c:v>
                </c:pt>
                <c:pt idx="2020">
                  <c:v>100.5229805943912</c:v>
                </c:pt>
                <c:pt idx="2021">
                  <c:v>100.5229805943912</c:v>
                </c:pt>
                <c:pt idx="2022">
                  <c:v>100.5229805943912</c:v>
                </c:pt>
                <c:pt idx="2023">
                  <c:v>100.5229805943912</c:v>
                </c:pt>
                <c:pt idx="2024">
                  <c:v>100.5229805943912</c:v>
                </c:pt>
                <c:pt idx="2025">
                  <c:v>100.5229805943912</c:v>
                </c:pt>
                <c:pt idx="2026">
                  <c:v>100.5229805943912</c:v>
                </c:pt>
                <c:pt idx="2027">
                  <c:v>100.5229805943912</c:v>
                </c:pt>
                <c:pt idx="2028">
                  <c:v>100.5229805943912</c:v>
                </c:pt>
                <c:pt idx="2029">
                  <c:v>100.5229805943912</c:v>
                </c:pt>
                <c:pt idx="2030">
                  <c:v>100.5229805943912</c:v>
                </c:pt>
                <c:pt idx="2031">
                  <c:v>100.5229805943912</c:v>
                </c:pt>
                <c:pt idx="2032">
                  <c:v>100.5229805943912</c:v>
                </c:pt>
                <c:pt idx="2033">
                  <c:v>100.5229805943912</c:v>
                </c:pt>
                <c:pt idx="2034">
                  <c:v>100.5229805943912</c:v>
                </c:pt>
                <c:pt idx="2035">
                  <c:v>100.5229805943912</c:v>
                </c:pt>
                <c:pt idx="2036">
                  <c:v>100.5229805943912</c:v>
                </c:pt>
                <c:pt idx="2037">
                  <c:v>100.5229805943912</c:v>
                </c:pt>
                <c:pt idx="2038">
                  <c:v>100.5229805943912</c:v>
                </c:pt>
                <c:pt idx="2039">
                  <c:v>100.30446812342187</c:v>
                </c:pt>
                <c:pt idx="2040">
                  <c:v>100.17908753826759</c:v>
                </c:pt>
                <c:pt idx="2041">
                  <c:v>100.05386367884476</c:v>
                </c:pt>
                <c:pt idx="2042">
                  <c:v>100.05386367884476</c:v>
                </c:pt>
                <c:pt idx="2043">
                  <c:v>100.05386367884476</c:v>
                </c:pt>
                <c:pt idx="2044">
                  <c:v>99.79557373285337</c:v>
                </c:pt>
                <c:pt idx="2045">
                  <c:v>97.776459596803321</c:v>
                </c:pt>
                <c:pt idx="2046">
                  <c:v>97.776459596803321</c:v>
                </c:pt>
                <c:pt idx="2047">
                  <c:v>97.654239022307323</c:v>
                </c:pt>
                <c:pt idx="2048">
                  <c:v>97.654239022307323</c:v>
                </c:pt>
                <c:pt idx="2049">
                  <c:v>97.654239022307323</c:v>
                </c:pt>
                <c:pt idx="2050">
                  <c:v>97.654239022307323</c:v>
                </c:pt>
                <c:pt idx="2051">
                  <c:v>97.654239022307323</c:v>
                </c:pt>
                <c:pt idx="2052">
                  <c:v>97.654239022307323</c:v>
                </c:pt>
                <c:pt idx="2053">
                  <c:v>97.654239022307323</c:v>
                </c:pt>
                <c:pt idx="2054">
                  <c:v>97.654239022307323</c:v>
                </c:pt>
                <c:pt idx="2055">
                  <c:v>97.654239022307323</c:v>
                </c:pt>
                <c:pt idx="2056">
                  <c:v>97.654239022307323</c:v>
                </c:pt>
                <c:pt idx="2057">
                  <c:v>97.654239022307323</c:v>
                </c:pt>
                <c:pt idx="2058">
                  <c:v>97.654239022307323</c:v>
                </c:pt>
                <c:pt idx="2059">
                  <c:v>97.654239022307323</c:v>
                </c:pt>
                <c:pt idx="2060">
                  <c:v>97.654239022307323</c:v>
                </c:pt>
                <c:pt idx="2061">
                  <c:v>97.654239022307323</c:v>
                </c:pt>
                <c:pt idx="2062">
                  <c:v>97.654239022307323</c:v>
                </c:pt>
                <c:pt idx="2063">
                  <c:v>97.654239022307323</c:v>
                </c:pt>
                <c:pt idx="2064">
                  <c:v>97.654239022307323</c:v>
                </c:pt>
                <c:pt idx="2065">
                  <c:v>97.654239022307323</c:v>
                </c:pt>
                <c:pt idx="2066">
                  <c:v>97.654239022307323</c:v>
                </c:pt>
                <c:pt idx="2067">
                  <c:v>97.553384732842602</c:v>
                </c:pt>
                <c:pt idx="2068">
                  <c:v>97.431443001926553</c:v>
                </c:pt>
                <c:pt idx="2069">
                  <c:v>97.309653698174145</c:v>
                </c:pt>
                <c:pt idx="2070">
                  <c:v>97.309653698174145</c:v>
                </c:pt>
                <c:pt idx="2071">
                  <c:v>97.309653698174145</c:v>
                </c:pt>
                <c:pt idx="2072">
                  <c:v>97.309653698174145</c:v>
                </c:pt>
                <c:pt idx="2073">
                  <c:v>97.309653698174145</c:v>
                </c:pt>
                <c:pt idx="2074">
                  <c:v>97.309653698174145</c:v>
                </c:pt>
                <c:pt idx="2075">
                  <c:v>97.309653698174145</c:v>
                </c:pt>
                <c:pt idx="2076">
                  <c:v>97.309653698174145</c:v>
                </c:pt>
                <c:pt idx="2077">
                  <c:v>97.309653698174145</c:v>
                </c:pt>
                <c:pt idx="2078">
                  <c:v>97.309653698174145</c:v>
                </c:pt>
                <c:pt idx="2079">
                  <c:v>97.309653698174145</c:v>
                </c:pt>
                <c:pt idx="2080">
                  <c:v>97.309653698174145</c:v>
                </c:pt>
                <c:pt idx="2081">
                  <c:v>97.309653698174145</c:v>
                </c:pt>
                <c:pt idx="2082">
                  <c:v>97.309653698174145</c:v>
                </c:pt>
                <c:pt idx="2083">
                  <c:v>97.309653698174145</c:v>
                </c:pt>
                <c:pt idx="2084">
                  <c:v>97.309653698174145</c:v>
                </c:pt>
                <c:pt idx="2085">
                  <c:v>97.309653698174145</c:v>
                </c:pt>
                <c:pt idx="2086">
                  <c:v>97.309653698174145</c:v>
                </c:pt>
                <c:pt idx="2087">
                  <c:v>97.309653698174145</c:v>
                </c:pt>
                <c:pt idx="2088">
                  <c:v>97.309653698174145</c:v>
                </c:pt>
                <c:pt idx="2089">
                  <c:v>97.309653698174145</c:v>
                </c:pt>
                <c:pt idx="2090">
                  <c:v>97.309653698174145</c:v>
                </c:pt>
                <c:pt idx="2091">
                  <c:v>97.309653698174145</c:v>
                </c:pt>
                <c:pt idx="2092">
                  <c:v>97.309653698174145</c:v>
                </c:pt>
                <c:pt idx="2093">
                  <c:v>97.309653698174145</c:v>
                </c:pt>
                <c:pt idx="2094">
                  <c:v>97.309653698174145</c:v>
                </c:pt>
                <c:pt idx="2095">
                  <c:v>97.309653698174145</c:v>
                </c:pt>
                <c:pt idx="2096">
                  <c:v>97.309653698174145</c:v>
                </c:pt>
                <c:pt idx="2097">
                  <c:v>97.309653698174145</c:v>
                </c:pt>
                <c:pt idx="2098">
                  <c:v>97.309653698174145</c:v>
                </c:pt>
                <c:pt idx="2099">
                  <c:v>97.132020412559172</c:v>
                </c:pt>
                <c:pt idx="2100">
                  <c:v>94.632629765522495</c:v>
                </c:pt>
                <c:pt idx="2101">
                  <c:v>94.632629765522495</c:v>
                </c:pt>
                <c:pt idx="2102">
                  <c:v>94.514338978315592</c:v>
                </c:pt>
                <c:pt idx="2103">
                  <c:v>94.514338978315592</c:v>
                </c:pt>
                <c:pt idx="2104">
                  <c:v>96.035434970591481</c:v>
                </c:pt>
                <c:pt idx="2105">
                  <c:v>94.717231993485143</c:v>
                </c:pt>
                <c:pt idx="2106">
                  <c:v>94.717231993485143</c:v>
                </c:pt>
                <c:pt idx="2107">
                  <c:v>94.598835453493294</c:v>
                </c:pt>
                <c:pt idx="2108">
                  <c:v>94.598835453493294</c:v>
                </c:pt>
                <c:pt idx="2109">
                  <c:v>94.598835453493294</c:v>
                </c:pt>
                <c:pt idx="2110">
                  <c:v>94.598835453493294</c:v>
                </c:pt>
                <c:pt idx="2111">
                  <c:v>94.598835453493294</c:v>
                </c:pt>
                <c:pt idx="2112">
                  <c:v>94.598835453493294</c:v>
                </c:pt>
                <c:pt idx="2113">
                  <c:v>94.598835453493294</c:v>
                </c:pt>
                <c:pt idx="2114">
                  <c:v>94.598835453493294</c:v>
                </c:pt>
                <c:pt idx="2115">
                  <c:v>94.598835453493294</c:v>
                </c:pt>
                <c:pt idx="2116">
                  <c:v>94.598835453493294</c:v>
                </c:pt>
                <c:pt idx="2117">
                  <c:v>94.598835453493294</c:v>
                </c:pt>
                <c:pt idx="2118">
                  <c:v>94.598835453493294</c:v>
                </c:pt>
                <c:pt idx="2119">
                  <c:v>94.598835453493294</c:v>
                </c:pt>
                <c:pt idx="2120">
                  <c:v>94.598835453493294</c:v>
                </c:pt>
                <c:pt idx="2121">
                  <c:v>94.598835453493294</c:v>
                </c:pt>
                <c:pt idx="2122">
                  <c:v>94.598835453493294</c:v>
                </c:pt>
                <c:pt idx="2123">
                  <c:v>94.598835453493294</c:v>
                </c:pt>
                <c:pt idx="2124">
                  <c:v>94.598835453493294</c:v>
                </c:pt>
                <c:pt idx="2125">
                  <c:v>94.598835453493294</c:v>
                </c:pt>
                <c:pt idx="2126">
                  <c:v>94.598835453493294</c:v>
                </c:pt>
                <c:pt idx="2127">
                  <c:v>94.598835453493294</c:v>
                </c:pt>
                <c:pt idx="2128">
                  <c:v>94.598835453493294</c:v>
                </c:pt>
                <c:pt idx="2129">
                  <c:v>94.598835453493294</c:v>
                </c:pt>
                <c:pt idx="2130">
                  <c:v>94.598835453493294</c:v>
                </c:pt>
                <c:pt idx="2131">
                  <c:v>94.598835453493294</c:v>
                </c:pt>
                <c:pt idx="2132">
                  <c:v>94.598835453493294</c:v>
                </c:pt>
                <c:pt idx="2133">
                  <c:v>94.598835453493294</c:v>
                </c:pt>
                <c:pt idx="2134">
                  <c:v>94.598835453493294</c:v>
                </c:pt>
                <c:pt idx="2135">
                  <c:v>94.598835453493294</c:v>
                </c:pt>
                <c:pt idx="2136">
                  <c:v>94.598835453493294</c:v>
                </c:pt>
                <c:pt idx="2137">
                  <c:v>94.598835453493294</c:v>
                </c:pt>
                <c:pt idx="2138">
                  <c:v>94.598835453493294</c:v>
                </c:pt>
                <c:pt idx="2139">
                  <c:v>94.598835453493294</c:v>
                </c:pt>
                <c:pt idx="2140">
                  <c:v>94.598835453493294</c:v>
                </c:pt>
                <c:pt idx="2141">
                  <c:v>94.598835453493294</c:v>
                </c:pt>
                <c:pt idx="2142">
                  <c:v>94.598835453493294</c:v>
                </c:pt>
                <c:pt idx="2143">
                  <c:v>94.598835453493294</c:v>
                </c:pt>
                <c:pt idx="2144">
                  <c:v>94.598835453493294</c:v>
                </c:pt>
                <c:pt idx="2145">
                  <c:v>94.598835453493294</c:v>
                </c:pt>
                <c:pt idx="2146">
                  <c:v>94.598835453493294</c:v>
                </c:pt>
                <c:pt idx="2147">
                  <c:v>94.598835453493294</c:v>
                </c:pt>
                <c:pt idx="2148">
                  <c:v>94.598835453493294</c:v>
                </c:pt>
                <c:pt idx="2149">
                  <c:v>94.598835453493294</c:v>
                </c:pt>
                <c:pt idx="2150">
                  <c:v>94.598835453493294</c:v>
                </c:pt>
                <c:pt idx="2151">
                  <c:v>94.598835453493294</c:v>
                </c:pt>
                <c:pt idx="2152">
                  <c:v>94.598835453493294</c:v>
                </c:pt>
                <c:pt idx="2153">
                  <c:v>94.598835453493294</c:v>
                </c:pt>
                <c:pt idx="2154">
                  <c:v>94.598835453493294</c:v>
                </c:pt>
                <c:pt idx="2155">
                  <c:v>94.598835453493294</c:v>
                </c:pt>
                <c:pt idx="2156">
                  <c:v>94.598835453493294</c:v>
                </c:pt>
                <c:pt idx="2157">
                  <c:v>94.598835453493294</c:v>
                </c:pt>
                <c:pt idx="2158">
                  <c:v>94.598835453493294</c:v>
                </c:pt>
                <c:pt idx="2159">
                  <c:v>94.598835453493294</c:v>
                </c:pt>
                <c:pt idx="2160">
                  <c:v>94.598835453493294</c:v>
                </c:pt>
                <c:pt idx="2161">
                  <c:v>94.598835453493294</c:v>
                </c:pt>
                <c:pt idx="2162">
                  <c:v>94.598835453493294</c:v>
                </c:pt>
                <c:pt idx="2163">
                  <c:v>94.598835453493294</c:v>
                </c:pt>
                <c:pt idx="2164">
                  <c:v>94.598835453493294</c:v>
                </c:pt>
                <c:pt idx="2165">
                  <c:v>94.598835453493294</c:v>
                </c:pt>
                <c:pt idx="2166">
                  <c:v>94.598835453493294</c:v>
                </c:pt>
                <c:pt idx="2167">
                  <c:v>94.598835453493294</c:v>
                </c:pt>
                <c:pt idx="2168">
                  <c:v>94.598835453493294</c:v>
                </c:pt>
                <c:pt idx="2169">
                  <c:v>94.598835453493294</c:v>
                </c:pt>
                <c:pt idx="2170">
                  <c:v>94.598835453493294</c:v>
                </c:pt>
                <c:pt idx="2171">
                  <c:v>94.598835453493294</c:v>
                </c:pt>
                <c:pt idx="2172">
                  <c:v>94.598835453493294</c:v>
                </c:pt>
                <c:pt idx="2173">
                  <c:v>94.598835453493294</c:v>
                </c:pt>
                <c:pt idx="2174">
                  <c:v>94.598835453493294</c:v>
                </c:pt>
                <c:pt idx="2175">
                  <c:v>94.598835453493294</c:v>
                </c:pt>
                <c:pt idx="2176">
                  <c:v>94.598835453493294</c:v>
                </c:pt>
                <c:pt idx="2177">
                  <c:v>94.598835453493294</c:v>
                </c:pt>
                <c:pt idx="2178">
                  <c:v>94.598835453493294</c:v>
                </c:pt>
                <c:pt idx="2179">
                  <c:v>94.598835453493294</c:v>
                </c:pt>
                <c:pt idx="2180">
                  <c:v>94.598835453493294</c:v>
                </c:pt>
                <c:pt idx="2181">
                  <c:v>94.598835453493294</c:v>
                </c:pt>
                <c:pt idx="2182">
                  <c:v>94.598835453493294</c:v>
                </c:pt>
                <c:pt idx="2183">
                  <c:v>94.598835453493294</c:v>
                </c:pt>
                <c:pt idx="2184">
                  <c:v>94.598835453493294</c:v>
                </c:pt>
                <c:pt idx="2185">
                  <c:v>94.598835453493294</c:v>
                </c:pt>
                <c:pt idx="2186">
                  <c:v>94.598835453493294</c:v>
                </c:pt>
                <c:pt idx="2187">
                  <c:v>94.598835453493294</c:v>
                </c:pt>
                <c:pt idx="2188">
                  <c:v>94.598835453493294</c:v>
                </c:pt>
                <c:pt idx="2189">
                  <c:v>94.598835453493294</c:v>
                </c:pt>
                <c:pt idx="2190">
                  <c:v>94.598835453493294</c:v>
                </c:pt>
                <c:pt idx="2191">
                  <c:v>94.598835453493294</c:v>
                </c:pt>
                <c:pt idx="2192">
                  <c:v>94.598835453493294</c:v>
                </c:pt>
                <c:pt idx="2193">
                  <c:v>94.598835453493294</c:v>
                </c:pt>
                <c:pt idx="2194">
                  <c:v>94.598835453493294</c:v>
                </c:pt>
                <c:pt idx="2195">
                  <c:v>94.224400261335035</c:v>
                </c:pt>
                <c:pt idx="2196">
                  <c:v>94.377065169920201</c:v>
                </c:pt>
                <c:pt idx="2197">
                  <c:v>94.377065169920201</c:v>
                </c:pt>
                <c:pt idx="2198">
                  <c:v>94.259093838457801</c:v>
                </c:pt>
                <c:pt idx="2199">
                  <c:v>94.259093838457801</c:v>
                </c:pt>
                <c:pt idx="2200">
                  <c:v>94.259093838457801</c:v>
                </c:pt>
                <c:pt idx="2201">
                  <c:v>94.259093838457801</c:v>
                </c:pt>
                <c:pt idx="2202">
                  <c:v>94.259093838457801</c:v>
                </c:pt>
                <c:pt idx="2203">
                  <c:v>94.259093838457801</c:v>
                </c:pt>
                <c:pt idx="2204">
                  <c:v>94.259093838457801</c:v>
                </c:pt>
                <c:pt idx="2205">
                  <c:v>94.259093838457801</c:v>
                </c:pt>
                <c:pt idx="2206">
                  <c:v>94.259093838457801</c:v>
                </c:pt>
                <c:pt idx="2207">
                  <c:v>94.259093838457801</c:v>
                </c:pt>
                <c:pt idx="2208">
                  <c:v>94.259093838457801</c:v>
                </c:pt>
                <c:pt idx="2209">
                  <c:v>94.259093838457801</c:v>
                </c:pt>
                <c:pt idx="2210">
                  <c:v>94.259093838457801</c:v>
                </c:pt>
                <c:pt idx="2211">
                  <c:v>94.259093838457801</c:v>
                </c:pt>
                <c:pt idx="2212">
                  <c:v>94.259093838457801</c:v>
                </c:pt>
                <c:pt idx="2213">
                  <c:v>94.259093838457801</c:v>
                </c:pt>
                <c:pt idx="2214">
                  <c:v>94.259093838457801</c:v>
                </c:pt>
                <c:pt idx="2215">
                  <c:v>94.259093838457801</c:v>
                </c:pt>
                <c:pt idx="2216">
                  <c:v>94.259093838457801</c:v>
                </c:pt>
                <c:pt idx="2217">
                  <c:v>94.259093838457801</c:v>
                </c:pt>
                <c:pt idx="2218">
                  <c:v>94.259093838457801</c:v>
                </c:pt>
                <c:pt idx="2219">
                  <c:v>94.259093838457801</c:v>
                </c:pt>
                <c:pt idx="2220">
                  <c:v>94.259093838457801</c:v>
                </c:pt>
                <c:pt idx="2221">
                  <c:v>94.259093838457801</c:v>
                </c:pt>
                <c:pt idx="2222">
                  <c:v>92.371003985210265</c:v>
                </c:pt>
                <c:pt idx="2223">
                  <c:v>92.25554023022876</c:v>
                </c:pt>
                <c:pt idx="2224">
                  <c:v>92.140220804940981</c:v>
                </c:pt>
                <c:pt idx="2225">
                  <c:v>92.140220804940981</c:v>
                </c:pt>
                <c:pt idx="2226">
                  <c:v>92.140220804940981</c:v>
                </c:pt>
                <c:pt idx="2227">
                  <c:v>89.944725700988712</c:v>
                </c:pt>
                <c:pt idx="2228">
                  <c:v>89.832294793862474</c:v>
                </c:pt>
                <c:pt idx="2229">
                  <c:v>89.720004425370149</c:v>
                </c:pt>
                <c:pt idx="2230">
                  <c:v>89.720004425370149</c:v>
                </c:pt>
                <c:pt idx="2231">
                  <c:v>89.720004425370149</c:v>
                </c:pt>
                <c:pt idx="2232">
                  <c:v>89.720004425370149</c:v>
                </c:pt>
                <c:pt idx="2233">
                  <c:v>89.720004425370149</c:v>
                </c:pt>
                <c:pt idx="2234">
                  <c:v>89.720004425370149</c:v>
                </c:pt>
                <c:pt idx="2235">
                  <c:v>89.720004425370149</c:v>
                </c:pt>
                <c:pt idx="2236">
                  <c:v>89.720004425370149</c:v>
                </c:pt>
                <c:pt idx="2237">
                  <c:v>89.465918825110975</c:v>
                </c:pt>
                <c:pt idx="2238">
                  <c:v>89.354086426579585</c:v>
                </c:pt>
                <c:pt idx="2239">
                  <c:v>89.242393818546361</c:v>
                </c:pt>
                <c:pt idx="2240">
                  <c:v>89.242393818546361</c:v>
                </c:pt>
                <c:pt idx="2241">
                  <c:v>89.242393818546361</c:v>
                </c:pt>
                <c:pt idx="2242">
                  <c:v>89.242393818546361</c:v>
                </c:pt>
                <c:pt idx="2243">
                  <c:v>89.242393818546361</c:v>
                </c:pt>
                <c:pt idx="2244">
                  <c:v>89.242393818546361</c:v>
                </c:pt>
                <c:pt idx="2245">
                  <c:v>89.242393818546361</c:v>
                </c:pt>
                <c:pt idx="2246">
                  <c:v>89.242393818546361</c:v>
                </c:pt>
                <c:pt idx="2247">
                  <c:v>89.242393818546361</c:v>
                </c:pt>
                <c:pt idx="2248">
                  <c:v>89.242393818546361</c:v>
                </c:pt>
                <c:pt idx="2249">
                  <c:v>89.242393818546361</c:v>
                </c:pt>
                <c:pt idx="2250">
                  <c:v>88.990910587296327</c:v>
                </c:pt>
                <c:pt idx="2251">
                  <c:v>88.879671949062214</c:v>
                </c:pt>
                <c:pt idx="2252">
                  <c:v>88.768572359125884</c:v>
                </c:pt>
                <c:pt idx="2253">
                  <c:v>88.768572359125884</c:v>
                </c:pt>
                <c:pt idx="2254">
                  <c:v>88.768572359125884</c:v>
                </c:pt>
                <c:pt idx="2255">
                  <c:v>88.768572359125884</c:v>
                </c:pt>
                <c:pt idx="2256">
                  <c:v>88.768572359125884</c:v>
                </c:pt>
                <c:pt idx="2257">
                  <c:v>88.768572359125884</c:v>
                </c:pt>
                <c:pt idx="2258">
                  <c:v>88.768572359125884</c:v>
                </c:pt>
                <c:pt idx="2259">
                  <c:v>88.768572359125884</c:v>
                </c:pt>
                <c:pt idx="2260">
                  <c:v>88.768572359125884</c:v>
                </c:pt>
                <c:pt idx="2261">
                  <c:v>88.768572359125884</c:v>
                </c:pt>
                <c:pt idx="2262">
                  <c:v>88.768572359125884</c:v>
                </c:pt>
                <c:pt idx="2263">
                  <c:v>88.768572359125884</c:v>
                </c:pt>
                <c:pt idx="2264">
                  <c:v>88.768572359125884</c:v>
                </c:pt>
                <c:pt idx="2265">
                  <c:v>88.768572359125884</c:v>
                </c:pt>
                <c:pt idx="2266">
                  <c:v>88.768572359125884</c:v>
                </c:pt>
                <c:pt idx="2267">
                  <c:v>88.768572359125884</c:v>
                </c:pt>
                <c:pt idx="2268">
                  <c:v>88.768572359125884</c:v>
                </c:pt>
                <c:pt idx="2269">
                  <c:v>88.768572359125884</c:v>
                </c:pt>
                <c:pt idx="2270">
                  <c:v>88.768572359125884</c:v>
                </c:pt>
                <c:pt idx="2271">
                  <c:v>88.768572359125884</c:v>
                </c:pt>
                <c:pt idx="2272">
                  <c:v>88.768572359125884</c:v>
                </c:pt>
                <c:pt idx="2273">
                  <c:v>87.317774342032678</c:v>
                </c:pt>
                <c:pt idx="2274">
                  <c:v>87.208627124105135</c:v>
                </c:pt>
                <c:pt idx="2275">
                  <c:v>87.099616340200001</c:v>
                </c:pt>
                <c:pt idx="2276">
                  <c:v>87.099616340200001</c:v>
                </c:pt>
                <c:pt idx="2277">
                  <c:v>87.099616340200001</c:v>
                </c:pt>
                <c:pt idx="2278">
                  <c:v>87.099616340200001</c:v>
                </c:pt>
                <c:pt idx="2279">
                  <c:v>87.099616340200001</c:v>
                </c:pt>
                <c:pt idx="2280">
                  <c:v>87.099616340200001</c:v>
                </c:pt>
                <c:pt idx="2281">
                  <c:v>87.099616340200001</c:v>
                </c:pt>
                <c:pt idx="2282">
                  <c:v>87.099616340200001</c:v>
                </c:pt>
                <c:pt idx="2283">
                  <c:v>87.099616340200001</c:v>
                </c:pt>
                <c:pt idx="2284">
                  <c:v>87.099616340200001</c:v>
                </c:pt>
                <c:pt idx="2285">
                  <c:v>87.099616340200001</c:v>
                </c:pt>
                <c:pt idx="2286">
                  <c:v>87.099616340200001</c:v>
                </c:pt>
                <c:pt idx="2287">
                  <c:v>87.099616340200001</c:v>
                </c:pt>
                <c:pt idx="2288">
                  <c:v>87.099616340200001</c:v>
                </c:pt>
                <c:pt idx="2289">
                  <c:v>87.099616340200001</c:v>
                </c:pt>
                <c:pt idx="2290">
                  <c:v>87.099616340200001</c:v>
                </c:pt>
                <c:pt idx="2291">
                  <c:v>87.099616340200001</c:v>
                </c:pt>
                <c:pt idx="2292">
                  <c:v>87.099616340200001</c:v>
                </c:pt>
                <c:pt idx="2293">
                  <c:v>87.099616340200001</c:v>
                </c:pt>
                <c:pt idx="2294">
                  <c:v>87.099616340200001</c:v>
                </c:pt>
                <c:pt idx="2295">
                  <c:v>87.099616340200001</c:v>
                </c:pt>
                <c:pt idx="2296">
                  <c:v>87.099616340200001</c:v>
                </c:pt>
                <c:pt idx="2297">
                  <c:v>87.099616340200001</c:v>
                </c:pt>
                <c:pt idx="2298">
                  <c:v>87.099616340200001</c:v>
                </c:pt>
                <c:pt idx="2299">
                  <c:v>87.099616340200001</c:v>
                </c:pt>
                <c:pt idx="2300">
                  <c:v>87.099616340200001</c:v>
                </c:pt>
                <c:pt idx="2301">
                  <c:v>87.099616340200001</c:v>
                </c:pt>
                <c:pt idx="2302">
                  <c:v>87.099616340200001</c:v>
                </c:pt>
                <c:pt idx="2303">
                  <c:v>87.099616340200001</c:v>
                </c:pt>
                <c:pt idx="2304">
                  <c:v>87.099616340200001</c:v>
                </c:pt>
                <c:pt idx="2305">
                  <c:v>87.099616340200001</c:v>
                </c:pt>
                <c:pt idx="2306">
                  <c:v>87.099616340200001</c:v>
                </c:pt>
                <c:pt idx="2307">
                  <c:v>87.099616340200001</c:v>
                </c:pt>
                <c:pt idx="2308">
                  <c:v>87.099616340200001</c:v>
                </c:pt>
                <c:pt idx="2309">
                  <c:v>87.099616340200001</c:v>
                </c:pt>
                <c:pt idx="2310">
                  <c:v>87.099616340200001</c:v>
                </c:pt>
                <c:pt idx="2311">
                  <c:v>87.099616340200001</c:v>
                </c:pt>
                <c:pt idx="2312">
                  <c:v>87.099616340200001</c:v>
                </c:pt>
                <c:pt idx="2313">
                  <c:v>87.099616340200001</c:v>
                </c:pt>
                <c:pt idx="2314">
                  <c:v>87.099616340200001</c:v>
                </c:pt>
                <c:pt idx="2315">
                  <c:v>87.099616340200001</c:v>
                </c:pt>
                <c:pt idx="2316">
                  <c:v>87.099616340200001</c:v>
                </c:pt>
                <c:pt idx="2317">
                  <c:v>87.099616340200001</c:v>
                </c:pt>
                <c:pt idx="2318">
                  <c:v>87.099616340200001</c:v>
                </c:pt>
                <c:pt idx="2319">
                  <c:v>87.099616340200001</c:v>
                </c:pt>
                <c:pt idx="2320">
                  <c:v>87.099616340200001</c:v>
                </c:pt>
                <c:pt idx="2321">
                  <c:v>87.099616340200001</c:v>
                </c:pt>
                <c:pt idx="2322">
                  <c:v>87.099616340200001</c:v>
                </c:pt>
                <c:pt idx="2323">
                  <c:v>87.099616340200001</c:v>
                </c:pt>
                <c:pt idx="2324">
                  <c:v>87.099616340200001</c:v>
                </c:pt>
                <c:pt idx="2325">
                  <c:v>87.099616340200001</c:v>
                </c:pt>
                <c:pt idx="2326">
                  <c:v>87.099616340200001</c:v>
                </c:pt>
                <c:pt idx="2327">
                  <c:v>87.099616340200001</c:v>
                </c:pt>
                <c:pt idx="2328">
                  <c:v>87.373142943870988</c:v>
                </c:pt>
                <c:pt idx="2329">
                  <c:v>87.263926515191159</c:v>
                </c:pt>
                <c:pt idx="2330">
                  <c:v>87.154846607047176</c:v>
                </c:pt>
                <c:pt idx="2331">
                  <c:v>87.154846607047176</c:v>
                </c:pt>
                <c:pt idx="2332">
                  <c:v>87.154846607047176</c:v>
                </c:pt>
                <c:pt idx="2333">
                  <c:v>87.154846607047176</c:v>
                </c:pt>
                <c:pt idx="2334">
                  <c:v>87.154846607047176</c:v>
                </c:pt>
                <c:pt idx="2335">
                  <c:v>87.154846607047176</c:v>
                </c:pt>
                <c:pt idx="2336">
                  <c:v>87.154846607047176</c:v>
                </c:pt>
                <c:pt idx="2337">
                  <c:v>87.154846607047176</c:v>
                </c:pt>
                <c:pt idx="2338">
                  <c:v>87.154846607047176</c:v>
                </c:pt>
                <c:pt idx="2339">
                  <c:v>87.154846607047176</c:v>
                </c:pt>
                <c:pt idx="2340">
                  <c:v>87.154846607047176</c:v>
                </c:pt>
                <c:pt idx="2341">
                  <c:v>87.154846607047176</c:v>
                </c:pt>
                <c:pt idx="2342">
                  <c:v>87.154846607047176</c:v>
                </c:pt>
                <c:pt idx="2343">
                  <c:v>87.154846607047176</c:v>
                </c:pt>
                <c:pt idx="2344">
                  <c:v>87.154846607047176</c:v>
                </c:pt>
                <c:pt idx="2345">
                  <c:v>87.154846607047176</c:v>
                </c:pt>
                <c:pt idx="2346">
                  <c:v>87.154846607047176</c:v>
                </c:pt>
                <c:pt idx="2347">
                  <c:v>87.154846607047176</c:v>
                </c:pt>
                <c:pt idx="2348">
                  <c:v>87.154846607047176</c:v>
                </c:pt>
                <c:pt idx="2349">
                  <c:v>87.154846607047176</c:v>
                </c:pt>
                <c:pt idx="2350">
                  <c:v>87.154846607047176</c:v>
                </c:pt>
                <c:pt idx="2351">
                  <c:v>87.154846607047176</c:v>
                </c:pt>
                <c:pt idx="2352">
                  <c:v>87.154846607047176</c:v>
                </c:pt>
                <c:pt idx="2353">
                  <c:v>87.154846607047176</c:v>
                </c:pt>
                <c:pt idx="2354">
                  <c:v>87.154846607047176</c:v>
                </c:pt>
                <c:pt idx="2355">
                  <c:v>87.154846607047176</c:v>
                </c:pt>
                <c:pt idx="2356">
                  <c:v>87.154846607047176</c:v>
                </c:pt>
                <c:pt idx="2357">
                  <c:v>87.154846607047176</c:v>
                </c:pt>
                <c:pt idx="2358">
                  <c:v>87.154846607047176</c:v>
                </c:pt>
                <c:pt idx="2359">
                  <c:v>87.154846607047176</c:v>
                </c:pt>
                <c:pt idx="2360">
                  <c:v>87.154846607047176</c:v>
                </c:pt>
                <c:pt idx="2361">
                  <c:v>87.154846607047176</c:v>
                </c:pt>
                <c:pt idx="2362">
                  <c:v>87.154846607047176</c:v>
                </c:pt>
                <c:pt idx="2363">
                  <c:v>87.154846607047176</c:v>
                </c:pt>
                <c:pt idx="2364">
                  <c:v>87.154846607047176</c:v>
                </c:pt>
                <c:pt idx="2365">
                  <c:v>87.154846607047176</c:v>
                </c:pt>
                <c:pt idx="2366">
                  <c:v>87.154846607047176</c:v>
                </c:pt>
                <c:pt idx="2367">
                  <c:v>87.154846607047176</c:v>
                </c:pt>
                <c:pt idx="2368">
                  <c:v>87.154846607047176</c:v>
                </c:pt>
                <c:pt idx="2369">
                  <c:v>86.491172844983524</c:v>
                </c:pt>
                <c:pt idx="2370">
                  <c:v>86.383058878927301</c:v>
                </c:pt>
                <c:pt idx="2371">
                  <c:v>86.275080055328644</c:v>
                </c:pt>
                <c:pt idx="2372">
                  <c:v>86.275080055328644</c:v>
                </c:pt>
                <c:pt idx="2373">
                  <c:v>86.275080055328644</c:v>
                </c:pt>
                <c:pt idx="2374">
                  <c:v>86.275080055328644</c:v>
                </c:pt>
                <c:pt idx="2375">
                  <c:v>86.275080055328644</c:v>
                </c:pt>
                <c:pt idx="2376">
                  <c:v>86.275080055328644</c:v>
                </c:pt>
                <c:pt idx="2377">
                  <c:v>86.275080055328644</c:v>
                </c:pt>
                <c:pt idx="2378">
                  <c:v>86.275080055328644</c:v>
                </c:pt>
                <c:pt idx="2379">
                  <c:v>86.275080055328644</c:v>
                </c:pt>
                <c:pt idx="2380">
                  <c:v>86.275080055328644</c:v>
                </c:pt>
                <c:pt idx="2381">
                  <c:v>86.275080055328644</c:v>
                </c:pt>
                <c:pt idx="2382">
                  <c:v>86.275080055328644</c:v>
                </c:pt>
                <c:pt idx="2383">
                  <c:v>86.275080055328644</c:v>
                </c:pt>
                <c:pt idx="2384">
                  <c:v>86.275080055328644</c:v>
                </c:pt>
                <c:pt idx="2385">
                  <c:v>86.275080055328644</c:v>
                </c:pt>
                <c:pt idx="2386">
                  <c:v>86.275080055328644</c:v>
                </c:pt>
                <c:pt idx="2387">
                  <c:v>86.275080055328644</c:v>
                </c:pt>
                <c:pt idx="2388">
                  <c:v>86.275080055328644</c:v>
                </c:pt>
                <c:pt idx="2389">
                  <c:v>86.275080055328644</c:v>
                </c:pt>
                <c:pt idx="2390">
                  <c:v>86.275080055328644</c:v>
                </c:pt>
                <c:pt idx="2391">
                  <c:v>86.275080055328644</c:v>
                </c:pt>
                <c:pt idx="2392">
                  <c:v>86.275080055328644</c:v>
                </c:pt>
                <c:pt idx="2393">
                  <c:v>86.275080055328644</c:v>
                </c:pt>
                <c:pt idx="2394">
                  <c:v>86.275080055328644</c:v>
                </c:pt>
                <c:pt idx="2395">
                  <c:v>86.275080055328644</c:v>
                </c:pt>
                <c:pt idx="2396">
                  <c:v>86.275080055328644</c:v>
                </c:pt>
                <c:pt idx="2397">
                  <c:v>86.275080055328644</c:v>
                </c:pt>
                <c:pt idx="2398">
                  <c:v>86.275080055328644</c:v>
                </c:pt>
                <c:pt idx="2399">
                  <c:v>86.275080055328644</c:v>
                </c:pt>
                <c:pt idx="2400">
                  <c:v>86.275080055328644</c:v>
                </c:pt>
                <c:pt idx="2401">
                  <c:v>86.275080055328644</c:v>
                </c:pt>
                <c:pt idx="2402">
                  <c:v>86.275080055328644</c:v>
                </c:pt>
                <c:pt idx="2403">
                  <c:v>85.845658190609143</c:v>
                </c:pt>
                <c:pt idx="2404">
                  <c:v>85.738351117870877</c:v>
                </c:pt>
                <c:pt idx="2405">
                  <c:v>85.631178178973542</c:v>
                </c:pt>
                <c:pt idx="2406">
                  <c:v>85.631178178973542</c:v>
                </c:pt>
                <c:pt idx="2407">
                  <c:v>85.631178178973542</c:v>
                </c:pt>
                <c:pt idx="2408">
                  <c:v>85.631178178973542</c:v>
                </c:pt>
                <c:pt idx="2409">
                  <c:v>85.631178178973542</c:v>
                </c:pt>
                <c:pt idx="2410">
                  <c:v>85.631178178973542</c:v>
                </c:pt>
                <c:pt idx="2411">
                  <c:v>85.631178178973542</c:v>
                </c:pt>
                <c:pt idx="2412">
                  <c:v>85.631178178973542</c:v>
                </c:pt>
                <c:pt idx="2413">
                  <c:v>85.631178178973542</c:v>
                </c:pt>
                <c:pt idx="2414">
                  <c:v>85.631178178973542</c:v>
                </c:pt>
                <c:pt idx="2415">
                  <c:v>85.631178178973542</c:v>
                </c:pt>
                <c:pt idx="2416">
                  <c:v>85.631178178973542</c:v>
                </c:pt>
                <c:pt idx="2417">
                  <c:v>85.631178178973542</c:v>
                </c:pt>
                <c:pt idx="2418">
                  <c:v>85.631178178973542</c:v>
                </c:pt>
                <c:pt idx="2419">
                  <c:v>85.631178178973542</c:v>
                </c:pt>
                <c:pt idx="2420">
                  <c:v>85.631178178973542</c:v>
                </c:pt>
                <c:pt idx="2421">
                  <c:v>85.631178178973542</c:v>
                </c:pt>
                <c:pt idx="2422">
                  <c:v>85.631178178973542</c:v>
                </c:pt>
                <c:pt idx="2423">
                  <c:v>85.631178178973542</c:v>
                </c:pt>
                <c:pt idx="2424">
                  <c:v>85.631178178973542</c:v>
                </c:pt>
                <c:pt idx="2425">
                  <c:v>85.631178178973542</c:v>
                </c:pt>
                <c:pt idx="2426">
                  <c:v>85.631178178973542</c:v>
                </c:pt>
                <c:pt idx="2427">
                  <c:v>85.631178178973542</c:v>
                </c:pt>
                <c:pt idx="2428">
                  <c:v>85.631178178973542</c:v>
                </c:pt>
                <c:pt idx="2429">
                  <c:v>85.631178178973542</c:v>
                </c:pt>
                <c:pt idx="2430">
                  <c:v>85.631178178973542</c:v>
                </c:pt>
                <c:pt idx="2431">
                  <c:v>85.631178178973542</c:v>
                </c:pt>
                <c:pt idx="2432">
                  <c:v>85.631178178973542</c:v>
                </c:pt>
                <c:pt idx="2433">
                  <c:v>85.631178178973542</c:v>
                </c:pt>
                <c:pt idx="2434">
                  <c:v>85.631178178973542</c:v>
                </c:pt>
                <c:pt idx="2435">
                  <c:v>85.631178178973542</c:v>
                </c:pt>
                <c:pt idx="2436">
                  <c:v>85.631178178973542</c:v>
                </c:pt>
                <c:pt idx="2437">
                  <c:v>85.631178178973542</c:v>
                </c:pt>
                <c:pt idx="2438">
                  <c:v>85.631178178973542</c:v>
                </c:pt>
                <c:pt idx="2439">
                  <c:v>85.631178178973542</c:v>
                </c:pt>
                <c:pt idx="2440">
                  <c:v>85.631178178973542</c:v>
                </c:pt>
                <c:pt idx="2441">
                  <c:v>85.631178178973542</c:v>
                </c:pt>
                <c:pt idx="2442">
                  <c:v>85.631178178973542</c:v>
                </c:pt>
                <c:pt idx="2443">
                  <c:v>85.631178178973542</c:v>
                </c:pt>
                <c:pt idx="2444">
                  <c:v>85.631178178973542</c:v>
                </c:pt>
                <c:pt idx="2445">
                  <c:v>85.631178178973542</c:v>
                </c:pt>
                <c:pt idx="2446">
                  <c:v>85.631178178973542</c:v>
                </c:pt>
                <c:pt idx="2447">
                  <c:v>85.631178178973542</c:v>
                </c:pt>
                <c:pt idx="2448">
                  <c:v>85.631178178973542</c:v>
                </c:pt>
                <c:pt idx="2449">
                  <c:v>85.631178178973542</c:v>
                </c:pt>
                <c:pt idx="2450">
                  <c:v>85.631178178973542</c:v>
                </c:pt>
                <c:pt idx="2451">
                  <c:v>85.631178178973542</c:v>
                </c:pt>
                <c:pt idx="2452">
                  <c:v>85.631178178973542</c:v>
                </c:pt>
                <c:pt idx="2453">
                  <c:v>85.631178178973542</c:v>
                </c:pt>
                <c:pt idx="2454">
                  <c:v>85.631178178973542</c:v>
                </c:pt>
                <c:pt idx="2455">
                  <c:v>85.631178178973542</c:v>
                </c:pt>
                <c:pt idx="2456">
                  <c:v>85.631178178973542</c:v>
                </c:pt>
                <c:pt idx="2457">
                  <c:v>85.631178178973542</c:v>
                </c:pt>
                <c:pt idx="2458">
                  <c:v>85.631178178973542</c:v>
                </c:pt>
                <c:pt idx="2459">
                  <c:v>85.631178178973542</c:v>
                </c:pt>
                <c:pt idx="2460">
                  <c:v>85.631178178973542</c:v>
                </c:pt>
                <c:pt idx="2461">
                  <c:v>85.631178178973542</c:v>
                </c:pt>
                <c:pt idx="2462">
                  <c:v>85.631178178973542</c:v>
                </c:pt>
                <c:pt idx="2463">
                  <c:v>98.009548242271535</c:v>
                </c:pt>
                <c:pt idx="2464">
                  <c:v>97.887036306968696</c:v>
                </c:pt>
                <c:pt idx="2465">
                  <c:v>97.764677511584992</c:v>
                </c:pt>
                <c:pt idx="2466">
                  <c:v>97.764677511584992</c:v>
                </c:pt>
                <c:pt idx="2467">
                  <c:v>97.764677511584992</c:v>
                </c:pt>
                <c:pt idx="2468">
                  <c:v>96.243604500756206</c:v>
                </c:pt>
                <c:pt idx="2469">
                  <c:v>96.123299995130267</c:v>
                </c:pt>
                <c:pt idx="2470">
                  <c:v>96.00314587013635</c:v>
                </c:pt>
                <c:pt idx="2471">
                  <c:v>96.00314587013635</c:v>
                </c:pt>
                <c:pt idx="2472">
                  <c:v>96.00314587013635</c:v>
                </c:pt>
                <c:pt idx="2473">
                  <c:v>96.00314587013635</c:v>
                </c:pt>
                <c:pt idx="2474">
                  <c:v>96.00314587013635</c:v>
                </c:pt>
                <c:pt idx="2475">
                  <c:v>96.00314587013635</c:v>
                </c:pt>
                <c:pt idx="2476">
                  <c:v>96.00314587013635</c:v>
                </c:pt>
                <c:pt idx="2477">
                  <c:v>96.00314587013635</c:v>
                </c:pt>
                <c:pt idx="2478">
                  <c:v>96.00314587013635</c:v>
                </c:pt>
                <c:pt idx="2479">
                  <c:v>96.00314587013635</c:v>
                </c:pt>
                <c:pt idx="2480">
                  <c:v>96.00314587013635</c:v>
                </c:pt>
                <c:pt idx="2481">
                  <c:v>96.00314587013635</c:v>
                </c:pt>
                <c:pt idx="2482">
                  <c:v>96.00314587013635</c:v>
                </c:pt>
                <c:pt idx="2483">
                  <c:v>96.00314587013635</c:v>
                </c:pt>
                <c:pt idx="2484">
                  <c:v>96.00314587013635</c:v>
                </c:pt>
                <c:pt idx="2485">
                  <c:v>96.00314587013635</c:v>
                </c:pt>
                <c:pt idx="2486">
                  <c:v>96.00314587013635</c:v>
                </c:pt>
                <c:pt idx="2487">
                  <c:v>96.00314587013635</c:v>
                </c:pt>
                <c:pt idx="2488">
                  <c:v>96.00314587013635</c:v>
                </c:pt>
                <c:pt idx="2489">
                  <c:v>96.00314587013635</c:v>
                </c:pt>
                <c:pt idx="2490">
                  <c:v>96.00314587013635</c:v>
                </c:pt>
                <c:pt idx="2491">
                  <c:v>96.00314587013635</c:v>
                </c:pt>
                <c:pt idx="2492">
                  <c:v>95.991976700218999</c:v>
                </c:pt>
                <c:pt idx="2493">
                  <c:v>95.871986729343732</c:v>
                </c:pt>
                <c:pt idx="2494">
                  <c:v>95.752146745932052</c:v>
                </c:pt>
                <c:pt idx="2495">
                  <c:v>95.276443718534608</c:v>
                </c:pt>
                <c:pt idx="2496">
                  <c:v>95.157348163886439</c:v>
                </c:pt>
                <c:pt idx="2497">
                  <c:v>95.038401478681578</c:v>
                </c:pt>
                <c:pt idx="2498">
                  <c:v>95.038401478681578</c:v>
                </c:pt>
                <c:pt idx="2499">
                  <c:v>95.038401478681578</c:v>
                </c:pt>
                <c:pt idx="2500">
                  <c:v>95.038401478681578</c:v>
                </c:pt>
                <c:pt idx="2501">
                  <c:v>95.038401478681578</c:v>
                </c:pt>
                <c:pt idx="2502">
                  <c:v>95.038401478681578</c:v>
                </c:pt>
                <c:pt idx="2503">
                  <c:v>95.038401478681578</c:v>
                </c:pt>
                <c:pt idx="2504">
                  <c:v>95.038401478681578</c:v>
                </c:pt>
                <c:pt idx="2505">
                  <c:v>95.038401478681578</c:v>
                </c:pt>
                <c:pt idx="2506">
                  <c:v>95.038401478681578</c:v>
                </c:pt>
                <c:pt idx="2507">
                  <c:v>95.038401478681578</c:v>
                </c:pt>
                <c:pt idx="2508">
                  <c:v>95.038401478681578</c:v>
                </c:pt>
                <c:pt idx="2509">
                  <c:v>95.038401478681578</c:v>
                </c:pt>
                <c:pt idx="2510">
                  <c:v>95.038401478681578</c:v>
                </c:pt>
                <c:pt idx="2511">
                  <c:v>95.038401478681578</c:v>
                </c:pt>
                <c:pt idx="2512">
                  <c:v>95.038401478681578</c:v>
                </c:pt>
                <c:pt idx="2513">
                  <c:v>95.038401478681578</c:v>
                </c:pt>
                <c:pt idx="2514">
                  <c:v>95.038401478681578</c:v>
                </c:pt>
                <c:pt idx="2515">
                  <c:v>95.038401478681578</c:v>
                </c:pt>
                <c:pt idx="2516">
                  <c:v>95.038401478681578</c:v>
                </c:pt>
                <c:pt idx="2517">
                  <c:v>95.038401478681578</c:v>
                </c:pt>
                <c:pt idx="2518">
                  <c:v>95.038401478681578</c:v>
                </c:pt>
                <c:pt idx="2519">
                  <c:v>95.038401478681578</c:v>
                </c:pt>
                <c:pt idx="2520">
                  <c:v>95.038401478681578</c:v>
                </c:pt>
                <c:pt idx="2521">
                  <c:v>95.038401478681578</c:v>
                </c:pt>
                <c:pt idx="2522">
                  <c:v>95.038401478681578</c:v>
                </c:pt>
                <c:pt idx="2523">
                  <c:v>95.038401478681578</c:v>
                </c:pt>
                <c:pt idx="2524">
                  <c:v>95.038401478681578</c:v>
                </c:pt>
                <c:pt idx="2525">
                  <c:v>95.038401478681578</c:v>
                </c:pt>
                <c:pt idx="2526">
                  <c:v>95.038401478681578</c:v>
                </c:pt>
                <c:pt idx="2527">
                  <c:v>95.038401478681578</c:v>
                </c:pt>
                <c:pt idx="2528">
                  <c:v>95.63874582195433</c:v>
                </c:pt>
                <c:pt idx="2529">
                  <c:v>95.51919738967689</c:v>
                </c:pt>
                <c:pt idx="2530">
                  <c:v>95.3997983929398</c:v>
                </c:pt>
                <c:pt idx="2531">
                  <c:v>96.933043735910104</c:v>
                </c:pt>
                <c:pt idx="2532">
                  <c:v>96.811877431240219</c:v>
                </c:pt>
                <c:pt idx="2533">
                  <c:v>96.690862584451168</c:v>
                </c:pt>
                <c:pt idx="2534">
                  <c:v>96.690862584451168</c:v>
                </c:pt>
                <c:pt idx="2535">
                  <c:v>96.690862584451168</c:v>
                </c:pt>
                <c:pt idx="2536">
                  <c:v>96.690862584451168</c:v>
                </c:pt>
                <c:pt idx="2537">
                  <c:v>96.690862584451168</c:v>
                </c:pt>
                <c:pt idx="2538">
                  <c:v>96.690862584451168</c:v>
                </c:pt>
                <c:pt idx="2539">
                  <c:v>96.690862584451168</c:v>
                </c:pt>
                <c:pt idx="2540">
                  <c:v>96.690862584451168</c:v>
                </c:pt>
                <c:pt idx="2541">
                  <c:v>96.690862584451168</c:v>
                </c:pt>
                <c:pt idx="2542">
                  <c:v>96.690862584451168</c:v>
                </c:pt>
                <c:pt idx="2543">
                  <c:v>96.690862584451168</c:v>
                </c:pt>
                <c:pt idx="2544">
                  <c:v>96.690862584451168</c:v>
                </c:pt>
                <c:pt idx="2545">
                  <c:v>96.690862584451168</c:v>
                </c:pt>
                <c:pt idx="2546">
                  <c:v>96.690862584451168</c:v>
                </c:pt>
                <c:pt idx="2547">
                  <c:v>96.690862584451168</c:v>
                </c:pt>
                <c:pt idx="2548">
                  <c:v>96.690862584451168</c:v>
                </c:pt>
                <c:pt idx="2549">
                  <c:v>96.690862584451168</c:v>
                </c:pt>
                <c:pt idx="2550">
                  <c:v>96.690862584451168</c:v>
                </c:pt>
                <c:pt idx="2551">
                  <c:v>96.690862584451168</c:v>
                </c:pt>
                <c:pt idx="2552">
                  <c:v>95.792209528986575</c:v>
                </c:pt>
                <c:pt idx="2553">
                  <c:v>95.672469267075343</c:v>
                </c:pt>
                <c:pt idx="2554">
                  <c:v>95.552878680491503</c:v>
                </c:pt>
                <c:pt idx="2555">
                  <c:v>95.552878680491503</c:v>
                </c:pt>
                <c:pt idx="2556">
                  <c:v>95.552878680491503</c:v>
                </c:pt>
                <c:pt idx="2557">
                  <c:v>95.552878680491503</c:v>
                </c:pt>
                <c:pt idx="2558">
                  <c:v>95.552878680491503</c:v>
                </c:pt>
                <c:pt idx="2559">
                  <c:v>94.156906670097626</c:v>
                </c:pt>
                <c:pt idx="2560">
                  <c:v>94.03921053676001</c:v>
                </c:pt>
                <c:pt idx="2561">
                  <c:v>93.921661523589066</c:v>
                </c:pt>
                <c:pt idx="2562">
                  <c:v>93.921661523589066</c:v>
                </c:pt>
                <c:pt idx="2563">
                  <c:v>93.921661523589066</c:v>
                </c:pt>
                <c:pt idx="2564">
                  <c:v>93.921661523589066</c:v>
                </c:pt>
                <c:pt idx="2565">
                  <c:v>93.921661523589066</c:v>
                </c:pt>
                <c:pt idx="2566">
                  <c:v>93.921661523589066</c:v>
                </c:pt>
                <c:pt idx="2567">
                  <c:v>93.921661523589066</c:v>
                </c:pt>
                <c:pt idx="2568">
                  <c:v>93.921661523589066</c:v>
                </c:pt>
                <c:pt idx="2569">
                  <c:v>93.921661523589066</c:v>
                </c:pt>
                <c:pt idx="2570">
                  <c:v>93.921661523589066</c:v>
                </c:pt>
                <c:pt idx="2571">
                  <c:v>93.921661523589066</c:v>
                </c:pt>
                <c:pt idx="2572">
                  <c:v>93.921661523589066</c:v>
                </c:pt>
                <c:pt idx="2573">
                  <c:v>93.921661523589066</c:v>
                </c:pt>
                <c:pt idx="2574">
                  <c:v>93.921661523589066</c:v>
                </c:pt>
                <c:pt idx="2575">
                  <c:v>93.921661523589066</c:v>
                </c:pt>
                <c:pt idx="2576">
                  <c:v>93.921661523589066</c:v>
                </c:pt>
                <c:pt idx="2577">
                  <c:v>93.921661523589066</c:v>
                </c:pt>
                <c:pt idx="2578">
                  <c:v>93.921661523589066</c:v>
                </c:pt>
                <c:pt idx="2579">
                  <c:v>93.921661523589066</c:v>
                </c:pt>
                <c:pt idx="2580">
                  <c:v>93.921661523589066</c:v>
                </c:pt>
                <c:pt idx="2581">
                  <c:v>93.921661523589066</c:v>
                </c:pt>
                <c:pt idx="2582">
                  <c:v>93.921661523589066</c:v>
                </c:pt>
                <c:pt idx="2583">
                  <c:v>93.921661523589066</c:v>
                </c:pt>
                <c:pt idx="2584">
                  <c:v>93.921661523589066</c:v>
                </c:pt>
                <c:pt idx="2585">
                  <c:v>93.921661523589066</c:v>
                </c:pt>
                <c:pt idx="2586">
                  <c:v>93.921661523589066</c:v>
                </c:pt>
                <c:pt idx="2587">
                  <c:v>93.921661523589066</c:v>
                </c:pt>
                <c:pt idx="2588">
                  <c:v>94.122912604973735</c:v>
                </c:pt>
                <c:pt idx="2589">
                  <c:v>94.005258964217518</c:v>
                </c:pt>
                <c:pt idx="2590">
                  <c:v>93.887752390512247</c:v>
                </c:pt>
                <c:pt idx="2591">
                  <c:v>93.887752390512247</c:v>
                </c:pt>
                <c:pt idx="2592">
                  <c:v>93.887752390512247</c:v>
                </c:pt>
                <c:pt idx="2593">
                  <c:v>93.887752390512247</c:v>
                </c:pt>
                <c:pt idx="2594">
                  <c:v>93.887752390512247</c:v>
                </c:pt>
                <c:pt idx="2595">
                  <c:v>93.887752390512247</c:v>
                </c:pt>
                <c:pt idx="2596">
                  <c:v>93.887752390512247</c:v>
                </c:pt>
                <c:pt idx="2597">
                  <c:v>94.197015133367941</c:v>
                </c:pt>
                <c:pt idx="2598">
                  <c:v>94.079268864451237</c:v>
                </c:pt>
                <c:pt idx="2599">
                  <c:v>93.961669778370677</c:v>
                </c:pt>
                <c:pt idx="2600">
                  <c:v>93.961669778370677</c:v>
                </c:pt>
                <c:pt idx="2601">
                  <c:v>93.961669778370677</c:v>
                </c:pt>
                <c:pt idx="2602">
                  <c:v>93.974797274147718</c:v>
                </c:pt>
                <c:pt idx="2603">
                  <c:v>93.85732877755504</c:v>
                </c:pt>
                <c:pt idx="2604">
                  <c:v>93.740007116583101</c:v>
                </c:pt>
                <c:pt idx="2605">
                  <c:v>93.740007116583101</c:v>
                </c:pt>
                <c:pt idx="2606">
                  <c:v>93.740007116583101</c:v>
                </c:pt>
                <c:pt idx="2607">
                  <c:v>93.740007116583101</c:v>
                </c:pt>
                <c:pt idx="2608">
                  <c:v>93.740007116583101</c:v>
                </c:pt>
                <c:pt idx="2609">
                  <c:v>93.740007116583101</c:v>
                </c:pt>
                <c:pt idx="2610">
                  <c:v>93.740007116583101</c:v>
                </c:pt>
                <c:pt idx="2611">
                  <c:v>93.740007116583101</c:v>
                </c:pt>
                <c:pt idx="2612">
                  <c:v>93.740007116583101</c:v>
                </c:pt>
                <c:pt idx="2613">
                  <c:v>93.740007116583101</c:v>
                </c:pt>
                <c:pt idx="2614">
                  <c:v>93.740007116583101</c:v>
                </c:pt>
                <c:pt idx="2615">
                  <c:v>93.740007116583101</c:v>
                </c:pt>
                <c:pt idx="2616">
                  <c:v>93.740007116583101</c:v>
                </c:pt>
                <c:pt idx="2617">
                  <c:v>93.740007116583101</c:v>
                </c:pt>
                <c:pt idx="2618">
                  <c:v>93.740007116583101</c:v>
                </c:pt>
                <c:pt idx="2619">
                  <c:v>93.740007116583101</c:v>
                </c:pt>
                <c:pt idx="2620">
                  <c:v>93.740007116583101</c:v>
                </c:pt>
                <c:pt idx="2621">
                  <c:v>93.680032290677076</c:v>
                </c:pt>
                <c:pt idx="2622">
                  <c:v>91.029443288006732</c:v>
                </c:pt>
                <c:pt idx="2623">
                  <c:v>91.029443288006732</c:v>
                </c:pt>
                <c:pt idx="2624">
                  <c:v>90.915656483896726</c:v>
                </c:pt>
                <c:pt idx="2625">
                  <c:v>90.915656483896726</c:v>
                </c:pt>
                <c:pt idx="2626">
                  <c:v>90.915656483896726</c:v>
                </c:pt>
                <c:pt idx="2627">
                  <c:v>90.915656483896726</c:v>
                </c:pt>
                <c:pt idx="2628">
                  <c:v>90.915656483896726</c:v>
                </c:pt>
                <c:pt idx="2629">
                  <c:v>90.915656483896726</c:v>
                </c:pt>
                <c:pt idx="2630">
                  <c:v>90.915656483896726</c:v>
                </c:pt>
                <c:pt idx="2631">
                  <c:v>90.915656483896726</c:v>
                </c:pt>
                <c:pt idx="2632">
                  <c:v>90.915656483896726</c:v>
                </c:pt>
                <c:pt idx="2633">
                  <c:v>90.915656483896726</c:v>
                </c:pt>
                <c:pt idx="2634">
                  <c:v>92.261507211937342</c:v>
                </c:pt>
                <c:pt idx="2635">
                  <c:v>92.146180327922423</c:v>
                </c:pt>
                <c:pt idx="2636">
                  <c:v>92.030997602512528</c:v>
                </c:pt>
                <c:pt idx="2637">
                  <c:v>92.030997602512528</c:v>
                </c:pt>
                <c:pt idx="2638">
                  <c:v>92.030997602512528</c:v>
                </c:pt>
                <c:pt idx="2639">
                  <c:v>92.030997602512528</c:v>
                </c:pt>
                <c:pt idx="2640">
                  <c:v>92.030997602512528</c:v>
                </c:pt>
                <c:pt idx="2641">
                  <c:v>92.030997602512528</c:v>
                </c:pt>
                <c:pt idx="2642">
                  <c:v>92.030997602512528</c:v>
                </c:pt>
                <c:pt idx="2643">
                  <c:v>92.030997602512528</c:v>
                </c:pt>
                <c:pt idx="2644">
                  <c:v>92.030997602512528</c:v>
                </c:pt>
                <c:pt idx="2645">
                  <c:v>92.030997602512528</c:v>
                </c:pt>
                <c:pt idx="2646">
                  <c:v>92.030997602512528</c:v>
                </c:pt>
                <c:pt idx="2647">
                  <c:v>92.030997602512528</c:v>
                </c:pt>
                <c:pt idx="2648">
                  <c:v>92.030997602512528</c:v>
                </c:pt>
                <c:pt idx="2649">
                  <c:v>92.030997602512528</c:v>
                </c:pt>
                <c:pt idx="2650">
                  <c:v>92.030997602512528</c:v>
                </c:pt>
                <c:pt idx="2651">
                  <c:v>92.030997602512528</c:v>
                </c:pt>
                <c:pt idx="2652">
                  <c:v>92.030997602512528</c:v>
                </c:pt>
                <c:pt idx="2653">
                  <c:v>92.030997602512528</c:v>
                </c:pt>
                <c:pt idx="2654">
                  <c:v>92.030997602512528</c:v>
                </c:pt>
                <c:pt idx="2655">
                  <c:v>92.030997602512528</c:v>
                </c:pt>
                <c:pt idx="2656">
                  <c:v>92.030997602512528</c:v>
                </c:pt>
                <c:pt idx="2657">
                  <c:v>92.030997602512528</c:v>
                </c:pt>
                <c:pt idx="2658">
                  <c:v>92.030997602512528</c:v>
                </c:pt>
                <c:pt idx="2659">
                  <c:v>92.030997602512528</c:v>
                </c:pt>
                <c:pt idx="2660">
                  <c:v>92.030997602512528</c:v>
                </c:pt>
                <c:pt idx="2661">
                  <c:v>92.030997602512528</c:v>
                </c:pt>
                <c:pt idx="2662">
                  <c:v>92.030997602512528</c:v>
                </c:pt>
                <c:pt idx="2663">
                  <c:v>92.030997602512528</c:v>
                </c:pt>
                <c:pt idx="2664">
                  <c:v>92.030997602512528</c:v>
                </c:pt>
                <c:pt idx="2665">
                  <c:v>92.030997602512528</c:v>
                </c:pt>
                <c:pt idx="2666">
                  <c:v>92.030997602512528</c:v>
                </c:pt>
                <c:pt idx="2667">
                  <c:v>92.030997602512528</c:v>
                </c:pt>
                <c:pt idx="2668">
                  <c:v>92.030997602512528</c:v>
                </c:pt>
                <c:pt idx="2669">
                  <c:v>92.030997602512528</c:v>
                </c:pt>
                <c:pt idx="2670">
                  <c:v>92.030997602512528</c:v>
                </c:pt>
                <c:pt idx="2671">
                  <c:v>92.030997602512528</c:v>
                </c:pt>
                <c:pt idx="2672">
                  <c:v>92.030997602512528</c:v>
                </c:pt>
                <c:pt idx="2673">
                  <c:v>92.030997602512528</c:v>
                </c:pt>
                <c:pt idx="2674">
                  <c:v>92.030997602512528</c:v>
                </c:pt>
                <c:pt idx="2675">
                  <c:v>92.030997602512528</c:v>
                </c:pt>
                <c:pt idx="2676">
                  <c:v>92.030997602512528</c:v>
                </c:pt>
                <c:pt idx="2677">
                  <c:v>92.030997602512528</c:v>
                </c:pt>
                <c:pt idx="2678">
                  <c:v>97.256485796862947</c:v>
                </c:pt>
                <c:pt idx="2679">
                  <c:v>97.134915189616876</c:v>
                </c:pt>
                <c:pt idx="2680">
                  <c:v>97.013496545629863</c:v>
                </c:pt>
                <c:pt idx="2681">
                  <c:v>97.013496545629863</c:v>
                </c:pt>
                <c:pt idx="2682">
                  <c:v>97.013496545629863</c:v>
                </c:pt>
                <c:pt idx="2683">
                  <c:v>97.013496545629863</c:v>
                </c:pt>
                <c:pt idx="2684">
                  <c:v>97.013496545629863</c:v>
                </c:pt>
                <c:pt idx="2685">
                  <c:v>97.013496545629863</c:v>
                </c:pt>
                <c:pt idx="2686">
                  <c:v>97.013496545629863</c:v>
                </c:pt>
                <c:pt idx="2687">
                  <c:v>97.013496545629863</c:v>
                </c:pt>
                <c:pt idx="2688">
                  <c:v>97.013496545629863</c:v>
                </c:pt>
                <c:pt idx="2689">
                  <c:v>97.013496545629863</c:v>
                </c:pt>
                <c:pt idx="2690">
                  <c:v>97.013496545629863</c:v>
                </c:pt>
                <c:pt idx="2691">
                  <c:v>97.013496545629863</c:v>
                </c:pt>
                <c:pt idx="2692">
                  <c:v>97.013496545629863</c:v>
                </c:pt>
                <c:pt idx="2693">
                  <c:v>97.013496545629863</c:v>
                </c:pt>
                <c:pt idx="2694">
                  <c:v>97.013496545629863</c:v>
                </c:pt>
                <c:pt idx="2695">
                  <c:v>97.013496545629863</c:v>
                </c:pt>
                <c:pt idx="2696">
                  <c:v>98.085189088165833</c:v>
                </c:pt>
                <c:pt idx="2697">
                  <c:v>97.962582601805636</c:v>
                </c:pt>
                <c:pt idx="2698">
                  <c:v>97.840129373553381</c:v>
                </c:pt>
                <c:pt idx="2699">
                  <c:v>97.840129373553381</c:v>
                </c:pt>
                <c:pt idx="2700">
                  <c:v>97.840129373553381</c:v>
                </c:pt>
                <c:pt idx="2701">
                  <c:v>97.840129373553381</c:v>
                </c:pt>
                <c:pt idx="2702">
                  <c:v>97.840129373553381</c:v>
                </c:pt>
                <c:pt idx="2703">
                  <c:v>97.840129373553381</c:v>
                </c:pt>
                <c:pt idx="2704">
                  <c:v>97.840129373553381</c:v>
                </c:pt>
                <c:pt idx="2705">
                  <c:v>97.840129373553381</c:v>
                </c:pt>
                <c:pt idx="2706">
                  <c:v>97.840129373553381</c:v>
                </c:pt>
                <c:pt idx="2707">
                  <c:v>97.840129373553381</c:v>
                </c:pt>
                <c:pt idx="2708">
                  <c:v>97.840129373553381</c:v>
                </c:pt>
                <c:pt idx="2709">
                  <c:v>97.840129373553381</c:v>
                </c:pt>
                <c:pt idx="2710">
                  <c:v>97.840129373553381</c:v>
                </c:pt>
                <c:pt idx="2711">
                  <c:v>97.840129373553381</c:v>
                </c:pt>
                <c:pt idx="2712">
                  <c:v>97.840129373553381</c:v>
                </c:pt>
                <c:pt idx="2713">
                  <c:v>97.840129373553381</c:v>
                </c:pt>
                <c:pt idx="2714">
                  <c:v>97.840129373553381</c:v>
                </c:pt>
                <c:pt idx="2715">
                  <c:v>97.840129373553381</c:v>
                </c:pt>
                <c:pt idx="2716">
                  <c:v>97.840129373553381</c:v>
                </c:pt>
                <c:pt idx="2717">
                  <c:v>97.77812057935482</c:v>
                </c:pt>
                <c:pt idx="2718">
                  <c:v>97.655897928630623</c:v>
                </c:pt>
                <c:pt idx="2719">
                  <c:v>97.533828056219832</c:v>
                </c:pt>
                <c:pt idx="2720">
                  <c:v>97.533828056219832</c:v>
                </c:pt>
                <c:pt idx="2721">
                  <c:v>97.533828056219832</c:v>
                </c:pt>
                <c:pt idx="2722">
                  <c:v>97.533828056219832</c:v>
                </c:pt>
                <c:pt idx="2723">
                  <c:v>97.533828056219832</c:v>
                </c:pt>
                <c:pt idx="2724">
                  <c:v>97.533828056219832</c:v>
                </c:pt>
                <c:pt idx="2725">
                  <c:v>97.533828056219832</c:v>
                </c:pt>
                <c:pt idx="2726">
                  <c:v>97.533828056219832</c:v>
                </c:pt>
                <c:pt idx="2727">
                  <c:v>97.533828056219832</c:v>
                </c:pt>
                <c:pt idx="2728">
                  <c:v>97.533828056219832</c:v>
                </c:pt>
                <c:pt idx="2729">
                  <c:v>97.533828056219832</c:v>
                </c:pt>
                <c:pt idx="2730">
                  <c:v>97.533828056219832</c:v>
                </c:pt>
                <c:pt idx="2731">
                  <c:v>97.533828056219832</c:v>
                </c:pt>
                <c:pt idx="2732">
                  <c:v>97.533828056219832</c:v>
                </c:pt>
              </c:numCache>
            </c:numRef>
          </c:val>
          <c:smooth val="0"/>
          <c:extLst xmlns:c16r2="http://schemas.microsoft.com/office/drawing/2015/06/chart">
            <c:ext xmlns:c16="http://schemas.microsoft.com/office/drawing/2014/chart" uri="{C3380CC4-5D6E-409C-BE32-E72D297353CC}">
              <c16:uniqueId val="{00000003-54B9-45AF-81D4-026908AD2AAF}"/>
            </c:ext>
          </c:extLst>
        </c:ser>
        <c:dLbls>
          <c:showLegendKey val="0"/>
          <c:showVal val="0"/>
          <c:showCatName val="0"/>
          <c:showSerName val="0"/>
          <c:showPercent val="0"/>
          <c:showBubbleSize val="0"/>
        </c:dLbls>
        <c:marker val="1"/>
        <c:smooth val="0"/>
        <c:axId val="559149824"/>
        <c:axId val="559151360"/>
      </c:lineChart>
      <c:dateAx>
        <c:axId val="559149824"/>
        <c:scaling>
          <c:orientation val="minMax"/>
        </c:scaling>
        <c:delete val="0"/>
        <c:axPos val="b"/>
        <c:numFmt formatCode="m/d/yyyy" sourceLinked="1"/>
        <c:majorTickMark val="out"/>
        <c:minorTickMark val="none"/>
        <c:tickLblPos val="nextTo"/>
        <c:crossAx val="559151360"/>
        <c:crosses val="autoZero"/>
        <c:auto val="1"/>
        <c:lblOffset val="100"/>
        <c:baseTimeUnit val="days"/>
      </c:dateAx>
      <c:valAx>
        <c:axId val="559151360"/>
        <c:scaling>
          <c:orientation val="minMax"/>
        </c:scaling>
        <c:delete val="0"/>
        <c:axPos val="l"/>
        <c:majorGridlines/>
        <c:numFmt formatCode="General" sourceLinked="1"/>
        <c:majorTickMark val="out"/>
        <c:minorTickMark val="none"/>
        <c:tickLblPos val="nextTo"/>
        <c:crossAx val="559149824"/>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800" b="1" i="0" baseline="0" dirty="0">
                <a:effectLst/>
              </a:rPr>
              <a:t>Historical simulation</a:t>
            </a:r>
            <a:endParaRPr lang="en-US" dirty="0">
              <a:effectLst/>
            </a:endParaRPr>
          </a:p>
        </c:rich>
      </c:tx>
      <c:layout/>
      <c:overlay val="0"/>
    </c:title>
    <c:autoTitleDeleted val="0"/>
    <c:plotArea>
      <c:layout/>
      <c:lineChart>
        <c:grouping val="standard"/>
        <c:varyColors val="0"/>
        <c:ser>
          <c:idx val="1"/>
          <c:order val="0"/>
          <c:tx>
            <c:strRef>
              <c:f>'3M'!$P$30</c:f>
              <c:strCache>
                <c:ptCount val="1"/>
                <c:pt idx="0">
                  <c:v>SPX Index</c:v>
                </c:pt>
              </c:strCache>
            </c:strRef>
          </c:tx>
          <c:spPr>
            <a:ln>
              <a:solidFill>
                <a:schemeClr val="tx1"/>
              </a:solidFill>
            </a:ln>
          </c:spPr>
          <c:marker>
            <c:symbol val="none"/>
          </c:marker>
          <c:cat>
            <c:numRef>
              <c:f>'3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3M'!$P$31:$P$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25732416182277</c:v>
                </c:pt>
                <c:pt idx="42">
                  <c:v>100.47967222398029</c:v>
                </c:pt>
                <c:pt idx="43">
                  <c:v>100.84442297763198</c:v>
                </c:pt>
                <c:pt idx="44">
                  <c:v>101.34408154427811</c:v>
                </c:pt>
                <c:pt idx="45">
                  <c:v>101.27246381639215</c:v>
                </c:pt>
                <c:pt idx="46">
                  <c:v>101.06510551123401</c:v>
                </c:pt>
                <c:pt idx="47">
                  <c:v>101.08759014673309</c:v>
                </c:pt>
                <c:pt idx="48">
                  <c:v>99.992505121500329</c:v>
                </c:pt>
                <c:pt idx="49">
                  <c:v>99.229693043087238</c:v>
                </c:pt>
                <c:pt idx="50">
                  <c:v>99.156409786645796</c:v>
                </c:pt>
                <c:pt idx="51">
                  <c:v>100.06245732083076</c:v>
                </c:pt>
                <c:pt idx="52">
                  <c:v>99.919221865058873</c:v>
                </c:pt>
                <c:pt idx="53">
                  <c:v>99.209706700421378</c:v>
                </c:pt>
                <c:pt idx="54">
                  <c:v>99.468696390799636</c:v>
                </c:pt>
                <c:pt idx="55">
                  <c:v>100.34726270381907</c:v>
                </c:pt>
                <c:pt idx="56">
                  <c:v>99.510334604686818</c:v>
                </c:pt>
                <c:pt idx="57">
                  <c:v>99.754334538065663</c:v>
                </c:pt>
                <c:pt idx="58">
                  <c:v>100.91937176262887</c:v>
                </c:pt>
                <c:pt idx="59">
                  <c:v>101.55060708515849</c:v>
                </c:pt>
                <c:pt idx="60">
                  <c:v>101.78128279009346</c:v>
                </c:pt>
                <c:pt idx="61">
                  <c:v>101.87122133208976</c:v>
                </c:pt>
                <c:pt idx="62">
                  <c:v>102.13853866524543</c:v>
                </c:pt>
                <c:pt idx="63">
                  <c:v>102.25679119268501</c:v>
                </c:pt>
                <c:pt idx="64">
                  <c:v>101.69134424809714</c:v>
                </c:pt>
                <c:pt idx="65">
                  <c:v>102.3758764844023</c:v>
                </c:pt>
                <c:pt idx="66">
                  <c:v>102.86304358688227</c:v>
                </c:pt>
                <c:pt idx="67">
                  <c:v>102.18350793624353</c:v>
                </c:pt>
                <c:pt idx="68">
                  <c:v>102.73646341666523</c:v>
                </c:pt>
                <c:pt idx="69">
                  <c:v>102.34922802751447</c:v>
                </c:pt>
                <c:pt idx="70">
                  <c:v>102.52660681867384</c:v>
                </c:pt>
                <c:pt idx="71">
                  <c:v>102.99545310704345</c:v>
                </c:pt>
                <c:pt idx="72">
                  <c:v>103.57255875151972</c:v>
                </c:pt>
                <c:pt idx="73">
                  <c:v>102.7781016305524</c:v>
                </c:pt>
                <c:pt idx="74">
                  <c:v>102.87553505104837</c:v>
                </c:pt>
                <c:pt idx="75">
                  <c:v>103.60586932262946</c:v>
                </c:pt>
                <c:pt idx="76">
                  <c:v>103.68248363618189</c:v>
                </c:pt>
                <c:pt idx="77">
                  <c:v>102.9180060292133</c:v>
                </c:pt>
                <c:pt idx="78">
                  <c:v>102.13187655102341</c:v>
                </c:pt>
                <c:pt idx="79">
                  <c:v>101.85789710364578</c:v>
                </c:pt>
                <c:pt idx="80">
                  <c:v>102.54492763278419</c:v>
                </c:pt>
                <c:pt idx="81">
                  <c:v>102.35755567029189</c:v>
                </c:pt>
                <c:pt idx="82">
                  <c:v>103.08039506337326</c:v>
                </c:pt>
                <c:pt idx="83">
                  <c:v>102.46248396928756</c:v>
                </c:pt>
                <c:pt idx="84">
                  <c:v>102.7522859379423</c:v>
                </c:pt>
                <c:pt idx="85">
                  <c:v>101.54227944238094</c:v>
                </c:pt>
                <c:pt idx="86">
                  <c:v>101.61722822737785</c:v>
                </c:pt>
                <c:pt idx="87">
                  <c:v>101.51563098549315</c:v>
                </c:pt>
                <c:pt idx="88">
                  <c:v>101.57309172065744</c:v>
                </c:pt>
                <c:pt idx="89">
                  <c:v>101.74131010476164</c:v>
                </c:pt>
                <c:pt idx="90">
                  <c:v>101.39488016522031</c:v>
                </c:pt>
                <c:pt idx="91">
                  <c:v>100.73033427158096</c:v>
                </c:pt>
                <c:pt idx="92">
                  <c:v>100.96434103362691</c:v>
                </c:pt>
                <c:pt idx="93">
                  <c:v>100.35642311087412</c:v>
                </c:pt>
                <c:pt idx="94">
                  <c:v>100.95434786229399</c:v>
                </c:pt>
                <c:pt idx="95">
                  <c:v>100.63206808680725</c:v>
                </c:pt>
                <c:pt idx="96">
                  <c:v>101.62472310587754</c:v>
                </c:pt>
                <c:pt idx="97">
                  <c:v>101.72965140487322</c:v>
                </c:pt>
                <c:pt idx="98">
                  <c:v>101.43235455771878</c:v>
                </c:pt>
                <c:pt idx="99">
                  <c:v>102.71231325261061</c:v>
                </c:pt>
                <c:pt idx="100">
                  <c:v>102.95964424310043</c:v>
                </c:pt>
                <c:pt idx="101">
                  <c:v>102.56907779683874</c:v>
                </c:pt>
                <c:pt idx="102">
                  <c:v>103.38601955330516</c:v>
                </c:pt>
                <c:pt idx="103">
                  <c:v>103.30940523975276</c:v>
                </c:pt>
                <c:pt idx="104">
                  <c:v>102.52993787578481</c:v>
                </c:pt>
                <c:pt idx="105">
                  <c:v>102.19350110757644</c:v>
                </c:pt>
                <c:pt idx="106">
                  <c:v>102.2409686714078</c:v>
                </c:pt>
                <c:pt idx="107">
                  <c:v>103.08872270615075</c:v>
                </c:pt>
                <c:pt idx="108">
                  <c:v>102.51494811878544</c:v>
                </c:pt>
                <c:pt idx="109">
                  <c:v>101.70883229792967</c:v>
                </c:pt>
                <c:pt idx="110">
                  <c:v>100.78113289252337</c:v>
                </c:pt>
                <c:pt idx="111">
                  <c:v>101.14921470328602</c:v>
                </c:pt>
                <c:pt idx="112">
                  <c:v>101.20500990989484</c:v>
                </c:pt>
                <c:pt idx="113">
                  <c:v>101.23332389533813</c:v>
                </c:pt>
                <c:pt idx="114">
                  <c:v>101.23582218817134</c:v>
                </c:pt>
                <c:pt idx="115">
                  <c:v>101.3382521943338</c:v>
                </c:pt>
                <c:pt idx="116">
                  <c:v>102.23680485001907</c:v>
                </c:pt>
                <c:pt idx="117">
                  <c:v>102.33090721340407</c:v>
                </c:pt>
                <c:pt idx="118">
                  <c:v>102.1551939508002</c:v>
                </c:pt>
                <c:pt idx="119">
                  <c:v>101.13672323911983</c:v>
                </c:pt>
                <c:pt idx="120">
                  <c:v>99.631085424959522</c:v>
                </c:pt>
                <c:pt idx="121">
                  <c:v>99.223030928865171</c:v>
                </c:pt>
                <c:pt idx="122">
                  <c:v>99.590279975350072</c:v>
                </c:pt>
                <c:pt idx="123">
                  <c:v>98.876600989323848</c:v>
                </c:pt>
                <c:pt idx="124">
                  <c:v>98.671740976998919</c:v>
                </c:pt>
                <c:pt idx="125">
                  <c:v>98.072983461301334</c:v>
                </c:pt>
                <c:pt idx="126">
                  <c:v>98.003031261970861</c:v>
                </c:pt>
                <c:pt idx="127">
                  <c:v>98.813310904215328</c:v>
                </c:pt>
                <c:pt idx="128">
                  <c:v>99.1072766942588</c:v>
                </c:pt>
                <c:pt idx="129">
                  <c:v>98.111290618077547</c:v>
                </c:pt>
                <c:pt idx="130">
                  <c:v>99.578621275461657</c:v>
                </c:pt>
                <c:pt idx="131">
                  <c:v>98.082976632634256</c:v>
                </c:pt>
                <c:pt idx="132">
                  <c:v>98.232041438350336</c:v>
                </c:pt>
                <c:pt idx="133">
                  <c:v>99.880081944004814</c:v>
                </c:pt>
                <c:pt idx="134">
                  <c:v>99.64357688912564</c:v>
                </c:pt>
                <c:pt idx="135">
                  <c:v>99.21387052180998</c:v>
                </c:pt>
                <c:pt idx="136">
                  <c:v>98.174580703186038</c:v>
                </c:pt>
                <c:pt idx="137">
                  <c:v>99.799303809063687</c:v>
                </c:pt>
                <c:pt idx="138">
                  <c:v>100.51548108792312</c:v>
                </c:pt>
                <c:pt idx="139">
                  <c:v>100.16155626988211</c:v>
                </c:pt>
                <c:pt idx="140">
                  <c:v>101.16087340317436</c:v>
                </c:pt>
                <c:pt idx="141">
                  <c:v>101.59224529904553</c:v>
                </c:pt>
                <c:pt idx="142">
                  <c:v>101.60890058460042</c:v>
                </c:pt>
                <c:pt idx="143">
                  <c:v>101.83124864675793</c:v>
                </c:pt>
                <c:pt idx="144">
                  <c:v>101.47982212155016</c:v>
                </c:pt>
                <c:pt idx="145">
                  <c:v>101.65137156276535</c:v>
                </c:pt>
                <c:pt idx="146">
                  <c:v>102.50995153311894</c:v>
                </c:pt>
                <c:pt idx="147">
                  <c:v>102.82307090155051</c:v>
                </c:pt>
                <c:pt idx="148">
                  <c:v>102.74312553088713</c:v>
                </c:pt>
                <c:pt idx="149">
                  <c:v>102.34756249895894</c:v>
                </c:pt>
                <c:pt idx="150">
                  <c:v>102.53077064006253</c:v>
                </c:pt>
                <c:pt idx="151">
                  <c:v>103.4959444379673</c:v>
                </c:pt>
                <c:pt idx="152">
                  <c:v>103.95146649789302</c:v>
                </c:pt>
                <c:pt idx="153">
                  <c:v>104.49942539264825</c:v>
                </c:pt>
                <c:pt idx="154">
                  <c:v>105.03072900184864</c:v>
                </c:pt>
                <c:pt idx="155">
                  <c:v>105.39547975550032</c:v>
                </c:pt>
                <c:pt idx="156">
                  <c:v>105.61532952482463</c:v>
                </c:pt>
                <c:pt idx="157">
                  <c:v>104.71677686913937</c:v>
                </c:pt>
                <c:pt idx="158">
                  <c:v>104.71844239769483</c:v>
                </c:pt>
                <c:pt idx="159">
                  <c:v>104.05223097549998</c:v>
                </c:pt>
                <c:pt idx="160">
                  <c:v>105.31719991339243</c:v>
                </c:pt>
                <c:pt idx="161">
                  <c:v>105.35134324877988</c:v>
                </c:pt>
                <c:pt idx="162">
                  <c:v>105.10234672973458</c:v>
                </c:pt>
                <c:pt idx="163">
                  <c:v>105.2364217784513</c:v>
                </c:pt>
                <c:pt idx="164">
                  <c:v>104.70928199063961</c:v>
                </c:pt>
                <c:pt idx="165">
                  <c:v>104.58186905614485</c:v>
                </c:pt>
                <c:pt idx="166">
                  <c:v>104.87583484618834</c:v>
                </c:pt>
                <c:pt idx="167">
                  <c:v>104.96410785962918</c:v>
                </c:pt>
                <c:pt idx="168">
                  <c:v>105.54704285404966</c:v>
                </c:pt>
                <c:pt idx="169">
                  <c:v>105.98924068553147</c:v>
                </c:pt>
                <c:pt idx="170">
                  <c:v>105.83934311553766</c:v>
                </c:pt>
                <c:pt idx="171">
                  <c:v>105.53788244699447</c:v>
                </c:pt>
                <c:pt idx="172">
                  <c:v>104.92163688146425</c:v>
                </c:pt>
                <c:pt idx="173">
                  <c:v>104.89665395313193</c:v>
                </c:pt>
                <c:pt idx="174">
                  <c:v>105.16064022917664</c:v>
                </c:pt>
                <c:pt idx="175">
                  <c:v>105.60450358921395</c:v>
                </c:pt>
                <c:pt idx="176">
                  <c:v>105.64947286021211</c:v>
                </c:pt>
                <c:pt idx="177">
                  <c:v>104.64016255558694</c:v>
                </c:pt>
                <c:pt idx="178">
                  <c:v>104.77590313285914</c:v>
                </c:pt>
                <c:pt idx="179">
                  <c:v>104.46361652870533</c:v>
                </c:pt>
                <c:pt idx="180">
                  <c:v>103.95313202644853</c:v>
                </c:pt>
                <c:pt idx="181">
                  <c:v>105.66113156010051</c:v>
                </c:pt>
                <c:pt idx="182">
                  <c:v>106.04919971352902</c:v>
                </c:pt>
                <c:pt idx="183">
                  <c:v>106.0508652420845</c:v>
                </c:pt>
                <c:pt idx="184">
                  <c:v>107.04768408254351</c:v>
                </c:pt>
                <c:pt idx="185">
                  <c:v>107.43908329308297</c:v>
                </c:pt>
                <c:pt idx="186">
                  <c:v>107.40077613630677</c:v>
                </c:pt>
                <c:pt idx="187">
                  <c:v>107.77468729701363</c:v>
                </c:pt>
                <c:pt idx="188">
                  <c:v>107.09848270348586</c:v>
                </c:pt>
                <c:pt idx="189">
                  <c:v>107.22756116653609</c:v>
                </c:pt>
                <c:pt idx="190">
                  <c:v>106.83782748455212</c:v>
                </c:pt>
                <c:pt idx="191">
                  <c:v>106.42144534568035</c:v>
                </c:pt>
                <c:pt idx="192">
                  <c:v>107.013540747156</c:v>
                </c:pt>
                <c:pt idx="193">
                  <c:v>105.05238087306996</c:v>
                </c:pt>
                <c:pt idx="194">
                  <c:v>105.2464149497842</c:v>
                </c:pt>
                <c:pt idx="195">
                  <c:v>105.49957529021823</c:v>
                </c:pt>
                <c:pt idx="196">
                  <c:v>105.31803267767015</c:v>
                </c:pt>
                <c:pt idx="197">
                  <c:v>106.08001199180548</c:v>
                </c:pt>
                <c:pt idx="198">
                  <c:v>106.90361586249384</c:v>
                </c:pt>
                <c:pt idx="199">
                  <c:v>107.02686497559988</c:v>
                </c:pt>
                <c:pt idx="200">
                  <c:v>106.60048966539517</c:v>
                </c:pt>
                <c:pt idx="201">
                  <c:v>106.79868756349815</c:v>
                </c:pt>
                <c:pt idx="202">
                  <c:v>105.83101547276016</c:v>
                </c:pt>
                <c:pt idx="203">
                  <c:v>105.26390299961682</c:v>
                </c:pt>
                <c:pt idx="204">
                  <c:v>105.34634666311345</c:v>
                </c:pt>
                <c:pt idx="205">
                  <c:v>104.49359604270406</c:v>
                </c:pt>
                <c:pt idx="206">
                  <c:v>105.39881081261132</c:v>
                </c:pt>
                <c:pt idx="207">
                  <c:v>105.24308389267327</c:v>
                </c:pt>
                <c:pt idx="208">
                  <c:v>105.51040122582896</c:v>
                </c:pt>
                <c:pt idx="209">
                  <c:v>105.16646957912087</c:v>
                </c:pt>
                <c:pt idx="210">
                  <c:v>106.22158191902193</c:v>
                </c:pt>
                <c:pt idx="211">
                  <c:v>106.59382755117328</c:v>
                </c:pt>
                <c:pt idx="212">
                  <c:v>107.37496044369674</c:v>
                </c:pt>
                <c:pt idx="213">
                  <c:v>107.19674888825962</c:v>
                </c:pt>
                <c:pt idx="214">
                  <c:v>106.8461551273296</c:v>
                </c:pt>
                <c:pt idx="215">
                  <c:v>107.64893989107438</c:v>
                </c:pt>
                <c:pt idx="216">
                  <c:v>107.24255092353552</c:v>
                </c:pt>
                <c:pt idx="217">
                  <c:v>107.37912426508547</c:v>
                </c:pt>
                <c:pt idx="218">
                  <c:v>107.76969071134718</c:v>
                </c:pt>
                <c:pt idx="219">
                  <c:v>106.64878999350438</c:v>
                </c:pt>
                <c:pt idx="220">
                  <c:v>107.52985459935705</c:v>
                </c:pt>
                <c:pt idx="221">
                  <c:v>107.3549741010309</c:v>
                </c:pt>
                <c:pt idx="222">
                  <c:v>107.19591612398189</c:v>
                </c:pt>
                <c:pt idx="223">
                  <c:v>106.44892656684594</c:v>
                </c:pt>
                <c:pt idx="224">
                  <c:v>106.25072866874298</c:v>
                </c:pt>
                <c:pt idx="225">
                  <c:v>106.46641461667855</c:v>
                </c:pt>
                <c:pt idx="226">
                  <c:v>105.94676970736657</c:v>
                </c:pt>
                <c:pt idx="227">
                  <c:v>106.72540430705678</c:v>
                </c:pt>
                <c:pt idx="228">
                  <c:v>106.93775919788141</c:v>
                </c:pt>
                <c:pt idx="229">
                  <c:v>108.04949950866903</c:v>
                </c:pt>
                <c:pt idx="230">
                  <c:v>108.51085091853895</c:v>
                </c:pt>
                <c:pt idx="231">
                  <c:v>108.70321946669769</c:v>
                </c:pt>
                <c:pt idx="232">
                  <c:v>108.86311020802447</c:v>
                </c:pt>
                <c:pt idx="233">
                  <c:v>108.68240035975411</c:v>
                </c:pt>
                <c:pt idx="234">
                  <c:v>108.02868040172544</c:v>
                </c:pt>
                <c:pt idx="235">
                  <c:v>108.67906930264316</c:v>
                </c:pt>
                <c:pt idx="236">
                  <c:v>108.39842774104358</c:v>
                </c:pt>
                <c:pt idx="237">
                  <c:v>108.50502156859476</c:v>
                </c:pt>
                <c:pt idx="238">
                  <c:v>108.39343115537712</c:v>
                </c:pt>
                <c:pt idx="239">
                  <c:v>107.69557469062805</c:v>
                </c:pt>
                <c:pt idx="240">
                  <c:v>108.50002498292832</c:v>
                </c:pt>
                <c:pt idx="241">
                  <c:v>108.28017521360401</c:v>
                </c:pt>
                <c:pt idx="242">
                  <c:v>107.828816975067</c:v>
                </c:pt>
                <c:pt idx="243">
                  <c:v>108.07698072983457</c:v>
                </c:pt>
                <c:pt idx="244">
                  <c:v>108.75318532336235</c:v>
                </c:pt>
                <c:pt idx="245">
                  <c:v>109.22203161173194</c:v>
                </c:pt>
                <c:pt idx="246">
                  <c:v>109.01217501374056</c:v>
                </c:pt>
                <c:pt idx="247">
                  <c:v>107.88461218167579</c:v>
                </c:pt>
                <c:pt idx="248">
                  <c:v>107.97621625222757</c:v>
                </c:pt>
                <c:pt idx="249">
                  <c:v>107.1409536816508</c:v>
                </c:pt>
                <c:pt idx="250">
                  <c:v>107.27003214470105</c:v>
                </c:pt>
                <c:pt idx="251">
                  <c:v>107.35330857247541</c:v>
                </c:pt>
                <c:pt idx="252">
                  <c:v>107.03769091121062</c:v>
                </c:pt>
                <c:pt idx="253">
                  <c:v>108.89642077913422</c:v>
                </c:pt>
                <c:pt idx="254">
                  <c:v>109.08629103445973</c:v>
                </c:pt>
                <c:pt idx="255">
                  <c:v>109.2137039689545</c:v>
                </c:pt>
                <c:pt idx="256">
                  <c:v>109.19871421195512</c:v>
                </c:pt>
                <c:pt idx="257">
                  <c:v>108.93472793591043</c:v>
                </c:pt>
                <c:pt idx="258">
                  <c:v>108.40425709098781</c:v>
                </c:pt>
                <c:pt idx="259">
                  <c:v>108.70988158091969</c:v>
                </c:pt>
                <c:pt idx="260">
                  <c:v>109.06880298462715</c:v>
                </c:pt>
                <c:pt idx="261">
                  <c:v>109.14291900534633</c:v>
                </c:pt>
                <c:pt idx="262">
                  <c:v>108.69156076680936</c:v>
                </c:pt>
                <c:pt idx="263">
                  <c:v>109.3594377175597</c:v>
                </c:pt>
                <c:pt idx="264">
                  <c:v>108.91307606468915</c:v>
                </c:pt>
                <c:pt idx="265">
                  <c:v>109.27949234689632</c:v>
                </c:pt>
                <c:pt idx="266">
                  <c:v>110.40455688612784</c:v>
                </c:pt>
                <c:pt idx="267">
                  <c:v>110.31295281557605</c:v>
                </c:pt>
                <c:pt idx="268">
                  <c:v>110.35292550090773</c:v>
                </c:pt>
                <c:pt idx="269">
                  <c:v>110.16222248130444</c:v>
                </c:pt>
                <c:pt idx="270">
                  <c:v>108.75235255908464</c:v>
                </c:pt>
                <c:pt idx="271">
                  <c:v>107.52985459935712</c:v>
                </c:pt>
                <c:pt idx="272">
                  <c:v>107.80133575390153</c:v>
                </c:pt>
                <c:pt idx="273">
                  <c:v>107.59980679868758</c:v>
                </c:pt>
                <c:pt idx="274">
                  <c:v>105.78771173031762</c:v>
                </c:pt>
                <c:pt idx="275">
                  <c:v>105.07902932995788</c:v>
                </c:pt>
                <c:pt idx="276">
                  <c:v>105.51373228294001</c:v>
                </c:pt>
                <c:pt idx="277">
                  <c:v>105.10068120117921</c:v>
                </c:pt>
                <c:pt idx="278">
                  <c:v>104.64349361269799</c:v>
                </c:pt>
                <c:pt idx="279">
                  <c:v>104.80921370396898</c:v>
                </c:pt>
                <c:pt idx="280">
                  <c:v>106.00089938541998</c:v>
                </c:pt>
                <c:pt idx="281">
                  <c:v>106.60715177961725</c:v>
                </c:pt>
                <c:pt idx="282">
                  <c:v>104.91497476724234</c:v>
                </c:pt>
                <c:pt idx="283">
                  <c:v>105.76855815192948</c:v>
                </c:pt>
                <c:pt idx="284">
                  <c:v>107.06933595376492</c:v>
                </c:pt>
                <c:pt idx="285">
                  <c:v>107.27835978747855</c:v>
                </c:pt>
                <c:pt idx="286">
                  <c:v>105.36883129861262</c:v>
                </c:pt>
                <c:pt idx="287">
                  <c:v>105.24891324261755</c:v>
                </c:pt>
                <c:pt idx="288">
                  <c:v>104.60768474875505</c:v>
                </c:pt>
                <c:pt idx="289">
                  <c:v>104.7559167901934</c:v>
                </c:pt>
                <c:pt idx="290">
                  <c:v>104.28707050182376</c:v>
                </c:pt>
                <c:pt idx="291">
                  <c:v>102.96297530021154</c:v>
                </c:pt>
                <c:pt idx="292">
                  <c:v>101.9045319031995</c:v>
                </c:pt>
                <c:pt idx="293">
                  <c:v>102.43333721956664</c:v>
                </c:pt>
                <c:pt idx="294">
                  <c:v>104.60851751303278</c:v>
                </c:pt>
                <c:pt idx="295">
                  <c:v>104.22378041671527</c:v>
                </c:pt>
                <c:pt idx="296">
                  <c:v>103.27442914008765</c:v>
                </c:pt>
                <c:pt idx="297">
                  <c:v>103.27276361153216</c:v>
                </c:pt>
                <c:pt idx="298">
                  <c:v>104.27874285904636</c:v>
                </c:pt>
                <c:pt idx="299">
                  <c:v>103.7291184357356</c:v>
                </c:pt>
                <c:pt idx="300">
                  <c:v>103.63751436518382</c:v>
                </c:pt>
                <c:pt idx="301">
                  <c:v>104.1421695174964</c:v>
                </c:pt>
                <c:pt idx="302">
                  <c:v>103.19614929797973</c:v>
                </c:pt>
                <c:pt idx="303">
                  <c:v>103.76242900684534</c:v>
                </c:pt>
                <c:pt idx="304">
                  <c:v>106.00006662114221</c:v>
                </c:pt>
                <c:pt idx="305">
                  <c:v>105.7777185589847</c:v>
                </c:pt>
                <c:pt idx="306">
                  <c:v>106.60965007245049</c:v>
                </c:pt>
                <c:pt idx="307">
                  <c:v>105.83684482270448</c:v>
                </c:pt>
                <c:pt idx="308">
                  <c:v>106.10083109874915</c:v>
                </c:pt>
                <c:pt idx="309">
                  <c:v>105.38465381988971</c:v>
                </c:pt>
                <c:pt idx="310">
                  <c:v>105.53954797554998</c:v>
                </c:pt>
                <c:pt idx="311">
                  <c:v>105.97091987142113</c:v>
                </c:pt>
                <c:pt idx="312">
                  <c:v>104.81171199680212</c:v>
                </c:pt>
                <c:pt idx="313">
                  <c:v>103.45347345980241</c:v>
                </c:pt>
                <c:pt idx="314">
                  <c:v>102.94632001465661</c:v>
                </c:pt>
                <c:pt idx="315">
                  <c:v>102.80391732316247</c:v>
                </c:pt>
                <c:pt idx="316">
                  <c:v>103.00128245698768</c:v>
                </c:pt>
                <c:pt idx="317">
                  <c:v>104.91247647440913</c:v>
                </c:pt>
                <c:pt idx="318">
                  <c:v>104.02308422577906</c:v>
                </c:pt>
                <c:pt idx="319">
                  <c:v>103.28692060425377</c:v>
                </c:pt>
                <c:pt idx="320">
                  <c:v>105.00408054496094</c:v>
                </c:pt>
                <c:pt idx="321">
                  <c:v>105.66779367432254</c:v>
                </c:pt>
                <c:pt idx="322">
                  <c:v>105.62782098899083</c:v>
                </c:pt>
                <c:pt idx="323">
                  <c:v>105.19478356456418</c:v>
                </c:pt>
                <c:pt idx="324">
                  <c:v>106.47307673090052</c:v>
                </c:pt>
                <c:pt idx="325">
                  <c:v>106.31568428240698</c:v>
                </c:pt>
                <c:pt idx="326">
                  <c:v>105.83767758698218</c:v>
                </c:pt>
                <c:pt idx="327">
                  <c:v>106.47307673090049</c:v>
                </c:pt>
                <c:pt idx="328">
                  <c:v>106.61631218667236</c:v>
                </c:pt>
                <c:pt idx="329">
                  <c:v>106.54053063739769</c:v>
                </c:pt>
                <c:pt idx="330">
                  <c:v>106.24156826168777</c:v>
                </c:pt>
                <c:pt idx="331">
                  <c:v>105.8843123865358</c:v>
                </c:pt>
                <c:pt idx="332">
                  <c:v>105.42379374094362</c:v>
                </c:pt>
                <c:pt idx="333">
                  <c:v>105.91179360770134</c:v>
                </c:pt>
                <c:pt idx="334">
                  <c:v>105.48958211888538</c:v>
                </c:pt>
                <c:pt idx="335">
                  <c:v>105.61199846771368</c:v>
                </c:pt>
                <c:pt idx="336">
                  <c:v>107.05851001815419</c:v>
                </c:pt>
                <c:pt idx="337">
                  <c:v>107.8787828317316</c:v>
                </c:pt>
                <c:pt idx="338">
                  <c:v>108.049499508669</c:v>
                </c:pt>
                <c:pt idx="339">
                  <c:v>108.45089189054137</c:v>
                </c:pt>
                <c:pt idx="340">
                  <c:v>108.05283056577994</c:v>
                </c:pt>
                <c:pt idx="341">
                  <c:v>108.1610899218866</c:v>
                </c:pt>
                <c:pt idx="342">
                  <c:v>107.67558834796212</c:v>
                </c:pt>
                <c:pt idx="343">
                  <c:v>107.93124698122939</c:v>
                </c:pt>
                <c:pt idx="344">
                  <c:v>107.85046884628825</c:v>
                </c:pt>
                <c:pt idx="345">
                  <c:v>108.40758814809867</c:v>
                </c:pt>
                <c:pt idx="346">
                  <c:v>108.61577921753457</c:v>
                </c:pt>
                <c:pt idx="347">
                  <c:v>108.61494645325681</c:v>
                </c:pt>
                <c:pt idx="348">
                  <c:v>108.57747206075835</c:v>
                </c:pt>
                <c:pt idx="349">
                  <c:v>109.17622957645595</c:v>
                </c:pt>
                <c:pt idx="350">
                  <c:v>109.36276877467049</c:v>
                </c:pt>
                <c:pt idx="351">
                  <c:v>108.28100797788161</c:v>
                </c:pt>
                <c:pt idx="352">
                  <c:v>107.76136306856965</c:v>
                </c:pt>
                <c:pt idx="353">
                  <c:v>108.169417564664</c:v>
                </c:pt>
                <c:pt idx="354">
                  <c:v>108.22104894988408</c:v>
                </c:pt>
                <c:pt idx="355">
                  <c:v>109.35111007478204</c:v>
                </c:pt>
                <c:pt idx="356">
                  <c:v>109.76416115654283</c:v>
                </c:pt>
                <c:pt idx="357">
                  <c:v>109.61509635082673</c:v>
                </c:pt>
                <c:pt idx="358">
                  <c:v>109.91405872653667</c:v>
                </c:pt>
                <c:pt idx="359">
                  <c:v>110.02315084692108</c:v>
                </c:pt>
                <c:pt idx="360">
                  <c:v>109.78414749920867</c:v>
                </c:pt>
                <c:pt idx="361">
                  <c:v>110.35625655801847</c:v>
                </c:pt>
                <c:pt idx="362">
                  <c:v>109.76083009943184</c:v>
                </c:pt>
                <c:pt idx="363">
                  <c:v>109.4901817091652</c:v>
                </c:pt>
                <c:pt idx="364">
                  <c:v>110.45535550706995</c:v>
                </c:pt>
                <c:pt idx="365">
                  <c:v>111.28562149198028</c:v>
                </c:pt>
                <c:pt idx="366">
                  <c:v>111.30644059892386</c:v>
                </c:pt>
                <c:pt idx="367">
                  <c:v>111.5196282540262</c:v>
                </c:pt>
                <c:pt idx="368">
                  <c:v>111.24481604237081</c:v>
                </c:pt>
                <c:pt idx="369">
                  <c:v>110.86757382455299</c:v>
                </c:pt>
                <c:pt idx="370">
                  <c:v>111.09991505804344</c:v>
                </c:pt>
                <c:pt idx="371">
                  <c:v>112.44149830948828</c:v>
                </c:pt>
                <c:pt idx="372">
                  <c:v>112.69132759281133</c:v>
                </c:pt>
                <c:pt idx="373">
                  <c:v>112.38820139571267</c:v>
                </c:pt>
                <c:pt idx="374">
                  <c:v>112.47813993770899</c:v>
                </c:pt>
                <c:pt idx="375">
                  <c:v>112.7079828783662</c:v>
                </c:pt>
                <c:pt idx="376">
                  <c:v>112.41901367398917</c:v>
                </c:pt>
                <c:pt idx="377">
                  <c:v>113.49161406372282</c:v>
                </c:pt>
                <c:pt idx="378">
                  <c:v>113.72395529721325</c:v>
                </c:pt>
                <c:pt idx="379">
                  <c:v>114.00959344447929</c:v>
                </c:pt>
                <c:pt idx="380">
                  <c:v>113.59321130560751</c:v>
                </c:pt>
                <c:pt idx="381">
                  <c:v>113.75226928265654</c:v>
                </c:pt>
                <c:pt idx="382">
                  <c:v>113.83554571043088</c:v>
                </c:pt>
                <c:pt idx="383">
                  <c:v>113.9721190519808</c:v>
                </c:pt>
                <c:pt idx="384">
                  <c:v>114.67330657384086</c:v>
                </c:pt>
                <c:pt idx="385">
                  <c:v>114.70328608783964</c:v>
                </c:pt>
                <c:pt idx="386">
                  <c:v>115.1063439982675</c:v>
                </c:pt>
                <c:pt idx="387">
                  <c:v>115.67762029279957</c:v>
                </c:pt>
                <c:pt idx="388">
                  <c:v>114.69995503072866</c:v>
                </c:pt>
                <c:pt idx="389">
                  <c:v>114.74908812311554</c:v>
                </c:pt>
                <c:pt idx="390">
                  <c:v>114.74992088739329</c:v>
                </c:pt>
                <c:pt idx="391">
                  <c:v>113.90633067403907</c:v>
                </c:pt>
                <c:pt idx="392">
                  <c:v>113.86719075298512</c:v>
                </c:pt>
                <c:pt idx="393">
                  <c:v>113.61403041255109</c:v>
                </c:pt>
                <c:pt idx="394">
                  <c:v>114.90314951449811</c:v>
                </c:pt>
                <c:pt idx="395">
                  <c:v>115.15797538348761</c:v>
                </c:pt>
                <c:pt idx="396">
                  <c:v>115.39781149547775</c:v>
                </c:pt>
                <c:pt idx="397">
                  <c:v>114.78239869422526</c:v>
                </c:pt>
                <c:pt idx="398">
                  <c:v>114.99641911360538</c:v>
                </c:pt>
                <c:pt idx="399">
                  <c:v>115.28955213937111</c:v>
                </c:pt>
                <c:pt idx="400">
                  <c:v>116.02238470378542</c:v>
                </c:pt>
                <c:pt idx="401">
                  <c:v>116.30136073682951</c:v>
                </c:pt>
                <c:pt idx="402">
                  <c:v>116.5670125414297</c:v>
                </c:pt>
                <c:pt idx="403">
                  <c:v>116.68693059742476</c:v>
                </c:pt>
                <c:pt idx="404">
                  <c:v>116.6286370979827</c:v>
                </c:pt>
                <c:pt idx="405">
                  <c:v>116.82100564614144</c:v>
                </c:pt>
                <c:pt idx="406">
                  <c:v>117.09415232924131</c:v>
                </c:pt>
                <c:pt idx="407">
                  <c:v>116.66611149048116</c:v>
                </c:pt>
                <c:pt idx="408">
                  <c:v>115.07969554137972</c:v>
                </c:pt>
                <c:pt idx="409">
                  <c:v>115.4810879232521</c:v>
                </c:pt>
                <c:pt idx="410">
                  <c:v>116.54369514165288</c:v>
                </c:pt>
                <c:pt idx="411">
                  <c:v>116.6394630335934</c:v>
                </c:pt>
                <c:pt idx="412">
                  <c:v>116.31301943671791</c:v>
                </c:pt>
                <c:pt idx="413">
                  <c:v>117.34647990539762</c:v>
                </c:pt>
                <c:pt idx="414">
                  <c:v>117.81615895804498</c:v>
                </c:pt>
                <c:pt idx="415">
                  <c:v>117.66126480238471</c:v>
                </c:pt>
                <c:pt idx="416">
                  <c:v>117.19408404257058</c:v>
                </c:pt>
                <c:pt idx="417">
                  <c:v>117.40643893339517</c:v>
                </c:pt>
                <c:pt idx="418">
                  <c:v>117.67292350227309</c:v>
                </c:pt>
                <c:pt idx="419">
                  <c:v>117.54967438916705</c:v>
                </c:pt>
                <c:pt idx="420">
                  <c:v>117.68708049499472</c:v>
                </c:pt>
                <c:pt idx="421">
                  <c:v>118.70971502806377</c:v>
                </c:pt>
                <c:pt idx="422">
                  <c:v>118.84295731250272</c:v>
                </c:pt>
                <c:pt idx="423">
                  <c:v>118.45905298046294</c:v>
                </c:pt>
                <c:pt idx="424">
                  <c:v>118.71471161373022</c:v>
                </c:pt>
                <c:pt idx="425">
                  <c:v>118.54649322962604</c:v>
                </c:pt>
                <c:pt idx="426">
                  <c:v>118.11095751236617</c:v>
                </c:pt>
                <c:pt idx="427">
                  <c:v>117.48305324694755</c:v>
                </c:pt>
                <c:pt idx="428">
                  <c:v>117.99437051348208</c:v>
                </c:pt>
                <c:pt idx="429">
                  <c:v>118.82213820555914</c:v>
                </c:pt>
                <c:pt idx="430">
                  <c:v>118.64642494295526</c:v>
                </c:pt>
                <c:pt idx="431">
                  <c:v>118.11095751236617</c:v>
                </c:pt>
                <c:pt idx="432">
                  <c:v>117.96938758514976</c:v>
                </c:pt>
                <c:pt idx="433">
                  <c:v>118.11428856947715</c:v>
                </c:pt>
                <c:pt idx="434">
                  <c:v>117.3956129977845</c:v>
                </c:pt>
                <c:pt idx="435">
                  <c:v>117.65626821671819</c:v>
                </c:pt>
                <c:pt idx="436">
                  <c:v>117.59547642444291</c:v>
                </c:pt>
                <c:pt idx="437">
                  <c:v>117.82365383654465</c:v>
                </c:pt>
                <c:pt idx="438">
                  <c:v>118.57064339368061</c:v>
                </c:pt>
                <c:pt idx="439">
                  <c:v>119.14608350960141</c:v>
                </c:pt>
                <c:pt idx="440">
                  <c:v>119.2435169300974</c:v>
                </c:pt>
                <c:pt idx="441">
                  <c:v>119.13692310254622</c:v>
                </c:pt>
                <c:pt idx="442">
                  <c:v>118.78299828450521</c:v>
                </c:pt>
                <c:pt idx="443">
                  <c:v>119.1269299312133</c:v>
                </c:pt>
                <c:pt idx="444">
                  <c:v>118.49819290151692</c:v>
                </c:pt>
                <c:pt idx="445">
                  <c:v>118.91790609749964</c:v>
                </c:pt>
                <c:pt idx="446">
                  <c:v>119.92888193068032</c:v>
                </c:pt>
                <c:pt idx="447">
                  <c:v>118.57730550790257</c:v>
                </c:pt>
                <c:pt idx="448">
                  <c:v>118.43407005213068</c:v>
                </c:pt>
                <c:pt idx="449">
                  <c:v>118.30415882480267</c:v>
                </c:pt>
                <c:pt idx="450">
                  <c:v>118.98702553255235</c:v>
                </c:pt>
                <c:pt idx="451">
                  <c:v>119.77148948218677</c:v>
                </c:pt>
                <c:pt idx="452">
                  <c:v>120.41271797604929</c:v>
                </c:pt>
                <c:pt idx="453">
                  <c:v>120.61674522409646</c:v>
                </c:pt>
                <c:pt idx="454">
                  <c:v>120.50015822521236</c:v>
                </c:pt>
                <c:pt idx="455">
                  <c:v>120.58426741726444</c:v>
                </c:pt>
                <c:pt idx="456">
                  <c:v>120.75248580136862</c:v>
                </c:pt>
                <c:pt idx="457">
                  <c:v>120.61008310987448</c:v>
                </c:pt>
                <c:pt idx="458">
                  <c:v>119.75649972518735</c:v>
                </c:pt>
                <c:pt idx="459">
                  <c:v>119.36593327892562</c:v>
                </c:pt>
                <c:pt idx="460">
                  <c:v>120.27281357738835</c:v>
                </c:pt>
                <c:pt idx="461">
                  <c:v>121.1921853400172</c:v>
                </c:pt>
                <c:pt idx="462">
                  <c:v>121.31793274595647</c:v>
                </c:pt>
                <c:pt idx="463">
                  <c:v>121.21217168268304</c:v>
                </c:pt>
                <c:pt idx="464">
                  <c:v>121.55693609366887</c:v>
                </c:pt>
                <c:pt idx="465">
                  <c:v>121.38621941673145</c:v>
                </c:pt>
                <c:pt idx="466">
                  <c:v>121.28212388201351</c:v>
                </c:pt>
                <c:pt idx="467">
                  <c:v>120.84991922186461</c:v>
                </c:pt>
                <c:pt idx="468">
                  <c:v>120.69835612331526</c:v>
                </c:pt>
                <c:pt idx="469">
                  <c:v>116.50705351343206</c:v>
                </c:pt>
                <c:pt idx="470">
                  <c:v>117.15494412151654</c:v>
                </c:pt>
                <c:pt idx="471">
                  <c:v>116.85098516014016</c:v>
                </c:pt>
                <c:pt idx="472">
                  <c:v>115.5185623157505</c:v>
                </c:pt>
                <c:pt idx="473">
                  <c:v>114.43180493329515</c:v>
                </c:pt>
                <c:pt idx="474">
                  <c:v>116.20476008061117</c:v>
                </c:pt>
                <c:pt idx="475">
                  <c:v>115.91828916906739</c:v>
                </c:pt>
                <c:pt idx="476">
                  <c:v>116.744391332589</c:v>
                </c:pt>
                <c:pt idx="477">
                  <c:v>116.82433670325237</c:v>
                </c:pt>
                <c:pt idx="478">
                  <c:v>117.13662330740618</c:v>
                </c:pt>
                <c:pt idx="479">
                  <c:v>114.75075365167095</c:v>
                </c:pt>
                <c:pt idx="480">
                  <c:v>115.51856231575049</c:v>
                </c:pt>
                <c:pt idx="481">
                  <c:v>115.94410486167743</c:v>
                </c:pt>
                <c:pt idx="482">
                  <c:v>115.50024150164015</c:v>
                </c:pt>
                <c:pt idx="483">
                  <c:v>116.75854832531061</c:v>
                </c:pt>
                <c:pt idx="484">
                  <c:v>117.49804300394688</c:v>
                </c:pt>
                <c:pt idx="485">
                  <c:v>119.5050049133088</c:v>
                </c:pt>
                <c:pt idx="486">
                  <c:v>119.46336669942161</c:v>
                </c:pt>
                <c:pt idx="487">
                  <c:v>119.59411069102734</c:v>
                </c:pt>
                <c:pt idx="488">
                  <c:v>119.70986492563372</c:v>
                </c:pt>
                <c:pt idx="489">
                  <c:v>118.96953748271973</c:v>
                </c:pt>
                <c:pt idx="490">
                  <c:v>118.02185173464758</c:v>
                </c:pt>
                <c:pt idx="491">
                  <c:v>118.46321680185166</c:v>
                </c:pt>
                <c:pt idx="492">
                  <c:v>118.32414516746847</c:v>
                </c:pt>
                <c:pt idx="493">
                  <c:v>118.63143518595585</c:v>
                </c:pt>
                <c:pt idx="494">
                  <c:v>119.73234956113282</c:v>
                </c:pt>
                <c:pt idx="495">
                  <c:v>119.86559184557177</c:v>
                </c:pt>
                <c:pt idx="496">
                  <c:v>120.23117536350118</c:v>
                </c:pt>
                <c:pt idx="497">
                  <c:v>120.30196032710937</c:v>
                </c:pt>
                <c:pt idx="498">
                  <c:v>120.61674522409645</c:v>
                </c:pt>
                <c:pt idx="499">
                  <c:v>119.82395363168457</c:v>
                </c:pt>
                <c:pt idx="500">
                  <c:v>120.56761213170955</c:v>
                </c:pt>
                <c:pt idx="501">
                  <c:v>120.98815809197002</c:v>
                </c:pt>
                <c:pt idx="502">
                  <c:v>122.28893589380546</c:v>
                </c:pt>
                <c:pt idx="503">
                  <c:v>122.53959794140627</c:v>
                </c:pt>
                <c:pt idx="504">
                  <c:v>122.62453989773611</c:v>
                </c:pt>
                <c:pt idx="505">
                  <c:v>122.4771406205755</c:v>
                </c:pt>
                <c:pt idx="506">
                  <c:v>123.61136556686218</c:v>
                </c:pt>
                <c:pt idx="507">
                  <c:v>123.32656018387391</c:v>
                </c:pt>
                <c:pt idx="508">
                  <c:v>123.28325644143125</c:v>
                </c:pt>
                <c:pt idx="509">
                  <c:v>124.5332356223243</c:v>
                </c:pt>
                <c:pt idx="510">
                  <c:v>124.4358022018283</c:v>
                </c:pt>
                <c:pt idx="511">
                  <c:v>124.42081244482893</c:v>
                </c:pt>
                <c:pt idx="512">
                  <c:v>123.44647823986897</c:v>
                </c:pt>
                <c:pt idx="513">
                  <c:v>123.77375460102219</c:v>
                </c:pt>
                <c:pt idx="514">
                  <c:v>124.57487383621148</c:v>
                </c:pt>
                <c:pt idx="515">
                  <c:v>125.11367232391157</c:v>
                </c:pt>
                <c:pt idx="516">
                  <c:v>125.38265518562272</c:v>
                </c:pt>
                <c:pt idx="517">
                  <c:v>125.70410219683174</c:v>
                </c:pt>
                <c:pt idx="518">
                  <c:v>125.55753568394887</c:v>
                </c:pt>
                <c:pt idx="519">
                  <c:v>125.96225912293222</c:v>
                </c:pt>
                <c:pt idx="520">
                  <c:v>124.20429373261562</c:v>
                </c:pt>
                <c:pt idx="521">
                  <c:v>125.40180876401082</c:v>
                </c:pt>
                <c:pt idx="522">
                  <c:v>125.17696240902008</c:v>
                </c:pt>
                <c:pt idx="523">
                  <c:v>125.01374061058235</c:v>
                </c:pt>
                <c:pt idx="524">
                  <c:v>126.09217035026023</c:v>
                </c:pt>
                <c:pt idx="525">
                  <c:v>125.97641611565386</c:v>
                </c:pt>
                <c:pt idx="526">
                  <c:v>126.8091803933974</c:v>
                </c:pt>
                <c:pt idx="527">
                  <c:v>127.00487999866711</c:v>
                </c:pt>
                <c:pt idx="528">
                  <c:v>126.92326909944825</c:v>
                </c:pt>
                <c:pt idx="529">
                  <c:v>126.77004047234344</c:v>
                </c:pt>
                <c:pt idx="530">
                  <c:v>125.54004763411623</c:v>
                </c:pt>
                <c:pt idx="531">
                  <c:v>126.22457987042142</c:v>
                </c:pt>
                <c:pt idx="532">
                  <c:v>126.42277776852438</c:v>
                </c:pt>
                <c:pt idx="533">
                  <c:v>127.43208807314959</c:v>
                </c:pt>
                <c:pt idx="534">
                  <c:v>127.46456587998158</c:v>
                </c:pt>
                <c:pt idx="535">
                  <c:v>127.94090704685087</c:v>
                </c:pt>
                <c:pt idx="536">
                  <c:v>128.17741210173006</c:v>
                </c:pt>
                <c:pt idx="537">
                  <c:v>127.49204710114712</c:v>
                </c:pt>
                <c:pt idx="538">
                  <c:v>126.36198597624914</c:v>
                </c:pt>
                <c:pt idx="539">
                  <c:v>124.14183641178485</c:v>
                </c:pt>
                <c:pt idx="540">
                  <c:v>125.55337186256016</c:v>
                </c:pt>
                <c:pt idx="541">
                  <c:v>125.67412268283296</c:v>
                </c:pt>
                <c:pt idx="542">
                  <c:v>124.33170666711038</c:v>
                </c:pt>
                <c:pt idx="543">
                  <c:v>126.21958328475499</c:v>
                </c:pt>
                <c:pt idx="544">
                  <c:v>126.82750120750778</c:v>
                </c:pt>
                <c:pt idx="545">
                  <c:v>127.65526889958485</c:v>
                </c:pt>
                <c:pt idx="546">
                  <c:v>127.50037474392454</c:v>
                </c:pt>
                <c:pt idx="547">
                  <c:v>127.72105727752661</c:v>
                </c:pt>
                <c:pt idx="548">
                  <c:v>125.98391099415359</c:v>
                </c:pt>
                <c:pt idx="549">
                  <c:v>126.76254559384383</c:v>
                </c:pt>
                <c:pt idx="550">
                  <c:v>125.12782931663325</c:v>
                </c:pt>
                <c:pt idx="551">
                  <c:v>124.72643693476087</c:v>
                </c:pt>
                <c:pt idx="552">
                  <c:v>124.32254626005525</c:v>
                </c:pt>
                <c:pt idx="553">
                  <c:v>125.44261421362029</c:v>
                </c:pt>
                <c:pt idx="554">
                  <c:v>125.39015006412244</c:v>
                </c:pt>
                <c:pt idx="555">
                  <c:v>125.19361769457497</c:v>
                </c:pt>
                <c:pt idx="556">
                  <c:v>126.53270265318659</c:v>
                </c:pt>
                <c:pt idx="557">
                  <c:v>126.98572642027904</c:v>
                </c:pt>
                <c:pt idx="558">
                  <c:v>127.02986292699947</c:v>
                </c:pt>
                <c:pt idx="559">
                  <c:v>127.44957612298222</c:v>
                </c:pt>
                <c:pt idx="560">
                  <c:v>127.56699588614407</c:v>
                </c:pt>
                <c:pt idx="561">
                  <c:v>125.75739911060735</c:v>
                </c:pt>
                <c:pt idx="562">
                  <c:v>126.47690744657777</c:v>
                </c:pt>
                <c:pt idx="563">
                  <c:v>128.88692726636759</c:v>
                </c:pt>
                <c:pt idx="564">
                  <c:v>129.2866541196845</c:v>
                </c:pt>
                <c:pt idx="565">
                  <c:v>129.03849036491695</c:v>
                </c:pt>
                <c:pt idx="566">
                  <c:v>129.02599890075081</c:v>
                </c:pt>
                <c:pt idx="567">
                  <c:v>128.75951433187288</c:v>
                </c:pt>
                <c:pt idx="568">
                  <c:v>129.33495444779365</c:v>
                </c:pt>
                <c:pt idx="569">
                  <c:v>127.75436784863641</c:v>
                </c:pt>
                <c:pt idx="570">
                  <c:v>128.37644276411083</c:v>
                </c:pt>
                <c:pt idx="571">
                  <c:v>125.83401342415982</c:v>
                </c:pt>
                <c:pt idx="572">
                  <c:v>126.42111223996902</c:v>
                </c:pt>
                <c:pt idx="573">
                  <c:v>123.47062840392367</c:v>
                </c:pt>
                <c:pt idx="574">
                  <c:v>121.49614430139374</c:v>
                </c:pt>
                <c:pt idx="575">
                  <c:v>122.74195966089809</c:v>
                </c:pt>
                <c:pt idx="576">
                  <c:v>121.18968704718412</c:v>
                </c:pt>
                <c:pt idx="577">
                  <c:v>122.06742059592581</c:v>
                </c:pt>
                <c:pt idx="578">
                  <c:v>122.59955696940396</c:v>
                </c:pt>
                <c:pt idx="579">
                  <c:v>119.34011758631574</c:v>
                </c:pt>
                <c:pt idx="580">
                  <c:v>122.22231475158614</c:v>
                </c:pt>
                <c:pt idx="581">
                  <c:v>122.97513365866629</c:v>
                </c:pt>
                <c:pt idx="582">
                  <c:v>124.70561782781738</c:v>
                </c:pt>
                <c:pt idx="583">
                  <c:v>121.00814443463605</c:v>
                </c:pt>
                <c:pt idx="584">
                  <c:v>121.05394646991196</c:v>
                </c:pt>
                <c:pt idx="585">
                  <c:v>120.99398744191444</c:v>
                </c:pt>
                <c:pt idx="586">
                  <c:v>118.79715527722696</c:v>
                </c:pt>
                <c:pt idx="587">
                  <c:v>117.1449509501838</c:v>
                </c:pt>
                <c:pt idx="588">
                  <c:v>117.52552422511259</c:v>
                </c:pt>
                <c:pt idx="589">
                  <c:v>120.41271797604945</c:v>
                </c:pt>
                <c:pt idx="590">
                  <c:v>120.38024016921744</c:v>
                </c:pt>
                <c:pt idx="591">
                  <c:v>120.51098416082318</c:v>
                </c:pt>
                <c:pt idx="592">
                  <c:v>121.92251961159852</c:v>
                </c:pt>
                <c:pt idx="593">
                  <c:v>121.79177561999278</c:v>
                </c:pt>
                <c:pt idx="594">
                  <c:v>123.19664895654613</c:v>
                </c:pt>
                <c:pt idx="595">
                  <c:v>122.14903149514475</c:v>
                </c:pt>
                <c:pt idx="596">
                  <c:v>119.28182408687373</c:v>
                </c:pt>
                <c:pt idx="597">
                  <c:v>121.89670391898845</c:v>
                </c:pt>
                <c:pt idx="598">
                  <c:v>121.38705218100939</c:v>
                </c:pt>
                <c:pt idx="599">
                  <c:v>122.7486217751201</c:v>
                </c:pt>
                <c:pt idx="600">
                  <c:v>124.03357705567838</c:v>
                </c:pt>
                <c:pt idx="601">
                  <c:v>122.60705184790368</c:v>
                </c:pt>
                <c:pt idx="602">
                  <c:v>123.12836228577115</c:v>
                </c:pt>
                <c:pt idx="603">
                  <c:v>121.04645159141229</c:v>
                </c:pt>
                <c:pt idx="604">
                  <c:v>120.89239020002974</c:v>
                </c:pt>
                <c:pt idx="605">
                  <c:v>122.5404307056842</c:v>
                </c:pt>
                <c:pt idx="606">
                  <c:v>122.54626005562841</c:v>
                </c:pt>
                <c:pt idx="607">
                  <c:v>123.57805499575268</c:v>
                </c:pt>
                <c:pt idx="608">
                  <c:v>123.60303792408496</c:v>
                </c:pt>
                <c:pt idx="609">
                  <c:v>122.97013707299988</c:v>
                </c:pt>
                <c:pt idx="610">
                  <c:v>126.56184940290773</c:v>
                </c:pt>
                <c:pt idx="611">
                  <c:v>127.3321563598205</c:v>
                </c:pt>
                <c:pt idx="612">
                  <c:v>126.47607468230014</c:v>
                </c:pt>
                <c:pt idx="613">
                  <c:v>127.05900967672062</c:v>
                </c:pt>
                <c:pt idx="614">
                  <c:v>126.39113272597029</c:v>
                </c:pt>
                <c:pt idx="615">
                  <c:v>126.34782898352763</c:v>
                </c:pt>
                <c:pt idx="616">
                  <c:v>127.03152845555509</c:v>
                </c:pt>
                <c:pt idx="617">
                  <c:v>127.52785596509023</c:v>
                </c:pt>
                <c:pt idx="618">
                  <c:v>127.14228610449496</c:v>
                </c:pt>
                <c:pt idx="619">
                  <c:v>128.83196482403659</c:v>
                </c:pt>
                <c:pt idx="620">
                  <c:v>128.79782148864911</c:v>
                </c:pt>
                <c:pt idx="621">
                  <c:v>128.21155543711762</c:v>
                </c:pt>
                <c:pt idx="622">
                  <c:v>128.4822038273843</c:v>
                </c:pt>
                <c:pt idx="623">
                  <c:v>129.71053113705599</c:v>
                </c:pt>
                <c:pt idx="624">
                  <c:v>129.29331623390649</c:v>
                </c:pt>
                <c:pt idx="625">
                  <c:v>130.34010093103012</c:v>
                </c:pt>
                <c:pt idx="626">
                  <c:v>130.11692010459484</c:v>
                </c:pt>
                <c:pt idx="627">
                  <c:v>129.44571209673356</c:v>
                </c:pt>
                <c:pt idx="628">
                  <c:v>130.06112489798602</c:v>
                </c:pt>
                <c:pt idx="629">
                  <c:v>128.97103645841972</c:v>
                </c:pt>
                <c:pt idx="630">
                  <c:v>128.12328242367678</c:v>
                </c:pt>
                <c:pt idx="631">
                  <c:v>128.34896154294529</c:v>
                </c:pt>
                <c:pt idx="632">
                  <c:v>128.25236088672702</c:v>
                </c:pt>
                <c:pt idx="633">
                  <c:v>124.96710581102876</c:v>
                </c:pt>
                <c:pt idx="634">
                  <c:v>125.44178144934254</c:v>
                </c:pt>
                <c:pt idx="635">
                  <c:v>126.54602688163048</c:v>
                </c:pt>
                <c:pt idx="636">
                  <c:v>126.23707133458765</c:v>
                </c:pt>
                <c:pt idx="637">
                  <c:v>126.11382222148161</c:v>
                </c:pt>
                <c:pt idx="638">
                  <c:v>127.85263403341011</c:v>
                </c:pt>
                <c:pt idx="639">
                  <c:v>128.32730967172395</c:v>
                </c:pt>
                <c:pt idx="640">
                  <c:v>127.49787645109139</c:v>
                </c:pt>
                <c:pt idx="641">
                  <c:v>129.02683166502854</c:v>
                </c:pt>
                <c:pt idx="642">
                  <c:v>125.61749471194648</c:v>
                </c:pt>
                <c:pt idx="643">
                  <c:v>125.71825918955346</c:v>
                </c:pt>
                <c:pt idx="644">
                  <c:v>125.0953515098013</c:v>
                </c:pt>
                <c:pt idx="645">
                  <c:v>126.60265485251712</c:v>
                </c:pt>
                <c:pt idx="646">
                  <c:v>122.8843623523922</c:v>
                </c:pt>
                <c:pt idx="647">
                  <c:v>122.81357738878398</c:v>
                </c:pt>
                <c:pt idx="648">
                  <c:v>121.05894305557834</c:v>
                </c:pt>
                <c:pt idx="649">
                  <c:v>119.84976932429471</c:v>
                </c:pt>
                <c:pt idx="650">
                  <c:v>123.33655335520692</c:v>
                </c:pt>
                <c:pt idx="651">
                  <c:v>122.46464915640942</c:v>
                </c:pt>
                <c:pt idx="652">
                  <c:v>120.84658816475374</c:v>
                </c:pt>
                <c:pt idx="653">
                  <c:v>121.47865625156109</c:v>
                </c:pt>
                <c:pt idx="654">
                  <c:v>119.35760563614831</c:v>
                </c:pt>
                <c:pt idx="655">
                  <c:v>119.89307306673741</c:v>
                </c:pt>
                <c:pt idx="656">
                  <c:v>117.98354457787147</c:v>
                </c:pt>
                <c:pt idx="657">
                  <c:v>119.97634949451175</c:v>
                </c:pt>
                <c:pt idx="658">
                  <c:v>117.18825469262637</c:v>
                </c:pt>
                <c:pt idx="659">
                  <c:v>118.93789244016556</c:v>
                </c:pt>
                <c:pt idx="660">
                  <c:v>122.33473792908147</c:v>
                </c:pt>
                <c:pt idx="661">
                  <c:v>122.39303142852353</c:v>
                </c:pt>
                <c:pt idx="662">
                  <c:v>123.34404823370666</c:v>
                </c:pt>
                <c:pt idx="663">
                  <c:v>122.61787778351429</c:v>
                </c:pt>
                <c:pt idx="664">
                  <c:v>121.81592578404727</c:v>
                </c:pt>
                <c:pt idx="665">
                  <c:v>123.66632800919339</c:v>
                </c:pt>
                <c:pt idx="666">
                  <c:v>125.5258906413947</c:v>
                </c:pt>
                <c:pt idx="667">
                  <c:v>125.30270981495944</c:v>
                </c:pt>
                <c:pt idx="668">
                  <c:v>126.24373344880964</c:v>
                </c:pt>
                <c:pt idx="669">
                  <c:v>123.05341350077414</c:v>
                </c:pt>
                <c:pt idx="670">
                  <c:v>123.79790476507685</c:v>
                </c:pt>
                <c:pt idx="671">
                  <c:v>123.94946786362618</c:v>
                </c:pt>
                <c:pt idx="672">
                  <c:v>122.24563215136288</c:v>
                </c:pt>
                <c:pt idx="673">
                  <c:v>120.40938691893837</c:v>
                </c:pt>
                <c:pt idx="674">
                  <c:v>121.16553688312948</c:v>
                </c:pt>
                <c:pt idx="675">
                  <c:v>121.00064955613625</c:v>
                </c:pt>
                <c:pt idx="676">
                  <c:v>121.59357772188966</c:v>
                </c:pt>
                <c:pt idx="677">
                  <c:v>123.62052597391745</c:v>
                </c:pt>
                <c:pt idx="678">
                  <c:v>124.61901034293193</c:v>
                </c:pt>
                <c:pt idx="679">
                  <c:v>124.7197748205389</c:v>
                </c:pt>
                <c:pt idx="680">
                  <c:v>122.94681967322289</c:v>
                </c:pt>
                <c:pt idx="681">
                  <c:v>123.12336570010453</c:v>
                </c:pt>
                <c:pt idx="682">
                  <c:v>122.27977548675031</c:v>
                </c:pt>
                <c:pt idx="683">
                  <c:v>120.51431521793404</c:v>
                </c:pt>
                <c:pt idx="684">
                  <c:v>120.51431521793404</c:v>
                </c:pt>
                <c:pt idx="685">
                  <c:v>117.55550373911124</c:v>
                </c:pt>
                <c:pt idx="686">
                  <c:v>117.93441148548453</c:v>
                </c:pt>
                <c:pt idx="687">
                  <c:v>115.77005712762907</c:v>
                </c:pt>
                <c:pt idx="688">
                  <c:v>117.34731266967535</c:v>
                </c:pt>
                <c:pt idx="689">
                  <c:v>118.28000866074808</c:v>
                </c:pt>
                <c:pt idx="690">
                  <c:v>116.67194084042531</c:v>
                </c:pt>
                <c:pt idx="691">
                  <c:v>117.94024083542874</c:v>
                </c:pt>
                <c:pt idx="692">
                  <c:v>115.00058293499407</c:v>
                </c:pt>
                <c:pt idx="693">
                  <c:v>114.35519061974283</c:v>
                </c:pt>
                <c:pt idx="694">
                  <c:v>111.0282973301574</c:v>
                </c:pt>
                <c:pt idx="695">
                  <c:v>110.3570893222961</c:v>
                </c:pt>
                <c:pt idx="696">
                  <c:v>109.13375859829084</c:v>
                </c:pt>
                <c:pt idx="697">
                  <c:v>111.47382621875018</c:v>
                </c:pt>
                <c:pt idx="698">
                  <c:v>112.59555970087072</c:v>
                </c:pt>
                <c:pt idx="699">
                  <c:v>110.80844756083307</c:v>
                </c:pt>
                <c:pt idx="700">
                  <c:v>112.75378491364199</c:v>
                </c:pt>
                <c:pt idx="701">
                  <c:v>113.44747755700237</c:v>
                </c:pt>
                <c:pt idx="702">
                  <c:v>112.90701354074683</c:v>
                </c:pt>
                <c:pt idx="703">
                  <c:v>114.80071950833565</c:v>
                </c:pt>
                <c:pt idx="704">
                  <c:v>116.20559284488901</c:v>
                </c:pt>
                <c:pt idx="705">
                  <c:v>114.98975699938345</c:v>
                </c:pt>
                <c:pt idx="706">
                  <c:v>111.3106044203125</c:v>
                </c:pt>
                <c:pt idx="707">
                  <c:v>110.46201762129182</c:v>
                </c:pt>
                <c:pt idx="708">
                  <c:v>111.33308905581157</c:v>
                </c:pt>
                <c:pt idx="709">
                  <c:v>110.8650755317197</c:v>
                </c:pt>
                <c:pt idx="710">
                  <c:v>111.51796272547064</c:v>
                </c:pt>
                <c:pt idx="711">
                  <c:v>112.32824236771509</c:v>
                </c:pt>
                <c:pt idx="712">
                  <c:v>113.8563648173745</c:v>
                </c:pt>
                <c:pt idx="713">
                  <c:v>112.32824236771508</c:v>
                </c:pt>
                <c:pt idx="714">
                  <c:v>112.42234473110011</c:v>
                </c:pt>
                <c:pt idx="715">
                  <c:v>112.32158025349314</c:v>
                </c:pt>
                <c:pt idx="716">
                  <c:v>113.25844006595463</c:v>
                </c:pt>
                <c:pt idx="717">
                  <c:v>111.80110257990343</c:v>
                </c:pt>
                <c:pt idx="718">
                  <c:v>112.68216718575607</c:v>
                </c:pt>
                <c:pt idx="719">
                  <c:v>114.23860362085875</c:v>
                </c:pt>
                <c:pt idx="720">
                  <c:v>115.02889692043736</c:v>
                </c:pt>
                <c:pt idx="721">
                  <c:v>114.92313585716393</c:v>
                </c:pt>
                <c:pt idx="722">
                  <c:v>113.89550473842841</c:v>
                </c:pt>
                <c:pt idx="723">
                  <c:v>110.81011308938861</c:v>
                </c:pt>
                <c:pt idx="724">
                  <c:v>110.86923935310838</c:v>
                </c:pt>
                <c:pt idx="725">
                  <c:v>110.48700054962411</c:v>
                </c:pt>
                <c:pt idx="726">
                  <c:v>111.06577172265588</c:v>
                </c:pt>
                <c:pt idx="727">
                  <c:v>108.62077580320084</c:v>
                </c:pt>
                <c:pt idx="728">
                  <c:v>107.70723339051617</c:v>
                </c:pt>
                <c:pt idx="729">
                  <c:v>106.04170483502908</c:v>
                </c:pt>
                <c:pt idx="730">
                  <c:v>109.97901434020055</c:v>
                </c:pt>
                <c:pt idx="731">
                  <c:v>108.98969037824121</c:v>
                </c:pt>
                <c:pt idx="732">
                  <c:v>109.54847520860712</c:v>
                </c:pt>
                <c:pt idx="733">
                  <c:v>107.27169767325628</c:v>
                </c:pt>
                <c:pt idx="734">
                  <c:v>106.31068769674022</c:v>
                </c:pt>
                <c:pt idx="735">
                  <c:v>110.81927349644374</c:v>
                </c:pt>
                <c:pt idx="736">
                  <c:v>108.12777935077663</c:v>
                </c:pt>
                <c:pt idx="737">
                  <c:v>110.71684349028129</c:v>
                </c:pt>
                <c:pt idx="738">
                  <c:v>112.41318432404489</c:v>
                </c:pt>
                <c:pt idx="739">
                  <c:v>112.67217401442313</c:v>
                </c:pt>
                <c:pt idx="740">
                  <c:v>111.68451558101931</c:v>
                </c:pt>
                <c:pt idx="741">
                  <c:v>110.40455688612749</c:v>
                </c:pt>
                <c:pt idx="742">
                  <c:v>109.52682333738581</c:v>
                </c:pt>
                <c:pt idx="743">
                  <c:v>110.14973101713798</c:v>
                </c:pt>
                <c:pt idx="744">
                  <c:v>114.10369580786428</c:v>
                </c:pt>
                <c:pt idx="745">
                  <c:v>113.88301327426224</c:v>
                </c:pt>
                <c:pt idx="746">
                  <c:v>114.03124531570062</c:v>
                </c:pt>
                <c:pt idx="747">
                  <c:v>114.12201662197468</c:v>
                </c:pt>
                <c:pt idx="748">
                  <c:v>114.30022817741181</c:v>
                </c:pt>
                <c:pt idx="749">
                  <c:v>113.71729318299133</c:v>
                </c:pt>
                <c:pt idx="750">
                  <c:v>112.79708865608472</c:v>
                </c:pt>
                <c:pt idx="751">
                  <c:v>113.30174380839732</c:v>
                </c:pt>
                <c:pt idx="752">
                  <c:v>110.99332123049223</c:v>
                </c:pt>
                <c:pt idx="753">
                  <c:v>110.6177445412299</c:v>
                </c:pt>
                <c:pt idx="754">
                  <c:v>111.12656351493121</c:v>
                </c:pt>
                <c:pt idx="755">
                  <c:v>113.64817374793863</c:v>
                </c:pt>
                <c:pt idx="756">
                  <c:v>113.71895871154682</c:v>
                </c:pt>
                <c:pt idx="757">
                  <c:v>115.78171582751757</c:v>
                </c:pt>
                <c:pt idx="758">
                  <c:v>115.60183874352498</c:v>
                </c:pt>
                <c:pt idx="759">
                  <c:v>114.58336803184463</c:v>
                </c:pt>
                <c:pt idx="760">
                  <c:v>114.9156409786643</c:v>
                </c:pt>
                <c:pt idx="761">
                  <c:v>115.65596842157829</c:v>
                </c:pt>
                <c:pt idx="762">
                  <c:v>116.40712180010297</c:v>
                </c:pt>
                <c:pt idx="763">
                  <c:v>116.28470545127466</c:v>
                </c:pt>
                <c:pt idx="764">
                  <c:v>115.83251444845993</c:v>
                </c:pt>
                <c:pt idx="765">
                  <c:v>115.38698555986713</c:v>
                </c:pt>
                <c:pt idx="766">
                  <c:v>117.36480071950803</c:v>
                </c:pt>
                <c:pt idx="767">
                  <c:v>117.7445412301591</c:v>
                </c:pt>
                <c:pt idx="768">
                  <c:v>117.2107393281255</c:v>
                </c:pt>
                <c:pt idx="769">
                  <c:v>118.10762645525529</c:v>
                </c:pt>
                <c:pt idx="770">
                  <c:v>115.96825502573213</c:v>
                </c:pt>
                <c:pt idx="771">
                  <c:v>116.39379757165909</c:v>
                </c:pt>
                <c:pt idx="772">
                  <c:v>115.61099915058017</c:v>
                </c:pt>
                <c:pt idx="773">
                  <c:v>116.88512849552777</c:v>
                </c:pt>
                <c:pt idx="774">
                  <c:v>116.84015922452963</c:v>
                </c:pt>
                <c:pt idx="775">
                  <c:v>117.3081727486215</c:v>
                </c:pt>
                <c:pt idx="776">
                  <c:v>118.54982428673712</c:v>
                </c:pt>
                <c:pt idx="777">
                  <c:v>118.69805632817545</c:v>
                </c:pt>
                <c:pt idx="778">
                  <c:v>118.80465015572666</c:v>
                </c:pt>
                <c:pt idx="779">
                  <c:v>117.70290301627196</c:v>
                </c:pt>
                <c:pt idx="780">
                  <c:v>115.81336087007186</c:v>
                </c:pt>
                <c:pt idx="781">
                  <c:v>116.11648706717051</c:v>
                </c:pt>
                <c:pt idx="782">
                  <c:v>114.58253526756691</c:v>
                </c:pt>
                <c:pt idx="783">
                  <c:v>115.36699921720133</c:v>
                </c:pt>
                <c:pt idx="784">
                  <c:v>115.82418680568253</c:v>
                </c:pt>
                <c:pt idx="785">
                  <c:v>116.44209789976821</c:v>
                </c:pt>
                <c:pt idx="786">
                  <c:v>116.61864392664987</c:v>
                </c:pt>
                <c:pt idx="787">
                  <c:v>115.39364767408911</c:v>
                </c:pt>
                <c:pt idx="788">
                  <c:v>114.72577072333878</c:v>
                </c:pt>
                <c:pt idx="789">
                  <c:v>114.6882963308403</c:v>
                </c:pt>
                <c:pt idx="790">
                  <c:v>116.92426841658171</c:v>
                </c:pt>
                <c:pt idx="791">
                  <c:v>113.31256974400797</c:v>
                </c:pt>
                <c:pt idx="792">
                  <c:v>113.40250828600428</c:v>
                </c:pt>
                <c:pt idx="793">
                  <c:v>113.12603054579341</c:v>
                </c:pt>
                <c:pt idx="794">
                  <c:v>111.21483652837199</c:v>
                </c:pt>
                <c:pt idx="795">
                  <c:v>111.57958728202364</c:v>
                </c:pt>
                <c:pt idx="796">
                  <c:v>113.25844006595463</c:v>
                </c:pt>
                <c:pt idx="797">
                  <c:v>113.26760047300982</c:v>
                </c:pt>
                <c:pt idx="798">
                  <c:v>112.50062457320801</c:v>
                </c:pt>
                <c:pt idx="799">
                  <c:v>111.40803784080849</c:v>
                </c:pt>
                <c:pt idx="800">
                  <c:v>111.82608550823574</c:v>
                </c:pt>
                <c:pt idx="801">
                  <c:v>109.75250245665433</c:v>
                </c:pt>
                <c:pt idx="802">
                  <c:v>109.75833180659852</c:v>
                </c:pt>
                <c:pt idx="803">
                  <c:v>109.44937625955565</c:v>
                </c:pt>
                <c:pt idx="804">
                  <c:v>110.0889392248627</c:v>
                </c:pt>
                <c:pt idx="805">
                  <c:v>106.85614829866229</c:v>
                </c:pt>
                <c:pt idx="806">
                  <c:v>106.45891973817864</c:v>
                </c:pt>
                <c:pt idx="807">
                  <c:v>106.59382755117308</c:v>
                </c:pt>
                <c:pt idx="808">
                  <c:v>107.00271481154515</c:v>
                </c:pt>
                <c:pt idx="809">
                  <c:v>105.054879165903</c:v>
                </c:pt>
                <c:pt idx="810">
                  <c:v>105.16980063623161</c:v>
                </c:pt>
                <c:pt idx="811">
                  <c:v>104.28790326610118</c:v>
                </c:pt>
                <c:pt idx="812">
                  <c:v>106.06918605619462</c:v>
                </c:pt>
                <c:pt idx="813">
                  <c:v>103.65333688646061</c:v>
                </c:pt>
                <c:pt idx="814">
                  <c:v>104.37784180809749</c:v>
                </c:pt>
                <c:pt idx="815">
                  <c:v>103.22029946203396</c:v>
                </c:pt>
                <c:pt idx="816">
                  <c:v>102.28843623523892</c:v>
                </c:pt>
                <c:pt idx="817">
                  <c:v>101.17336486734034</c:v>
                </c:pt>
                <c:pt idx="818">
                  <c:v>103.70913209306941</c:v>
                </c:pt>
                <c:pt idx="819">
                  <c:v>104.95494745257376</c:v>
                </c:pt>
                <c:pt idx="820">
                  <c:v>104.98492696657254</c:v>
                </c:pt>
                <c:pt idx="821">
                  <c:v>104.92829899568599</c:v>
                </c:pt>
                <c:pt idx="822">
                  <c:v>106.34399826785003</c:v>
                </c:pt>
                <c:pt idx="823">
                  <c:v>106.77620292799891</c:v>
                </c:pt>
                <c:pt idx="824">
                  <c:v>104.30705684448931</c:v>
                </c:pt>
                <c:pt idx="825">
                  <c:v>104.74175979747143</c:v>
                </c:pt>
                <c:pt idx="826">
                  <c:v>102.79392415182929</c:v>
                </c:pt>
                <c:pt idx="827">
                  <c:v>105.19478356456393</c:v>
                </c:pt>
                <c:pt idx="828">
                  <c:v>106.9485851334918</c:v>
                </c:pt>
                <c:pt idx="829">
                  <c:v>105.54287903266071</c:v>
                </c:pt>
                <c:pt idx="830">
                  <c:v>104.95411468829602</c:v>
                </c:pt>
                <c:pt idx="831">
                  <c:v>104.01309105444582</c:v>
                </c:pt>
                <c:pt idx="832">
                  <c:v>107.00021651871192</c:v>
                </c:pt>
                <c:pt idx="833">
                  <c:v>107.35913792241941</c:v>
                </c:pt>
                <c:pt idx="834">
                  <c:v>105.43378691227633</c:v>
                </c:pt>
                <c:pt idx="835">
                  <c:v>107.95289885245053</c:v>
                </c:pt>
                <c:pt idx="836">
                  <c:v>108.7023867024197</c:v>
                </c:pt>
                <c:pt idx="837">
                  <c:v>107.3924484935291</c:v>
                </c:pt>
                <c:pt idx="838">
                  <c:v>107.07932912509753</c:v>
                </c:pt>
                <c:pt idx="839">
                  <c:v>107.67059176229546</c:v>
                </c:pt>
                <c:pt idx="840">
                  <c:v>108.10945853666632</c:v>
                </c:pt>
                <c:pt idx="841">
                  <c:v>106.47724055228898</c:v>
                </c:pt>
                <c:pt idx="842">
                  <c:v>105.48541829749642</c:v>
                </c:pt>
                <c:pt idx="843">
                  <c:v>106.1391382555251</c:v>
                </c:pt>
                <c:pt idx="844">
                  <c:v>106.40395729584755</c:v>
                </c:pt>
                <c:pt idx="845">
                  <c:v>107.60979997002021</c:v>
                </c:pt>
                <c:pt idx="846">
                  <c:v>105.49790976166258</c:v>
                </c:pt>
                <c:pt idx="847">
                  <c:v>105.88681067936882</c:v>
                </c:pt>
                <c:pt idx="848">
                  <c:v>106.73206642127852</c:v>
                </c:pt>
                <c:pt idx="849">
                  <c:v>108.31598407754674</c:v>
                </c:pt>
                <c:pt idx="850">
                  <c:v>106.82949984177451</c:v>
                </c:pt>
                <c:pt idx="851">
                  <c:v>106.39229859595916</c:v>
                </c:pt>
                <c:pt idx="852">
                  <c:v>106.17577988374586</c:v>
                </c:pt>
                <c:pt idx="853">
                  <c:v>102.99878416415426</c:v>
                </c:pt>
                <c:pt idx="854">
                  <c:v>103.45513898835772</c:v>
                </c:pt>
                <c:pt idx="855">
                  <c:v>105.57702236804826</c:v>
                </c:pt>
                <c:pt idx="856">
                  <c:v>101.97281857397424</c:v>
                </c:pt>
                <c:pt idx="857">
                  <c:v>102.59989007511514</c:v>
                </c:pt>
                <c:pt idx="858">
                  <c:v>104.01642211155689</c:v>
                </c:pt>
                <c:pt idx="859">
                  <c:v>104.23710464515892</c:v>
                </c:pt>
                <c:pt idx="860">
                  <c:v>99.32379540647203</c:v>
                </c:pt>
                <c:pt idx="861">
                  <c:v>101.06343998267829</c:v>
                </c:pt>
                <c:pt idx="862">
                  <c:v>96.300028313985237</c:v>
                </c:pt>
                <c:pt idx="863">
                  <c:v>100.47384287403585</c:v>
                </c:pt>
                <c:pt idx="864">
                  <c:v>104.51857897103622</c:v>
                </c:pt>
                <c:pt idx="865">
                  <c:v>100.52214320214496</c:v>
                </c:pt>
                <c:pt idx="866">
                  <c:v>98.950717010042908</c:v>
                </c:pt>
                <c:pt idx="867">
                  <c:v>98.75501740477317</c:v>
                </c:pt>
                <c:pt idx="868">
                  <c:v>100.69619093619337</c:v>
                </c:pt>
                <c:pt idx="869">
                  <c:v>101.01513965456914</c:v>
                </c:pt>
                <c:pt idx="870">
                  <c:v>92.136206925267516</c:v>
                </c:pt>
                <c:pt idx="871">
                  <c:v>97.130294298895507</c:v>
                </c:pt>
                <c:pt idx="872">
                  <c:v>96.688929231691432</c:v>
                </c:pt>
                <c:pt idx="873">
                  <c:v>92.793257940407159</c:v>
                </c:pt>
                <c:pt idx="874">
                  <c:v>91.53994770240314</c:v>
                </c:pt>
                <c:pt idx="875">
                  <c:v>88.014023750437005</c:v>
                </c:pt>
                <c:pt idx="876">
                  <c:v>82.962475641644673</c:v>
                </c:pt>
                <c:pt idx="877">
                  <c:v>82.022284772072226</c:v>
                </c:pt>
                <c:pt idx="878">
                  <c:v>75.774887160440173</c:v>
                </c:pt>
                <c:pt idx="879">
                  <c:v>74.883829383254593</c:v>
                </c:pt>
                <c:pt idx="880">
                  <c:v>83.555403807398093</c:v>
                </c:pt>
                <c:pt idx="881">
                  <c:v>83.110707683083049</c:v>
                </c:pt>
                <c:pt idx="882">
                  <c:v>75.601672190669547</c:v>
                </c:pt>
                <c:pt idx="883">
                  <c:v>78.815309538481856</c:v>
                </c:pt>
                <c:pt idx="884">
                  <c:v>78.32564414316866</c:v>
                </c:pt>
                <c:pt idx="885">
                  <c:v>82.060591928848439</c:v>
                </c:pt>
                <c:pt idx="886">
                  <c:v>79.533152345896781</c:v>
                </c:pt>
                <c:pt idx="887">
                  <c:v>74.680634899485185</c:v>
                </c:pt>
                <c:pt idx="888">
                  <c:v>75.624156826168601</c:v>
                </c:pt>
                <c:pt idx="889">
                  <c:v>73.014273579720339</c:v>
                </c:pt>
                <c:pt idx="890">
                  <c:v>70.695025066204579</c:v>
                </c:pt>
                <c:pt idx="891">
                  <c:v>78.322313086057648</c:v>
                </c:pt>
                <c:pt idx="892">
                  <c:v>77.454572708648882</c:v>
                </c:pt>
                <c:pt idx="893">
                  <c:v>79.453206975233371</c:v>
                </c:pt>
                <c:pt idx="894">
                  <c:v>80.674039406405399</c:v>
                </c:pt>
                <c:pt idx="895">
                  <c:v>80.47001215835823</c:v>
                </c:pt>
                <c:pt idx="896">
                  <c:v>83.75526723405649</c:v>
                </c:pt>
                <c:pt idx="897">
                  <c:v>79.343282090571208</c:v>
                </c:pt>
                <c:pt idx="898">
                  <c:v>75.355173964457393</c:v>
                </c:pt>
                <c:pt idx="899">
                  <c:v>77.529521493645788</c:v>
                </c:pt>
                <c:pt idx="900">
                  <c:v>76.548525174463904</c:v>
                </c:pt>
                <c:pt idx="901">
                  <c:v>74.861344747755481</c:v>
                </c:pt>
                <c:pt idx="902">
                  <c:v>70.976499392081863</c:v>
                </c:pt>
                <c:pt idx="903">
                  <c:v>75.888975866490995</c:v>
                </c:pt>
                <c:pt idx="904">
                  <c:v>72.724471611065553</c:v>
                </c:pt>
                <c:pt idx="905">
                  <c:v>70.847420929031628</c:v>
                </c:pt>
                <c:pt idx="906">
                  <c:v>71.544444629502976</c:v>
                </c:pt>
                <c:pt idx="907">
                  <c:v>67.16910111423843</c:v>
                </c:pt>
                <c:pt idx="908">
                  <c:v>62.660515314534912</c:v>
                </c:pt>
                <c:pt idx="909">
                  <c:v>66.623640512316399</c:v>
                </c:pt>
                <c:pt idx="910">
                  <c:v>70.935693942472454</c:v>
                </c:pt>
                <c:pt idx="911">
                  <c:v>71.400376409453358</c:v>
                </c:pt>
                <c:pt idx="912">
                  <c:v>73.92281940673854</c:v>
                </c:pt>
                <c:pt idx="913">
                  <c:v>74.635665628487004</c:v>
                </c:pt>
                <c:pt idx="914">
                  <c:v>67.971053113705466</c:v>
                </c:pt>
                <c:pt idx="915">
                  <c:v>70.685864659149388</c:v>
                </c:pt>
                <c:pt idx="916">
                  <c:v>72.512116720240982</c:v>
                </c:pt>
                <c:pt idx="917">
                  <c:v>70.386902283439483</c:v>
                </c:pt>
                <c:pt idx="918">
                  <c:v>72.955980080278323</c:v>
                </c:pt>
                <c:pt idx="919">
                  <c:v>75.756566346329848</c:v>
                </c:pt>
                <c:pt idx="920">
                  <c:v>74.005263070235173</c:v>
                </c:pt>
                <c:pt idx="921">
                  <c:v>74.885494911810085</c:v>
                </c:pt>
                <c:pt idx="922">
                  <c:v>72.749454539397902</c:v>
                </c:pt>
                <c:pt idx="923">
                  <c:v>73.260771805932436</c:v>
                </c:pt>
                <c:pt idx="924">
                  <c:v>72.331406871970643</c:v>
                </c:pt>
                <c:pt idx="925">
                  <c:v>76.046368314984576</c:v>
                </c:pt>
                <c:pt idx="926">
                  <c:v>75.316866807681237</c:v>
                </c:pt>
                <c:pt idx="927">
                  <c:v>73.722955980080101</c:v>
                </c:pt>
                <c:pt idx="928">
                  <c:v>73.939474692293402</c:v>
                </c:pt>
                <c:pt idx="929">
                  <c:v>72.586232740960156</c:v>
                </c:pt>
                <c:pt idx="930">
                  <c:v>71.880881397711377</c:v>
                </c:pt>
                <c:pt idx="931">
                  <c:v>72.296430772305413</c:v>
                </c:pt>
                <c:pt idx="932">
                  <c:v>72.683666161456145</c:v>
                </c:pt>
                <c:pt idx="933">
                  <c:v>72.402191835578819</c:v>
                </c:pt>
                <c:pt idx="934">
                  <c:v>74.169317632950609</c:v>
                </c:pt>
                <c:pt idx="935">
                  <c:v>75.219433387185219</c:v>
                </c:pt>
                <c:pt idx="936">
                  <c:v>77.596975400143023</c:v>
                </c:pt>
                <c:pt idx="937">
                  <c:v>77.234722939324584</c:v>
                </c:pt>
                <c:pt idx="938">
                  <c:v>77.838477040688645</c:v>
                </c:pt>
                <c:pt idx="939">
                  <c:v>75.502573241618009</c:v>
                </c:pt>
                <c:pt idx="940">
                  <c:v>75.759064639163029</c:v>
                </c:pt>
                <c:pt idx="941">
                  <c:v>74.145167468896062</c:v>
                </c:pt>
                <c:pt idx="942">
                  <c:v>72.472144034909277</c:v>
                </c:pt>
                <c:pt idx="943">
                  <c:v>72.599556969404048</c:v>
                </c:pt>
                <c:pt idx="944">
                  <c:v>70.170383571226139</c:v>
                </c:pt>
                <c:pt idx="945">
                  <c:v>70.263653170333413</c:v>
                </c:pt>
                <c:pt idx="946">
                  <c:v>70.794956779533791</c:v>
                </c:pt>
                <c:pt idx="947">
                  <c:v>67.055845172465311</c:v>
                </c:pt>
                <c:pt idx="948">
                  <c:v>69.972185673123178</c:v>
                </c:pt>
                <c:pt idx="949">
                  <c:v>68.911243983277913</c:v>
                </c:pt>
                <c:pt idx="950">
                  <c:v>69.281824086873797</c:v>
                </c:pt>
                <c:pt idx="951">
                  <c:v>69.66656118319132</c:v>
                </c:pt>
                <c:pt idx="952">
                  <c:v>70.427707733048933</c:v>
                </c:pt>
                <c:pt idx="953">
                  <c:v>72.791092753285099</c:v>
                </c:pt>
                <c:pt idx="954">
                  <c:v>70.380240169217544</c:v>
                </c:pt>
                <c:pt idx="955">
                  <c:v>68.776336170283486</c:v>
                </c:pt>
                <c:pt idx="956">
                  <c:v>68.739694542062779</c:v>
                </c:pt>
                <c:pt idx="957">
                  <c:v>69.828117453073588</c:v>
                </c:pt>
                <c:pt idx="958">
                  <c:v>69.305141486650655</c:v>
                </c:pt>
                <c:pt idx="959">
                  <c:v>70.439366432937362</c:v>
                </c:pt>
                <c:pt idx="960">
                  <c:v>72.333905164803923</c:v>
                </c:pt>
                <c:pt idx="961">
                  <c:v>72.441331756632835</c:v>
                </c:pt>
                <c:pt idx="962">
                  <c:v>68.88292999783468</c:v>
                </c:pt>
                <c:pt idx="963">
                  <c:v>69.430888892589934</c:v>
                </c:pt>
                <c:pt idx="964">
                  <c:v>69.551639712862752</c:v>
                </c:pt>
                <c:pt idx="965">
                  <c:v>68.856281540946895</c:v>
                </c:pt>
                <c:pt idx="966">
                  <c:v>65.71925850668697</c:v>
                </c:pt>
                <c:pt idx="967">
                  <c:v>65.65680118585621</c:v>
                </c:pt>
                <c:pt idx="968">
                  <c:v>64.867340650555334</c:v>
                </c:pt>
                <c:pt idx="969">
                  <c:v>64.127013207641312</c:v>
                </c:pt>
                <c:pt idx="970">
                  <c:v>61.901867057510579</c:v>
                </c:pt>
                <c:pt idx="971">
                  <c:v>64.384337369464063</c:v>
                </c:pt>
                <c:pt idx="972">
                  <c:v>63.698139604603384</c:v>
                </c:pt>
                <c:pt idx="973">
                  <c:v>62.692993121366939</c:v>
                </c:pt>
                <c:pt idx="974">
                  <c:v>61.215669292649906</c:v>
                </c:pt>
                <c:pt idx="975">
                  <c:v>58.361786112822799</c:v>
                </c:pt>
                <c:pt idx="976">
                  <c:v>57.987874952115952</c:v>
                </c:pt>
                <c:pt idx="977">
                  <c:v>59.365267067503773</c:v>
                </c:pt>
                <c:pt idx="978">
                  <c:v>56.84032577738536</c:v>
                </c:pt>
                <c:pt idx="979">
                  <c:v>56.909445212438079</c:v>
                </c:pt>
                <c:pt idx="980">
                  <c:v>56.339001682183749</c:v>
                </c:pt>
                <c:pt idx="981">
                  <c:v>59.92571742642518</c:v>
                </c:pt>
                <c:pt idx="982">
                  <c:v>60.072283939308043</c:v>
                </c:pt>
                <c:pt idx="983">
                  <c:v>62.51894538731856</c:v>
                </c:pt>
                <c:pt idx="984">
                  <c:v>63.002781432687563</c:v>
                </c:pt>
                <c:pt idx="985">
                  <c:v>62.78126613480778</c:v>
                </c:pt>
                <c:pt idx="986">
                  <c:v>64.799053979780382</c:v>
                </c:pt>
                <c:pt idx="987">
                  <c:v>66.150630402558136</c:v>
                </c:pt>
                <c:pt idx="988">
                  <c:v>65.292050432204547</c:v>
                </c:pt>
                <c:pt idx="989">
                  <c:v>64.001265801702047</c:v>
                </c:pt>
                <c:pt idx="990">
                  <c:v>68.529837944071417</c:v>
                </c:pt>
                <c:pt idx="991">
                  <c:v>67.130793957462288</c:v>
                </c:pt>
                <c:pt idx="992">
                  <c:v>67.777019036991291</c:v>
                </c:pt>
                <c:pt idx="993">
                  <c:v>69.357605636148548</c:v>
                </c:pt>
                <c:pt idx="994">
                  <c:v>67.948568478206482</c:v>
                </c:pt>
                <c:pt idx="995">
                  <c:v>65.582685165137079</c:v>
                </c:pt>
                <c:pt idx="996">
                  <c:v>66.443763428323905</c:v>
                </c:pt>
                <c:pt idx="997">
                  <c:v>67.543845039223129</c:v>
                </c:pt>
                <c:pt idx="998">
                  <c:v>69.484185806365574</c:v>
                </c:pt>
                <c:pt idx="999">
                  <c:v>70.16039039989333</c:v>
                </c:pt>
                <c:pt idx="1000">
                  <c:v>69.575789876917369</c:v>
                </c:pt>
                <c:pt idx="1001">
                  <c:v>67.916090671374491</c:v>
                </c:pt>
                <c:pt idx="1002">
                  <c:v>68.716377142286035</c:v>
                </c:pt>
                <c:pt idx="1003">
                  <c:v>71.331256974400759</c:v>
                </c:pt>
                <c:pt idx="1004">
                  <c:v>71.511966822671098</c:v>
                </c:pt>
                <c:pt idx="1005">
                  <c:v>70.07711397211898</c:v>
                </c:pt>
                <c:pt idx="1006">
                  <c:v>70.956513049416159</c:v>
                </c:pt>
                <c:pt idx="1007">
                  <c:v>72.059092953148607</c:v>
                </c:pt>
                <c:pt idx="1008">
                  <c:v>72.417181592578331</c:v>
                </c:pt>
                <c:pt idx="1009">
                  <c:v>69.318465715094618</c:v>
                </c:pt>
                <c:pt idx="1010">
                  <c:v>70.79162572242295</c:v>
                </c:pt>
                <c:pt idx="1011">
                  <c:v>70.247830649056411</c:v>
                </c:pt>
                <c:pt idx="1012">
                  <c:v>70.944854349527745</c:v>
                </c:pt>
                <c:pt idx="1013">
                  <c:v>72.13654003097875</c:v>
                </c:pt>
                <c:pt idx="1014">
                  <c:v>71.41036958078638</c:v>
                </c:pt>
                <c:pt idx="1015">
                  <c:v>71.214669975516642</c:v>
                </c:pt>
                <c:pt idx="1016">
                  <c:v>72.753618360786717</c:v>
                </c:pt>
                <c:pt idx="1017">
                  <c:v>72.684498925734005</c:v>
                </c:pt>
                <c:pt idx="1018">
                  <c:v>73.076730900551212</c:v>
                </c:pt>
                <c:pt idx="1019">
                  <c:v>75.551706334005019</c:v>
                </c:pt>
                <c:pt idx="1020">
                  <c:v>75.265235422461245</c:v>
                </c:pt>
                <c:pt idx="1021">
                  <c:v>76.575173631351845</c:v>
                </c:pt>
                <c:pt idx="1022">
                  <c:v>75.564197798171193</c:v>
                </c:pt>
                <c:pt idx="1023">
                  <c:v>77.382954980763088</c:v>
                </c:pt>
                <c:pt idx="1024">
                  <c:v>75.718259189553748</c:v>
                </c:pt>
                <c:pt idx="1025">
                  <c:v>75.64414316883456</c:v>
                </c:pt>
                <c:pt idx="1026">
                  <c:v>73.609700038307082</c:v>
                </c:pt>
                <c:pt idx="1027">
                  <c:v>74.371679352442428</c:v>
                </c:pt>
                <c:pt idx="1028">
                  <c:v>73.523092553421762</c:v>
                </c:pt>
                <c:pt idx="1029">
                  <c:v>75.757399110607679</c:v>
                </c:pt>
                <c:pt idx="1030">
                  <c:v>75.625822354724193</c:v>
                </c:pt>
                <c:pt idx="1031">
                  <c:v>75.237754201295701</c:v>
                </c:pt>
                <c:pt idx="1032">
                  <c:v>73.976949084791983</c:v>
                </c:pt>
                <c:pt idx="1033">
                  <c:v>73.866191435852087</c:v>
                </c:pt>
                <c:pt idx="1034">
                  <c:v>75.809030495827784</c:v>
                </c:pt>
                <c:pt idx="1035">
                  <c:v>74.370846588164682</c:v>
                </c:pt>
                <c:pt idx="1036">
                  <c:v>75.517562998617549</c:v>
                </c:pt>
                <c:pt idx="1037">
                  <c:v>76.542695824519853</c:v>
                </c:pt>
                <c:pt idx="1038">
                  <c:v>78.518845455605287</c:v>
                </c:pt>
                <c:pt idx="1039">
                  <c:v>78.67457237554332</c:v>
                </c:pt>
                <c:pt idx="1040">
                  <c:v>77.593644343032196</c:v>
                </c:pt>
                <c:pt idx="1041">
                  <c:v>78.48470212021779</c:v>
                </c:pt>
                <c:pt idx="1042">
                  <c:v>78.287336986392575</c:v>
                </c:pt>
                <c:pt idx="1043">
                  <c:v>78.208224380006939</c:v>
                </c:pt>
                <c:pt idx="1044">
                  <c:v>78.482203827384552</c:v>
                </c:pt>
                <c:pt idx="1045">
                  <c:v>78.209057144284685</c:v>
                </c:pt>
                <c:pt idx="1046">
                  <c:v>78.687063839709467</c:v>
                </c:pt>
                <c:pt idx="1047">
                  <c:v>78.79698872437163</c:v>
                </c:pt>
                <c:pt idx="1048">
                  <c:v>76.924101863726392</c:v>
                </c:pt>
                <c:pt idx="1049">
                  <c:v>75.945603837377732</c:v>
                </c:pt>
                <c:pt idx="1050">
                  <c:v>75.840675538382058</c:v>
                </c:pt>
                <c:pt idx="1051">
                  <c:v>76.478572975133602</c:v>
                </c:pt>
                <c:pt idx="1052">
                  <c:v>76.716743558568268</c:v>
                </c:pt>
                <c:pt idx="1053">
                  <c:v>74.369181059609218</c:v>
                </c:pt>
                <c:pt idx="1054">
                  <c:v>74.540730500824395</c:v>
                </c:pt>
                <c:pt idx="1055">
                  <c:v>75.027064839026622</c:v>
                </c:pt>
                <c:pt idx="1056">
                  <c:v>76.635965423627141</c:v>
                </c:pt>
                <c:pt idx="1057">
                  <c:v>76.522709481854022</c:v>
                </c:pt>
                <c:pt idx="1058">
                  <c:v>77.216402125214401</c:v>
                </c:pt>
                <c:pt idx="1059">
                  <c:v>76.557685581519266</c:v>
                </c:pt>
                <c:pt idx="1060">
                  <c:v>76.891624056894429</c:v>
                </c:pt>
                <c:pt idx="1061">
                  <c:v>74.650655385486544</c:v>
                </c:pt>
                <c:pt idx="1062">
                  <c:v>74.842191169367553</c:v>
                </c:pt>
                <c:pt idx="1063">
                  <c:v>73.369031162039235</c:v>
                </c:pt>
                <c:pt idx="1064">
                  <c:v>73.246614813210925</c:v>
                </c:pt>
                <c:pt idx="1065">
                  <c:v>73.506437267866914</c:v>
                </c:pt>
                <c:pt idx="1066">
                  <c:v>73.21080594926795</c:v>
                </c:pt>
                <c:pt idx="1067">
                  <c:v>75.036225246081784</c:v>
                </c:pt>
                <c:pt idx="1068">
                  <c:v>75.43511933512093</c:v>
                </c:pt>
                <c:pt idx="1069">
                  <c:v>77.670258656584579</c:v>
                </c:pt>
                <c:pt idx="1070">
                  <c:v>78.341466664445889</c:v>
                </c:pt>
                <c:pt idx="1071">
                  <c:v>78.311487150447135</c:v>
                </c:pt>
                <c:pt idx="1072">
                  <c:v>79.206708749021459</c:v>
                </c:pt>
                <c:pt idx="1073">
                  <c:v>79.494012424842978</c:v>
                </c:pt>
                <c:pt idx="1074">
                  <c:v>79.451541446678064</c:v>
                </c:pt>
                <c:pt idx="1075">
                  <c:v>81.301943671824205</c:v>
                </c:pt>
                <c:pt idx="1076">
                  <c:v>81.549274662314033</c:v>
                </c:pt>
                <c:pt idx="1077">
                  <c:v>81.792441831415147</c:v>
                </c:pt>
                <c:pt idx="1078">
                  <c:v>81.579254176312801</c:v>
                </c:pt>
                <c:pt idx="1079">
                  <c:v>81.20700854416144</c:v>
                </c:pt>
                <c:pt idx="1080">
                  <c:v>82.173015106343939</c:v>
                </c:pt>
                <c:pt idx="1081">
                  <c:v>82.233806898619221</c:v>
                </c:pt>
                <c:pt idx="1082">
                  <c:v>83.4954447794007</c:v>
                </c:pt>
                <c:pt idx="1083">
                  <c:v>83.746939591279229</c:v>
                </c:pt>
                <c:pt idx="1084">
                  <c:v>83.50293965790037</c:v>
                </c:pt>
                <c:pt idx="1085">
                  <c:v>83.03326060525302</c:v>
                </c:pt>
                <c:pt idx="1086">
                  <c:v>84.149164737429373</c:v>
                </c:pt>
                <c:pt idx="1087">
                  <c:v>83.867690411552047</c:v>
                </c:pt>
                <c:pt idx="1088">
                  <c:v>82.805915957429036</c:v>
                </c:pt>
                <c:pt idx="1089">
                  <c:v>83.760263819723136</c:v>
                </c:pt>
                <c:pt idx="1090">
                  <c:v>84.336536699921666</c:v>
                </c:pt>
                <c:pt idx="1091">
                  <c:v>83.617028363951249</c:v>
                </c:pt>
                <c:pt idx="1092">
                  <c:v>81.588414583367978</c:v>
                </c:pt>
                <c:pt idx="1093">
                  <c:v>82.416182275445067</c:v>
                </c:pt>
                <c:pt idx="1094">
                  <c:v>82.981629220032929</c:v>
                </c:pt>
                <c:pt idx="1095">
                  <c:v>83.89017504705113</c:v>
                </c:pt>
                <c:pt idx="1096">
                  <c:v>85.45244083209802</c:v>
                </c:pt>
                <c:pt idx="1097">
                  <c:v>85.405806032544362</c:v>
                </c:pt>
                <c:pt idx="1098">
                  <c:v>85.608167752036053</c:v>
                </c:pt>
                <c:pt idx="1099">
                  <c:v>85.618160923368947</c:v>
                </c:pt>
                <c:pt idx="1100">
                  <c:v>85.856331506803613</c:v>
                </c:pt>
                <c:pt idx="1101">
                  <c:v>85.685614829866196</c:v>
                </c:pt>
                <c:pt idx="1102">
                  <c:v>84.993587715061295</c:v>
                </c:pt>
                <c:pt idx="1103">
                  <c:v>83.113205975916372</c:v>
                </c:pt>
                <c:pt idx="1104">
                  <c:v>82.839226528538745</c:v>
                </c:pt>
                <c:pt idx="1105">
                  <c:v>83.546243400343016</c:v>
                </c:pt>
                <c:pt idx="1106">
                  <c:v>84.642161189853525</c:v>
                </c:pt>
                <c:pt idx="1107">
                  <c:v>85.390816275544978</c:v>
                </c:pt>
                <c:pt idx="1108">
                  <c:v>86.055362169184306</c:v>
                </c:pt>
                <c:pt idx="1109">
                  <c:v>86.952249296314108</c:v>
                </c:pt>
                <c:pt idx="1110">
                  <c:v>86.834829533152259</c:v>
                </c:pt>
                <c:pt idx="1111">
                  <c:v>87.385286720740723</c:v>
                </c:pt>
                <c:pt idx="1112">
                  <c:v>87.659266168118364</c:v>
                </c:pt>
                <c:pt idx="1113">
                  <c:v>89.002514948118687</c:v>
                </c:pt>
                <c:pt idx="1114">
                  <c:v>88.730201029296552</c:v>
                </c:pt>
                <c:pt idx="1115">
                  <c:v>88.964207791342488</c:v>
                </c:pt>
                <c:pt idx="1116">
                  <c:v>88.661081594243839</c:v>
                </c:pt>
                <c:pt idx="1117">
                  <c:v>89.244016588664309</c:v>
                </c:pt>
                <c:pt idx="1118">
                  <c:v>88.345463932979015</c:v>
                </c:pt>
                <c:pt idx="1119">
                  <c:v>87.505204776735795</c:v>
                </c:pt>
                <c:pt idx="1120">
                  <c:v>86.972235638979939</c:v>
                </c:pt>
                <c:pt idx="1121">
                  <c:v>88.521177195582922</c:v>
                </c:pt>
                <c:pt idx="1122">
                  <c:v>88.323812061757707</c:v>
                </c:pt>
                <c:pt idx="1123">
                  <c:v>88.029846271714248</c:v>
                </c:pt>
                <c:pt idx="1124">
                  <c:v>85.762229143418594</c:v>
                </c:pt>
                <c:pt idx="1125">
                  <c:v>85.375826518545594</c:v>
                </c:pt>
                <c:pt idx="1126">
                  <c:v>86.645792042104503</c:v>
                </c:pt>
                <c:pt idx="1127">
                  <c:v>87.833313902166779</c:v>
                </c:pt>
                <c:pt idx="1128">
                  <c:v>88.071484485601431</c:v>
                </c:pt>
                <c:pt idx="1129">
                  <c:v>88.729368265018834</c:v>
                </c:pt>
                <c:pt idx="1130">
                  <c:v>89.229859595942699</c:v>
                </c:pt>
                <c:pt idx="1131">
                  <c:v>89.621258806482189</c:v>
                </c:pt>
                <c:pt idx="1132">
                  <c:v>89.371429523159108</c:v>
                </c:pt>
                <c:pt idx="1133">
                  <c:v>90.939524658150177</c:v>
                </c:pt>
                <c:pt idx="1134">
                  <c:v>91.317599640245732</c:v>
                </c:pt>
                <c:pt idx="1135">
                  <c:v>90.578104961609483</c:v>
                </c:pt>
                <c:pt idx="1136">
                  <c:v>91.430022817741133</c:v>
                </c:pt>
                <c:pt idx="1137">
                  <c:v>90.859579287486795</c:v>
                </c:pt>
                <c:pt idx="1138">
                  <c:v>90.05512899518655</c:v>
                </c:pt>
                <c:pt idx="1139">
                  <c:v>91.013640678869379</c:v>
                </c:pt>
                <c:pt idx="1140">
                  <c:v>89.90523142519271</c:v>
                </c:pt>
                <c:pt idx="1141">
                  <c:v>88.851784613847144</c:v>
                </c:pt>
                <c:pt idx="1142">
                  <c:v>88.556986059525926</c:v>
                </c:pt>
                <c:pt idx="1143">
                  <c:v>86.826501890374857</c:v>
                </c:pt>
                <c:pt idx="1144">
                  <c:v>88.781832414516671</c:v>
                </c:pt>
                <c:pt idx="1145">
                  <c:v>86.290201695508017</c:v>
                </c:pt>
                <c:pt idx="1146">
                  <c:v>86.847320997318448</c:v>
                </c:pt>
                <c:pt idx="1147">
                  <c:v>87.058010359587556</c:v>
                </c:pt>
                <c:pt idx="1148">
                  <c:v>87.148781665861591</c:v>
                </c:pt>
                <c:pt idx="1149">
                  <c:v>88.825136156959346</c:v>
                </c:pt>
                <c:pt idx="1150">
                  <c:v>89.047484219116868</c:v>
                </c:pt>
                <c:pt idx="1151">
                  <c:v>91.027797671590989</c:v>
                </c:pt>
                <c:pt idx="1152">
                  <c:v>91.021968321646796</c:v>
                </c:pt>
                <c:pt idx="1153">
                  <c:v>91.479988674405746</c:v>
                </c:pt>
                <c:pt idx="1154">
                  <c:v>90.541463333388776</c:v>
                </c:pt>
                <c:pt idx="1155">
                  <c:v>91.061108242700755</c:v>
                </c:pt>
                <c:pt idx="1156">
                  <c:v>92.378541330091025</c:v>
                </c:pt>
                <c:pt idx="1157">
                  <c:v>92.463483286420868</c:v>
                </c:pt>
                <c:pt idx="1158">
                  <c:v>92.420179543978193</c:v>
                </c:pt>
                <c:pt idx="1159">
                  <c:v>91.17936077014032</c:v>
                </c:pt>
                <c:pt idx="1160">
                  <c:v>90.886227744374594</c:v>
                </c:pt>
                <c:pt idx="1161">
                  <c:v>92.123715461101497</c:v>
                </c:pt>
                <c:pt idx="1162">
                  <c:v>92.074582368714644</c:v>
                </c:pt>
                <c:pt idx="1163">
                  <c:v>92.489298979030934</c:v>
                </c:pt>
                <c:pt idx="1164">
                  <c:v>90.895388151429785</c:v>
                </c:pt>
                <c:pt idx="1165">
                  <c:v>91.240152562415631</c:v>
                </c:pt>
                <c:pt idx="1166">
                  <c:v>92.341899701870332</c:v>
                </c:pt>
                <c:pt idx="1167">
                  <c:v>92.373544744424592</c:v>
                </c:pt>
                <c:pt idx="1168">
                  <c:v>91.597408437567609</c:v>
                </c:pt>
                <c:pt idx="1169">
                  <c:v>92.102063589880188</c:v>
                </c:pt>
                <c:pt idx="1170">
                  <c:v>91.874718942056205</c:v>
                </c:pt>
                <c:pt idx="1171">
                  <c:v>90.932862543928266</c:v>
                </c:pt>
                <c:pt idx="1172">
                  <c:v>91.266801019303429</c:v>
                </c:pt>
                <c:pt idx="1173">
                  <c:v>91.799770157059285</c:v>
                </c:pt>
                <c:pt idx="1174">
                  <c:v>92.137872453823192</c:v>
                </c:pt>
                <c:pt idx="1175">
                  <c:v>92.779100947685691</c:v>
                </c:pt>
                <c:pt idx="1176">
                  <c:v>92.264452624040203</c:v>
                </c:pt>
                <c:pt idx="1177">
                  <c:v>92.368548158758131</c:v>
                </c:pt>
                <c:pt idx="1178">
                  <c:v>91.277626954914084</c:v>
                </c:pt>
                <c:pt idx="1179">
                  <c:v>91.809763328392208</c:v>
                </c:pt>
                <c:pt idx="1180">
                  <c:v>92.774104362019216</c:v>
                </c:pt>
                <c:pt idx="1181">
                  <c:v>93.104711780283395</c:v>
                </c:pt>
                <c:pt idx="1182">
                  <c:v>93.318732199663486</c:v>
                </c:pt>
                <c:pt idx="1183">
                  <c:v>93.809230359254443</c:v>
                </c:pt>
                <c:pt idx="1184">
                  <c:v>93.9174897153611</c:v>
                </c:pt>
                <c:pt idx="1185">
                  <c:v>93.785912959477628</c:v>
                </c:pt>
                <c:pt idx="1186">
                  <c:v>93.804233773587995</c:v>
                </c:pt>
                <c:pt idx="1187">
                  <c:v>92.861544611182282</c:v>
                </c:pt>
                <c:pt idx="1188">
                  <c:v>94.351359904065504</c:v>
                </c:pt>
                <c:pt idx="1189">
                  <c:v>94.645325694108962</c:v>
                </c:pt>
                <c:pt idx="1190">
                  <c:v>94.696957079329067</c:v>
                </c:pt>
                <c:pt idx="1191">
                  <c:v>95.075864825702382</c:v>
                </c:pt>
                <c:pt idx="1192">
                  <c:v>95.349844273079995</c:v>
                </c:pt>
                <c:pt idx="1193">
                  <c:v>95.516397128628711</c:v>
                </c:pt>
                <c:pt idx="1194">
                  <c:v>94.620342765776655</c:v>
                </c:pt>
                <c:pt idx="1195">
                  <c:v>95.408137772522025</c:v>
                </c:pt>
                <c:pt idx="1196">
                  <c:v>95.639646241734738</c:v>
                </c:pt>
                <c:pt idx="1197">
                  <c:v>94.604520244499511</c:v>
                </c:pt>
                <c:pt idx="1198">
                  <c:v>95.78704551889534</c:v>
                </c:pt>
                <c:pt idx="1199">
                  <c:v>94.771905864325959</c:v>
                </c:pt>
                <c:pt idx="1200">
                  <c:v>92.976466081510893</c:v>
                </c:pt>
                <c:pt idx="1201">
                  <c:v>90.917872786928839</c:v>
                </c:pt>
                <c:pt idx="1202">
                  <c:v>91.335920454356085</c:v>
                </c:pt>
                <c:pt idx="1203">
                  <c:v>90.952016122316323</c:v>
                </c:pt>
                <c:pt idx="1204">
                  <c:v>91.395879482353607</c:v>
                </c:pt>
                <c:pt idx="1205">
                  <c:v>90.315784214120242</c:v>
                </c:pt>
                <c:pt idx="1206">
                  <c:v>89.428057494045632</c:v>
                </c:pt>
                <c:pt idx="1207">
                  <c:v>90.703852367548748</c:v>
                </c:pt>
                <c:pt idx="1208">
                  <c:v>91.880548292000341</c:v>
                </c:pt>
                <c:pt idx="1209">
                  <c:v>91.377558668243253</c:v>
                </c:pt>
                <c:pt idx="1210">
                  <c:v>88.532003131193576</c:v>
                </c:pt>
                <c:pt idx="1211">
                  <c:v>88.788494528738582</c:v>
                </c:pt>
                <c:pt idx="1212">
                  <c:v>88.00153228627093</c:v>
                </c:pt>
                <c:pt idx="1213">
                  <c:v>89.149081461001543</c:v>
                </c:pt>
                <c:pt idx="1214">
                  <c:v>88.95005079862085</c:v>
                </c:pt>
                <c:pt idx="1215">
                  <c:v>89.811129061807662</c:v>
                </c:pt>
                <c:pt idx="1216">
                  <c:v>89.564630835595565</c:v>
                </c:pt>
                <c:pt idx="1217">
                  <c:v>91.176862477307054</c:v>
                </c:pt>
                <c:pt idx="1218">
                  <c:v>91.563265102180054</c:v>
                </c:pt>
                <c:pt idx="1219">
                  <c:v>92.166186439266369</c:v>
                </c:pt>
                <c:pt idx="1220">
                  <c:v>92.367715394480328</c:v>
                </c:pt>
                <c:pt idx="1221">
                  <c:v>92.271114738262085</c:v>
                </c:pt>
                <c:pt idx="1222">
                  <c:v>91.154377841807985</c:v>
                </c:pt>
                <c:pt idx="1223">
                  <c:v>92.040439033327132</c:v>
                </c:pt>
                <c:pt idx="1224">
                  <c:v>91.84890324944611</c:v>
                </c:pt>
                <c:pt idx="1225">
                  <c:v>91.977981712496373</c:v>
                </c:pt>
                <c:pt idx="1226">
                  <c:v>92.912343232124613</c:v>
                </c:pt>
                <c:pt idx="1227">
                  <c:v>93.128861944337928</c:v>
                </c:pt>
                <c:pt idx="1228">
                  <c:v>93.168834629669618</c:v>
                </c:pt>
                <c:pt idx="1229">
                  <c:v>93.516930097766419</c:v>
                </c:pt>
                <c:pt idx="1230">
                  <c:v>94.826868306657019</c:v>
                </c:pt>
                <c:pt idx="1231">
                  <c:v>94.810213021102143</c:v>
                </c:pt>
                <c:pt idx="1232">
                  <c:v>94.972602055262143</c:v>
                </c:pt>
                <c:pt idx="1233">
                  <c:v>95.402308422577789</c:v>
                </c:pt>
                <c:pt idx="1234">
                  <c:v>95.787878283173058</c:v>
                </c:pt>
                <c:pt idx="1235">
                  <c:v>95.76705917622948</c:v>
                </c:pt>
                <c:pt idx="1236">
                  <c:v>95.810362918672155</c:v>
                </c:pt>
                <c:pt idx="1237">
                  <c:v>96.555686947252624</c:v>
                </c:pt>
                <c:pt idx="1238">
                  <c:v>97.117802834729503</c:v>
                </c:pt>
                <c:pt idx="1239">
                  <c:v>97.086157792175243</c:v>
                </c:pt>
                <c:pt idx="1240">
                  <c:v>96.592328575473331</c:v>
                </c:pt>
                <c:pt idx="1241">
                  <c:v>97.084492263619737</c:v>
                </c:pt>
                <c:pt idx="1242">
                  <c:v>97.780683199813353</c:v>
                </c:pt>
                <c:pt idx="1243">
                  <c:v>97.243550240668768</c:v>
                </c:pt>
                <c:pt idx="1244">
                  <c:v>97.077830149397812</c:v>
                </c:pt>
                <c:pt idx="1245">
                  <c:v>97.149447877283748</c:v>
                </c:pt>
                <c:pt idx="1246">
                  <c:v>97.701570593427732</c:v>
                </c:pt>
                <c:pt idx="1247">
                  <c:v>97.705734414816433</c:v>
                </c:pt>
                <c:pt idx="1248">
                  <c:v>97.385952932162922</c:v>
                </c:pt>
                <c:pt idx="1249">
                  <c:v>98.107959560966563</c:v>
                </c:pt>
                <c:pt idx="1250">
                  <c:v>98.885761396379039</c:v>
                </c:pt>
                <c:pt idx="1251">
                  <c:v>99.052314251927754</c:v>
                </c:pt>
                <c:pt idx="1252">
                  <c:v>98.470212021785017</c:v>
                </c:pt>
                <c:pt idx="1253">
                  <c:v>98.802484968604688</c:v>
                </c:pt>
                <c:pt idx="1254">
                  <c:v>99.462867040855315</c:v>
                </c:pt>
                <c:pt idx="1255">
                  <c:v>99.638580303459207</c:v>
                </c:pt>
                <c:pt idx="1256">
                  <c:v>99.70686697423416</c:v>
                </c:pt>
                <c:pt idx="1257">
                  <c:v>100.81860728502178</c:v>
                </c:pt>
                <c:pt idx="1258">
                  <c:v>100.90354924135163</c:v>
                </c:pt>
                <c:pt idx="1259">
                  <c:v>99.276327842640754</c:v>
                </c:pt>
                <c:pt idx="1260">
                  <c:v>99.725187788344499</c:v>
                </c:pt>
                <c:pt idx="1261">
                  <c:v>100.52880531636703</c:v>
                </c:pt>
                <c:pt idx="1262">
                  <c:v>100.42637531020456</c:v>
                </c:pt>
                <c:pt idx="1263">
                  <c:v>100.65371995802856</c:v>
                </c:pt>
                <c:pt idx="1264">
                  <c:v>101.37073000116573</c:v>
                </c:pt>
                <c:pt idx="1265">
                  <c:v>100.93519428390586</c:v>
                </c:pt>
                <c:pt idx="1266">
                  <c:v>98.575140320780676</c:v>
                </c:pt>
                <c:pt idx="1267">
                  <c:v>99.212204993254474</c:v>
                </c:pt>
                <c:pt idx="1268">
                  <c:v>100.49632750953502</c:v>
                </c:pt>
                <c:pt idx="1269">
                  <c:v>98.823304075548265</c:v>
                </c:pt>
                <c:pt idx="1270">
                  <c:v>100.11991805599494</c:v>
                </c:pt>
                <c:pt idx="1271">
                  <c:v>97.733215635981949</c:v>
                </c:pt>
                <c:pt idx="1272">
                  <c:v>97.09198714211945</c:v>
                </c:pt>
                <c:pt idx="1273">
                  <c:v>93.948301993637571</c:v>
                </c:pt>
                <c:pt idx="1274">
                  <c:v>92.510118085974483</c:v>
                </c:pt>
                <c:pt idx="1275">
                  <c:v>96.578171582751679</c:v>
                </c:pt>
                <c:pt idx="1276">
                  <c:v>96.250062457320723</c:v>
                </c:pt>
                <c:pt idx="1277">
                  <c:v>97.572492130377469</c:v>
                </c:pt>
                <c:pt idx="1278">
                  <c:v>96.387468563148403</c:v>
                </c:pt>
                <c:pt idx="1279">
                  <c:v>94.575373494778447</c:v>
                </c:pt>
                <c:pt idx="1280">
                  <c:v>94.680301793774134</c:v>
                </c:pt>
                <c:pt idx="1281">
                  <c:v>93.336220249496051</c:v>
                </c:pt>
                <c:pt idx="1282">
                  <c:v>92.85738078979351</c:v>
                </c:pt>
                <c:pt idx="1283">
                  <c:v>89.238187238720073</c:v>
                </c:pt>
                <c:pt idx="1284">
                  <c:v>90.578937725887172</c:v>
                </c:pt>
                <c:pt idx="1285">
                  <c:v>89.409736679935236</c:v>
                </c:pt>
                <c:pt idx="1286">
                  <c:v>89.441381722489467</c:v>
                </c:pt>
                <c:pt idx="1287">
                  <c:v>88.93506104162141</c:v>
                </c:pt>
                <c:pt idx="1288">
                  <c:v>91.858896420778976</c:v>
                </c:pt>
                <c:pt idx="1289">
                  <c:v>90.722173181659045</c:v>
                </c:pt>
                <c:pt idx="1290">
                  <c:v>89.164903982278631</c:v>
                </c:pt>
                <c:pt idx="1291">
                  <c:v>91.469162738795006</c:v>
                </c:pt>
                <c:pt idx="1292">
                  <c:v>91.839742842390848</c:v>
                </c:pt>
                <c:pt idx="1293">
                  <c:v>88.679402408354122</c:v>
                </c:pt>
                <c:pt idx="1294">
                  <c:v>87.479389084125671</c:v>
                </c:pt>
                <c:pt idx="1295">
                  <c:v>88.439566296363978</c:v>
                </c:pt>
                <c:pt idx="1296">
                  <c:v>87.914092037107807</c:v>
                </c:pt>
                <c:pt idx="1297">
                  <c:v>90.508152762278911</c:v>
                </c:pt>
                <c:pt idx="1298">
                  <c:v>90.904548558484834</c:v>
                </c:pt>
                <c:pt idx="1299">
                  <c:v>90.74049399576937</c:v>
                </c:pt>
                <c:pt idx="1300">
                  <c:v>92.872370546792808</c:v>
                </c:pt>
                <c:pt idx="1301">
                  <c:v>92.820739161572718</c:v>
                </c:pt>
                <c:pt idx="1302">
                  <c:v>92.939824453290029</c:v>
                </c:pt>
                <c:pt idx="1303">
                  <c:v>93.062240802118325</c:v>
                </c:pt>
                <c:pt idx="1304">
                  <c:v>92.703319398410869</c:v>
                </c:pt>
                <c:pt idx="1305">
                  <c:v>91.213504105527662</c:v>
                </c:pt>
                <c:pt idx="1306">
                  <c:v>90.941190186705526</c:v>
                </c:pt>
                <c:pt idx="1307">
                  <c:v>89.413067737046134</c:v>
                </c:pt>
                <c:pt idx="1308">
                  <c:v>89.668726370313394</c:v>
                </c:pt>
                <c:pt idx="1309">
                  <c:v>89.486350993487562</c:v>
                </c:pt>
                <c:pt idx="1310">
                  <c:v>86.710747655768344</c:v>
                </c:pt>
                <c:pt idx="1311">
                  <c:v>85.833846871304388</c:v>
                </c:pt>
                <c:pt idx="1312">
                  <c:v>85.555703602538031</c:v>
                </c:pt>
                <c:pt idx="1313">
                  <c:v>85.156809513498885</c:v>
                </c:pt>
                <c:pt idx="1314">
                  <c:v>85.613164337702329</c:v>
                </c:pt>
                <c:pt idx="1315">
                  <c:v>88.29549807631426</c:v>
                </c:pt>
                <c:pt idx="1316">
                  <c:v>89.126596825502332</c:v>
                </c:pt>
                <c:pt idx="1317">
                  <c:v>89.768658083642592</c:v>
                </c:pt>
                <c:pt idx="1318">
                  <c:v>89.834446461584335</c:v>
                </c:pt>
                <c:pt idx="1319">
                  <c:v>91.216002398360871</c:v>
                </c:pt>
                <c:pt idx="1320">
                  <c:v>91.201845405639247</c:v>
                </c:pt>
                <c:pt idx="1321">
                  <c:v>91.31093752602365</c:v>
                </c:pt>
                <c:pt idx="1322">
                  <c:v>88.679402408354065</c:v>
                </c:pt>
                <c:pt idx="1323">
                  <c:v>89.209873253276683</c:v>
                </c:pt>
                <c:pt idx="1324">
                  <c:v>90.228343964957048</c:v>
                </c:pt>
                <c:pt idx="1325">
                  <c:v>89.071634383171258</c:v>
                </c:pt>
                <c:pt idx="1326">
                  <c:v>91.076930763977714</c:v>
                </c:pt>
                <c:pt idx="1327">
                  <c:v>91.825585849669153</c:v>
                </c:pt>
                <c:pt idx="1328">
                  <c:v>92.854049732682427</c:v>
                </c:pt>
                <c:pt idx="1329">
                  <c:v>92.756616312186424</c:v>
                </c:pt>
                <c:pt idx="1330">
                  <c:v>92.114555054046164</c:v>
                </c:pt>
                <c:pt idx="1331">
                  <c:v>91.73148348628412</c:v>
                </c:pt>
                <c:pt idx="1332">
                  <c:v>91.737312836228313</c:v>
                </c:pt>
                <c:pt idx="1333">
                  <c:v>93.757598974034138</c:v>
                </c:pt>
                <c:pt idx="1334">
                  <c:v>93.307906264052633</c:v>
                </c:pt>
                <c:pt idx="1335">
                  <c:v>93.872520444362749</c:v>
                </c:pt>
                <c:pt idx="1336">
                  <c:v>93.753435152645409</c:v>
                </c:pt>
                <c:pt idx="1337">
                  <c:v>93.406172448826368</c:v>
                </c:pt>
                <c:pt idx="1338">
                  <c:v>93.918322479638633</c:v>
                </c:pt>
                <c:pt idx="1339">
                  <c:v>93.357872120717218</c:v>
                </c:pt>
                <c:pt idx="1340">
                  <c:v>90.727169767325378</c:v>
                </c:pt>
                <c:pt idx="1341">
                  <c:v>90.239169900567646</c:v>
                </c:pt>
                <c:pt idx="1342">
                  <c:v>89.876084675471461</c:v>
                </c:pt>
                <c:pt idx="1343">
                  <c:v>89.886910611082129</c:v>
                </c:pt>
                <c:pt idx="1344">
                  <c:v>90.982828400592638</c:v>
                </c:pt>
                <c:pt idx="1345">
                  <c:v>91.117736213587108</c:v>
                </c:pt>
                <c:pt idx="1346">
                  <c:v>89.574624006928332</c:v>
                </c:pt>
                <c:pt idx="1347">
                  <c:v>89.246514881497376</c:v>
                </c:pt>
                <c:pt idx="1348">
                  <c:v>88.8859279492344</c:v>
                </c:pt>
                <c:pt idx="1349">
                  <c:v>87.595976083009674</c:v>
                </c:pt>
                <c:pt idx="1350">
                  <c:v>87.884112523108939</c:v>
                </c:pt>
                <c:pt idx="1351">
                  <c:v>87.208740693858942</c:v>
                </c:pt>
                <c:pt idx="1352">
                  <c:v>88.655252244299461</c:v>
                </c:pt>
                <c:pt idx="1353">
                  <c:v>87.350310621075351</c:v>
                </c:pt>
                <c:pt idx="1354">
                  <c:v>87.384453956462835</c:v>
                </c:pt>
                <c:pt idx="1355">
                  <c:v>89.962692160356838</c:v>
                </c:pt>
                <c:pt idx="1356">
                  <c:v>90.779633916823258</c:v>
                </c:pt>
                <c:pt idx="1357">
                  <c:v>91.979647241051708</c:v>
                </c:pt>
                <c:pt idx="1358">
                  <c:v>90.924534901150651</c:v>
                </c:pt>
                <c:pt idx="1359">
                  <c:v>91.509968188404358</c:v>
                </c:pt>
                <c:pt idx="1360">
                  <c:v>91.952166019886207</c:v>
                </c:pt>
                <c:pt idx="1361">
                  <c:v>92.399360437034488</c:v>
                </c:pt>
                <c:pt idx="1362">
                  <c:v>93.42782432004779</c:v>
                </c:pt>
                <c:pt idx="1363">
                  <c:v>93.361203177828287</c:v>
                </c:pt>
                <c:pt idx="1364">
                  <c:v>93.691810596092481</c:v>
                </c:pt>
                <c:pt idx="1365">
                  <c:v>93.657667260705011</c:v>
                </c:pt>
                <c:pt idx="1366">
                  <c:v>93.735114338535155</c:v>
                </c:pt>
                <c:pt idx="1367">
                  <c:v>95.160806782032111</c:v>
                </c:pt>
                <c:pt idx="1368">
                  <c:v>94.916806848653252</c:v>
                </c:pt>
                <c:pt idx="1369">
                  <c:v>94.458786495894302</c:v>
                </c:pt>
                <c:pt idx="1370">
                  <c:v>93.671824253426664</c:v>
                </c:pt>
                <c:pt idx="1371">
                  <c:v>95.657134291567289</c:v>
                </c:pt>
                <c:pt idx="1372">
                  <c:v>95.115004746756242</c:v>
                </c:pt>
                <c:pt idx="1373">
                  <c:v>95.576356156626133</c:v>
                </c:pt>
                <c:pt idx="1374">
                  <c:v>95.32902516613629</c:v>
                </c:pt>
                <c:pt idx="1375">
                  <c:v>95.035059376092818</c:v>
                </c:pt>
                <c:pt idx="1376">
                  <c:v>95.454772572075569</c:v>
                </c:pt>
                <c:pt idx="1377">
                  <c:v>94.687796672273777</c:v>
                </c:pt>
                <c:pt idx="1378">
                  <c:v>96.663113539081451</c:v>
                </c:pt>
                <c:pt idx="1379">
                  <c:v>96.598157925417468</c:v>
                </c:pt>
                <c:pt idx="1380">
                  <c:v>96.439099948368451</c:v>
                </c:pt>
                <c:pt idx="1381">
                  <c:v>97.029529821288648</c:v>
                </c:pt>
                <c:pt idx="1382">
                  <c:v>97.043686814010286</c:v>
                </c:pt>
                <c:pt idx="1383">
                  <c:v>97.41426691760617</c:v>
                </c:pt>
                <c:pt idx="1384">
                  <c:v>98.107959560966535</c:v>
                </c:pt>
                <c:pt idx="1385">
                  <c:v>97.750703685814557</c:v>
                </c:pt>
                <c:pt idx="1386">
                  <c:v>97.948901583917532</c:v>
                </c:pt>
                <c:pt idx="1387">
                  <c:v>98.658416748555041</c:v>
                </c:pt>
                <c:pt idx="1388">
                  <c:v>97.09198714211945</c:v>
                </c:pt>
                <c:pt idx="1389">
                  <c:v>98.113788910910785</c:v>
                </c:pt>
                <c:pt idx="1390">
                  <c:v>98.287836644959185</c:v>
                </c:pt>
                <c:pt idx="1391">
                  <c:v>98.522676171282868</c:v>
                </c:pt>
                <c:pt idx="1392">
                  <c:v>98.734198297829721</c:v>
                </c:pt>
                <c:pt idx="1393">
                  <c:v>98.735863826385213</c:v>
                </c:pt>
                <c:pt idx="1394">
                  <c:v>98.470212021785017</c:v>
                </c:pt>
                <c:pt idx="1395">
                  <c:v>98.580969670724897</c:v>
                </c:pt>
                <c:pt idx="1396">
                  <c:v>98.537665928282237</c:v>
                </c:pt>
                <c:pt idx="1397">
                  <c:v>98.630935527389525</c:v>
                </c:pt>
                <c:pt idx="1398">
                  <c:v>99.396245898635826</c:v>
                </c:pt>
                <c:pt idx="1399">
                  <c:v>99.761829416565249</c:v>
                </c:pt>
                <c:pt idx="1400">
                  <c:v>101.68551489815282</c:v>
                </c:pt>
                <c:pt idx="1401">
                  <c:v>102.08440898719198</c:v>
                </c:pt>
                <c:pt idx="1402">
                  <c:v>101.86789027497866</c:v>
                </c:pt>
                <c:pt idx="1403">
                  <c:v>101.04761746140129</c:v>
                </c:pt>
                <c:pt idx="1404">
                  <c:v>101.48981529288311</c:v>
                </c:pt>
                <c:pt idx="1405">
                  <c:v>101.05927616128969</c:v>
                </c:pt>
                <c:pt idx="1406">
                  <c:v>99.865924951283205</c:v>
                </c:pt>
                <c:pt idx="1407">
                  <c:v>99.744341366732641</c:v>
                </c:pt>
                <c:pt idx="1408">
                  <c:v>98.127945903632423</c:v>
                </c:pt>
                <c:pt idx="1409">
                  <c:v>98.148765010576014</c:v>
                </c:pt>
                <c:pt idx="1410">
                  <c:v>99.656068353291829</c:v>
                </c:pt>
                <c:pt idx="1411">
                  <c:v>99.909228693725851</c:v>
                </c:pt>
                <c:pt idx="1412">
                  <c:v>99.751836245232312</c:v>
                </c:pt>
                <c:pt idx="1413">
                  <c:v>98.326976566013116</c:v>
                </c:pt>
                <c:pt idx="1414">
                  <c:v>99.79430722339724</c:v>
                </c:pt>
                <c:pt idx="1415">
                  <c:v>99.048983194816799</c:v>
                </c:pt>
                <c:pt idx="1416">
                  <c:v>98.912409853266851</c:v>
                </c:pt>
                <c:pt idx="1417">
                  <c:v>98.31198680901376</c:v>
                </c:pt>
                <c:pt idx="1418">
                  <c:v>100.43720124581527</c:v>
                </c:pt>
                <c:pt idx="1419">
                  <c:v>101.7246548192068</c:v>
                </c:pt>
                <c:pt idx="1420">
                  <c:v>101.98947385952926</c:v>
                </c:pt>
                <c:pt idx="1421">
                  <c:v>101.85706433936801</c:v>
                </c:pt>
                <c:pt idx="1422">
                  <c:v>101.90952848886587</c:v>
                </c:pt>
                <c:pt idx="1423">
                  <c:v>102.2867707066837</c:v>
                </c:pt>
                <c:pt idx="1424">
                  <c:v>102.67983544577865</c:v>
                </c:pt>
                <c:pt idx="1425">
                  <c:v>103.29608101130889</c:v>
                </c:pt>
                <c:pt idx="1426">
                  <c:v>103.30107759697535</c:v>
                </c:pt>
                <c:pt idx="1427">
                  <c:v>103.39517996036035</c:v>
                </c:pt>
                <c:pt idx="1428">
                  <c:v>102.86554187971548</c:v>
                </c:pt>
                <c:pt idx="1429">
                  <c:v>103.50177378791153</c:v>
                </c:pt>
                <c:pt idx="1430">
                  <c:v>103.58838127279687</c:v>
                </c:pt>
                <c:pt idx="1431">
                  <c:v>103.85236754884157</c:v>
                </c:pt>
                <c:pt idx="1432">
                  <c:v>104.47860628570471</c:v>
                </c:pt>
                <c:pt idx="1433">
                  <c:v>104.83169833946798</c:v>
                </c:pt>
                <c:pt idx="1434">
                  <c:v>104.65931613397505</c:v>
                </c:pt>
                <c:pt idx="1435">
                  <c:v>104.72343898336129</c:v>
                </c:pt>
                <c:pt idx="1436">
                  <c:v>104.80421711830242</c:v>
                </c:pt>
                <c:pt idx="1437">
                  <c:v>104.90997818157587</c:v>
                </c:pt>
                <c:pt idx="1438">
                  <c:v>104.7517529688046</c:v>
                </c:pt>
                <c:pt idx="1439">
                  <c:v>104.73176662613872</c:v>
                </c:pt>
                <c:pt idx="1440">
                  <c:v>105.91679019336777</c:v>
                </c:pt>
                <c:pt idx="1441">
                  <c:v>105.7777185589846</c:v>
                </c:pt>
                <c:pt idx="1442">
                  <c:v>106.3073566396295</c:v>
                </c:pt>
                <c:pt idx="1443">
                  <c:v>106.08167752036103</c:v>
                </c:pt>
                <c:pt idx="1444">
                  <c:v>105.8859779150913</c:v>
                </c:pt>
                <c:pt idx="1445">
                  <c:v>105.74024416648619</c:v>
                </c:pt>
                <c:pt idx="1446">
                  <c:v>106.13414166985891</c:v>
                </c:pt>
                <c:pt idx="1447">
                  <c:v>107.0901550607085</c:v>
                </c:pt>
                <c:pt idx="1448">
                  <c:v>106.90694691960492</c:v>
                </c:pt>
                <c:pt idx="1449">
                  <c:v>107.69640745490581</c:v>
                </c:pt>
                <c:pt idx="1450">
                  <c:v>107.84463949634416</c:v>
                </c:pt>
                <c:pt idx="1451">
                  <c:v>106.75371829250012</c:v>
                </c:pt>
                <c:pt idx="1452">
                  <c:v>106.6154794223947</c:v>
                </c:pt>
                <c:pt idx="1453">
                  <c:v>106.87280358421744</c:v>
                </c:pt>
                <c:pt idx="1454">
                  <c:v>107.49654402824736</c:v>
                </c:pt>
                <c:pt idx="1455">
                  <c:v>107.52485801369065</c:v>
                </c:pt>
                <c:pt idx="1456">
                  <c:v>107.97871454506088</c:v>
                </c:pt>
                <c:pt idx="1457">
                  <c:v>108.22104894988425</c:v>
                </c:pt>
                <c:pt idx="1458">
                  <c:v>106.28903582551922</c:v>
                </c:pt>
                <c:pt idx="1459">
                  <c:v>107.1034792891524</c:v>
                </c:pt>
                <c:pt idx="1460">
                  <c:v>108.89142419346777</c:v>
                </c:pt>
                <c:pt idx="1461">
                  <c:v>108.59496011059107</c:v>
                </c:pt>
                <c:pt idx="1462">
                  <c:v>108.85061874385833</c:v>
                </c:pt>
                <c:pt idx="1463">
                  <c:v>109.16457087656764</c:v>
                </c:pt>
                <c:pt idx="1464">
                  <c:v>109.84577205576186</c:v>
                </c:pt>
                <c:pt idx="1465">
                  <c:v>110.3054579370763</c:v>
                </c:pt>
                <c:pt idx="1466">
                  <c:v>109.99816791858895</c:v>
                </c:pt>
                <c:pt idx="1467">
                  <c:v>110.08061158208554</c:v>
                </c:pt>
                <c:pt idx="1468">
                  <c:v>110.68686397628284</c:v>
                </c:pt>
                <c:pt idx="1469">
                  <c:v>110.95085025232751</c:v>
                </c:pt>
                <c:pt idx="1470">
                  <c:v>110.59192884862003</c:v>
                </c:pt>
                <c:pt idx="1471">
                  <c:v>111.28395596342489</c:v>
                </c:pt>
                <c:pt idx="1472">
                  <c:v>111.62622208157751</c:v>
                </c:pt>
                <c:pt idx="1473">
                  <c:v>111.84107526523533</c:v>
                </c:pt>
                <c:pt idx="1474">
                  <c:v>109.5451441514964</c:v>
                </c:pt>
                <c:pt idx="1475">
                  <c:v>108.87560167219061</c:v>
                </c:pt>
                <c:pt idx="1476">
                  <c:v>108.76734231608393</c:v>
                </c:pt>
                <c:pt idx="1477">
                  <c:v>109.91489149081454</c:v>
                </c:pt>
                <c:pt idx="1478">
                  <c:v>110.52614047067827</c:v>
                </c:pt>
                <c:pt idx="1479">
                  <c:v>108.786495894472</c:v>
                </c:pt>
                <c:pt idx="1480">
                  <c:v>108.9622091570759</c:v>
                </c:pt>
                <c:pt idx="1481">
                  <c:v>110.83842707483211</c:v>
                </c:pt>
                <c:pt idx="1482">
                  <c:v>110.02065255408796</c:v>
                </c:pt>
                <c:pt idx="1483">
                  <c:v>109.1029463200146</c:v>
                </c:pt>
                <c:pt idx="1484">
                  <c:v>110.07644776069677</c:v>
                </c:pt>
                <c:pt idx="1485">
                  <c:v>109.92655019070291</c:v>
                </c:pt>
                <c:pt idx="1486">
                  <c:v>107.85213437484373</c:v>
                </c:pt>
                <c:pt idx="1487">
                  <c:v>108.61577921753458</c:v>
                </c:pt>
                <c:pt idx="1488">
                  <c:v>107.95872820239494</c:v>
                </c:pt>
                <c:pt idx="1489">
                  <c:v>106.7495544711113</c:v>
                </c:pt>
                <c:pt idx="1490">
                  <c:v>104.6684765410302</c:v>
                </c:pt>
                <c:pt idx="1491">
                  <c:v>106.07085158475033</c:v>
                </c:pt>
                <c:pt idx="1492">
                  <c:v>106.5272064089538</c:v>
                </c:pt>
                <c:pt idx="1493">
                  <c:v>108.12444829366591</c:v>
                </c:pt>
                <c:pt idx="1494">
                  <c:v>107.74054396162613</c:v>
                </c:pt>
                <c:pt idx="1495">
                  <c:v>108.05449609433545</c:v>
                </c:pt>
                <c:pt idx="1496">
                  <c:v>109.06380639896064</c:v>
                </c:pt>
                <c:pt idx="1497">
                  <c:v>109.40857080994647</c:v>
                </c:pt>
                <c:pt idx="1498">
                  <c:v>109.10794290568106</c:v>
                </c:pt>
                <c:pt idx="1499">
                  <c:v>109.87824986259383</c:v>
                </c:pt>
                <c:pt idx="1500">
                  <c:v>110.61274795556363</c:v>
                </c:pt>
                <c:pt idx="1501">
                  <c:v>110.41038623607194</c:v>
                </c:pt>
                <c:pt idx="1502">
                  <c:v>110.95834513082721</c:v>
                </c:pt>
                <c:pt idx="1503">
                  <c:v>110.9966522876034</c:v>
                </c:pt>
                <c:pt idx="1504">
                  <c:v>110.97666594493757</c:v>
                </c:pt>
                <c:pt idx="1505">
                  <c:v>111.21900034976093</c:v>
                </c:pt>
                <c:pt idx="1506">
                  <c:v>111.04994920137901</c:v>
                </c:pt>
                <c:pt idx="1507">
                  <c:v>110.60525307706396</c:v>
                </c:pt>
                <c:pt idx="1508">
                  <c:v>110.29629753002109</c:v>
                </c:pt>
                <c:pt idx="1509">
                  <c:v>109.43855032394524</c:v>
                </c:pt>
                <c:pt idx="1510">
                  <c:v>109.45936943088883</c:v>
                </c:pt>
                <c:pt idx="1511">
                  <c:v>109.46852983794399</c:v>
                </c:pt>
                <c:pt idx="1512">
                  <c:v>109.89823620525968</c:v>
                </c:pt>
                <c:pt idx="1513">
                  <c:v>108.68739694542057</c:v>
                </c:pt>
                <c:pt idx="1514">
                  <c:v>109.31030462517272</c:v>
                </c:pt>
                <c:pt idx="1515">
                  <c:v>110.78762845388977</c:v>
                </c:pt>
                <c:pt idx="1516">
                  <c:v>111.37222897686576</c:v>
                </c:pt>
                <c:pt idx="1517">
                  <c:v>111.19485018570636</c:v>
                </c:pt>
                <c:pt idx="1518">
                  <c:v>112.19333455472088</c:v>
                </c:pt>
                <c:pt idx="1519">
                  <c:v>112.89452207658094</c:v>
                </c:pt>
                <c:pt idx="1520">
                  <c:v>113.29591445845331</c:v>
                </c:pt>
                <c:pt idx="1521">
                  <c:v>113.55656967738703</c:v>
                </c:pt>
                <c:pt idx="1522">
                  <c:v>113.35753901500634</c:v>
                </c:pt>
                <c:pt idx="1523">
                  <c:v>112.97446744724429</c:v>
                </c:pt>
                <c:pt idx="1524">
                  <c:v>112.1999966689428</c:v>
                </c:pt>
                <c:pt idx="1525">
                  <c:v>111.1823587215402</c:v>
                </c:pt>
                <c:pt idx="1526">
                  <c:v>111.60706850318944</c:v>
                </c:pt>
                <c:pt idx="1527">
                  <c:v>112.11422194833526</c:v>
                </c:pt>
                <c:pt idx="1528">
                  <c:v>113.0194367182425</c:v>
                </c:pt>
                <c:pt idx="1529">
                  <c:v>111.76362818740523</c:v>
                </c:pt>
                <c:pt idx="1530">
                  <c:v>112.31075431788278</c:v>
                </c:pt>
                <c:pt idx="1531">
                  <c:v>111.4047067836978</c:v>
                </c:pt>
                <c:pt idx="1532">
                  <c:v>110.71351243317066</c:v>
                </c:pt>
                <c:pt idx="1533">
                  <c:v>110.67270698356124</c:v>
                </c:pt>
                <c:pt idx="1534">
                  <c:v>111.64704118852119</c:v>
                </c:pt>
                <c:pt idx="1535">
                  <c:v>111.89020835762229</c:v>
                </c:pt>
                <c:pt idx="1536">
                  <c:v>111.0299628587132</c:v>
                </c:pt>
                <c:pt idx="1537">
                  <c:v>109.70586765710097</c:v>
                </c:pt>
                <c:pt idx="1538">
                  <c:v>109.61509635082692</c:v>
                </c:pt>
                <c:pt idx="1539">
                  <c:v>109.96402458320146</c:v>
                </c:pt>
                <c:pt idx="1540">
                  <c:v>110.39872753618359</c:v>
                </c:pt>
                <c:pt idx="1541">
                  <c:v>110.84925301044284</c:v>
                </c:pt>
                <c:pt idx="1542">
                  <c:v>112.02345064206125</c:v>
                </c:pt>
                <c:pt idx="1543">
                  <c:v>109.47102813077728</c:v>
                </c:pt>
                <c:pt idx="1544">
                  <c:v>109.33695308206057</c:v>
                </c:pt>
                <c:pt idx="1545">
                  <c:v>108.27268033510433</c:v>
                </c:pt>
                <c:pt idx="1546">
                  <c:v>107.10764311054112</c:v>
                </c:pt>
                <c:pt idx="1547">
                  <c:v>107.00521310437865</c:v>
                </c:pt>
                <c:pt idx="1548">
                  <c:v>106.5571859229526</c:v>
                </c:pt>
                <c:pt idx="1549">
                  <c:v>107.34331540114249</c:v>
                </c:pt>
                <c:pt idx="1550">
                  <c:v>105.84267417264863</c:v>
                </c:pt>
                <c:pt idx="1551">
                  <c:v>105.9134591362568</c:v>
                </c:pt>
                <c:pt idx="1552">
                  <c:v>107.24921303775746</c:v>
                </c:pt>
                <c:pt idx="1553">
                  <c:v>105.37965723422322</c:v>
                </c:pt>
                <c:pt idx="1554">
                  <c:v>105.56453090388229</c:v>
                </c:pt>
                <c:pt idx="1555">
                  <c:v>105.88597791509127</c:v>
                </c:pt>
                <c:pt idx="1556">
                  <c:v>106.45725420962334</c:v>
                </c:pt>
                <c:pt idx="1557">
                  <c:v>107.88627771023125</c:v>
                </c:pt>
                <c:pt idx="1558">
                  <c:v>107.18842124548217</c:v>
                </c:pt>
                <c:pt idx="1559">
                  <c:v>106.88529504838353</c:v>
                </c:pt>
                <c:pt idx="1560">
                  <c:v>105.63198481037951</c:v>
                </c:pt>
                <c:pt idx="1561">
                  <c:v>106.60215519395072</c:v>
                </c:pt>
                <c:pt idx="1562">
                  <c:v>107.98204560217179</c:v>
                </c:pt>
                <c:pt idx="1563">
                  <c:v>108.87643443646836</c:v>
                </c:pt>
                <c:pt idx="1564">
                  <c:v>109.97818157592305</c:v>
                </c:pt>
                <c:pt idx="1565">
                  <c:v>111.56293199646899</c:v>
                </c:pt>
                <c:pt idx="1566">
                  <c:v>111.41386719075291</c:v>
                </c:pt>
                <c:pt idx="1567">
                  <c:v>111.52545760397052</c:v>
                </c:pt>
                <c:pt idx="1568">
                  <c:v>112.69132759281148</c:v>
                </c:pt>
                <c:pt idx="1569">
                  <c:v>111.90686364317705</c:v>
                </c:pt>
                <c:pt idx="1570">
                  <c:v>109.88241368398251</c:v>
                </c:pt>
                <c:pt idx="1571">
                  <c:v>109.39524658150255</c:v>
                </c:pt>
                <c:pt idx="1572">
                  <c:v>109.7350144068219</c:v>
                </c:pt>
                <c:pt idx="1573">
                  <c:v>108.99801802101886</c:v>
                </c:pt>
                <c:pt idx="1574">
                  <c:v>109.60343765093845</c:v>
                </c:pt>
                <c:pt idx="1575">
                  <c:v>108.71237987375287</c:v>
                </c:pt>
                <c:pt idx="1576">
                  <c:v>110.48533502106886</c:v>
                </c:pt>
                <c:pt idx="1577">
                  <c:v>110.41121900034969</c:v>
                </c:pt>
                <c:pt idx="1578">
                  <c:v>111.90686364317709</c:v>
                </c:pt>
                <c:pt idx="1579">
                  <c:v>112.00846088506179</c:v>
                </c:pt>
                <c:pt idx="1580">
                  <c:v>111.37639279825446</c:v>
                </c:pt>
                <c:pt idx="1581">
                  <c:v>110.91920520977327</c:v>
                </c:pt>
                <c:pt idx="1582">
                  <c:v>108.666577838477</c:v>
                </c:pt>
                <c:pt idx="1583">
                  <c:v>108.31515131326923</c:v>
                </c:pt>
                <c:pt idx="1584">
                  <c:v>107.61646208424239</c:v>
                </c:pt>
                <c:pt idx="1585">
                  <c:v>107.17176595992734</c:v>
                </c:pt>
                <c:pt idx="1586">
                  <c:v>104.43280425042882</c:v>
                </c:pt>
                <c:pt idx="1587">
                  <c:v>104.95661298112951</c:v>
                </c:pt>
                <c:pt idx="1588">
                  <c:v>99.937542679169169</c:v>
                </c:pt>
                <c:pt idx="1589">
                  <c:v>99.880081944004885</c:v>
                </c:pt>
                <c:pt idx="1590">
                  <c:v>93.224629836278496</c:v>
                </c:pt>
                <c:pt idx="1591">
                  <c:v>97.644109858263477</c:v>
                </c:pt>
                <c:pt idx="1592">
                  <c:v>93.332889192385153</c:v>
                </c:pt>
                <c:pt idx="1593">
                  <c:v>97.653270265318653</c:v>
                </c:pt>
                <c:pt idx="1594">
                  <c:v>98.16708582468641</c:v>
                </c:pt>
                <c:pt idx="1595">
                  <c:v>100.30562448993183</c:v>
                </c:pt>
                <c:pt idx="1596">
                  <c:v>99.328791992138662</c:v>
                </c:pt>
                <c:pt idx="1597">
                  <c:v>99.422894355523695</c:v>
                </c:pt>
                <c:pt idx="1598">
                  <c:v>94.989257340817076</c:v>
                </c:pt>
                <c:pt idx="1599">
                  <c:v>93.563564897320134</c:v>
                </c:pt>
                <c:pt idx="1600">
                  <c:v>93.587715061374681</c:v>
                </c:pt>
                <c:pt idx="1601">
                  <c:v>96.796355823520543</c:v>
                </c:pt>
                <c:pt idx="1602">
                  <c:v>98.066321347079437</c:v>
                </c:pt>
                <c:pt idx="1603">
                  <c:v>96.539864425975537</c:v>
                </c:pt>
                <c:pt idx="1604">
                  <c:v>97.999700204859963</c:v>
                </c:pt>
                <c:pt idx="1605">
                  <c:v>100.77113972119048</c:v>
                </c:pt>
                <c:pt idx="1606">
                  <c:v>101.00764477606967</c:v>
                </c:pt>
                <c:pt idx="1607">
                  <c:v>101.50480504988258</c:v>
                </c:pt>
                <c:pt idx="1608">
                  <c:v>100.29979513998768</c:v>
                </c:pt>
                <c:pt idx="1609">
                  <c:v>97.764027914258577</c:v>
                </c:pt>
                <c:pt idx="1610">
                  <c:v>97.037024699788461</c:v>
                </c:pt>
                <c:pt idx="1611">
                  <c:v>99.816791858896394</c:v>
                </c:pt>
                <c:pt idx="1612">
                  <c:v>98.757515697606621</c:v>
                </c:pt>
                <c:pt idx="1613">
                  <c:v>96.120151229992814</c:v>
                </c:pt>
                <c:pt idx="1614">
                  <c:v>96.789693709298632</c:v>
                </c:pt>
                <c:pt idx="1615">
                  <c:v>97.672423843706795</c:v>
                </c:pt>
                <c:pt idx="1616">
                  <c:v>98.989024166819348</c:v>
                </c:pt>
                <c:pt idx="1617">
                  <c:v>100.69036158624938</c:v>
                </c:pt>
                <c:pt idx="1618">
                  <c:v>101.26496893789242</c:v>
                </c:pt>
                <c:pt idx="1619">
                  <c:v>100.27231391882211</c:v>
                </c:pt>
                <c:pt idx="1620">
                  <c:v>100.10576106327339</c:v>
                </c:pt>
                <c:pt idx="1621">
                  <c:v>97.163604870005472</c:v>
                </c:pt>
                <c:pt idx="1622">
                  <c:v>94.065721756799491</c:v>
                </c:pt>
                <c:pt idx="1623">
                  <c:v>94.63783081560932</c:v>
                </c:pt>
                <c:pt idx="1624">
                  <c:v>96.846321680185184</c:v>
                </c:pt>
                <c:pt idx="1625">
                  <c:v>97.881447677420411</c:v>
                </c:pt>
                <c:pt idx="1626">
                  <c:v>95.856164953948095</c:v>
                </c:pt>
                <c:pt idx="1627">
                  <c:v>96.633966789360571</c:v>
                </c:pt>
                <c:pt idx="1628">
                  <c:v>94.220615912459792</c:v>
                </c:pt>
                <c:pt idx="1629">
                  <c:v>91.539947702403325</c:v>
                </c:pt>
                <c:pt idx="1630">
                  <c:v>93.598540996985349</c:v>
                </c:pt>
                <c:pt idx="1631">
                  <c:v>95.27073166669436</c:v>
                </c:pt>
                <c:pt idx="1632">
                  <c:v>97.014540064289335</c:v>
                </c:pt>
                <c:pt idx="1633">
                  <c:v>96.222581236155236</c:v>
                </c:pt>
                <c:pt idx="1634">
                  <c:v>99.506170783298032</c:v>
                </c:pt>
                <c:pt idx="1635">
                  <c:v>99.560300461351346</c:v>
                </c:pt>
                <c:pt idx="1636">
                  <c:v>100.53546743058905</c:v>
                </c:pt>
                <c:pt idx="1637">
                  <c:v>100.23650505487913</c:v>
                </c:pt>
                <c:pt idx="1638">
                  <c:v>101.9786479239186</c:v>
                </c:pt>
                <c:pt idx="1639">
                  <c:v>100.00333105711091</c:v>
                </c:pt>
                <c:pt idx="1640">
                  <c:v>102.04526906613809</c:v>
                </c:pt>
                <c:pt idx="1641">
                  <c:v>100.7544844356356</c:v>
                </c:pt>
                <c:pt idx="1642">
                  <c:v>101.21333755267229</c:v>
                </c:pt>
                <c:pt idx="1643">
                  <c:v>103.11703669159401</c:v>
                </c:pt>
                <c:pt idx="1644">
                  <c:v>104.44446295031723</c:v>
                </c:pt>
                <c:pt idx="1645">
                  <c:v>102.35089355606996</c:v>
                </c:pt>
                <c:pt idx="1646">
                  <c:v>103.42932329574784</c:v>
                </c:pt>
                <c:pt idx="1647">
                  <c:v>106.97606635465758</c:v>
                </c:pt>
                <c:pt idx="1648">
                  <c:v>107.01770456854474</c:v>
                </c:pt>
                <c:pt idx="1649">
                  <c:v>104.37034692959803</c:v>
                </c:pt>
                <c:pt idx="1650">
                  <c:v>101.45400642894015</c:v>
                </c:pt>
                <c:pt idx="1651">
                  <c:v>103.08788994187299</c:v>
                </c:pt>
                <c:pt idx="1652">
                  <c:v>105.02406688762673</c:v>
                </c:pt>
                <c:pt idx="1653">
                  <c:v>104.36451757965384</c:v>
                </c:pt>
                <c:pt idx="1654">
                  <c:v>105.02156859479349</c:v>
                </c:pt>
                <c:pt idx="1655">
                  <c:v>106.25405972585395</c:v>
                </c:pt>
                <c:pt idx="1656">
                  <c:v>102.35505737745868</c:v>
                </c:pt>
                <c:pt idx="1657">
                  <c:v>103.23695474758911</c:v>
                </c:pt>
                <c:pt idx="1658">
                  <c:v>105.24891324261749</c:v>
                </c:pt>
                <c:pt idx="1659">
                  <c:v>104.24376675938105</c:v>
                </c:pt>
                <c:pt idx="1660">
                  <c:v>104.74592361886042</c:v>
                </c:pt>
                <c:pt idx="1661">
                  <c:v>103.00544627837643</c:v>
                </c:pt>
                <c:pt idx="1662">
                  <c:v>101.27496210922536</c:v>
                </c:pt>
                <c:pt idx="1663">
                  <c:v>101.23498942389367</c:v>
                </c:pt>
                <c:pt idx="1664">
                  <c:v>99.347112806249072</c:v>
                </c:pt>
                <c:pt idx="1665">
                  <c:v>98.935727253043765</c:v>
                </c:pt>
                <c:pt idx="1666">
                  <c:v>96.74972102396697</c:v>
                </c:pt>
                <c:pt idx="1667">
                  <c:v>96.489898569310995</c:v>
                </c:pt>
                <c:pt idx="1668">
                  <c:v>99.311303942306111</c:v>
                </c:pt>
                <c:pt idx="1669">
                  <c:v>99.531153711630424</c:v>
                </c:pt>
                <c:pt idx="1670">
                  <c:v>103.84237437750875</c:v>
                </c:pt>
                <c:pt idx="1671">
                  <c:v>103.64417647940577</c:v>
                </c:pt>
                <c:pt idx="1672">
                  <c:v>103.61919355107347</c:v>
                </c:pt>
                <c:pt idx="1673">
                  <c:v>104.68513182658518</c:v>
                </c:pt>
                <c:pt idx="1674">
                  <c:v>104.80088606119153</c:v>
                </c:pt>
                <c:pt idx="1675">
                  <c:v>105.01240818773839</c:v>
                </c:pt>
                <c:pt idx="1676">
                  <c:v>102.79225862327409</c:v>
                </c:pt>
                <c:pt idx="1677">
                  <c:v>104.52773937809167</c:v>
                </c:pt>
                <c:pt idx="1678">
                  <c:v>102.96880465015576</c:v>
                </c:pt>
                <c:pt idx="1679">
                  <c:v>102.0744158158592</c:v>
                </c:pt>
                <c:pt idx="1680">
                  <c:v>100.91604070551793</c:v>
                </c:pt>
                <c:pt idx="1681">
                  <c:v>101.24331706667114</c:v>
                </c:pt>
                <c:pt idx="1682">
                  <c:v>101.56892789926889</c:v>
                </c:pt>
                <c:pt idx="1683">
                  <c:v>100.37724221781787</c:v>
                </c:pt>
                <c:pt idx="1684">
                  <c:v>103.37102979630592</c:v>
                </c:pt>
                <c:pt idx="1685">
                  <c:v>103.57255875151985</c:v>
                </c:pt>
                <c:pt idx="1686">
                  <c:v>104.4286404290402</c:v>
                </c:pt>
                <c:pt idx="1687">
                  <c:v>105.37216235572363</c:v>
                </c:pt>
                <c:pt idx="1688">
                  <c:v>105.38048999850108</c:v>
                </c:pt>
                <c:pt idx="1689">
                  <c:v>104.06555520394403</c:v>
                </c:pt>
                <c:pt idx="1690">
                  <c:v>105.17979380756489</c:v>
                </c:pt>
                <c:pt idx="1691">
                  <c:v>104.72843556902788</c:v>
                </c:pt>
                <c:pt idx="1692">
                  <c:v>106.34899485351681</c:v>
                </c:pt>
                <c:pt idx="1693">
                  <c:v>106.36898119618265</c:v>
                </c:pt>
                <c:pt idx="1694">
                  <c:v>106.68210056461422</c:v>
                </c:pt>
                <c:pt idx="1695">
                  <c:v>106.41145217434756</c:v>
                </c:pt>
                <c:pt idx="1696">
                  <c:v>106.65212105061543</c:v>
                </c:pt>
                <c:pt idx="1697">
                  <c:v>107.59980679868757</c:v>
                </c:pt>
                <c:pt idx="1698">
                  <c:v>107.6331173697973</c:v>
                </c:pt>
                <c:pt idx="1699">
                  <c:v>107.88461218167585</c:v>
                </c:pt>
                <c:pt idx="1700">
                  <c:v>107.35081027964223</c:v>
                </c:pt>
                <c:pt idx="1701">
                  <c:v>107.73221631884878</c:v>
                </c:pt>
                <c:pt idx="1702">
                  <c:v>108.92889858596625</c:v>
                </c:pt>
                <c:pt idx="1703">
                  <c:v>109.46686430938858</c:v>
                </c:pt>
                <c:pt idx="1704">
                  <c:v>109.54014756583004</c:v>
                </c:pt>
                <c:pt idx="1705">
                  <c:v>109.59177895105013</c:v>
                </c:pt>
                <c:pt idx="1706">
                  <c:v>109.47935577355476</c:v>
                </c:pt>
                <c:pt idx="1707">
                  <c:v>110.42870705018238</c:v>
                </c:pt>
                <c:pt idx="1708">
                  <c:v>109.79414067054179</c:v>
                </c:pt>
                <c:pt idx="1709">
                  <c:v>109.61926017221565</c:v>
                </c:pt>
                <c:pt idx="1710">
                  <c:v>109.34278243200481</c:v>
                </c:pt>
                <c:pt idx="1711">
                  <c:v>109.29281657534021</c:v>
                </c:pt>
                <c:pt idx="1712">
                  <c:v>110.26548525174466</c:v>
                </c:pt>
                <c:pt idx="1713">
                  <c:v>110.38623607201748</c:v>
                </c:pt>
                <c:pt idx="1714">
                  <c:v>111.998467713729</c:v>
                </c:pt>
                <c:pt idx="1715">
                  <c:v>111.95100014989761</c:v>
                </c:pt>
                <c:pt idx="1716">
                  <c:v>112.17751203344386</c:v>
                </c:pt>
                <c:pt idx="1717">
                  <c:v>112.41984643826724</c:v>
                </c:pt>
                <c:pt idx="1718">
                  <c:v>112.58556652953821</c:v>
                </c:pt>
                <c:pt idx="1719">
                  <c:v>111.81026298695899</c:v>
                </c:pt>
                <c:pt idx="1720">
                  <c:v>112.57057677253883</c:v>
                </c:pt>
                <c:pt idx="1721">
                  <c:v>112.46481570926539</c:v>
                </c:pt>
                <c:pt idx="1722">
                  <c:v>111.85939607934584</c:v>
                </c:pt>
                <c:pt idx="1723">
                  <c:v>113.09271997468402</c:v>
                </c:pt>
                <c:pt idx="1724">
                  <c:v>113.3583717792842</c:v>
                </c:pt>
                <c:pt idx="1725">
                  <c:v>113.43998267850306</c:v>
                </c:pt>
                <c:pt idx="1726">
                  <c:v>113.06107493212974</c:v>
                </c:pt>
                <c:pt idx="1727">
                  <c:v>113.544078213221</c:v>
                </c:pt>
                <c:pt idx="1728">
                  <c:v>113.7339484685465</c:v>
                </c:pt>
                <c:pt idx="1729">
                  <c:v>113.88800985992906</c:v>
                </c:pt>
                <c:pt idx="1730">
                  <c:v>114.27024866341335</c:v>
                </c:pt>
                <c:pt idx="1731">
                  <c:v>113.72895188288005</c:v>
                </c:pt>
                <c:pt idx="1732">
                  <c:v>114.42930664046234</c:v>
                </c:pt>
                <c:pt idx="1733">
                  <c:v>114.05789377258874</c:v>
                </c:pt>
                <c:pt idx="1734">
                  <c:v>113.61652870538465</c:v>
                </c:pt>
                <c:pt idx="1735">
                  <c:v>111.87022201495644</c:v>
                </c:pt>
                <c:pt idx="1736">
                  <c:v>112.64219450042471</c:v>
                </c:pt>
                <c:pt idx="1737">
                  <c:v>113.74810546126812</c:v>
                </c:pt>
                <c:pt idx="1738">
                  <c:v>114.16115654302891</c:v>
                </c:pt>
                <c:pt idx="1739">
                  <c:v>114.17947735713928</c:v>
                </c:pt>
                <c:pt idx="1740">
                  <c:v>116.24972935160973</c:v>
                </c:pt>
                <c:pt idx="1741">
                  <c:v>116.11065771722656</c:v>
                </c:pt>
                <c:pt idx="1742">
                  <c:v>116.80351759630918</c:v>
                </c:pt>
                <c:pt idx="1743">
                  <c:v>116.93426158791492</c:v>
                </c:pt>
                <c:pt idx="1744">
                  <c:v>117.39894405489582</c:v>
                </c:pt>
                <c:pt idx="1745">
                  <c:v>117.04668476541029</c:v>
                </c:pt>
                <c:pt idx="1746">
                  <c:v>116.82766776036377</c:v>
                </c:pt>
                <c:pt idx="1747">
                  <c:v>115.98574307556504</c:v>
                </c:pt>
                <c:pt idx="1748">
                  <c:v>116.34633000782799</c:v>
                </c:pt>
                <c:pt idx="1749">
                  <c:v>117.96189270665049</c:v>
                </c:pt>
                <c:pt idx="1750">
                  <c:v>117.6296197598308</c:v>
                </c:pt>
                <c:pt idx="1751">
                  <c:v>117.0483502939658</c:v>
                </c:pt>
                <c:pt idx="1752">
                  <c:v>116.86014556719574</c:v>
                </c:pt>
                <c:pt idx="1753">
                  <c:v>117.29235022734466</c:v>
                </c:pt>
                <c:pt idx="1754">
                  <c:v>118.17258206891957</c:v>
                </c:pt>
                <c:pt idx="1755">
                  <c:v>117.70123748771672</c:v>
                </c:pt>
                <c:pt idx="1756">
                  <c:v>116.50039139921053</c:v>
                </c:pt>
                <c:pt idx="1757">
                  <c:v>116.42710814276909</c:v>
                </c:pt>
                <c:pt idx="1758">
                  <c:v>115.10467846971235</c:v>
                </c:pt>
                <c:pt idx="1759">
                  <c:v>113.13852200995984</c:v>
                </c:pt>
                <c:pt idx="1760">
                  <c:v>113.98127945903632</c:v>
                </c:pt>
                <c:pt idx="1761">
                  <c:v>115.55187288686062</c:v>
                </c:pt>
                <c:pt idx="1762">
                  <c:v>114.11035792208655</c:v>
                </c:pt>
                <c:pt idx="1763">
                  <c:v>114.05289718692224</c:v>
                </c:pt>
                <c:pt idx="1764">
                  <c:v>115.81919022001628</c:v>
                </c:pt>
                <c:pt idx="1765">
                  <c:v>115.34951116736893</c:v>
                </c:pt>
                <c:pt idx="1766">
                  <c:v>114.66497893106373</c:v>
                </c:pt>
                <c:pt idx="1767">
                  <c:v>114.79905397978044</c:v>
                </c:pt>
                <c:pt idx="1768">
                  <c:v>113.83388018187567</c:v>
                </c:pt>
                <c:pt idx="1769">
                  <c:v>114.25276061358066</c:v>
                </c:pt>
                <c:pt idx="1770">
                  <c:v>115.81169534151655</c:v>
                </c:pt>
                <c:pt idx="1771">
                  <c:v>116.58533335554031</c:v>
                </c:pt>
                <c:pt idx="1772">
                  <c:v>116.86680768141763</c:v>
                </c:pt>
                <c:pt idx="1773">
                  <c:v>116.41295115004741</c:v>
                </c:pt>
                <c:pt idx="1774">
                  <c:v>117.07166769374253</c:v>
                </c:pt>
                <c:pt idx="1775">
                  <c:v>116.77936743225453</c:v>
                </c:pt>
                <c:pt idx="1776">
                  <c:v>115.88497859795798</c:v>
                </c:pt>
                <c:pt idx="1777">
                  <c:v>114.01375726586825</c:v>
                </c:pt>
                <c:pt idx="1778">
                  <c:v>114.05372995119993</c:v>
                </c:pt>
                <c:pt idx="1779">
                  <c:v>113.56573008444222</c:v>
                </c:pt>
                <c:pt idx="1780">
                  <c:v>112.80458353458461</c:v>
                </c:pt>
                <c:pt idx="1781">
                  <c:v>113.08855615329517</c:v>
                </c:pt>
                <c:pt idx="1782">
                  <c:v>112.70548458553314</c:v>
                </c:pt>
                <c:pt idx="1783">
                  <c:v>111.45300711180684</c:v>
                </c:pt>
                <c:pt idx="1784">
                  <c:v>110.81261138222206</c:v>
                </c:pt>
                <c:pt idx="1785">
                  <c:v>110.32461151546434</c:v>
                </c:pt>
                <c:pt idx="1786">
                  <c:v>108.66407954564373</c:v>
                </c:pt>
                <c:pt idx="1787">
                  <c:v>107.86129478189896</c:v>
                </c:pt>
                <c:pt idx="1788">
                  <c:v>109.59094618677231</c:v>
                </c:pt>
                <c:pt idx="1789">
                  <c:v>109.64424310054791</c:v>
                </c:pt>
                <c:pt idx="1790">
                  <c:v>109.82994953448471</c:v>
                </c:pt>
                <c:pt idx="1791">
                  <c:v>109.98151263303406</c:v>
                </c:pt>
                <c:pt idx="1792">
                  <c:v>109.74334204959941</c:v>
                </c:pt>
                <c:pt idx="1793">
                  <c:v>110.95917789510499</c:v>
                </c:pt>
                <c:pt idx="1794">
                  <c:v>109.36859812461481</c:v>
                </c:pt>
                <c:pt idx="1795">
                  <c:v>109.11960160556949</c:v>
                </c:pt>
                <c:pt idx="1796">
                  <c:v>106.43060575273559</c:v>
                </c:pt>
                <c:pt idx="1797">
                  <c:v>106.442264452624</c:v>
                </c:pt>
                <c:pt idx="1798">
                  <c:v>107.05184790393227</c:v>
                </c:pt>
                <c:pt idx="1799">
                  <c:v>109.51932845888638</c:v>
                </c:pt>
                <c:pt idx="1800">
                  <c:v>109.50766975899795</c:v>
                </c:pt>
                <c:pt idx="1801">
                  <c:v>110.39622924335033</c:v>
                </c:pt>
                <c:pt idx="1802">
                  <c:v>109.00301460668538</c:v>
                </c:pt>
                <c:pt idx="1803">
                  <c:v>110.27298013024429</c:v>
                </c:pt>
                <c:pt idx="1804">
                  <c:v>109.4985093519428</c:v>
                </c:pt>
                <c:pt idx="1805">
                  <c:v>110.68270015489409</c:v>
                </c:pt>
                <c:pt idx="1806">
                  <c:v>111.82691827251372</c:v>
                </c:pt>
                <c:pt idx="1807">
                  <c:v>111.98847454239595</c:v>
                </c:pt>
                <c:pt idx="1808">
                  <c:v>113.08772338901741</c:v>
                </c:pt>
                <c:pt idx="1809">
                  <c:v>112.89702036941414</c:v>
                </c:pt>
                <c:pt idx="1810">
                  <c:v>110.38373777918413</c:v>
                </c:pt>
                <c:pt idx="1811">
                  <c:v>111.17569660731824</c:v>
                </c:pt>
                <c:pt idx="1812">
                  <c:v>109.4019086957245</c:v>
                </c:pt>
                <c:pt idx="1813">
                  <c:v>109.9240518978697</c:v>
                </c:pt>
                <c:pt idx="1814">
                  <c:v>110.91171033127354</c:v>
                </c:pt>
                <c:pt idx="1815">
                  <c:v>110.6777035692276</c:v>
                </c:pt>
                <c:pt idx="1816">
                  <c:v>113.43581885711423</c:v>
                </c:pt>
                <c:pt idx="1817">
                  <c:v>113.7147948901583</c:v>
                </c:pt>
                <c:pt idx="1818">
                  <c:v>114.42347729051805</c:v>
                </c:pt>
                <c:pt idx="1819">
                  <c:v>113.88717709565121</c:v>
                </c:pt>
                <c:pt idx="1820">
                  <c:v>112.81291117736205</c:v>
                </c:pt>
                <c:pt idx="1821">
                  <c:v>112.62803750770297</c:v>
                </c:pt>
                <c:pt idx="1822">
                  <c:v>111.71282956646282</c:v>
                </c:pt>
                <c:pt idx="1823">
                  <c:v>111.71116403790731</c:v>
                </c:pt>
                <c:pt idx="1824">
                  <c:v>111.15404473609689</c:v>
                </c:pt>
                <c:pt idx="1825">
                  <c:v>112.98779167568819</c:v>
                </c:pt>
                <c:pt idx="1826">
                  <c:v>112.72630369247672</c:v>
                </c:pt>
                <c:pt idx="1827">
                  <c:v>113.56156626305349</c:v>
                </c:pt>
                <c:pt idx="1828">
                  <c:v>114.32021452007784</c:v>
                </c:pt>
                <c:pt idx="1829">
                  <c:v>114.63083559567616</c:v>
                </c:pt>
                <c:pt idx="1830">
                  <c:v>113.47745707100137</c:v>
                </c:pt>
                <c:pt idx="1831">
                  <c:v>112.46648123782072</c:v>
                </c:pt>
                <c:pt idx="1832">
                  <c:v>111.44967605469584</c:v>
                </c:pt>
                <c:pt idx="1833">
                  <c:v>111.41469995503061</c:v>
                </c:pt>
                <c:pt idx="1834">
                  <c:v>113.25760730167704</c:v>
                </c:pt>
                <c:pt idx="1835">
                  <c:v>115.41863060242154</c:v>
                </c:pt>
                <c:pt idx="1836">
                  <c:v>115.36283539581272</c:v>
                </c:pt>
                <c:pt idx="1837">
                  <c:v>114.86484235772208</c:v>
                </c:pt>
                <c:pt idx="1838">
                  <c:v>114.5167468896253</c:v>
                </c:pt>
                <c:pt idx="1839">
                  <c:v>113.67232391199335</c:v>
                </c:pt>
                <c:pt idx="1840">
                  <c:v>115.83667826984879</c:v>
                </c:pt>
                <c:pt idx="1841">
                  <c:v>116.10649389583769</c:v>
                </c:pt>
                <c:pt idx="1842">
                  <c:v>116.69942206159109</c:v>
                </c:pt>
                <c:pt idx="1843">
                  <c:v>116.77187255375479</c:v>
                </c:pt>
                <c:pt idx="1844">
                  <c:v>116.82017288186391</c:v>
                </c:pt>
                <c:pt idx="1845">
                  <c:v>117.07583151513117</c:v>
                </c:pt>
                <c:pt idx="1846">
                  <c:v>116.9292650022483</c:v>
                </c:pt>
                <c:pt idx="1847">
                  <c:v>116.91427524524893</c:v>
                </c:pt>
                <c:pt idx="1848">
                  <c:v>117.04751752968788</c:v>
                </c:pt>
                <c:pt idx="1849">
                  <c:v>117.87861627887594</c:v>
                </c:pt>
                <c:pt idx="1850">
                  <c:v>118.09929881247801</c:v>
                </c:pt>
                <c:pt idx="1851">
                  <c:v>118.09680051964479</c:v>
                </c:pt>
                <c:pt idx="1852">
                  <c:v>117.68374943788399</c:v>
                </c:pt>
                <c:pt idx="1853">
                  <c:v>117.71039789477177</c:v>
                </c:pt>
                <c:pt idx="1854">
                  <c:v>116.76021385386639</c:v>
                </c:pt>
                <c:pt idx="1855">
                  <c:v>117.5138655252243</c:v>
                </c:pt>
                <c:pt idx="1856">
                  <c:v>117.45640479005999</c:v>
                </c:pt>
                <c:pt idx="1857">
                  <c:v>117.36146966239723</c:v>
                </c:pt>
                <c:pt idx="1858">
                  <c:v>117.46056861144871</c:v>
                </c:pt>
                <c:pt idx="1859">
                  <c:v>116.54369514165306</c:v>
                </c:pt>
                <c:pt idx="1860">
                  <c:v>117.13495777885096</c:v>
                </c:pt>
                <c:pt idx="1861">
                  <c:v>116.99838443730104</c:v>
                </c:pt>
                <c:pt idx="1862">
                  <c:v>116.87346979563949</c:v>
                </c:pt>
                <c:pt idx="1863">
                  <c:v>119.26183774420797</c:v>
                </c:pt>
                <c:pt idx="1864">
                  <c:v>119.74484102529924</c:v>
                </c:pt>
                <c:pt idx="1865">
                  <c:v>119.00867740377393</c:v>
                </c:pt>
                <c:pt idx="1866">
                  <c:v>119.38175580020305</c:v>
                </c:pt>
                <c:pt idx="1867">
                  <c:v>119.63158508352612</c:v>
                </c:pt>
                <c:pt idx="1868">
                  <c:v>121.58275178627923</c:v>
                </c:pt>
                <c:pt idx="1869">
                  <c:v>122.064089538815</c:v>
                </c:pt>
                <c:pt idx="1870">
                  <c:v>121.68268349960847</c:v>
                </c:pt>
                <c:pt idx="1871">
                  <c:v>121.52695657967043</c:v>
                </c:pt>
                <c:pt idx="1872">
                  <c:v>121.67102479972004</c:v>
                </c:pt>
                <c:pt idx="1873">
                  <c:v>121.60523642177832</c:v>
                </c:pt>
                <c:pt idx="1874">
                  <c:v>121.59607601472314</c:v>
                </c:pt>
                <c:pt idx="1875">
                  <c:v>121.32459486017875</c:v>
                </c:pt>
                <c:pt idx="1876">
                  <c:v>120.05046551523111</c:v>
                </c:pt>
                <c:pt idx="1877">
                  <c:v>119.36176945753719</c:v>
                </c:pt>
                <c:pt idx="1878">
                  <c:v>120.51348245365652</c:v>
                </c:pt>
                <c:pt idx="1879">
                  <c:v>119.97385120167868</c:v>
                </c:pt>
                <c:pt idx="1880">
                  <c:v>120.2919671557767</c:v>
                </c:pt>
                <c:pt idx="1881">
                  <c:v>120.39689545477239</c:v>
                </c:pt>
                <c:pt idx="1882">
                  <c:v>120.83326393630999</c:v>
                </c:pt>
                <c:pt idx="1883">
                  <c:v>121.70017154944102</c:v>
                </c:pt>
                <c:pt idx="1884">
                  <c:v>121.66103162838708</c:v>
                </c:pt>
                <c:pt idx="1885">
                  <c:v>121.2404856681266</c:v>
                </c:pt>
                <c:pt idx="1886">
                  <c:v>120.04130510817589</c:v>
                </c:pt>
                <c:pt idx="1887">
                  <c:v>119.29847937242864</c:v>
                </c:pt>
                <c:pt idx="1888">
                  <c:v>119.32179677220546</c:v>
                </c:pt>
                <c:pt idx="1889">
                  <c:v>118.96787195416445</c:v>
                </c:pt>
                <c:pt idx="1890">
                  <c:v>119.92888193068053</c:v>
                </c:pt>
                <c:pt idx="1891">
                  <c:v>121.16054029746323</c:v>
                </c:pt>
                <c:pt idx="1892">
                  <c:v>121.65936609983163</c:v>
                </c:pt>
                <c:pt idx="1893">
                  <c:v>121.36206925267717</c:v>
                </c:pt>
                <c:pt idx="1894">
                  <c:v>119.35094352192654</c:v>
                </c:pt>
                <c:pt idx="1895">
                  <c:v>119.40340767142439</c:v>
                </c:pt>
                <c:pt idx="1896">
                  <c:v>117.67875285221751</c:v>
                </c:pt>
                <c:pt idx="1897">
                  <c:v>117.31566762712134</c:v>
                </c:pt>
                <c:pt idx="1898">
                  <c:v>117.6670941523291</c:v>
                </c:pt>
                <c:pt idx="1899">
                  <c:v>117.5813194317215</c:v>
                </c:pt>
                <c:pt idx="1900">
                  <c:v>117.59964024583185</c:v>
                </c:pt>
                <c:pt idx="1901">
                  <c:v>118.88459552639013</c:v>
                </c:pt>
                <c:pt idx="1902">
                  <c:v>117.76952415849154</c:v>
                </c:pt>
                <c:pt idx="1903">
                  <c:v>118.02435002748105</c:v>
                </c:pt>
                <c:pt idx="1904">
                  <c:v>118.95121666860963</c:v>
                </c:pt>
                <c:pt idx="1905">
                  <c:v>116.13147682416999</c:v>
                </c:pt>
                <c:pt idx="1906">
                  <c:v>114.71411202345048</c:v>
                </c:pt>
                <c:pt idx="1907">
                  <c:v>114.90897886444247</c:v>
                </c:pt>
                <c:pt idx="1908">
                  <c:v>114.92396862144186</c:v>
                </c:pt>
                <c:pt idx="1909">
                  <c:v>114.46594826868292</c:v>
                </c:pt>
                <c:pt idx="1910">
                  <c:v>112.88036508385922</c:v>
                </c:pt>
                <c:pt idx="1911">
                  <c:v>112.70048799986661</c:v>
                </c:pt>
                <c:pt idx="1912">
                  <c:v>113.24594860178865</c:v>
                </c:pt>
                <c:pt idx="1913">
                  <c:v>115.49524491597394</c:v>
                </c:pt>
                <c:pt idx="1914">
                  <c:v>115.57185922952634</c:v>
                </c:pt>
                <c:pt idx="1915">
                  <c:v>115.84000932695977</c:v>
                </c:pt>
                <c:pt idx="1916">
                  <c:v>117.34897819823108</c:v>
                </c:pt>
                <c:pt idx="1917">
                  <c:v>117.11080761479641</c:v>
                </c:pt>
                <c:pt idx="1918">
                  <c:v>116.49872587065491</c:v>
                </c:pt>
                <c:pt idx="1919">
                  <c:v>117.41393381189505</c:v>
                </c:pt>
                <c:pt idx="1920">
                  <c:v>117.91525790709665</c:v>
                </c:pt>
                <c:pt idx="1921">
                  <c:v>117.93441148548474</c:v>
                </c:pt>
                <c:pt idx="1922">
                  <c:v>117.37479389084106</c:v>
                </c:pt>
                <c:pt idx="1923">
                  <c:v>117.17409769990486</c:v>
                </c:pt>
                <c:pt idx="1924">
                  <c:v>117.35980413384169</c:v>
                </c:pt>
                <c:pt idx="1925">
                  <c:v>117.74787228727017</c:v>
                </c:pt>
                <c:pt idx="1926">
                  <c:v>118.09180393397824</c:v>
                </c:pt>
                <c:pt idx="1927">
                  <c:v>118.13177661930993</c:v>
                </c:pt>
                <c:pt idx="1928">
                  <c:v>118.90541463333366</c:v>
                </c:pt>
                <c:pt idx="1929">
                  <c:v>118.95871154710927</c:v>
                </c:pt>
                <c:pt idx="1930">
                  <c:v>118.20672540430687</c:v>
                </c:pt>
                <c:pt idx="1931">
                  <c:v>117.71789277327139</c:v>
                </c:pt>
                <c:pt idx="1932">
                  <c:v>119.11527123132502</c:v>
                </c:pt>
                <c:pt idx="1933">
                  <c:v>120.48350293965767</c:v>
                </c:pt>
                <c:pt idx="1934">
                  <c:v>119.56912776269527</c:v>
                </c:pt>
                <c:pt idx="1935">
                  <c:v>120.2253460135572</c:v>
                </c:pt>
                <c:pt idx="1936">
                  <c:v>119.09778318149245</c:v>
                </c:pt>
                <c:pt idx="1937">
                  <c:v>118.80714844855996</c:v>
                </c:pt>
                <c:pt idx="1938">
                  <c:v>118.2383704468611</c:v>
                </c:pt>
                <c:pt idx="1939">
                  <c:v>118.09430222681146</c:v>
                </c:pt>
                <c:pt idx="1940">
                  <c:v>116.78936060358735</c:v>
                </c:pt>
                <c:pt idx="1941">
                  <c:v>118.768008527506</c:v>
                </c:pt>
                <c:pt idx="1942">
                  <c:v>121.78511350577084</c:v>
                </c:pt>
                <c:pt idx="1943">
                  <c:v>121.53112040105904</c:v>
                </c:pt>
                <c:pt idx="1944">
                  <c:v>122.12238303825697</c:v>
                </c:pt>
                <c:pt idx="1945">
                  <c:v>121.74097699905042</c:v>
                </c:pt>
                <c:pt idx="1946">
                  <c:v>121.34624673139999</c:v>
                </c:pt>
                <c:pt idx="1947">
                  <c:v>121.66852650688672</c:v>
                </c:pt>
                <c:pt idx="1948">
                  <c:v>122.59289485518204</c:v>
                </c:pt>
                <c:pt idx="1949">
                  <c:v>122.58706550523785</c:v>
                </c:pt>
                <c:pt idx="1950">
                  <c:v>122.47297679918699</c:v>
                </c:pt>
                <c:pt idx="1951">
                  <c:v>122.61121566929241</c:v>
                </c:pt>
                <c:pt idx="1952">
                  <c:v>122.63536583334697</c:v>
                </c:pt>
                <c:pt idx="1953">
                  <c:v>123.32739294815185</c:v>
                </c:pt>
                <c:pt idx="1954">
                  <c:v>123.74710614413459</c:v>
                </c:pt>
                <c:pt idx="1955">
                  <c:v>124.29506503888983</c:v>
                </c:pt>
                <c:pt idx="1956">
                  <c:v>124.48243700138214</c:v>
                </c:pt>
                <c:pt idx="1957">
                  <c:v>124.4832697656599</c:v>
                </c:pt>
                <c:pt idx="1958">
                  <c:v>125.16113988774316</c:v>
                </c:pt>
                <c:pt idx="1959">
                  <c:v>124.92963141853045</c:v>
                </c:pt>
                <c:pt idx="1960">
                  <c:v>125.56752885528198</c:v>
                </c:pt>
                <c:pt idx="1961">
                  <c:v>125.07786345996878</c:v>
                </c:pt>
                <c:pt idx="1962">
                  <c:v>124.75724921303751</c:v>
                </c:pt>
                <c:pt idx="1963">
                  <c:v>126.01139221531929</c:v>
                </c:pt>
                <c:pt idx="1964">
                  <c:v>124.55738578637906</c:v>
                </c:pt>
                <c:pt idx="1965">
                  <c:v>125.85483253110347</c:v>
                </c:pt>
                <c:pt idx="1966">
                  <c:v>125.92395196615617</c:v>
                </c:pt>
                <c:pt idx="1967">
                  <c:v>125.6966073183322</c:v>
                </c:pt>
                <c:pt idx="1968">
                  <c:v>126.40778801152518</c:v>
                </c:pt>
                <c:pt idx="1969">
                  <c:v>126.33117369797277</c:v>
                </c:pt>
                <c:pt idx="1970">
                  <c:v>126.5327026531867</c:v>
                </c:pt>
                <c:pt idx="1971">
                  <c:v>126.60765143818359</c:v>
                </c:pt>
                <c:pt idx="1972">
                  <c:v>126.69509168734669</c:v>
                </c:pt>
                <c:pt idx="1973">
                  <c:v>126.56268216718546</c:v>
                </c:pt>
                <c:pt idx="1974">
                  <c:v>127.49121433686952</c:v>
                </c:pt>
                <c:pt idx="1975">
                  <c:v>125.90979497343453</c:v>
                </c:pt>
                <c:pt idx="1976">
                  <c:v>125.11617061674495</c:v>
                </c:pt>
                <c:pt idx="1977">
                  <c:v>126.21375393481092</c:v>
                </c:pt>
                <c:pt idx="1978">
                  <c:v>123.9028330640726</c:v>
                </c:pt>
                <c:pt idx="1979">
                  <c:v>124.65981579254149</c:v>
                </c:pt>
                <c:pt idx="1980">
                  <c:v>126.24623174164294</c:v>
                </c:pt>
                <c:pt idx="1981">
                  <c:v>126.13713962125854</c:v>
                </c:pt>
                <c:pt idx="1982">
                  <c:v>126.43027264702425</c:v>
                </c:pt>
                <c:pt idx="1983">
                  <c:v>127.01320764144474</c:v>
                </c:pt>
                <c:pt idx="1984">
                  <c:v>128.22821072267254</c:v>
                </c:pt>
                <c:pt idx="1985">
                  <c:v>128.36728235705573</c:v>
                </c:pt>
                <c:pt idx="1986">
                  <c:v>128.6004563548239</c:v>
                </c:pt>
                <c:pt idx="1987">
                  <c:v>129.17672923502244</c:v>
                </c:pt>
                <c:pt idx="1988">
                  <c:v>129.59644243100519</c:v>
                </c:pt>
                <c:pt idx="1989">
                  <c:v>129.28498859112909</c:v>
                </c:pt>
                <c:pt idx="1990">
                  <c:v>129.45487250378881</c:v>
                </c:pt>
                <c:pt idx="1991">
                  <c:v>130.18021018970344</c:v>
                </c:pt>
                <c:pt idx="1992">
                  <c:v>129.96952082743434</c:v>
                </c:pt>
                <c:pt idx="1993">
                  <c:v>129.25334354857489</c:v>
                </c:pt>
                <c:pt idx="1994">
                  <c:v>128.94022418014333</c:v>
                </c:pt>
                <c:pt idx="1995">
                  <c:v>129.80380073616342</c:v>
                </c:pt>
                <c:pt idx="1996">
                  <c:v>128.72870205359652</c:v>
                </c:pt>
                <c:pt idx="1997">
                  <c:v>129.65223763761412</c:v>
                </c:pt>
                <c:pt idx="1998">
                  <c:v>129.21920021318749</c:v>
                </c:pt>
                <c:pt idx="1999">
                  <c:v>130.22517946070167</c:v>
                </c:pt>
                <c:pt idx="2000">
                  <c:v>130.14856514714924</c:v>
                </c:pt>
                <c:pt idx="2001">
                  <c:v>130.67653769923865</c:v>
                </c:pt>
                <c:pt idx="2002">
                  <c:v>130.09193717626269</c:v>
                </c:pt>
                <c:pt idx="2003">
                  <c:v>130.76481071267946</c:v>
                </c:pt>
                <c:pt idx="2004">
                  <c:v>129.38575306873616</c:v>
                </c:pt>
                <c:pt idx="2005">
                  <c:v>129.90956179943686</c:v>
                </c:pt>
                <c:pt idx="2006">
                  <c:v>129.35160973334868</c:v>
                </c:pt>
                <c:pt idx="2007">
                  <c:v>130.1668859612596</c:v>
                </c:pt>
                <c:pt idx="2008">
                  <c:v>130.6282373711295</c:v>
                </c:pt>
                <c:pt idx="2009">
                  <c:v>132.22048267017516</c:v>
                </c:pt>
                <c:pt idx="2010">
                  <c:v>132.69016172282252</c:v>
                </c:pt>
                <c:pt idx="2011">
                  <c:v>132.31375226928242</c:v>
                </c:pt>
                <c:pt idx="2012">
                  <c:v>129.27499541979623</c:v>
                </c:pt>
                <c:pt idx="2013">
                  <c:v>131.12456488066465</c:v>
                </c:pt>
                <c:pt idx="2014">
                  <c:v>129.24584867007522</c:v>
                </c:pt>
                <c:pt idx="2015">
                  <c:v>128.37977382122193</c:v>
                </c:pt>
                <c:pt idx="2016">
                  <c:v>129.5156642960641</c:v>
                </c:pt>
                <c:pt idx="2017">
                  <c:v>130.11941839742818</c:v>
                </c:pt>
                <c:pt idx="2018">
                  <c:v>131.47515864159467</c:v>
                </c:pt>
                <c:pt idx="2019">
                  <c:v>131.47599140587241</c:v>
                </c:pt>
                <c:pt idx="2020">
                  <c:v>132.00646225079504</c:v>
                </c:pt>
                <c:pt idx="2021">
                  <c:v>131.76329508169391</c:v>
                </c:pt>
                <c:pt idx="2022">
                  <c:v>132.71014806548831</c:v>
                </c:pt>
                <c:pt idx="2023">
                  <c:v>133.03992271947476</c:v>
                </c:pt>
                <c:pt idx="2024">
                  <c:v>131.80160223847011</c:v>
                </c:pt>
                <c:pt idx="2025">
                  <c:v>133.04158824803022</c:v>
                </c:pt>
                <c:pt idx="2026">
                  <c:v>134.44313052747262</c:v>
                </c:pt>
                <c:pt idx="2027">
                  <c:v>134.69962192501762</c:v>
                </c:pt>
                <c:pt idx="2028">
                  <c:v>135.40414050398866</c:v>
                </c:pt>
                <c:pt idx="2029">
                  <c:v>135.96459086291009</c:v>
                </c:pt>
                <c:pt idx="2030">
                  <c:v>135.46326676770846</c:v>
                </c:pt>
                <c:pt idx="2031">
                  <c:v>136.04870005496218</c:v>
                </c:pt>
                <c:pt idx="2032">
                  <c:v>136.05452940490636</c:v>
                </c:pt>
                <c:pt idx="2033">
                  <c:v>137.43441981312736</c:v>
                </c:pt>
                <c:pt idx="2034">
                  <c:v>138.1372728635429</c:v>
                </c:pt>
                <c:pt idx="2035">
                  <c:v>137.44524574873802</c:v>
                </c:pt>
                <c:pt idx="2036">
                  <c:v>138.86094502090202</c:v>
                </c:pt>
                <c:pt idx="2037">
                  <c:v>138.76267883612826</c:v>
                </c:pt>
                <c:pt idx="2038">
                  <c:v>139.00168218384067</c:v>
                </c:pt>
                <c:pt idx="2039">
                  <c:v>137.85163471627683</c:v>
                </c:pt>
                <c:pt idx="2040">
                  <c:v>137.44857680584897</c:v>
                </c:pt>
                <c:pt idx="2041">
                  <c:v>137.37279525657428</c:v>
                </c:pt>
                <c:pt idx="2042">
                  <c:v>138.24386669109398</c:v>
                </c:pt>
                <c:pt idx="2043">
                  <c:v>137.26953248613407</c:v>
                </c:pt>
                <c:pt idx="2044">
                  <c:v>137.77335487416892</c:v>
                </c:pt>
                <c:pt idx="2045">
                  <c:v>135.80220182874993</c:v>
                </c:pt>
                <c:pt idx="2046">
                  <c:v>136.60831764960568</c:v>
                </c:pt>
                <c:pt idx="2047">
                  <c:v>135.85549874252555</c:v>
                </c:pt>
                <c:pt idx="2048">
                  <c:v>133.98344464615806</c:v>
                </c:pt>
                <c:pt idx="2049">
                  <c:v>135.12100064955573</c:v>
                </c:pt>
                <c:pt idx="2050">
                  <c:v>136.85481587581779</c:v>
                </c:pt>
                <c:pt idx="2051">
                  <c:v>136.8073483119864</c:v>
                </c:pt>
                <c:pt idx="2052">
                  <c:v>135.41829749671018</c:v>
                </c:pt>
                <c:pt idx="2053">
                  <c:v>134.28490531470121</c:v>
                </c:pt>
                <c:pt idx="2054">
                  <c:v>136.2702153528418</c:v>
                </c:pt>
                <c:pt idx="2055">
                  <c:v>135.46826335337479</c:v>
                </c:pt>
                <c:pt idx="2056">
                  <c:v>136.49339617927708</c:v>
                </c:pt>
                <c:pt idx="2057">
                  <c:v>137.55683616195557</c:v>
                </c:pt>
                <c:pt idx="2058">
                  <c:v>135.65147149447836</c:v>
                </c:pt>
                <c:pt idx="2059">
                  <c:v>132.25878982695119</c:v>
                </c:pt>
                <c:pt idx="2060">
                  <c:v>132.61188188071444</c:v>
                </c:pt>
                <c:pt idx="2061">
                  <c:v>131.00131576755842</c:v>
                </c:pt>
                <c:pt idx="2062">
                  <c:v>132.24546559850725</c:v>
                </c:pt>
                <c:pt idx="2063">
                  <c:v>133.51376559351067</c:v>
                </c:pt>
                <c:pt idx="2064">
                  <c:v>134.34153328558776</c:v>
                </c:pt>
                <c:pt idx="2065">
                  <c:v>133.76526040538923</c:v>
                </c:pt>
                <c:pt idx="2066">
                  <c:v>134.48809979847061</c:v>
                </c:pt>
                <c:pt idx="2067">
                  <c:v>134.41481654202917</c:v>
                </c:pt>
                <c:pt idx="2068">
                  <c:v>134.52557419096905</c:v>
                </c:pt>
                <c:pt idx="2069">
                  <c:v>135.89796972069041</c:v>
                </c:pt>
                <c:pt idx="2070">
                  <c:v>136.61164870671664</c:v>
                </c:pt>
                <c:pt idx="2071">
                  <c:v>137.59930714012049</c:v>
                </c:pt>
                <c:pt idx="2072">
                  <c:v>137.62429006845281</c:v>
                </c:pt>
                <c:pt idx="2073">
                  <c:v>139.48968205059836</c:v>
                </c:pt>
                <c:pt idx="2074">
                  <c:v>139.92022118219177</c:v>
                </c:pt>
                <c:pt idx="2075">
                  <c:v>140.11258973035049</c:v>
                </c:pt>
                <c:pt idx="2076">
                  <c:v>139.59294482103851</c:v>
                </c:pt>
                <c:pt idx="2077">
                  <c:v>139.98018021018925</c:v>
                </c:pt>
                <c:pt idx="2078">
                  <c:v>140.68469878916025</c:v>
                </c:pt>
                <c:pt idx="2079">
                  <c:v>140.91121067270652</c:v>
                </c:pt>
                <c:pt idx="2080">
                  <c:v>141.19768158425032</c:v>
                </c:pt>
                <c:pt idx="2081">
                  <c:v>140.93619360103887</c:v>
                </c:pt>
                <c:pt idx="2082">
                  <c:v>140.39906064189429</c:v>
                </c:pt>
                <c:pt idx="2083">
                  <c:v>140.75798204560175</c:v>
                </c:pt>
                <c:pt idx="2084">
                  <c:v>140.87456904448584</c:v>
                </c:pt>
                <c:pt idx="2085">
                  <c:v>140.34826202095192</c:v>
                </c:pt>
                <c:pt idx="2086">
                  <c:v>140.40072617044979</c:v>
                </c:pt>
                <c:pt idx="2087">
                  <c:v>140.3815725920617</c:v>
                </c:pt>
                <c:pt idx="2088">
                  <c:v>142.14203627521152</c:v>
                </c:pt>
                <c:pt idx="2089">
                  <c:v>142.3752102729797</c:v>
                </c:pt>
                <c:pt idx="2090">
                  <c:v>142.16452091071059</c:v>
                </c:pt>
                <c:pt idx="2091">
                  <c:v>141.35091021135511</c:v>
                </c:pt>
                <c:pt idx="2092">
                  <c:v>140.81294448793281</c:v>
                </c:pt>
                <c:pt idx="2093">
                  <c:v>141.3600706184103</c:v>
                </c:pt>
                <c:pt idx="2094">
                  <c:v>140.85541546609772</c:v>
                </c:pt>
                <c:pt idx="2095">
                  <c:v>140.69302643193774</c:v>
                </c:pt>
                <c:pt idx="2096">
                  <c:v>141.08359287819945</c:v>
                </c:pt>
                <c:pt idx="2097">
                  <c:v>140.35325860661837</c:v>
                </c:pt>
                <c:pt idx="2098">
                  <c:v>138.34879499008966</c:v>
                </c:pt>
                <c:pt idx="2099">
                  <c:v>137.89160740160844</c:v>
                </c:pt>
                <c:pt idx="2100">
                  <c:v>137.07799670225302</c:v>
                </c:pt>
                <c:pt idx="2101">
                  <c:v>137.60180543295371</c:v>
                </c:pt>
                <c:pt idx="2102">
                  <c:v>136.80651554770864</c:v>
                </c:pt>
                <c:pt idx="2103">
                  <c:v>137.98570976499349</c:v>
                </c:pt>
                <c:pt idx="2104">
                  <c:v>138.53033760263779</c:v>
                </c:pt>
                <c:pt idx="2105">
                  <c:v>137.97072000799415</c:v>
                </c:pt>
                <c:pt idx="2106">
                  <c:v>135.78054995752865</c:v>
                </c:pt>
                <c:pt idx="2107">
                  <c:v>136.15362835395777</c:v>
                </c:pt>
                <c:pt idx="2108">
                  <c:v>136.42094568711343</c:v>
                </c:pt>
                <c:pt idx="2109">
                  <c:v>135.9879082626868</c:v>
                </c:pt>
                <c:pt idx="2110">
                  <c:v>136.55418797155238</c:v>
                </c:pt>
                <c:pt idx="2111">
                  <c:v>137.66259722522904</c:v>
                </c:pt>
                <c:pt idx="2112">
                  <c:v>137.82915008077774</c:v>
                </c:pt>
                <c:pt idx="2113">
                  <c:v>137.83664495927744</c:v>
                </c:pt>
                <c:pt idx="2114">
                  <c:v>139.21403707466521</c:v>
                </c:pt>
                <c:pt idx="2115">
                  <c:v>140.23667160773428</c:v>
                </c:pt>
                <c:pt idx="2116">
                  <c:v>140.66471244649446</c:v>
                </c:pt>
                <c:pt idx="2117">
                  <c:v>140.18920404390289</c:v>
                </c:pt>
                <c:pt idx="2118">
                  <c:v>140.56977731883168</c:v>
                </c:pt>
                <c:pt idx="2119">
                  <c:v>141.37006378974323</c:v>
                </c:pt>
                <c:pt idx="2120">
                  <c:v>141.9663230126076</c:v>
                </c:pt>
                <c:pt idx="2121">
                  <c:v>143.69514165320319</c:v>
                </c:pt>
                <c:pt idx="2122">
                  <c:v>143.43032261288076</c:v>
                </c:pt>
                <c:pt idx="2123">
                  <c:v>142.39519661564555</c:v>
                </c:pt>
                <c:pt idx="2124">
                  <c:v>141.7231558435065</c:v>
                </c:pt>
                <c:pt idx="2125">
                  <c:v>141.35507403274386</c:v>
                </c:pt>
                <c:pt idx="2126">
                  <c:v>140.9678386435931</c:v>
                </c:pt>
                <c:pt idx="2127">
                  <c:v>141.4591695674618</c:v>
                </c:pt>
                <c:pt idx="2128">
                  <c:v>140.88289668726327</c:v>
                </c:pt>
                <c:pt idx="2129">
                  <c:v>140.03347712396484</c:v>
                </c:pt>
                <c:pt idx="2130">
                  <c:v>141.15354507752991</c:v>
                </c:pt>
                <c:pt idx="2131">
                  <c:v>141.05944271414486</c:v>
                </c:pt>
                <c:pt idx="2132">
                  <c:v>139.79280824769697</c:v>
                </c:pt>
                <c:pt idx="2133">
                  <c:v>140.7788011525453</c:v>
                </c:pt>
                <c:pt idx="2134">
                  <c:v>139.58128612115007</c:v>
                </c:pt>
                <c:pt idx="2135">
                  <c:v>137.85996235905418</c:v>
                </c:pt>
                <c:pt idx="2136">
                  <c:v>137.93907496543983</c:v>
                </c:pt>
                <c:pt idx="2137">
                  <c:v>140.95035059376045</c:v>
                </c:pt>
                <c:pt idx="2138">
                  <c:v>141.83641178527955</c:v>
                </c:pt>
                <c:pt idx="2139">
                  <c:v>142.41435019403355</c:v>
                </c:pt>
                <c:pt idx="2140">
                  <c:v>141.40837094651934</c:v>
                </c:pt>
                <c:pt idx="2141">
                  <c:v>143.36370147066117</c:v>
                </c:pt>
                <c:pt idx="2142">
                  <c:v>144.33054079712142</c:v>
                </c:pt>
                <c:pt idx="2143">
                  <c:v>145.27572825236032</c:v>
                </c:pt>
                <c:pt idx="2144">
                  <c:v>145.2890524808042</c:v>
                </c:pt>
                <c:pt idx="2145">
                  <c:v>146.12264952282547</c:v>
                </c:pt>
                <c:pt idx="2146">
                  <c:v>145.43228793657607</c:v>
                </c:pt>
                <c:pt idx="2147">
                  <c:v>145.90613081061213</c:v>
                </c:pt>
                <c:pt idx="2148">
                  <c:v>146.54735930447464</c:v>
                </c:pt>
                <c:pt idx="2149">
                  <c:v>146.74222614546662</c:v>
                </c:pt>
                <c:pt idx="2150">
                  <c:v>147.56166619476627</c:v>
                </c:pt>
                <c:pt idx="2151">
                  <c:v>146.84215785879584</c:v>
                </c:pt>
                <c:pt idx="2152">
                  <c:v>146.27837644276346</c:v>
                </c:pt>
                <c:pt idx="2153">
                  <c:v>146.70308622441266</c:v>
                </c:pt>
                <c:pt idx="2154">
                  <c:v>147.22689495511335</c:v>
                </c:pt>
                <c:pt idx="2155">
                  <c:v>146.81384387335254</c:v>
                </c:pt>
                <c:pt idx="2156">
                  <c:v>147.44008261021568</c:v>
                </c:pt>
                <c:pt idx="2157">
                  <c:v>145.49641078596227</c:v>
                </c:pt>
                <c:pt idx="2158">
                  <c:v>147.45007578154858</c:v>
                </c:pt>
                <c:pt idx="2159">
                  <c:v>147.55666960909977</c:v>
                </c:pt>
                <c:pt idx="2160">
                  <c:v>147.20690861244745</c:v>
                </c:pt>
                <c:pt idx="2161">
                  <c:v>148.39859429389847</c:v>
                </c:pt>
                <c:pt idx="2162">
                  <c:v>149.11643710131338</c:v>
                </c:pt>
                <c:pt idx="2163">
                  <c:v>149.74600689528754</c:v>
                </c:pt>
                <c:pt idx="2164">
                  <c:v>149.1922186505881</c:v>
                </c:pt>
                <c:pt idx="2165">
                  <c:v>148.88742692493395</c:v>
                </c:pt>
                <c:pt idx="2166">
                  <c:v>148.34613014440063</c:v>
                </c:pt>
                <c:pt idx="2167">
                  <c:v>149.55197281857329</c:v>
                </c:pt>
                <c:pt idx="2168">
                  <c:v>150.29396579004279</c:v>
                </c:pt>
                <c:pt idx="2169">
                  <c:v>150.10409553471729</c:v>
                </c:pt>
                <c:pt idx="2170">
                  <c:v>150.12658017021636</c:v>
                </c:pt>
                <c:pt idx="2171">
                  <c:v>150.49965856664545</c:v>
                </c:pt>
                <c:pt idx="2172">
                  <c:v>150.38140603920587</c:v>
                </c:pt>
                <c:pt idx="2173">
                  <c:v>149.97251877883383</c:v>
                </c:pt>
                <c:pt idx="2174">
                  <c:v>149.49367931913127</c:v>
                </c:pt>
                <c:pt idx="2175">
                  <c:v>149.29881247813927</c:v>
                </c:pt>
                <c:pt idx="2176">
                  <c:v>148.65092187005479</c:v>
                </c:pt>
                <c:pt idx="2177">
                  <c:v>150.32144701120828</c:v>
                </c:pt>
                <c:pt idx="2178">
                  <c:v>150.59459369430814</c:v>
                </c:pt>
                <c:pt idx="2179">
                  <c:v>150.11575423460559</c:v>
                </c:pt>
                <c:pt idx="2180">
                  <c:v>148.41691510800877</c:v>
                </c:pt>
                <c:pt idx="2181">
                  <c:v>147.8572975133651</c:v>
                </c:pt>
                <c:pt idx="2182">
                  <c:v>147.8423077563657</c:v>
                </c:pt>
                <c:pt idx="2183">
                  <c:v>148.77666927599395</c:v>
                </c:pt>
                <c:pt idx="2184">
                  <c:v>148.31531786612402</c:v>
                </c:pt>
                <c:pt idx="2185">
                  <c:v>150.78446394963365</c:v>
                </c:pt>
                <c:pt idx="2186">
                  <c:v>150.69702370047054</c:v>
                </c:pt>
                <c:pt idx="2187">
                  <c:v>151.42319415066291</c:v>
                </c:pt>
                <c:pt idx="2188">
                  <c:v>152.2284772072409</c:v>
                </c:pt>
                <c:pt idx="2189">
                  <c:v>152.67234056727818</c:v>
                </c:pt>
                <c:pt idx="2190">
                  <c:v>153.39684548891509</c:v>
                </c:pt>
                <c:pt idx="2191">
                  <c:v>153.34521410369501</c:v>
                </c:pt>
                <c:pt idx="2192">
                  <c:v>153.31773288252947</c:v>
                </c:pt>
                <c:pt idx="2193">
                  <c:v>153.92481804100447</c:v>
                </c:pt>
                <c:pt idx="2194">
                  <c:v>152.56075015406057</c:v>
                </c:pt>
                <c:pt idx="2195">
                  <c:v>152.5099515331182</c:v>
                </c:pt>
                <c:pt idx="2196">
                  <c:v>152.12687996535615</c:v>
                </c:pt>
                <c:pt idx="2197">
                  <c:v>153.05208107792924</c:v>
                </c:pt>
                <c:pt idx="2198">
                  <c:v>153.01960327109722</c:v>
                </c:pt>
                <c:pt idx="2199">
                  <c:v>153.07290018487285</c:v>
                </c:pt>
                <c:pt idx="2200">
                  <c:v>153.4259922386361</c:v>
                </c:pt>
                <c:pt idx="2201">
                  <c:v>151.49647740710432</c:v>
                </c:pt>
                <c:pt idx="2202">
                  <c:v>153.13535750570364</c:v>
                </c:pt>
                <c:pt idx="2203">
                  <c:v>153.92648356955999</c:v>
                </c:pt>
                <c:pt idx="2204">
                  <c:v>153.71912526440184</c:v>
                </c:pt>
                <c:pt idx="2205">
                  <c:v>153.12036774870424</c:v>
                </c:pt>
                <c:pt idx="2206">
                  <c:v>153.54507753035344</c:v>
                </c:pt>
                <c:pt idx="2207">
                  <c:v>153.63335054379422</c:v>
                </c:pt>
                <c:pt idx="2208">
                  <c:v>152.26761712829486</c:v>
                </c:pt>
                <c:pt idx="2209">
                  <c:v>149.08895588014775</c:v>
                </c:pt>
                <c:pt idx="2210">
                  <c:v>148.36195266567765</c:v>
                </c:pt>
                <c:pt idx="2211">
                  <c:v>149.27299678552905</c:v>
                </c:pt>
                <c:pt idx="2212">
                  <c:v>147.74903815725838</c:v>
                </c:pt>
                <c:pt idx="2213">
                  <c:v>149.41373394846772</c:v>
                </c:pt>
                <c:pt idx="2214">
                  <c:v>148.44772738628518</c:v>
                </c:pt>
                <c:pt idx="2215">
                  <c:v>145.05837677586899</c:v>
                </c:pt>
                <c:pt idx="2216">
                  <c:v>146.16678602954562</c:v>
                </c:pt>
                <c:pt idx="2217">
                  <c:v>145.87032194666892</c:v>
                </c:pt>
                <c:pt idx="2218">
                  <c:v>147.6849153078721</c:v>
                </c:pt>
                <c:pt idx="2219">
                  <c:v>149.64940623906912</c:v>
                </c:pt>
                <c:pt idx="2220">
                  <c:v>149.88424576539279</c:v>
                </c:pt>
                <c:pt idx="2221">
                  <c:v>151.54227944238019</c:v>
                </c:pt>
                <c:pt idx="2222">
                  <c:v>151.50147399277074</c:v>
                </c:pt>
                <c:pt idx="2223">
                  <c:v>152.38170583434569</c:v>
                </c:pt>
                <c:pt idx="2224">
                  <c:v>153.11453839876003</c:v>
                </c:pt>
                <c:pt idx="2225">
                  <c:v>153.29191718991942</c:v>
                </c:pt>
                <c:pt idx="2226">
                  <c:v>152.29176729234945</c:v>
                </c:pt>
                <c:pt idx="2227">
                  <c:v>153.21030629070057</c:v>
                </c:pt>
                <c:pt idx="2228">
                  <c:v>152.91634050065713</c:v>
                </c:pt>
                <c:pt idx="2229">
                  <c:v>153.86236072017377</c:v>
                </c:pt>
                <c:pt idx="2230">
                  <c:v>153.65500241501562</c:v>
                </c:pt>
                <c:pt idx="2231">
                  <c:v>153.6583334721266</c:v>
                </c:pt>
                <c:pt idx="2232">
                  <c:v>154.41864725770643</c:v>
                </c:pt>
                <c:pt idx="2233">
                  <c:v>154.84835362502207</c:v>
                </c:pt>
                <c:pt idx="2234">
                  <c:v>153.70580103595793</c:v>
                </c:pt>
                <c:pt idx="2235">
                  <c:v>156.05253077063921</c:v>
                </c:pt>
                <c:pt idx="2236">
                  <c:v>156.04420312786175</c:v>
                </c:pt>
                <c:pt idx="2237">
                  <c:v>156.31235322529517</c:v>
                </c:pt>
                <c:pt idx="2238">
                  <c:v>156.39646241734729</c:v>
                </c:pt>
                <c:pt idx="2239">
                  <c:v>156.32401192518361</c:v>
                </c:pt>
                <c:pt idx="2240">
                  <c:v>155.52955480421627</c:v>
                </c:pt>
                <c:pt idx="2241">
                  <c:v>155.57702236804764</c:v>
                </c:pt>
                <c:pt idx="2242">
                  <c:v>153.75659965690028</c:v>
                </c:pt>
                <c:pt idx="2243">
                  <c:v>153.32272946819594</c:v>
                </c:pt>
                <c:pt idx="2244">
                  <c:v>154.79672223980197</c:v>
                </c:pt>
                <c:pt idx="2245">
                  <c:v>155.91429190053378</c:v>
                </c:pt>
                <c:pt idx="2246">
                  <c:v>154.95827850968419</c:v>
                </c:pt>
                <c:pt idx="2247">
                  <c:v>155.89430555786791</c:v>
                </c:pt>
                <c:pt idx="2248">
                  <c:v>155.43711796938672</c:v>
                </c:pt>
                <c:pt idx="2249">
                  <c:v>154.68096800519561</c:v>
                </c:pt>
                <c:pt idx="2250">
                  <c:v>155.36216918438978</c:v>
                </c:pt>
                <c:pt idx="2251">
                  <c:v>154.27457903765674</c:v>
                </c:pt>
                <c:pt idx="2252">
                  <c:v>153.98144601189099</c:v>
                </c:pt>
                <c:pt idx="2253">
                  <c:v>154.69595776219495</c:v>
                </c:pt>
                <c:pt idx="2254">
                  <c:v>155.92178677903343</c:v>
                </c:pt>
                <c:pt idx="2255">
                  <c:v>157.0193700970994</c:v>
                </c:pt>
                <c:pt idx="2256">
                  <c:v>157.46739727852543</c:v>
                </c:pt>
                <c:pt idx="2257">
                  <c:v>157.29001848736604</c:v>
                </c:pt>
                <c:pt idx="2258">
                  <c:v>155.31803267766935</c:v>
                </c:pt>
                <c:pt idx="2259">
                  <c:v>153.64834030079356</c:v>
                </c:pt>
                <c:pt idx="2260">
                  <c:v>154.22461318099209</c:v>
                </c:pt>
                <c:pt idx="2261">
                  <c:v>155.90846255058952</c:v>
                </c:pt>
                <c:pt idx="2262">
                  <c:v>152.65235422461225</c:v>
                </c:pt>
                <c:pt idx="2263">
                  <c:v>151.20417714561626</c:v>
                </c:pt>
                <c:pt idx="2264">
                  <c:v>152.44666144800959</c:v>
                </c:pt>
                <c:pt idx="2265">
                  <c:v>153.47679085957836</c:v>
                </c:pt>
                <c:pt idx="2266">
                  <c:v>155.08652420845661</c:v>
                </c:pt>
                <c:pt idx="2267">
                  <c:v>155.29804633500348</c:v>
                </c:pt>
                <c:pt idx="2268">
                  <c:v>155.88431238653496</c:v>
                </c:pt>
                <c:pt idx="2269">
                  <c:v>156.52220982328652</c:v>
                </c:pt>
                <c:pt idx="2270">
                  <c:v>156.17577988374521</c:v>
                </c:pt>
                <c:pt idx="2271">
                  <c:v>156.4439299811786</c:v>
                </c:pt>
                <c:pt idx="2272">
                  <c:v>155.1772955147307</c:v>
                </c:pt>
                <c:pt idx="2273">
                  <c:v>155.67945237421006</c:v>
                </c:pt>
                <c:pt idx="2274">
                  <c:v>156.42061258140183</c:v>
                </c:pt>
                <c:pt idx="2275">
                  <c:v>156.88862610549373</c:v>
                </c:pt>
                <c:pt idx="2276">
                  <c:v>156.86614146999463</c:v>
                </c:pt>
                <c:pt idx="2277">
                  <c:v>156.65461934344776</c:v>
                </c:pt>
                <c:pt idx="2278">
                  <c:v>156.94775236921348</c:v>
                </c:pt>
                <c:pt idx="2279">
                  <c:v>155.53704968271592</c:v>
                </c:pt>
                <c:pt idx="2280">
                  <c:v>156.41061941006888</c:v>
                </c:pt>
                <c:pt idx="2281">
                  <c:v>156.19576622641105</c:v>
                </c:pt>
                <c:pt idx="2282">
                  <c:v>156.43310404556794</c:v>
                </c:pt>
                <c:pt idx="2283">
                  <c:v>157.94623673822795</c:v>
                </c:pt>
                <c:pt idx="2284">
                  <c:v>158.01285788044746</c:v>
                </c:pt>
                <c:pt idx="2285">
                  <c:v>157.27003214470022</c:v>
                </c:pt>
                <c:pt idx="2286">
                  <c:v>155.79770490164967</c:v>
                </c:pt>
                <c:pt idx="2287">
                  <c:v>156.38147266034787</c:v>
                </c:pt>
                <c:pt idx="2288">
                  <c:v>156.98272846887869</c:v>
                </c:pt>
                <c:pt idx="2289">
                  <c:v>155.96259222864288</c:v>
                </c:pt>
                <c:pt idx="2290">
                  <c:v>157.22839393081307</c:v>
                </c:pt>
                <c:pt idx="2291">
                  <c:v>157.59980679868667</c:v>
                </c:pt>
                <c:pt idx="2292">
                  <c:v>158.26934927799246</c:v>
                </c:pt>
                <c:pt idx="2293">
                  <c:v>159.21703502606462</c:v>
                </c:pt>
                <c:pt idx="2294">
                  <c:v>159.03965623490524</c:v>
                </c:pt>
                <c:pt idx="2295">
                  <c:v>159.89323961959235</c:v>
                </c:pt>
                <c:pt idx="2296">
                  <c:v>160.18803817391358</c:v>
                </c:pt>
                <c:pt idx="2297">
                  <c:v>160.3046251727977</c:v>
                </c:pt>
                <c:pt idx="2298">
                  <c:v>160.2438333805224</c:v>
                </c:pt>
                <c:pt idx="2299">
                  <c:v>160.5469595776211</c:v>
                </c:pt>
                <c:pt idx="2300">
                  <c:v>161.59457703902248</c:v>
                </c:pt>
                <c:pt idx="2301">
                  <c:v>162.34239936043616</c:v>
                </c:pt>
                <c:pt idx="2302">
                  <c:v>162.49479522326322</c:v>
                </c:pt>
                <c:pt idx="2303">
                  <c:v>162.45482253793153</c:v>
                </c:pt>
                <c:pt idx="2304">
                  <c:v>161.8802151862885</c:v>
                </c:pt>
                <c:pt idx="2305">
                  <c:v>160.73266601155785</c:v>
                </c:pt>
                <c:pt idx="2306">
                  <c:v>161.23648839959273</c:v>
                </c:pt>
                <c:pt idx="2307">
                  <c:v>161.37139621258717</c:v>
                </c:pt>
                <c:pt idx="2308">
                  <c:v>161.7219899735172</c:v>
                </c:pt>
                <c:pt idx="2309">
                  <c:v>162.97030362585474</c:v>
                </c:pt>
                <c:pt idx="2310">
                  <c:v>163.17849469529065</c:v>
                </c:pt>
                <c:pt idx="2311">
                  <c:v>163.46080178544571</c:v>
                </c:pt>
                <c:pt idx="2312">
                  <c:v>163.43914991422437</c:v>
                </c:pt>
                <c:pt idx="2313">
                  <c:v>162.3873686314343</c:v>
                </c:pt>
                <c:pt idx="2314">
                  <c:v>163.18265851667937</c:v>
                </c:pt>
                <c:pt idx="2315">
                  <c:v>162.99028996852061</c:v>
                </c:pt>
                <c:pt idx="2316">
                  <c:v>163.30174380839668</c:v>
                </c:pt>
                <c:pt idx="2317">
                  <c:v>163.24095201612138</c:v>
                </c:pt>
                <c:pt idx="2318">
                  <c:v>164.33104045568766</c:v>
                </c:pt>
                <c:pt idx="2319">
                  <c:v>164.43929981179429</c:v>
                </c:pt>
                <c:pt idx="2320">
                  <c:v>165.34035076031279</c:v>
                </c:pt>
                <c:pt idx="2321">
                  <c:v>164.69162738795058</c:v>
                </c:pt>
                <c:pt idx="2322">
                  <c:v>163.53075398477608</c:v>
                </c:pt>
                <c:pt idx="2323">
                  <c:v>164.29023500607815</c:v>
                </c:pt>
                <c:pt idx="2324">
                  <c:v>163.61153211971717</c:v>
                </c:pt>
                <c:pt idx="2325">
                  <c:v>163.85220099598504</c:v>
                </c:pt>
                <c:pt idx="2326">
                  <c:v>164.64582535267465</c:v>
                </c:pt>
                <c:pt idx="2327">
                  <c:v>164.32770939857662</c:v>
                </c:pt>
                <c:pt idx="2328">
                  <c:v>165.01807098482601</c:v>
                </c:pt>
                <c:pt idx="2329">
                  <c:v>163.06523875351741</c:v>
                </c:pt>
                <c:pt idx="2330">
                  <c:v>164.73909495178194</c:v>
                </c:pt>
                <c:pt idx="2331">
                  <c:v>164.35685614829768</c:v>
                </c:pt>
                <c:pt idx="2332">
                  <c:v>165.18129278326379</c:v>
                </c:pt>
                <c:pt idx="2333">
                  <c:v>165.47109475191854</c:v>
                </c:pt>
                <c:pt idx="2334">
                  <c:v>165.55187288685966</c:v>
                </c:pt>
                <c:pt idx="2335">
                  <c:v>164.74908812311486</c:v>
                </c:pt>
                <c:pt idx="2336">
                  <c:v>164.79655568694625</c:v>
                </c:pt>
                <c:pt idx="2337">
                  <c:v>164.050398894088</c:v>
                </c:pt>
                <c:pt idx="2338">
                  <c:v>164.06039206542093</c:v>
                </c:pt>
                <c:pt idx="2339">
                  <c:v>160.7793008111114</c:v>
                </c:pt>
                <c:pt idx="2340">
                  <c:v>160.31961492979696</c:v>
                </c:pt>
                <c:pt idx="2341">
                  <c:v>161.47216069019402</c:v>
                </c:pt>
                <c:pt idx="2342">
                  <c:v>159.90822937659163</c:v>
                </c:pt>
                <c:pt idx="2343">
                  <c:v>159.91072766942486</c:v>
                </c:pt>
                <c:pt idx="2344">
                  <c:v>159.0221681850725</c:v>
                </c:pt>
                <c:pt idx="2345">
                  <c:v>160.8559151246638</c:v>
                </c:pt>
                <c:pt idx="2346">
                  <c:v>161.29977848470114</c:v>
                </c:pt>
                <c:pt idx="2347">
                  <c:v>161.03579220865643</c:v>
                </c:pt>
                <c:pt idx="2348">
                  <c:v>162.11588747688981</c:v>
                </c:pt>
                <c:pt idx="2349">
                  <c:v>162.82040605586087</c:v>
                </c:pt>
                <c:pt idx="2350">
                  <c:v>162.81041288452792</c:v>
                </c:pt>
                <c:pt idx="2351">
                  <c:v>164.19946369980411</c:v>
                </c:pt>
                <c:pt idx="2352">
                  <c:v>165.02056927765923</c:v>
                </c:pt>
                <c:pt idx="2353">
                  <c:v>165.4294565380313</c:v>
                </c:pt>
                <c:pt idx="2354">
                  <c:v>165.91745640478902</c:v>
                </c:pt>
                <c:pt idx="2355">
                  <c:v>165.58684898652484</c:v>
                </c:pt>
                <c:pt idx="2356">
                  <c:v>166.37964057893669</c:v>
                </c:pt>
                <c:pt idx="2357">
                  <c:v>166.55452107726282</c:v>
                </c:pt>
                <c:pt idx="2358">
                  <c:v>166.56284872004025</c:v>
                </c:pt>
                <c:pt idx="2359">
                  <c:v>166.28137439416295</c:v>
                </c:pt>
                <c:pt idx="2360">
                  <c:v>166.83349711030689</c:v>
                </c:pt>
                <c:pt idx="2361">
                  <c:v>166.74272580403286</c:v>
                </c:pt>
                <c:pt idx="2362">
                  <c:v>166.61281457670486</c:v>
                </c:pt>
                <c:pt idx="2363">
                  <c:v>166.35715594343762</c:v>
                </c:pt>
                <c:pt idx="2364">
                  <c:v>167.19491680684763</c:v>
                </c:pt>
                <c:pt idx="2365">
                  <c:v>166.68110124747986</c:v>
                </c:pt>
                <c:pt idx="2366">
                  <c:v>165.59018004363585</c:v>
                </c:pt>
                <c:pt idx="2367">
                  <c:v>166.19393414499993</c:v>
                </c:pt>
                <c:pt idx="2368">
                  <c:v>166.34050065788281</c:v>
                </c:pt>
                <c:pt idx="2369">
                  <c:v>165.34867840309025</c:v>
                </c:pt>
                <c:pt idx="2370">
                  <c:v>165.23125863992843</c:v>
                </c:pt>
                <c:pt idx="2371">
                  <c:v>166.46791359237758</c:v>
                </c:pt>
                <c:pt idx="2372">
                  <c:v>166.68359954031317</c:v>
                </c:pt>
                <c:pt idx="2373">
                  <c:v>167.49887576822408</c:v>
                </c:pt>
                <c:pt idx="2374">
                  <c:v>167.41893039756073</c:v>
                </c:pt>
                <c:pt idx="2375">
                  <c:v>166.0773471461159</c:v>
                </c:pt>
                <c:pt idx="2376">
                  <c:v>165.11800269815532</c:v>
                </c:pt>
                <c:pt idx="2377">
                  <c:v>166.411285621491</c:v>
                </c:pt>
                <c:pt idx="2378">
                  <c:v>163.72062424010164</c:v>
                </c:pt>
                <c:pt idx="2379">
                  <c:v>165.12466481237723</c:v>
                </c:pt>
                <c:pt idx="2380">
                  <c:v>164.70411885211675</c:v>
                </c:pt>
                <c:pt idx="2381">
                  <c:v>164.24526573508007</c:v>
                </c:pt>
                <c:pt idx="2382">
                  <c:v>162.06925267733624</c:v>
                </c:pt>
                <c:pt idx="2383">
                  <c:v>162.07008544161397</c:v>
                </c:pt>
                <c:pt idx="2384">
                  <c:v>163.8796822171507</c:v>
                </c:pt>
                <c:pt idx="2385">
                  <c:v>163.6231908196057</c:v>
                </c:pt>
                <c:pt idx="2386">
                  <c:v>161.14821538615189</c:v>
                </c:pt>
                <c:pt idx="2387">
                  <c:v>163.96212588064733</c:v>
                </c:pt>
                <c:pt idx="2388">
                  <c:v>160.57444079878661</c:v>
                </c:pt>
                <c:pt idx="2389">
                  <c:v>158.7356972735289</c:v>
                </c:pt>
                <c:pt idx="2390">
                  <c:v>156.12165020569191</c:v>
                </c:pt>
                <c:pt idx="2391">
                  <c:v>156.36814843190399</c:v>
                </c:pt>
                <c:pt idx="2392">
                  <c:v>155.10151396545606</c:v>
                </c:pt>
                <c:pt idx="2393">
                  <c:v>155.12399860095519</c:v>
                </c:pt>
                <c:pt idx="2394">
                  <c:v>157.12263286753969</c:v>
                </c:pt>
                <c:pt idx="2395">
                  <c:v>158.5591512466473</c:v>
                </c:pt>
                <c:pt idx="2396">
                  <c:v>161.66286370979745</c:v>
                </c:pt>
                <c:pt idx="2397">
                  <c:v>160.48283672823484</c:v>
                </c:pt>
                <c:pt idx="2398">
                  <c:v>162.45732083076476</c:v>
                </c:pt>
                <c:pt idx="2399">
                  <c:v>163.60320447693985</c:v>
                </c:pt>
                <c:pt idx="2400">
                  <c:v>163.3575390150055</c:v>
                </c:pt>
                <c:pt idx="2401">
                  <c:v>165.30787295348085</c:v>
                </c:pt>
                <c:pt idx="2402">
                  <c:v>165.07886277710139</c:v>
                </c:pt>
                <c:pt idx="2403">
                  <c:v>166.10732666011467</c:v>
                </c:pt>
                <c:pt idx="2404">
                  <c:v>168.05599507003453</c:v>
                </c:pt>
                <c:pt idx="2405">
                  <c:v>168.03600872736868</c:v>
                </c:pt>
                <c:pt idx="2406">
                  <c:v>167.56050032477711</c:v>
                </c:pt>
                <c:pt idx="2407">
                  <c:v>168.51568095134894</c:v>
                </c:pt>
                <c:pt idx="2408">
                  <c:v>169.15191285954504</c:v>
                </c:pt>
                <c:pt idx="2409">
                  <c:v>169.21103912326487</c:v>
                </c:pt>
                <c:pt idx="2410">
                  <c:v>169.73901167535425</c:v>
                </c:pt>
                <c:pt idx="2411">
                  <c:v>169.85726420279386</c:v>
                </c:pt>
                <c:pt idx="2412">
                  <c:v>169.73817891107655</c:v>
                </c:pt>
                <c:pt idx="2413">
                  <c:v>169.82811745307282</c:v>
                </c:pt>
                <c:pt idx="2414">
                  <c:v>169.86892290268227</c:v>
                </c:pt>
                <c:pt idx="2415">
                  <c:v>169.99383754434382</c:v>
                </c:pt>
                <c:pt idx="2416">
                  <c:v>170.86657450741907</c:v>
                </c:pt>
                <c:pt idx="2417">
                  <c:v>170.61008310987401</c:v>
                </c:pt>
                <c:pt idx="2418">
                  <c:v>170.94568711380467</c:v>
                </c:pt>
                <c:pt idx="2419">
                  <c:v>171.84090871237896</c:v>
                </c:pt>
                <c:pt idx="2420">
                  <c:v>172.33307240052537</c:v>
                </c:pt>
                <c:pt idx="2421">
                  <c:v>172.13487450242241</c:v>
                </c:pt>
                <c:pt idx="2422">
                  <c:v>172.61787778351362</c:v>
                </c:pt>
                <c:pt idx="2423">
                  <c:v>172.17901100914278</c:v>
                </c:pt>
                <c:pt idx="2424">
                  <c:v>171.00314784896892</c:v>
                </c:pt>
                <c:pt idx="2425">
                  <c:v>172.09490181709074</c:v>
                </c:pt>
                <c:pt idx="2426">
                  <c:v>172.7427924251752</c:v>
                </c:pt>
                <c:pt idx="2427">
                  <c:v>172.54209623423901</c:v>
                </c:pt>
                <c:pt idx="2428">
                  <c:v>172.82939991006052</c:v>
                </c:pt>
                <c:pt idx="2429">
                  <c:v>171.57525690777877</c:v>
                </c:pt>
                <c:pt idx="2430">
                  <c:v>171.53445145816937</c:v>
                </c:pt>
                <c:pt idx="2431">
                  <c:v>168.72970137072915</c:v>
                </c:pt>
                <c:pt idx="2432">
                  <c:v>169.49501174197545</c:v>
                </c:pt>
                <c:pt idx="2433">
                  <c:v>166.74688962542177</c:v>
                </c:pt>
                <c:pt idx="2434">
                  <c:v>165.68927899268749</c:v>
                </c:pt>
                <c:pt idx="2435">
                  <c:v>164.28274012757868</c:v>
                </c:pt>
                <c:pt idx="2436">
                  <c:v>167.62628870271897</c:v>
                </c:pt>
                <c:pt idx="2437">
                  <c:v>171.65187122133122</c:v>
                </c:pt>
                <c:pt idx="2438">
                  <c:v>172.43633517096561</c:v>
                </c:pt>
                <c:pt idx="2439">
                  <c:v>173.09338618610522</c:v>
                </c:pt>
                <c:pt idx="2440">
                  <c:v>173.39567961892615</c:v>
                </c:pt>
                <c:pt idx="2441">
                  <c:v>173.37152945487159</c:v>
                </c:pt>
                <c:pt idx="2442">
                  <c:v>173.9453040422369</c:v>
                </c:pt>
                <c:pt idx="2443">
                  <c:v>174.09520161223074</c:v>
                </c:pt>
                <c:pt idx="2444">
                  <c:v>173.24411652037682</c:v>
                </c:pt>
                <c:pt idx="2445">
                  <c:v>171.45783714461695</c:v>
                </c:pt>
                <c:pt idx="2446">
                  <c:v>171.39954364517487</c:v>
                </c:pt>
                <c:pt idx="2447">
                  <c:v>168.26668443230369</c:v>
                </c:pt>
                <c:pt idx="2448">
                  <c:v>166.77020702519854</c:v>
                </c:pt>
                <c:pt idx="2449">
                  <c:v>168.70971502806327</c:v>
                </c:pt>
                <c:pt idx="2450">
                  <c:v>171.72765277060583</c:v>
                </c:pt>
                <c:pt idx="2451">
                  <c:v>170.28447227727628</c:v>
                </c:pt>
                <c:pt idx="2452">
                  <c:v>168.90624739761074</c:v>
                </c:pt>
                <c:pt idx="2453">
                  <c:v>168.47071168035086</c:v>
                </c:pt>
                <c:pt idx="2454">
                  <c:v>167.49138088972447</c:v>
                </c:pt>
                <c:pt idx="2455">
                  <c:v>165.94243933312148</c:v>
                </c:pt>
                <c:pt idx="2456">
                  <c:v>168.17008377608545</c:v>
                </c:pt>
                <c:pt idx="2457">
                  <c:v>168.43073899501914</c:v>
                </c:pt>
                <c:pt idx="2458">
                  <c:v>169.22769440881973</c:v>
                </c:pt>
                <c:pt idx="2459">
                  <c:v>171.81176196265795</c:v>
                </c:pt>
                <c:pt idx="2460">
                  <c:v>170.86824003597454</c:v>
                </c:pt>
                <c:pt idx="2461">
                  <c:v>171.30710681034535</c:v>
                </c:pt>
                <c:pt idx="2462">
                  <c:v>169.01367398943961</c:v>
                </c:pt>
                <c:pt idx="2463">
                  <c:v>166.73273263270008</c:v>
                </c:pt>
                <c:pt idx="2464">
                  <c:v>168.32247963891245</c:v>
                </c:pt>
                <c:pt idx="2465">
                  <c:v>166.13564064555794</c:v>
                </c:pt>
                <c:pt idx="2466">
                  <c:v>168.28916906780273</c:v>
                </c:pt>
                <c:pt idx="2467">
                  <c:v>170.7191752302584</c:v>
                </c:pt>
                <c:pt idx="2468">
                  <c:v>170.00966006562089</c:v>
                </c:pt>
                <c:pt idx="2469">
                  <c:v>171.75929781316003</c:v>
                </c:pt>
                <c:pt idx="2470">
                  <c:v>171.17219899735082</c:v>
                </c:pt>
                <c:pt idx="2471">
                  <c:v>170.44519578288075</c:v>
                </c:pt>
                <c:pt idx="2472">
                  <c:v>172.26478572975037</c:v>
                </c:pt>
                <c:pt idx="2473">
                  <c:v>172.25978914408392</c:v>
                </c:pt>
                <c:pt idx="2474">
                  <c:v>173.92115387818225</c:v>
                </c:pt>
                <c:pt idx="2475">
                  <c:v>174.629836278542</c:v>
                </c:pt>
                <c:pt idx="2476">
                  <c:v>174.90881231158613</c:v>
                </c:pt>
                <c:pt idx="2477">
                  <c:v>174.85384986925501</c:v>
                </c:pt>
                <c:pt idx="2478">
                  <c:v>174.66814343531823</c:v>
                </c:pt>
                <c:pt idx="2479">
                  <c:v>175.73824553221868</c:v>
                </c:pt>
                <c:pt idx="2480">
                  <c:v>175.68494861844306</c:v>
                </c:pt>
                <c:pt idx="2481">
                  <c:v>176.16961742808982</c:v>
                </c:pt>
                <c:pt idx="2482">
                  <c:v>176.03470961509538</c:v>
                </c:pt>
                <c:pt idx="2483">
                  <c:v>175.77488716043936</c:v>
                </c:pt>
                <c:pt idx="2484">
                  <c:v>175.25524225112741</c:v>
                </c:pt>
                <c:pt idx="2485">
                  <c:v>176.32867540513882</c:v>
                </c:pt>
                <c:pt idx="2486">
                  <c:v>175.52838893422731</c:v>
                </c:pt>
                <c:pt idx="2487">
                  <c:v>174.75808197731453</c:v>
                </c:pt>
                <c:pt idx="2488">
                  <c:v>174.96710581102815</c:v>
                </c:pt>
                <c:pt idx="2489">
                  <c:v>172.48713379190789</c:v>
                </c:pt>
                <c:pt idx="2490">
                  <c:v>173.16750220682431</c:v>
                </c:pt>
                <c:pt idx="2491">
                  <c:v>170.23034259922289</c:v>
                </c:pt>
                <c:pt idx="2492">
                  <c:v>169.9038990023474</c:v>
                </c:pt>
                <c:pt idx="2493">
                  <c:v>172.04493596042602</c:v>
                </c:pt>
                <c:pt idx="2494">
                  <c:v>170.99981679185791</c:v>
                </c:pt>
                <c:pt idx="2495">
                  <c:v>173.31406871970719</c:v>
                </c:pt>
                <c:pt idx="2496">
                  <c:v>172.73862860378642</c:v>
                </c:pt>
                <c:pt idx="2497">
                  <c:v>174.83886011225562</c:v>
                </c:pt>
                <c:pt idx="2498">
                  <c:v>173.98694225612397</c:v>
                </c:pt>
                <c:pt idx="2499">
                  <c:v>175.55503739111504</c:v>
                </c:pt>
                <c:pt idx="2500">
                  <c:v>175.24858013690542</c:v>
                </c:pt>
                <c:pt idx="2501">
                  <c:v>174.17264869006078</c:v>
                </c:pt>
                <c:pt idx="2502">
                  <c:v>171.63688146433176</c:v>
                </c:pt>
                <c:pt idx="2503">
                  <c:v>171.22882696823743</c:v>
                </c:pt>
                <c:pt idx="2504">
                  <c:v>171.63438317149848</c:v>
                </c:pt>
                <c:pt idx="2505">
                  <c:v>173.73461467996765</c:v>
                </c:pt>
                <c:pt idx="2506">
                  <c:v>172.20649223030827</c:v>
                </c:pt>
                <c:pt idx="2507">
                  <c:v>171.52362552255858</c:v>
                </c:pt>
                <c:pt idx="2508">
                  <c:v>172.12904515247814</c:v>
                </c:pt>
                <c:pt idx="2509">
                  <c:v>173.2666011558758</c:v>
                </c:pt>
                <c:pt idx="2510">
                  <c:v>172.90934528072384</c:v>
                </c:pt>
                <c:pt idx="2511">
                  <c:v>173.373194983427</c:v>
                </c:pt>
                <c:pt idx="2512">
                  <c:v>174.14600023317297</c:v>
                </c:pt>
                <c:pt idx="2513">
                  <c:v>175.05204776735795</c:v>
                </c:pt>
                <c:pt idx="2514">
                  <c:v>174.25009576789094</c:v>
                </c:pt>
                <c:pt idx="2515">
                  <c:v>174.53406838660152</c:v>
                </c:pt>
                <c:pt idx="2516">
                  <c:v>175.4326210422868</c:v>
                </c:pt>
                <c:pt idx="2517">
                  <c:v>175.29604770073684</c:v>
                </c:pt>
                <c:pt idx="2518">
                  <c:v>173.31323595542946</c:v>
                </c:pt>
                <c:pt idx="2519">
                  <c:v>174.91380889725258</c:v>
                </c:pt>
                <c:pt idx="2520">
                  <c:v>174.65481920687432</c:v>
                </c:pt>
                <c:pt idx="2521">
                  <c:v>175.54337869122668</c:v>
                </c:pt>
                <c:pt idx="2522">
                  <c:v>175.95726253726519</c:v>
                </c:pt>
                <c:pt idx="2523">
                  <c:v>176.35365833347115</c:v>
                </c:pt>
                <c:pt idx="2524">
                  <c:v>175.62332406189006</c:v>
                </c:pt>
                <c:pt idx="2525">
                  <c:v>176.10965840009229</c:v>
                </c:pt>
                <c:pt idx="2526">
                  <c:v>175.45094185639712</c:v>
                </c:pt>
                <c:pt idx="2527">
                  <c:v>173.67382288769244</c:v>
                </c:pt>
                <c:pt idx="2528">
                  <c:v>175.57085991239217</c:v>
                </c:pt>
                <c:pt idx="2529">
                  <c:v>176.08717376459316</c:v>
                </c:pt>
                <c:pt idx="2530">
                  <c:v>174.0027647774011</c:v>
                </c:pt>
                <c:pt idx="2531">
                  <c:v>173.22746123482187</c:v>
                </c:pt>
                <c:pt idx="2532">
                  <c:v>173.88118119285053</c:v>
                </c:pt>
                <c:pt idx="2533">
                  <c:v>176.22124881330984</c:v>
                </c:pt>
                <c:pt idx="2534">
                  <c:v>175.32436168618005</c:v>
                </c:pt>
                <c:pt idx="2535">
                  <c:v>174.80721506970133</c:v>
                </c:pt>
                <c:pt idx="2536">
                  <c:v>174.75391815592576</c:v>
                </c:pt>
                <c:pt idx="2537">
                  <c:v>176.63763095218161</c:v>
                </c:pt>
                <c:pt idx="2538">
                  <c:v>176.77337152945381</c:v>
                </c:pt>
                <c:pt idx="2539">
                  <c:v>177.3121700171539</c:v>
                </c:pt>
                <c:pt idx="2540">
                  <c:v>177.19808131110307</c:v>
                </c:pt>
                <c:pt idx="2541">
                  <c:v>177.03319398410986</c:v>
                </c:pt>
                <c:pt idx="2542">
                  <c:v>177.4470778301484</c:v>
                </c:pt>
                <c:pt idx="2543">
                  <c:v>177.05068203394245</c:v>
                </c:pt>
                <c:pt idx="2544">
                  <c:v>175.23025932279506</c:v>
                </c:pt>
                <c:pt idx="2545">
                  <c:v>176.8358288502846</c:v>
                </c:pt>
                <c:pt idx="2546">
                  <c:v>176.61181525957159</c:v>
                </c:pt>
                <c:pt idx="2547">
                  <c:v>175.49591112739526</c:v>
                </c:pt>
                <c:pt idx="2548">
                  <c:v>175.85733082393594</c:v>
                </c:pt>
                <c:pt idx="2549">
                  <c:v>175.67995203277653</c:v>
                </c:pt>
                <c:pt idx="2550">
                  <c:v>176.05219766492792</c:v>
                </c:pt>
                <c:pt idx="2551">
                  <c:v>174.53406838660143</c:v>
                </c:pt>
                <c:pt idx="2552">
                  <c:v>174.28340633900061</c:v>
                </c:pt>
                <c:pt idx="2553">
                  <c:v>173.15501074265813</c:v>
                </c:pt>
                <c:pt idx="2554">
                  <c:v>173.22746123482179</c:v>
                </c:pt>
                <c:pt idx="2555">
                  <c:v>175.31353575056932</c:v>
                </c:pt>
                <c:pt idx="2556">
                  <c:v>175.6183274762235</c:v>
                </c:pt>
                <c:pt idx="2557">
                  <c:v>174.39000016655177</c:v>
                </c:pt>
                <c:pt idx="2558">
                  <c:v>173.58388434569599</c:v>
                </c:pt>
                <c:pt idx="2559">
                  <c:v>174.57154277909984</c:v>
                </c:pt>
                <c:pt idx="2560">
                  <c:v>174.91713995436339</c:v>
                </c:pt>
                <c:pt idx="2561">
                  <c:v>176.64928965206991</c:v>
                </c:pt>
                <c:pt idx="2562">
                  <c:v>175.71242983960843</c:v>
                </c:pt>
                <c:pt idx="2563">
                  <c:v>176.78336470078665</c:v>
                </c:pt>
                <c:pt idx="2564">
                  <c:v>176.89578787828202</c:v>
                </c:pt>
                <c:pt idx="2565">
                  <c:v>175.59501007644667</c:v>
                </c:pt>
                <c:pt idx="2566">
                  <c:v>175.07286687430147</c:v>
                </c:pt>
                <c:pt idx="2567">
                  <c:v>175.0045802035265</c:v>
                </c:pt>
                <c:pt idx="2568">
                  <c:v>171.3529088456211</c:v>
                </c:pt>
                <c:pt idx="2569">
                  <c:v>171.80843090554683</c:v>
                </c:pt>
                <c:pt idx="2570">
                  <c:v>173.00011658699785</c:v>
                </c:pt>
                <c:pt idx="2571">
                  <c:v>172.94681967322225</c:v>
                </c:pt>
                <c:pt idx="2572">
                  <c:v>172.27894272247195</c:v>
                </c:pt>
                <c:pt idx="2573">
                  <c:v>173.32656018387331</c:v>
                </c:pt>
                <c:pt idx="2574">
                  <c:v>170.44019919721421</c:v>
                </c:pt>
                <c:pt idx="2575">
                  <c:v>170.82576905780948</c:v>
                </c:pt>
                <c:pt idx="2576">
                  <c:v>172.93349544477837</c:v>
                </c:pt>
                <c:pt idx="2577">
                  <c:v>174.84718775503302</c:v>
                </c:pt>
                <c:pt idx="2578">
                  <c:v>175.62582235472325</c:v>
                </c:pt>
                <c:pt idx="2579">
                  <c:v>175.49674389167305</c:v>
                </c:pt>
                <c:pt idx="2580">
                  <c:v>176.90328275678186</c:v>
                </c:pt>
                <c:pt idx="2581">
                  <c:v>177.09898236205157</c:v>
                </c:pt>
                <c:pt idx="2582">
                  <c:v>177.23555570360153</c:v>
                </c:pt>
                <c:pt idx="2583">
                  <c:v>176.48023850368816</c:v>
                </c:pt>
                <c:pt idx="2584">
                  <c:v>176.05885977914994</c:v>
                </c:pt>
                <c:pt idx="2585">
                  <c:v>175.05954264585768</c:v>
                </c:pt>
                <c:pt idx="2586">
                  <c:v>173.18582302093472</c:v>
                </c:pt>
                <c:pt idx="2587">
                  <c:v>172.18567312336469</c:v>
                </c:pt>
                <c:pt idx="2588">
                  <c:v>174.31838243866588</c:v>
                </c:pt>
                <c:pt idx="2589">
                  <c:v>175.59417731216899</c:v>
                </c:pt>
                <c:pt idx="2590">
                  <c:v>175.59917389783544</c:v>
                </c:pt>
                <c:pt idx="2591">
                  <c:v>175.2002798087963</c:v>
                </c:pt>
                <c:pt idx="2592">
                  <c:v>174.71727652770505</c:v>
                </c:pt>
                <c:pt idx="2593">
                  <c:v>174.32421178861014</c:v>
                </c:pt>
                <c:pt idx="2594">
                  <c:v>174.86717409769892</c:v>
                </c:pt>
                <c:pt idx="2595">
                  <c:v>173.51143385353245</c:v>
                </c:pt>
                <c:pt idx="2596">
                  <c:v>173.01260805116411</c:v>
                </c:pt>
                <c:pt idx="2597">
                  <c:v>175.22859379423963</c:v>
                </c:pt>
                <c:pt idx="2598">
                  <c:v>173.55390483169739</c:v>
                </c:pt>
                <c:pt idx="2599">
                  <c:v>173.7187921586906</c:v>
                </c:pt>
                <c:pt idx="2600">
                  <c:v>173.49727686081079</c:v>
                </c:pt>
                <c:pt idx="2601">
                  <c:v>174.17597974717177</c:v>
                </c:pt>
                <c:pt idx="2602">
                  <c:v>175.08369280991224</c:v>
                </c:pt>
                <c:pt idx="2603">
                  <c:v>174.62400692859779</c:v>
                </c:pt>
                <c:pt idx="2604">
                  <c:v>173.18249196382371</c:v>
                </c:pt>
                <c:pt idx="2605">
                  <c:v>169.52832231308503</c:v>
                </c:pt>
                <c:pt idx="2606">
                  <c:v>164.12867873619595</c:v>
                </c:pt>
                <c:pt idx="2607">
                  <c:v>157.65976582668415</c:v>
                </c:pt>
                <c:pt idx="2608">
                  <c:v>155.5278892756607</c:v>
                </c:pt>
                <c:pt idx="2609">
                  <c:v>161.59874086041108</c:v>
                </c:pt>
                <c:pt idx="2610">
                  <c:v>165.52522442997187</c:v>
                </c:pt>
                <c:pt idx="2611">
                  <c:v>165.62598890757883</c:v>
                </c:pt>
                <c:pt idx="2612">
                  <c:v>164.23610532802488</c:v>
                </c:pt>
                <c:pt idx="2613">
                  <c:v>159.37859129594679</c:v>
                </c:pt>
                <c:pt idx="2614">
                  <c:v>162.2940990323269</c:v>
                </c:pt>
                <c:pt idx="2615">
                  <c:v>162.4831365233747</c:v>
                </c:pt>
                <c:pt idx="2616">
                  <c:v>159.99233856864379</c:v>
                </c:pt>
                <c:pt idx="2617">
                  <c:v>164.0054296230899</c:v>
                </c:pt>
                <c:pt idx="2618">
                  <c:v>161.72615379490583</c:v>
                </c:pt>
                <c:pt idx="2619">
                  <c:v>162.57973717959297</c:v>
                </c:pt>
                <c:pt idx="2620">
                  <c:v>163.30923868689632</c:v>
                </c:pt>
                <c:pt idx="2621">
                  <c:v>162.64136173614602</c:v>
                </c:pt>
                <c:pt idx="2622">
                  <c:v>164.72826901617131</c:v>
                </c:pt>
                <c:pt idx="2623">
                  <c:v>166.16228910244567</c:v>
                </c:pt>
                <c:pt idx="2624">
                  <c:v>165.73674655651874</c:v>
                </c:pt>
                <c:pt idx="2625">
                  <c:v>163.05774387501776</c:v>
                </c:pt>
                <c:pt idx="2626">
                  <c:v>163.80223513932052</c:v>
                </c:pt>
                <c:pt idx="2627">
                  <c:v>161.78444729434793</c:v>
                </c:pt>
                <c:pt idx="2628">
                  <c:v>161.45300711180599</c:v>
                </c:pt>
                <c:pt idx="2629">
                  <c:v>160.91004480271721</c:v>
                </c:pt>
                <c:pt idx="2630">
                  <c:v>160.8350960177203</c:v>
                </c:pt>
                <c:pt idx="2631">
                  <c:v>156.70708349294557</c:v>
                </c:pt>
                <c:pt idx="2632">
                  <c:v>156.90028480538206</c:v>
                </c:pt>
                <c:pt idx="2633">
                  <c:v>159.89323961959232</c:v>
                </c:pt>
                <c:pt idx="2634">
                  <c:v>160.2088572808571</c:v>
                </c:pt>
                <c:pt idx="2635">
                  <c:v>162.50229010176281</c:v>
                </c:pt>
                <c:pt idx="2636">
                  <c:v>165.47442580902953</c:v>
                </c:pt>
                <c:pt idx="2637">
                  <c:v>164.8806648789984</c:v>
                </c:pt>
                <c:pt idx="2638">
                  <c:v>166.20559284488837</c:v>
                </c:pt>
                <c:pt idx="2639">
                  <c:v>167.67125797371699</c:v>
                </c:pt>
                <c:pt idx="2640">
                  <c:v>167.79284155826755</c:v>
                </c:pt>
                <c:pt idx="2641">
                  <c:v>168.00686197764762</c:v>
                </c:pt>
                <c:pt idx="2642">
                  <c:v>166.86014556719476</c:v>
                </c:pt>
                <c:pt idx="2643">
                  <c:v>166.07318332472713</c:v>
                </c:pt>
                <c:pt idx="2644">
                  <c:v>168.53983111540347</c:v>
                </c:pt>
                <c:pt idx="2645">
                  <c:v>169.31013807231622</c:v>
                </c:pt>
                <c:pt idx="2646">
                  <c:v>169.35594010759212</c:v>
                </c:pt>
                <c:pt idx="2647">
                  <c:v>169.11527123132421</c:v>
                </c:pt>
                <c:pt idx="2648">
                  <c:v>168.13011109075362</c:v>
                </c:pt>
                <c:pt idx="2649">
                  <c:v>170.92570077113865</c:v>
                </c:pt>
                <c:pt idx="2650">
                  <c:v>172.81107909594999</c:v>
                </c:pt>
                <c:pt idx="2651">
                  <c:v>172.48047167768578</c:v>
                </c:pt>
                <c:pt idx="2652">
                  <c:v>172.03993937475946</c:v>
                </c:pt>
                <c:pt idx="2653">
                  <c:v>174.07688079812019</c:v>
                </c:pt>
                <c:pt idx="2654">
                  <c:v>173.99860095601227</c:v>
                </c:pt>
                <c:pt idx="2655">
                  <c:v>173.16167285688005</c:v>
                </c:pt>
                <c:pt idx="2656">
                  <c:v>175.21776785862883</c:v>
                </c:pt>
                <c:pt idx="2657">
                  <c:v>175.69577455405363</c:v>
                </c:pt>
                <c:pt idx="2658">
                  <c:v>175.07286687430147</c:v>
                </c:pt>
                <c:pt idx="2659">
                  <c:v>174.87466897619851</c:v>
                </c:pt>
                <c:pt idx="2660">
                  <c:v>174.81387718392321</c:v>
                </c:pt>
                <c:pt idx="2661">
                  <c:v>173.09671724321603</c:v>
                </c:pt>
                <c:pt idx="2662">
                  <c:v>173.35820522642749</c:v>
                </c:pt>
                <c:pt idx="2663">
                  <c:v>172.79858763178385</c:v>
                </c:pt>
                <c:pt idx="2664">
                  <c:v>170.38107293349435</c:v>
                </c:pt>
                <c:pt idx="2665">
                  <c:v>168.47154444462842</c:v>
                </c:pt>
                <c:pt idx="2666">
                  <c:v>170.98232874202517</c:v>
                </c:pt>
                <c:pt idx="2667">
                  <c:v>170.75331856564569</c:v>
                </c:pt>
                <c:pt idx="2668">
                  <c:v>173.51309938208777</c:v>
                </c:pt>
                <c:pt idx="2669">
                  <c:v>173.31823254109577</c:v>
                </c:pt>
                <c:pt idx="2670">
                  <c:v>173.97861461334639</c:v>
                </c:pt>
                <c:pt idx="2671">
                  <c:v>173.76376142968857</c:v>
                </c:pt>
                <c:pt idx="2672">
                  <c:v>173.97611632051317</c:v>
                </c:pt>
                <c:pt idx="2673">
                  <c:v>173.9536316850141</c:v>
                </c:pt>
                <c:pt idx="2674">
                  <c:v>174.05689445545431</c:v>
                </c:pt>
                <c:pt idx="2675">
                  <c:v>173.24911310604304</c:v>
                </c:pt>
                <c:pt idx="2676">
                  <c:v>175.0995153311892</c:v>
                </c:pt>
                <c:pt idx="2677">
                  <c:v>173.17416432104613</c:v>
                </c:pt>
                <c:pt idx="2678">
                  <c:v>170.68503189487066</c:v>
                </c:pt>
                <c:pt idx="2679">
                  <c:v>174.18847121133774</c:v>
                </c:pt>
                <c:pt idx="2680">
                  <c:v>172.9709698372767</c:v>
                </c:pt>
                <c:pt idx="2681">
                  <c:v>171.84840359087841</c:v>
                </c:pt>
                <c:pt idx="2682">
                  <c:v>170.51847903932196</c:v>
                </c:pt>
                <c:pt idx="2683">
                  <c:v>170.90238337136176</c:v>
                </c:pt>
                <c:pt idx="2684">
                  <c:v>167.58298496027604</c:v>
                </c:pt>
                <c:pt idx="2685">
                  <c:v>168.37994037407663</c:v>
                </c:pt>
                <c:pt idx="2686">
                  <c:v>170.16788527839202</c:v>
                </c:pt>
                <c:pt idx="2687">
                  <c:v>172.63786412617932</c:v>
                </c:pt>
                <c:pt idx="2688">
                  <c:v>170.04130510817495</c:v>
                </c:pt>
                <c:pt idx="2689">
                  <c:v>167.01503972285494</c:v>
                </c:pt>
                <c:pt idx="2690">
                  <c:v>168.31415199613488</c:v>
                </c:pt>
                <c:pt idx="2691">
                  <c:v>169.79813793907388</c:v>
                </c:pt>
                <c:pt idx="2692">
                  <c:v>171.90669709032051</c:v>
                </c:pt>
                <c:pt idx="2693">
                  <c:v>171.63188487866515</c:v>
                </c:pt>
                <c:pt idx="2694">
                  <c:v>171.25797371795832</c:v>
                </c:pt>
                <c:pt idx="2695">
                  <c:v>173.07839642910568</c:v>
                </c:pt>
                <c:pt idx="2696">
                  <c:v>171.82925001249035</c:v>
                </c:pt>
                <c:pt idx="2697">
                  <c:v>170.2120217851124</c:v>
                </c:pt>
                <c:pt idx="2698">
                  <c:v>167.60713512433063</c:v>
                </c:pt>
                <c:pt idx="2699">
                  <c:v>167.94440465681677</c:v>
                </c:pt>
                <c:pt idx="2700">
                  <c:v>165.74174314218513</c:v>
                </c:pt>
                <c:pt idx="2701">
                  <c:v>161.81359404406885</c:v>
                </c:pt>
                <c:pt idx="2702">
                  <c:v>160.05979247514094</c:v>
                </c:pt>
                <c:pt idx="2703">
                  <c:v>160.1963658166909</c:v>
                </c:pt>
                <c:pt idx="2704">
                  <c:v>161.44634499758396</c:v>
                </c:pt>
                <c:pt idx="2705">
                  <c:v>157.41576589330523</c:v>
                </c:pt>
                <c:pt idx="2706">
                  <c:v>160.04396995386384</c:v>
                </c:pt>
                <c:pt idx="2707">
                  <c:v>156.58716543695041</c:v>
                </c:pt>
                <c:pt idx="2708">
                  <c:v>156.67044186472478</c:v>
                </c:pt>
                <c:pt idx="2709">
                  <c:v>154.83836045368901</c:v>
                </c:pt>
                <c:pt idx="2710">
                  <c:v>155.64281074598929</c:v>
                </c:pt>
                <c:pt idx="2711">
                  <c:v>158.79982012291507</c:v>
                </c:pt>
                <c:pt idx="2712">
                  <c:v>156.31651704668386</c:v>
                </c:pt>
                <c:pt idx="2713">
                  <c:v>158.52750620409299</c:v>
                </c:pt>
                <c:pt idx="2714">
                  <c:v>156.80534967771936</c:v>
                </c:pt>
                <c:pt idx="2715">
                  <c:v>157.67225729085041</c:v>
                </c:pt>
                <c:pt idx="2716">
                  <c:v>161.57625622491213</c:v>
                </c:pt>
                <c:pt idx="2717">
                  <c:v>161.50463849702621</c:v>
                </c:pt>
                <c:pt idx="2718">
                  <c:v>158.47754034742843</c:v>
                </c:pt>
                <c:pt idx="2719">
                  <c:v>159.26866641128481</c:v>
                </c:pt>
                <c:pt idx="2720">
                  <c:v>159.51183358038591</c:v>
                </c:pt>
                <c:pt idx="2721">
                  <c:v>156.56384803717378</c:v>
                </c:pt>
                <c:pt idx="2722">
                  <c:v>154.34786229409821</c:v>
                </c:pt>
                <c:pt idx="2723">
                  <c:v>154.24543228793576</c:v>
                </c:pt>
                <c:pt idx="2724">
                  <c:v>154.21628553821472</c:v>
                </c:pt>
                <c:pt idx="2725">
                  <c:v>152.31924851351494</c:v>
                </c:pt>
                <c:pt idx="2726">
                  <c:v>155.29221698505938</c:v>
                </c:pt>
                <c:pt idx="2727">
                  <c:v>157.85713096050947</c:v>
                </c:pt>
                <c:pt idx="2728">
                  <c:v>160.45868656418025</c:v>
                </c:pt>
                <c:pt idx="2729">
                  <c:v>159.71003147848882</c:v>
                </c:pt>
                <c:pt idx="2730">
                  <c:v>159.7058676571001</c:v>
                </c:pt>
                <c:pt idx="2731">
                  <c:v>162.01429023500518</c:v>
                </c:pt>
                <c:pt idx="2732">
                  <c:v>159.99650239003256</c:v>
                </c:pt>
              </c:numCache>
            </c:numRef>
          </c:val>
          <c:smooth val="0"/>
          <c:extLst xmlns:c16r2="http://schemas.microsoft.com/office/drawing/2015/06/chart">
            <c:ext xmlns:c16="http://schemas.microsoft.com/office/drawing/2014/chart" uri="{C3380CC4-5D6E-409C-BE32-E72D297353CC}">
              <c16:uniqueId val="{00000000-6403-4414-851B-9E4B2D9F5C76}"/>
            </c:ext>
          </c:extLst>
        </c:ser>
        <c:ser>
          <c:idx val="0"/>
          <c:order val="1"/>
          <c:tx>
            <c:strRef>
              <c:f>'3M'!$T$30</c:f>
              <c:strCache>
                <c:ptCount val="1"/>
                <c:pt idx="0">
                  <c:v>MR 0.2-0.3</c:v>
                </c:pt>
              </c:strCache>
            </c:strRef>
          </c:tx>
          <c:spPr>
            <a:ln>
              <a:solidFill>
                <a:srgbClr val="00B050"/>
              </a:solidFill>
            </a:ln>
          </c:spPr>
          <c:marker>
            <c:symbol val="none"/>
          </c:marker>
          <c:cat>
            <c:numRef>
              <c:f>'3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3M'!$T$31:$T$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pt idx="42">
                  <c:v>100</c:v>
                </c:pt>
                <c:pt idx="43">
                  <c:v>100</c:v>
                </c:pt>
                <c:pt idx="44">
                  <c:v>100</c:v>
                </c:pt>
                <c:pt idx="45">
                  <c:v>100</c:v>
                </c:pt>
                <c:pt idx="46">
                  <c:v>100</c:v>
                </c:pt>
                <c:pt idx="47">
                  <c:v>100</c:v>
                </c:pt>
                <c:pt idx="48">
                  <c:v>100</c:v>
                </c:pt>
                <c:pt idx="49">
                  <c:v>100</c:v>
                </c:pt>
                <c:pt idx="50">
                  <c:v>100</c:v>
                </c:pt>
                <c:pt idx="51">
                  <c:v>100</c:v>
                </c:pt>
                <c:pt idx="52">
                  <c:v>100</c:v>
                </c:pt>
                <c:pt idx="53">
                  <c:v>100</c:v>
                </c:pt>
                <c:pt idx="54">
                  <c:v>100</c:v>
                </c:pt>
                <c:pt idx="55">
                  <c:v>100</c:v>
                </c:pt>
                <c:pt idx="56">
                  <c:v>100</c:v>
                </c:pt>
                <c:pt idx="57">
                  <c:v>100</c:v>
                </c:pt>
                <c:pt idx="58">
                  <c:v>100</c:v>
                </c:pt>
                <c:pt idx="59">
                  <c:v>100</c:v>
                </c:pt>
                <c:pt idx="60">
                  <c:v>100</c:v>
                </c:pt>
                <c:pt idx="61">
                  <c:v>100</c:v>
                </c:pt>
                <c:pt idx="62">
                  <c:v>100</c:v>
                </c:pt>
                <c:pt idx="63">
                  <c:v>100</c:v>
                </c:pt>
                <c:pt idx="64">
                  <c:v>100</c:v>
                </c:pt>
                <c:pt idx="65">
                  <c:v>100</c:v>
                </c:pt>
                <c:pt idx="66">
                  <c:v>100</c:v>
                </c:pt>
                <c:pt idx="67">
                  <c:v>100</c:v>
                </c:pt>
                <c:pt idx="68">
                  <c:v>100</c:v>
                </c:pt>
                <c:pt idx="69">
                  <c:v>100</c:v>
                </c:pt>
                <c:pt idx="70">
                  <c:v>100</c:v>
                </c:pt>
                <c:pt idx="71">
                  <c:v>100</c:v>
                </c:pt>
                <c:pt idx="72">
                  <c:v>100</c:v>
                </c:pt>
                <c:pt idx="73">
                  <c:v>100</c:v>
                </c:pt>
                <c:pt idx="74">
                  <c:v>100</c:v>
                </c:pt>
                <c:pt idx="75">
                  <c:v>100</c:v>
                </c:pt>
                <c:pt idx="76">
                  <c:v>100</c:v>
                </c:pt>
                <c:pt idx="77">
                  <c:v>100</c:v>
                </c:pt>
                <c:pt idx="78">
                  <c:v>100</c:v>
                </c:pt>
                <c:pt idx="79">
                  <c:v>99.216140947665139</c:v>
                </c:pt>
                <c:pt idx="80">
                  <c:v>102.78791109380514</c:v>
                </c:pt>
                <c:pt idx="81">
                  <c:v>102.78791109380514</c:v>
                </c:pt>
                <c:pt idx="82">
                  <c:v>102.65942620493789</c:v>
                </c:pt>
                <c:pt idx="83">
                  <c:v>102.65942620493789</c:v>
                </c:pt>
                <c:pt idx="84">
                  <c:v>102.65942620493789</c:v>
                </c:pt>
                <c:pt idx="85">
                  <c:v>102.65942620493789</c:v>
                </c:pt>
                <c:pt idx="86">
                  <c:v>101.81148387700254</c:v>
                </c:pt>
                <c:pt idx="87">
                  <c:v>101.6842195221563</c:v>
                </c:pt>
                <c:pt idx="88">
                  <c:v>101.5571142477536</c:v>
                </c:pt>
                <c:pt idx="89">
                  <c:v>101.5571142477536</c:v>
                </c:pt>
                <c:pt idx="90">
                  <c:v>101.5571142477536</c:v>
                </c:pt>
                <c:pt idx="91">
                  <c:v>101.5571142477536</c:v>
                </c:pt>
                <c:pt idx="92">
                  <c:v>101.5571142477536</c:v>
                </c:pt>
                <c:pt idx="93">
                  <c:v>101.5571142477536</c:v>
                </c:pt>
                <c:pt idx="94">
                  <c:v>101.5571142477536</c:v>
                </c:pt>
                <c:pt idx="95">
                  <c:v>101.5571142477536</c:v>
                </c:pt>
                <c:pt idx="96">
                  <c:v>101.5571142477536</c:v>
                </c:pt>
                <c:pt idx="97">
                  <c:v>101.5571142477536</c:v>
                </c:pt>
                <c:pt idx="98">
                  <c:v>101.5571142477536</c:v>
                </c:pt>
                <c:pt idx="99">
                  <c:v>101.5571142477536</c:v>
                </c:pt>
                <c:pt idx="100">
                  <c:v>101.5571142477536</c:v>
                </c:pt>
                <c:pt idx="101">
                  <c:v>101.5571142477536</c:v>
                </c:pt>
                <c:pt idx="102">
                  <c:v>101.5571142477536</c:v>
                </c:pt>
                <c:pt idx="103">
                  <c:v>101.5571142477536</c:v>
                </c:pt>
                <c:pt idx="104">
                  <c:v>101.5571142477536</c:v>
                </c:pt>
                <c:pt idx="105">
                  <c:v>101.5571142477536</c:v>
                </c:pt>
                <c:pt idx="106">
                  <c:v>101.5571142477536</c:v>
                </c:pt>
                <c:pt idx="107">
                  <c:v>101.5571142477536</c:v>
                </c:pt>
                <c:pt idx="108">
                  <c:v>101.5571142477536</c:v>
                </c:pt>
                <c:pt idx="109">
                  <c:v>101.5571142477536</c:v>
                </c:pt>
                <c:pt idx="110">
                  <c:v>101.5571142477536</c:v>
                </c:pt>
                <c:pt idx="111">
                  <c:v>101.5571142477536</c:v>
                </c:pt>
                <c:pt idx="112">
                  <c:v>102.75545728243259</c:v>
                </c:pt>
                <c:pt idx="113">
                  <c:v>102.62701296082955</c:v>
                </c:pt>
                <c:pt idx="114">
                  <c:v>102.49872919462851</c:v>
                </c:pt>
                <c:pt idx="115">
                  <c:v>102.49872919462851</c:v>
                </c:pt>
                <c:pt idx="116">
                  <c:v>102.49872919462851</c:v>
                </c:pt>
                <c:pt idx="117">
                  <c:v>102.49872919462851</c:v>
                </c:pt>
                <c:pt idx="118">
                  <c:v>102.49872919462851</c:v>
                </c:pt>
                <c:pt idx="119">
                  <c:v>102.49872919462851</c:v>
                </c:pt>
                <c:pt idx="120">
                  <c:v>102.49872919462851</c:v>
                </c:pt>
                <c:pt idx="121">
                  <c:v>104.716355642279</c:v>
                </c:pt>
                <c:pt idx="122">
                  <c:v>104.58546019772615</c:v>
                </c:pt>
                <c:pt idx="123">
                  <c:v>104.454728372479</c:v>
                </c:pt>
                <c:pt idx="124">
                  <c:v>104.454728372479</c:v>
                </c:pt>
                <c:pt idx="125">
                  <c:v>104.454728372479</c:v>
                </c:pt>
                <c:pt idx="126">
                  <c:v>104.454728372479</c:v>
                </c:pt>
                <c:pt idx="127">
                  <c:v>104.454728372479</c:v>
                </c:pt>
                <c:pt idx="128">
                  <c:v>104.454728372479</c:v>
                </c:pt>
                <c:pt idx="129">
                  <c:v>104.454728372479</c:v>
                </c:pt>
                <c:pt idx="130">
                  <c:v>104.454728372479</c:v>
                </c:pt>
                <c:pt idx="131">
                  <c:v>104.454728372479</c:v>
                </c:pt>
                <c:pt idx="132">
                  <c:v>104.454728372479</c:v>
                </c:pt>
                <c:pt idx="133">
                  <c:v>104.454728372479</c:v>
                </c:pt>
                <c:pt idx="134">
                  <c:v>104.454728372479</c:v>
                </c:pt>
                <c:pt idx="135">
                  <c:v>104.454728372479</c:v>
                </c:pt>
                <c:pt idx="136">
                  <c:v>104.454728372479</c:v>
                </c:pt>
                <c:pt idx="137">
                  <c:v>104.454728372479</c:v>
                </c:pt>
                <c:pt idx="138">
                  <c:v>104.454728372479</c:v>
                </c:pt>
                <c:pt idx="139">
                  <c:v>104.454728372479</c:v>
                </c:pt>
                <c:pt idx="140">
                  <c:v>104.454728372479</c:v>
                </c:pt>
                <c:pt idx="141">
                  <c:v>99.880512121303283</c:v>
                </c:pt>
                <c:pt idx="142">
                  <c:v>99.755661481151662</c:v>
                </c:pt>
                <c:pt idx="143">
                  <c:v>99.630966904300223</c:v>
                </c:pt>
                <c:pt idx="144">
                  <c:v>99.630966904300223</c:v>
                </c:pt>
                <c:pt idx="145">
                  <c:v>99.630966904300223</c:v>
                </c:pt>
                <c:pt idx="146">
                  <c:v>99.630966904300223</c:v>
                </c:pt>
                <c:pt idx="147">
                  <c:v>99.630966904300223</c:v>
                </c:pt>
                <c:pt idx="148">
                  <c:v>99.630966904300223</c:v>
                </c:pt>
                <c:pt idx="149">
                  <c:v>99.630966904300223</c:v>
                </c:pt>
                <c:pt idx="150">
                  <c:v>99.630966904300223</c:v>
                </c:pt>
                <c:pt idx="151">
                  <c:v>99.630966904300223</c:v>
                </c:pt>
                <c:pt idx="152">
                  <c:v>99.630966904300223</c:v>
                </c:pt>
                <c:pt idx="153">
                  <c:v>99.630966904300223</c:v>
                </c:pt>
                <c:pt idx="154">
                  <c:v>99.630966904300223</c:v>
                </c:pt>
                <c:pt idx="155">
                  <c:v>99.630966904300223</c:v>
                </c:pt>
                <c:pt idx="156">
                  <c:v>99.630966904300223</c:v>
                </c:pt>
                <c:pt idx="157">
                  <c:v>99.630966904300223</c:v>
                </c:pt>
                <c:pt idx="158">
                  <c:v>99.630966904300223</c:v>
                </c:pt>
                <c:pt idx="159">
                  <c:v>99.630966904300223</c:v>
                </c:pt>
                <c:pt idx="160">
                  <c:v>99.630966904300223</c:v>
                </c:pt>
                <c:pt idx="161">
                  <c:v>99.630966904300223</c:v>
                </c:pt>
                <c:pt idx="162">
                  <c:v>99.630966904300223</c:v>
                </c:pt>
                <c:pt idx="163">
                  <c:v>99.630966904300223</c:v>
                </c:pt>
                <c:pt idx="164">
                  <c:v>99.630966904300223</c:v>
                </c:pt>
                <c:pt idx="165">
                  <c:v>99.630966904300223</c:v>
                </c:pt>
                <c:pt idx="166">
                  <c:v>99.630966904300223</c:v>
                </c:pt>
                <c:pt idx="167">
                  <c:v>99.630966904300223</c:v>
                </c:pt>
                <c:pt idx="168">
                  <c:v>99.630966904300223</c:v>
                </c:pt>
                <c:pt idx="169">
                  <c:v>99.630966904300223</c:v>
                </c:pt>
                <c:pt idx="170">
                  <c:v>99.630966904300223</c:v>
                </c:pt>
                <c:pt idx="171">
                  <c:v>99.630966904300223</c:v>
                </c:pt>
                <c:pt idx="172">
                  <c:v>99.630966904300223</c:v>
                </c:pt>
                <c:pt idx="173">
                  <c:v>99.630966904300223</c:v>
                </c:pt>
                <c:pt idx="174">
                  <c:v>99.630966904300223</c:v>
                </c:pt>
                <c:pt idx="175">
                  <c:v>99.630966904300223</c:v>
                </c:pt>
                <c:pt idx="176">
                  <c:v>99.630966904300223</c:v>
                </c:pt>
                <c:pt idx="177">
                  <c:v>99.630966904300223</c:v>
                </c:pt>
                <c:pt idx="178">
                  <c:v>99.630966904300223</c:v>
                </c:pt>
                <c:pt idx="179">
                  <c:v>99.630966904300223</c:v>
                </c:pt>
                <c:pt idx="180">
                  <c:v>99.630966904300223</c:v>
                </c:pt>
                <c:pt idx="181">
                  <c:v>99.630966904300223</c:v>
                </c:pt>
                <c:pt idx="182">
                  <c:v>99.630966904300223</c:v>
                </c:pt>
                <c:pt idx="183">
                  <c:v>99.630966904300223</c:v>
                </c:pt>
                <c:pt idx="184">
                  <c:v>99.630966904300223</c:v>
                </c:pt>
                <c:pt idx="185">
                  <c:v>99.630966904300223</c:v>
                </c:pt>
                <c:pt idx="186">
                  <c:v>99.630966904300223</c:v>
                </c:pt>
                <c:pt idx="187">
                  <c:v>99.630966904300223</c:v>
                </c:pt>
                <c:pt idx="188">
                  <c:v>99.630966904300223</c:v>
                </c:pt>
                <c:pt idx="189">
                  <c:v>99.630966904300223</c:v>
                </c:pt>
                <c:pt idx="190">
                  <c:v>99.630966904300223</c:v>
                </c:pt>
                <c:pt idx="191">
                  <c:v>99.630966904300223</c:v>
                </c:pt>
                <c:pt idx="192">
                  <c:v>99.630966904300223</c:v>
                </c:pt>
                <c:pt idx="193">
                  <c:v>99.630966904300223</c:v>
                </c:pt>
                <c:pt idx="194">
                  <c:v>99.630966904300223</c:v>
                </c:pt>
                <c:pt idx="195">
                  <c:v>99.630966904300223</c:v>
                </c:pt>
                <c:pt idx="196">
                  <c:v>99.630966904300223</c:v>
                </c:pt>
                <c:pt idx="197">
                  <c:v>99.630966904300223</c:v>
                </c:pt>
                <c:pt idx="198">
                  <c:v>99.630966904300223</c:v>
                </c:pt>
                <c:pt idx="199">
                  <c:v>99.630966904300223</c:v>
                </c:pt>
                <c:pt idx="200">
                  <c:v>99.630966904300223</c:v>
                </c:pt>
                <c:pt idx="201">
                  <c:v>99.630966904300223</c:v>
                </c:pt>
                <c:pt idx="202">
                  <c:v>99.630966904300223</c:v>
                </c:pt>
                <c:pt idx="203">
                  <c:v>99.630966904300223</c:v>
                </c:pt>
                <c:pt idx="204">
                  <c:v>99.630966904300223</c:v>
                </c:pt>
                <c:pt idx="205">
                  <c:v>99.630966904300223</c:v>
                </c:pt>
                <c:pt idx="206">
                  <c:v>99.630966904300223</c:v>
                </c:pt>
                <c:pt idx="207">
                  <c:v>99.630966904300223</c:v>
                </c:pt>
                <c:pt idx="208">
                  <c:v>99.630966904300223</c:v>
                </c:pt>
                <c:pt idx="209">
                  <c:v>99.630966904300223</c:v>
                </c:pt>
                <c:pt idx="210">
                  <c:v>99.630966904300223</c:v>
                </c:pt>
                <c:pt idx="211">
                  <c:v>99.630966904300223</c:v>
                </c:pt>
                <c:pt idx="212">
                  <c:v>99.630966904300223</c:v>
                </c:pt>
                <c:pt idx="213">
                  <c:v>99.630966904300223</c:v>
                </c:pt>
                <c:pt idx="214">
                  <c:v>99.630966904300223</c:v>
                </c:pt>
                <c:pt idx="215">
                  <c:v>99.630966904300223</c:v>
                </c:pt>
                <c:pt idx="216">
                  <c:v>99.630966904300223</c:v>
                </c:pt>
                <c:pt idx="217">
                  <c:v>99.630966904300223</c:v>
                </c:pt>
                <c:pt idx="218">
                  <c:v>99.630966904300223</c:v>
                </c:pt>
                <c:pt idx="219">
                  <c:v>99.630966904300223</c:v>
                </c:pt>
                <c:pt idx="220">
                  <c:v>99.630966904300223</c:v>
                </c:pt>
                <c:pt idx="221">
                  <c:v>99.630966904300223</c:v>
                </c:pt>
                <c:pt idx="222">
                  <c:v>99.630966904300223</c:v>
                </c:pt>
                <c:pt idx="223">
                  <c:v>99.630966904300223</c:v>
                </c:pt>
                <c:pt idx="224">
                  <c:v>99.630966904300223</c:v>
                </c:pt>
                <c:pt idx="225">
                  <c:v>99.630966904300223</c:v>
                </c:pt>
                <c:pt idx="226">
                  <c:v>99.630966904300223</c:v>
                </c:pt>
                <c:pt idx="227">
                  <c:v>99.630966904300223</c:v>
                </c:pt>
                <c:pt idx="228">
                  <c:v>99.630966904300223</c:v>
                </c:pt>
                <c:pt idx="229">
                  <c:v>99.630966904300223</c:v>
                </c:pt>
                <c:pt idx="230">
                  <c:v>99.630966904300223</c:v>
                </c:pt>
                <c:pt idx="231">
                  <c:v>99.630966904300223</c:v>
                </c:pt>
                <c:pt idx="232">
                  <c:v>99.630966904300223</c:v>
                </c:pt>
                <c:pt idx="233">
                  <c:v>99.630966904300223</c:v>
                </c:pt>
                <c:pt idx="234">
                  <c:v>99.630966904300223</c:v>
                </c:pt>
                <c:pt idx="235">
                  <c:v>99.630966904300223</c:v>
                </c:pt>
                <c:pt idx="236">
                  <c:v>99.630966904300223</c:v>
                </c:pt>
                <c:pt idx="237">
                  <c:v>99.630966904300223</c:v>
                </c:pt>
                <c:pt idx="238">
                  <c:v>99.630966904300223</c:v>
                </c:pt>
                <c:pt idx="239">
                  <c:v>99.630966904300223</c:v>
                </c:pt>
                <c:pt idx="240">
                  <c:v>99.630966904300223</c:v>
                </c:pt>
                <c:pt idx="241">
                  <c:v>99.630966904300223</c:v>
                </c:pt>
                <c:pt idx="242">
                  <c:v>99.630966904300223</c:v>
                </c:pt>
                <c:pt idx="243">
                  <c:v>99.630966904300223</c:v>
                </c:pt>
                <c:pt idx="244">
                  <c:v>99.630966904300223</c:v>
                </c:pt>
                <c:pt idx="245">
                  <c:v>99.630966904300223</c:v>
                </c:pt>
                <c:pt idx="246">
                  <c:v>99.630966904300223</c:v>
                </c:pt>
                <c:pt idx="247">
                  <c:v>99.630966904300223</c:v>
                </c:pt>
                <c:pt idx="248">
                  <c:v>99.630966904300223</c:v>
                </c:pt>
                <c:pt idx="249">
                  <c:v>99.630966904300223</c:v>
                </c:pt>
                <c:pt idx="250">
                  <c:v>99.630966904300223</c:v>
                </c:pt>
                <c:pt idx="251">
                  <c:v>99.630966904300223</c:v>
                </c:pt>
                <c:pt idx="252">
                  <c:v>99.322190138825846</c:v>
                </c:pt>
                <c:pt idx="253">
                  <c:v>99.19803740115232</c:v>
                </c:pt>
                <c:pt idx="254">
                  <c:v>99.07403985440088</c:v>
                </c:pt>
                <c:pt idx="255">
                  <c:v>99.07403985440088</c:v>
                </c:pt>
                <c:pt idx="256">
                  <c:v>99.07403985440088</c:v>
                </c:pt>
                <c:pt idx="257">
                  <c:v>99.07403985440088</c:v>
                </c:pt>
                <c:pt idx="258">
                  <c:v>99.07403985440088</c:v>
                </c:pt>
                <c:pt idx="259">
                  <c:v>99.07403985440088</c:v>
                </c:pt>
                <c:pt idx="260">
                  <c:v>99.07403985440088</c:v>
                </c:pt>
                <c:pt idx="261">
                  <c:v>99.07403985440088</c:v>
                </c:pt>
                <c:pt idx="262">
                  <c:v>99.07403985440088</c:v>
                </c:pt>
                <c:pt idx="263">
                  <c:v>99.07403985440088</c:v>
                </c:pt>
                <c:pt idx="264">
                  <c:v>99.07403985440088</c:v>
                </c:pt>
                <c:pt idx="265">
                  <c:v>99.07403985440088</c:v>
                </c:pt>
                <c:pt idx="266">
                  <c:v>99.07403985440088</c:v>
                </c:pt>
                <c:pt idx="267">
                  <c:v>99.07403985440088</c:v>
                </c:pt>
                <c:pt idx="268">
                  <c:v>99.07403985440088</c:v>
                </c:pt>
                <c:pt idx="269">
                  <c:v>99.07403985440088</c:v>
                </c:pt>
                <c:pt idx="270">
                  <c:v>99.07403985440088</c:v>
                </c:pt>
                <c:pt idx="271">
                  <c:v>99.07403985440088</c:v>
                </c:pt>
                <c:pt idx="272">
                  <c:v>99.07403985440088</c:v>
                </c:pt>
                <c:pt idx="273">
                  <c:v>99.07403985440088</c:v>
                </c:pt>
                <c:pt idx="274">
                  <c:v>99.07403985440088</c:v>
                </c:pt>
                <c:pt idx="275">
                  <c:v>99.07403985440088</c:v>
                </c:pt>
                <c:pt idx="276">
                  <c:v>99.07403985440088</c:v>
                </c:pt>
                <c:pt idx="277">
                  <c:v>99.07403985440088</c:v>
                </c:pt>
                <c:pt idx="278">
                  <c:v>99.07403985440088</c:v>
                </c:pt>
                <c:pt idx="279">
                  <c:v>99.07403985440088</c:v>
                </c:pt>
                <c:pt idx="280">
                  <c:v>99.07403985440088</c:v>
                </c:pt>
                <c:pt idx="281">
                  <c:v>99.07403985440088</c:v>
                </c:pt>
                <c:pt idx="282">
                  <c:v>99.07403985440088</c:v>
                </c:pt>
                <c:pt idx="283">
                  <c:v>99.07403985440088</c:v>
                </c:pt>
                <c:pt idx="284">
                  <c:v>99.07403985440088</c:v>
                </c:pt>
                <c:pt idx="285">
                  <c:v>99.07403985440088</c:v>
                </c:pt>
                <c:pt idx="286">
                  <c:v>99.07403985440088</c:v>
                </c:pt>
                <c:pt idx="287">
                  <c:v>99.07403985440088</c:v>
                </c:pt>
                <c:pt idx="288">
                  <c:v>99.07403985440088</c:v>
                </c:pt>
                <c:pt idx="289">
                  <c:v>99.07403985440088</c:v>
                </c:pt>
                <c:pt idx="290">
                  <c:v>99.07403985440088</c:v>
                </c:pt>
                <c:pt idx="291">
                  <c:v>99.07403985440088</c:v>
                </c:pt>
                <c:pt idx="292">
                  <c:v>99.07403985440088</c:v>
                </c:pt>
                <c:pt idx="293">
                  <c:v>99.07403985440088</c:v>
                </c:pt>
                <c:pt idx="294">
                  <c:v>99.07403985440088</c:v>
                </c:pt>
                <c:pt idx="295">
                  <c:v>99.07403985440088</c:v>
                </c:pt>
                <c:pt idx="296">
                  <c:v>99.07403985440088</c:v>
                </c:pt>
                <c:pt idx="297">
                  <c:v>99.07403985440088</c:v>
                </c:pt>
                <c:pt idx="298">
                  <c:v>99.07403985440088</c:v>
                </c:pt>
                <c:pt idx="299">
                  <c:v>99.07403985440088</c:v>
                </c:pt>
                <c:pt idx="300">
                  <c:v>99.07403985440088</c:v>
                </c:pt>
                <c:pt idx="301">
                  <c:v>99.07403985440088</c:v>
                </c:pt>
                <c:pt idx="302">
                  <c:v>99.07403985440088</c:v>
                </c:pt>
                <c:pt idx="303">
                  <c:v>99.07403985440088</c:v>
                </c:pt>
                <c:pt idx="304">
                  <c:v>99.07403985440088</c:v>
                </c:pt>
                <c:pt idx="305">
                  <c:v>99.07403985440088</c:v>
                </c:pt>
                <c:pt idx="306">
                  <c:v>99.07403985440088</c:v>
                </c:pt>
                <c:pt idx="307">
                  <c:v>99.07403985440088</c:v>
                </c:pt>
                <c:pt idx="308">
                  <c:v>99.07403985440088</c:v>
                </c:pt>
                <c:pt idx="309">
                  <c:v>99.07403985440088</c:v>
                </c:pt>
                <c:pt idx="310">
                  <c:v>99.07403985440088</c:v>
                </c:pt>
                <c:pt idx="311">
                  <c:v>99.07403985440088</c:v>
                </c:pt>
                <c:pt idx="312">
                  <c:v>99.07403985440088</c:v>
                </c:pt>
                <c:pt idx="313">
                  <c:v>99.07403985440088</c:v>
                </c:pt>
                <c:pt idx="314">
                  <c:v>99.07403985440088</c:v>
                </c:pt>
                <c:pt idx="315">
                  <c:v>99.07403985440088</c:v>
                </c:pt>
                <c:pt idx="316">
                  <c:v>99.07403985440088</c:v>
                </c:pt>
                <c:pt idx="317">
                  <c:v>99.07403985440088</c:v>
                </c:pt>
                <c:pt idx="318">
                  <c:v>99.07403985440088</c:v>
                </c:pt>
                <c:pt idx="319">
                  <c:v>99.07403985440088</c:v>
                </c:pt>
                <c:pt idx="320">
                  <c:v>99.07403985440088</c:v>
                </c:pt>
                <c:pt idx="321">
                  <c:v>99.07403985440088</c:v>
                </c:pt>
                <c:pt idx="322">
                  <c:v>99.07403985440088</c:v>
                </c:pt>
                <c:pt idx="323">
                  <c:v>99.07403985440088</c:v>
                </c:pt>
                <c:pt idx="324">
                  <c:v>99.07403985440088</c:v>
                </c:pt>
                <c:pt idx="325">
                  <c:v>99.399682487001229</c:v>
                </c:pt>
                <c:pt idx="326">
                  <c:v>99.275432883892478</c:v>
                </c:pt>
                <c:pt idx="327">
                  <c:v>99.15133859278761</c:v>
                </c:pt>
                <c:pt idx="328">
                  <c:v>99.15133859278761</c:v>
                </c:pt>
                <c:pt idx="329">
                  <c:v>99.15133859278761</c:v>
                </c:pt>
                <c:pt idx="330">
                  <c:v>99.15133859278761</c:v>
                </c:pt>
                <c:pt idx="331">
                  <c:v>99.15133859278761</c:v>
                </c:pt>
                <c:pt idx="332">
                  <c:v>99.15133859278761</c:v>
                </c:pt>
                <c:pt idx="333">
                  <c:v>99.15133859278761</c:v>
                </c:pt>
                <c:pt idx="334">
                  <c:v>99.090831706835772</c:v>
                </c:pt>
                <c:pt idx="335">
                  <c:v>98.50492564660459</c:v>
                </c:pt>
                <c:pt idx="336">
                  <c:v>98.50492564660459</c:v>
                </c:pt>
                <c:pt idx="337">
                  <c:v>98.381794489546337</c:v>
                </c:pt>
                <c:pt idx="338">
                  <c:v>98.381794489546337</c:v>
                </c:pt>
                <c:pt idx="339">
                  <c:v>98.381794489546337</c:v>
                </c:pt>
                <c:pt idx="340">
                  <c:v>98.381794489546337</c:v>
                </c:pt>
                <c:pt idx="341">
                  <c:v>98.381794489546337</c:v>
                </c:pt>
                <c:pt idx="342">
                  <c:v>98.381794489546337</c:v>
                </c:pt>
                <c:pt idx="343">
                  <c:v>98.381794489546337</c:v>
                </c:pt>
                <c:pt idx="344">
                  <c:v>98.381794489546337</c:v>
                </c:pt>
                <c:pt idx="345">
                  <c:v>98.381794489546337</c:v>
                </c:pt>
                <c:pt idx="346">
                  <c:v>98.381794489546337</c:v>
                </c:pt>
                <c:pt idx="347">
                  <c:v>98.381794489546337</c:v>
                </c:pt>
                <c:pt idx="348">
                  <c:v>98.381794489546337</c:v>
                </c:pt>
                <c:pt idx="349">
                  <c:v>98.381794489546337</c:v>
                </c:pt>
                <c:pt idx="350">
                  <c:v>98.381794489546337</c:v>
                </c:pt>
                <c:pt idx="351">
                  <c:v>98.381794489546337</c:v>
                </c:pt>
                <c:pt idx="352">
                  <c:v>98.381794489546337</c:v>
                </c:pt>
                <c:pt idx="353">
                  <c:v>98.381794489546337</c:v>
                </c:pt>
                <c:pt idx="354">
                  <c:v>98.381794489546337</c:v>
                </c:pt>
                <c:pt idx="355">
                  <c:v>98.381794489546337</c:v>
                </c:pt>
                <c:pt idx="356">
                  <c:v>98.381794489546337</c:v>
                </c:pt>
                <c:pt idx="357">
                  <c:v>98.381794489546337</c:v>
                </c:pt>
                <c:pt idx="358">
                  <c:v>98.381794489546337</c:v>
                </c:pt>
                <c:pt idx="359">
                  <c:v>98.381794489546337</c:v>
                </c:pt>
                <c:pt idx="360">
                  <c:v>98.381794489546337</c:v>
                </c:pt>
                <c:pt idx="361">
                  <c:v>98.381794489546337</c:v>
                </c:pt>
                <c:pt idx="362">
                  <c:v>98.381794489546337</c:v>
                </c:pt>
                <c:pt idx="363">
                  <c:v>98.381794489546337</c:v>
                </c:pt>
                <c:pt idx="364">
                  <c:v>98.381794489546337</c:v>
                </c:pt>
                <c:pt idx="365">
                  <c:v>98.381794489546337</c:v>
                </c:pt>
                <c:pt idx="366">
                  <c:v>98.381794489546337</c:v>
                </c:pt>
                <c:pt idx="367">
                  <c:v>98.381794489546337</c:v>
                </c:pt>
                <c:pt idx="368">
                  <c:v>98.381794489546337</c:v>
                </c:pt>
                <c:pt idx="369">
                  <c:v>98.381794489546337</c:v>
                </c:pt>
                <c:pt idx="370">
                  <c:v>98.381794489546337</c:v>
                </c:pt>
                <c:pt idx="371">
                  <c:v>98.381794489546337</c:v>
                </c:pt>
                <c:pt idx="372">
                  <c:v>98.381794489546337</c:v>
                </c:pt>
                <c:pt idx="373">
                  <c:v>98.381794489546337</c:v>
                </c:pt>
                <c:pt idx="374">
                  <c:v>98.381794489546337</c:v>
                </c:pt>
                <c:pt idx="375">
                  <c:v>98.381794489546337</c:v>
                </c:pt>
                <c:pt idx="376">
                  <c:v>98.381794489546337</c:v>
                </c:pt>
                <c:pt idx="377">
                  <c:v>98.381794489546337</c:v>
                </c:pt>
                <c:pt idx="378">
                  <c:v>98.381794489546337</c:v>
                </c:pt>
                <c:pt idx="379">
                  <c:v>98.381794489546337</c:v>
                </c:pt>
                <c:pt idx="380">
                  <c:v>98.381794489546337</c:v>
                </c:pt>
                <c:pt idx="381">
                  <c:v>98.381794489546337</c:v>
                </c:pt>
                <c:pt idx="382">
                  <c:v>98.381794489546337</c:v>
                </c:pt>
                <c:pt idx="383">
                  <c:v>98.381794489546337</c:v>
                </c:pt>
                <c:pt idx="384">
                  <c:v>98.381794489546337</c:v>
                </c:pt>
                <c:pt idx="385">
                  <c:v>98.381794489546337</c:v>
                </c:pt>
                <c:pt idx="386">
                  <c:v>98.381794489546337</c:v>
                </c:pt>
                <c:pt idx="387">
                  <c:v>98.381794489546337</c:v>
                </c:pt>
                <c:pt idx="388">
                  <c:v>98.381794489546337</c:v>
                </c:pt>
                <c:pt idx="389">
                  <c:v>98.381794489546337</c:v>
                </c:pt>
                <c:pt idx="390">
                  <c:v>98.381794489546337</c:v>
                </c:pt>
                <c:pt idx="391">
                  <c:v>98.381794489546337</c:v>
                </c:pt>
                <c:pt idx="392">
                  <c:v>98.381794489546337</c:v>
                </c:pt>
                <c:pt idx="393">
                  <c:v>98.381794489546337</c:v>
                </c:pt>
                <c:pt idx="394">
                  <c:v>98.381794489546337</c:v>
                </c:pt>
                <c:pt idx="395">
                  <c:v>98.381794489546337</c:v>
                </c:pt>
                <c:pt idx="396">
                  <c:v>98.381794489546337</c:v>
                </c:pt>
                <c:pt idx="397">
                  <c:v>98.381794489546337</c:v>
                </c:pt>
                <c:pt idx="398">
                  <c:v>98.381794489546337</c:v>
                </c:pt>
                <c:pt idx="399">
                  <c:v>98.381794489546337</c:v>
                </c:pt>
                <c:pt idx="400">
                  <c:v>98.381794489546337</c:v>
                </c:pt>
                <c:pt idx="401">
                  <c:v>98.381794489546337</c:v>
                </c:pt>
                <c:pt idx="402">
                  <c:v>98.381794489546337</c:v>
                </c:pt>
                <c:pt idx="403">
                  <c:v>98.381794489546337</c:v>
                </c:pt>
                <c:pt idx="404">
                  <c:v>98.381794489546337</c:v>
                </c:pt>
                <c:pt idx="405">
                  <c:v>98.381794489546337</c:v>
                </c:pt>
                <c:pt idx="406">
                  <c:v>98.381794489546337</c:v>
                </c:pt>
                <c:pt idx="407">
                  <c:v>98.381794489546337</c:v>
                </c:pt>
                <c:pt idx="408">
                  <c:v>98.381794489546337</c:v>
                </c:pt>
                <c:pt idx="409">
                  <c:v>98.381794489546337</c:v>
                </c:pt>
                <c:pt idx="410">
                  <c:v>98.381794489546337</c:v>
                </c:pt>
                <c:pt idx="411">
                  <c:v>98.381794489546337</c:v>
                </c:pt>
                <c:pt idx="412">
                  <c:v>98.381794489546337</c:v>
                </c:pt>
                <c:pt idx="413">
                  <c:v>98.381794489546337</c:v>
                </c:pt>
                <c:pt idx="414">
                  <c:v>98.381794489546337</c:v>
                </c:pt>
                <c:pt idx="415">
                  <c:v>98.381794489546337</c:v>
                </c:pt>
                <c:pt idx="416">
                  <c:v>98.381794489546337</c:v>
                </c:pt>
                <c:pt idx="417">
                  <c:v>98.271350063371358</c:v>
                </c:pt>
                <c:pt idx="418">
                  <c:v>102.33375178226721</c:v>
                </c:pt>
                <c:pt idx="419">
                  <c:v>102.33375178226721</c:v>
                </c:pt>
                <c:pt idx="420">
                  <c:v>102.20583459253939</c:v>
                </c:pt>
                <c:pt idx="421">
                  <c:v>102.20583459253939</c:v>
                </c:pt>
                <c:pt idx="422">
                  <c:v>102.20583459253939</c:v>
                </c:pt>
                <c:pt idx="423">
                  <c:v>102.20583459253939</c:v>
                </c:pt>
                <c:pt idx="424">
                  <c:v>102.20583459253939</c:v>
                </c:pt>
                <c:pt idx="425">
                  <c:v>102.20583459253939</c:v>
                </c:pt>
                <c:pt idx="426">
                  <c:v>102.20583459253939</c:v>
                </c:pt>
                <c:pt idx="427">
                  <c:v>102.20583459253939</c:v>
                </c:pt>
                <c:pt idx="428">
                  <c:v>102.20583459253939</c:v>
                </c:pt>
                <c:pt idx="429">
                  <c:v>102.20583459253939</c:v>
                </c:pt>
                <c:pt idx="430">
                  <c:v>102.20583459253939</c:v>
                </c:pt>
                <c:pt idx="431">
                  <c:v>102.20583459253939</c:v>
                </c:pt>
                <c:pt idx="432">
                  <c:v>102.20583459253939</c:v>
                </c:pt>
                <c:pt idx="433">
                  <c:v>102.20583459253939</c:v>
                </c:pt>
                <c:pt idx="434">
                  <c:v>102.20583459253939</c:v>
                </c:pt>
                <c:pt idx="435">
                  <c:v>102.20583459253939</c:v>
                </c:pt>
                <c:pt idx="436">
                  <c:v>102.20583459253939</c:v>
                </c:pt>
                <c:pt idx="437">
                  <c:v>102.20583459253939</c:v>
                </c:pt>
                <c:pt idx="438">
                  <c:v>102.20583459253939</c:v>
                </c:pt>
                <c:pt idx="439">
                  <c:v>102.20583459253939</c:v>
                </c:pt>
                <c:pt idx="440">
                  <c:v>102.20583459253939</c:v>
                </c:pt>
                <c:pt idx="441">
                  <c:v>102.20583459253939</c:v>
                </c:pt>
                <c:pt idx="442">
                  <c:v>102.20583459253939</c:v>
                </c:pt>
                <c:pt idx="443">
                  <c:v>102.20583459253939</c:v>
                </c:pt>
                <c:pt idx="444">
                  <c:v>102.20583459253939</c:v>
                </c:pt>
                <c:pt idx="445">
                  <c:v>102.20583459253939</c:v>
                </c:pt>
                <c:pt idx="446">
                  <c:v>102.20583459253939</c:v>
                </c:pt>
                <c:pt idx="447">
                  <c:v>102.20583459253939</c:v>
                </c:pt>
                <c:pt idx="448">
                  <c:v>102.20583459253939</c:v>
                </c:pt>
                <c:pt idx="449">
                  <c:v>102.20583459253939</c:v>
                </c:pt>
                <c:pt idx="450">
                  <c:v>102.20583459253939</c:v>
                </c:pt>
                <c:pt idx="451">
                  <c:v>102.20583459253939</c:v>
                </c:pt>
                <c:pt idx="452">
                  <c:v>102.20583459253939</c:v>
                </c:pt>
                <c:pt idx="453">
                  <c:v>102.20583459253939</c:v>
                </c:pt>
                <c:pt idx="454">
                  <c:v>102.20583459253939</c:v>
                </c:pt>
                <c:pt idx="455">
                  <c:v>102.20583459253939</c:v>
                </c:pt>
                <c:pt idx="456">
                  <c:v>102.20583459253939</c:v>
                </c:pt>
                <c:pt idx="457">
                  <c:v>102.20583459253939</c:v>
                </c:pt>
                <c:pt idx="458">
                  <c:v>102.20583459253939</c:v>
                </c:pt>
                <c:pt idx="459">
                  <c:v>102.20583459253939</c:v>
                </c:pt>
                <c:pt idx="460">
                  <c:v>102.20583459253939</c:v>
                </c:pt>
                <c:pt idx="461">
                  <c:v>102.20583459253939</c:v>
                </c:pt>
                <c:pt idx="462">
                  <c:v>102.20583459253939</c:v>
                </c:pt>
                <c:pt idx="463">
                  <c:v>102.20583459253939</c:v>
                </c:pt>
                <c:pt idx="464">
                  <c:v>102.20583459253939</c:v>
                </c:pt>
                <c:pt idx="465">
                  <c:v>102.20583459253939</c:v>
                </c:pt>
                <c:pt idx="466">
                  <c:v>102.20583459253939</c:v>
                </c:pt>
                <c:pt idx="467">
                  <c:v>102.20583459253939</c:v>
                </c:pt>
                <c:pt idx="468">
                  <c:v>102.20583459253939</c:v>
                </c:pt>
                <c:pt idx="469">
                  <c:v>102.20583459253939</c:v>
                </c:pt>
                <c:pt idx="470">
                  <c:v>102.20583459253939</c:v>
                </c:pt>
                <c:pt idx="471">
                  <c:v>102.20583459253939</c:v>
                </c:pt>
                <c:pt idx="472">
                  <c:v>102.20583459253939</c:v>
                </c:pt>
                <c:pt idx="473">
                  <c:v>102.20583459253939</c:v>
                </c:pt>
                <c:pt idx="474">
                  <c:v>102.20583459253939</c:v>
                </c:pt>
                <c:pt idx="475">
                  <c:v>102.20583459253939</c:v>
                </c:pt>
                <c:pt idx="476">
                  <c:v>102.20583459253939</c:v>
                </c:pt>
                <c:pt idx="477">
                  <c:v>102.20583459253939</c:v>
                </c:pt>
                <c:pt idx="478">
                  <c:v>102.20583459253939</c:v>
                </c:pt>
                <c:pt idx="479">
                  <c:v>102.20583459253939</c:v>
                </c:pt>
                <c:pt idx="480">
                  <c:v>102.20583459253939</c:v>
                </c:pt>
                <c:pt idx="481">
                  <c:v>102.20583459253939</c:v>
                </c:pt>
                <c:pt idx="482">
                  <c:v>102.20583459253939</c:v>
                </c:pt>
                <c:pt idx="483">
                  <c:v>102.20583459253939</c:v>
                </c:pt>
                <c:pt idx="484">
                  <c:v>102.20583459253939</c:v>
                </c:pt>
                <c:pt idx="485">
                  <c:v>102.20583459253939</c:v>
                </c:pt>
                <c:pt idx="486">
                  <c:v>102.20583459253939</c:v>
                </c:pt>
                <c:pt idx="487">
                  <c:v>102.20583459253939</c:v>
                </c:pt>
                <c:pt idx="488">
                  <c:v>102.20583459253939</c:v>
                </c:pt>
                <c:pt idx="489">
                  <c:v>102.20583459253939</c:v>
                </c:pt>
                <c:pt idx="490">
                  <c:v>102.20583459253939</c:v>
                </c:pt>
                <c:pt idx="491">
                  <c:v>102.20583459253939</c:v>
                </c:pt>
                <c:pt idx="492">
                  <c:v>102.20583459253939</c:v>
                </c:pt>
                <c:pt idx="493">
                  <c:v>102.20583459253939</c:v>
                </c:pt>
                <c:pt idx="494">
                  <c:v>102.20583459253939</c:v>
                </c:pt>
                <c:pt idx="495">
                  <c:v>102.20583459253939</c:v>
                </c:pt>
                <c:pt idx="496">
                  <c:v>102.20583459253939</c:v>
                </c:pt>
                <c:pt idx="497">
                  <c:v>102.20583459253939</c:v>
                </c:pt>
                <c:pt idx="498">
                  <c:v>102.20583459253939</c:v>
                </c:pt>
                <c:pt idx="499">
                  <c:v>102.20583459253939</c:v>
                </c:pt>
                <c:pt idx="500">
                  <c:v>102.20583459253939</c:v>
                </c:pt>
                <c:pt idx="501">
                  <c:v>102.20583459253939</c:v>
                </c:pt>
                <c:pt idx="502">
                  <c:v>102.20583459253939</c:v>
                </c:pt>
                <c:pt idx="503">
                  <c:v>103.53552356829167</c:v>
                </c:pt>
                <c:pt idx="504">
                  <c:v>103.32432076665647</c:v>
                </c:pt>
                <c:pt idx="505">
                  <c:v>102.45852556754808</c:v>
                </c:pt>
                <c:pt idx="506">
                  <c:v>102.52997758508977</c:v>
                </c:pt>
                <c:pt idx="507">
                  <c:v>104.01844278595411</c:v>
                </c:pt>
                <c:pt idx="508">
                  <c:v>104.01844278595411</c:v>
                </c:pt>
                <c:pt idx="509">
                  <c:v>103.88841973247166</c:v>
                </c:pt>
                <c:pt idx="510">
                  <c:v>103.88841973247166</c:v>
                </c:pt>
                <c:pt idx="511">
                  <c:v>103.88841973247166</c:v>
                </c:pt>
                <c:pt idx="512">
                  <c:v>104.24098864383741</c:v>
                </c:pt>
                <c:pt idx="513">
                  <c:v>104.11068740803262</c:v>
                </c:pt>
                <c:pt idx="514">
                  <c:v>103.98054904877257</c:v>
                </c:pt>
                <c:pt idx="515">
                  <c:v>103.98054904877257</c:v>
                </c:pt>
                <c:pt idx="516">
                  <c:v>103.98054904877257</c:v>
                </c:pt>
                <c:pt idx="517">
                  <c:v>103.98054904877257</c:v>
                </c:pt>
                <c:pt idx="518">
                  <c:v>103.98054904877257</c:v>
                </c:pt>
                <c:pt idx="519">
                  <c:v>103.98054904877257</c:v>
                </c:pt>
                <c:pt idx="520">
                  <c:v>103.98054904877257</c:v>
                </c:pt>
                <c:pt idx="521">
                  <c:v>103.98054904877257</c:v>
                </c:pt>
                <c:pt idx="522">
                  <c:v>102.23618496895342</c:v>
                </c:pt>
                <c:pt idx="523">
                  <c:v>102.10838973774223</c:v>
                </c:pt>
                <c:pt idx="524">
                  <c:v>101.98075425057006</c:v>
                </c:pt>
                <c:pt idx="525">
                  <c:v>101.98075425057006</c:v>
                </c:pt>
                <c:pt idx="526">
                  <c:v>101.98075425057006</c:v>
                </c:pt>
                <c:pt idx="527">
                  <c:v>102.93446500292173</c:v>
                </c:pt>
                <c:pt idx="528">
                  <c:v>102.80579692166808</c:v>
                </c:pt>
                <c:pt idx="529">
                  <c:v>102.67728967551599</c:v>
                </c:pt>
                <c:pt idx="530">
                  <c:v>102.67728967551599</c:v>
                </c:pt>
                <c:pt idx="531">
                  <c:v>102.67728967551599</c:v>
                </c:pt>
                <c:pt idx="532">
                  <c:v>102.67728967551599</c:v>
                </c:pt>
                <c:pt idx="533">
                  <c:v>102.67728967551599</c:v>
                </c:pt>
                <c:pt idx="534">
                  <c:v>102.67728967551599</c:v>
                </c:pt>
                <c:pt idx="535">
                  <c:v>102.67728967551599</c:v>
                </c:pt>
                <c:pt idx="536">
                  <c:v>102.67728967551599</c:v>
                </c:pt>
                <c:pt idx="537">
                  <c:v>102.67728967551599</c:v>
                </c:pt>
                <c:pt idx="538">
                  <c:v>102.67728967551599</c:v>
                </c:pt>
                <c:pt idx="539">
                  <c:v>102.67728967551599</c:v>
                </c:pt>
                <c:pt idx="540">
                  <c:v>102.67728967551599</c:v>
                </c:pt>
                <c:pt idx="541">
                  <c:v>102.67728967551599</c:v>
                </c:pt>
                <c:pt idx="542">
                  <c:v>102.67728967551599</c:v>
                </c:pt>
                <c:pt idx="543">
                  <c:v>102.67728967551599</c:v>
                </c:pt>
                <c:pt idx="544">
                  <c:v>102.67728967551599</c:v>
                </c:pt>
                <c:pt idx="545">
                  <c:v>103.3764595704976</c:v>
                </c:pt>
                <c:pt idx="546">
                  <c:v>103.24723899603448</c:v>
                </c:pt>
                <c:pt idx="547">
                  <c:v>103.11817994728945</c:v>
                </c:pt>
                <c:pt idx="548">
                  <c:v>103.11817994728945</c:v>
                </c:pt>
                <c:pt idx="549">
                  <c:v>103.11817994728945</c:v>
                </c:pt>
                <c:pt idx="550">
                  <c:v>103.11817994728945</c:v>
                </c:pt>
                <c:pt idx="551">
                  <c:v>103.11817994728945</c:v>
                </c:pt>
                <c:pt idx="552">
                  <c:v>103.11817994728945</c:v>
                </c:pt>
                <c:pt idx="553">
                  <c:v>103.11817994728945</c:v>
                </c:pt>
                <c:pt idx="554">
                  <c:v>103.11817994728945</c:v>
                </c:pt>
                <c:pt idx="555">
                  <c:v>103.11817994728945</c:v>
                </c:pt>
                <c:pt idx="556">
                  <c:v>103.11817994728945</c:v>
                </c:pt>
                <c:pt idx="557">
                  <c:v>103.11817994728945</c:v>
                </c:pt>
                <c:pt idx="558">
                  <c:v>103.11817994728945</c:v>
                </c:pt>
                <c:pt idx="559">
                  <c:v>103.11817994728945</c:v>
                </c:pt>
                <c:pt idx="560">
                  <c:v>103.11817994728945</c:v>
                </c:pt>
                <c:pt idx="561">
                  <c:v>103.11817994728945</c:v>
                </c:pt>
                <c:pt idx="562">
                  <c:v>103.11817994728945</c:v>
                </c:pt>
                <c:pt idx="563">
                  <c:v>103.11817994728945</c:v>
                </c:pt>
                <c:pt idx="564">
                  <c:v>103.11817994728945</c:v>
                </c:pt>
                <c:pt idx="565">
                  <c:v>103.11817994728945</c:v>
                </c:pt>
                <c:pt idx="566">
                  <c:v>103.11817994728945</c:v>
                </c:pt>
                <c:pt idx="567">
                  <c:v>103.11817994728945</c:v>
                </c:pt>
                <c:pt idx="568">
                  <c:v>103.11817994728945</c:v>
                </c:pt>
                <c:pt idx="569">
                  <c:v>103.11817994728945</c:v>
                </c:pt>
                <c:pt idx="570">
                  <c:v>103.11817994728945</c:v>
                </c:pt>
                <c:pt idx="571">
                  <c:v>103.11817994728945</c:v>
                </c:pt>
                <c:pt idx="572">
                  <c:v>103.11817994728945</c:v>
                </c:pt>
                <c:pt idx="573">
                  <c:v>103.11817994728945</c:v>
                </c:pt>
                <c:pt idx="574">
                  <c:v>103.11817994728945</c:v>
                </c:pt>
                <c:pt idx="575">
                  <c:v>103.11817994728945</c:v>
                </c:pt>
                <c:pt idx="576">
                  <c:v>103.11817994728945</c:v>
                </c:pt>
                <c:pt idx="577">
                  <c:v>103.11817994728945</c:v>
                </c:pt>
                <c:pt idx="578">
                  <c:v>103.11817994728945</c:v>
                </c:pt>
                <c:pt idx="579">
                  <c:v>103.11817994728945</c:v>
                </c:pt>
                <c:pt idx="580">
                  <c:v>103.11817994728945</c:v>
                </c:pt>
                <c:pt idx="581">
                  <c:v>103.11817994728945</c:v>
                </c:pt>
                <c:pt idx="582">
                  <c:v>103.11817994728945</c:v>
                </c:pt>
                <c:pt idx="583">
                  <c:v>103.11817994728945</c:v>
                </c:pt>
                <c:pt idx="584">
                  <c:v>103.11817994728945</c:v>
                </c:pt>
                <c:pt idx="585">
                  <c:v>103.11817994728945</c:v>
                </c:pt>
                <c:pt idx="586">
                  <c:v>103.11817994728945</c:v>
                </c:pt>
                <c:pt idx="587">
                  <c:v>103.11817994728945</c:v>
                </c:pt>
                <c:pt idx="588">
                  <c:v>103.11817994728945</c:v>
                </c:pt>
                <c:pt idx="589">
                  <c:v>103.11817994728945</c:v>
                </c:pt>
                <c:pt idx="590">
                  <c:v>103.11817994728945</c:v>
                </c:pt>
                <c:pt idx="591">
                  <c:v>103.11817994728945</c:v>
                </c:pt>
                <c:pt idx="592">
                  <c:v>103.11817994728945</c:v>
                </c:pt>
                <c:pt idx="593">
                  <c:v>103.11817994728945</c:v>
                </c:pt>
                <c:pt idx="594">
                  <c:v>103.11817994728945</c:v>
                </c:pt>
                <c:pt idx="595">
                  <c:v>103.11817994728945</c:v>
                </c:pt>
                <c:pt idx="596">
                  <c:v>103.11817994728945</c:v>
                </c:pt>
                <c:pt idx="597">
                  <c:v>103.11817994728945</c:v>
                </c:pt>
                <c:pt idx="598">
                  <c:v>103.11817994728945</c:v>
                </c:pt>
                <c:pt idx="599">
                  <c:v>103.11817994728945</c:v>
                </c:pt>
                <c:pt idx="600">
                  <c:v>103.11817994728945</c:v>
                </c:pt>
                <c:pt idx="601">
                  <c:v>103.11817994728945</c:v>
                </c:pt>
                <c:pt idx="602">
                  <c:v>103.11817994728945</c:v>
                </c:pt>
                <c:pt idx="603">
                  <c:v>103.11817994728945</c:v>
                </c:pt>
                <c:pt idx="604">
                  <c:v>103.11817994728945</c:v>
                </c:pt>
                <c:pt idx="605">
                  <c:v>103.11817994728945</c:v>
                </c:pt>
                <c:pt idx="606">
                  <c:v>103.11817994728945</c:v>
                </c:pt>
                <c:pt idx="607">
                  <c:v>103.11817994728945</c:v>
                </c:pt>
                <c:pt idx="608">
                  <c:v>103.11817994728945</c:v>
                </c:pt>
                <c:pt idx="609">
                  <c:v>103.11817994728945</c:v>
                </c:pt>
                <c:pt idx="610">
                  <c:v>103.11817994728945</c:v>
                </c:pt>
                <c:pt idx="611">
                  <c:v>103.11817994728945</c:v>
                </c:pt>
                <c:pt idx="612">
                  <c:v>103.11817994728945</c:v>
                </c:pt>
                <c:pt idx="613">
                  <c:v>103.11817994728945</c:v>
                </c:pt>
                <c:pt idx="614">
                  <c:v>103.11817994728945</c:v>
                </c:pt>
                <c:pt idx="615">
                  <c:v>103.11817994728945</c:v>
                </c:pt>
                <c:pt idx="616">
                  <c:v>103.11817994728945</c:v>
                </c:pt>
                <c:pt idx="617">
                  <c:v>103.11817994728945</c:v>
                </c:pt>
                <c:pt idx="618">
                  <c:v>103.11817994728945</c:v>
                </c:pt>
                <c:pt idx="619">
                  <c:v>103.11817994728945</c:v>
                </c:pt>
                <c:pt idx="620">
                  <c:v>103.11817994728945</c:v>
                </c:pt>
                <c:pt idx="621">
                  <c:v>103.11817994728945</c:v>
                </c:pt>
                <c:pt idx="622">
                  <c:v>103.11817994728945</c:v>
                </c:pt>
                <c:pt idx="623">
                  <c:v>103.11817994728945</c:v>
                </c:pt>
                <c:pt idx="624">
                  <c:v>103.11817994728945</c:v>
                </c:pt>
                <c:pt idx="625">
                  <c:v>103.11817994728945</c:v>
                </c:pt>
                <c:pt idx="626">
                  <c:v>103.11817994728945</c:v>
                </c:pt>
                <c:pt idx="627">
                  <c:v>110.26650874658061</c:v>
                </c:pt>
                <c:pt idx="628">
                  <c:v>110.12867561064739</c:v>
                </c:pt>
                <c:pt idx="629">
                  <c:v>109.13597146401352</c:v>
                </c:pt>
                <c:pt idx="630">
                  <c:v>108.99955149968351</c:v>
                </c:pt>
                <c:pt idx="631">
                  <c:v>108.86330206030891</c:v>
                </c:pt>
                <c:pt idx="632">
                  <c:v>108.86330206030891</c:v>
                </c:pt>
                <c:pt idx="633">
                  <c:v>108.86330206030891</c:v>
                </c:pt>
                <c:pt idx="634">
                  <c:v>108.86330206030891</c:v>
                </c:pt>
                <c:pt idx="635">
                  <c:v>108.86330206030891</c:v>
                </c:pt>
                <c:pt idx="636">
                  <c:v>108.86330206030891</c:v>
                </c:pt>
                <c:pt idx="637">
                  <c:v>108.86330206030891</c:v>
                </c:pt>
                <c:pt idx="638">
                  <c:v>108.86330206030891</c:v>
                </c:pt>
                <c:pt idx="639">
                  <c:v>108.86330206030891</c:v>
                </c:pt>
                <c:pt idx="640">
                  <c:v>110.76477848430275</c:v>
                </c:pt>
                <c:pt idx="641">
                  <c:v>110.62632251119737</c:v>
                </c:pt>
                <c:pt idx="642">
                  <c:v>110.48803960805837</c:v>
                </c:pt>
                <c:pt idx="643">
                  <c:v>110.48803960805837</c:v>
                </c:pt>
                <c:pt idx="644">
                  <c:v>110.48803960805837</c:v>
                </c:pt>
                <c:pt idx="645">
                  <c:v>110.48803960805837</c:v>
                </c:pt>
                <c:pt idx="646">
                  <c:v>110.48803960805837</c:v>
                </c:pt>
                <c:pt idx="647">
                  <c:v>110.48803960805837</c:v>
                </c:pt>
                <c:pt idx="648">
                  <c:v>110.48803960805837</c:v>
                </c:pt>
                <c:pt idx="649">
                  <c:v>110.48803960805837</c:v>
                </c:pt>
                <c:pt idx="650">
                  <c:v>110.48803960805837</c:v>
                </c:pt>
                <c:pt idx="651">
                  <c:v>110.48803960805837</c:v>
                </c:pt>
                <c:pt idx="652">
                  <c:v>110.48803960805837</c:v>
                </c:pt>
                <c:pt idx="653">
                  <c:v>110.48803960805837</c:v>
                </c:pt>
                <c:pt idx="654">
                  <c:v>110.48803960805837</c:v>
                </c:pt>
                <c:pt idx="655">
                  <c:v>110.48803960805837</c:v>
                </c:pt>
                <c:pt idx="656">
                  <c:v>110.48803960805837</c:v>
                </c:pt>
                <c:pt idx="657">
                  <c:v>110.48803960805837</c:v>
                </c:pt>
                <c:pt idx="658">
                  <c:v>110.48803960805837</c:v>
                </c:pt>
                <c:pt idx="659">
                  <c:v>110.48803960805837</c:v>
                </c:pt>
                <c:pt idx="660">
                  <c:v>110.48803960805837</c:v>
                </c:pt>
                <c:pt idx="661">
                  <c:v>110.48803960805837</c:v>
                </c:pt>
                <c:pt idx="662">
                  <c:v>110.48803960805837</c:v>
                </c:pt>
                <c:pt idx="663">
                  <c:v>110.48803960805837</c:v>
                </c:pt>
                <c:pt idx="664">
                  <c:v>110.48803960805837</c:v>
                </c:pt>
                <c:pt idx="665">
                  <c:v>110.48803960805837</c:v>
                </c:pt>
                <c:pt idx="666">
                  <c:v>110.48803960805837</c:v>
                </c:pt>
                <c:pt idx="667">
                  <c:v>110.48803960805837</c:v>
                </c:pt>
                <c:pt idx="668">
                  <c:v>110.48803960805837</c:v>
                </c:pt>
                <c:pt idx="669">
                  <c:v>110.48803960805837</c:v>
                </c:pt>
                <c:pt idx="670">
                  <c:v>110.48803960805837</c:v>
                </c:pt>
                <c:pt idx="671">
                  <c:v>110.48803960805837</c:v>
                </c:pt>
                <c:pt idx="672">
                  <c:v>110.48803960805837</c:v>
                </c:pt>
                <c:pt idx="673">
                  <c:v>110.48803960805837</c:v>
                </c:pt>
                <c:pt idx="674">
                  <c:v>110.48803960805837</c:v>
                </c:pt>
                <c:pt idx="675">
                  <c:v>110.48803960805837</c:v>
                </c:pt>
                <c:pt idx="676">
                  <c:v>110.48803960805837</c:v>
                </c:pt>
                <c:pt idx="677">
                  <c:v>110.48803960805837</c:v>
                </c:pt>
                <c:pt idx="678">
                  <c:v>110.48803960805837</c:v>
                </c:pt>
                <c:pt idx="679">
                  <c:v>110.48803960805837</c:v>
                </c:pt>
                <c:pt idx="680">
                  <c:v>113.93556331554652</c:v>
                </c:pt>
                <c:pt idx="681">
                  <c:v>113.79314386140209</c:v>
                </c:pt>
                <c:pt idx="682">
                  <c:v>113.65090243157533</c:v>
                </c:pt>
                <c:pt idx="683">
                  <c:v>113.65090243157533</c:v>
                </c:pt>
                <c:pt idx="684">
                  <c:v>113.65090243157533</c:v>
                </c:pt>
                <c:pt idx="685">
                  <c:v>113.65090243157533</c:v>
                </c:pt>
                <c:pt idx="686">
                  <c:v>113.65090243157533</c:v>
                </c:pt>
                <c:pt idx="687">
                  <c:v>113.65090243157533</c:v>
                </c:pt>
                <c:pt idx="688">
                  <c:v>113.65090243157533</c:v>
                </c:pt>
                <c:pt idx="689">
                  <c:v>113.65090243157533</c:v>
                </c:pt>
                <c:pt idx="690">
                  <c:v>113.65090243157533</c:v>
                </c:pt>
                <c:pt idx="691">
                  <c:v>113.65090243157533</c:v>
                </c:pt>
                <c:pt idx="692">
                  <c:v>113.65090243157533</c:v>
                </c:pt>
                <c:pt idx="693">
                  <c:v>113.65090243157533</c:v>
                </c:pt>
                <c:pt idx="694">
                  <c:v>113.65090243157533</c:v>
                </c:pt>
                <c:pt idx="695">
                  <c:v>113.65090243157533</c:v>
                </c:pt>
                <c:pt idx="696">
                  <c:v>113.65090243157533</c:v>
                </c:pt>
                <c:pt idx="697">
                  <c:v>113.65090243157533</c:v>
                </c:pt>
                <c:pt idx="698">
                  <c:v>113.65090243157533</c:v>
                </c:pt>
                <c:pt idx="699">
                  <c:v>113.65090243157533</c:v>
                </c:pt>
                <c:pt idx="700">
                  <c:v>113.65090243157533</c:v>
                </c:pt>
                <c:pt idx="701">
                  <c:v>113.65090243157533</c:v>
                </c:pt>
                <c:pt idx="702">
                  <c:v>113.65090243157533</c:v>
                </c:pt>
                <c:pt idx="703">
                  <c:v>113.65090243157533</c:v>
                </c:pt>
                <c:pt idx="704">
                  <c:v>113.65090243157533</c:v>
                </c:pt>
                <c:pt idx="705">
                  <c:v>116.48296762771791</c:v>
                </c:pt>
                <c:pt idx="706">
                  <c:v>116.33736391818327</c:v>
                </c:pt>
                <c:pt idx="707">
                  <c:v>116.19194221328554</c:v>
                </c:pt>
                <c:pt idx="708">
                  <c:v>116.19194221328554</c:v>
                </c:pt>
                <c:pt idx="709">
                  <c:v>116.19194221328554</c:v>
                </c:pt>
                <c:pt idx="710">
                  <c:v>116.19194221328554</c:v>
                </c:pt>
                <c:pt idx="711">
                  <c:v>116.19194221328554</c:v>
                </c:pt>
                <c:pt idx="712">
                  <c:v>116.19194221328554</c:v>
                </c:pt>
                <c:pt idx="713">
                  <c:v>116.19194221328554</c:v>
                </c:pt>
                <c:pt idx="714">
                  <c:v>116.19194221328554</c:v>
                </c:pt>
                <c:pt idx="715">
                  <c:v>116.19194221328554</c:v>
                </c:pt>
                <c:pt idx="716">
                  <c:v>116.19194221328554</c:v>
                </c:pt>
                <c:pt idx="717">
                  <c:v>116.19194221328554</c:v>
                </c:pt>
                <c:pt idx="718">
                  <c:v>116.19194221328554</c:v>
                </c:pt>
                <c:pt idx="719">
                  <c:v>116.19194221328554</c:v>
                </c:pt>
                <c:pt idx="720">
                  <c:v>116.19194221328554</c:v>
                </c:pt>
                <c:pt idx="721">
                  <c:v>116.19194221328554</c:v>
                </c:pt>
                <c:pt idx="722">
                  <c:v>116.19194221328554</c:v>
                </c:pt>
                <c:pt idx="723">
                  <c:v>116.19194221328554</c:v>
                </c:pt>
                <c:pt idx="724">
                  <c:v>116.19194221328554</c:v>
                </c:pt>
                <c:pt idx="725">
                  <c:v>116.19194221328554</c:v>
                </c:pt>
                <c:pt idx="726">
                  <c:v>116.19194221328554</c:v>
                </c:pt>
                <c:pt idx="727">
                  <c:v>116.19194221328554</c:v>
                </c:pt>
                <c:pt idx="728">
                  <c:v>116.19194221328554</c:v>
                </c:pt>
                <c:pt idx="729">
                  <c:v>116.19194221328554</c:v>
                </c:pt>
                <c:pt idx="730">
                  <c:v>116.19194221328554</c:v>
                </c:pt>
                <c:pt idx="731">
                  <c:v>116.19194221328554</c:v>
                </c:pt>
                <c:pt idx="732">
                  <c:v>116.19194221328554</c:v>
                </c:pt>
                <c:pt idx="733">
                  <c:v>116.19194221328554</c:v>
                </c:pt>
                <c:pt idx="734">
                  <c:v>116.19194221328554</c:v>
                </c:pt>
                <c:pt idx="735">
                  <c:v>116.19194221328554</c:v>
                </c:pt>
                <c:pt idx="736">
                  <c:v>116.19194221328554</c:v>
                </c:pt>
                <c:pt idx="737">
                  <c:v>116.19194221328554</c:v>
                </c:pt>
                <c:pt idx="738">
                  <c:v>116.19194221328554</c:v>
                </c:pt>
                <c:pt idx="739">
                  <c:v>116.19194221328554</c:v>
                </c:pt>
                <c:pt idx="740">
                  <c:v>116.19194221328554</c:v>
                </c:pt>
                <c:pt idx="741">
                  <c:v>116.19194221328554</c:v>
                </c:pt>
                <c:pt idx="742">
                  <c:v>116.19194221328554</c:v>
                </c:pt>
                <c:pt idx="743">
                  <c:v>116.19194221328554</c:v>
                </c:pt>
                <c:pt idx="744">
                  <c:v>116.19194221328554</c:v>
                </c:pt>
                <c:pt idx="745">
                  <c:v>116.19194221328554</c:v>
                </c:pt>
                <c:pt idx="746">
                  <c:v>116.19194221328554</c:v>
                </c:pt>
                <c:pt idx="747">
                  <c:v>116.19194221328554</c:v>
                </c:pt>
                <c:pt idx="748">
                  <c:v>116.19194221328554</c:v>
                </c:pt>
                <c:pt idx="749">
                  <c:v>116.19194221328554</c:v>
                </c:pt>
                <c:pt idx="750">
                  <c:v>116.19194221328554</c:v>
                </c:pt>
                <c:pt idx="751">
                  <c:v>116.19194221328554</c:v>
                </c:pt>
                <c:pt idx="752">
                  <c:v>116.19194221328554</c:v>
                </c:pt>
                <c:pt idx="753">
                  <c:v>116.19194221328554</c:v>
                </c:pt>
                <c:pt idx="754">
                  <c:v>116.19194221328554</c:v>
                </c:pt>
                <c:pt idx="755">
                  <c:v>116.19194221328554</c:v>
                </c:pt>
                <c:pt idx="756">
                  <c:v>116.19194221328554</c:v>
                </c:pt>
                <c:pt idx="757">
                  <c:v>116.19194221328554</c:v>
                </c:pt>
                <c:pt idx="758">
                  <c:v>116.19194221328554</c:v>
                </c:pt>
                <c:pt idx="759">
                  <c:v>116.19194221328554</c:v>
                </c:pt>
                <c:pt idx="760">
                  <c:v>116.19194221328554</c:v>
                </c:pt>
                <c:pt idx="761">
                  <c:v>116.19194221328554</c:v>
                </c:pt>
                <c:pt idx="762">
                  <c:v>116.19194221328554</c:v>
                </c:pt>
                <c:pt idx="763">
                  <c:v>116.19194221328554</c:v>
                </c:pt>
                <c:pt idx="764">
                  <c:v>116.19194221328554</c:v>
                </c:pt>
                <c:pt idx="765">
                  <c:v>116.19194221328554</c:v>
                </c:pt>
                <c:pt idx="766">
                  <c:v>116.19194221328554</c:v>
                </c:pt>
                <c:pt idx="767">
                  <c:v>116.19194221328554</c:v>
                </c:pt>
                <c:pt idx="768">
                  <c:v>116.19194221328554</c:v>
                </c:pt>
                <c:pt idx="769">
                  <c:v>116.19194221328554</c:v>
                </c:pt>
                <c:pt idx="770">
                  <c:v>116.19194221328554</c:v>
                </c:pt>
                <c:pt idx="771">
                  <c:v>116.19194221328554</c:v>
                </c:pt>
                <c:pt idx="772">
                  <c:v>116.19194221328554</c:v>
                </c:pt>
                <c:pt idx="773">
                  <c:v>116.19194221328554</c:v>
                </c:pt>
                <c:pt idx="774">
                  <c:v>116.19194221328554</c:v>
                </c:pt>
                <c:pt idx="775">
                  <c:v>116.19194221328554</c:v>
                </c:pt>
                <c:pt idx="776">
                  <c:v>116.19194221328554</c:v>
                </c:pt>
                <c:pt idx="777">
                  <c:v>116.19194221328554</c:v>
                </c:pt>
                <c:pt idx="778">
                  <c:v>116.19194221328554</c:v>
                </c:pt>
                <c:pt idx="779">
                  <c:v>116.19194221328554</c:v>
                </c:pt>
                <c:pt idx="780">
                  <c:v>116.19194221328554</c:v>
                </c:pt>
                <c:pt idx="781">
                  <c:v>116.19194221328554</c:v>
                </c:pt>
                <c:pt idx="782">
                  <c:v>116.19194221328554</c:v>
                </c:pt>
                <c:pt idx="783">
                  <c:v>116.19194221328554</c:v>
                </c:pt>
                <c:pt idx="784">
                  <c:v>116.19194221328554</c:v>
                </c:pt>
                <c:pt idx="785">
                  <c:v>116.19194221328554</c:v>
                </c:pt>
                <c:pt idx="786">
                  <c:v>116.19194221328554</c:v>
                </c:pt>
                <c:pt idx="787">
                  <c:v>116.19194221328554</c:v>
                </c:pt>
                <c:pt idx="788">
                  <c:v>116.19194221328554</c:v>
                </c:pt>
                <c:pt idx="789">
                  <c:v>116.19194221328554</c:v>
                </c:pt>
                <c:pt idx="790">
                  <c:v>116.19194221328554</c:v>
                </c:pt>
                <c:pt idx="791">
                  <c:v>116.19194221328554</c:v>
                </c:pt>
                <c:pt idx="792">
                  <c:v>116.19194221328554</c:v>
                </c:pt>
                <c:pt idx="793">
                  <c:v>116.19194221328554</c:v>
                </c:pt>
                <c:pt idx="794">
                  <c:v>116.19194221328554</c:v>
                </c:pt>
                <c:pt idx="795">
                  <c:v>116.19194221328554</c:v>
                </c:pt>
                <c:pt idx="796">
                  <c:v>116.19194221328554</c:v>
                </c:pt>
                <c:pt idx="797">
                  <c:v>116.72804595065818</c:v>
                </c:pt>
                <c:pt idx="798">
                  <c:v>116.46698932544194</c:v>
                </c:pt>
                <c:pt idx="799">
                  <c:v>116.91252373637937</c:v>
                </c:pt>
                <c:pt idx="800">
                  <c:v>116.91252373637937</c:v>
                </c:pt>
                <c:pt idx="801">
                  <c:v>116.7663830817089</c:v>
                </c:pt>
                <c:pt idx="802">
                  <c:v>116.7663830817089</c:v>
                </c:pt>
                <c:pt idx="803">
                  <c:v>116.7663830817089</c:v>
                </c:pt>
                <c:pt idx="804">
                  <c:v>116.7663830817089</c:v>
                </c:pt>
                <c:pt idx="805">
                  <c:v>115.52415817088315</c:v>
                </c:pt>
                <c:pt idx="806">
                  <c:v>115.37975297316956</c:v>
                </c:pt>
                <c:pt idx="807">
                  <c:v>115.23552828195309</c:v>
                </c:pt>
                <c:pt idx="808">
                  <c:v>115.23552828195309</c:v>
                </c:pt>
                <c:pt idx="809">
                  <c:v>115.23552828195309</c:v>
                </c:pt>
                <c:pt idx="810">
                  <c:v>115.23552828195309</c:v>
                </c:pt>
                <c:pt idx="811">
                  <c:v>115.23552828195309</c:v>
                </c:pt>
                <c:pt idx="812">
                  <c:v>115.23552828195309</c:v>
                </c:pt>
                <c:pt idx="813">
                  <c:v>115.23552828195309</c:v>
                </c:pt>
                <c:pt idx="814">
                  <c:v>115.23552828195309</c:v>
                </c:pt>
                <c:pt idx="815">
                  <c:v>115.23552828195309</c:v>
                </c:pt>
                <c:pt idx="816">
                  <c:v>115.23552828195309</c:v>
                </c:pt>
                <c:pt idx="817">
                  <c:v>115.23552828195309</c:v>
                </c:pt>
                <c:pt idx="818">
                  <c:v>115.23552828195309</c:v>
                </c:pt>
                <c:pt idx="819">
                  <c:v>115.23552828195309</c:v>
                </c:pt>
                <c:pt idx="820">
                  <c:v>115.23552828195309</c:v>
                </c:pt>
                <c:pt idx="821">
                  <c:v>115.23552828195309</c:v>
                </c:pt>
                <c:pt idx="822">
                  <c:v>115.23552828195309</c:v>
                </c:pt>
                <c:pt idx="823">
                  <c:v>115.23552828195309</c:v>
                </c:pt>
                <c:pt idx="824">
                  <c:v>115.23552828195309</c:v>
                </c:pt>
                <c:pt idx="825">
                  <c:v>115.23552828195309</c:v>
                </c:pt>
                <c:pt idx="826">
                  <c:v>115.23552828195309</c:v>
                </c:pt>
                <c:pt idx="827">
                  <c:v>115.23552828195309</c:v>
                </c:pt>
                <c:pt idx="828">
                  <c:v>115.23552828195309</c:v>
                </c:pt>
                <c:pt idx="829">
                  <c:v>115.23552828195309</c:v>
                </c:pt>
                <c:pt idx="830">
                  <c:v>115.23552828195309</c:v>
                </c:pt>
                <c:pt idx="831">
                  <c:v>115.23552828195309</c:v>
                </c:pt>
                <c:pt idx="832">
                  <c:v>115.23552828195309</c:v>
                </c:pt>
                <c:pt idx="833">
                  <c:v>115.23552828195309</c:v>
                </c:pt>
                <c:pt idx="834">
                  <c:v>115.23552828195309</c:v>
                </c:pt>
                <c:pt idx="835">
                  <c:v>115.23552828195309</c:v>
                </c:pt>
                <c:pt idx="836">
                  <c:v>115.23552828195309</c:v>
                </c:pt>
                <c:pt idx="837">
                  <c:v>115.23552828195309</c:v>
                </c:pt>
                <c:pt idx="838">
                  <c:v>115.23552828195309</c:v>
                </c:pt>
                <c:pt idx="839">
                  <c:v>114.13895823028213</c:v>
                </c:pt>
                <c:pt idx="840">
                  <c:v>113.99628453249427</c:v>
                </c:pt>
                <c:pt idx="841">
                  <c:v>113.85378917682866</c:v>
                </c:pt>
                <c:pt idx="842">
                  <c:v>113.85378917682866</c:v>
                </c:pt>
                <c:pt idx="843">
                  <c:v>113.50125251911051</c:v>
                </c:pt>
                <c:pt idx="844">
                  <c:v>113.35937595346162</c:v>
                </c:pt>
                <c:pt idx="845">
                  <c:v>113.2176767335198</c:v>
                </c:pt>
                <c:pt idx="846">
                  <c:v>113.2176767335198</c:v>
                </c:pt>
                <c:pt idx="847">
                  <c:v>112.42195679657081</c:v>
                </c:pt>
                <c:pt idx="848">
                  <c:v>112.2814293505751</c:v>
                </c:pt>
                <c:pt idx="849">
                  <c:v>112.14107756388688</c:v>
                </c:pt>
                <c:pt idx="850">
                  <c:v>112.14107756388688</c:v>
                </c:pt>
                <c:pt idx="851">
                  <c:v>112.14107756388688</c:v>
                </c:pt>
                <c:pt idx="852">
                  <c:v>112.14107756388688</c:v>
                </c:pt>
                <c:pt idx="853">
                  <c:v>112.14107756388688</c:v>
                </c:pt>
                <c:pt idx="854">
                  <c:v>112.14107756388688</c:v>
                </c:pt>
                <c:pt idx="855">
                  <c:v>112.14107756388688</c:v>
                </c:pt>
                <c:pt idx="856">
                  <c:v>112.14107756388688</c:v>
                </c:pt>
                <c:pt idx="857">
                  <c:v>112.14107756388688</c:v>
                </c:pt>
                <c:pt idx="858">
                  <c:v>112.14107756388688</c:v>
                </c:pt>
                <c:pt idx="859">
                  <c:v>112.14107756388688</c:v>
                </c:pt>
                <c:pt idx="860">
                  <c:v>112.14107756388688</c:v>
                </c:pt>
                <c:pt idx="861">
                  <c:v>112.14107756388688</c:v>
                </c:pt>
                <c:pt idx="862">
                  <c:v>112.14107756388688</c:v>
                </c:pt>
                <c:pt idx="863">
                  <c:v>112.14107756388688</c:v>
                </c:pt>
                <c:pt idx="864">
                  <c:v>112.14107756388688</c:v>
                </c:pt>
                <c:pt idx="865">
                  <c:v>112.14107756388688</c:v>
                </c:pt>
                <c:pt idx="866">
                  <c:v>112.14107756388688</c:v>
                </c:pt>
                <c:pt idx="867">
                  <c:v>112.14107756388688</c:v>
                </c:pt>
                <c:pt idx="868">
                  <c:v>112.14107756388688</c:v>
                </c:pt>
                <c:pt idx="869">
                  <c:v>112.14107756388688</c:v>
                </c:pt>
                <c:pt idx="870">
                  <c:v>112.14107756388688</c:v>
                </c:pt>
                <c:pt idx="871">
                  <c:v>112.14107756388688</c:v>
                </c:pt>
                <c:pt idx="872">
                  <c:v>112.14107756388688</c:v>
                </c:pt>
                <c:pt idx="873">
                  <c:v>112.14107756388688</c:v>
                </c:pt>
                <c:pt idx="874">
                  <c:v>112.14107756388688</c:v>
                </c:pt>
                <c:pt idx="875">
                  <c:v>112.14107756388688</c:v>
                </c:pt>
                <c:pt idx="876">
                  <c:v>112.14107756388688</c:v>
                </c:pt>
                <c:pt idx="877">
                  <c:v>112.14107756388688</c:v>
                </c:pt>
                <c:pt idx="878">
                  <c:v>112.14107756388688</c:v>
                </c:pt>
                <c:pt idx="879">
                  <c:v>112.14107756388688</c:v>
                </c:pt>
                <c:pt idx="880">
                  <c:v>112.14107756388688</c:v>
                </c:pt>
                <c:pt idx="881">
                  <c:v>112.14107756388688</c:v>
                </c:pt>
                <c:pt idx="882">
                  <c:v>112.14107756388688</c:v>
                </c:pt>
                <c:pt idx="883">
                  <c:v>112.14107756388688</c:v>
                </c:pt>
                <c:pt idx="884">
                  <c:v>112.14107756388688</c:v>
                </c:pt>
                <c:pt idx="885">
                  <c:v>112.14107756388688</c:v>
                </c:pt>
                <c:pt idx="886">
                  <c:v>112.14107756388688</c:v>
                </c:pt>
                <c:pt idx="887">
                  <c:v>112.14107756388688</c:v>
                </c:pt>
                <c:pt idx="888">
                  <c:v>112.14107756388688</c:v>
                </c:pt>
                <c:pt idx="889">
                  <c:v>112.14107756388688</c:v>
                </c:pt>
                <c:pt idx="890">
                  <c:v>112.14107756388688</c:v>
                </c:pt>
                <c:pt idx="891">
                  <c:v>112.14107756388688</c:v>
                </c:pt>
                <c:pt idx="892">
                  <c:v>112.14107756388688</c:v>
                </c:pt>
                <c:pt idx="893">
                  <c:v>112.14107756388688</c:v>
                </c:pt>
                <c:pt idx="894">
                  <c:v>112.14107756388688</c:v>
                </c:pt>
                <c:pt idx="895">
                  <c:v>112.14107756388688</c:v>
                </c:pt>
                <c:pt idx="896">
                  <c:v>112.14107756388688</c:v>
                </c:pt>
                <c:pt idx="897">
                  <c:v>112.14107756388688</c:v>
                </c:pt>
                <c:pt idx="898">
                  <c:v>112.14107756388688</c:v>
                </c:pt>
                <c:pt idx="899">
                  <c:v>112.14107756388688</c:v>
                </c:pt>
                <c:pt idx="900">
                  <c:v>112.14107756388688</c:v>
                </c:pt>
                <c:pt idx="901">
                  <c:v>112.14107756388688</c:v>
                </c:pt>
                <c:pt idx="902">
                  <c:v>112.14107756388688</c:v>
                </c:pt>
                <c:pt idx="903">
                  <c:v>112.14107756388688</c:v>
                </c:pt>
                <c:pt idx="904">
                  <c:v>112.14107756388688</c:v>
                </c:pt>
                <c:pt idx="905">
                  <c:v>112.14107756388688</c:v>
                </c:pt>
                <c:pt idx="906">
                  <c:v>112.14107756388688</c:v>
                </c:pt>
                <c:pt idx="907">
                  <c:v>112.14107756388688</c:v>
                </c:pt>
                <c:pt idx="908">
                  <c:v>112.14107756388688</c:v>
                </c:pt>
                <c:pt idx="909">
                  <c:v>112.14107756388688</c:v>
                </c:pt>
                <c:pt idx="910">
                  <c:v>112.14107756388688</c:v>
                </c:pt>
                <c:pt idx="911">
                  <c:v>112.14107756388688</c:v>
                </c:pt>
                <c:pt idx="912">
                  <c:v>112.14107756388688</c:v>
                </c:pt>
                <c:pt idx="913">
                  <c:v>112.14107756388688</c:v>
                </c:pt>
                <c:pt idx="914">
                  <c:v>112.14107756388688</c:v>
                </c:pt>
                <c:pt idx="915">
                  <c:v>112.14107756388688</c:v>
                </c:pt>
                <c:pt idx="916">
                  <c:v>112.14107756388688</c:v>
                </c:pt>
                <c:pt idx="917">
                  <c:v>112.14107756388688</c:v>
                </c:pt>
                <c:pt idx="918">
                  <c:v>112.14107756388688</c:v>
                </c:pt>
                <c:pt idx="919">
                  <c:v>112.14107756388688</c:v>
                </c:pt>
                <c:pt idx="920">
                  <c:v>112.14107756388688</c:v>
                </c:pt>
                <c:pt idx="921">
                  <c:v>112.14107756388688</c:v>
                </c:pt>
                <c:pt idx="922">
                  <c:v>112.14107756388688</c:v>
                </c:pt>
                <c:pt idx="923">
                  <c:v>112.14107756388688</c:v>
                </c:pt>
                <c:pt idx="924">
                  <c:v>112.14107756388688</c:v>
                </c:pt>
                <c:pt idx="925">
                  <c:v>112.14107756388688</c:v>
                </c:pt>
                <c:pt idx="926">
                  <c:v>112.14107756388688</c:v>
                </c:pt>
                <c:pt idx="927">
                  <c:v>112.14107756388688</c:v>
                </c:pt>
                <c:pt idx="928">
                  <c:v>112.14107756388688</c:v>
                </c:pt>
                <c:pt idx="929">
                  <c:v>112.14107756388688</c:v>
                </c:pt>
                <c:pt idx="930">
                  <c:v>112.14107756388688</c:v>
                </c:pt>
                <c:pt idx="931">
                  <c:v>112.14107756388688</c:v>
                </c:pt>
                <c:pt idx="932">
                  <c:v>112.14107756388688</c:v>
                </c:pt>
                <c:pt idx="933">
                  <c:v>112.14107756388688</c:v>
                </c:pt>
                <c:pt idx="934">
                  <c:v>112.14107756388688</c:v>
                </c:pt>
                <c:pt idx="935">
                  <c:v>108.64778036184165</c:v>
                </c:pt>
                <c:pt idx="936">
                  <c:v>100.01548157321849</c:v>
                </c:pt>
                <c:pt idx="937">
                  <c:v>100.01548157321849</c:v>
                </c:pt>
                <c:pt idx="938">
                  <c:v>99.89046222125198</c:v>
                </c:pt>
                <c:pt idx="939">
                  <c:v>99.89046222125198</c:v>
                </c:pt>
                <c:pt idx="940">
                  <c:v>98.605880393095134</c:v>
                </c:pt>
                <c:pt idx="941">
                  <c:v>97.639346406185624</c:v>
                </c:pt>
                <c:pt idx="942">
                  <c:v>96.981627317852457</c:v>
                </c:pt>
                <c:pt idx="943">
                  <c:v>96.981627317852457</c:v>
                </c:pt>
                <c:pt idx="944">
                  <c:v>96.860400283705147</c:v>
                </c:pt>
                <c:pt idx="945">
                  <c:v>96.860400283705147</c:v>
                </c:pt>
                <c:pt idx="946">
                  <c:v>96.860400283705147</c:v>
                </c:pt>
                <c:pt idx="947">
                  <c:v>96.860400283705147</c:v>
                </c:pt>
                <c:pt idx="948">
                  <c:v>96.860400283705147</c:v>
                </c:pt>
                <c:pt idx="949">
                  <c:v>96.860400283705147</c:v>
                </c:pt>
                <c:pt idx="950">
                  <c:v>96.860400283705147</c:v>
                </c:pt>
                <c:pt idx="951">
                  <c:v>96.860400283705147</c:v>
                </c:pt>
                <c:pt idx="952">
                  <c:v>96.860400283705147</c:v>
                </c:pt>
                <c:pt idx="953">
                  <c:v>96.860400283705147</c:v>
                </c:pt>
                <c:pt idx="954">
                  <c:v>96.860400283705147</c:v>
                </c:pt>
                <c:pt idx="955">
                  <c:v>100.20282290826212</c:v>
                </c:pt>
                <c:pt idx="956">
                  <c:v>100.07756937962679</c:v>
                </c:pt>
                <c:pt idx="957">
                  <c:v>99.952472417902257</c:v>
                </c:pt>
                <c:pt idx="958">
                  <c:v>100.41252413755787</c:v>
                </c:pt>
                <c:pt idx="959">
                  <c:v>99.638990157237899</c:v>
                </c:pt>
                <c:pt idx="960">
                  <c:v>99.133327463770328</c:v>
                </c:pt>
                <c:pt idx="961">
                  <c:v>99.133327463770328</c:v>
                </c:pt>
                <c:pt idx="962">
                  <c:v>99.00941080444062</c:v>
                </c:pt>
                <c:pt idx="963">
                  <c:v>99.00941080444062</c:v>
                </c:pt>
                <c:pt idx="964">
                  <c:v>99.00941080444062</c:v>
                </c:pt>
                <c:pt idx="965">
                  <c:v>99.00941080444062</c:v>
                </c:pt>
                <c:pt idx="966">
                  <c:v>100.20373644289813</c:v>
                </c:pt>
                <c:pt idx="967">
                  <c:v>100.07848177234452</c:v>
                </c:pt>
                <c:pt idx="968">
                  <c:v>99.953383670129085</c:v>
                </c:pt>
                <c:pt idx="969">
                  <c:v>99.953383670129085</c:v>
                </c:pt>
                <c:pt idx="970">
                  <c:v>99.953383670129085</c:v>
                </c:pt>
                <c:pt idx="971">
                  <c:v>99.953383670129085</c:v>
                </c:pt>
                <c:pt idx="972">
                  <c:v>99.953383670129085</c:v>
                </c:pt>
                <c:pt idx="973">
                  <c:v>99.953383670129085</c:v>
                </c:pt>
                <c:pt idx="974">
                  <c:v>99.953383670129085</c:v>
                </c:pt>
                <c:pt idx="975">
                  <c:v>99.953383670129085</c:v>
                </c:pt>
                <c:pt idx="976">
                  <c:v>99.953383670129085</c:v>
                </c:pt>
                <c:pt idx="977">
                  <c:v>99.953383670129085</c:v>
                </c:pt>
                <c:pt idx="978">
                  <c:v>99.953383670129085</c:v>
                </c:pt>
                <c:pt idx="979">
                  <c:v>99.953383670129085</c:v>
                </c:pt>
                <c:pt idx="980">
                  <c:v>99.953383670129085</c:v>
                </c:pt>
                <c:pt idx="981">
                  <c:v>99.953383670129085</c:v>
                </c:pt>
                <c:pt idx="982">
                  <c:v>99.953383670129085</c:v>
                </c:pt>
                <c:pt idx="983">
                  <c:v>99.953383670129085</c:v>
                </c:pt>
                <c:pt idx="984">
                  <c:v>99.953383670129085</c:v>
                </c:pt>
                <c:pt idx="985">
                  <c:v>99.953383670129085</c:v>
                </c:pt>
                <c:pt idx="986">
                  <c:v>99.953383670129085</c:v>
                </c:pt>
                <c:pt idx="987">
                  <c:v>99.953383670129085</c:v>
                </c:pt>
                <c:pt idx="988">
                  <c:v>99.953383670129085</c:v>
                </c:pt>
                <c:pt idx="989">
                  <c:v>99.953383670129085</c:v>
                </c:pt>
                <c:pt idx="990">
                  <c:v>99.953383670129085</c:v>
                </c:pt>
                <c:pt idx="991">
                  <c:v>99.953383670129085</c:v>
                </c:pt>
                <c:pt idx="992">
                  <c:v>99.953383670129085</c:v>
                </c:pt>
                <c:pt idx="993">
                  <c:v>99.953383670129085</c:v>
                </c:pt>
                <c:pt idx="994">
                  <c:v>99.981156722965068</c:v>
                </c:pt>
                <c:pt idx="995">
                  <c:v>99.85618027706137</c:v>
                </c:pt>
                <c:pt idx="996">
                  <c:v>99.731360051715043</c:v>
                </c:pt>
                <c:pt idx="997">
                  <c:v>99.731360051715043</c:v>
                </c:pt>
                <c:pt idx="998">
                  <c:v>99.731360051715043</c:v>
                </c:pt>
                <c:pt idx="999">
                  <c:v>99.731360051715043</c:v>
                </c:pt>
                <c:pt idx="1000">
                  <c:v>99.851107154362509</c:v>
                </c:pt>
                <c:pt idx="1001">
                  <c:v>99.349812480035965</c:v>
                </c:pt>
                <c:pt idx="1002">
                  <c:v>99.349812480035965</c:v>
                </c:pt>
                <c:pt idx="1003">
                  <c:v>99.225625214435922</c:v>
                </c:pt>
                <c:pt idx="1004">
                  <c:v>99.225625214435922</c:v>
                </c:pt>
                <c:pt idx="1005">
                  <c:v>99.225625214435922</c:v>
                </c:pt>
                <c:pt idx="1006">
                  <c:v>99.225625214435922</c:v>
                </c:pt>
                <c:pt idx="1007">
                  <c:v>99.225625214435922</c:v>
                </c:pt>
                <c:pt idx="1008">
                  <c:v>99.225625214435922</c:v>
                </c:pt>
                <c:pt idx="1009">
                  <c:v>99.225625214435922</c:v>
                </c:pt>
                <c:pt idx="1010">
                  <c:v>99.225625214435922</c:v>
                </c:pt>
                <c:pt idx="1011">
                  <c:v>99.225625214435922</c:v>
                </c:pt>
                <c:pt idx="1012">
                  <c:v>99.225625214435922</c:v>
                </c:pt>
                <c:pt idx="1013">
                  <c:v>99.225625214435922</c:v>
                </c:pt>
                <c:pt idx="1014">
                  <c:v>99.225625214435922</c:v>
                </c:pt>
                <c:pt idx="1015">
                  <c:v>99.225625214435922</c:v>
                </c:pt>
                <c:pt idx="1016">
                  <c:v>99.225625214435922</c:v>
                </c:pt>
                <c:pt idx="1017">
                  <c:v>99.225625214435922</c:v>
                </c:pt>
                <c:pt idx="1018">
                  <c:v>99.225625214435922</c:v>
                </c:pt>
                <c:pt idx="1019">
                  <c:v>99.225625214435922</c:v>
                </c:pt>
                <c:pt idx="1020">
                  <c:v>99.225625214435922</c:v>
                </c:pt>
                <c:pt idx="1021">
                  <c:v>99.225625214435922</c:v>
                </c:pt>
                <c:pt idx="1022">
                  <c:v>99.225625214435922</c:v>
                </c:pt>
                <c:pt idx="1023">
                  <c:v>99.225625214435922</c:v>
                </c:pt>
                <c:pt idx="1024">
                  <c:v>99.225625214435922</c:v>
                </c:pt>
                <c:pt idx="1025">
                  <c:v>99.225625214435922</c:v>
                </c:pt>
                <c:pt idx="1026">
                  <c:v>99.225625214435922</c:v>
                </c:pt>
                <c:pt idx="1027">
                  <c:v>99.225625214435922</c:v>
                </c:pt>
                <c:pt idx="1028">
                  <c:v>99.225625214435922</c:v>
                </c:pt>
                <c:pt idx="1029">
                  <c:v>99.225625214435922</c:v>
                </c:pt>
                <c:pt idx="1030">
                  <c:v>99.225625214435922</c:v>
                </c:pt>
                <c:pt idx="1031">
                  <c:v>99.225625214435922</c:v>
                </c:pt>
                <c:pt idx="1032">
                  <c:v>99.225625214435922</c:v>
                </c:pt>
                <c:pt idx="1033">
                  <c:v>99.225625214435922</c:v>
                </c:pt>
                <c:pt idx="1034">
                  <c:v>99.225625214435922</c:v>
                </c:pt>
                <c:pt idx="1035">
                  <c:v>99.225625214435922</c:v>
                </c:pt>
                <c:pt idx="1036">
                  <c:v>99.225625214435922</c:v>
                </c:pt>
                <c:pt idx="1037">
                  <c:v>99.225625214435922</c:v>
                </c:pt>
                <c:pt idx="1038">
                  <c:v>99.225625214435922</c:v>
                </c:pt>
                <c:pt idx="1039">
                  <c:v>99.225625214435922</c:v>
                </c:pt>
                <c:pt idx="1040">
                  <c:v>99.225625214435922</c:v>
                </c:pt>
                <c:pt idx="1041">
                  <c:v>99.225625214435922</c:v>
                </c:pt>
                <c:pt idx="1042">
                  <c:v>99.225625214435922</c:v>
                </c:pt>
                <c:pt idx="1043">
                  <c:v>99.225625214435922</c:v>
                </c:pt>
                <c:pt idx="1044">
                  <c:v>99.225625214435922</c:v>
                </c:pt>
                <c:pt idx="1045">
                  <c:v>99.225625214435922</c:v>
                </c:pt>
                <c:pt idx="1046">
                  <c:v>99.225625214435922</c:v>
                </c:pt>
                <c:pt idx="1047">
                  <c:v>99.225625214435922</c:v>
                </c:pt>
                <c:pt idx="1048">
                  <c:v>99.225625214435922</c:v>
                </c:pt>
                <c:pt idx="1049">
                  <c:v>99.225625214435922</c:v>
                </c:pt>
                <c:pt idx="1050">
                  <c:v>99.225625214435922</c:v>
                </c:pt>
                <c:pt idx="1051">
                  <c:v>99.225625214435922</c:v>
                </c:pt>
                <c:pt idx="1052">
                  <c:v>99.225625214435922</c:v>
                </c:pt>
                <c:pt idx="1053">
                  <c:v>99.225625214435922</c:v>
                </c:pt>
                <c:pt idx="1054">
                  <c:v>99.225625214435922</c:v>
                </c:pt>
                <c:pt idx="1055">
                  <c:v>99.225625214435922</c:v>
                </c:pt>
                <c:pt idx="1056">
                  <c:v>99.225625214435922</c:v>
                </c:pt>
                <c:pt idx="1057">
                  <c:v>99.225625214435922</c:v>
                </c:pt>
                <c:pt idx="1058">
                  <c:v>99.225625214435922</c:v>
                </c:pt>
                <c:pt idx="1059">
                  <c:v>99.225625214435922</c:v>
                </c:pt>
                <c:pt idx="1060">
                  <c:v>99.225625214435922</c:v>
                </c:pt>
                <c:pt idx="1061">
                  <c:v>99.225625214435922</c:v>
                </c:pt>
                <c:pt idx="1062">
                  <c:v>99.225625214435922</c:v>
                </c:pt>
                <c:pt idx="1063">
                  <c:v>99.225625214435922</c:v>
                </c:pt>
                <c:pt idx="1064">
                  <c:v>99.225625214435922</c:v>
                </c:pt>
                <c:pt idx="1065">
                  <c:v>99.225625214435922</c:v>
                </c:pt>
                <c:pt idx="1066">
                  <c:v>99.225625214435922</c:v>
                </c:pt>
                <c:pt idx="1067">
                  <c:v>99.225625214435922</c:v>
                </c:pt>
                <c:pt idx="1068">
                  <c:v>99.225625214435922</c:v>
                </c:pt>
                <c:pt idx="1069">
                  <c:v>99.225625214435922</c:v>
                </c:pt>
                <c:pt idx="1070">
                  <c:v>99.225625214435922</c:v>
                </c:pt>
                <c:pt idx="1071">
                  <c:v>99.225625214435922</c:v>
                </c:pt>
                <c:pt idx="1072">
                  <c:v>99.225625214435922</c:v>
                </c:pt>
                <c:pt idx="1073">
                  <c:v>99.225625214435922</c:v>
                </c:pt>
                <c:pt idx="1074">
                  <c:v>99.225625214435922</c:v>
                </c:pt>
                <c:pt idx="1075">
                  <c:v>99.225625214435922</c:v>
                </c:pt>
                <c:pt idx="1076">
                  <c:v>99.225625214435922</c:v>
                </c:pt>
                <c:pt idx="1077">
                  <c:v>99.225625214435922</c:v>
                </c:pt>
                <c:pt idx="1078">
                  <c:v>99.225625214435922</c:v>
                </c:pt>
                <c:pt idx="1079">
                  <c:v>99.225625214435922</c:v>
                </c:pt>
                <c:pt idx="1080">
                  <c:v>99.225625214435922</c:v>
                </c:pt>
                <c:pt idx="1081">
                  <c:v>99.225625214435922</c:v>
                </c:pt>
                <c:pt idx="1082">
                  <c:v>99.225625214435922</c:v>
                </c:pt>
                <c:pt idx="1083">
                  <c:v>99.225625214435922</c:v>
                </c:pt>
                <c:pt idx="1084">
                  <c:v>99.225625214435922</c:v>
                </c:pt>
                <c:pt idx="1085">
                  <c:v>99.225625214435922</c:v>
                </c:pt>
                <c:pt idx="1086">
                  <c:v>99.225625214435922</c:v>
                </c:pt>
                <c:pt idx="1087">
                  <c:v>99.225625214435922</c:v>
                </c:pt>
                <c:pt idx="1088">
                  <c:v>99.225625214435922</c:v>
                </c:pt>
                <c:pt idx="1089">
                  <c:v>99.225625214435922</c:v>
                </c:pt>
                <c:pt idx="1090">
                  <c:v>99.225625214435922</c:v>
                </c:pt>
                <c:pt idx="1091">
                  <c:v>99.225625214435922</c:v>
                </c:pt>
                <c:pt idx="1092">
                  <c:v>99.225625214435922</c:v>
                </c:pt>
                <c:pt idx="1093">
                  <c:v>97.52137716993353</c:v>
                </c:pt>
                <c:pt idx="1094">
                  <c:v>97.399475448471122</c:v>
                </c:pt>
                <c:pt idx="1095">
                  <c:v>97.277726104160536</c:v>
                </c:pt>
                <c:pt idx="1096">
                  <c:v>97.277726104160536</c:v>
                </c:pt>
                <c:pt idx="1097">
                  <c:v>97.277726104160536</c:v>
                </c:pt>
                <c:pt idx="1098">
                  <c:v>97.277726104160536</c:v>
                </c:pt>
                <c:pt idx="1099">
                  <c:v>97.277726104160536</c:v>
                </c:pt>
                <c:pt idx="1100">
                  <c:v>97.277726104160536</c:v>
                </c:pt>
                <c:pt idx="1101">
                  <c:v>97.277726104160536</c:v>
                </c:pt>
                <c:pt idx="1102">
                  <c:v>97.277726104160536</c:v>
                </c:pt>
                <c:pt idx="1103">
                  <c:v>97.277726104160536</c:v>
                </c:pt>
                <c:pt idx="1104">
                  <c:v>97.277726104160536</c:v>
                </c:pt>
                <c:pt idx="1105">
                  <c:v>97.277726104160536</c:v>
                </c:pt>
                <c:pt idx="1106">
                  <c:v>101.80311852804385</c:v>
                </c:pt>
                <c:pt idx="1107">
                  <c:v>101.6758646298838</c:v>
                </c:pt>
                <c:pt idx="1108">
                  <c:v>101.54876979909645</c:v>
                </c:pt>
                <c:pt idx="1109">
                  <c:v>101.54876979909645</c:v>
                </c:pt>
                <c:pt idx="1110">
                  <c:v>101.54876979909645</c:v>
                </c:pt>
                <c:pt idx="1111">
                  <c:v>101.54876979909645</c:v>
                </c:pt>
                <c:pt idx="1112">
                  <c:v>101.54876979909645</c:v>
                </c:pt>
                <c:pt idx="1113">
                  <c:v>101.54876979909645</c:v>
                </c:pt>
                <c:pt idx="1114">
                  <c:v>101.54876979909645</c:v>
                </c:pt>
                <c:pt idx="1115">
                  <c:v>101.54876979909645</c:v>
                </c:pt>
                <c:pt idx="1116">
                  <c:v>101.54876979909645</c:v>
                </c:pt>
                <c:pt idx="1117">
                  <c:v>101.54876979909645</c:v>
                </c:pt>
                <c:pt idx="1118">
                  <c:v>101.54876979909645</c:v>
                </c:pt>
                <c:pt idx="1119">
                  <c:v>101.54876979909645</c:v>
                </c:pt>
                <c:pt idx="1120">
                  <c:v>101.54876979909645</c:v>
                </c:pt>
                <c:pt idx="1121">
                  <c:v>101.54876979909645</c:v>
                </c:pt>
                <c:pt idx="1122">
                  <c:v>101.54876979909645</c:v>
                </c:pt>
                <c:pt idx="1123">
                  <c:v>101.54876979909645</c:v>
                </c:pt>
                <c:pt idx="1124">
                  <c:v>101.54876979909645</c:v>
                </c:pt>
                <c:pt idx="1125">
                  <c:v>101.48884339749043</c:v>
                </c:pt>
                <c:pt idx="1126">
                  <c:v>104.9435048179437</c:v>
                </c:pt>
                <c:pt idx="1127">
                  <c:v>104.9435048179437</c:v>
                </c:pt>
                <c:pt idx="1128">
                  <c:v>104.81232543692128</c:v>
                </c:pt>
                <c:pt idx="1129">
                  <c:v>104.81232543692128</c:v>
                </c:pt>
                <c:pt idx="1130">
                  <c:v>104.81232543692128</c:v>
                </c:pt>
                <c:pt idx="1131">
                  <c:v>104.81232543692128</c:v>
                </c:pt>
                <c:pt idx="1132">
                  <c:v>104.81232543692128</c:v>
                </c:pt>
                <c:pt idx="1133">
                  <c:v>104.81232543692128</c:v>
                </c:pt>
                <c:pt idx="1134">
                  <c:v>104.81232543692128</c:v>
                </c:pt>
                <c:pt idx="1135">
                  <c:v>104.81232543692128</c:v>
                </c:pt>
                <c:pt idx="1136">
                  <c:v>104.81232543692128</c:v>
                </c:pt>
                <c:pt idx="1137">
                  <c:v>104.81232543692128</c:v>
                </c:pt>
                <c:pt idx="1138">
                  <c:v>104.81232543692128</c:v>
                </c:pt>
                <c:pt idx="1139">
                  <c:v>104.81232543692128</c:v>
                </c:pt>
                <c:pt idx="1140">
                  <c:v>104.81232543692128</c:v>
                </c:pt>
                <c:pt idx="1141">
                  <c:v>104.81232543692128</c:v>
                </c:pt>
                <c:pt idx="1142">
                  <c:v>104.81232543692128</c:v>
                </c:pt>
                <c:pt idx="1143">
                  <c:v>104.81232543692128</c:v>
                </c:pt>
                <c:pt idx="1144">
                  <c:v>104.81232543692128</c:v>
                </c:pt>
                <c:pt idx="1145">
                  <c:v>104.81232543692128</c:v>
                </c:pt>
                <c:pt idx="1146">
                  <c:v>104.45689314129199</c:v>
                </c:pt>
                <c:pt idx="1147">
                  <c:v>103.79200735158857</c:v>
                </c:pt>
                <c:pt idx="1148">
                  <c:v>105.63802414673525</c:v>
                </c:pt>
                <c:pt idx="1149">
                  <c:v>112.14057358794844</c:v>
                </c:pt>
                <c:pt idx="1150">
                  <c:v>112.14057358794844</c:v>
                </c:pt>
                <c:pt idx="1151">
                  <c:v>112.00039787096351</c:v>
                </c:pt>
                <c:pt idx="1152">
                  <c:v>112.00039787096351</c:v>
                </c:pt>
                <c:pt idx="1153">
                  <c:v>112.00039787096351</c:v>
                </c:pt>
                <c:pt idx="1154">
                  <c:v>112.00039787096351</c:v>
                </c:pt>
                <c:pt idx="1155">
                  <c:v>112.00039787096351</c:v>
                </c:pt>
                <c:pt idx="1156">
                  <c:v>112.00039787096351</c:v>
                </c:pt>
                <c:pt idx="1157">
                  <c:v>112.00039787096351</c:v>
                </c:pt>
                <c:pt idx="1158">
                  <c:v>112.00039787096351</c:v>
                </c:pt>
                <c:pt idx="1159">
                  <c:v>112.00039787096351</c:v>
                </c:pt>
                <c:pt idx="1160">
                  <c:v>112.00039787096351</c:v>
                </c:pt>
                <c:pt idx="1161">
                  <c:v>112.00039787096351</c:v>
                </c:pt>
                <c:pt idx="1162">
                  <c:v>112.00039787096351</c:v>
                </c:pt>
                <c:pt idx="1163">
                  <c:v>112.00039787096351</c:v>
                </c:pt>
                <c:pt idx="1164">
                  <c:v>112.00039787096351</c:v>
                </c:pt>
                <c:pt idx="1165">
                  <c:v>112.00039787096351</c:v>
                </c:pt>
                <c:pt idx="1166">
                  <c:v>112.00039787096351</c:v>
                </c:pt>
                <c:pt idx="1167">
                  <c:v>112.00039787096351</c:v>
                </c:pt>
                <c:pt idx="1168">
                  <c:v>112.00039787096351</c:v>
                </c:pt>
                <c:pt idx="1169">
                  <c:v>112.00039787096351</c:v>
                </c:pt>
                <c:pt idx="1170">
                  <c:v>112.00039787096351</c:v>
                </c:pt>
                <c:pt idx="1171">
                  <c:v>112.00039787096351</c:v>
                </c:pt>
                <c:pt idx="1172">
                  <c:v>112.00039787096351</c:v>
                </c:pt>
                <c:pt idx="1173">
                  <c:v>112.00039787096351</c:v>
                </c:pt>
                <c:pt idx="1174">
                  <c:v>112.00039787096351</c:v>
                </c:pt>
                <c:pt idx="1175">
                  <c:v>112.00039787096351</c:v>
                </c:pt>
                <c:pt idx="1176">
                  <c:v>112.00039787096351</c:v>
                </c:pt>
                <c:pt idx="1177">
                  <c:v>112.00039787096351</c:v>
                </c:pt>
                <c:pt idx="1178">
                  <c:v>112.00039787096351</c:v>
                </c:pt>
                <c:pt idx="1179">
                  <c:v>112.00039787096351</c:v>
                </c:pt>
                <c:pt idx="1180">
                  <c:v>112.00039787096351</c:v>
                </c:pt>
                <c:pt idx="1181">
                  <c:v>112.00039787096351</c:v>
                </c:pt>
                <c:pt idx="1182">
                  <c:v>112.00039787096351</c:v>
                </c:pt>
                <c:pt idx="1183">
                  <c:v>112.00039787096351</c:v>
                </c:pt>
                <c:pt idx="1184">
                  <c:v>112.00039787096351</c:v>
                </c:pt>
                <c:pt idx="1185">
                  <c:v>112.00039787096351</c:v>
                </c:pt>
                <c:pt idx="1186">
                  <c:v>112.00039787096351</c:v>
                </c:pt>
                <c:pt idx="1187">
                  <c:v>112.00039787096351</c:v>
                </c:pt>
                <c:pt idx="1188">
                  <c:v>112.00039787096351</c:v>
                </c:pt>
                <c:pt idx="1189">
                  <c:v>112.00039787096351</c:v>
                </c:pt>
                <c:pt idx="1190">
                  <c:v>112.00039787096351</c:v>
                </c:pt>
                <c:pt idx="1191">
                  <c:v>112.00039787096351</c:v>
                </c:pt>
                <c:pt idx="1192">
                  <c:v>112.00039787096351</c:v>
                </c:pt>
                <c:pt idx="1193">
                  <c:v>112.00039787096351</c:v>
                </c:pt>
                <c:pt idx="1194">
                  <c:v>112.00039787096351</c:v>
                </c:pt>
                <c:pt idx="1195">
                  <c:v>112.00039787096351</c:v>
                </c:pt>
                <c:pt idx="1196">
                  <c:v>112.00039787096351</c:v>
                </c:pt>
                <c:pt idx="1197">
                  <c:v>112.00039787096351</c:v>
                </c:pt>
                <c:pt idx="1198">
                  <c:v>112.00039787096351</c:v>
                </c:pt>
                <c:pt idx="1199">
                  <c:v>112.00039787096351</c:v>
                </c:pt>
                <c:pt idx="1200">
                  <c:v>112.00039787096351</c:v>
                </c:pt>
                <c:pt idx="1201">
                  <c:v>112.00039787096351</c:v>
                </c:pt>
                <c:pt idx="1202">
                  <c:v>112.00039787096351</c:v>
                </c:pt>
                <c:pt idx="1203">
                  <c:v>112.00039787096351</c:v>
                </c:pt>
                <c:pt idx="1204">
                  <c:v>112.00039787096351</c:v>
                </c:pt>
                <c:pt idx="1205">
                  <c:v>112.00039787096351</c:v>
                </c:pt>
                <c:pt idx="1206">
                  <c:v>112.00039787096351</c:v>
                </c:pt>
                <c:pt idx="1207">
                  <c:v>117.17492643131523</c:v>
                </c:pt>
                <c:pt idx="1208">
                  <c:v>117.02845777327609</c:v>
                </c:pt>
                <c:pt idx="1209">
                  <c:v>116.88217220105949</c:v>
                </c:pt>
                <c:pt idx="1210">
                  <c:v>116.88217220105949</c:v>
                </c:pt>
                <c:pt idx="1211">
                  <c:v>116.88217220105949</c:v>
                </c:pt>
                <c:pt idx="1212">
                  <c:v>116.88217220105949</c:v>
                </c:pt>
                <c:pt idx="1213">
                  <c:v>116.88217220105949</c:v>
                </c:pt>
                <c:pt idx="1214">
                  <c:v>116.88217220105949</c:v>
                </c:pt>
                <c:pt idx="1215">
                  <c:v>116.88217220105949</c:v>
                </c:pt>
                <c:pt idx="1216">
                  <c:v>116.96585483213498</c:v>
                </c:pt>
                <c:pt idx="1217">
                  <c:v>116.56184597603099</c:v>
                </c:pt>
                <c:pt idx="1218">
                  <c:v>116.56184597603099</c:v>
                </c:pt>
                <c:pt idx="1219">
                  <c:v>116.41614366856096</c:v>
                </c:pt>
                <c:pt idx="1220">
                  <c:v>116.41614366856096</c:v>
                </c:pt>
                <c:pt idx="1221">
                  <c:v>116.41614366856096</c:v>
                </c:pt>
                <c:pt idx="1222">
                  <c:v>116.41614366856096</c:v>
                </c:pt>
                <c:pt idx="1223">
                  <c:v>116.41614366856096</c:v>
                </c:pt>
                <c:pt idx="1224">
                  <c:v>116.41614366856096</c:v>
                </c:pt>
                <c:pt idx="1225">
                  <c:v>116.41614366856096</c:v>
                </c:pt>
                <c:pt idx="1226">
                  <c:v>116.41614366856096</c:v>
                </c:pt>
                <c:pt idx="1227">
                  <c:v>116.41614366856096</c:v>
                </c:pt>
                <c:pt idx="1228">
                  <c:v>116.41614366856096</c:v>
                </c:pt>
                <c:pt idx="1229">
                  <c:v>116.41614366856096</c:v>
                </c:pt>
                <c:pt idx="1230">
                  <c:v>116.41614366856096</c:v>
                </c:pt>
                <c:pt idx="1231">
                  <c:v>116.41614366856096</c:v>
                </c:pt>
                <c:pt idx="1232">
                  <c:v>116.41614366856096</c:v>
                </c:pt>
                <c:pt idx="1233">
                  <c:v>116.41614366856096</c:v>
                </c:pt>
                <c:pt idx="1234">
                  <c:v>116.41614366856096</c:v>
                </c:pt>
                <c:pt idx="1235">
                  <c:v>116.41614366856096</c:v>
                </c:pt>
                <c:pt idx="1236">
                  <c:v>116.41614366856096</c:v>
                </c:pt>
                <c:pt idx="1237">
                  <c:v>116.41614366856096</c:v>
                </c:pt>
                <c:pt idx="1238">
                  <c:v>116.41614366856096</c:v>
                </c:pt>
                <c:pt idx="1239">
                  <c:v>116.41614366856096</c:v>
                </c:pt>
                <c:pt idx="1240">
                  <c:v>116.41614366856096</c:v>
                </c:pt>
                <c:pt idx="1241">
                  <c:v>116.41614366856096</c:v>
                </c:pt>
                <c:pt idx="1242">
                  <c:v>116.41614366856096</c:v>
                </c:pt>
                <c:pt idx="1243">
                  <c:v>116.41614366856096</c:v>
                </c:pt>
                <c:pt idx="1244">
                  <c:v>116.41614366856096</c:v>
                </c:pt>
                <c:pt idx="1245">
                  <c:v>116.41614366856096</c:v>
                </c:pt>
                <c:pt idx="1246">
                  <c:v>116.41614366856096</c:v>
                </c:pt>
                <c:pt idx="1247">
                  <c:v>116.41614366856096</c:v>
                </c:pt>
                <c:pt idx="1248">
                  <c:v>116.41614366856096</c:v>
                </c:pt>
                <c:pt idx="1249">
                  <c:v>116.41614366856096</c:v>
                </c:pt>
                <c:pt idx="1250">
                  <c:v>116.41614366856096</c:v>
                </c:pt>
                <c:pt idx="1251">
                  <c:v>116.41614366856096</c:v>
                </c:pt>
                <c:pt idx="1252">
                  <c:v>116.41614366856096</c:v>
                </c:pt>
                <c:pt idx="1253">
                  <c:v>116.41614366856096</c:v>
                </c:pt>
                <c:pt idx="1254">
                  <c:v>116.41614366856096</c:v>
                </c:pt>
                <c:pt idx="1255">
                  <c:v>116.41614366856096</c:v>
                </c:pt>
                <c:pt idx="1256">
                  <c:v>116.41614366856096</c:v>
                </c:pt>
                <c:pt idx="1257">
                  <c:v>116.41614366856096</c:v>
                </c:pt>
                <c:pt idx="1258">
                  <c:v>116.41614366856096</c:v>
                </c:pt>
                <c:pt idx="1259">
                  <c:v>116.41614366856096</c:v>
                </c:pt>
                <c:pt idx="1260">
                  <c:v>116.41614366856096</c:v>
                </c:pt>
                <c:pt idx="1261">
                  <c:v>116.41614366856096</c:v>
                </c:pt>
                <c:pt idx="1262">
                  <c:v>116.41614366856096</c:v>
                </c:pt>
                <c:pt idx="1263">
                  <c:v>116.41614366856096</c:v>
                </c:pt>
                <c:pt idx="1264">
                  <c:v>116.41614366856096</c:v>
                </c:pt>
                <c:pt idx="1265">
                  <c:v>116.41614366856096</c:v>
                </c:pt>
                <c:pt idx="1266">
                  <c:v>116.41614366856096</c:v>
                </c:pt>
                <c:pt idx="1267">
                  <c:v>115.15581168933818</c:v>
                </c:pt>
                <c:pt idx="1268">
                  <c:v>120.90912678992831</c:v>
                </c:pt>
                <c:pt idx="1269">
                  <c:v>120.90912678992831</c:v>
                </c:pt>
                <c:pt idx="1270">
                  <c:v>120.75799038144091</c:v>
                </c:pt>
                <c:pt idx="1271">
                  <c:v>106.1557267650068</c:v>
                </c:pt>
                <c:pt idx="1272">
                  <c:v>106.02303210655054</c:v>
                </c:pt>
                <c:pt idx="1273">
                  <c:v>105.89050331641737</c:v>
                </c:pt>
                <c:pt idx="1274">
                  <c:v>105.89050331641737</c:v>
                </c:pt>
                <c:pt idx="1275">
                  <c:v>105.89050331641737</c:v>
                </c:pt>
                <c:pt idx="1276">
                  <c:v>105.89050331641737</c:v>
                </c:pt>
                <c:pt idx="1277">
                  <c:v>105.89050331641737</c:v>
                </c:pt>
                <c:pt idx="1278">
                  <c:v>105.89050331641737</c:v>
                </c:pt>
                <c:pt idx="1279">
                  <c:v>105.89050331641737</c:v>
                </c:pt>
                <c:pt idx="1280">
                  <c:v>105.89050331641737</c:v>
                </c:pt>
                <c:pt idx="1281">
                  <c:v>105.89050331641737</c:v>
                </c:pt>
                <c:pt idx="1282">
                  <c:v>105.89050331641737</c:v>
                </c:pt>
                <c:pt idx="1283">
                  <c:v>105.89050331641737</c:v>
                </c:pt>
                <c:pt idx="1284">
                  <c:v>105.89050331641737</c:v>
                </c:pt>
                <c:pt idx="1285">
                  <c:v>105.89050331641737</c:v>
                </c:pt>
                <c:pt idx="1286">
                  <c:v>105.89050331641737</c:v>
                </c:pt>
                <c:pt idx="1287">
                  <c:v>105.89050331641737</c:v>
                </c:pt>
                <c:pt idx="1288">
                  <c:v>105.89050331641737</c:v>
                </c:pt>
                <c:pt idx="1289">
                  <c:v>105.89050331641737</c:v>
                </c:pt>
                <c:pt idx="1290">
                  <c:v>105.89050331641737</c:v>
                </c:pt>
                <c:pt idx="1291">
                  <c:v>105.89050331641737</c:v>
                </c:pt>
                <c:pt idx="1292">
                  <c:v>105.89050331641737</c:v>
                </c:pt>
                <c:pt idx="1293">
                  <c:v>105.89050331641737</c:v>
                </c:pt>
                <c:pt idx="1294">
                  <c:v>105.89050331641737</c:v>
                </c:pt>
                <c:pt idx="1295">
                  <c:v>105.89050331641737</c:v>
                </c:pt>
                <c:pt idx="1296">
                  <c:v>105.89050331641737</c:v>
                </c:pt>
                <c:pt idx="1297">
                  <c:v>105.89050331641737</c:v>
                </c:pt>
                <c:pt idx="1298">
                  <c:v>105.89050331641737</c:v>
                </c:pt>
                <c:pt idx="1299">
                  <c:v>105.89050331641737</c:v>
                </c:pt>
                <c:pt idx="1300">
                  <c:v>105.89050331641737</c:v>
                </c:pt>
                <c:pt idx="1301">
                  <c:v>105.89050331641737</c:v>
                </c:pt>
                <c:pt idx="1302">
                  <c:v>105.89050331641737</c:v>
                </c:pt>
                <c:pt idx="1303">
                  <c:v>105.89050331641737</c:v>
                </c:pt>
                <c:pt idx="1304">
                  <c:v>105.89050331641737</c:v>
                </c:pt>
                <c:pt idx="1305">
                  <c:v>105.89050331641737</c:v>
                </c:pt>
                <c:pt idx="1306">
                  <c:v>105.89050331641737</c:v>
                </c:pt>
                <c:pt idx="1307">
                  <c:v>105.89050331641737</c:v>
                </c:pt>
                <c:pt idx="1308">
                  <c:v>105.89050331641737</c:v>
                </c:pt>
                <c:pt idx="1309">
                  <c:v>105.89050331641737</c:v>
                </c:pt>
                <c:pt idx="1310">
                  <c:v>105.89050331641737</c:v>
                </c:pt>
                <c:pt idx="1311">
                  <c:v>105.89050331641737</c:v>
                </c:pt>
                <c:pt idx="1312">
                  <c:v>105.89050331641737</c:v>
                </c:pt>
                <c:pt idx="1313">
                  <c:v>105.89050331641737</c:v>
                </c:pt>
                <c:pt idx="1314">
                  <c:v>105.89050331641737</c:v>
                </c:pt>
                <c:pt idx="1315">
                  <c:v>105.89050331641737</c:v>
                </c:pt>
                <c:pt idx="1316">
                  <c:v>105.89050331641737</c:v>
                </c:pt>
                <c:pt idx="1317">
                  <c:v>105.89050331641737</c:v>
                </c:pt>
                <c:pt idx="1318">
                  <c:v>105.89050331641737</c:v>
                </c:pt>
                <c:pt idx="1319">
                  <c:v>105.67955219463306</c:v>
                </c:pt>
                <c:pt idx="1320">
                  <c:v>109.43830432099745</c:v>
                </c:pt>
                <c:pt idx="1321">
                  <c:v>109.43830432099745</c:v>
                </c:pt>
                <c:pt idx="1322">
                  <c:v>113.85972453693601</c:v>
                </c:pt>
                <c:pt idx="1323">
                  <c:v>113.71739988126485</c:v>
                </c:pt>
                <c:pt idx="1324">
                  <c:v>113.57525313141328</c:v>
                </c:pt>
                <c:pt idx="1325">
                  <c:v>113.57525313141328</c:v>
                </c:pt>
                <c:pt idx="1326">
                  <c:v>110.93627808389209</c:v>
                </c:pt>
                <c:pt idx="1327">
                  <c:v>110.79760773628723</c:v>
                </c:pt>
                <c:pt idx="1328">
                  <c:v>110.65911072661687</c:v>
                </c:pt>
                <c:pt idx="1329">
                  <c:v>110.65911072661687</c:v>
                </c:pt>
                <c:pt idx="1330">
                  <c:v>110.65911072661687</c:v>
                </c:pt>
                <c:pt idx="1331">
                  <c:v>110.65911072661687</c:v>
                </c:pt>
                <c:pt idx="1332">
                  <c:v>110.65911072661687</c:v>
                </c:pt>
                <c:pt idx="1333">
                  <c:v>110.65911072661687</c:v>
                </c:pt>
                <c:pt idx="1334">
                  <c:v>110.65911072661687</c:v>
                </c:pt>
                <c:pt idx="1335">
                  <c:v>110.65911072661687</c:v>
                </c:pt>
                <c:pt idx="1336">
                  <c:v>110.65911072661687</c:v>
                </c:pt>
                <c:pt idx="1337">
                  <c:v>110.65911072661687</c:v>
                </c:pt>
                <c:pt idx="1338">
                  <c:v>110.65911072661687</c:v>
                </c:pt>
                <c:pt idx="1339">
                  <c:v>110.65911072661687</c:v>
                </c:pt>
                <c:pt idx="1340">
                  <c:v>110.65911072661687</c:v>
                </c:pt>
                <c:pt idx="1341">
                  <c:v>110.65911072661687</c:v>
                </c:pt>
                <c:pt idx="1342">
                  <c:v>107.7743253496004</c:v>
                </c:pt>
                <c:pt idx="1343">
                  <c:v>108.86317632068388</c:v>
                </c:pt>
                <c:pt idx="1344">
                  <c:v>112.08867214077691</c:v>
                </c:pt>
                <c:pt idx="1345">
                  <c:v>112.08867214077691</c:v>
                </c:pt>
                <c:pt idx="1346">
                  <c:v>111.94856130060094</c:v>
                </c:pt>
                <c:pt idx="1347">
                  <c:v>112.11285292682837</c:v>
                </c:pt>
                <c:pt idx="1348">
                  <c:v>113.59105961440567</c:v>
                </c:pt>
                <c:pt idx="1349">
                  <c:v>113.59105961440567</c:v>
                </c:pt>
                <c:pt idx="1350">
                  <c:v>112.39911714875686</c:v>
                </c:pt>
                <c:pt idx="1351">
                  <c:v>112.25861825232091</c:v>
                </c:pt>
                <c:pt idx="1352">
                  <c:v>108.6706232795823</c:v>
                </c:pt>
                <c:pt idx="1353">
                  <c:v>108.53478500048283</c:v>
                </c:pt>
                <c:pt idx="1354">
                  <c:v>108.39911651923222</c:v>
                </c:pt>
                <c:pt idx="1355">
                  <c:v>108.39911651923222</c:v>
                </c:pt>
                <c:pt idx="1356">
                  <c:v>108.39911651923222</c:v>
                </c:pt>
                <c:pt idx="1357">
                  <c:v>108.39911651923222</c:v>
                </c:pt>
                <c:pt idx="1358">
                  <c:v>108.39911651923222</c:v>
                </c:pt>
                <c:pt idx="1359">
                  <c:v>108.39911651923222</c:v>
                </c:pt>
                <c:pt idx="1360">
                  <c:v>108.39911651923222</c:v>
                </c:pt>
                <c:pt idx="1361">
                  <c:v>108.39911651923222</c:v>
                </c:pt>
                <c:pt idx="1362">
                  <c:v>108.39911651923222</c:v>
                </c:pt>
                <c:pt idx="1363">
                  <c:v>108.39911651923222</c:v>
                </c:pt>
                <c:pt idx="1364">
                  <c:v>108.39911651923222</c:v>
                </c:pt>
                <c:pt idx="1365">
                  <c:v>108.39911651923222</c:v>
                </c:pt>
                <c:pt idx="1366">
                  <c:v>108.39911651923222</c:v>
                </c:pt>
                <c:pt idx="1367">
                  <c:v>108.39911651923222</c:v>
                </c:pt>
                <c:pt idx="1368">
                  <c:v>108.39911651923222</c:v>
                </c:pt>
                <c:pt idx="1369">
                  <c:v>108.39911651923222</c:v>
                </c:pt>
                <c:pt idx="1370">
                  <c:v>108.39911651923222</c:v>
                </c:pt>
                <c:pt idx="1371">
                  <c:v>108.39911651923222</c:v>
                </c:pt>
                <c:pt idx="1372">
                  <c:v>108.39911651923222</c:v>
                </c:pt>
                <c:pt idx="1373">
                  <c:v>108.39911651923222</c:v>
                </c:pt>
                <c:pt idx="1374">
                  <c:v>108.39911651923222</c:v>
                </c:pt>
                <c:pt idx="1375">
                  <c:v>108.39911651923222</c:v>
                </c:pt>
                <c:pt idx="1376">
                  <c:v>108.39911651923222</c:v>
                </c:pt>
                <c:pt idx="1377">
                  <c:v>108.39911651923222</c:v>
                </c:pt>
                <c:pt idx="1378">
                  <c:v>108.39911651923222</c:v>
                </c:pt>
                <c:pt idx="1379">
                  <c:v>108.39911651923222</c:v>
                </c:pt>
                <c:pt idx="1380">
                  <c:v>108.39911651923222</c:v>
                </c:pt>
                <c:pt idx="1381">
                  <c:v>108.39911651923222</c:v>
                </c:pt>
                <c:pt idx="1382">
                  <c:v>108.39911651923222</c:v>
                </c:pt>
                <c:pt idx="1383">
                  <c:v>108.39911651923222</c:v>
                </c:pt>
                <c:pt idx="1384">
                  <c:v>108.39911651923222</c:v>
                </c:pt>
                <c:pt idx="1385">
                  <c:v>108.39911651923222</c:v>
                </c:pt>
                <c:pt idx="1386">
                  <c:v>108.39911651923222</c:v>
                </c:pt>
                <c:pt idx="1387">
                  <c:v>108.39911651923222</c:v>
                </c:pt>
                <c:pt idx="1388">
                  <c:v>108.39911651923222</c:v>
                </c:pt>
                <c:pt idx="1389">
                  <c:v>108.39911651923222</c:v>
                </c:pt>
                <c:pt idx="1390">
                  <c:v>108.39911651923222</c:v>
                </c:pt>
                <c:pt idx="1391">
                  <c:v>108.39911651923222</c:v>
                </c:pt>
                <c:pt idx="1392">
                  <c:v>108.39911651923222</c:v>
                </c:pt>
                <c:pt idx="1393">
                  <c:v>108.39911651923222</c:v>
                </c:pt>
                <c:pt idx="1394">
                  <c:v>108.39911651923222</c:v>
                </c:pt>
                <c:pt idx="1395">
                  <c:v>108.39911651923222</c:v>
                </c:pt>
                <c:pt idx="1396">
                  <c:v>108.39911651923222</c:v>
                </c:pt>
                <c:pt idx="1397">
                  <c:v>108.39911651923222</c:v>
                </c:pt>
                <c:pt idx="1398">
                  <c:v>108.39911651923222</c:v>
                </c:pt>
                <c:pt idx="1399">
                  <c:v>108.39911651923222</c:v>
                </c:pt>
                <c:pt idx="1400">
                  <c:v>108.39911651923222</c:v>
                </c:pt>
                <c:pt idx="1401">
                  <c:v>108.39911651923222</c:v>
                </c:pt>
                <c:pt idx="1402">
                  <c:v>108.39911651923222</c:v>
                </c:pt>
                <c:pt idx="1403">
                  <c:v>108.39911651923222</c:v>
                </c:pt>
                <c:pt idx="1404">
                  <c:v>108.39911651923222</c:v>
                </c:pt>
                <c:pt idx="1405">
                  <c:v>108.39911651923222</c:v>
                </c:pt>
                <c:pt idx="1406">
                  <c:v>108.39911651923222</c:v>
                </c:pt>
                <c:pt idx="1407">
                  <c:v>108.39911651923222</c:v>
                </c:pt>
                <c:pt idx="1408">
                  <c:v>108.39911651923222</c:v>
                </c:pt>
                <c:pt idx="1409">
                  <c:v>108.39911651923222</c:v>
                </c:pt>
                <c:pt idx="1410">
                  <c:v>108.39911651923222</c:v>
                </c:pt>
                <c:pt idx="1411">
                  <c:v>108.39911651923222</c:v>
                </c:pt>
                <c:pt idx="1412">
                  <c:v>108.39911651923222</c:v>
                </c:pt>
                <c:pt idx="1413">
                  <c:v>108.39911651923222</c:v>
                </c:pt>
                <c:pt idx="1414">
                  <c:v>108.39911651923222</c:v>
                </c:pt>
                <c:pt idx="1415">
                  <c:v>108.39911651923222</c:v>
                </c:pt>
                <c:pt idx="1416">
                  <c:v>108.39911651923222</c:v>
                </c:pt>
                <c:pt idx="1417">
                  <c:v>108.39911651923222</c:v>
                </c:pt>
                <c:pt idx="1418">
                  <c:v>109.84400985680003</c:v>
                </c:pt>
                <c:pt idx="1419">
                  <c:v>119.80329227220598</c:v>
                </c:pt>
                <c:pt idx="1420">
                  <c:v>119.80329227220598</c:v>
                </c:pt>
                <c:pt idx="1421">
                  <c:v>119.65353815686572</c:v>
                </c:pt>
                <c:pt idx="1422">
                  <c:v>119.65353815686572</c:v>
                </c:pt>
                <c:pt idx="1423">
                  <c:v>119.65353815686572</c:v>
                </c:pt>
                <c:pt idx="1424">
                  <c:v>119.65353815686572</c:v>
                </c:pt>
                <c:pt idx="1425">
                  <c:v>119.65353815686572</c:v>
                </c:pt>
                <c:pt idx="1426">
                  <c:v>119.65353815686572</c:v>
                </c:pt>
                <c:pt idx="1427">
                  <c:v>119.65353815686572</c:v>
                </c:pt>
                <c:pt idx="1428">
                  <c:v>119.65353815686572</c:v>
                </c:pt>
                <c:pt idx="1429">
                  <c:v>119.65353815686572</c:v>
                </c:pt>
                <c:pt idx="1430">
                  <c:v>119.65353815686572</c:v>
                </c:pt>
                <c:pt idx="1431">
                  <c:v>119.65353815686572</c:v>
                </c:pt>
                <c:pt idx="1432">
                  <c:v>119.65353815686572</c:v>
                </c:pt>
                <c:pt idx="1433">
                  <c:v>119.65353815686572</c:v>
                </c:pt>
                <c:pt idx="1434">
                  <c:v>119.65353815686572</c:v>
                </c:pt>
                <c:pt idx="1435">
                  <c:v>119.65353815686572</c:v>
                </c:pt>
                <c:pt idx="1436">
                  <c:v>119.65353815686572</c:v>
                </c:pt>
                <c:pt idx="1437">
                  <c:v>119.65353815686572</c:v>
                </c:pt>
                <c:pt idx="1438">
                  <c:v>119.65353815686572</c:v>
                </c:pt>
                <c:pt idx="1439">
                  <c:v>119.65353815686572</c:v>
                </c:pt>
                <c:pt idx="1440">
                  <c:v>119.65353815686572</c:v>
                </c:pt>
                <c:pt idx="1441">
                  <c:v>119.65353815686572</c:v>
                </c:pt>
                <c:pt idx="1442">
                  <c:v>119.65353815686572</c:v>
                </c:pt>
                <c:pt idx="1443">
                  <c:v>119.65353815686572</c:v>
                </c:pt>
                <c:pt idx="1444">
                  <c:v>119.65353815686572</c:v>
                </c:pt>
                <c:pt idx="1445">
                  <c:v>119.65353815686572</c:v>
                </c:pt>
                <c:pt idx="1446">
                  <c:v>119.65353815686572</c:v>
                </c:pt>
                <c:pt idx="1447">
                  <c:v>119.65353815686572</c:v>
                </c:pt>
                <c:pt idx="1448">
                  <c:v>119.65353815686572</c:v>
                </c:pt>
                <c:pt idx="1449">
                  <c:v>119.65353815686572</c:v>
                </c:pt>
                <c:pt idx="1450">
                  <c:v>119.65353815686572</c:v>
                </c:pt>
                <c:pt idx="1451">
                  <c:v>119.65353815686572</c:v>
                </c:pt>
                <c:pt idx="1452">
                  <c:v>119.65353815686572</c:v>
                </c:pt>
                <c:pt idx="1453">
                  <c:v>119.65353815686572</c:v>
                </c:pt>
                <c:pt idx="1454">
                  <c:v>119.65353815686572</c:v>
                </c:pt>
                <c:pt idx="1455">
                  <c:v>119.65353815686572</c:v>
                </c:pt>
                <c:pt idx="1456">
                  <c:v>119.65353815686572</c:v>
                </c:pt>
                <c:pt idx="1457">
                  <c:v>119.65353815686572</c:v>
                </c:pt>
                <c:pt idx="1458">
                  <c:v>119.65353815686572</c:v>
                </c:pt>
                <c:pt idx="1459">
                  <c:v>119.65353815686572</c:v>
                </c:pt>
                <c:pt idx="1460">
                  <c:v>119.65353815686572</c:v>
                </c:pt>
                <c:pt idx="1461">
                  <c:v>119.65353815686572</c:v>
                </c:pt>
                <c:pt idx="1462">
                  <c:v>119.65353815686572</c:v>
                </c:pt>
                <c:pt idx="1463">
                  <c:v>119.65353815686572</c:v>
                </c:pt>
                <c:pt idx="1464">
                  <c:v>119.65353815686572</c:v>
                </c:pt>
                <c:pt idx="1465">
                  <c:v>119.65353815686572</c:v>
                </c:pt>
                <c:pt idx="1466">
                  <c:v>119.65353815686572</c:v>
                </c:pt>
                <c:pt idx="1467">
                  <c:v>119.65353815686572</c:v>
                </c:pt>
                <c:pt idx="1468">
                  <c:v>119.65353815686572</c:v>
                </c:pt>
                <c:pt idx="1469">
                  <c:v>119.65353815686572</c:v>
                </c:pt>
                <c:pt idx="1470">
                  <c:v>119.65353815686572</c:v>
                </c:pt>
                <c:pt idx="1471">
                  <c:v>119.65353815686572</c:v>
                </c:pt>
                <c:pt idx="1472">
                  <c:v>119.65353815686572</c:v>
                </c:pt>
                <c:pt idx="1473">
                  <c:v>119.65353815686572</c:v>
                </c:pt>
                <c:pt idx="1474">
                  <c:v>119.65353815686572</c:v>
                </c:pt>
                <c:pt idx="1475">
                  <c:v>119.65353815686572</c:v>
                </c:pt>
                <c:pt idx="1476">
                  <c:v>119.65353815686572</c:v>
                </c:pt>
                <c:pt idx="1477">
                  <c:v>119.65353815686572</c:v>
                </c:pt>
                <c:pt idx="1478">
                  <c:v>119.65353815686572</c:v>
                </c:pt>
                <c:pt idx="1479">
                  <c:v>114.64349609567435</c:v>
                </c:pt>
                <c:pt idx="1480">
                  <c:v>114.50019172555476</c:v>
                </c:pt>
                <c:pt idx="1481">
                  <c:v>114.35706648589782</c:v>
                </c:pt>
                <c:pt idx="1482">
                  <c:v>113.2503386689433</c:v>
                </c:pt>
                <c:pt idx="1483">
                  <c:v>113.10877574560712</c:v>
                </c:pt>
                <c:pt idx="1484">
                  <c:v>112.96738977592511</c:v>
                </c:pt>
                <c:pt idx="1485">
                  <c:v>112.96738977592511</c:v>
                </c:pt>
                <c:pt idx="1486">
                  <c:v>112.96738977592511</c:v>
                </c:pt>
                <c:pt idx="1487">
                  <c:v>112.96738977592511</c:v>
                </c:pt>
                <c:pt idx="1488">
                  <c:v>112.96738977592511</c:v>
                </c:pt>
                <c:pt idx="1489">
                  <c:v>112.96738977592511</c:v>
                </c:pt>
                <c:pt idx="1490">
                  <c:v>112.96738977592511</c:v>
                </c:pt>
                <c:pt idx="1491">
                  <c:v>112.96738977592511</c:v>
                </c:pt>
                <c:pt idx="1492">
                  <c:v>112.96738977592511</c:v>
                </c:pt>
                <c:pt idx="1493">
                  <c:v>112.96738977592511</c:v>
                </c:pt>
                <c:pt idx="1494">
                  <c:v>112.96738977592511</c:v>
                </c:pt>
                <c:pt idx="1495">
                  <c:v>112.96738977592511</c:v>
                </c:pt>
                <c:pt idx="1496">
                  <c:v>112.96738977592511</c:v>
                </c:pt>
                <c:pt idx="1497">
                  <c:v>111.77206322198467</c:v>
                </c:pt>
                <c:pt idx="1498">
                  <c:v>114.73265598576468</c:v>
                </c:pt>
                <c:pt idx="1499">
                  <c:v>114.73265598576468</c:v>
                </c:pt>
                <c:pt idx="1500">
                  <c:v>112.79181789224121</c:v>
                </c:pt>
                <c:pt idx="1501">
                  <c:v>112.65082811987591</c:v>
                </c:pt>
                <c:pt idx="1502">
                  <c:v>111.05015746516482</c:v>
                </c:pt>
                <c:pt idx="1503">
                  <c:v>110.91134476833336</c:v>
                </c:pt>
                <c:pt idx="1504">
                  <c:v>110.77270558737295</c:v>
                </c:pt>
                <c:pt idx="1505">
                  <c:v>110.77270558737295</c:v>
                </c:pt>
                <c:pt idx="1506">
                  <c:v>110.77270558737295</c:v>
                </c:pt>
                <c:pt idx="1507">
                  <c:v>110.77270558737295</c:v>
                </c:pt>
                <c:pt idx="1508">
                  <c:v>110.77270558737295</c:v>
                </c:pt>
                <c:pt idx="1509">
                  <c:v>110.77270558737295</c:v>
                </c:pt>
                <c:pt idx="1510">
                  <c:v>110.77270558737295</c:v>
                </c:pt>
                <c:pt idx="1511">
                  <c:v>110.77270558737295</c:v>
                </c:pt>
                <c:pt idx="1512">
                  <c:v>110.77270558737295</c:v>
                </c:pt>
                <c:pt idx="1513">
                  <c:v>110.77270558737295</c:v>
                </c:pt>
                <c:pt idx="1514">
                  <c:v>110.77270558737295</c:v>
                </c:pt>
                <c:pt idx="1515">
                  <c:v>110.77270558737295</c:v>
                </c:pt>
                <c:pt idx="1516">
                  <c:v>110.77270558737295</c:v>
                </c:pt>
                <c:pt idx="1517">
                  <c:v>110.77270558737295</c:v>
                </c:pt>
                <c:pt idx="1518">
                  <c:v>110.77270558737295</c:v>
                </c:pt>
                <c:pt idx="1519">
                  <c:v>110.77270558737295</c:v>
                </c:pt>
                <c:pt idx="1520">
                  <c:v>110.77270558737295</c:v>
                </c:pt>
                <c:pt idx="1521">
                  <c:v>110.77270558737295</c:v>
                </c:pt>
                <c:pt idx="1522">
                  <c:v>110.77270558737295</c:v>
                </c:pt>
                <c:pt idx="1523">
                  <c:v>110.77270558737295</c:v>
                </c:pt>
                <c:pt idx="1524">
                  <c:v>110.77270558737295</c:v>
                </c:pt>
                <c:pt idx="1525">
                  <c:v>110.77270558737295</c:v>
                </c:pt>
                <c:pt idx="1526">
                  <c:v>110.77270558737295</c:v>
                </c:pt>
                <c:pt idx="1527">
                  <c:v>110.77270558737295</c:v>
                </c:pt>
                <c:pt idx="1528">
                  <c:v>110.77270558737295</c:v>
                </c:pt>
                <c:pt idx="1529">
                  <c:v>110.77270558737295</c:v>
                </c:pt>
                <c:pt idx="1530">
                  <c:v>110.77270558737295</c:v>
                </c:pt>
                <c:pt idx="1531">
                  <c:v>110.77270558737295</c:v>
                </c:pt>
                <c:pt idx="1532">
                  <c:v>110.77270558737295</c:v>
                </c:pt>
                <c:pt idx="1533">
                  <c:v>110.77270558737295</c:v>
                </c:pt>
                <c:pt idx="1534">
                  <c:v>110.77270558737295</c:v>
                </c:pt>
                <c:pt idx="1535">
                  <c:v>110.77270558737295</c:v>
                </c:pt>
                <c:pt idx="1536">
                  <c:v>110.77270558737295</c:v>
                </c:pt>
                <c:pt idx="1537">
                  <c:v>110.77270558737295</c:v>
                </c:pt>
                <c:pt idx="1538">
                  <c:v>110.77270558737295</c:v>
                </c:pt>
                <c:pt idx="1539">
                  <c:v>110.77270558737295</c:v>
                </c:pt>
                <c:pt idx="1540">
                  <c:v>110.77270558737295</c:v>
                </c:pt>
                <c:pt idx="1541">
                  <c:v>110.77270558737295</c:v>
                </c:pt>
                <c:pt idx="1542">
                  <c:v>110.77270558737295</c:v>
                </c:pt>
                <c:pt idx="1543">
                  <c:v>110.77270558737295</c:v>
                </c:pt>
                <c:pt idx="1544">
                  <c:v>110.77270558737295</c:v>
                </c:pt>
                <c:pt idx="1545">
                  <c:v>110.77270558737295</c:v>
                </c:pt>
                <c:pt idx="1546">
                  <c:v>110.77270558737295</c:v>
                </c:pt>
                <c:pt idx="1547">
                  <c:v>110.77270558737295</c:v>
                </c:pt>
                <c:pt idx="1548">
                  <c:v>110.77270558737295</c:v>
                </c:pt>
                <c:pt idx="1549">
                  <c:v>113.2117573016867</c:v>
                </c:pt>
                <c:pt idx="1550">
                  <c:v>113.07024260505959</c:v>
                </c:pt>
                <c:pt idx="1551">
                  <c:v>112.59671243561419</c:v>
                </c:pt>
                <c:pt idx="1552">
                  <c:v>112.45596654506969</c:v>
                </c:pt>
                <c:pt idx="1553">
                  <c:v>112.31539658688835</c:v>
                </c:pt>
                <c:pt idx="1554">
                  <c:v>112.31539658688835</c:v>
                </c:pt>
                <c:pt idx="1555">
                  <c:v>112.31539658688835</c:v>
                </c:pt>
                <c:pt idx="1556">
                  <c:v>112.31539658688835</c:v>
                </c:pt>
                <c:pt idx="1557">
                  <c:v>112.31539658688835</c:v>
                </c:pt>
                <c:pt idx="1558">
                  <c:v>112.31539658688835</c:v>
                </c:pt>
                <c:pt idx="1559">
                  <c:v>112.31539658688835</c:v>
                </c:pt>
                <c:pt idx="1560">
                  <c:v>112.31539658688835</c:v>
                </c:pt>
                <c:pt idx="1561">
                  <c:v>112.31539658688835</c:v>
                </c:pt>
                <c:pt idx="1562">
                  <c:v>112.31539658688835</c:v>
                </c:pt>
                <c:pt idx="1563">
                  <c:v>112.39622340750421</c:v>
                </c:pt>
                <c:pt idx="1564">
                  <c:v>112.25572812824483</c:v>
                </c:pt>
                <c:pt idx="1565">
                  <c:v>112.11540846808452</c:v>
                </c:pt>
                <c:pt idx="1566">
                  <c:v>112.11540846808452</c:v>
                </c:pt>
                <c:pt idx="1567">
                  <c:v>112.11540846808452</c:v>
                </c:pt>
                <c:pt idx="1568">
                  <c:v>112.11540846808452</c:v>
                </c:pt>
                <c:pt idx="1569">
                  <c:v>112.11540846808452</c:v>
                </c:pt>
                <c:pt idx="1570">
                  <c:v>112.11540846808452</c:v>
                </c:pt>
                <c:pt idx="1571">
                  <c:v>112.11540846808452</c:v>
                </c:pt>
                <c:pt idx="1572">
                  <c:v>112.11540846808452</c:v>
                </c:pt>
                <c:pt idx="1573">
                  <c:v>112.11540846808452</c:v>
                </c:pt>
                <c:pt idx="1574">
                  <c:v>112.11540846808452</c:v>
                </c:pt>
                <c:pt idx="1575">
                  <c:v>112.11540846808452</c:v>
                </c:pt>
                <c:pt idx="1576">
                  <c:v>112.11540846808452</c:v>
                </c:pt>
                <c:pt idx="1577">
                  <c:v>112.11540846808452</c:v>
                </c:pt>
                <c:pt idx="1578">
                  <c:v>112.11540846808452</c:v>
                </c:pt>
                <c:pt idx="1579">
                  <c:v>112.11540846808452</c:v>
                </c:pt>
                <c:pt idx="1580">
                  <c:v>112.11540846808452</c:v>
                </c:pt>
                <c:pt idx="1581">
                  <c:v>112.11540846808452</c:v>
                </c:pt>
                <c:pt idx="1582">
                  <c:v>112.11540846808452</c:v>
                </c:pt>
                <c:pt idx="1583">
                  <c:v>112.11540846808452</c:v>
                </c:pt>
                <c:pt idx="1584">
                  <c:v>112.11540846808452</c:v>
                </c:pt>
                <c:pt idx="1585">
                  <c:v>112.11540846808452</c:v>
                </c:pt>
                <c:pt idx="1586">
                  <c:v>112.11540846808452</c:v>
                </c:pt>
                <c:pt idx="1587">
                  <c:v>112.11540846808452</c:v>
                </c:pt>
                <c:pt idx="1588">
                  <c:v>112.11540846808452</c:v>
                </c:pt>
                <c:pt idx="1589">
                  <c:v>112.11540846808452</c:v>
                </c:pt>
                <c:pt idx="1590">
                  <c:v>112.11540846808452</c:v>
                </c:pt>
                <c:pt idx="1591">
                  <c:v>112.11540846808452</c:v>
                </c:pt>
                <c:pt idx="1592">
                  <c:v>112.11540846808452</c:v>
                </c:pt>
                <c:pt idx="1593">
                  <c:v>112.11540846808452</c:v>
                </c:pt>
                <c:pt idx="1594">
                  <c:v>112.11540846808452</c:v>
                </c:pt>
                <c:pt idx="1595">
                  <c:v>112.11540846808452</c:v>
                </c:pt>
                <c:pt idx="1596">
                  <c:v>112.11540846808452</c:v>
                </c:pt>
                <c:pt idx="1597">
                  <c:v>112.11540846808452</c:v>
                </c:pt>
                <c:pt idx="1598">
                  <c:v>112.11540846808452</c:v>
                </c:pt>
                <c:pt idx="1599">
                  <c:v>112.11540846808452</c:v>
                </c:pt>
                <c:pt idx="1600">
                  <c:v>112.11540846808452</c:v>
                </c:pt>
                <c:pt idx="1601">
                  <c:v>112.11540846808452</c:v>
                </c:pt>
                <c:pt idx="1602">
                  <c:v>112.11540846808452</c:v>
                </c:pt>
                <c:pt idx="1603">
                  <c:v>112.11540846808452</c:v>
                </c:pt>
                <c:pt idx="1604">
                  <c:v>112.11540846808452</c:v>
                </c:pt>
                <c:pt idx="1605">
                  <c:v>112.11540846808452</c:v>
                </c:pt>
                <c:pt idx="1606">
                  <c:v>112.11540846808452</c:v>
                </c:pt>
                <c:pt idx="1607">
                  <c:v>112.11540846808452</c:v>
                </c:pt>
                <c:pt idx="1608">
                  <c:v>112.11540846808452</c:v>
                </c:pt>
                <c:pt idx="1609">
                  <c:v>112.11540846808452</c:v>
                </c:pt>
                <c:pt idx="1610">
                  <c:v>112.11540846808452</c:v>
                </c:pt>
                <c:pt idx="1611">
                  <c:v>112.11540846808452</c:v>
                </c:pt>
                <c:pt idx="1612">
                  <c:v>112.11540846808452</c:v>
                </c:pt>
                <c:pt idx="1613">
                  <c:v>112.11540846808452</c:v>
                </c:pt>
                <c:pt idx="1614">
                  <c:v>112.11540846808452</c:v>
                </c:pt>
                <c:pt idx="1615">
                  <c:v>112.11540846808452</c:v>
                </c:pt>
                <c:pt idx="1616">
                  <c:v>112.11540846808452</c:v>
                </c:pt>
                <c:pt idx="1617">
                  <c:v>112.11540846808452</c:v>
                </c:pt>
                <c:pt idx="1618">
                  <c:v>112.11540846808452</c:v>
                </c:pt>
                <c:pt idx="1619">
                  <c:v>112.11540846808452</c:v>
                </c:pt>
                <c:pt idx="1620">
                  <c:v>112.11540846808452</c:v>
                </c:pt>
                <c:pt idx="1621">
                  <c:v>112.11540846808452</c:v>
                </c:pt>
                <c:pt idx="1622">
                  <c:v>112.11540846808452</c:v>
                </c:pt>
                <c:pt idx="1623">
                  <c:v>112.11540846808452</c:v>
                </c:pt>
                <c:pt idx="1624">
                  <c:v>112.11540846808452</c:v>
                </c:pt>
                <c:pt idx="1625">
                  <c:v>112.11540846808452</c:v>
                </c:pt>
                <c:pt idx="1626">
                  <c:v>112.11540846808452</c:v>
                </c:pt>
                <c:pt idx="1627">
                  <c:v>112.11540846808452</c:v>
                </c:pt>
                <c:pt idx="1628">
                  <c:v>112.11540846808452</c:v>
                </c:pt>
                <c:pt idx="1629">
                  <c:v>112.11540846808452</c:v>
                </c:pt>
                <c:pt idx="1630">
                  <c:v>112.11540846808452</c:v>
                </c:pt>
                <c:pt idx="1631">
                  <c:v>112.11540846808452</c:v>
                </c:pt>
                <c:pt idx="1632">
                  <c:v>112.11540846808452</c:v>
                </c:pt>
                <c:pt idx="1633">
                  <c:v>112.11540846808452</c:v>
                </c:pt>
                <c:pt idx="1634">
                  <c:v>112.11540846808452</c:v>
                </c:pt>
                <c:pt idx="1635">
                  <c:v>112.11540846808452</c:v>
                </c:pt>
                <c:pt idx="1636">
                  <c:v>112.11540846808452</c:v>
                </c:pt>
                <c:pt idx="1637">
                  <c:v>112.11540846808452</c:v>
                </c:pt>
                <c:pt idx="1638">
                  <c:v>112.11540846808452</c:v>
                </c:pt>
                <c:pt idx="1639">
                  <c:v>112.11540846808452</c:v>
                </c:pt>
                <c:pt idx="1640">
                  <c:v>112.11540846808452</c:v>
                </c:pt>
                <c:pt idx="1641">
                  <c:v>112.11540846808452</c:v>
                </c:pt>
                <c:pt idx="1642">
                  <c:v>112.11540846808452</c:v>
                </c:pt>
                <c:pt idx="1643">
                  <c:v>112.11540846808452</c:v>
                </c:pt>
                <c:pt idx="1644">
                  <c:v>112.11540846808452</c:v>
                </c:pt>
                <c:pt idx="1645">
                  <c:v>113.19288000383614</c:v>
                </c:pt>
                <c:pt idx="1646">
                  <c:v>113.05138890383135</c:v>
                </c:pt>
                <c:pt idx="1647">
                  <c:v>114.59734941556107</c:v>
                </c:pt>
                <c:pt idx="1648">
                  <c:v>114.45410272879163</c:v>
                </c:pt>
                <c:pt idx="1649">
                  <c:v>114.31103510038064</c:v>
                </c:pt>
                <c:pt idx="1650">
                  <c:v>125.45570348210441</c:v>
                </c:pt>
                <c:pt idx="1651">
                  <c:v>125.29888385275179</c:v>
                </c:pt>
                <c:pt idx="1652">
                  <c:v>125.14226024793585</c:v>
                </c:pt>
                <c:pt idx="1653">
                  <c:v>124.63586834346791</c:v>
                </c:pt>
                <c:pt idx="1654">
                  <c:v>124.48007350803857</c:v>
                </c:pt>
                <c:pt idx="1655">
                  <c:v>124.32447341615352</c:v>
                </c:pt>
                <c:pt idx="1656">
                  <c:v>124.32447341615352</c:v>
                </c:pt>
                <c:pt idx="1657">
                  <c:v>124.32447341615352</c:v>
                </c:pt>
                <c:pt idx="1658">
                  <c:v>124.32447341615352</c:v>
                </c:pt>
                <c:pt idx="1659">
                  <c:v>124.32447341615352</c:v>
                </c:pt>
                <c:pt idx="1660">
                  <c:v>124.32447341615352</c:v>
                </c:pt>
                <c:pt idx="1661">
                  <c:v>124.32447341615352</c:v>
                </c:pt>
                <c:pt idx="1662">
                  <c:v>124.32447341615352</c:v>
                </c:pt>
                <c:pt idx="1663">
                  <c:v>124.32447341615352</c:v>
                </c:pt>
                <c:pt idx="1664">
                  <c:v>124.32447341615352</c:v>
                </c:pt>
                <c:pt idx="1665">
                  <c:v>124.32447341615352</c:v>
                </c:pt>
                <c:pt idx="1666">
                  <c:v>124.32447341615352</c:v>
                </c:pt>
                <c:pt idx="1667">
                  <c:v>124.32447341615352</c:v>
                </c:pt>
                <c:pt idx="1668">
                  <c:v>124.32447341615352</c:v>
                </c:pt>
                <c:pt idx="1669">
                  <c:v>124.32447341615352</c:v>
                </c:pt>
                <c:pt idx="1670">
                  <c:v>124.32447341615352</c:v>
                </c:pt>
                <c:pt idx="1671">
                  <c:v>124.32447341615352</c:v>
                </c:pt>
                <c:pt idx="1672">
                  <c:v>124.32447341615352</c:v>
                </c:pt>
                <c:pt idx="1673">
                  <c:v>124.32447341615352</c:v>
                </c:pt>
                <c:pt idx="1674">
                  <c:v>124.32447341615352</c:v>
                </c:pt>
                <c:pt idx="1675">
                  <c:v>124.32447341615352</c:v>
                </c:pt>
                <c:pt idx="1676">
                  <c:v>124.32447341615352</c:v>
                </c:pt>
                <c:pt idx="1677">
                  <c:v>124.32447341615352</c:v>
                </c:pt>
                <c:pt idx="1678">
                  <c:v>124.32447341615352</c:v>
                </c:pt>
                <c:pt idx="1679">
                  <c:v>124.32447341615352</c:v>
                </c:pt>
                <c:pt idx="1680">
                  <c:v>124.32447341615352</c:v>
                </c:pt>
                <c:pt idx="1681">
                  <c:v>124.32447341615352</c:v>
                </c:pt>
                <c:pt idx="1682">
                  <c:v>124.32447341615352</c:v>
                </c:pt>
                <c:pt idx="1683">
                  <c:v>124.32447341615352</c:v>
                </c:pt>
                <c:pt idx="1684">
                  <c:v>124.32447341615352</c:v>
                </c:pt>
                <c:pt idx="1685">
                  <c:v>124.32447341615352</c:v>
                </c:pt>
                <c:pt idx="1686">
                  <c:v>124.32447341615352</c:v>
                </c:pt>
                <c:pt idx="1687">
                  <c:v>124.32447341615352</c:v>
                </c:pt>
                <c:pt idx="1688">
                  <c:v>124.32447341615352</c:v>
                </c:pt>
                <c:pt idx="1689">
                  <c:v>124.32447341615352</c:v>
                </c:pt>
                <c:pt idx="1690">
                  <c:v>124.32447341615352</c:v>
                </c:pt>
                <c:pt idx="1691">
                  <c:v>124.32447341615352</c:v>
                </c:pt>
                <c:pt idx="1692">
                  <c:v>124.32447341615352</c:v>
                </c:pt>
                <c:pt idx="1693">
                  <c:v>124.32447341615352</c:v>
                </c:pt>
                <c:pt idx="1694">
                  <c:v>124.32447341615352</c:v>
                </c:pt>
                <c:pt idx="1695">
                  <c:v>124.32447341615352</c:v>
                </c:pt>
                <c:pt idx="1696">
                  <c:v>124.32447341615352</c:v>
                </c:pt>
                <c:pt idx="1697">
                  <c:v>124.32447341615352</c:v>
                </c:pt>
                <c:pt idx="1698">
                  <c:v>124.32447341615352</c:v>
                </c:pt>
                <c:pt idx="1699">
                  <c:v>124.32447341615352</c:v>
                </c:pt>
                <c:pt idx="1700">
                  <c:v>124.32447341615352</c:v>
                </c:pt>
                <c:pt idx="1701">
                  <c:v>124.32447341615352</c:v>
                </c:pt>
                <c:pt idx="1702">
                  <c:v>124.32447341615352</c:v>
                </c:pt>
                <c:pt idx="1703">
                  <c:v>124.32447341615352</c:v>
                </c:pt>
                <c:pt idx="1704">
                  <c:v>124.32447341615352</c:v>
                </c:pt>
                <c:pt idx="1705">
                  <c:v>124.32447341615352</c:v>
                </c:pt>
                <c:pt idx="1706">
                  <c:v>124.32447341615352</c:v>
                </c:pt>
                <c:pt idx="1707">
                  <c:v>124.32447341615352</c:v>
                </c:pt>
                <c:pt idx="1708">
                  <c:v>124.32447341615352</c:v>
                </c:pt>
                <c:pt idx="1709">
                  <c:v>124.32447341615352</c:v>
                </c:pt>
                <c:pt idx="1710">
                  <c:v>124.32447341615352</c:v>
                </c:pt>
                <c:pt idx="1711">
                  <c:v>124.32447341615352</c:v>
                </c:pt>
                <c:pt idx="1712">
                  <c:v>124.32447341615352</c:v>
                </c:pt>
                <c:pt idx="1713">
                  <c:v>124.32447341615352</c:v>
                </c:pt>
                <c:pt idx="1714">
                  <c:v>124.32447341615352</c:v>
                </c:pt>
                <c:pt idx="1715">
                  <c:v>124.32447341615352</c:v>
                </c:pt>
                <c:pt idx="1716">
                  <c:v>124.32447341615352</c:v>
                </c:pt>
                <c:pt idx="1717">
                  <c:v>124.32447341615352</c:v>
                </c:pt>
                <c:pt idx="1718">
                  <c:v>124.32447341615352</c:v>
                </c:pt>
                <c:pt idx="1719">
                  <c:v>124.32447341615352</c:v>
                </c:pt>
                <c:pt idx="1720">
                  <c:v>130.55895679435488</c:v>
                </c:pt>
                <c:pt idx="1721">
                  <c:v>130.39575809836194</c:v>
                </c:pt>
                <c:pt idx="1722">
                  <c:v>130.232763400739</c:v>
                </c:pt>
                <c:pt idx="1723">
                  <c:v>136.89613435592375</c:v>
                </c:pt>
                <c:pt idx="1724">
                  <c:v>137.87125638987609</c:v>
                </c:pt>
                <c:pt idx="1725">
                  <c:v>137.87125638987609</c:v>
                </c:pt>
                <c:pt idx="1726">
                  <c:v>137.69891731938876</c:v>
                </c:pt>
                <c:pt idx="1727">
                  <c:v>137.69891731938876</c:v>
                </c:pt>
                <c:pt idx="1728">
                  <c:v>137.69891731938876</c:v>
                </c:pt>
                <c:pt idx="1729">
                  <c:v>137.69891731938876</c:v>
                </c:pt>
                <c:pt idx="1730">
                  <c:v>137.69891731938876</c:v>
                </c:pt>
                <c:pt idx="1731">
                  <c:v>137.69891731938876</c:v>
                </c:pt>
                <c:pt idx="1732">
                  <c:v>137.69891731938876</c:v>
                </c:pt>
                <c:pt idx="1733">
                  <c:v>137.69891731938876</c:v>
                </c:pt>
                <c:pt idx="1734">
                  <c:v>137.69891731938876</c:v>
                </c:pt>
                <c:pt idx="1735">
                  <c:v>137.69891731938876</c:v>
                </c:pt>
                <c:pt idx="1736">
                  <c:v>137.69891731938876</c:v>
                </c:pt>
                <c:pt idx="1737">
                  <c:v>137.69891731938876</c:v>
                </c:pt>
                <c:pt idx="1738">
                  <c:v>137.69891731938876</c:v>
                </c:pt>
                <c:pt idx="1739">
                  <c:v>137.69891731938876</c:v>
                </c:pt>
                <c:pt idx="1740">
                  <c:v>137.69891731938876</c:v>
                </c:pt>
                <c:pt idx="1741">
                  <c:v>137.69891731938876</c:v>
                </c:pt>
                <c:pt idx="1742">
                  <c:v>137.69891731938876</c:v>
                </c:pt>
                <c:pt idx="1743">
                  <c:v>137.69891731938876</c:v>
                </c:pt>
                <c:pt idx="1744">
                  <c:v>137.69891731938876</c:v>
                </c:pt>
                <c:pt idx="1745">
                  <c:v>137.69891731938876</c:v>
                </c:pt>
                <c:pt idx="1746">
                  <c:v>137.69891731938876</c:v>
                </c:pt>
                <c:pt idx="1747">
                  <c:v>137.69891731938876</c:v>
                </c:pt>
                <c:pt idx="1748">
                  <c:v>137.69891731938876</c:v>
                </c:pt>
                <c:pt idx="1749">
                  <c:v>137.69891731938876</c:v>
                </c:pt>
                <c:pt idx="1750">
                  <c:v>137.69891731938876</c:v>
                </c:pt>
                <c:pt idx="1751">
                  <c:v>137.69891731938876</c:v>
                </c:pt>
                <c:pt idx="1752">
                  <c:v>137.69891731938876</c:v>
                </c:pt>
                <c:pt idx="1753">
                  <c:v>137.69891731938876</c:v>
                </c:pt>
                <c:pt idx="1754">
                  <c:v>137.69891731938876</c:v>
                </c:pt>
                <c:pt idx="1755">
                  <c:v>137.69891731938876</c:v>
                </c:pt>
                <c:pt idx="1756">
                  <c:v>137.69891731938876</c:v>
                </c:pt>
                <c:pt idx="1757">
                  <c:v>137.69891731938876</c:v>
                </c:pt>
                <c:pt idx="1758">
                  <c:v>137.69891731938876</c:v>
                </c:pt>
                <c:pt idx="1759">
                  <c:v>131.14115217968046</c:v>
                </c:pt>
                <c:pt idx="1760">
                  <c:v>133.54709211365864</c:v>
                </c:pt>
                <c:pt idx="1761">
                  <c:v>149.65620249447124</c:v>
                </c:pt>
                <c:pt idx="1762">
                  <c:v>149.65620249447124</c:v>
                </c:pt>
                <c:pt idx="1763">
                  <c:v>148.94948496154009</c:v>
                </c:pt>
                <c:pt idx="1764">
                  <c:v>152.18941633106414</c:v>
                </c:pt>
                <c:pt idx="1765">
                  <c:v>152.18941633106414</c:v>
                </c:pt>
                <c:pt idx="1766">
                  <c:v>151.50969274827838</c:v>
                </c:pt>
                <c:pt idx="1767">
                  <c:v>150.42668642646814</c:v>
                </c:pt>
                <c:pt idx="1768">
                  <c:v>150.42668642646814</c:v>
                </c:pt>
                <c:pt idx="1769">
                  <c:v>147.37784889941869</c:v>
                </c:pt>
                <c:pt idx="1770">
                  <c:v>147.19362658829442</c:v>
                </c:pt>
                <c:pt idx="1771">
                  <c:v>147.00963455505905</c:v>
                </c:pt>
                <c:pt idx="1772">
                  <c:v>147.00963455505905</c:v>
                </c:pt>
                <c:pt idx="1773">
                  <c:v>147.00963455505905</c:v>
                </c:pt>
                <c:pt idx="1774">
                  <c:v>147.00963455505905</c:v>
                </c:pt>
                <c:pt idx="1775">
                  <c:v>147.00963455505905</c:v>
                </c:pt>
                <c:pt idx="1776">
                  <c:v>147.00963455505905</c:v>
                </c:pt>
                <c:pt idx="1777">
                  <c:v>147.00963455505905</c:v>
                </c:pt>
                <c:pt idx="1778">
                  <c:v>147.00963455505905</c:v>
                </c:pt>
                <c:pt idx="1779">
                  <c:v>146.03550507344224</c:v>
                </c:pt>
                <c:pt idx="1780">
                  <c:v>143.54798121980338</c:v>
                </c:pt>
                <c:pt idx="1781">
                  <c:v>143.54798121980338</c:v>
                </c:pt>
                <c:pt idx="1782">
                  <c:v>139.04304344440365</c:v>
                </c:pt>
                <c:pt idx="1783">
                  <c:v>138.86923964009816</c:v>
                </c:pt>
                <c:pt idx="1784">
                  <c:v>138.69565309054803</c:v>
                </c:pt>
                <c:pt idx="1785">
                  <c:v>138.69565309054803</c:v>
                </c:pt>
                <c:pt idx="1786">
                  <c:v>138.69565309054803</c:v>
                </c:pt>
                <c:pt idx="1787">
                  <c:v>138.69565309054803</c:v>
                </c:pt>
                <c:pt idx="1788">
                  <c:v>138.69565309054803</c:v>
                </c:pt>
                <c:pt idx="1789">
                  <c:v>138.69565309054803</c:v>
                </c:pt>
                <c:pt idx="1790">
                  <c:v>138.69565309054803</c:v>
                </c:pt>
                <c:pt idx="1791">
                  <c:v>138.69565309054803</c:v>
                </c:pt>
                <c:pt idx="1792">
                  <c:v>138.69565309054803</c:v>
                </c:pt>
                <c:pt idx="1793">
                  <c:v>138.69565309054803</c:v>
                </c:pt>
                <c:pt idx="1794">
                  <c:v>138.69565309054803</c:v>
                </c:pt>
                <c:pt idx="1795">
                  <c:v>138.69565309054803</c:v>
                </c:pt>
                <c:pt idx="1796">
                  <c:v>138.69565309054803</c:v>
                </c:pt>
                <c:pt idx="1797">
                  <c:v>138.69565309054803</c:v>
                </c:pt>
                <c:pt idx="1798">
                  <c:v>138.69565309054803</c:v>
                </c:pt>
                <c:pt idx="1799">
                  <c:v>138.69565309054803</c:v>
                </c:pt>
                <c:pt idx="1800">
                  <c:v>138.69565309054803</c:v>
                </c:pt>
                <c:pt idx="1801">
                  <c:v>138.69565309054803</c:v>
                </c:pt>
                <c:pt idx="1802">
                  <c:v>138.69565309054803</c:v>
                </c:pt>
                <c:pt idx="1803">
                  <c:v>138.69565309054803</c:v>
                </c:pt>
                <c:pt idx="1804">
                  <c:v>138.69565309054803</c:v>
                </c:pt>
                <c:pt idx="1805">
                  <c:v>138.69565309054803</c:v>
                </c:pt>
                <c:pt idx="1806">
                  <c:v>138.69565309054803</c:v>
                </c:pt>
                <c:pt idx="1807">
                  <c:v>138.69565309054803</c:v>
                </c:pt>
                <c:pt idx="1808">
                  <c:v>138.69565309054803</c:v>
                </c:pt>
                <c:pt idx="1809">
                  <c:v>138.69565309054803</c:v>
                </c:pt>
                <c:pt idx="1810">
                  <c:v>138.69565309054803</c:v>
                </c:pt>
                <c:pt idx="1811">
                  <c:v>138.69565309054803</c:v>
                </c:pt>
                <c:pt idx="1812">
                  <c:v>138.69565309054803</c:v>
                </c:pt>
                <c:pt idx="1813">
                  <c:v>136.97972193663696</c:v>
                </c:pt>
                <c:pt idx="1814">
                  <c:v>136.80849728421617</c:v>
                </c:pt>
                <c:pt idx="1815">
                  <c:v>136.63748666261091</c:v>
                </c:pt>
                <c:pt idx="1816">
                  <c:v>136.63748666261091</c:v>
                </c:pt>
                <c:pt idx="1817">
                  <c:v>136.63748666261091</c:v>
                </c:pt>
                <c:pt idx="1818">
                  <c:v>136.63748666261091</c:v>
                </c:pt>
                <c:pt idx="1819">
                  <c:v>136.63748666261091</c:v>
                </c:pt>
                <c:pt idx="1820">
                  <c:v>136.63748666261091</c:v>
                </c:pt>
                <c:pt idx="1821">
                  <c:v>136.63748666261091</c:v>
                </c:pt>
                <c:pt idx="1822">
                  <c:v>136.63748666261091</c:v>
                </c:pt>
                <c:pt idx="1823">
                  <c:v>136.63748666261091</c:v>
                </c:pt>
                <c:pt idx="1824">
                  <c:v>136.63748666261091</c:v>
                </c:pt>
                <c:pt idx="1825">
                  <c:v>136.63748666261091</c:v>
                </c:pt>
                <c:pt idx="1826">
                  <c:v>136.63748666261091</c:v>
                </c:pt>
                <c:pt idx="1827">
                  <c:v>136.63748666261091</c:v>
                </c:pt>
                <c:pt idx="1828">
                  <c:v>136.63748666261091</c:v>
                </c:pt>
                <c:pt idx="1829">
                  <c:v>136.63748666261091</c:v>
                </c:pt>
                <c:pt idx="1830">
                  <c:v>136.63748666261091</c:v>
                </c:pt>
                <c:pt idx="1831">
                  <c:v>136.63748666261091</c:v>
                </c:pt>
                <c:pt idx="1832">
                  <c:v>136.63748666261091</c:v>
                </c:pt>
                <c:pt idx="1833">
                  <c:v>139.5596121837992</c:v>
                </c:pt>
                <c:pt idx="1834">
                  <c:v>152.17914104984993</c:v>
                </c:pt>
                <c:pt idx="1835">
                  <c:v>152.17914104984993</c:v>
                </c:pt>
                <c:pt idx="1836">
                  <c:v>151.98891712353762</c:v>
                </c:pt>
                <c:pt idx="1837">
                  <c:v>151.98891712353762</c:v>
                </c:pt>
                <c:pt idx="1838">
                  <c:v>151.98891712353762</c:v>
                </c:pt>
                <c:pt idx="1839">
                  <c:v>151.98891712353762</c:v>
                </c:pt>
                <c:pt idx="1840">
                  <c:v>151.98891712353762</c:v>
                </c:pt>
                <c:pt idx="1841">
                  <c:v>151.98891712353762</c:v>
                </c:pt>
                <c:pt idx="1842">
                  <c:v>151.98891712353762</c:v>
                </c:pt>
                <c:pt idx="1843">
                  <c:v>151.98891712353762</c:v>
                </c:pt>
                <c:pt idx="1844">
                  <c:v>151.98891712353762</c:v>
                </c:pt>
                <c:pt idx="1845">
                  <c:v>151.98891712353762</c:v>
                </c:pt>
                <c:pt idx="1846">
                  <c:v>151.98891712353762</c:v>
                </c:pt>
                <c:pt idx="1847">
                  <c:v>151.98891712353762</c:v>
                </c:pt>
                <c:pt idx="1848">
                  <c:v>151.98891712353762</c:v>
                </c:pt>
                <c:pt idx="1849">
                  <c:v>151.98891712353762</c:v>
                </c:pt>
                <c:pt idx="1850">
                  <c:v>151.98891712353762</c:v>
                </c:pt>
                <c:pt idx="1851">
                  <c:v>151.98891712353762</c:v>
                </c:pt>
                <c:pt idx="1852">
                  <c:v>151.98891712353762</c:v>
                </c:pt>
                <c:pt idx="1853">
                  <c:v>151.98891712353762</c:v>
                </c:pt>
                <c:pt idx="1854">
                  <c:v>151.98891712353762</c:v>
                </c:pt>
                <c:pt idx="1855">
                  <c:v>151.98891712353762</c:v>
                </c:pt>
                <c:pt idx="1856">
                  <c:v>151.98891712353762</c:v>
                </c:pt>
                <c:pt idx="1857">
                  <c:v>151.98891712353762</c:v>
                </c:pt>
                <c:pt idx="1858">
                  <c:v>151.98891712353762</c:v>
                </c:pt>
                <c:pt idx="1859">
                  <c:v>151.98891712353762</c:v>
                </c:pt>
                <c:pt idx="1860">
                  <c:v>154.95662434090801</c:v>
                </c:pt>
                <c:pt idx="1861">
                  <c:v>154.76292856048187</c:v>
                </c:pt>
                <c:pt idx="1862">
                  <c:v>154.56947489978126</c:v>
                </c:pt>
                <c:pt idx="1863">
                  <c:v>154.56947489978126</c:v>
                </c:pt>
                <c:pt idx="1864">
                  <c:v>154.56947489978126</c:v>
                </c:pt>
                <c:pt idx="1865">
                  <c:v>154.56947489978126</c:v>
                </c:pt>
                <c:pt idx="1866">
                  <c:v>154.56947489978126</c:v>
                </c:pt>
                <c:pt idx="1867">
                  <c:v>154.56947489978126</c:v>
                </c:pt>
                <c:pt idx="1868">
                  <c:v>154.56947489978126</c:v>
                </c:pt>
                <c:pt idx="1869">
                  <c:v>154.56947489978126</c:v>
                </c:pt>
                <c:pt idx="1870">
                  <c:v>154.56947489978126</c:v>
                </c:pt>
                <c:pt idx="1871">
                  <c:v>154.56947489978126</c:v>
                </c:pt>
                <c:pt idx="1872">
                  <c:v>154.56947489978126</c:v>
                </c:pt>
                <c:pt idx="1873">
                  <c:v>154.56947489978126</c:v>
                </c:pt>
                <c:pt idx="1874">
                  <c:v>154.56947489978126</c:v>
                </c:pt>
                <c:pt idx="1875">
                  <c:v>154.56947489978126</c:v>
                </c:pt>
                <c:pt idx="1876">
                  <c:v>154.56947489978126</c:v>
                </c:pt>
                <c:pt idx="1877">
                  <c:v>154.56947489978126</c:v>
                </c:pt>
                <c:pt idx="1878">
                  <c:v>154.56947489978126</c:v>
                </c:pt>
                <c:pt idx="1879">
                  <c:v>154.56947489978126</c:v>
                </c:pt>
                <c:pt idx="1880">
                  <c:v>154.56947489978126</c:v>
                </c:pt>
                <c:pt idx="1881">
                  <c:v>154.56947489978126</c:v>
                </c:pt>
                <c:pt idx="1882">
                  <c:v>154.56947489978126</c:v>
                </c:pt>
                <c:pt idx="1883">
                  <c:v>154.56947489978126</c:v>
                </c:pt>
                <c:pt idx="1884">
                  <c:v>154.56947489978126</c:v>
                </c:pt>
                <c:pt idx="1885">
                  <c:v>154.56947489978126</c:v>
                </c:pt>
                <c:pt idx="1886">
                  <c:v>154.56947489978126</c:v>
                </c:pt>
                <c:pt idx="1887">
                  <c:v>154.79977727870721</c:v>
                </c:pt>
                <c:pt idx="1888">
                  <c:v>155.46574393991415</c:v>
                </c:pt>
                <c:pt idx="1889">
                  <c:v>155.46574393991415</c:v>
                </c:pt>
                <c:pt idx="1890">
                  <c:v>154.01989775687707</c:v>
                </c:pt>
                <c:pt idx="1891">
                  <c:v>153.82737288468098</c:v>
                </c:pt>
                <c:pt idx="1892">
                  <c:v>153.63508866857512</c:v>
                </c:pt>
                <c:pt idx="1893">
                  <c:v>153.63508866857512</c:v>
                </c:pt>
                <c:pt idx="1894">
                  <c:v>153.63508866857512</c:v>
                </c:pt>
                <c:pt idx="1895">
                  <c:v>153.63508866857512</c:v>
                </c:pt>
                <c:pt idx="1896">
                  <c:v>153.63508866857512</c:v>
                </c:pt>
                <c:pt idx="1897">
                  <c:v>153.63508866857512</c:v>
                </c:pt>
                <c:pt idx="1898">
                  <c:v>153.63508866857512</c:v>
                </c:pt>
                <c:pt idx="1899">
                  <c:v>153.63508866857512</c:v>
                </c:pt>
                <c:pt idx="1900">
                  <c:v>153.63508866857512</c:v>
                </c:pt>
                <c:pt idx="1901">
                  <c:v>153.63508866857512</c:v>
                </c:pt>
                <c:pt idx="1902">
                  <c:v>153.63508866857512</c:v>
                </c:pt>
                <c:pt idx="1903">
                  <c:v>154.75408815549494</c:v>
                </c:pt>
                <c:pt idx="1904">
                  <c:v>154.56064554530059</c:v>
                </c:pt>
                <c:pt idx="1905">
                  <c:v>154.36744473836896</c:v>
                </c:pt>
                <c:pt idx="1906">
                  <c:v>154.36744473836896</c:v>
                </c:pt>
                <c:pt idx="1907">
                  <c:v>154.36744473836896</c:v>
                </c:pt>
                <c:pt idx="1908">
                  <c:v>154.36744473836896</c:v>
                </c:pt>
                <c:pt idx="1909">
                  <c:v>154.36744473836896</c:v>
                </c:pt>
                <c:pt idx="1910">
                  <c:v>154.36744473836896</c:v>
                </c:pt>
                <c:pt idx="1911">
                  <c:v>154.36744473836896</c:v>
                </c:pt>
                <c:pt idx="1912">
                  <c:v>154.36744473836896</c:v>
                </c:pt>
                <c:pt idx="1913">
                  <c:v>154.36744473836896</c:v>
                </c:pt>
                <c:pt idx="1914">
                  <c:v>154.36744473836896</c:v>
                </c:pt>
                <c:pt idx="1915">
                  <c:v>154.36744473836896</c:v>
                </c:pt>
                <c:pt idx="1916">
                  <c:v>154.36744473836896</c:v>
                </c:pt>
                <c:pt idx="1917">
                  <c:v>154.36744473836896</c:v>
                </c:pt>
                <c:pt idx="1918">
                  <c:v>154.36744473836896</c:v>
                </c:pt>
                <c:pt idx="1919">
                  <c:v>154.36744473836896</c:v>
                </c:pt>
                <c:pt idx="1920">
                  <c:v>154.36744473836896</c:v>
                </c:pt>
                <c:pt idx="1921">
                  <c:v>154.36744473836896</c:v>
                </c:pt>
                <c:pt idx="1922">
                  <c:v>154.36744473836896</c:v>
                </c:pt>
                <c:pt idx="1923">
                  <c:v>154.36744473836896</c:v>
                </c:pt>
                <c:pt idx="1924">
                  <c:v>154.36744473836896</c:v>
                </c:pt>
                <c:pt idx="1925">
                  <c:v>154.36744473836896</c:v>
                </c:pt>
                <c:pt idx="1926">
                  <c:v>154.36744473836896</c:v>
                </c:pt>
                <c:pt idx="1927">
                  <c:v>154.36744473836896</c:v>
                </c:pt>
                <c:pt idx="1928">
                  <c:v>154.36744473836896</c:v>
                </c:pt>
                <c:pt idx="1929">
                  <c:v>154.36744473836896</c:v>
                </c:pt>
                <c:pt idx="1930">
                  <c:v>154.36744473836896</c:v>
                </c:pt>
                <c:pt idx="1931">
                  <c:v>154.34557842525709</c:v>
                </c:pt>
                <c:pt idx="1932">
                  <c:v>157.729809821732</c:v>
                </c:pt>
                <c:pt idx="1933">
                  <c:v>157.729809821732</c:v>
                </c:pt>
                <c:pt idx="1934">
                  <c:v>157.53264755945483</c:v>
                </c:pt>
                <c:pt idx="1935">
                  <c:v>161.04369942760528</c:v>
                </c:pt>
                <c:pt idx="1936">
                  <c:v>160.84239480332079</c:v>
                </c:pt>
                <c:pt idx="1937">
                  <c:v>160.64134180981665</c:v>
                </c:pt>
                <c:pt idx="1938">
                  <c:v>160.64134180981665</c:v>
                </c:pt>
                <c:pt idx="1939">
                  <c:v>160.64134180981665</c:v>
                </c:pt>
                <c:pt idx="1940">
                  <c:v>160.64134180981665</c:v>
                </c:pt>
                <c:pt idx="1941">
                  <c:v>160.64134180981665</c:v>
                </c:pt>
                <c:pt idx="1942">
                  <c:v>160.64134180981665</c:v>
                </c:pt>
                <c:pt idx="1943">
                  <c:v>160.64134180981665</c:v>
                </c:pt>
                <c:pt idx="1944">
                  <c:v>160.64134180981665</c:v>
                </c:pt>
                <c:pt idx="1945">
                  <c:v>160.64134180981665</c:v>
                </c:pt>
                <c:pt idx="1946">
                  <c:v>160.64134180981665</c:v>
                </c:pt>
                <c:pt idx="1947">
                  <c:v>160.64134180981665</c:v>
                </c:pt>
                <c:pt idx="1948">
                  <c:v>160.64134180981665</c:v>
                </c:pt>
                <c:pt idx="1949">
                  <c:v>160.64134180981665</c:v>
                </c:pt>
                <c:pt idx="1950">
                  <c:v>160.64134180981665</c:v>
                </c:pt>
                <c:pt idx="1951">
                  <c:v>160.64134180981665</c:v>
                </c:pt>
                <c:pt idx="1952">
                  <c:v>160.64134180981665</c:v>
                </c:pt>
                <c:pt idx="1953">
                  <c:v>160.64134180981665</c:v>
                </c:pt>
                <c:pt idx="1954">
                  <c:v>160.64134180981665</c:v>
                </c:pt>
                <c:pt idx="1955">
                  <c:v>160.64134180981665</c:v>
                </c:pt>
                <c:pt idx="1956">
                  <c:v>160.64134180981665</c:v>
                </c:pt>
                <c:pt idx="1957">
                  <c:v>160.64134180981665</c:v>
                </c:pt>
                <c:pt idx="1958">
                  <c:v>160.64134180981665</c:v>
                </c:pt>
                <c:pt idx="1959">
                  <c:v>160.64134180981665</c:v>
                </c:pt>
                <c:pt idx="1960">
                  <c:v>160.64134180981665</c:v>
                </c:pt>
                <c:pt idx="1961">
                  <c:v>160.64134180981665</c:v>
                </c:pt>
                <c:pt idx="1962">
                  <c:v>160.64134180981665</c:v>
                </c:pt>
                <c:pt idx="1963">
                  <c:v>160.64134180981665</c:v>
                </c:pt>
                <c:pt idx="1964">
                  <c:v>160.64134180981665</c:v>
                </c:pt>
                <c:pt idx="1965">
                  <c:v>160.64134180981665</c:v>
                </c:pt>
                <c:pt idx="1966">
                  <c:v>160.64134180981665</c:v>
                </c:pt>
                <c:pt idx="1967">
                  <c:v>160.64134180981665</c:v>
                </c:pt>
                <c:pt idx="1968">
                  <c:v>160.64134180981665</c:v>
                </c:pt>
                <c:pt idx="1969">
                  <c:v>160.64134180981665</c:v>
                </c:pt>
                <c:pt idx="1970">
                  <c:v>160.64134180981665</c:v>
                </c:pt>
                <c:pt idx="1971">
                  <c:v>160.64134180981665</c:v>
                </c:pt>
                <c:pt idx="1972">
                  <c:v>160.64134180981665</c:v>
                </c:pt>
                <c:pt idx="1973">
                  <c:v>160.64134180981665</c:v>
                </c:pt>
                <c:pt idx="1974">
                  <c:v>160.64134180981665</c:v>
                </c:pt>
                <c:pt idx="1975">
                  <c:v>160.64134180981665</c:v>
                </c:pt>
                <c:pt idx="1976">
                  <c:v>161.634059673113</c:v>
                </c:pt>
                <c:pt idx="1977">
                  <c:v>164.39038684494994</c:v>
                </c:pt>
                <c:pt idx="1978">
                  <c:v>164.39038684494994</c:v>
                </c:pt>
                <c:pt idx="1979">
                  <c:v>164.18489886139375</c:v>
                </c:pt>
                <c:pt idx="1980">
                  <c:v>164.18489886139375</c:v>
                </c:pt>
                <c:pt idx="1981">
                  <c:v>157.50541595906014</c:v>
                </c:pt>
                <c:pt idx="1982">
                  <c:v>157.30853418911133</c:v>
                </c:pt>
                <c:pt idx="1983">
                  <c:v>157.11189852137494</c:v>
                </c:pt>
                <c:pt idx="1984">
                  <c:v>157.11189852137494</c:v>
                </c:pt>
                <c:pt idx="1985">
                  <c:v>157.11189852137494</c:v>
                </c:pt>
                <c:pt idx="1986">
                  <c:v>157.11189852137494</c:v>
                </c:pt>
                <c:pt idx="1987">
                  <c:v>157.11189852137494</c:v>
                </c:pt>
                <c:pt idx="1988">
                  <c:v>157.11189852137494</c:v>
                </c:pt>
                <c:pt idx="1989">
                  <c:v>157.11189852137494</c:v>
                </c:pt>
                <c:pt idx="1990">
                  <c:v>157.11189852137494</c:v>
                </c:pt>
                <c:pt idx="1991">
                  <c:v>157.11189852137494</c:v>
                </c:pt>
                <c:pt idx="1992">
                  <c:v>157.11189852137494</c:v>
                </c:pt>
                <c:pt idx="1993">
                  <c:v>157.11189852137494</c:v>
                </c:pt>
                <c:pt idx="1994">
                  <c:v>157.11189852137494</c:v>
                </c:pt>
                <c:pt idx="1995">
                  <c:v>157.11189852137494</c:v>
                </c:pt>
                <c:pt idx="1996">
                  <c:v>157.11189852137494</c:v>
                </c:pt>
                <c:pt idx="1997">
                  <c:v>157.11189852137494</c:v>
                </c:pt>
                <c:pt idx="1998">
                  <c:v>157.11189852137494</c:v>
                </c:pt>
                <c:pt idx="1999">
                  <c:v>157.11189852137494</c:v>
                </c:pt>
                <c:pt idx="2000">
                  <c:v>157.11189852137494</c:v>
                </c:pt>
                <c:pt idx="2001">
                  <c:v>157.11189852137494</c:v>
                </c:pt>
                <c:pt idx="2002">
                  <c:v>157.11189852137494</c:v>
                </c:pt>
                <c:pt idx="2003">
                  <c:v>157.11189852137494</c:v>
                </c:pt>
                <c:pt idx="2004">
                  <c:v>157.11189852137494</c:v>
                </c:pt>
                <c:pt idx="2005">
                  <c:v>157.11189852137494</c:v>
                </c:pt>
                <c:pt idx="2006">
                  <c:v>157.11189852137494</c:v>
                </c:pt>
                <c:pt idx="2007">
                  <c:v>157.11189852137494</c:v>
                </c:pt>
                <c:pt idx="2008">
                  <c:v>157.11189852137494</c:v>
                </c:pt>
                <c:pt idx="2009">
                  <c:v>157.11189852137494</c:v>
                </c:pt>
                <c:pt idx="2010">
                  <c:v>157.11189852137494</c:v>
                </c:pt>
                <c:pt idx="2011">
                  <c:v>157.11189852137494</c:v>
                </c:pt>
                <c:pt idx="2012">
                  <c:v>157.11189852137494</c:v>
                </c:pt>
                <c:pt idx="2013">
                  <c:v>157.11189852137494</c:v>
                </c:pt>
                <c:pt idx="2014">
                  <c:v>157.11189852137494</c:v>
                </c:pt>
                <c:pt idx="2015">
                  <c:v>157.11189852137494</c:v>
                </c:pt>
                <c:pt idx="2016">
                  <c:v>157.11189852137494</c:v>
                </c:pt>
                <c:pt idx="2017">
                  <c:v>162.03399700276222</c:v>
                </c:pt>
                <c:pt idx="2018">
                  <c:v>161.83145450650878</c:v>
                </c:pt>
                <c:pt idx="2019">
                  <c:v>161.62916518837565</c:v>
                </c:pt>
                <c:pt idx="2020">
                  <c:v>161.62916518837565</c:v>
                </c:pt>
                <c:pt idx="2021">
                  <c:v>161.62916518837565</c:v>
                </c:pt>
                <c:pt idx="2022">
                  <c:v>161.62916518837565</c:v>
                </c:pt>
                <c:pt idx="2023">
                  <c:v>161.62916518837565</c:v>
                </c:pt>
                <c:pt idx="2024">
                  <c:v>161.62916518837565</c:v>
                </c:pt>
                <c:pt idx="2025">
                  <c:v>161.62916518837565</c:v>
                </c:pt>
                <c:pt idx="2026">
                  <c:v>161.62916518837565</c:v>
                </c:pt>
                <c:pt idx="2027">
                  <c:v>161.62916518837565</c:v>
                </c:pt>
                <c:pt idx="2028">
                  <c:v>161.62916518837565</c:v>
                </c:pt>
                <c:pt idx="2029">
                  <c:v>161.62916518837565</c:v>
                </c:pt>
                <c:pt idx="2030">
                  <c:v>161.62916518837565</c:v>
                </c:pt>
                <c:pt idx="2031">
                  <c:v>161.62916518837565</c:v>
                </c:pt>
                <c:pt idx="2032">
                  <c:v>161.62916518837565</c:v>
                </c:pt>
                <c:pt idx="2033">
                  <c:v>161.62916518837565</c:v>
                </c:pt>
                <c:pt idx="2034">
                  <c:v>161.62916518837565</c:v>
                </c:pt>
                <c:pt idx="2035">
                  <c:v>161.62916518837565</c:v>
                </c:pt>
                <c:pt idx="2036">
                  <c:v>161.62916518837565</c:v>
                </c:pt>
                <c:pt idx="2037">
                  <c:v>161.62916518837565</c:v>
                </c:pt>
                <c:pt idx="2038">
                  <c:v>161.62916518837565</c:v>
                </c:pt>
                <c:pt idx="2039">
                  <c:v>161.62916518837565</c:v>
                </c:pt>
                <c:pt idx="2040">
                  <c:v>161.62916518837565</c:v>
                </c:pt>
                <c:pt idx="2041">
                  <c:v>161.62916518837565</c:v>
                </c:pt>
                <c:pt idx="2042">
                  <c:v>161.62916518837565</c:v>
                </c:pt>
                <c:pt idx="2043">
                  <c:v>161.62916518837565</c:v>
                </c:pt>
                <c:pt idx="2044">
                  <c:v>161.62916518837565</c:v>
                </c:pt>
                <c:pt idx="2045">
                  <c:v>161.62916518837565</c:v>
                </c:pt>
                <c:pt idx="2046">
                  <c:v>161.62916518837565</c:v>
                </c:pt>
                <c:pt idx="2047">
                  <c:v>161.62916518837565</c:v>
                </c:pt>
                <c:pt idx="2048">
                  <c:v>161.62916518837565</c:v>
                </c:pt>
                <c:pt idx="2049">
                  <c:v>161.62916518837565</c:v>
                </c:pt>
                <c:pt idx="2050">
                  <c:v>161.62916518837565</c:v>
                </c:pt>
                <c:pt idx="2051">
                  <c:v>161.62916518837565</c:v>
                </c:pt>
                <c:pt idx="2052">
                  <c:v>164.75987810689233</c:v>
                </c:pt>
                <c:pt idx="2053">
                  <c:v>164.55392825925873</c:v>
                </c:pt>
                <c:pt idx="2054">
                  <c:v>164.34823584893465</c:v>
                </c:pt>
                <c:pt idx="2055">
                  <c:v>164.34823584893465</c:v>
                </c:pt>
                <c:pt idx="2056">
                  <c:v>164.34823584893465</c:v>
                </c:pt>
                <c:pt idx="2057">
                  <c:v>164.34823584893465</c:v>
                </c:pt>
                <c:pt idx="2058">
                  <c:v>164.34823584893465</c:v>
                </c:pt>
                <c:pt idx="2059">
                  <c:v>164.34823584893465</c:v>
                </c:pt>
                <c:pt idx="2060">
                  <c:v>164.34823584893465</c:v>
                </c:pt>
                <c:pt idx="2061">
                  <c:v>164.34823584893465</c:v>
                </c:pt>
                <c:pt idx="2062">
                  <c:v>164.34823584893465</c:v>
                </c:pt>
                <c:pt idx="2063">
                  <c:v>164.34823584893465</c:v>
                </c:pt>
                <c:pt idx="2064">
                  <c:v>164.34823584893465</c:v>
                </c:pt>
                <c:pt idx="2065">
                  <c:v>164.34823584893465</c:v>
                </c:pt>
                <c:pt idx="2066">
                  <c:v>164.34823584893465</c:v>
                </c:pt>
                <c:pt idx="2067">
                  <c:v>164.34823584893465</c:v>
                </c:pt>
                <c:pt idx="2068">
                  <c:v>164.34823584893465</c:v>
                </c:pt>
                <c:pt idx="2069">
                  <c:v>164.34823584893465</c:v>
                </c:pt>
                <c:pt idx="2070">
                  <c:v>164.34823584893465</c:v>
                </c:pt>
                <c:pt idx="2071">
                  <c:v>164.34823584893465</c:v>
                </c:pt>
                <c:pt idx="2072">
                  <c:v>164.34823584893465</c:v>
                </c:pt>
                <c:pt idx="2073">
                  <c:v>164.34823584893465</c:v>
                </c:pt>
                <c:pt idx="2074">
                  <c:v>164.34823584893465</c:v>
                </c:pt>
                <c:pt idx="2075">
                  <c:v>164.34823584893465</c:v>
                </c:pt>
                <c:pt idx="2076">
                  <c:v>164.34823584893465</c:v>
                </c:pt>
                <c:pt idx="2077">
                  <c:v>164.34823584893465</c:v>
                </c:pt>
                <c:pt idx="2078">
                  <c:v>164.34823584893465</c:v>
                </c:pt>
                <c:pt idx="2079">
                  <c:v>164.34823584893465</c:v>
                </c:pt>
                <c:pt idx="2080">
                  <c:v>164.34823584893465</c:v>
                </c:pt>
                <c:pt idx="2081">
                  <c:v>164.34823584893465</c:v>
                </c:pt>
                <c:pt idx="2082">
                  <c:v>164.34823584893465</c:v>
                </c:pt>
                <c:pt idx="2083">
                  <c:v>164.34823584893465</c:v>
                </c:pt>
                <c:pt idx="2084">
                  <c:v>164.34823584893465</c:v>
                </c:pt>
                <c:pt idx="2085">
                  <c:v>164.34823584893465</c:v>
                </c:pt>
                <c:pt idx="2086">
                  <c:v>164.34823584893465</c:v>
                </c:pt>
                <c:pt idx="2087">
                  <c:v>164.34823584893465</c:v>
                </c:pt>
                <c:pt idx="2088">
                  <c:v>164.34823584893465</c:v>
                </c:pt>
                <c:pt idx="2089">
                  <c:v>164.34823584893465</c:v>
                </c:pt>
                <c:pt idx="2090">
                  <c:v>164.34823584893465</c:v>
                </c:pt>
                <c:pt idx="2091">
                  <c:v>164.34823584893465</c:v>
                </c:pt>
                <c:pt idx="2092">
                  <c:v>164.34823584893465</c:v>
                </c:pt>
                <c:pt idx="2093">
                  <c:v>164.34823584893465</c:v>
                </c:pt>
                <c:pt idx="2094">
                  <c:v>164.34823584893465</c:v>
                </c:pt>
                <c:pt idx="2095">
                  <c:v>164.34823584893465</c:v>
                </c:pt>
                <c:pt idx="2096">
                  <c:v>164.34823584893465</c:v>
                </c:pt>
                <c:pt idx="2097">
                  <c:v>164.34823584893465</c:v>
                </c:pt>
                <c:pt idx="2098">
                  <c:v>164.34823584893465</c:v>
                </c:pt>
                <c:pt idx="2099">
                  <c:v>164.34823584893465</c:v>
                </c:pt>
                <c:pt idx="2100">
                  <c:v>164.34823584893465</c:v>
                </c:pt>
                <c:pt idx="2101">
                  <c:v>167.43137360800947</c:v>
                </c:pt>
                <c:pt idx="2102">
                  <c:v>167.22208439099947</c:v>
                </c:pt>
                <c:pt idx="2103">
                  <c:v>173.75364773873528</c:v>
                </c:pt>
                <c:pt idx="2104">
                  <c:v>173.53645567906187</c:v>
                </c:pt>
                <c:pt idx="2105">
                  <c:v>173.31953510946306</c:v>
                </c:pt>
                <c:pt idx="2106">
                  <c:v>178.34886818098025</c:v>
                </c:pt>
                <c:pt idx="2107">
                  <c:v>178.12593209575402</c:v>
                </c:pt>
                <c:pt idx="2108">
                  <c:v>177.90327468063433</c:v>
                </c:pt>
                <c:pt idx="2109">
                  <c:v>177.90327468063433</c:v>
                </c:pt>
                <c:pt idx="2110">
                  <c:v>177.90327468063433</c:v>
                </c:pt>
                <c:pt idx="2111">
                  <c:v>177.90327468063433</c:v>
                </c:pt>
                <c:pt idx="2112">
                  <c:v>177.90327468063433</c:v>
                </c:pt>
                <c:pt idx="2113">
                  <c:v>177.90327468063433</c:v>
                </c:pt>
                <c:pt idx="2114">
                  <c:v>177.90327468063433</c:v>
                </c:pt>
                <c:pt idx="2115">
                  <c:v>176.04106350969053</c:v>
                </c:pt>
                <c:pt idx="2116">
                  <c:v>175.82101218030343</c:v>
                </c:pt>
                <c:pt idx="2117">
                  <c:v>175.60123591507806</c:v>
                </c:pt>
                <c:pt idx="2118">
                  <c:v>175.60123591507806</c:v>
                </c:pt>
                <c:pt idx="2119">
                  <c:v>175.60123591507806</c:v>
                </c:pt>
                <c:pt idx="2120">
                  <c:v>175.60123591507806</c:v>
                </c:pt>
                <c:pt idx="2121">
                  <c:v>175.60123591507806</c:v>
                </c:pt>
                <c:pt idx="2122">
                  <c:v>175.60123591507806</c:v>
                </c:pt>
                <c:pt idx="2123">
                  <c:v>175.60123591507806</c:v>
                </c:pt>
                <c:pt idx="2124">
                  <c:v>175.60123591507806</c:v>
                </c:pt>
                <c:pt idx="2125">
                  <c:v>175.60123591507806</c:v>
                </c:pt>
                <c:pt idx="2126">
                  <c:v>175.60123591507806</c:v>
                </c:pt>
                <c:pt idx="2127">
                  <c:v>175.60123591507806</c:v>
                </c:pt>
                <c:pt idx="2128">
                  <c:v>175.60123591507806</c:v>
                </c:pt>
                <c:pt idx="2129">
                  <c:v>175.60123591507806</c:v>
                </c:pt>
                <c:pt idx="2130">
                  <c:v>175.60123591507806</c:v>
                </c:pt>
                <c:pt idx="2131">
                  <c:v>175.60123591507806</c:v>
                </c:pt>
                <c:pt idx="2132">
                  <c:v>175.60123591507806</c:v>
                </c:pt>
                <c:pt idx="2133">
                  <c:v>175.60123591507806</c:v>
                </c:pt>
                <c:pt idx="2134">
                  <c:v>175.60123591507806</c:v>
                </c:pt>
                <c:pt idx="2135">
                  <c:v>175.60123591507806</c:v>
                </c:pt>
                <c:pt idx="2136">
                  <c:v>175.60123591507806</c:v>
                </c:pt>
                <c:pt idx="2137">
                  <c:v>175.60123591507806</c:v>
                </c:pt>
                <c:pt idx="2138">
                  <c:v>175.60123591507806</c:v>
                </c:pt>
                <c:pt idx="2139">
                  <c:v>175.60123591507806</c:v>
                </c:pt>
                <c:pt idx="2140">
                  <c:v>175.60123591507806</c:v>
                </c:pt>
                <c:pt idx="2141">
                  <c:v>175.60123591507806</c:v>
                </c:pt>
                <c:pt idx="2142">
                  <c:v>175.60123591507806</c:v>
                </c:pt>
                <c:pt idx="2143">
                  <c:v>175.60123591507806</c:v>
                </c:pt>
                <c:pt idx="2144">
                  <c:v>175.60123591507806</c:v>
                </c:pt>
                <c:pt idx="2145">
                  <c:v>175.60123591507806</c:v>
                </c:pt>
                <c:pt idx="2146">
                  <c:v>175.60123591507806</c:v>
                </c:pt>
                <c:pt idx="2147">
                  <c:v>175.60123591507806</c:v>
                </c:pt>
                <c:pt idx="2148">
                  <c:v>175.60123591507806</c:v>
                </c:pt>
                <c:pt idx="2149">
                  <c:v>175.60123591507806</c:v>
                </c:pt>
                <c:pt idx="2150">
                  <c:v>175.60123591507806</c:v>
                </c:pt>
                <c:pt idx="2151">
                  <c:v>175.60123591507806</c:v>
                </c:pt>
                <c:pt idx="2152">
                  <c:v>175.60123591507806</c:v>
                </c:pt>
                <c:pt idx="2153">
                  <c:v>175.60123591507806</c:v>
                </c:pt>
                <c:pt idx="2154">
                  <c:v>175.60123591507806</c:v>
                </c:pt>
                <c:pt idx="2155">
                  <c:v>175.60123591507806</c:v>
                </c:pt>
                <c:pt idx="2156">
                  <c:v>175.60123591507806</c:v>
                </c:pt>
                <c:pt idx="2157">
                  <c:v>175.60123591507806</c:v>
                </c:pt>
                <c:pt idx="2158">
                  <c:v>175.60123591507806</c:v>
                </c:pt>
                <c:pt idx="2159">
                  <c:v>175.60123591507806</c:v>
                </c:pt>
                <c:pt idx="2160">
                  <c:v>175.60123591507806</c:v>
                </c:pt>
                <c:pt idx="2161">
                  <c:v>175.60123591507806</c:v>
                </c:pt>
                <c:pt idx="2162">
                  <c:v>175.60123591507806</c:v>
                </c:pt>
                <c:pt idx="2163">
                  <c:v>175.60123591507806</c:v>
                </c:pt>
                <c:pt idx="2164">
                  <c:v>175.60123591507806</c:v>
                </c:pt>
                <c:pt idx="2165">
                  <c:v>175.60123591507806</c:v>
                </c:pt>
                <c:pt idx="2166">
                  <c:v>175.60123591507806</c:v>
                </c:pt>
                <c:pt idx="2167">
                  <c:v>175.60123591507806</c:v>
                </c:pt>
                <c:pt idx="2168">
                  <c:v>175.60123591507806</c:v>
                </c:pt>
                <c:pt idx="2169">
                  <c:v>175.60123591507806</c:v>
                </c:pt>
                <c:pt idx="2170">
                  <c:v>175.60123591507806</c:v>
                </c:pt>
                <c:pt idx="2171">
                  <c:v>175.60123591507806</c:v>
                </c:pt>
                <c:pt idx="2172">
                  <c:v>175.60123591507806</c:v>
                </c:pt>
                <c:pt idx="2173">
                  <c:v>175.60123591507806</c:v>
                </c:pt>
                <c:pt idx="2174">
                  <c:v>175.60123591507806</c:v>
                </c:pt>
                <c:pt idx="2175">
                  <c:v>175.60123591507806</c:v>
                </c:pt>
                <c:pt idx="2176">
                  <c:v>175.60123591507806</c:v>
                </c:pt>
                <c:pt idx="2177">
                  <c:v>175.60123591507806</c:v>
                </c:pt>
                <c:pt idx="2178">
                  <c:v>175.60123591507806</c:v>
                </c:pt>
                <c:pt idx="2179">
                  <c:v>175.60123591507806</c:v>
                </c:pt>
                <c:pt idx="2180">
                  <c:v>175.60123591507806</c:v>
                </c:pt>
                <c:pt idx="2181">
                  <c:v>175.60123591507806</c:v>
                </c:pt>
                <c:pt idx="2182">
                  <c:v>175.60123591507806</c:v>
                </c:pt>
                <c:pt idx="2183">
                  <c:v>175.60123591507806</c:v>
                </c:pt>
                <c:pt idx="2184">
                  <c:v>175.60123591507806</c:v>
                </c:pt>
                <c:pt idx="2185">
                  <c:v>175.60123591507806</c:v>
                </c:pt>
                <c:pt idx="2186">
                  <c:v>176.18060452042673</c:v>
                </c:pt>
                <c:pt idx="2187">
                  <c:v>175.33948207142578</c:v>
                </c:pt>
                <c:pt idx="2188">
                  <c:v>170.72052164433268</c:v>
                </c:pt>
                <c:pt idx="2189">
                  <c:v>170.72052164433268</c:v>
                </c:pt>
                <c:pt idx="2190">
                  <c:v>170.50712099227727</c:v>
                </c:pt>
                <c:pt idx="2191">
                  <c:v>170.50712099227727</c:v>
                </c:pt>
                <c:pt idx="2192">
                  <c:v>170.50712099227727</c:v>
                </c:pt>
                <c:pt idx="2193">
                  <c:v>170.50712099227727</c:v>
                </c:pt>
                <c:pt idx="2194">
                  <c:v>170.50712099227727</c:v>
                </c:pt>
                <c:pt idx="2195">
                  <c:v>169.8322303733068</c:v>
                </c:pt>
                <c:pt idx="2196">
                  <c:v>170.10739712260789</c:v>
                </c:pt>
                <c:pt idx="2197">
                  <c:v>170.10739712260789</c:v>
                </c:pt>
                <c:pt idx="2198">
                  <c:v>169.89476287620462</c:v>
                </c:pt>
                <c:pt idx="2199">
                  <c:v>169.89476287620462</c:v>
                </c:pt>
                <c:pt idx="2200">
                  <c:v>169.89476287620462</c:v>
                </c:pt>
                <c:pt idx="2201">
                  <c:v>169.89476287620462</c:v>
                </c:pt>
                <c:pt idx="2202">
                  <c:v>169.89476287620462</c:v>
                </c:pt>
                <c:pt idx="2203">
                  <c:v>169.89476287620462</c:v>
                </c:pt>
                <c:pt idx="2204">
                  <c:v>169.89476287620462</c:v>
                </c:pt>
                <c:pt idx="2205">
                  <c:v>169.89476287620462</c:v>
                </c:pt>
                <c:pt idx="2206">
                  <c:v>169.89476287620462</c:v>
                </c:pt>
                <c:pt idx="2207">
                  <c:v>169.89476287620462</c:v>
                </c:pt>
                <c:pt idx="2208">
                  <c:v>169.89476287620462</c:v>
                </c:pt>
                <c:pt idx="2209">
                  <c:v>169.89476287620462</c:v>
                </c:pt>
                <c:pt idx="2210">
                  <c:v>169.89476287620462</c:v>
                </c:pt>
                <c:pt idx="2211">
                  <c:v>169.89476287620462</c:v>
                </c:pt>
                <c:pt idx="2212">
                  <c:v>169.89476287620462</c:v>
                </c:pt>
                <c:pt idx="2213">
                  <c:v>169.89476287620462</c:v>
                </c:pt>
                <c:pt idx="2214">
                  <c:v>169.89476287620462</c:v>
                </c:pt>
                <c:pt idx="2215">
                  <c:v>169.89476287620462</c:v>
                </c:pt>
                <c:pt idx="2216">
                  <c:v>169.89476287620462</c:v>
                </c:pt>
                <c:pt idx="2217">
                  <c:v>169.89476287620462</c:v>
                </c:pt>
                <c:pt idx="2218">
                  <c:v>169.89476287620462</c:v>
                </c:pt>
                <c:pt idx="2219">
                  <c:v>169.89476287620462</c:v>
                </c:pt>
                <c:pt idx="2220">
                  <c:v>169.89476287620462</c:v>
                </c:pt>
                <c:pt idx="2221">
                  <c:v>169.89476287620462</c:v>
                </c:pt>
                <c:pt idx="2222">
                  <c:v>169.89476287620462</c:v>
                </c:pt>
                <c:pt idx="2223">
                  <c:v>169.89476287620462</c:v>
                </c:pt>
                <c:pt idx="2224">
                  <c:v>167.00584712908216</c:v>
                </c:pt>
                <c:pt idx="2225">
                  <c:v>166.79708982017081</c:v>
                </c:pt>
                <c:pt idx="2226">
                  <c:v>166.5885934578956</c:v>
                </c:pt>
                <c:pt idx="2227">
                  <c:v>166.5885934578956</c:v>
                </c:pt>
                <c:pt idx="2228">
                  <c:v>166.765359997758</c:v>
                </c:pt>
                <c:pt idx="2229">
                  <c:v>166.55690329776081</c:v>
                </c:pt>
                <c:pt idx="2230">
                  <c:v>166.34870716863861</c:v>
                </c:pt>
                <c:pt idx="2231">
                  <c:v>166.5682870991059</c:v>
                </c:pt>
                <c:pt idx="2232">
                  <c:v>166.36007674023202</c:v>
                </c:pt>
                <c:pt idx="2233">
                  <c:v>166.15212664430672</c:v>
                </c:pt>
                <c:pt idx="2234">
                  <c:v>166.15212664430672</c:v>
                </c:pt>
                <c:pt idx="2235">
                  <c:v>166.15212664430672</c:v>
                </c:pt>
                <c:pt idx="2236">
                  <c:v>166.15212664430672</c:v>
                </c:pt>
                <c:pt idx="2237">
                  <c:v>166.15212664430672</c:v>
                </c:pt>
                <c:pt idx="2238">
                  <c:v>166.15212664430672</c:v>
                </c:pt>
                <c:pt idx="2239">
                  <c:v>166.15212664430672</c:v>
                </c:pt>
                <c:pt idx="2240">
                  <c:v>166.15212664430672</c:v>
                </c:pt>
                <c:pt idx="2241">
                  <c:v>166.15212664430672</c:v>
                </c:pt>
                <c:pt idx="2242">
                  <c:v>166.15212664430672</c:v>
                </c:pt>
                <c:pt idx="2243">
                  <c:v>166.15212664430672</c:v>
                </c:pt>
                <c:pt idx="2244">
                  <c:v>166.15212664430672</c:v>
                </c:pt>
                <c:pt idx="2245">
                  <c:v>166.15212664430672</c:v>
                </c:pt>
                <c:pt idx="2246">
                  <c:v>166.15212664430672</c:v>
                </c:pt>
                <c:pt idx="2247">
                  <c:v>166.15212664430672</c:v>
                </c:pt>
                <c:pt idx="2248">
                  <c:v>166.15212664430672</c:v>
                </c:pt>
                <c:pt idx="2249">
                  <c:v>166.15212664430672</c:v>
                </c:pt>
                <c:pt idx="2250">
                  <c:v>166.15212664430672</c:v>
                </c:pt>
                <c:pt idx="2251">
                  <c:v>166.15212664430672</c:v>
                </c:pt>
                <c:pt idx="2252">
                  <c:v>166.15212664430672</c:v>
                </c:pt>
                <c:pt idx="2253">
                  <c:v>166.15212664430672</c:v>
                </c:pt>
                <c:pt idx="2254">
                  <c:v>164.73571508981109</c:v>
                </c:pt>
                <c:pt idx="2255">
                  <c:v>164.52979544594882</c:v>
                </c:pt>
                <c:pt idx="2256">
                  <c:v>164.32413320164139</c:v>
                </c:pt>
                <c:pt idx="2257">
                  <c:v>164.32413320164139</c:v>
                </c:pt>
                <c:pt idx="2258">
                  <c:v>164.32413320164139</c:v>
                </c:pt>
                <c:pt idx="2259">
                  <c:v>164.32413320164139</c:v>
                </c:pt>
                <c:pt idx="2260">
                  <c:v>160.85234639470835</c:v>
                </c:pt>
                <c:pt idx="2261">
                  <c:v>160.65128096171497</c:v>
                </c:pt>
                <c:pt idx="2262">
                  <c:v>160.45046686051285</c:v>
                </c:pt>
                <c:pt idx="2263">
                  <c:v>160.45046686051285</c:v>
                </c:pt>
                <c:pt idx="2264">
                  <c:v>160.45046686051285</c:v>
                </c:pt>
                <c:pt idx="2265">
                  <c:v>160.45046686051285</c:v>
                </c:pt>
                <c:pt idx="2266">
                  <c:v>160.45046686051285</c:v>
                </c:pt>
                <c:pt idx="2267">
                  <c:v>163.46605074582507</c:v>
                </c:pt>
                <c:pt idx="2268">
                  <c:v>163.2617181823928</c:v>
                </c:pt>
                <c:pt idx="2269">
                  <c:v>163.05764103466481</c:v>
                </c:pt>
                <c:pt idx="2270">
                  <c:v>163.05764103466481</c:v>
                </c:pt>
                <c:pt idx="2271">
                  <c:v>163.05764103466481</c:v>
                </c:pt>
                <c:pt idx="2272">
                  <c:v>163.05764103466481</c:v>
                </c:pt>
                <c:pt idx="2273">
                  <c:v>163.05764103466481</c:v>
                </c:pt>
                <c:pt idx="2274">
                  <c:v>163.05764103466481</c:v>
                </c:pt>
                <c:pt idx="2275">
                  <c:v>163.05764103466481</c:v>
                </c:pt>
                <c:pt idx="2276">
                  <c:v>163.05764103466481</c:v>
                </c:pt>
                <c:pt idx="2277">
                  <c:v>163.05764103466481</c:v>
                </c:pt>
                <c:pt idx="2278">
                  <c:v>163.05764103466481</c:v>
                </c:pt>
                <c:pt idx="2279">
                  <c:v>163.05764103466481</c:v>
                </c:pt>
                <c:pt idx="2280">
                  <c:v>163.05764103466481</c:v>
                </c:pt>
                <c:pt idx="2281">
                  <c:v>163.05764103466481</c:v>
                </c:pt>
                <c:pt idx="2282">
                  <c:v>163.05764103466481</c:v>
                </c:pt>
                <c:pt idx="2283">
                  <c:v>163.05764103466481</c:v>
                </c:pt>
                <c:pt idx="2284">
                  <c:v>163.05764103466481</c:v>
                </c:pt>
                <c:pt idx="2285">
                  <c:v>163.05764103466481</c:v>
                </c:pt>
                <c:pt idx="2286">
                  <c:v>163.05764103466481</c:v>
                </c:pt>
                <c:pt idx="2287">
                  <c:v>163.05764103466481</c:v>
                </c:pt>
                <c:pt idx="2288">
                  <c:v>163.05764103466481</c:v>
                </c:pt>
                <c:pt idx="2289">
                  <c:v>163.05764103466481</c:v>
                </c:pt>
                <c:pt idx="2290">
                  <c:v>163.05764103466481</c:v>
                </c:pt>
                <c:pt idx="2291">
                  <c:v>163.05764103466481</c:v>
                </c:pt>
                <c:pt idx="2292">
                  <c:v>163.05764103466481</c:v>
                </c:pt>
                <c:pt idx="2293">
                  <c:v>163.05764103466481</c:v>
                </c:pt>
                <c:pt idx="2294">
                  <c:v>163.05764103466481</c:v>
                </c:pt>
                <c:pt idx="2295">
                  <c:v>163.05764103466481</c:v>
                </c:pt>
                <c:pt idx="2296">
                  <c:v>163.05764103466481</c:v>
                </c:pt>
                <c:pt idx="2297">
                  <c:v>163.05764103466481</c:v>
                </c:pt>
                <c:pt idx="2298">
                  <c:v>163.05764103466481</c:v>
                </c:pt>
                <c:pt idx="2299">
                  <c:v>163.05764103466481</c:v>
                </c:pt>
                <c:pt idx="2300">
                  <c:v>163.05764103466481</c:v>
                </c:pt>
                <c:pt idx="2301">
                  <c:v>163.05764103466481</c:v>
                </c:pt>
                <c:pt idx="2302">
                  <c:v>163.05764103466481</c:v>
                </c:pt>
                <c:pt idx="2303">
                  <c:v>163.05764103466481</c:v>
                </c:pt>
                <c:pt idx="2304">
                  <c:v>163.05764103466481</c:v>
                </c:pt>
                <c:pt idx="2305">
                  <c:v>163.05764103466481</c:v>
                </c:pt>
                <c:pt idx="2306">
                  <c:v>163.05764103466481</c:v>
                </c:pt>
                <c:pt idx="2307">
                  <c:v>163.05764103466481</c:v>
                </c:pt>
                <c:pt idx="2308">
                  <c:v>163.05764103466481</c:v>
                </c:pt>
                <c:pt idx="2309">
                  <c:v>163.05764103466481</c:v>
                </c:pt>
                <c:pt idx="2310">
                  <c:v>163.05764103466481</c:v>
                </c:pt>
                <c:pt idx="2311">
                  <c:v>163.05764103466481</c:v>
                </c:pt>
                <c:pt idx="2312">
                  <c:v>163.05764103466481</c:v>
                </c:pt>
                <c:pt idx="2313">
                  <c:v>163.05764103466481</c:v>
                </c:pt>
                <c:pt idx="2314">
                  <c:v>163.05764103466481</c:v>
                </c:pt>
                <c:pt idx="2315">
                  <c:v>163.05764103466481</c:v>
                </c:pt>
                <c:pt idx="2316">
                  <c:v>163.05764103466481</c:v>
                </c:pt>
                <c:pt idx="2317">
                  <c:v>163.05764103466481</c:v>
                </c:pt>
                <c:pt idx="2318">
                  <c:v>163.05764103466481</c:v>
                </c:pt>
                <c:pt idx="2319">
                  <c:v>163.05764103466481</c:v>
                </c:pt>
                <c:pt idx="2320">
                  <c:v>163.05764103466481</c:v>
                </c:pt>
                <c:pt idx="2321">
                  <c:v>163.05764103466481</c:v>
                </c:pt>
                <c:pt idx="2322">
                  <c:v>163.05764103466481</c:v>
                </c:pt>
                <c:pt idx="2323">
                  <c:v>163.05764103466481</c:v>
                </c:pt>
                <c:pt idx="2324">
                  <c:v>163.05764103466481</c:v>
                </c:pt>
                <c:pt idx="2325">
                  <c:v>162.71016499762874</c:v>
                </c:pt>
                <c:pt idx="2326">
                  <c:v>167.64086480686399</c:v>
                </c:pt>
                <c:pt idx="2327">
                  <c:v>167.64086480686399</c:v>
                </c:pt>
                <c:pt idx="2328">
                  <c:v>167.4313137258554</c:v>
                </c:pt>
                <c:pt idx="2329">
                  <c:v>167.4313137258554</c:v>
                </c:pt>
                <c:pt idx="2330">
                  <c:v>167.4313137258554</c:v>
                </c:pt>
                <c:pt idx="2331">
                  <c:v>167.4313137258554</c:v>
                </c:pt>
                <c:pt idx="2332">
                  <c:v>167.4313137258554</c:v>
                </c:pt>
                <c:pt idx="2333">
                  <c:v>167.4313137258554</c:v>
                </c:pt>
                <c:pt idx="2334">
                  <c:v>167.37194536261677</c:v>
                </c:pt>
                <c:pt idx="2335">
                  <c:v>167.16273043091351</c:v>
                </c:pt>
                <c:pt idx="2336">
                  <c:v>166.95377701787487</c:v>
                </c:pt>
                <c:pt idx="2337">
                  <c:v>166.95377701787487</c:v>
                </c:pt>
                <c:pt idx="2338">
                  <c:v>166.95377701787487</c:v>
                </c:pt>
                <c:pt idx="2339">
                  <c:v>166.95377701787487</c:v>
                </c:pt>
                <c:pt idx="2340">
                  <c:v>166.95377701787487</c:v>
                </c:pt>
                <c:pt idx="2341">
                  <c:v>166.95377701787487</c:v>
                </c:pt>
                <c:pt idx="2342">
                  <c:v>166.95377701787487</c:v>
                </c:pt>
                <c:pt idx="2343">
                  <c:v>166.95377701787487</c:v>
                </c:pt>
                <c:pt idx="2344">
                  <c:v>166.95377701787487</c:v>
                </c:pt>
                <c:pt idx="2345">
                  <c:v>166.95377701787487</c:v>
                </c:pt>
                <c:pt idx="2346">
                  <c:v>166.95377701787487</c:v>
                </c:pt>
                <c:pt idx="2347">
                  <c:v>166.95377701787487</c:v>
                </c:pt>
                <c:pt idx="2348">
                  <c:v>166.95377701787487</c:v>
                </c:pt>
                <c:pt idx="2349">
                  <c:v>166.95377701787487</c:v>
                </c:pt>
                <c:pt idx="2350">
                  <c:v>166.95377701787487</c:v>
                </c:pt>
                <c:pt idx="2351">
                  <c:v>166.95377701787487</c:v>
                </c:pt>
                <c:pt idx="2352">
                  <c:v>166.95377701787487</c:v>
                </c:pt>
                <c:pt idx="2353">
                  <c:v>166.95377701787487</c:v>
                </c:pt>
                <c:pt idx="2354">
                  <c:v>166.95377701787487</c:v>
                </c:pt>
                <c:pt idx="2355">
                  <c:v>166.95377701787487</c:v>
                </c:pt>
                <c:pt idx="2356">
                  <c:v>166.95377701787487</c:v>
                </c:pt>
                <c:pt idx="2357">
                  <c:v>166.95377701787487</c:v>
                </c:pt>
                <c:pt idx="2358">
                  <c:v>166.95377701787487</c:v>
                </c:pt>
                <c:pt idx="2359">
                  <c:v>166.95377701787487</c:v>
                </c:pt>
                <c:pt idx="2360">
                  <c:v>166.88611661098452</c:v>
                </c:pt>
                <c:pt idx="2361">
                  <c:v>166.70144521171065</c:v>
                </c:pt>
                <c:pt idx="2362">
                  <c:v>167.66182658543755</c:v>
                </c:pt>
                <c:pt idx="2363">
                  <c:v>167.66182658543755</c:v>
                </c:pt>
                <c:pt idx="2364">
                  <c:v>166.99908044353023</c:v>
                </c:pt>
                <c:pt idx="2365">
                  <c:v>166.79033159297583</c:v>
                </c:pt>
                <c:pt idx="2366">
                  <c:v>166.5818436784846</c:v>
                </c:pt>
                <c:pt idx="2367">
                  <c:v>166.5818436784846</c:v>
                </c:pt>
                <c:pt idx="2368">
                  <c:v>166.5818436784846</c:v>
                </c:pt>
                <c:pt idx="2369">
                  <c:v>165.31334280688009</c:v>
                </c:pt>
                <c:pt idx="2370">
                  <c:v>165.1067011283715</c:v>
                </c:pt>
                <c:pt idx="2371">
                  <c:v>164.90031775196104</c:v>
                </c:pt>
                <c:pt idx="2372">
                  <c:v>164.90031775196104</c:v>
                </c:pt>
                <c:pt idx="2373">
                  <c:v>164.90031775196104</c:v>
                </c:pt>
                <c:pt idx="2374">
                  <c:v>164.90031775196104</c:v>
                </c:pt>
                <c:pt idx="2375">
                  <c:v>164.90031775196104</c:v>
                </c:pt>
                <c:pt idx="2376">
                  <c:v>164.90031775196104</c:v>
                </c:pt>
                <c:pt idx="2377">
                  <c:v>164.90031775196104</c:v>
                </c:pt>
                <c:pt idx="2378">
                  <c:v>164.90031775196104</c:v>
                </c:pt>
                <c:pt idx="2379">
                  <c:v>164.90031775196104</c:v>
                </c:pt>
                <c:pt idx="2380">
                  <c:v>164.90031775196104</c:v>
                </c:pt>
                <c:pt idx="2381">
                  <c:v>164.90031775196104</c:v>
                </c:pt>
                <c:pt idx="2382">
                  <c:v>164.90031775196104</c:v>
                </c:pt>
                <c:pt idx="2383">
                  <c:v>164.90031775196104</c:v>
                </c:pt>
                <c:pt idx="2384">
                  <c:v>164.90031775196104</c:v>
                </c:pt>
                <c:pt idx="2385">
                  <c:v>164.90031775196104</c:v>
                </c:pt>
                <c:pt idx="2386">
                  <c:v>164.90031775196104</c:v>
                </c:pt>
                <c:pt idx="2387">
                  <c:v>164.90031775196104</c:v>
                </c:pt>
                <c:pt idx="2388">
                  <c:v>164.90031775196104</c:v>
                </c:pt>
                <c:pt idx="2389">
                  <c:v>164.90031775196104</c:v>
                </c:pt>
                <c:pt idx="2390">
                  <c:v>164.90031775196104</c:v>
                </c:pt>
                <c:pt idx="2391">
                  <c:v>164.90031775196104</c:v>
                </c:pt>
                <c:pt idx="2392">
                  <c:v>164.90031775196104</c:v>
                </c:pt>
                <c:pt idx="2393">
                  <c:v>164.90031775196104</c:v>
                </c:pt>
                <c:pt idx="2394">
                  <c:v>164.90031775196104</c:v>
                </c:pt>
                <c:pt idx="2395">
                  <c:v>164.90031775196104</c:v>
                </c:pt>
                <c:pt idx="2396">
                  <c:v>164.90031775196104</c:v>
                </c:pt>
                <c:pt idx="2397">
                  <c:v>164.90031775196104</c:v>
                </c:pt>
                <c:pt idx="2398">
                  <c:v>164.90031775196104</c:v>
                </c:pt>
                <c:pt idx="2399">
                  <c:v>164.90031775196104</c:v>
                </c:pt>
                <c:pt idx="2400">
                  <c:v>164.90031775196104</c:v>
                </c:pt>
                <c:pt idx="2401">
                  <c:v>164.90031775196104</c:v>
                </c:pt>
                <c:pt idx="2402">
                  <c:v>164.90031775196104</c:v>
                </c:pt>
                <c:pt idx="2403">
                  <c:v>164.90031775196104</c:v>
                </c:pt>
                <c:pt idx="2404">
                  <c:v>164.90031775196104</c:v>
                </c:pt>
                <c:pt idx="2405">
                  <c:v>164.90031775196104</c:v>
                </c:pt>
                <c:pt idx="2406">
                  <c:v>164.90031775196104</c:v>
                </c:pt>
                <c:pt idx="2407">
                  <c:v>164.90031775196104</c:v>
                </c:pt>
                <c:pt idx="2408">
                  <c:v>164.90031775196104</c:v>
                </c:pt>
                <c:pt idx="2409">
                  <c:v>164.90031775196104</c:v>
                </c:pt>
                <c:pt idx="2410">
                  <c:v>164.90031775196104</c:v>
                </c:pt>
                <c:pt idx="2411">
                  <c:v>164.90031775196104</c:v>
                </c:pt>
                <c:pt idx="2412">
                  <c:v>164.90031775196104</c:v>
                </c:pt>
                <c:pt idx="2413">
                  <c:v>164.90031775196104</c:v>
                </c:pt>
                <c:pt idx="2414">
                  <c:v>164.90031775196104</c:v>
                </c:pt>
                <c:pt idx="2415">
                  <c:v>164.90031775196104</c:v>
                </c:pt>
                <c:pt idx="2416">
                  <c:v>164.90031775196104</c:v>
                </c:pt>
                <c:pt idx="2417">
                  <c:v>164.90031775196104</c:v>
                </c:pt>
                <c:pt idx="2418">
                  <c:v>164.90031775196104</c:v>
                </c:pt>
                <c:pt idx="2419">
                  <c:v>164.90031775196104</c:v>
                </c:pt>
                <c:pt idx="2420">
                  <c:v>164.90031775196104</c:v>
                </c:pt>
                <c:pt idx="2421">
                  <c:v>164.90031775196104</c:v>
                </c:pt>
                <c:pt idx="2422">
                  <c:v>164.90031775196104</c:v>
                </c:pt>
                <c:pt idx="2423">
                  <c:v>164.90031775196104</c:v>
                </c:pt>
                <c:pt idx="2424">
                  <c:v>173.21176581315603</c:v>
                </c:pt>
                <c:pt idx="2425">
                  <c:v>172.99525110588959</c:v>
                </c:pt>
                <c:pt idx="2426">
                  <c:v>172.77900704200724</c:v>
                </c:pt>
                <c:pt idx="2427">
                  <c:v>172.77900704200724</c:v>
                </c:pt>
                <c:pt idx="2428">
                  <c:v>172.77900704200724</c:v>
                </c:pt>
                <c:pt idx="2429">
                  <c:v>172.77900704200724</c:v>
                </c:pt>
                <c:pt idx="2430">
                  <c:v>172.77900704200724</c:v>
                </c:pt>
                <c:pt idx="2431">
                  <c:v>162.58105178417415</c:v>
                </c:pt>
                <c:pt idx="2432">
                  <c:v>162.37782546944393</c:v>
                </c:pt>
                <c:pt idx="2433">
                  <c:v>162.17485318760714</c:v>
                </c:pt>
                <c:pt idx="2434">
                  <c:v>162.17485318760714</c:v>
                </c:pt>
                <c:pt idx="2435">
                  <c:v>162.17485318760714</c:v>
                </c:pt>
                <c:pt idx="2436">
                  <c:v>162.17485318760714</c:v>
                </c:pt>
                <c:pt idx="2437">
                  <c:v>162.17485318760714</c:v>
                </c:pt>
                <c:pt idx="2438">
                  <c:v>162.17485318760714</c:v>
                </c:pt>
                <c:pt idx="2439">
                  <c:v>162.17485318760714</c:v>
                </c:pt>
                <c:pt idx="2440">
                  <c:v>162.17485318760714</c:v>
                </c:pt>
                <c:pt idx="2441">
                  <c:v>162.17485318760714</c:v>
                </c:pt>
                <c:pt idx="2442">
                  <c:v>162.17485318760714</c:v>
                </c:pt>
                <c:pt idx="2443">
                  <c:v>162.17485318760714</c:v>
                </c:pt>
                <c:pt idx="2444">
                  <c:v>162.17485318760714</c:v>
                </c:pt>
                <c:pt idx="2445">
                  <c:v>162.17485318760714</c:v>
                </c:pt>
                <c:pt idx="2446">
                  <c:v>162.17485318760714</c:v>
                </c:pt>
                <c:pt idx="2447">
                  <c:v>162.17485318760714</c:v>
                </c:pt>
                <c:pt idx="2448">
                  <c:v>162.17485318760714</c:v>
                </c:pt>
                <c:pt idx="2449">
                  <c:v>162.17485318760714</c:v>
                </c:pt>
                <c:pt idx="2450">
                  <c:v>162.17485318760714</c:v>
                </c:pt>
                <c:pt idx="2451">
                  <c:v>162.17485318760714</c:v>
                </c:pt>
                <c:pt idx="2452">
                  <c:v>162.17485318760714</c:v>
                </c:pt>
                <c:pt idx="2453">
                  <c:v>162.17485318760714</c:v>
                </c:pt>
                <c:pt idx="2454">
                  <c:v>162.17485318760714</c:v>
                </c:pt>
                <c:pt idx="2455">
                  <c:v>162.17485318760714</c:v>
                </c:pt>
                <c:pt idx="2456">
                  <c:v>162.17485318760714</c:v>
                </c:pt>
                <c:pt idx="2457">
                  <c:v>162.17485318760714</c:v>
                </c:pt>
                <c:pt idx="2458">
                  <c:v>162.17485318760714</c:v>
                </c:pt>
                <c:pt idx="2459">
                  <c:v>162.17485318760714</c:v>
                </c:pt>
                <c:pt idx="2460">
                  <c:v>162.17485318760714</c:v>
                </c:pt>
                <c:pt idx="2461">
                  <c:v>162.17485318760714</c:v>
                </c:pt>
                <c:pt idx="2462">
                  <c:v>162.17485318760714</c:v>
                </c:pt>
                <c:pt idx="2463">
                  <c:v>162.17485318760714</c:v>
                </c:pt>
                <c:pt idx="2464">
                  <c:v>162.17485318760714</c:v>
                </c:pt>
                <c:pt idx="2465">
                  <c:v>162.17485318760714</c:v>
                </c:pt>
                <c:pt idx="2466">
                  <c:v>162.17485318760714</c:v>
                </c:pt>
                <c:pt idx="2467">
                  <c:v>162.17485318760714</c:v>
                </c:pt>
                <c:pt idx="2468">
                  <c:v>162.17485318760714</c:v>
                </c:pt>
                <c:pt idx="2469">
                  <c:v>162.17485318760714</c:v>
                </c:pt>
                <c:pt idx="2470">
                  <c:v>162.17485318760714</c:v>
                </c:pt>
                <c:pt idx="2471">
                  <c:v>162.17485318760714</c:v>
                </c:pt>
                <c:pt idx="2472">
                  <c:v>162.17485318760714</c:v>
                </c:pt>
                <c:pt idx="2473">
                  <c:v>162.17485318760714</c:v>
                </c:pt>
                <c:pt idx="2474">
                  <c:v>162.17485318760714</c:v>
                </c:pt>
                <c:pt idx="2475">
                  <c:v>162.17485318760714</c:v>
                </c:pt>
                <c:pt idx="2476">
                  <c:v>162.17485318760714</c:v>
                </c:pt>
                <c:pt idx="2477">
                  <c:v>162.17485318760714</c:v>
                </c:pt>
                <c:pt idx="2478">
                  <c:v>162.17485318760714</c:v>
                </c:pt>
                <c:pt idx="2479">
                  <c:v>162.17485318760714</c:v>
                </c:pt>
                <c:pt idx="2480">
                  <c:v>162.82079686347421</c:v>
                </c:pt>
                <c:pt idx="2481">
                  <c:v>155.25577478222584</c:v>
                </c:pt>
                <c:pt idx="2482">
                  <c:v>155.25577478222584</c:v>
                </c:pt>
                <c:pt idx="2483">
                  <c:v>155.06170506374806</c:v>
                </c:pt>
                <c:pt idx="2484">
                  <c:v>155.06170506374806</c:v>
                </c:pt>
                <c:pt idx="2485">
                  <c:v>155.06170506374806</c:v>
                </c:pt>
                <c:pt idx="2486">
                  <c:v>155.06170506374806</c:v>
                </c:pt>
                <c:pt idx="2487">
                  <c:v>155.06170506374806</c:v>
                </c:pt>
                <c:pt idx="2488">
                  <c:v>155.06170506374806</c:v>
                </c:pt>
                <c:pt idx="2489">
                  <c:v>155.06170506374806</c:v>
                </c:pt>
                <c:pt idx="2490">
                  <c:v>155.06170506374806</c:v>
                </c:pt>
                <c:pt idx="2491">
                  <c:v>155.06170506374806</c:v>
                </c:pt>
                <c:pt idx="2492">
                  <c:v>155.06170506374806</c:v>
                </c:pt>
                <c:pt idx="2493">
                  <c:v>166.85980802920426</c:v>
                </c:pt>
                <c:pt idx="2494">
                  <c:v>166.65123326916776</c:v>
                </c:pt>
                <c:pt idx="2495">
                  <c:v>166.44291922758131</c:v>
                </c:pt>
                <c:pt idx="2496">
                  <c:v>166.44291922758131</c:v>
                </c:pt>
                <c:pt idx="2497">
                  <c:v>166.44291922758131</c:v>
                </c:pt>
                <c:pt idx="2498">
                  <c:v>166.44291922758131</c:v>
                </c:pt>
                <c:pt idx="2499">
                  <c:v>166.44291922758131</c:v>
                </c:pt>
                <c:pt idx="2500">
                  <c:v>166.44291922758131</c:v>
                </c:pt>
                <c:pt idx="2501">
                  <c:v>166.44291922758131</c:v>
                </c:pt>
                <c:pt idx="2502">
                  <c:v>166.44291922758131</c:v>
                </c:pt>
                <c:pt idx="2503">
                  <c:v>166.44291922758131</c:v>
                </c:pt>
                <c:pt idx="2504">
                  <c:v>166.44291922758131</c:v>
                </c:pt>
                <c:pt idx="2505">
                  <c:v>166.44291922758131</c:v>
                </c:pt>
                <c:pt idx="2506">
                  <c:v>166.44291922758131</c:v>
                </c:pt>
                <c:pt idx="2507">
                  <c:v>166.44291922758131</c:v>
                </c:pt>
                <c:pt idx="2508">
                  <c:v>166.44291922758131</c:v>
                </c:pt>
                <c:pt idx="2509">
                  <c:v>166.44291922758131</c:v>
                </c:pt>
                <c:pt idx="2510">
                  <c:v>166.44291922758131</c:v>
                </c:pt>
                <c:pt idx="2511">
                  <c:v>166.44291922758131</c:v>
                </c:pt>
                <c:pt idx="2512">
                  <c:v>166.44291922758131</c:v>
                </c:pt>
                <c:pt idx="2513">
                  <c:v>166.44291922758131</c:v>
                </c:pt>
                <c:pt idx="2514">
                  <c:v>166.44291922758131</c:v>
                </c:pt>
                <c:pt idx="2515">
                  <c:v>166.44291922758131</c:v>
                </c:pt>
                <c:pt idx="2516">
                  <c:v>166.44291922758131</c:v>
                </c:pt>
                <c:pt idx="2517">
                  <c:v>166.44291922758131</c:v>
                </c:pt>
                <c:pt idx="2518">
                  <c:v>166.44291922758131</c:v>
                </c:pt>
                <c:pt idx="2519">
                  <c:v>166.44291922758131</c:v>
                </c:pt>
                <c:pt idx="2520">
                  <c:v>166.44291922758131</c:v>
                </c:pt>
                <c:pt idx="2521">
                  <c:v>166.44291922758131</c:v>
                </c:pt>
                <c:pt idx="2522">
                  <c:v>166.44291922758131</c:v>
                </c:pt>
                <c:pt idx="2523">
                  <c:v>166.44291922758131</c:v>
                </c:pt>
                <c:pt idx="2524">
                  <c:v>166.44291922758131</c:v>
                </c:pt>
                <c:pt idx="2525">
                  <c:v>166.44291922758131</c:v>
                </c:pt>
                <c:pt idx="2526">
                  <c:v>166.44291922758131</c:v>
                </c:pt>
                <c:pt idx="2527">
                  <c:v>166.44291922758131</c:v>
                </c:pt>
                <c:pt idx="2528">
                  <c:v>166.44291922758131</c:v>
                </c:pt>
                <c:pt idx="2529">
                  <c:v>166.44291922758131</c:v>
                </c:pt>
                <c:pt idx="2530">
                  <c:v>166.44291922758131</c:v>
                </c:pt>
                <c:pt idx="2531">
                  <c:v>166.44291922758131</c:v>
                </c:pt>
                <c:pt idx="2532">
                  <c:v>167.30426617304215</c:v>
                </c:pt>
                <c:pt idx="2533">
                  <c:v>177.59014972021322</c:v>
                </c:pt>
                <c:pt idx="2534">
                  <c:v>177.59014972021322</c:v>
                </c:pt>
                <c:pt idx="2535">
                  <c:v>177.36816203306296</c:v>
                </c:pt>
                <c:pt idx="2536">
                  <c:v>177.36816203306296</c:v>
                </c:pt>
                <c:pt idx="2537">
                  <c:v>177.36816203306296</c:v>
                </c:pt>
                <c:pt idx="2538">
                  <c:v>177.36816203306296</c:v>
                </c:pt>
                <c:pt idx="2539">
                  <c:v>177.36816203306296</c:v>
                </c:pt>
                <c:pt idx="2540">
                  <c:v>177.36816203306296</c:v>
                </c:pt>
                <c:pt idx="2541">
                  <c:v>177.36816203306296</c:v>
                </c:pt>
                <c:pt idx="2542">
                  <c:v>177.36816203306296</c:v>
                </c:pt>
                <c:pt idx="2543">
                  <c:v>177.36816203306296</c:v>
                </c:pt>
                <c:pt idx="2544">
                  <c:v>177.36816203306296</c:v>
                </c:pt>
                <c:pt idx="2545">
                  <c:v>177.36816203306296</c:v>
                </c:pt>
                <c:pt idx="2546">
                  <c:v>177.36816203306296</c:v>
                </c:pt>
                <c:pt idx="2547">
                  <c:v>177.36816203306296</c:v>
                </c:pt>
                <c:pt idx="2548">
                  <c:v>177.36816203306296</c:v>
                </c:pt>
                <c:pt idx="2549">
                  <c:v>177.36816203306296</c:v>
                </c:pt>
                <c:pt idx="2550">
                  <c:v>177.36816203306296</c:v>
                </c:pt>
                <c:pt idx="2551">
                  <c:v>177.36816203306296</c:v>
                </c:pt>
                <c:pt idx="2552">
                  <c:v>177.36816203306296</c:v>
                </c:pt>
                <c:pt idx="2553">
                  <c:v>177.36816203306296</c:v>
                </c:pt>
                <c:pt idx="2554">
                  <c:v>177.81164367738137</c:v>
                </c:pt>
                <c:pt idx="2555">
                  <c:v>177.58937912278464</c:v>
                </c:pt>
                <c:pt idx="2556">
                  <c:v>177.36739239888115</c:v>
                </c:pt>
                <c:pt idx="2557">
                  <c:v>177.36739239888115</c:v>
                </c:pt>
                <c:pt idx="2558">
                  <c:v>177.36739239888115</c:v>
                </c:pt>
                <c:pt idx="2559">
                  <c:v>177.36739239888115</c:v>
                </c:pt>
                <c:pt idx="2560">
                  <c:v>177.36739239888115</c:v>
                </c:pt>
                <c:pt idx="2561">
                  <c:v>177.36739239888115</c:v>
                </c:pt>
                <c:pt idx="2562">
                  <c:v>177.36739239888115</c:v>
                </c:pt>
                <c:pt idx="2563">
                  <c:v>177.36739239888115</c:v>
                </c:pt>
                <c:pt idx="2564">
                  <c:v>177.36739239888115</c:v>
                </c:pt>
                <c:pt idx="2565">
                  <c:v>177.36739239888115</c:v>
                </c:pt>
                <c:pt idx="2566">
                  <c:v>177.36739239888115</c:v>
                </c:pt>
                <c:pt idx="2567">
                  <c:v>177.36739239888115</c:v>
                </c:pt>
                <c:pt idx="2568">
                  <c:v>177.36739239888115</c:v>
                </c:pt>
                <c:pt idx="2569">
                  <c:v>177.36739239888115</c:v>
                </c:pt>
                <c:pt idx="2570">
                  <c:v>177.36739239888115</c:v>
                </c:pt>
                <c:pt idx="2571">
                  <c:v>177.36739239888115</c:v>
                </c:pt>
                <c:pt idx="2572">
                  <c:v>177.36739239888115</c:v>
                </c:pt>
                <c:pt idx="2573">
                  <c:v>177.36739239888115</c:v>
                </c:pt>
                <c:pt idx="2574">
                  <c:v>177.36739239888115</c:v>
                </c:pt>
                <c:pt idx="2575">
                  <c:v>177.36739239888115</c:v>
                </c:pt>
                <c:pt idx="2576">
                  <c:v>177.36739239888115</c:v>
                </c:pt>
                <c:pt idx="2577">
                  <c:v>177.36739239888115</c:v>
                </c:pt>
                <c:pt idx="2578">
                  <c:v>177.36739239888115</c:v>
                </c:pt>
                <c:pt idx="2579">
                  <c:v>177.36739239888115</c:v>
                </c:pt>
                <c:pt idx="2580">
                  <c:v>177.36739239888115</c:v>
                </c:pt>
                <c:pt idx="2581">
                  <c:v>177.36739239888115</c:v>
                </c:pt>
                <c:pt idx="2582">
                  <c:v>177.36739239888115</c:v>
                </c:pt>
                <c:pt idx="2583">
                  <c:v>177.36739239888115</c:v>
                </c:pt>
                <c:pt idx="2584">
                  <c:v>177.36739239888115</c:v>
                </c:pt>
                <c:pt idx="2585">
                  <c:v>177.36739239888115</c:v>
                </c:pt>
                <c:pt idx="2586">
                  <c:v>177.36739239888115</c:v>
                </c:pt>
                <c:pt idx="2587">
                  <c:v>177.36739239888115</c:v>
                </c:pt>
                <c:pt idx="2588">
                  <c:v>177.36739239888115</c:v>
                </c:pt>
                <c:pt idx="2589">
                  <c:v>177.36739239888115</c:v>
                </c:pt>
                <c:pt idx="2590">
                  <c:v>177.36739239888115</c:v>
                </c:pt>
                <c:pt idx="2591">
                  <c:v>177.36739239888115</c:v>
                </c:pt>
                <c:pt idx="2592">
                  <c:v>177.36739239888115</c:v>
                </c:pt>
                <c:pt idx="2593">
                  <c:v>177.36739239888115</c:v>
                </c:pt>
                <c:pt idx="2594">
                  <c:v>177.36739239888115</c:v>
                </c:pt>
                <c:pt idx="2595">
                  <c:v>177.36739239888115</c:v>
                </c:pt>
                <c:pt idx="2596">
                  <c:v>177.36739239888115</c:v>
                </c:pt>
                <c:pt idx="2597">
                  <c:v>177.36739239888115</c:v>
                </c:pt>
                <c:pt idx="2598">
                  <c:v>177.36739239888115</c:v>
                </c:pt>
                <c:pt idx="2599">
                  <c:v>175.95541665518996</c:v>
                </c:pt>
                <c:pt idx="2600">
                  <c:v>175.73547238437098</c:v>
                </c:pt>
                <c:pt idx="2601">
                  <c:v>175.51580304389051</c:v>
                </c:pt>
                <c:pt idx="2602">
                  <c:v>175.51580304389051</c:v>
                </c:pt>
                <c:pt idx="2603">
                  <c:v>175.51580304389051</c:v>
                </c:pt>
                <c:pt idx="2604">
                  <c:v>175.42540934726244</c:v>
                </c:pt>
                <c:pt idx="2605">
                  <c:v>175.20612758557837</c:v>
                </c:pt>
                <c:pt idx="2606">
                  <c:v>174.9871199260964</c:v>
                </c:pt>
                <c:pt idx="2607">
                  <c:v>174.9871199260964</c:v>
                </c:pt>
                <c:pt idx="2608">
                  <c:v>174.9871199260964</c:v>
                </c:pt>
                <c:pt idx="2609">
                  <c:v>174.9871199260964</c:v>
                </c:pt>
                <c:pt idx="2610">
                  <c:v>174.9871199260964</c:v>
                </c:pt>
                <c:pt idx="2611">
                  <c:v>174.9871199260964</c:v>
                </c:pt>
                <c:pt idx="2612">
                  <c:v>174.9871199260964</c:v>
                </c:pt>
                <c:pt idx="2613">
                  <c:v>174.9871199260964</c:v>
                </c:pt>
                <c:pt idx="2614">
                  <c:v>174.9871199260964</c:v>
                </c:pt>
                <c:pt idx="2615">
                  <c:v>174.9871199260964</c:v>
                </c:pt>
                <c:pt idx="2616">
                  <c:v>174.9871199260964</c:v>
                </c:pt>
                <c:pt idx="2617">
                  <c:v>174.9871199260964</c:v>
                </c:pt>
                <c:pt idx="2618">
                  <c:v>174.9871199260964</c:v>
                </c:pt>
                <c:pt idx="2619">
                  <c:v>174.9871199260964</c:v>
                </c:pt>
                <c:pt idx="2620">
                  <c:v>174.9871199260964</c:v>
                </c:pt>
                <c:pt idx="2621">
                  <c:v>174.9871199260964</c:v>
                </c:pt>
                <c:pt idx="2622">
                  <c:v>174.9871199260964</c:v>
                </c:pt>
                <c:pt idx="2623">
                  <c:v>174.9871199260964</c:v>
                </c:pt>
                <c:pt idx="2624">
                  <c:v>174.9871199260964</c:v>
                </c:pt>
                <c:pt idx="2625">
                  <c:v>174.9871199260964</c:v>
                </c:pt>
                <c:pt idx="2626">
                  <c:v>174.9871199260964</c:v>
                </c:pt>
                <c:pt idx="2627">
                  <c:v>174.9871199260964</c:v>
                </c:pt>
                <c:pt idx="2628">
                  <c:v>174.9871199260964</c:v>
                </c:pt>
                <c:pt idx="2629">
                  <c:v>174.9871199260964</c:v>
                </c:pt>
                <c:pt idx="2630">
                  <c:v>174.9871199260964</c:v>
                </c:pt>
                <c:pt idx="2631">
                  <c:v>174.9871199260964</c:v>
                </c:pt>
                <c:pt idx="2632">
                  <c:v>174.9871199260964</c:v>
                </c:pt>
                <c:pt idx="2633">
                  <c:v>174.9871199260964</c:v>
                </c:pt>
                <c:pt idx="2634">
                  <c:v>174.9871199260964</c:v>
                </c:pt>
                <c:pt idx="2635">
                  <c:v>174.9871199260964</c:v>
                </c:pt>
                <c:pt idx="2636">
                  <c:v>174.9871199260964</c:v>
                </c:pt>
                <c:pt idx="2637">
                  <c:v>174.9871199260964</c:v>
                </c:pt>
                <c:pt idx="2638">
                  <c:v>174.9871199260964</c:v>
                </c:pt>
                <c:pt idx="2639">
                  <c:v>174.9871199260964</c:v>
                </c:pt>
                <c:pt idx="2640">
                  <c:v>174.9871199260964</c:v>
                </c:pt>
                <c:pt idx="2641">
                  <c:v>174.9871199260964</c:v>
                </c:pt>
                <c:pt idx="2642">
                  <c:v>174.9871199260964</c:v>
                </c:pt>
                <c:pt idx="2643">
                  <c:v>174.9871199260964</c:v>
                </c:pt>
                <c:pt idx="2644">
                  <c:v>174.9871199260964</c:v>
                </c:pt>
                <c:pt idx="2645">
                  <c:v>174.9871199260964</c:v>
                </c:pt>
                <c:pt idx="2646">
                  <c:v>174.9871199260964</c:v>
                </c:pt>
                <c:pt idx="2647">
                  <c:v>185.15660768510301</c:v>
                </c:pt>
                <c:pt idx="2648">
                  <c:v>184.92516192549664</c:v>
                </c:pt>
                <c:pt idx="2649">
                  <c:v>184.69400547308976</c:v>
                </c:pt>
                <c:pt idx="2650">
                  <c:v>184.04866044678587</c:v>
                </c:pt>
                <c:pt idx="2651">
                  <c:v>183.81859962122741</c:v>
                </c:pt>
                <c:pt idx="2652">
                  <c:v>183.58882637170089</c:v>
                </c:pt>
                <c:pt idx="2653">
                  <c:v>182.55117104095737</c:v>
                </c:pt>
                <c:pt idx="2654">
                  <c:v>182.85445024055591</c:v>
                </c:pt>
                <c:pt idx="2655">
                  <c:v>184.45754734876982</c:v>
                </c:pt>
                <c:pt idx="2656">
                  <c:v>182.84646372365927</c:v>
                </c:pt>
                <c:pt idx="2657">
                  <c:v>182.84646372365927</c:v>
                </c:pt>
                <c:pt idx="2658">
                  <c:v>184.56721288071722</c:v>
                </c:pt>
                <c:pt idx="2659">
                  <c:v>183.05133596273976</c:v>
                </c:pt>
                <c:pt idx="2660">
                  <c:v>183.05133596273976</c:v>
                </c:pt>
                <c:pt idx="2661">
                  <c:v>182.82252179278635</c:v>
                </c:pt>
                <c:pt idx="2662">
                  <c:v>182.82252179278635</c:v>
                </c:pt>
                <c:pt idx="2663">
                  <c:v>182.82252179278635</c:v>
                </c:pt>
                <c:pt idx="2664">
                  <c:v>182.82677768961167</c:v>
                </c:pt>
                <c:pt idx="2665">
                  <c:v>182.59824421749965</c:v>
                </c:pt>
                <c:pt idx="2666">
                  <c:v>182.36999641222778</c:v>
                </c:pt>
                <c:pt idx="2667">
                  <c:v>182.36999641222778</c:v>
                </c:pt>
                <c:pt idx="2668">
                  <c:v>182.36999641222778</c:v>
                </c:pt>
                <c:pt idx="2669">
                  <c:v>182.36999641222778</c:v>
                </c:pt>
                <c:pt idx="2670">
                  <c:v>182.36999641222778</c:v>
                </c:pt>
                <c:pt idx="2671">
                  <c:v>182.36999641222778</c:v>
                </c:pt>
                <c:pt idx="2672">
                  <c:v>182.63763657492385</c:v>
                </c:pt>
                <c:pt idx="2673">
                  <c:v>182.4093395292052</c:v>
                </c:pt>
                <c:pt idx="2674">
                  <c:v>183.04770208301937</c:v>
                </c:pt>
                <c:pt idx="2675">
                  <c:v>182.81889245541561</c:v>
                </c:pt>
                <c:pt idx="2676">
                  <c:v>182.59036883984635</c:v>
                </c:pt>
                <c:pt idx="2677">
                  <c:v>182.59036883984635</c:v>
                </c:pt>
                <c:pt idx="2678">
                  <c:v>182.59036883984635</c:v>
                </c:pt>
                <c:pt idx="2679">
                  <c:v>182.59036883984635</c:v>
                </c:pt>
                <c:pt idx="2680">
                  <c:v>182.59036883984635</c:v>
                </c:pt>
                <c:pt idx="2681">
                  <c:v>186.39918344788026</c:v>
                </c:pt>
                <c:pt idx="2682">
                  <c:v>186.16618446857041</c:v>
                </c:pt>
                <c:pt idx="2683">
                  <c:v>185.93347673798471</c:v>
                </c:pt>
                <c:pt idx="2684">
                  <c:v>185.93347673798471</c:v>
                </c:pt>
                <c:pt idx="2685">
                  <c:v>185.93347673798471</c:v>
                </c:pt>
                <c:pt idx="2686">
                  <c:v>185.93347673798471</c:v>
                </c:pt>
                <c:pt idx="2687">
                  <c:v>185.93347673798471</c:v>
                </c:pt>
                <c:pt idx="2688">
                  <c:v>185.93347673798471</c:v>
                </c:pt>
                <c:pt idx="2689">
                  <c:v>185.93347673798471</c:v>
                </c:pt>
                <c:pt idx="2690">
                  <c:v>185.93347673798471</c:v>
                </c:pt>
                <c:pt idx="2691">
                  <c:v>185.93347673798471</c:v>
                </c:pt>
                <c:pt idx="2692">
                  <c:v>185.93347673798471</c:v>
                </c:pt>
                <c:pt idx="2693">
                  <c:v>185.93347673798471</c:v>
                </c:pt>
                <c:pt idx="2694">
                  <c:v>185.93347673798471</c:v>
                </c:pt>
                <c:pt idx="2695">
                  <c:v>185.93347673798471</c:v>
                </c:pt>
                <c:pt idx="2696">
                  <c:v>185.93347673798471</c:v>
                </c:pt>
                <c:pt idx="2697">
                  <c:v>185.93347673798471</c:v>
                </c:pt>
                <c:pt idx="2698">
                  <c:v>185.93347673798471</c:v>
                </c:pt>
                <c:pt idx="2699">
                  <c:v>185.93347673798471</c:v>
                </c:pt>
                <c:pt idx="2700">
                  <c:v>185.93347673798471</c:v>
                </c:pt>
                <c:pt idx="2701">
                  <c:v>185.93347673798471</c:v>
                </c:pt>
                <c:pt idx="2702">
                  <c:v>185.93347673798471</c:v>
                </c:pt>
                <c:pt idx="2703">
                  <c:v>185.93347673798471</c:v>
                </c:pt>
                <c:pt idx="2704">
                  <c:v>185.93347673798471</c:v>
                </c:pt>
                <c:pt idx="2705">
                  <c:v>185.93347673798471</c:v>
                </c:pt>
                <c:pt idx="2706">
                  <c:v>185.93347673798471</c:v>
                </c:pt>
                <c:pt idx="2707">
                  <c:v>185.93347673798471</c:v>
                </c:pt>
                <c:pt idx="2708">
                  <c:v>185.93347673798471</c:v>
                </c:pt>
                <c:pt idx="2709">
                  <c:v>185.93347673798471</c:v>
                </c:pt>
                <c:pt idx="2710">
                  <c:v>185.93347673798471</c:v>
                </c:pt>
                <c:pt idx="2711">
                  <c:v>185.93347673798471</c:v>
                </c:pt>
                <c:pt idx="2712">
                  <c:v>185.93347673798471</c:v>
                </c:pt>
                <c:pt idx="2713">
                  <c:v>185.93347673798471</c:v>
                </c:pt>
                <c:pt idx="2714">
                  <c:v>185.93347673798471</c:v>
                </c:pt>
                <c:pt idx="2715">
                  <c:v>185.93347673798471</c:v>
                </c:pt>
                <c:pt idx="2716">
                  <c:v>185.93347673798471</c:v>
                </c:pt>
                <c:pt idx="2717">
                  <c:v>185.93347673798471</c:v>
                </c:pt>
                <c:pt idx="2718">
                  <c:v>185.93347673798471</c:v>
                </c:pt>
                <c:pt idx="2719">
                  <c:v>185.93347673798471</c:v>
                </c:pt>
                <c:pt idx="2720">
                  <c:v>185.93347673798471</c:v>
                </c:pt>
                <c:pt idx="2721">
                  <c:v>185.93347673798471</c:v>
                </c:pt>
                <c:pt idx="2722">
                  <c:v>185.93347673798471</c:v>
                </c:pt>
                <c:pt idx="2723">
                  <c:v>185.93347673798471</c:v>
                </c:pt>
                <c:pt idx="2724">
                  <c:v>185.93347673798471</c:v>
                </c:pt>
                <c:pt idx="2725">
                  <c:v>185.93347673798471</c:v>
                </c:pt>
                <c:pt idx="2726">
                  <c:v>185.93347673798471</c:v>
                </c:pt>
                <c:pt idx="2727">
                  <c:v>185.93347673798471</c:v>
                </c:pt>
                <c:pt idx="2728">
                  <c:v>185.93347673798471</c:v>
                </c:pt>
                <c:pt idx="2729">
                  <c:v>185.93347673798471</c:v>
                </c:pt>
                <c:pt idx="2730">
                  <c:v>185.93347673798471</c:v>
                </c:pt>
                <c:pt idx="2731">
                  <c:v>185.93347673798471</c:v>
                </c:pt>
                <c:pt idx="2732">
                  <c:v>185.93347673798471</c:v>
                </c:pt>
              </c:numCache>
            </c:numRef>
          </c:val>
          <c:smooth val="0"/>
          <c:extLst xmlns:c16r2="http://schemas.microsoft.com/office/drawing/2015/06/chart">
            <c:ext xmlns:c16="http://schemas.microsoft.com/office/drawing/2014/chart" uri="{C3380CC4-5D6E-409C-BE32-E72D297353CC}">
              <c16:uniqueId val="{00000001-6403-4414-851B-9E4B2D9F5C76}"/>
            </c:ext>
          </c:extLst>
        </c:ser>
        <c:ser>
          <c:idx val="2"/>
          <c:order val="2"/>
          <c:tx>
            <c:strRef>
              <c:f>'3M'!$R$30</c:f>
              <c:strCache>
                <c:ptCount val="1"/>
                <c:pt idx="0">
                  <c:v>MR 0-0.1</c:v>
                </c:pt>
              </c:strCache>
            </c:strRef>
          </c:tx>
          <c:spPr>
            <a:ln>
              <a:solidFill>
                <a:srgbClr val="C00000"/>
              </a:solidFill>
            </a:ln>
          </c:spPr>
          <c:marker>
            <c:symbol val="none"/>
          </c:marker>
          <c:cat>
            <c:numRef>
              <c:f>'3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3M'!$R$31:$R$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99.712525880609149</c:v>
                </c:pt>
                <c:pt idx="42">
                  <c:v>98.382494339847511</c:v>
                </c:pt>
                <c:pt idx="43">
                  <c:v>98.16754120581453</c:v>
                </c:pt>
                <c:pt idx="44">
                  <c:v>99.087176068743176</c:v>
                </c:pt>
                <c:pt idx="45">
                  <c:v>99.085132883633477</c:v>
                </c:pt>
                <c:pt idx="46">
                  <c:v>98.371575580631415</c:v>
                </c:pt>
                <c:pt idx="47">
                  <c:v>98.312510472324419</c:v>
                </c:pt>
                <c:pt idx="48">
                  <c:v>98.772164862413518</c:v>
                </c:pt>
                <c:pt idx="49">
                  <c:v>100.89352342862084</c:v>
                </c:pt>
                <c:pt idx="50">
                  <c:v>100.89352342862084</c:v>
                </c:pt>
                <c:pt idx="51">
                  <c:v>100.76740652433506</c:v>
                </c:pt>
                <c:pt idx="52">
                  <c:v>99.455755148872925</c:v>
                </c:pt>
                <c:pt idx="53">
                  <c:v>99.331435454936837</c:v>
                </c:pt>
                <c:pt idx="54">
                  <c:v>99.207271160618163</c:v>
                </c:pt>
                <c:pt idx="55">
                  <c:v>99.207271160618163</c:v>
                </c:pt>
                <c:pt idx="56">
                  <c:v>98.781059661169508</c:v>
                </c:pt>
                <c:pt idx="57">
                  <c:v>99.052750322570546</c:v>
                </c:pt>
                <c:pt idx="58">
                  <c:v>99.052750322570546</c:v>
                </c:pt>
                <c:pt idx="59">
                  <c:v>99.262061061080701</c:v>
                </c:pt>
                <c:pt idx="60">
                  <c:v>97.781961160608262</c:v>
                </c:pt>
                <c:pt idx="61">
                  <c:v>96.246193562147411</c:v>
                </c:pt>
                <c:pt idx="62">
                  <c:v>95.001459752816288</c:v>
                </c:pt>
                <c:pt idx="63">
                  <c:v>94.122492127355429</c:v>
                </c:pt>
                <c:pt idx="64">
                  <c:v>93.536432955790374</c:v>
                </c:pt>
                <c:pt idx="65">
                  <c:v>92.293841384042011</c:v>
                </c:pt>
                <c:pt idx="66">
                  <c:v>91.341919833077853</c:v>
                </c:pt>
                <c:pt idx="67">
                  <c:v>90.90176377506296</c:v>
                </c:pt>
                <c:pt idx="68">
                  <c:v>89.513547930060795</c:v>
                </c:pt>
                <c:pt idx="69">
                  <c:v>90.167657813449154</c:v>
                </c:pt>
                <c:pt idx="70">
                  <c:v>90.823294934269981</c:v>
                </c:pt>
                <c:pt idx="71">
                  <c:v>89.87271848552038</c:v>
                </c:pt>
                <c:pt idx="72">
                  <c:v>88.483501398747464</c:v>
                </c:pt>
                <c:pt idx="73">
                  <c:v>89.867615324363783</c:v>
                </c:pt>
                <c:pt idx="74">
                  <c:v>90.886569406715978</c:v>
                </c:pt>
                <c:pt idx="75">
                  <c:v>90.519289210003748</c:v>
                </c:pt>
                <c:pt idx="76">
                  <c:v>89.876213371638229</c:v>
                </c:pt>
                <c:pt idx="77">
                  <c:v>89.876213371638229</c:v>
                </c:pt>
                <c:pt idx="78">
                  <c:v>89.763868104923688</c:v>
                </c:pt>
                <c:pt idx="79">
                  <c:v>89.763868104923688</c:v>
                </c:pt>
                <c:pt idx="80">
                  <c:v>89.763868104923688</c:v>
                </c:pt>
                <c:pt idx="81">
                  <c:v>92.000604063193578</c:v>
                </c:pt>
                <c:pt idx="82">
                  <c:v>90.889632783603815</c:v>
                </c:pt>
                <c:pt idx="83">
                  <c:v>93.303638694617703</c:v>
                </c:pt>
                <c:pt idx="84">
                  <c:v>92.650585986183415</c:v>
                </c:pt>
                <c:pt idx="85">
                  <c:v>94.591532385257182</c:v>
                </c:pt>
                <c:pt idx="86">
                  <c:v>94.591532385257182</c:v>
                </c:pt>
                <c:pt idx="87">
                  <c:v>94.473292969775613</c:v>
                </c:pt>
                <c:pt idx="88">
                  <c:v>94.214201708418997</c:v>
                </c:pt>
                <c:pt idx="89">
                  <c:v>93.580451906322963</c:v>
                </c:pt>
                <c:pt idx="90">
                  <c:v>93.615709137605819</c:v>
                </c:pt>
                <c:pt idx="91">
                  <c:v>93.652850359154641</c:v>
                </c:pt>
                <c:pt idx="92">
                  <c:v>93.665320961523364</c:v>
                </c:pt>
                <c:pt idx="93">
                  <c:v>93.925237441066898</c:v>
                </c:pt>
                <c:pt idx="94">
                  <c:v>93.925237441066898</c:v>
                </c:pt>
                <c:pt idx="95">
                  <c:v>93.627896090331575</c:v>
                </c:pt>
                <c:pt idx="96">
                  <c:v>93.510861220218658</c:v>
                </c:pt>
                <c:pt idx="97">
                  <c:v>93.23692097218165</c:v>
                </c:pt>
                <c:pt idx="98">
                  <c:v>93.258156963390036</c:v>
                </c:pt>
                <c:pt idx="99">
                  <c:v>92.635013637274511</c:v>
                </c:pt>
                <c:pt idx="100">
                  <c:v>92.434368789691788</c:v>
                </c:pt>
                <c:pt idx="101">
                  <c:v>92.381944009775466</c:v>
                </c:pt>
                <c:pt idx="102">
                  <c:v>90.857424342384959</c:v>
                </c:pt>
                <c:pt idx="103">
                  <c:v>90.456497109339765</c:v>
                </c:pt>
                <c:pt idx="104">
                  <c:v>91.317118042745363</c:v>
                </c:pt>
                <c:pt idx="105">
                  <c:v>91.248933476030757</c:v>
                </c:pt>
                <c:pt idx="106">
                  <c:v>90.851194716803448</c:v>
                </c:pt>
                <c:pt idx="107">
                  <c:v>89.988858757872919</c:v>
                </c:pt>
                <c:pt idx="108">
                  <c:v>90.715899152596521</c:v>
                </c:pt>
                <c:pt idx="109">
                  <c:v>90.515497619647547</c:v>
                </c:pt>
                <c:pt idx="110">
                  <c:v>93.099320503332379</c:v>
                </c:pt>
                <c:pt idx="111">
                  <c:v>93.099320503332379</c:v>
                </c:pt>
                <c:pt idx="112">
                  <c:v>92.982946352703209</c:v>
                </c:pt>
                <c:pt idx="113">
                  <c:v>92.982946352703209</c:v>
                </c:pt>
                <c:pt idx="114">
                  <c:v>93.791499069723244</c:v>
                </c:pt>
                <c:pt idx="115">
                  <c:v>92.168357208045748</c:v>
                </c:pt>
                <c:pt idx="116">
                  <c:v>90.208271282935257</c:v>
                </c:pt>
                <c:pt idx="117">
                  <c:v>88.763541884664335</c:v>
                </c:pt>
                <c:pt idx="118">
                  <c:v>88.2116613226233</c:v>
                </c:pt>
                <c:pt idx="119">
                  <c:v>90.405461751709325</c:v>
                </c:pt>
                <c:pt idx="120">
                  <c:v>94.653270961149815</c:v>
                </c:pt>
                <c:pt idx="121">
                  <c:v>94.653270961149815</c:v>
                </c:pt>
                <c:pt idx="122">
                  <c:v>94.534954372448382</c:v>
                </c:pt>
                <c:pt idx="123">
                  <c:v>94.534954372448382</c:v>
                </c:pt>
                <c:pt idx="124">
                  <c:v>94.534954372448382</c:v>
                </c:pt>
                <c:pt idx="125">
                  <c:v>94.534954372448382</c:v>
                </c:pt>
                <c:pt idx="126">
                  <c:v>94.534954372448382</c:v>
                </c:pt>
                <c:pt idx="127">
                  <c:v>94.534954372448382</c:v>
                </c:pt>
                <c:pt idx="128">
                  <c:v>94.534954372448382</c:v>
                </c:pt>
                <c:pt idx="129">
                  <c:v>94.534954372448382</c:v>
                </c:pt>
                <c:pt idx="130">
                  <c:v>94.534954372448382</c:v>
                </c:pt>
                <c:pt idx="131">
                  <c:v>94.534954372448382</c:v>
                </c:pt>
                <c:pt idx="132">
                  <c:v>94.534954372448382</c:v>
                </c:pt>
                <c:pt idx="133">
                  <c:v>94.534954372448382</c:v>
                </c:pt>
                <c:pt idx="134">
                  <c:v>94.534954372448382</c:v>
                </c:pt>
                <c:pt idx="135">
                  <c:v>94.534954372448382</c:v>
                </c:pt>
                <c:pt idx="136">
                  <c:v>94.534954372448382</c:v>
                </c:pt>
                <c:pt idx="137">
                  <c:v>94.534954372448382</c:v>
                </c:pt>
                <c:pt idx="138">
                  <c:v>94.534954372448382</c:v>
                </c:pt>
                <c:pt idx="139">
                  <c:v>94.534954372448382</c:v>
                </c:pt>
                <c:pt idx="140">
                  <c:v>94.534954372448382</c:v>
                </c:pt>
                <c:pt idx="141">
                  <c:v>94.534954372448382</c:v>
                </c:pt>
                <c:pt idx="142">
                  <c:v>93.955957137059556</c:v>
                </c:pt>
                <c:pt idx="143">
                  <c:v>93.197136825610741</c:v>
                </c:pt>
                <c:pt idx="144">
                  <c:v>93.621951199822021</c:v>
                </c:pt>
                <c:pt idx="145">
                  <c:v>91.632073028842825</c:v>
                </c:pt>
                <c:pt idx="146">
                  <c:v>88.005128395661671</c:v>
                </c:pt>
                <c:pt idx="147">
                  <c:v>85.310294371452173</c:v>
                </c:pt>
                <c:pt idx="148">
                  <c:v>86.446510234617278</c:v>
                </c:pt>
                <c:pt idx="149">
                  <c:v>85.973783434203199</c:v>
                </c:pt>
                <c:pt idx="150">
                  <c:v>85.704085769724315</c:v>
                </c:pt>
                <c:pt idx="151">
                  <c:v>83.419844151321882</c:v>
                </c:pt>
                <c:pt idx="152">
                  <c:v>80.929824305485297</c:v>
                </c:pt>
                <c:pt idx="153">
                  <c:v>81.126007049522613</c:v>
                </c:pt>
                <c:pt idx="154">
                  <c:v>80.655459037426994</c:v>
                </c:pt>
                <c:pt idx="155">
                  <c:v>80.184334369425002</c:v>
                </c:pt>
                <c:pt idx="156">
                  <c:v>80.317615491473646</c:v>
                </c:pt>
                <c:pt idx="157">
                  <c:v>80.988872230313959</c:v>
                </c:pt>
                <c:pt idx="158">
                  <c:v>81.323157131155043</c:v>
                </c:pt>
                <c:pt idx="159">
                  <c:v>81.859646854381268</c:v>
                </c:pt>
                <c:pt idx="160">
                  <c:v>81.859646854381268</c:v>
                </c:pt>
                <c:pt idx="161">
                  <c:v>81.933056699165832</c:v>
                </c:pt>
                <c:pt idx="162">
                  <c:v>81.870440899395419</c:v>
                </c:pt>
                <c:pt idx="163">
                  <c:v>81.604764887224448</c:v>
                </c:pt>
                <c:pt idx="164">
                  <c:v>83.953795387166892</c:v>
                </c:pt>
                <c:pt idx="165">
                  <c:v>83.953795387166892</c:v>
                </c:pt>
                <c:pt idx="166">
                  <c:v>83.848853142932938</c:v>
                </c:pt>
                <c:pt idx="167">
                  <c:v>84.164460117936216</c:v>
                </c:pt>
                <c:pt idx="168">
                  <c:v>83.885833682742927</c:v>
                </c:pt>
                <c:pt idx="169">
                  <c:v>82.72500102886147</c:v>
                </c:pt>
                <c:pt idx="170">
                  <c:v>81.377724757566554</c:v>
                </c:pt>
                <c:pt idx="171">
                  <c:v>82.330175910439877</c:v>
                </c:pt>
                <c:pt idx="172">
                  <c:v>82.009680592741915</c:v>
                </c:pt>
                <c:pt idx="173">
                  <c:v>81.244914691331331</c:v>
                </c:pt>
                <c:pt idx="174">
                  <c:v>80.160835370441191</c:v>
                </c:pt>
                <c:pt idx="175">
                  <c:v>79.458113639704777</c:v>
                </c:pt>
                <c:pt idx="176">
                  <c:v>77.737537927928429</c:v>
                </c:pt>
                <c:pt idx="177">
                  <c:v>79.261849237600117</c:v>
                </c:pt>
                <c:pt idx="178">
                  <c:v>78.430786733895445</c:v>
                </c:pt>
                <c:pt idx="179">
                  <c:v>78.428985028079722</c:v>
                </c:pt>
                <c:pt idx="180">
                  <c:v>79.256564811853679</c:v>
                </c:pt>
                <c:pt idx="181">
                  <c:v>76.517347731155752</c:v>
                </c:pt>
                <c:pt idx="182">
                  <c:v>75.673963275692927</c:v>
                </c:pt>
                <c:pt idx="183">
                  <c:v>75.557790450487886</c:v>
                </c:pt>
                <c:pt idx="184">
                  <c:v>73.833166955767098</c:v>
                </c:pt>
                <c:pt idx="185">
                  <c:v>72.360463297331833</c:v>
                </c:pt>
                <c:pt idx="186">
                  <c:v>71.654763637710332</c:v>
                </c:pt>
                <c:pt idx="187">
                  <c:v>71.461645922913661</c:v>
                </c:pt>
                <c:pt idx="188">
                  <c:v>72.1637067488453</c:v>
                </c:pt>
                <c:pt idx="189">
                  <c:v>71.939937172108586</c:v>
                </c:pt>
                <c:pt idx="190">
                  <c:v>72.717175340761401</c:v>
                </c:pt>
                <c:pt idx="191">
                  <c:v>73.715377875598492</c:v>
                </c:pt>
                <c:pt idx="192">
                  <c:v>72.824347067141161</c:v>
                </c:pt>
                <c:pt idx="193">
                  <c:v>70.308791566337547</c:v>
                </c:pt>
                <c:pt idx="194">
                  <c:v>70.308791566337547</c:v>
                </c:pt>
                <c:pt idx="195">
                  <c:v>70.22090557687963</c:v>
                </c:pt>
                <c:pt idx="196">
                  <c:v>70.22090557687963</c:v>
                </c:pt>
                <c:pt idx="197">
                  <c:v>70.22090557687963</c:v>
                </c:pt>
                <c:pt idx="198">
                  <c:v>70.737386529609282</c:v>
                </c:pt>
                <c:pt idx="199">
                  <c:v>69.354502227726584</c:v>
                </c:pt>
                <c:pt idx="200">
                  <c:v>70.293183906939973</c:v>
                </c:pt>
                <c:pt idx="201">
                  <c:v>70.069689056594484</c:v>
                </c:pt>
                <c:pt idx="202">
                  <c:v>71.176153979437714</c:v>
                </c:pt>
                <c:pt idx="203">
                  <c:v>71.229022597505846</c:v>
                </c:pt>
                <c:pt idx="204">
                  <c:v>70.841487465618172</c:v>
                </c:pt>
                <c:pt idx="205">
                  <c:v>71.788363227387862</c:v>
                </c:pt>
                <c:pt idx="206">
                  <c:v>71.788363227387862</c:v>
                </c:pt>
                <c:pt idx="207">
                  <c:v>71.776901557644962</c:v>
                </c:pt>
                <c:pt idx="208">
                  <c:v>71.149388576194568</c:v>
                </c:pt>
                <c:pt idx="209">
                  <c:v>72.367023126086067</c:v>
                </c:pt>
                <c:pt idx="210">
                  <c:v>71.589137242847571</c:v>
                </c:pt>
                <c:pt idx="211">
                  <c:v>71.687058866908956</c:v>
                </c:pt>
                <c:pt idx="212">
                  <c:v>70.231788480278681</c:v>
                </c:pt>
                <c:pt idx="213">
                  <c:v>69.617062254572275</c:v>
                </c:pt>
                <c:pt idx="214">
                  <c:v>68.693543103876877</c:v>
                </c:pt>
                <c:pt idx="215">
                  <c:v>67.311126993644365</c:v>
                </c:pt>
                <c:pt idx="216">
                  <c:v>67.363368743617357</c:v>
                </c:pt>
                <c:pt idx="217">
                  <c:v>66.811088068240196</c:v>
                </c:pt>
                <c:pt idx="218">
                  <c:v>66.036862358199926</c:v>
                </c:pt>
                <c:pt idx="219">
                  <c:v>67.305122083169891</c:v>
                </c:pt>
                <c:pt idx="220">
                  <c:v>66.529286002757615</c:v>
                </c:pt>
                <c:pt idx="221">
                  <c:v>66.638025900124788</c:v>
                </c:pt>
                <c:pt idx="222">
                  <c:v>66.858621873399287</c:v>
                </c:pt>
                <c:pt idx="223">
                  <c:v>68.12795340459148</c:v>
                </c:pt>
                <c:pt idx="224">
                  <c:v>68.12795340459148</c:v>
                </c:pt>
                <c:pt idx="225">
                  <c:v>68.042793462835746</c:v>
                </c:pt>
                <c:pt idx="226">
                  <c:v>68.042793462835746</c:v>
                </c:pt>
                <c:pt idx="227">
                  <c:v>68.042793462835746</c:v>
                </c:pt>
                <c:pt idx="228">
                  <c:v>68.042793462835746</c:v>
                </c:pt>
                <c:pt idx="229">
                  <c:v>68.200039687154742</c:v>
                </c:pt>
                <c:pt idx="230">
                  <c:v>67.767587494201962</c:v>
                </c:pt>
                <c:pt idx="231">
                  <c:v>67.590103355982563</c:v>
                </c:pt>
                <c:pt idx="232">
                  <c:v>67.698291751786343</c:v>
                </c:pt>
                <c:pt idx="233">
                  <c:v>68.186653934907596</c:v>
                </c:pt>
                <c:pt idx="234">
                  <c:v>68.511302546336921</c:v>
                </c:pt>
                <c:pt idx="235">
                  <c:v>67.479116968422872</c:v>
                </c:pt>
                <c:pt idx="236">
                  <c:v>67.585453924451272</c:v>
                </c:pt>
                <c:pt idx="237">
                  <c:v>67.096645175456359</c:v>
                </c:pt>
                <c:pt idx="238">
                  <c:v>67.204150570375006</c:v>
                </c:pt>
                <c:pt idx="239">
                  <c:v>67.041056875195537</c:v>
                </c:pt>
                <c:pt idx="240">
                  <c:v>65.502856067675651</c:v>
                </c:pt>
                <c:pt idx="241">
                  <c:v>65.170067623208311</c:v>
                </c:pt>
                <c:pt idx="242">
                  <c:v>65.821053835394636</c:v>
                </c:pt>
                <c:pt idx="243">
                  <c:v>65.656684612984449</c:v>
                </c:pt>
                <c:pt idx="244">
                  <c:v>65.167566568974905</c:v>
                </c:pt>
                <c:pt idx="245">
                  <c:v>64.623437032146327</c:v>
                </c:pt>
                <c:pt idx="246">
                  <c:v>64.730860478498712</c:v>
                </c:pt>
                <c:pt idx="247">
                  <c:v>65.545187307807666</c:v>
                </c:pt>
                <c:pt idx="248">
                  <c:v>66.792371468247779</c:v>
                </c:pt>
                <c:pt idx="249">
                  <c:v>66.792371468247779</c:v>
                </c:pt>
                <c:pt idx="250">
                  <c:v>66.708881003912467</c:v>
                </c:pt>
                <c:pt idx="251">
                  <c:v>66.708881003912467</c:v>
                </c:pt>
                <c:pt idx="252">
                  <c:v>66.708881003912467</c:v>
                </c:pt>
                <c:pt idx="253">
                  <c:v>66.708881003912467</c:v>
                </c:pt>
                <c:pt idx="254">
                  <c:v>66.708881003912467</c:v>
                </c:pt>
                <c:pt idx="255">
                  <c:v>66.708881003912467</c:v>
                </c:pt>
                <c:pt idx="256">
                  <c:v>67.537501541838608</c:v>
                </c:pt>
                <c:pt idx="257">
                  <c:v>67.453079664911314</c:v>
                </c:pt>
                <c:pt idx="258">
                  <c:v>67.36876331533017</c:v>
                </c:pt>
                <c:pt idx="259">
                  <c:v>67.36876331533017</c:v>
                </c:pt>
                <c:pt idx="260">
                  <c:v>66.987068437888226</c:v>
                </c:pt>
                <c:pt idx="261">
                  <c:v>66.251619962608871</c:v>
                </c:pt>
                <c:pt idx="262">
                  <c:v>67.875344668271651</c:v>
                </c:pt>
                <c:pt idx="263">
                  <c:v>67.875344668271651</c:v>
                </c:pt>
                <c:pt idx="264">
                  <c:v>67.424793760865299</c:v>
                </c:pt>
                <c:pt idx="265">
                  <c:v>67.340512768664226</c:v>
                </c:pt>
                <c:pt idx="266">
                  <c:v>66.813418496900496</c:v>
                </c:pt>
                <c:pt idx="267">
                  <c:v>66.531358230250149</c:v>
                </c:pt>
                <c:pt idx="268">
                  <c:v>65.870206613052773</c:v>
                </c:pt>
                <c:pt idx="269">
                  <c:v>65.978920795652058</c:v>
                </c:pt>
                <c:pt idx="270">
                  <c:v>68.071495097735465</c:v>
                </c:pt>
                <c:pt idx="271">
                  <c:v>68.071495097735465</c:v>
                </c:pt>
                <c:pt idx="272">
                  <c:v>67.986405728863303</c:v>
                </c:pt>
                <c:pt idx="273">
                  <c:v>67.986405728863303</c:v>
                </c:pt>
                <c:pt idx="274">
                  <c:v>67.986405728863303</c:v>
                </c:pt>
                <c:pt idx="275">
                  <c:v>67.986405728863303</c:v>
                </c:pt>
                <c:pt idx="276">
                  <c:v>67.986405728863303</c:v>
                </c:pt>
                <c:pt idx="277">
                  <c:v>67.986405728863303</c:v>
                </c:pt>
                <c:pt idx="278">
                  <c:v>67.986405728863303</c:v>
                </c:pt>
                <c:pt idx="279">
                  <c:v>67.986405728863303</c:v>
                </c:pt>
                <c:pt idx="280">
                  <c:v>67.986405728863303</c:v>
                </c:pt>
                <c:pt idx="281">
                  <c:v>67.986405728863303</c:v>
                </c:pt>
                <c:pt idx="282">
                  <c:v>67.986405728863303</c:v>
                </c:pt>
                <c:pt idx="283">
                  <c:v>67.986405728863303</c:v>
                </c:pt>
                <c:pt idx="284">
                  <c:v>67.986405728863303</c:v>
                </c:pt>
                <c:pt idx="285">
                  <c:v>67.986405728863303</c:v>
                </c:pt>
                <c:pt idx="286">
                  <c:v>67.986405728863303</c:v>
                </c:pt>
                <c:pt idx="287">
                  <c:v>67.986405728863303</c:v>
                </c:pt>
                <c:pt idx="288">
                  <c:v>67.986405728863303</c:v>
                </c:pt>
                <c:pt idx="289">
                  <c:v>67.986405728863303</c:v>
                </c:pt>
                <c:pt idx="290">
                  <c:v>67.986405728863303</c:v>
                </c:pt>
                <c:pt idx="291">
                  <c:v>67.986405728863303</c:v>
                </c:pt>
                <c:pt idx="292">
                  <c:v>67.986405728863303</c:v>
                </c:pt>
                <c:pt idx="293">
                  <c:v>67.986405728863303</c:v>
                </c:pt>
                <c:pt idx="294">
                  <c:v>67.986405728863303</c:v>
                </c:pt>
                <c:pt idx="295">
                  <c:v>67.986405728863303</c:v>
                </c:pt>
                <c:pt idx="296">
                  <c:v>67.986405728863303</c:v>
                </c:pt>
                <c:pt idx="297">
                  <c:v>67.986405728863303</c:v>
                </c:pt>
                <c:pt idx="298">
                  <c:v>67.986405728863303</c:v>
                </c:pt>
                <c:pt idx="299">
                  <c:v>67.986405728863303</c:v>
                </c:pt>
                <c:pt idx="300">
                  <c:v>67.986405728863303</c:v>
                </c:pt>
                <c:pt idx="301">
                  <c:v>67.986405728863303</c:v>
                </c:pt>
                <c:pt idx="302">
                  <c:v>67.986405728863303</c:v>
                </c:pt>
                <c:pt idx="303">
                  <c:v>67.986405728863303</c:v>
                </c:pt>
                <c:pt idx="304">
                  <c:v>67.986405728863303</c:v>
                </c:pt>
                <c:pt idx="305">
                  <c:v>67.986405728863303</c:v>
                </c:pt>
                <c:pt idx="306">
                  <c:v>67.986405728863303</c:v>
                </c:pt>
                <c:pt idx="307">
                  <c:v>67.986405728863303</c:v>
                </c:pt>
                <c:pt idx="308">
                  <c:v>67.986405728863303</c:v>
                </c:pt>
                <c:pt idx="309">
                  <c:v>67.986405728863303</c:v>
                </c:pt>
                <c:pt idx="310">
                  <c:v>67.986405728863303</c:v>
                </c:pt>
                <c:pt idx="311">
                  <c:v>67.986405728863303</c:v>
                </c:pt>
                <c:pt idx="312">
                  <c:v>67.986405728863303</c:v>
                </c:pt>
                <c:pt idx="313">
                  <c:v>67.986405728863303</c:v>
                </c:pt>
                <c:pt idx="314">
                  <c:v>67.986405728863303</c:v>
                </c:pt>
                <c:pt idx="315">
                  <c:v>67.986405728863303</c:v>
                </c:pt>
                <c:pt idx="316">
                  <c:v>67.986405728863303</c:v>
                </c:pt>
                <c:pt idx="317">
                  <c:v>67.986405728863303</c:v>
                </c:pt>
                <c:pt idx="318">
                  <c:v>67.986405728863303</c:v>
                </c:pt>
                <c:pt idx="319">
                  <c:v>67.986405728863303</c:v>
                </c:pt>
                <c:pt idx="320">
                  <c:v>67.986405728863303</c:v>
                </c:pt>
                <c:pt idx="321">
                  <c:v>67.986405728863303</c:v>
                </c:pt>
                <c:pt idx="322">
                  <c:v>67.986405728863303</c:v>
                </c:pt>
                <c:pt idx="323">
                  <c:v>67.986405728863303</c:v>
                </c:pt>
                <c:pt idx="324">
                  <c:v>67.986405728863303</c:v>
                </c:pt>
                <c:pt idx="325">
                  <c:v>67.986405728863303</c:v>
                </c:pt>
                <c:pt idx="326">
                  <c:v>67.986405728863303</c:v>
                </c:pt>
                <c:pt idx="327">
                  <c:v>67.986405728863303</c:v>
                </c:pt>
                <c:pt idx="328">
                  <c:v>67.986405728863303</c:v>
                </c:pt>
                <c:pt idx="329">
                  <c:v>67.986405728863303</c:v>
                </c:pt>
                <c:pt idx="330">
                  <c:v>67.986405728863303</c:v>
                </c:pt>
                <c:pt idx="331">
                  <c:v>67.986405728863303</c:v>
                </c:pt>
                <c:pt idx="332">
                  <c:v>67.986405728863303</c:v>
                </c:pt>
                <c:pt idx="333">
                  <c:v>67.986405728863303</c:v>
                </c:pt>
                <c:pt idx="334">
                  <c:v>67.986405728863303</c:v>
                </c:pt>
                <c:pt idx="335">
                  <c:v>67.986405728863303</c:v>
                </c:pt>
                <c:pt idx="336">
                  <c:v>67.971835097142488</c:v>
                </c:pt>
                <c:pt idx="337">
                  <c:v>64.490979502337638</c:v>
                </c:pt>
                <c:pt idx="338">
                  <c:v>63.979288931729251</c:v>
                </c:pt>
                <c:pt idx="339">
                  <c:v>62.933080160621991</c:v>
                </c:pt>
                <c:pt idx="340">
                  <c:v>62.203790628308887</c:v>
                </c:pt>
                <c:pt idx="341">
                  <c:v>61.793275893416784</c:v>
                </c:pt>
                <c:pt idx="342">
                  <c:v>63.291779244862916</c:v>
                </c:pt>
                <c:pt idx="343">
                  <c:v>62.970353099060901</c:v>
                </c:pt>
                <c:pt idx="344">
                  <c:v>61.515790881430064</c:v>
                </c:pt>
                <c:pt idx="345">
                  <c:v>60.467720546829284</c:v>
                </c:pt>
                <c:pt idx="346">
                  <c:v>61.601218494212659</c:v>
                </c:pt>
                <c:pt idx="347">
                  <c:v>61.144386803674998</c:v>
                </c:pt>
                <c:pt idx="348">
                  <c:v>60.173192201636077</c:v>
                </c:pt>
                <c:pt idx="349">
                  <c:v>58.88703970767039</c:v>
                </c:pt>
                <c:pt idx="350">
                  <c:v>59.066186167105123</c:v>
                </c:pt>
                <c:pt idx="351">
                  <c:v>62.248719836007716</c:v>
                </c:pt>
                <c:pt idx="352">
                  <c:v>62.248719836007716</c:v>
                </c:pt>
                <c:pt idx="353">
                  <c:v>62.170908936212705</c:v>
                </c:pt>
                <c:pt idx="354">
                  <c:v>62.170908936212705</c:v>
                </c:pt>
                <c:pt idx="355">
                  <c:v>62.170908936212705</c:v>
                </c:pt>
                <c:pt idx="356">
                  <c:v>63.179933735633334</c:v>
                </c:pt>
                <c:pt idx="357">
                  <c:v>63.294382786362043</c:v>
                </c:pt>
                <c:pt idx="358">
                  <c:v>63.158610588925292</c:v>
                </c:pt>
                <c:pt idx="359">
                  <c:v>62.573927076936933</c:v>
                </c:pt>
                <c:pt idx="360">
                  <c:v>62.302942184139951</c:v>
                </c:pt>
                <c:pt idx="361">
                  <c:v>61.088651719458468</c:v>
                </c:pt>
                <c:pt idx="362">
                  <c:v>62.749233483779335</c:v>
                </c:pt>
                <c:pt idx="363">
                  <c:v>62.880317212340046</c:v>
                </c:pt>
                <c:pt idx="364">
                  <c:v>61.010508404519918</c:v>
                </c:pt>
                <c:pt idx="365">
                  <c:v>60.495970305396007</c:v>
                </c:pt>
                <c:pt idx="366">
                  <c:v>60.363888658023299</c:v>
                </c:pt>
                <c:pt idx="367">
                  <c:v>60.226699770092551</c:v>
                </c:pt>
                <c:pt idx="368">
                  <c:v>59.860833592729378</c:v>
                </c:pt>
                <c:pt idx="369">
                  <c:v>61.093805863927386</c:v>
                </c:pt>
                <c:pt idx="370">
                  <c:v>61.639371155966913</c:v>
                </c:pt>
                <c:pt idx="371">
                  <c:v>60.395620845609287</c:v>
                </c:pt>
                <c:pt idx="372">
                  <c:v>60.399455703618727</c:v>
                </c:pt>
                <c:pt idx="373">
                  <c:v>59.775376391936945</c:v>
                </c:pt>
                <c:pt idx="374">
                  <c:v>58.576907987532444</c:v>
                </c:pt>
                <c:pt idx="375">
                  <c:v>56.131623002272185</c:v>
                </c:pt>
                <c:pt idx="376">
                  <c:v>55.647534484891338</c:v>
                </c:pt>
                <c:pt idx="377">
                  <c:v>54.401365793826976</c:v>
                </c:pt>
                <c:pt idx="378">
                  <c:v>53.684539595686466</c:v>
                </c:pt>
                <c:pt idx="379">
                  <c:v>52.548807059265606</c:v>
                </c:pt>
                <c:pt idx="380">
                  <c:v>53.134441435878436</c:v>
                </c:pt>
                <c:pt idx="381">
                  <c:v>52.881112664037865</c:v>
                </c:pt>
                <c:pt idx="382">
                  <c:v>52.586541959725579</c:v>
                </c:pt>
                <c:pt idx="383">
                  <c:v>51.577851899010867</c:v>
                </c:pt>
                <c:pt idx="384">
                  <c:v>50.189625750588974</c:v>
                </c:pt>
                <c:pt idx="385">
                  <c:v>49.472664761657526</c:v>
                </c:pt>
                <c:pt idx="386">
                  <c:v>48.253197836573889</c:v>
                </c:pt>
                <c:pt idx="387">
                  <c:v>47.242684097722631</c:v>
                </c:pt>
                <c:pt idx="388">
                  <c:v>47.492473657946455</c:v>
                </c:pt>
                <c:pt idx="389">
                  <c:v>47.659883270022192</c:v>
                </c:pt>
                <c:pt idx="390">
                  <c:v>47.491547548183206</c:v>
                </c:pt>
                <c:pt idx="391">
                  <c:v>48.498958222361885</c:v>
                </c:pt>
                <c:pt idx="392">
                  <c:v>48.916598545978715</c:v>
                </c:pt>
                <c:pt idx="393">
                  <c:v>48.418669874491584</c:v>
                </c:pt>
                <c:pt idx="394">
                  <c:v>48.913662185607862</c:v>
                </c:pt>
                <c:pt idx="395">
                  <c:v>48.885235810889753</c:v>
                </c:pt>
                <c:pt idx="396">
                  <c:v>47.648791216855876</c:v>
                </c:pt>
                <c:pt idx="397">
                  <c:v>47.951797355033577</c:v>
                </c:pt>
                <c:pt idx="398">
                  <c:v>48.274301493351359</c:v>
                </c:pt>
                <c:pt idx="399">
                  <c:v>48.35437799644518</c:v>
                </c:pt>
                <c:pt idx="400">
                  <c:v>47.344292530571167</c:v>
                </c:pt>
                <c:pt idx="401">
                  <c:v>46.938155155024631</c:v>
                </c:pt>
                <c:pt idx="402">
                  <c:v>46.775699986513594</c:v>
                </c:pt>
                <c:pt idx="403">
                  <c:v>47.138884616756975</c:v>
                </c:pt>
                <c:pt idx="404">
                  <c:v>46.168644898600355</c:v>
                </c:pt>
                <c:pt idx="405">
                  <c:v>46.449302327843469</c:v>
                </c:pt>
                <c:pt idx="406">
                  <c:v>46.892972501161012</c:v>
                </c:pt>
                <c:pt idx="407">
                  <c:v>47.255498339217958</c:v>
                </c:pt>
                <c:pt idx="408">
                  <c:v>49.6833149391097</c:v>
                </c:pt>
                <c:pt idx="409">
                  <c:v>49.6833149391097</c:v>
                </c:pt>
                <c:pt idx="410">
                  <c:v>49.621210795435815</c:v>
                </c:pt>
                <c:pt idx="411">
                  <c:v>50.00599495960401</c:v>
                </c:pt>
                <c:pt idx="412">
                  <c:v>50.820997196396512</c:v>
                </c:pt>
                <c:pt idx="413">
                  <c:v>50.820997196396512</c:v>
                </c:pt>
                <c:pt idx="414">
                  <c:v>50.67451905437354</c:v>
                </c:pt>
                <c:pt idx="415">
                  <c:v>50.63649487124011</c:v>
                </c:pt>
                <c:pt idx="416">
                  <c:v>51.838477021545543</c:v>
                </c:pt>
                <c:pt idx="417">
                  <c:v>51.838477021545543</c:v>
                </c:pt>
                <c:pt idx="418">
                  <c:v>51.773678925268612</c:v>
                </c:pt>
                <c:pt idx="419">
                  <c:v>52.733502536074909</c:v>
                </c:pt>
                <c:pt idx="420">
                  <c:v>50.492715868042467</c:v>
                </c:pt>
                <c:pt idx="421">
                  <c:v>49.636638588559656</c:v>
                </c:pt>
                <c:pt idx="422">
                  <c:v>50.347931351456118</c:v>
                </c:pt>
                <c:pt idx="423">
                  <c:v>50.465179935797345</c:v>
                </c:pt>
                <c:pt idx="424">
                  <c:v>49.078511819697553</c:v>
                </c:pt>
                <c:pt idx="425">
                  <c:v>48.917098333946846</c:v>
                </c:pt>
                <c:pt idx="426">
                  <c:v>49.273232293168412</c:v>
                </c:pt>
                <c:pt idx="427">
                  <c:v>49.985398494868711</c:v>
                </c:pt>
                <c:pt idx="428">
                  <c:v>48.59752441275959</c:v>
                </c:pt>
                <c:pt idx="429">
                  <c:v>48.107434214963966</c:v>
                </c:pt>
                <c:pt idx="430">
                  <c:v>48.575430009722396</c:v>
                </c:pt>
                <c:pt idx="431">
                  <c:v>49.414738530408826</c:v>
                </c:pt>
                <c:pt idx="432">
                  <c:v>49.05127845281487</c:v>
                </c:pt>
                <c:pt idx="433">
                  <c:v>48.864315551115858</c:v>
                </c:pt>
                <c:pt idx="434">
                  <c:v>49.310167064982849</c:v>
                </c:pt>
                <c:pt idx="435">
                  <c:v>49.310167064982849</c:v>
                </c:pt>
                <c:pt idx="436">
                  <c:v>49.192522112974615</c:v>
                </c:pt>
                <c:pt idx="437">
                  <c:v>49.042961634385705</c:v>
                </c:pt>
                <c:pt idx="438">
                  <c:v>48.770509115128881</c:v>
                </c:pt>
                <c:pt idx="439">
                  <c:v>47.914434483956327</c:v>
                </c:pt>
                <c:pt idx="440">
                  <c:v>47.194330558301111</c:v>
                </c:pt>
                <c:pt idx="441">
                  <c:v>47.232441281040941</c:v>
                </c:pt>
                <c:pt idx="442">
                  <c:v>47.827221463571675</c:v>
                </c:pt>
                <c:pt idx="443">
                  <c:v>46.358561144961577</c:v>
                </c:pt>
                <c:pt idx="444">
                  <c:v>46.989936863271573</c:v>
                </c:pt>
                <c:pt idx="445">
                  <c:v>45.481670204130936</c:v>
                </c:pt>
                <c:pt idx="446">
                  <c:v>44.883670237914835</c:v>
                </c:pt>
                <c:pt idx="447">
                  <c:v>46.904525828326882</c:v>
                </c:pt>
                <c:pt idx="448">
                  <c:v>47.098121535575679</c:v>
                </c:pt>
                <c:pt idx="449">
                  <c:v>46.991298176365646</c:v>
                </c:pt>
                <c:pt idx="450">
                  <c:v>47.164367066203674</c:v>
                </c:pt>
                <c:pt idx="451">
                  <c:v>47.196651311489433</c:v>
                </c:pt>
                <c:pt idx="452">
                  <c:v>46.742930670917879</c:v>
                </c:pt>
                <c:pt idx="453">
                  <c:v>46.531211096956135</c:v>
                </c:pt>
                <c:pt idx="454">
                  <c:v>46.3221436447744</c:v>
                </c:pt>
                <c:pt idx="455">
                  <c:v>46.32177968041875</c:v>
                </c:pt>
                <c:pt idx="456">
                  <c:v>45.450135188703655</c:v>
                </c:pt>
                <c:pt idx="457">
                  <c:v>45.697294938297865</c:v>
                </c:pt>
                <c:pt idx="458">
                  <c:v>46.574803768907444</c:v>
                </c:pt>
                <c:pt idx="459">
                  <c:v>47.41270730736607</c:v>
                </c:pt>
                <c:pt idx="460">
                  <c:v>47.41270730736607</c:v>
                </c:pt>
                <c:pt idx="461">
                  <c:v>48.630557332939581</c:v>
                </c:pt>
                <c:pt idx="462">
                  <c:v>48.061745503328488</c:v>
                </c:pt>
                <c:pt idx="463">
                  <c:v>48.093767476622631</c:v>
                </c:pt>
                <c:pt idx="464">
                  <c:v>47.303207428110653</c:v>
                </c:pt>
                <c:pt idx="465">
                  <c:v>46.760652916985507</c:v>
                </c:pt>
                <c:pt idx="466">
                  <c:v>46.385058171267772</c:v>
                </c:pt>
                <c:pt idx="467">
                  <c:v>48.214682329036933</c:v>
                </c:pt>
                <c:pt idx="468">
                  <c:v>47.586494739269632</c:v>
                </c:pt>
                <c:pt idx="469">
                  <c:v>54.380756273136782</c:v>
                </c:pt>
                <c:pt idx="470">
                  <c:v>54.380756273136782</c:v>
                </c:pt>
                <c:pt idx="471">
                  <c:v>54.312780327795366</c:v>
                </c:pt>
                <c:pt idx="472">
                  <c:v>54.312780327795366</c:v>
                </c:pt>
                <c:pt idx="473">
                  <c:v>54.312780327795366</c:v>
                </c:pt>
                <c:pt idx="474">
                  <c:v>54.312780327795366</c:v>
                </c:pt>
                <c:pt idx="475">
                  <c:v>54.312780327795366</c:v>
                </c:pt>
                <c:pt idx="476">
                  <c:v>54.312780327795366</c:v>
                </c:pt>
                <c:pt idx="477">
                  <c:v>54.312780327795366</c:v>
                </c:pt>
                <c:pt idx="478">
                  <c:v>54.312780327795366</c:v>
                </c:pt>
                <c:pt idx="479">
                  <c:v>54.312780327795366</c:v>
                </c:pt>
                <c:pt idx="480">
                  <c:v>54.312780327795366</c:v>
                </c:pt>
                <c:pt idx="481">
                  <c:v>54.312780327795366</c:v>
                </c:pt>
                <c:pt idx="482">
                  <c:v>54.312780327795366</c:v>
                </c:pt>
                <c:pt idx="483">
                  <c:v>54.312780327795366</c:v>
                </c:pt>
                <c:pt idx="484">
                  <c:v>54.312780327795366</c:v>
                </c:pt>
                <c:pt idx="485">
                  <c:v>54.312780327795366</c:v>
                </c:pt>
                <c:pt idx="486">
                  <c:v>54.312780327795366</c:v>
                </c:pt>
                <c:pt idx="487">
                  <c:v>54.312780327795366</c:v>
                </c:pt>
                <c:pt idx="488">
                  <c:v>54.312780327795366</c:v>
                </c:pt>
                <c:pt idx="489">
                  <c:v>54.312780327795366</c:v>
                </c:pt>
                <c:pt idx="490">
                  <c:v>54.312780327795366</c:v>
                </c:pt>
                <c:pt idx="491">
                  <c:v>54.312780327795366</c:v>
                </c:pt>
                <c:pt idx="492">
                  <c:v>54.312780327795366</c:v>
                </c:pt>
                <c:pt idx="493">
                  <c:v>54.312780327795366</c:v>
                </c:pt>
                <c:pt idx="494">
                  <c:v>54.312780327795366</c:v>
                </c:pt>
                <c:pt idx="495">
                  <c:v>54.312780327795366</c:v>
                </c:pt>
                <c:pt idx="496">
                  <c:v>54.312780327795366</c:v>
                </c:pt>
                <c:pt idx="497">
                  <c:v>54.312780327795366</c:v>
                </c:pt>
                <c:pt idx="498">
                  <c:v>54.312780327795366</c:v>
                </c:pt>
                <c:pt idx="499">
                  <c:v>54.312780327795366</c:v>
                </c:pt>
                <c:pt idx="500">
                  <c:v>54.312780327795366</c:v>
                </c:pt>
                <c:pt idx="501">
                  <c:v>54.312780327795366</c:v>
                </c:pt>
                <c:pt idx="502">
                  <c:v>54.312780327795366</c:v>
                </c:pt>
                <c:pt idx="503">
                  <c:v>54.312780327795366</c:v>
                </c:pt>
                <c:pt idx="504">
                  <c:v>54.312780327795366</c:v>
                </c:pt>
                <c:pt idx="505">
                  <c:v>54.312780327795366</c:v>
                </c:pt>
                <c:pt idx="506">
                  <c:v>54.312780327795366</c:v>
                </c:pt>
                <c:pt idx="507">
                  <c:v>54.312780327795366</c:v>
                </c:pt>
                <c:pt idx="508">
                  <c:v>54.312780327795366</c:v>
                </c:pt>
                <c:pt idx="509">
                  <c:v>54.312780327795366</c:v>
                </c:pt>
                <c:pt idx="510">
                  <c:v>54.312780327795366</c:v>
                </c:pt>
                <c:pt idx="511">
                  <c:v>54.312780327795366</c:v>
                </c:pt>
                <c:pt idx="512">
                  <c:v>54.312780327795366</c:v>
                </c:pt>
                <c:pt idx="513">
                  <c:v>54.312780327795366</c:v>
                </c:pt>
                <c:pt idx="514">
                  <c:v>54.312780327795366</c:v>
                </c:pt>
                <c:pt idx="515">
                  <c:v>54.312780327795366</c:v>
                </c:pt>
                <c:pt idx="516">
                  <c:v>54.312780327795366</c:v>
                </c:pt>
                <c:pt idx="517">
                  <c:v>54.312780327795366</c:v>
                </c:pt>
                <c:pt idx="518">
                  <c:v>54.312780327795366</c:v>
                </c:pt>
                <c:pt idx="519">
                  <c:v>54.312780327795366</c:v>
                </c:pt>
                <c:pt idx="520">
                  <c:v>54.312780327795366</c:v>
                </c:pt>
                <c:pt idx="521">
                  <c:v>54.312780327795366</c:v>
                </c:pt>
                <c:pt idx="522">
                  <c:v>54.312780327795366</c:v>
                </c:pt>
                <c:pt idx="523">
                  <c:v>54.312780327795366</c:v>
                </c:pt>
                <c:pt idx="524">
                  <c:v>54.312780327795366</c:v>
                </c:pt>
                <c:pt idx="525">
                  <c:v>54.312780327795366</c:v>
                </c:pt>
                <c:pt idx="526">
                  <c:v>54.312780327795366</c:v>
                </c:pt>
                <c:pt idx="527">
                  <c:v>54.312780327795366</c:v>
                </c:pt>
                <c:pt idx="528">
                  <c:v>54.228634199438389</c:v>
                </c:pt>
                <c:pt idx="529">
                  <c:v>53.877838928822719</c:v>
                </c:pt>
                <c:pt idx="530">
                  <c:v>55.640597840676598</c:v>
                </c:pt>
                <c:pt idx="531">
                  <c:v>55.640597840676598</c:v>
                </c:pt>
                <c:pt idx="532">
                  <c:v>55.571047093375753</c:v>
                </c:pt>
                <c:pt idx="533">
                  <c:v>55.128539661634804</c:v>
                </c:pt>
                <c:pt idx="534">
                  <c:v>55.011858266724843</c:v>
                </c:pt>
                <c:pt idx="535">
                  <c:v>54.361515118579099</c:v>
                </c:pt>
                <c:pt idx="536">
                  <c:v>55.008714248045926</c:v>
                </c:pt>
                <c:pt idx="537">
                  <c:v>55.574790262568655</c:v>
                </c:pt>
                <c:pt idx="538">
                  <c:v>58.086756886592752</c:v>
                </c:pt>
                <c:pt idx="539">
                  <c:v>58.086756886592752</c:v>
                </c:pt>
                <c:pt idx="540">
                  <c:v>58.014148440484512</c:v>
                </c:pt>
                <c:pt idx="541">
                  <c:v>58.014148440484512</c:v>
                </c:pt>
                <c:pt idx="542">
                  <c:v>58.014148440484512</c:v>
                </c:pt>
                <c:pt idx="543">
                  <c:v>58.014148440484512</c:v>
                </c:pt>
                <c:pt idx="544">
                  <c:v>58.014148440484512</c:v>
                </c:pt>
                <c:pt idx="545">
                  <c:v>58.014148440484512</c:v>
                </c:pt>
                <c:pt idx="546">
                  <c:v>58.004361858074184</c:v>
                </c:pt>
                <c:pt idx="547">
                  <c:v>56.698469089285688</c:v>
                </c:pt>
                <c:pt idx="548">
                  <c:v>60.094592710036281</c:v>
                </c:pt>
                <c:pt idx="549">
                  <c:v>60.094592710036281</c:v>
                </c:pt>
                <c:pt idx="550">
                  <c:v>60.01947446914874</c:v>
                </c:pt>
                <c:pt idx="551">
                  <c:v>60.01947446914874</c:v>
                </c:pt>
                <c:pt idx="552">
                  <c:v>60.01947446914874</c:v>
                </c:pt>
                <c:pt idx="553">
                  <c:v>60.01947446914874</c:v>
                </c:pt>
                <c:pt idx="554">
                  <c:v>60.01947446914874</c:v>
                </c:pt>
                <c:pt idx="555">
                  <c:v>60.01947446914874</c:v>
                </c:pt>
                <c:pt idx="556">
                  <c:v>60.01947446914874</c:v>
                </c:pt>
                <c:pt idx="557">
                  <c:v>60.01947446914874</c:v>
                </c:pt>
                <c:pt idx="558">
                  <c:v>60.01947446914874</c:v>
                </c:pt>
                <c:pt idx="559">
                  <c:v>60.01947446914874</c:v>
                </c:pt>
                <c:pt idx="560">
                  <c:v>60.01947446914874</c:v>
                </c:pt>
                <c:pt idx="561">
                  <c:v>60.01947446914874</c:v>
                </c:pt>
                <c:pt idx="562">
                  <c:v>60.01947446914874</c:v>
                </c:pt>
                <c:pt idx="563">
                  <c:v>60.01947446914874</c:v>
                </c:pt>
                <c:pt idx="564">
                  <c:v>60.01947446914874</c:v>
                </c:pt>
                <c:pt idx="565">
                  <c:v>60.01947446914874</c:v>
                </c:pt>
                <c:pt idx="566">
                  <c:v>60.01947446914874</c:v>
                </c:pt>
                <c:pt idx="567">
                  <c:v>60.01947446914874</c:v>
                </c:pt>
                <c:pt idx="568">
                  <c:v>60.01947446914874</c:v>
                </c:pt>
                <c:pt idx="569">
                  <c:v>60.01947446914874</c:v>
                </c:pt>
                <c:pt idx="570">
                  <c:v>60.01947446914874</c:v>
                </c:pt>
                <c:pt idx="571">
                  <c:v>60.01947446914874</c:v>
                </c:pt>
                <c:pt idx="572">
                  <c:v>60.01947446914874</c:v>
                </c:pt>
                <c:pt idx="573">
                  <c:v>60.01947446914874</c:v>
                </c:pt>
                <c:pt idx="574">
                  <c:v>60.01947446914874</c:v>
                </c:pt>
                <c:pt idx="575">
                  <c:v>60.01947446914874</c:v>
                </c:pt>
                <c:pt idx="576">
                  <c:v>60.01947446914874</c:v>
                </c:pt>
                <c:pt idx="577">
                  <c:v>60.01947446914874</c:v>
                </c:pt>
                <c:pt idx="578">
                  <c:v>60.01947446914874</c:v>
                </c:pt>
                <c:pt idx="579">
                  <c:v>60.01947446914874</c:v>
                </c:pt>
                <c:pt idx="580">
                  <c:v>60.01947446914874</c:v>
                </c:pt>
                <c:pt idx="581">
                  <c:v>60.01947446914874</c:v>
                </c:pt>
                <c:pt idx="582">
                  <c:v>60.01947446914874</c:v>
                </c:pt>
                <c:pt idx="583">
                  <c:v>60.01947446914874</c:v>
                </c:pt>
                <c:pt idx="584">
                  <c:v>60.01947446914874</c:v>
                </c:pt>
                <c:pt idx="585">
                  <c:v>60.01947446914874</c:v>
                </c:pt>
                <c:pt idx="586">
                  <c:v>60.01947446914874</c:v>
                </c:pt>
                <c:pt idx="587">
                  <c:v>60.01947446914874</c:v>
                </c:pt>
                <c:pt idx="588">
                  <c:v>60.01947446914874</c:v>
                </c:pt>
                <c:pt idx="589">
                  <c:v>60.01947446914874</c:v>
                </c:pt>
                <c:pt idx="590">
                  <c:v>60.01947446914874</c:v>
                </c:pt>
                <c:pt idx="591">
                  <c:v>60.01947446914874</c:v>
                </c:pt>
                <c:pt idx="592">
                  <c:v>60.01947446914874</c:v>
                </c:pt>
                <c:pt idx="593">
                  <c:v>60.01947446914874</c:v>
                </c:pt>
                <c:pt idx="594">
                  <c:v>60.01947446914874</c:v>
                </c:pt>
                <c:pt idx="595">
                  <c:v>60.01947446914874</c:v>
                </c:pt>
                <c:pt idx="596">
                  <c:v>60.01947446914874</c:v>
                </c:pt>
                <c:pt idx="597">
                  <c:v>60.01947446914874</c:v>
                </c:pt>
                <c:pt idx="598">
                  <c:v>60.01947446914874</c:v>
                </c:pt>
                <c:pt idx="599">
                  <c:v>60.01947446914874</c:v>
                </c:pt>
                <c:pt idx="600">
                  <c:v>60.01947446914874</c:v>
                </c:pt>
                <c:pt idx="601">
                  <c:v>60.01947446914874</c:v>
                </c:pt>
                <c:pt idx="602">
                  <c:v>60.01947446914874</c:v>
                </c:pt>
                <c:pt idx="603">
                  <c:v>60.01947446914874</c:v>
                </c:pt>
                <c:pt idx="604">
                  <c:v>60.01947446914874</c:v>
                </c:pt>
                <c:pt idx="605">
                  <c:v>60.01947446914874</c:v>
                </c:pt>
                <c:pt idx="606">
                  <c:v>60.01947446914874</c:v>
                </c:pt>
                <c:pt idx="607">
                  <c:v>60.01947446914874</c:v>
                </c:pt>
                <c:pt idx="608">
                  <c:v>60.01947446914874</c:v>
                </c:pt>
                <c:pt idx="609">
                  <c:v>60.01947446914874</c:v>
                </c:pt>
                <c:pt idx="610">
                  <c:v>60.01947446914874</c:v>
                </c:pt>
                <c:pt idx="611">
                  <c:v>60.01947446914874</c:v>
                </c:pt>
                <c:pt idx="612">
                  <c:v>60.01947446914874</c:v>
                </c:pt>
                <c:pt idx="613">
                  <c:v>60.01947446914874</c:v>
                </c:pt>
                <c:pt idx="614">
                  <c:v>60.01947446914874</c:v>
                </c:pt>
                <c:pt idx="615">
                  <c:v>60.01947446914874</c:v>
                </c:pt>
                <c:pt idx="616">
                  <c:v>60.01947446914874</c:v>
                </c:pt>
                <c:pt idx="617">
                  <c:v>60.01947446914874</c:v>
                </c:pt>
                <c:pt idx="618">
                  <c:v>60.01947446914874</c:v>
                </c:pt>
                <c:pt idx="619">
                  <c:v>60.01947446914874</c:v>
                </c:pt>
                <c:pt idx="620">
                  <c:v>60.01947446914874</c:v>
                </c:pt>
                <c:pt idx="621">
                  <c:v>60.01947446914874</c:v>
                </c:pt>
                <c:pt idx="622">
                  <c:v>60.01947446914874</c:v>
                </c:pt>
                <c:pt idx="623">
                  <c:v>60.01947446914874</c:v>
                </c:pt>
                <c:pt idx="624">
                  <c:v>60.01947446914874</c:v>
                </c:pt>
                <c:pt idx="625">
                  <c:v>60.01947446914874</c:v>
                </c:pt>
                <c:pt idx="626">
                  <c:v>60.01947446914874</c:v>
                </c:pt>
                <c:pt idx="627">
                  <c:v>60.01947446914874</c:v>
                </c:pt>
                <c:pt idx="628">
                  <c:v>60.01947446914874</c:v>
                </c:pt>
                <c:pt idx="629">
                  <c:v>60.01947446914874</c:v>
                </c:pt>
                <c:pt idx="630">
                  <c:v>60.01947446914874</c:v>
                </c:pt>
                <c:pt idx="631">
                  <c:v>60.01947446914874</c:v>
                </c:pt>
                <c:pt idx="632">
                  <c:v>60.01947446914874</c:v>
                </c:pt>
                <c:pt idx="633">
                  <c:v>60.01947446914874</c:v>
                </c:pt>
                <c:pt idx="634">
                  <c:v>60.01947446914874</c:v>
                </c:pt>
                <c:pt idx="635">
                  <c:v>60.01947446914874</c:v>
                </c:pt>
                <c:pt idx="636">
                  <c:v>60.01947446914874</c:v>
                </c:pt>
                <c:pt idx="637">
                  <c:v>60.01947446914874</c:v>
                </c:pt>
                <c:pt idx="638">
                  <c:v>60.01947446914874</c:v>
                </c:pt>
                <c:pt idx="639">
                  <c:v>60.01947446914874</c:v>
                </c:pt>
                <c:pt idx="640">
                  <c:v>60.01947446914874</c:v>
                </c:pt>
                <c:pt idx="641">
                  <c:v>60.01947446914874</c:v>
                </c:pt>
                <c:pt idx="642">
                  <c:v>63.513691035721777</c:v>
                </c:pt>
                <c:pt idx="643">
                  <c:v>63.434298921927123</c:v>
                </c:pt>
                <c:pt idx="644">
                  <c:v>63.355006048274717</c:v>
                </c:pt>
                <c:pt idx="645">
                  <c:v>63.355006048274717</c:v>
                </c:pt>
                <c:pt idx="646">
                  <c:v>63.355006048274717</c:v>
                </c:pt>
                <c:pt idx="647">
                  <c:v>63.355006048274717</c:v>
                </c:pt>
                <c:pt idx="648">
                  <c:v>63.355006048274717</c:v>
                </c:pt>
                <c:pt idx="649">
                  <c:v>63.355006048274717</c:v>
                </c:pt>
                <c:pt idx="650">
                  <c:v>63.355006048274717</c:v>
                </c:pt>
                <c:pt idx="651">
                  <c:v>63.355006048274717</c:v>
                </c:pt>
                <c:pt idx="652">
                  <c:v>63.355006048274717</c:v>
                </c:pt>
                <c:pt idx="653">
                  <c:v>63.355006048274717</c:v>
                </c:pt>
                <c:pt idx="654">
                  <c:v>63.355006048274717</c:v>
                </c:pt>
                <c:pt idx="655">
                  <c:v>63.355006048274717</c:v>
                </c:pt>
                <c:pt idx="656">
                  <c:v>63.355006048274717</c:v>
                </c:pt>
                <c:pt idx="657">
                  <c:v>63.355006048274717</c:v>
                </c:pt>
                <c:pt idx="658">
                  <c:v>63.355006048274717</c:v>
                </c:pt>
                <c:pt idx="659">
                  <c:v>63.355006048274717</c:v>
                </c:pt>
                <c:pt idx="660">
                  <c:v>63.355006048274717</c:v>
                </c:pt>
                <c:pt idx="661">
                  <c:v>63.355006048274717</c:v>
                </c:pt>
                <c:pt idx="662">
                  <c:v>63.355006048274717</c:v>
                </c:pt>
                <c:pt idx="663">
                  <c:v>63.355006048274717</c:v>
                </c:pt>
                <c:pt idx="664">
                  <c:v>63.355006048274717</c:v>
                </c:pt>
                <c:pt idx="665">
                  <c:v>63.355006048274717</c:v>
                </c:pt>
                <c:pt idx="666">
                  <c:v>63.355006048274717</c:v>
                </c:pt>
                <c:pt idx="667">
                  <c:v>63.355006048274717</c:v>
                </c:pt>
                <c:pt idx="668">
                  <c:v>63.355006048274717</c:v>
                </c:pt>
                <c:pt idx="669">
                  <c:v>63.355006048274717</c:v>
                </c:pt>
                <c:pt idx="670">
                  <c:v>63.355006048274717</c:v>
                </c:pt>
                <c:pt idx="671">
                  <c:v>63.355006048274717</c:v>
                </c:pt>
                <c:pt idx="672">
                  <c:v>63.355006048274717</c:v>
                </c:pt>
                <c:pt idx="673">
                  <c:v>63.355006048274717</c:v>
                </c:pt>
                <c:pt idx="674">
                  <c:v>63.355006048274717</c:v>
                </c:pt>
                <c:pt idx="675">
                  <c:v>63.355006048274717</c:v>
                </c:pt>
                <c:pt idx="676">
                  <c:v>63.355006048274717</c:v>
                </c:pt>
                <c:pt idx="677">
                  <c:v>63.355006048274717</c:v>
                </c:pt>
                <c:pt idx="678">
                  <c:v>63.355006048274717</c:v>
                </c:pt>
                <c:pt idx="679">
                  <c:v>63.355006048274717</c:v>
                </c:pt>
                <c:pt idx="680">
                  <c:v>63.355006048274717</c:v>
                </c:pt>
                <c:pt idx="681">
                  <c:v>63.355006048274717</c:v>
                </c:pt>
                <c:pt idx="682">
                  <c:v>63.355006048274717</c:v>
                </c:pt>
                <c:pt idx="683">
                  <c:v>63.355006048274717</c:v>
                </c:pt>
                <c:pt idx="684">
                  <c:v>63.355006048274717</c:v>
                </c:pt>
                <c:pt idx="685">
                  <c:v>63.355006048274717</c:v>
                </c:pt>
                <c:pt idx="686">
                  <c:v>63.355006048274717</c:v>
                </c:pt>
                <c:pt idx="687">
                  <c:v>63.355006048274717</c:v>
                </c:pt>
                <c:pt idx="688">
                  <c:v>63.355006048274717</c:v>
                </c:pt>
                <c:pt idx="689">
                  <c:v>63.355006048274717</c:v>
                </c:pt>
                <c:pt idx="690">
                  <c:v>63.355006048274717</c:v>
                </c:pt>
                <c:pt idx="691">
                  <c:v>63.355006048274717</c:v>
                </c:pt>
                <c:pt idx="692">
                  <c:v>63.355006048274717</c:v>
                </c:pt>
                <c:pt idx="693">
                  <c:v>63.355006048274717</c:v>
                </c:pt>
                <c:pt idx="694">
                  <c:v>63.355006048274717</c:v>
                </c:pt>
                <c:pt idx="695">
                  <c:v>63.355006048274717</c:v>
                </c:pt>
                <c:pt idx="696">
                  <c:v>63.355006048274717</c:v>
                </c:pt>
                <c:pt idx="697">
                  <c:v>63.355006048274717</c:v>
                </c:pt>
                <c:pt idx="698">
                  <c:v>63.355006048274717</c:v>
                </c:pt>
                <c:pt idx="699">
                  <c:v>63.355006048274717</c:v>
                </c:pt>
                <c:pt idx="700">
                  <c:v>63.355006048274717</c:v>
                </c:pt>
                <c:pt idx="701">
                  <c:v>63.355006048274717</c:v>
                </c:pt>
                <c:pt idx="702">
                  <c:v>63.355006048274717</c:v>
                </c:pt>
                <c:pt idx="703">
                  <c:v>63.355006048274717</c:v>
                </c:pt>
                <c:pt idx="704">
                  <c:v>63.355006048274717</c:v>
                </c:pt>
                <c:pt idx="705">
                  <c:v>63.355006048274717</c:v>
                </c:pt>
                <c:pt idx="706">
                  <c:v>63.355006048274717</c:v>
                </c:pt>
                <c:pt idx="707">
                  <c:v>63.355006048274717</c:v>
                </c:pt>
                <c:pt idx="708">
                  <c:v>63.355006048274717</c:v>
                </c:pt>
                <c:pt idx="709">
                  <c:v>63.355006048274717</c:v>
                </c:pt>
                <c:pt idx="710">
                  <c:v>63.355006048274717</c:v>
                </c:pt>
                <c:pt idx="711">
                  <c:v>63.355006048274717</c:v>
                </c:pt>
                <c:pt idx="712">
                  <c:v>63.355006048274717</c:v>
                </c:pt>
                <c:pt idx="713">
                  <c:v>63.355006048274717</c:v>
                </c:pt>
                <c:pt idx="714">
                  <c:v>63.355006048274717</c:v>
                </c:pt>
                <c:pt idx="715">
                  <c:v>63.355006048274717</c:v>
                </c:pt>
                <c:pt idx="716">
                  <c:v>63.355006048274717</c:v>
                </c:pt>
                <c:pt idx="717">
                  <c:v>63.355006048274717</c:v>
                </c:pt>
                <c:pt idx="718">
                  <c:v>63.355006048274717</c:v>
                </c:pt>
                <c:pt idx="719">
                  <c:v>63.355006048274717</c:v>
                </c:pt>
                <c:pt idx="720">
                  <c:v>63.355006048274717</c:v>
                </c:pt>
                <c:pt idx="721">
                  <c:v>63.355006048274717</c:v>
                </c:pt>
                <c:pt idx="722">
                  <c:v>63.355006048274717</c:v>
                </c:pt>
                <c:pt idx="723">
                  <c:v>63.355006048274717</c:v>
                </c:pt>
                <c:pt idx="724">
                  <c:v>63.355006048274717</c:v>
                </c:pt>
                <c:pt idx="725">
                  <c:v>63.355006048274717</c:v>
                </c:pt>
                <c:pt idx="726">
                  <c:v>63.355006048274717</c:v>
                </c:pt>
                <c:pt idx="727">
                  <c:v>63.355006048274717</c:v>
                </c:pt>
                <c:pt idx="728">
                  <c:v>63.355006048274717</c:v>
                </c:pt>
                <c:pt idx="729">
                  <c:v>63.355006048274717</c:v>
                </c:pt>
                <c:pt idx="730">
                  <c:v>63.355006048274717</c:v>
                </c:pt>
                <c:pt idx="731">
                  <c:v>63.355006048274717</c:v>
                </c:pt>
                <c:pt idx="732">
                  <c:v>63.355006048274717</c:v>
                </c:pt>
                <c:pt idx="733">
                  <c:v>63.355006048274717</c:v>
                </c:pt>
                <c:pt idx="734">
                  <c:v>63.355006048274717</c:v>
                </c:pt>
                <c:pt idx="735">
                  <c:v>63.355006048274717</c:v>
                </c:pt>
                <c:pt idx="736">
                  <c:v>63.355006048274717</c:v>
                </c:pt>
                <c:pt idx="737">
                  <c:v>63.355006048274717</c:v>
                </c:pt>
                <c:pt idx="738">
                  <c:v>63.355006048274717</c:v>
                </c:pt>
                <c:pt idx="739">
                  <c:v>63.355006048274717</c:v>
                </c:pt>
                <c:pt idx="740">
                  <c:v>63.355006048274717</c:v>
                </c:pt>
                <c:pt idx="741">
                  <c:v>63.355006048274717</c:v>
                </c:pt>
                <c:pt idx="742">
                  <c:v>63.355006048274717</c:v>
                </c:pt>
                <c:pt idx="743">
                  <c:v>63.355006048274717</c:v>
                </c:pt>
                <c:pt idx="744">
                  <c:v>63.355006048274717</c:v>
                </c:pt>
                <c:pt idx="745">
                  <c:v>64.212114726854125</c:v>
                </c:pt>
                <c:pt idx="746">
                  <c:v>64.131849583445558</c:v>
                </c:pt>
                <c:pt idx="747">
                  <c:v>63.33081213221223</c:v>
                </c:pt>
                <c:pt idx="748">
                  <c:v>60.909088586489162</c:v>
                </c:pt>
                <c:pt idx="749">
                  <c:v>60.921033026634767</c:v>
                </c:pt>
                <c:pt idx="750">
                  <c:v>62.535299990815574</c:v>
                </c:pt>
                <c:pt idx="751">
                  <c:v>60.467436798409189</c:v>
                </c:pt>
                <c:pt idx="752">
                  <c:v>61.620798214402491</c:v>
                </c:pt>
                <c:pt idx="753">
                  <c:v>61.340605340134303</c:v>
                </c:pt>
                <c:pt idx="754">
                  <c:v>60.882783416788435</c:v>
                </c:pt>
                <c:pt idx="755">
                  <c:v>60.084469397216708</c:v>
                </c:pt>
                <c:pt idx="756">
                  <c:v>60.137402382812652</c:v>
                </c:pt>
                <c:pt idx="757">
                  <c:v>57.905180289365696</c:v>
                </c:pt>
                <c:pt idx="758">
                  <c:v>57.170250750961046</c:v>
                </c:pt>
                <c:pt idx="759">
                  <c:v>57.638128963920401</c:v>
                </c:pt>
                <c:pt idx="760">
                  <c:v>57.011154981194764</c:v>
                </c:pt>
                <c:pt idx="761">
                  <c:v>55.366741318271892</c:v>
                </c:pt>
                <c:pt idx="762">
                  <c:v>53.954941372876341</c:v>
                </c:pt>
                <c:pt idx="763">
                  <c:v>53.560756625814875</c:v>
                </c:pt>
                <c:pt idx="764">
                  <c:v>54.263959906953495</c:v>
                </c:pt>
                <c:pt idx="765">
                  <c:v>55.383654413775481</c:v>
                </c:pt>
                <c:pt idx="766">
                  <c:v>51.782766351400312</c:v>
                </c:pt>
                <c:pt idx="767">
                  <c:v>51.452578170961765</c:v>
                </c:pt>
                <c:pt idx="768">
                  <c:v>51.47939437299577</c:v>
                </c:pt>
                <c:pt idx="769">
                  <c:v>49.204609499158465</c:v>
                </c:pt>
                <c:pt idx="770">
                  <c:v>51.500576093149668</c:v>
                </c:pt>
                <c:pt idx="771">
                  <c:v>51.416848875319253</c:v>
                </c:pt>
                <c:pt idx="772">
                  <c:v>51.669288928867282</c:v>
                </c:pt>
                <c:pt idx="773">
                  <c:v>50.410160025548031</c:v>
                </c:pt>
                <c:pt idx="774">
                  <c:v>50.254670834122138</c:v>
                </c:pt>
                <c:pt idx="775">
                  <c:v>49.089672329658185</c:v>
                </c:pt>
                <c:pt idx="776">
                  <c:v>46.753593997862019</c:v>
                </c:pt>
                <c:pt idx="777">
                  <c:v>47.360168617577607</c:v>
                </c:pt>
                <c:pt idx="778">
                  <c:v>46.465220676435457</c:v>
                </c:pt>
                <c:pt idx="779">
                  <c:v>48.955858468701436</c:v>
                </c:pt>
                <c:pt idx="780">
                  <c:v>52.053908656880076</c:v>
                </c:pt>
                <c:pt idx="781">
                  <c:v>52.053908656880076</c:v>
                </c:pt>
                <c:pt idx="782">
                  <c:v>51.988841271058973</c:v>
                </c:pt>
                <c:pt idx="783">
                  <c:v>51.988841271058973</c:v>
                </c:pt>
                <c:pt idx="784">
                  <c:v>51.988841271058973</c:v>
                </c:pt>
                <c:pt idx="785">
                  <c:v>53.39871482344811</c:v>
                </c:pt>
                <c:pt idx="786">
                  <c:v>53.783419216774185</c:v>
                </c:pt>
                <c:pt idx="787">
                  <c:v>56.494188518910725</c:v>
                </c:pt>
                <c:pt idx="788">
                  <c:v>57.654401097876956</c:v>
                </c:pt>
                <c:pt idx="789">
                  <c:v>57.654401097876956</c:v>
                </c:pt>
                <c:pt idx="790">
                  <c:v>57.582333096504613</c:v>
                </c:pt>
                <c:pt idx="791">
                  <c:v>56.110575348912732</c:v>
                </c:pt>
                <c:pt idx="792">
                  <c:v>56.040437129726591</c:v>
                </c:pt>
                <c:pt idx="793">
                  <c:v>55.970386583314436</c:v>
                </c:pt>
                <c:pt idx="794">
                  <c:v>55.970386583314436</c:v>
                </c:pt>
                <c:pt idx="795">
                  <c:v>55.970386583314436</c:v>
                </c:pt>
                <c:pt idx="796">
                  <c:v>55.970386583314436</c:v>
                </c:pt>
                <c:pt idx="797">
                  <c:v>55.970386583314436</c:v>
                </c:pt>
                <c:pt idx="798">
                  <c:v>55.970386583314436</c:v>
                </c:pt>
                <c:pt idx="799">
                  <c:v>55.970386583314436</c:v>
                </c:pt>
                <c:pt idx="800">
                  <c:v>55.970386583314436</c:v>
                </c:pt>
                <c:pt idx="801">
                  <c:v>55.970386583314436</c:v>
                </c:pt>
                <c:pt idx="802">
                  <c:v>55.970386583314436</c:v>
                </c:pt>
                <c:pt idx="803">
                  <c:v>55.970386583314436</c:v>
                </c:pt>
                <c:pt idx="804">
                  <c:v>55.970386583314436</c:v>
                </c:pt>
                <c:pt idx="805">
                  <c:v>55.970386583314436</c:v>
                </c:pt>
                <c:pt idx="806">
                  <c:v>55.970386583314436</c:v>
                </c:pt>
                <c:pt idx="807">
                  <c:v>55.970386583314436</c:v>
                </c:pt>
                <c:pt idx="808">
                  <c:v>55.970386583314436</c:v>
                </c:pt>
                <c:pt idx="809">
                  <c:v>55.970386583314436</c:v>
                </c:pt>
                <c:pt idx="810">
                  <c:v>55.970386583314436</c:v>
                </c:pt>
                <c:pt idx="811">
                  <c:v>55.970386583314436</c:v>
                </c:pt>
                <c:pt idx="812">
                  <c:v>55.970386583314436</c:v>
                </c:pt>
                <c:pt idx="813">
                  <c:v>55.970386583314436</c:v>
                </c:pt>
                <c:pt idx="814">
                  <c:v>55.970386583314436</c:v>
                </c:pt>
                <c:pt idx="815">
                  <c:v>55.970386583314436</c:v>
                </c:pt>
                <c:pt idx="816">
                  <c:v>55.970386583314436</c:v>
                </c:pt>
                <c:pt idx="817">
                  <c:v>55.970386583314436</c:v>
                </c:pt>
                <c:pt idx="818">
                  <c:v>55.970386583314436</c:v>
                </c:pt>
                <c:pt idx="819">
                  <c:v>55.970386583314436</c:v>
                </c:pt>
                <c:pt idx="820">
                  <c:v>55.970386583314436</c:v>
                </c:pt>
                <c:pt idx="821">
                  <c:v>55.970386583314436</c:v>
                </c:pt>
                <c:pt idx="822">
                  <c:v>55.970386583314436</c:v>
                </c:pt>
                <c:pt idx="823">
                  <c:v>55.970386583314436</c:v>
                </c:pt>
                <c:pt idx="824">
                  <c:v>55.970386583314436</c:v>
                </c:pt>
                <c:pt idx="825">
                  <c:v>55.970386583314436</c:v>
                </c:pt>
                <c:pt idx="826">
                  <c:v>55.970386583314436</c:v>
                </c:pt>
                <c:pt idx="827">
                  <c:v>55.970386583314436</c:v>
                </c:pt>
                <c:pt idx="828">
                  <c:v>55.970386583314436</c:v>
                </c:pt>
                <c:pt idx="829">
                  <c:v>55.970386583314436</c:v>
                </c:pt>
                <c:pt idx="830">
                  <c:v>55.970386583314436</c:v>
                </c:pt>
                <c:pt idx="831">
                  <c:v>55.970386583314436</c:v>
                </c:pt>
                <c:pt idx="832">
                  <c:v>55.970386583314436</c:v>
                </c:pt>
                <c:pt idx="833">
                  <c:v>55.970386583314436</c:v>
                </c:pt>
                <c:pt idx="834">
                  <c:v>58.045645331751956</c:v>
                </c:pt>
                <c:pt idx="835">
                  <c:v>57.973088275087271</c:v>
                </c:pt>
                <c:pt idx="836">
                  <c:v>57.900621914743411</c:v>
                </c:pt>
                <c:pt idx="837">
                  <c:v>60.65773001092203</c:v>
                </c:pt>
                <c:pt idx="838">
                  <c:v>60.581907848408378</c:v>
                </c:pt>
                <c:pt idx="839">
                  <c:v>60.506180463597872</c:v>
                </c:pt>
                <c:pt idx="840">
                  <c:v>60.506180463597872</c:v>
                </c:pt>
                <c:pt idx="841">
                  <c:v>60.844435902017167</c:v>
                </c:pt>
                <c:pt idx="842">
                  <c:v>60.768380357139648</c:v>
                </c:pt>
                <c:pt idx="843">
                  <c:v>60.692419881693226</c:v>
                </c:pt>
                <c:pt idx="844">
                  <c:v>60.692419881693226</c:v>
                </c:pt>
                <c:pt idx="845">
                  <c:v>60.692419881693226</c:v>
                </c:pt>
                <c:pt idx="846">
                  <c:v>61.01619218804106</c:v>
                </c:pt>
                <c:pt idx="847">
                  <c:v>60.939921947806013</c:v>
                </c:pt>
                <c:pt idx="848">
                  <c:v>60.863747045371255</c:v>
                </c:pt>
                <c:pt idx="849">
                  <c:v>60.963629201951029</c:v>
                </c:pt>
                <c:pt idx="850">
                  <c:v>61.574685789122512</c:v>
                </c:pt>
                <c:pt idx="851">
                  <c:v>62.580343148011899</c:v>
                </c:pt>
                <c:pt idx="852">
                  <c:v>62.580343148011899</c:v>
                </c:pt>
                <c:pt idx="853">
                  <c:v>62.468858150467092</c:v>
                </c:pt>
                <c:pt idx="854">
                  <c:v>62.390772077779012</c:v>
                </c:pt>
                <c:pt idx="855">
                  <c:v>62.312783612681791</c:v>
                </c:pt>
                <c:pt idx="856">
                  <c:v>62.312783612681791</c:v>
                </c:pt>
                <c:pt idx="857">
                  <c:v>62.312783612681791</c:v>
                </c:pt>
                <c:pt idx="858">
                  <c:v>62.312783612681791</c:v>
                </c:pt>
                <c:pt idx="859">
                  <c:v>62.312783612681791</c:v>
                </c:pt>
                <c:pt idx="860">
                  <c:v>62.312783612681791</c:v>
                </c:pt>
                <c:pt idx="861">
                  <c:v>62.312783612681791</c:v>
                </c:pt>
                <c:pt idx="862">
                  <c:v>62.312783612681791</c:v>
                </c:pt>
                <c:pt idx="863">
                  <c:v>62.312783612681791</c:v>
                </c:pt>
                <c:pt idx="864">
                  <c:v>62.312783612681791</c:v>
                </c:pt>
                <c:pt idx="865">
                  <c:v>62.312783612681791</c:v>
                </c:pt>
                <c:pt idx="866">
                  <c:v>62.312783612681791</c:v>
                </c:pt>
                <c:pt idx="867">
                  <c:v>62.312783612681791</c:v>
                </c:pt>
                <c:pt idx="868">
                  <c:v>62.312783612681791</c:v>
                </c:pt>
                <c:pt idx="869">
                  <c:v>62.312783612681791</c:v>
                </c:pt>
                <c:pt idx="870">
                  <c:v>62.312783612681791</c:v>
                </c:pt>
                <c:pt idx="871">
                  <c:v>62.312783612681791</c:v>
                </c:pt>
                <c:pt idx="872">
                  <c:v>62.312783612681791</c:v>
                </c:pt>
                <c:pt idx="873">
                  <c:v>62.312783612681791</c:v>
                </c:pt>
                <c:pt idx="874">
                  <c:v>62.312783612681791</c:v>
                </c:pt>
                <c:pt idx="875">
                  <c:v>62.312783612681791</c:v>
                </c:pt>
                <c:pt idx="876">
                  <c:v>62.312783612681791</c:v>
                </c:pt>
                <c:pt idx="877">
                  <c:v>62.312783612681791</c:v>
                </c:pt>
                <c:pt idx="878">
                  <c:v>62.312783612681791</c:v>
                </c:pt>
                <c:pt idx="879">
                  <c:v>62.312783612681791</c:v>
                </c:pt>
                <c:pt idx="880">
                  <c:v>62.312783612681791</c:v>
                </c:pt>
                <c:pt idx="881">
                  <c:v>62.312783612681791</c:v>
                </c:pt>
                <c:pt idx="882">
                  <c:v>62.312783612681791</c:v>
                </c:pt>
                <c:pt idx="883">
                  <c:v>62.312783612681791</c:v>
                </c:pt>
                <c:pt idx="884">
                  <c:v>62.312783612681791</c:v>
                </c:pt>
                <c:pt idx="885">
                  <c:v>62.312783612681791</c:v>
                </c:pt>
                <c:pt idx="886">
                  <c:v>62.312783612681791</c:v>
                </c:pt>
                <c:pt idx="887">
                  <c:v>62.312783612681791</c:v>
                </c:pt>
                <c:pt idx="888">
                  <c:v>62.312783612681791</c:v>
                </c:pt>
                <c:pt idx="889">
                  <c:v>62.312783612681791</c:v>
                </c:pt>
                <c:pt idx="890">
                  <c:v>62.312783612681791</c:v>
                </c:pt>
                <c:pt idx="891">
                  <c:v>62.312783612681791</c:v>
                </c:pt>
                <c:pt idx="892">
                  <c:v>62.312783612681791</c:v>
                </c:pt>
                <c:pt idx="893">
                  <c:v>62.312783612681791</c:v>
                </c:pt>
                <c:pt idx="894">
                  <c:v>62.312783612681791</c:v>
                </c:pt>
                <c:pt idx="895">
                  <c:v>62.312783612681791</c:v>
                </c:pt>
                <c:pt idx="896">
                  <c:v>62.312783612681791</c:v>
                </c:pt>
                <c:pt idx="897">
                  <c:v>62.312783612681791</c:v>
                </c:pt>
                <c:pt idx="898">
                  <c:v>62.312783612681791</c:v>
                </c:pt>
                <c:pt idx="899">
                  <c:v>62.312783612681791</c:v>
                </c:pt>
                <c:pt idx="900">
                  <c:v>62.312783612681791</c:v>
                </c:pt>
                <c:pt idx="901">
                  <c:v>62.312783612681791</c:v>
                </c:pt>
                <c:pt idx="902">
                  <c:v>62.312783612681791</c:v>
                </c:pt>
                <c:pt idx="903">
                  <c:v>62.312783612681791</c:v>
                </c:pt>
                <c:pt idx="904">
                  <c:v>62.312783612681791</c:v>
                </c:pt>
                <c:pt idx="905">
                  <c:v>62.312783612681791</c:v>
                </c:pt>
                <c:pt idx="906">
                  <c:v>62.312783612681791</c:v>
                </c:pt>
                <c:pt idx="907">
                  <c:v>62.312783612681791</c:v>
                </c:pt>
                <c:pt idx="908">
                  <c:v>62.312783612681791</c:v>
                </c:pt>
                <c:pt idx="909">
                  <c:v>62.312783612681791</c:v>
                </c:pt>
                <c:pt idx="910">
                  <c:v>62.312783612681791</c:v>
                </c:pt>
                <c:pt idx="911">
                  <c:v>62.312783612681791</c:v>
                </c:pt>
                <c:pt idx="912">
                  <c:v>62.312783612681791</c:v>
                </c:pt>
                <c:pt idx="913">
                  <c:v>62.312783612681791</c:v>
                </c:pt>
                <c:pt idx="914">
                  <c:v>62.312783612681791</c:v>
                </c:pt>
                <c:pt idx="915">
                  <c:v>62.312783612681791</c:v>
                </c:pt>
                <c:pt idx="916">
                  <c:v>62.312783612681791</c:v>
                </c:pt>
                <c:pt idx="917">
                  <c:v>62.312783612681791</c:v>
                </c:pt>
                <c:pt idx="918">
                  <c:v>62.312783612681791</c:v>
                </c:pt>
                <c:pt idx="919">
                  <c:v>62.312783612681791</c:v>
                </c:pt>
                <c:pt idx="920">
                  <c:v>62.312783612681791</c:v>
                </c:pt>
                <c:pt idx="921">
                  <c:v>62.312783612681791</c:v>
                </c:pt>
                <c:pt idx="922">
                  <c:v>62.312783612681791</c:v>
                </c:pt>
                <c:pt idx="923">
                  <c:v>62.312783612681791</c:v>
                </c:pt>
                <c:pt idx="924">
                  <c:v>62.312783612681791</c:v>
                </c:pt>
                <c:pt idx="925">
                  <c:v>62.312783612681791</c:v>
                </c:pt>
                <c:pt idx="926">
                  <c:v>62.312783612681791</c:v>
                </c:pt>
                <c:pt idx="927">
                  <c:v>62.312783612681791</c:v>
                </c:pt>
                <c:pt idx="928">
                  <c:v>62.312783612681791</c:v>
                </c:pt>
                <c:pt idx="929">
                  <c:v>62.312783612681791</c:v>
                </c:pt>
                <c:pt idx="930">
                  <c:v>62.312783612681791</c:v>
                </c:pt>
                <c:pt idx="931">
                  <c:v>62.312783612681791</c:v>
                </c:pt>
                <c:pt idx="932">
                  <c:v>62.312783612681791</c:v>
                </c:pt>
                <c:pt idx="933">
                  <c:v>62.312783612681791</c:v>
                </c:pt>
                <c:pt idx="934">
                  <c:v>62.312783612681791</c:v>
                </c:pt>
                <c:pt idx="935">
                  <c:v>62.312783612681791</c:v>
                </c:pt>
                <c:pt idx="936">
                  <c:v>62.312783612681791</c:v>
                </c:pt>
                <c:pt idx="937">
                  <c:v>62.312783612681791</c:v>
                </c:pt>
                <c:pt idx="938">
                  <c:v>62.312783612681791</c:v>
                </c:pt>
                <c:pt idx="939">
                  <c:v>62.312783612681791</c:v>
                </c:pt>
                <c:pt idx="940">
                  <c:v>62.312783612681791</c:v>
                </c:pt>
                <c:pt idx="941">
                  <c:v>62.312783612681791</c:v>
                </c:pt>
                <c:pt idx="942">
                  <c:v>62.312783612681791</c:v>
                </c:pt>
                <c:pt idx="943">
                  <c:v>62.312783612681791</c:v>
                </c:pt>
                <c:pt idx="944">
                  <c:v>62.312783612681791</c:v>
                </c:pt>
                <c:pt idx="945">
                  <c:v>62.312783612681791</c:v>
                </c:pt>
                <c:pt idx="946">
                  <c:v>62.312783612681791</c:v>
                </c:pt>
                <c:pt idx="947">
                  <c:v>62.312783612681791</c:v>
                </c:pt>
                <c:pt idx="948">
                  <c:v>62.312783612681791</c:v>
                </c:pt>
                <c:pt idx="949">
                  <c:v>62.312783612681791</c:v>
                </c:pt>
                <c:pt idx="950">
                  <c:v>62.312783612681791</c:v>
                </c:pt>
                <c:pt idx="951">
                  <c:v>62.312783612681791</c:v>
                </c:pt>
                <c:pt idx="952">
                  <c:v>62.312783612681791</c:v>
                </c:pt>
                <c:pt idx="953">
                  <c:v>62.312783612681791</c:v>
                </c:pt>
                <c:pt idx="954">
                  <c:v>62.312783612681791</c:v>
                </c:pt>
                <c:pt idx="955">
                  <c:v>62.312783612681791</c:v>
                </c:pt>
                <c:pt idx="956">
                  <c:v>62.312783612681791</c:v>
                </c:pt>
                <c:pt idx="957">
                  <c:v>62.312783612681791</c:v>
                </c:pt>
                <c:pt idx="958">
                  <c:v>62.312783612681791</c:v>
                </c:pt>
                <c:pt idx="959">
                  <c:v>62.312783612681791</c:v>
                </c:pt>
                <c:pt idx="960">
                  <c:v>62.312783612681791</c:v>
                </c:pt>
                <c:pt idx="961">
                  <c:v>62.312783612681791</c:v>
                </c:pt>
                <c:pt idx="962">
                  <c:v>62.312783612681791</c:v>
                </c:pt>
                <c:pt idx="963">
                  <c:v>62.312783612681791</c:v>
                </c:pt>
                <c:pt idx="964">
                  <c:v>62.312783612681791</c:v>
                </c:pt>
                <c:pt idx="965">
                  <c:v>62.312783612681791</c:v>
                </c:pt>
                <c:pt idx="966">
                  <c:v>62.312783612681791</c:v>
                </c:pt>
                <c:pt idx="967">
                  <c:v>62.312783612681791</c:v>
                </c:pt>
                <c:pt idx="968">
                  <c:v>62.312783612681791</c:v>
                </c:pt>
                <c:pt idx="969">
                  <c:v>62.312783612681791</c:v>
                </c:pt>
                <c:pt idx="970">
                  <c:v>62.312783612681791</c:v>
                </c:pt>
                <c:pt idx="971">
                  <c:v>62.312783612681791</c:v>
                </c:pt>
                <c:pt idx="972">
                  <c:v>62.312783612681791</c:v>
                </c:pt>
                <c:pt idx="973">
                  <c:v>62.312783612681791</c:v>
                </c:pt>
                <c:pt idx="974">
                  <c:v>62.312783612681791</c:v>
                </c:pt>
                <c:pt idx="975">
                  <c:v>62.312783612681791</c:v>
                </c:pt>
                <c:pt idx="976">
                  <c:v>62.312783612681791</c:v>
                </c:pt>
                <c:pt idx="977">
                  <c:v>62.312783612681791</c:v>
                </c:pt>
                <c:pt idx="978">
                  <c:v>62.312783612681791</c:v>
                </c:pt>
                <c:pt idx="979">
                  <c:v>62.312783612681791</c:v>
                </c:pt>
                <c:pt idx="980">
                  <c:v>62.312783612681791</c:v>
                </c:pt>
                <c:pt idx="981">
                  <c:v>62.312783612681791</c:v>
                </c:pt>
                <c:pt idx="982">
                  <c:v>62.312783612681791</c:v>
                </c:pt>
                <c:pt idx="983">
                  <c:v>62.312783612681791</c:v>
                </c:pt>
                <c:pt idx="984">
                  <c:v>62.312783612681791</c:v>
                </c:pt>
                <c:pt idx="985">
                  <c:v>62.312783612681791</c:v>
                </c:pt>
                <c:pt idx="986">
                  <c:v>62.312783612681791</c:v>
                </c:pt>
                <c:pt idx="987">
                  <c:v>62.312783612681791</c:v>
                </c:pt>
                <c:pt idx="988">
                  <c:v>62.312783612681791</c:v>
                </c:pt>
                <c:pt idx="989">
                  <c:v>62.312783612681791</c:v>
                </c:pt>
                <c:pt idx="990">
                  <c:v>62.312783612681791</c:v>
                </c:pt>
                <c:pt idx="991">
                  <c:v>62.312783612681791</c:v>
                </c:pt>
                <c:pt idx="992">
                  <c:v>62.312783612681791</c:v>
                </c:pt>
                <c:pt idx="993">
                  <c:v>62.312783612681791</c:v>
                </c:pt>
                <c:pt idx="994">
                  <c:v>62.312783612681791</c:v>
                </c:pt>
                <c:pt idx="995">
                  <c:v>62.312783612681791</c:v>
                </c:pt>
                <c:pt idx="996">
                  <c:v>62.312783612681791</c:v>
                </c:pt>
                <c:pt idx="997">
                  <c:v>62.312783612681791</c:v>
                </c:pt>
                <c:pt idx="998">
                  <c:v>62.312783612681791</c:v>
                </c:pt>
                <c:pt idx="999">
                  <c:v>62.312783612681791</c:v>
                </c:pt>
                <c:pt idx="1000">
                  <c:v>62.312783612681791</c:v>
                </c:pt>
                <c:pt idx="1001">
                  <c:v>62.312783612681791</c:v>
                </c:pt>
                <c:pt idx="1002">
                  <c:v>62.312783612681791</c:v>
                </c:pt>
                <c:pt idx="1003">
                  <c:v>60.6642138787223</c:v>
                </c:pt>
                <c:pt idx="1004">
                  <c:v>60.321738252483343</c:v>
                </c:pt>
                <c:pt idx="1005">
                  <c:v>60.135129257618182</c:v>
                </c:pt>
                <c:pt idx="1006">
                  <c:v>58.91994651825668</c:v>
                </c:pt>
                <c:pt idx="1007">
                  <c:v>56.715421035589323</c:v>
                </c:pt>
                <c:pt idx="1008">
                  <c:v>55.571893958254485</c:v>
                </c:pt>
                <c:pt idx="1009">
                  <c:v>59.972679121854085</c:v>
                </c:pt>
                <c:pt idx="1010">
                  <c:v>57.532948753904677</c:v>
                </c:pt>
                <c:pt idx="1011">
                  <c:v>57.605035804501242</c:v>
                </c:pt>
                <c:pt idx="1012">
                  <c:v>56.820200369599185</c:v>
                </c:pt>
                <c:pt idx="1013">
                  <c:v>56.761087488795724</c:v>
                </c:pt>
                <c:pt idx="1014">
                  <c:v>57.268147059017615</c:v>
                </c:pt>
                <c:pt idx="1015">
                  <c:v>57.032405983731657</c:v>
                </c:pt>
                <c:pt idx="1016">
                  <c:v>57.651060236342651</c:v>
                </c:pt>
                <c:pt idx="1017">
                  <c:v>57.577064481891995</c:v>
                </c:pt>
                <c:pt idx="1018">
                  <c:v>56.584503457143732</c:v>
                </c:pt>
                <c:pt idx="1019">
                  <c:v>55.109156913691905</c:v>
                </c:pt>
                <c:pt idx="1020">
                  <c:v>54.743853031042576</c:v>
                </c:pt>
                <c:pt idx="1021">
                  <c:v>52.289783893680507</c:v>
                </c:pt>
                <c:pt idx="1022">
                  <c:v>53.313025257053297</c:v>
                </c:pt>
                <c:pt idx="1023">
                  <c:v>50.937734824811983</c:v>
                </c:pt>
                <c:pt idx="1024">
                  <c:v>51.328226717363719</c:v>
                </c:pt>
                <c:pt idx="1025">
                  <c:v>50.536464923997315</c:v>
                </c:pt>
                <c:pt idx="1026">
                  <c:v>52.828267057525423</c:v>
                </c:pt>
                <c:pt idx="1027">
                  <c:v>49.975961622445361</c:v>
                </c:pt>
                <c:pt idx="1028">
                  <c:v>50.256636342223949</c:v>
                </c:pt>
                <c:pt idx="1029">
                  <c:v>46.625371349944452</c:v>
                </c:pt>
                <c:pt idx="1030">
                  <c:v>46.279803697652376</c:v>
                </c:pt>
                <c:pt idx="1031">
                  <c:v>46.373699794073815</c:v>
                </c:pt>
                <c:pt idx="1032">
                  <c:v>48.958128812766518</c:v>
                </c:pt>
                <c:pt idx="1033">
                  <c:v>49.788365571498382</c:v>
                </c:pt>
                <c:pt idx="1034">
                  <c:v>49.5216926109252</c:v>
                </c:pt>
                <c:pt idx="1035">
                  <c:v>49.055879466895782</c:v>
                </c:pt>
                <c:pt idx="1036">
                  <c:v>48.537548525228672</c:v>
                </c:pt>
                <c:pt idx="1037">
                  <c:v>48.600310060471735</c:v>
                </c:pt>
                <c:pt idx="1038">
                  <c:v>48.471564127680885</c:v>
                </c:pt>
                <c:pt idx="1039">
                  <c:v>48.410864352168034</c:v>
                </c:pt>
                <c:pt idx="1040">
                  <c:v>50.643796969104692</c:v>
                </c:pt>
                <c:pt idx="1041">
                  <c:v>50.136958507430599</c:v>
                </c:pt>
                <c:pt idx="1042">
                  <c:v>50.052879260715237</c:v>
                </c:pt>
                <c:pt idx="1043">
                  <c:v>49.937293507310713</c:v>
                </c:pt>
                <c:pt idx="1044">
                  <c:v>49.47251004846683</c:v>
                </c:pt>
                <c:pt idx="1045">
                  <c:v>49.465015557142046</c:v>
                </c:pt>
                <c:pt idx="1046">
                  <c:v>47.876017297359894</c:v>
                </c:pt>
                <c:pt idx="1047">
                  <c:v>47.132663775306639</c:v>
                </c:pt>
                <c:pt idx="1048">
                  <c:v>49.304769405357632</c:v>
                </c:pt>
                <c:pt idx="1049">
                  <c:v>50.951053832614299</c:v>
                </c:pt>
                <c:pt idx="1050">
                  <c:v>50.951053832614299</c:v>
                </c:pt>
                <c:pt idx="1051">
                  <c:v>50.887365015323532</c:v>
                </c:pt>
                <c:pt idx="1052">
                  <c:v>50.887365015323532</c:v>
                </c:pt>
                <c:pt idx="1053">
                  <c:v>49.923856563542081</c:v>
                </c:pt>
                <c:pt idx="1054">
                  <c:v>49.861451742837652</c:v>
                </c:pt>
                <c:pt idx="1055">
                  <c:v>51.646710085062644</c:v>
                </c:pt>
                <c:pt idx="1056">
                  <c:v>52.326225960093055</c:v>
                </c:pt>
                <c:pt idx="1057">
                  <c:v>51.323939531680082</c:v>
                </c:pt>
                <c:pt idx="1058">
                  <c:v>49.33064995249579</c:v>
                </c:pt>
                <c:pt idx="1059">
                  <c:v>50.404735509491744</c:v>
                </c:pt>
                <c:pt idx="1060">
                  <c:v>49.683527877777273</c:v>
                </c:pt>
                <c:pt idx="1061">
                  <c:v>52.646808156267696</c:v>
                </c:pt>
                <c:pt idx="1062">
                  <c:v>52.100851825230286</c:v>
                </c:pt>
                <c:pt idx="1063">
                  <c:v>52.597914561165176</c:v>
                </c:pt>
                <c:pt idx="1064">
                  <c:v>52.597914561165176</c:v>
                </c:pt>
                <c:pt idx="1065">
                  <c:v>52.532167167963721</c:v>
                </c:pt>
                <c:pt idx="1066">
                  <c:v>52.532167167963721</c:v>
                </c:pt>
                <c:pt idx="1067">
                  <c:v>52.532167167963721</c:v>
                </c:pt>
                <c:pt idx="1068">
                  <c:v>53.132434291930728</c:v>
                </c:pt>
                <c:pt idx="1069">
                  <c:v>51.958620301995204</c:v>
                </c:pt>
                <c:pt idx="1070">
                  <c:v>50.861102091539912</c:v>
                </c:pt>
                <c:pt idx="1071">
                  <c:v>50.946620095422944</c:v>
                </c:pt>
                <c:pt idx="1072">
                  <c:v>49.892358334208872</c:v>
                </c:pt>
                <c:pt idx="1073">
                  <c:v>48.92385957679663</c:v>
                </c:pt>
                <c:pt idx="1074">
                  <c:v>47.779926740100372</c:v>
                </c:pt>
                <c:pt idx="1075">
                  <c:v>46.108691252211734</c:v>
                </c:pt>
                <c:pt idx="1076">
                  <c:v>45.666017545195984</c:v>
                </c:pt>
                <c:pt idx="1077">
                  <c:v>46.279793304852561</c:v>
                </c:pt>
                <c:pt idx="1078">
                  <c:v>47.9469551989054</c:v>
                </c:pt>
                <c:pt idx="1079">
                  <c:v>48.557857544725145</c:v>
                </c:pt>
                <c:pt idx="1080">
                  <c:v>48.139345849226672</c:v>
                </c:pt>
                <c:pt idx="1081">
                  <c:v>48.031249082621393</c:v>
                </c:pt>
                <c:pt idx="1082">
                  <c:v>47.679165163806374</c:v>
                </c:pt>
                <c:pt idx="1083">
                  <c:v>47.680534050895552</c:v>
                </c:pt>
                <c:pt idx="1084">
                  <c:v>47.376811325139151</c:v>
                </c:pt>
                <c:pt idx="1085">
                  <c:v>47.947458700158606</c:v>
                </c:pt>
                <c:pt idx="1086">
                  <c:v>46.631471717365677</c:v>
                </c:pt>
                <c:pt idx="1087">
                  <c:v>46.557910361593102</c:v>
                </c:pt>
                <c:pt idx="1088">
                  <c:v>47.559236001627923</c:v>
                </c:pt>
                <c:pt idx="1089">
                  <c:v>46.376880170735539</c:v>
                </c:pt>
                <c:pt idx="1090">
                  <c:v>45.838683331228374</c:v>
                </c:pt>
                <c:pt idx="1091">
                  <c:v>46.616120580338254</c:v>
                </c:pt>
                <c:pt idx="1092">
                  <c:v>49.24981709269116</c:v>
                </c:pt>
                <c:pt idx="1093">
                  <c:v>49.24981709269116</c:v>
                </c:pt>
                <c:pt idx="1094">
                  <c:v>49.188254821325295</c:v>
                </c:pt>
                <c:pt idx="1095">
                  <c:v>49.737332368416375</c:v>
                </c:pt>
                <c:pt idx="1096">
                  <c:v>49.142467215875328</c:v>
                </c:pt>
                <c:pt idx="1097">
                  <c:v>49.178469440518235</c:v>
                </c:pt>
                <c:pt idx="1098">
                  <c:v>49.806464459184625</c:v>
                </c:pt>
                <c:pt idx="1099">
                  <c:v>50.792218527398653</c:v>
                </c:pt>
                <c:pt idx="1100">
                  <c:v>50.094164052463384</c:v>
                </c:pt>
                <c:pt idx="1101">
                  <c:v>49.92255755816192</c:v>
                </c:pt>
                <c:pt idx="1102">
                  <c:v>50.297939349052832</c:v>
                </c:pt>
                <c:pt idx="1103">
                  <c:v>50.297939349052832</c:v>
                </c:pt>
                <c:pt idx="1104">
                  <c:v>50.235066924866516</c:v>
                </c:pt>
                <c:pt idx="1105">
                  <c:v>50.235066924866516</c:v>
                </c:pt>
                <c:pt idx="1106">
                  <c:v>50.235066924866516</c:v>
                </c:pt>
                <c:pt idx="1107">
                  <c:v>51.075952690921021</c:v>
                </c:pt>
                <c:pt idx="1108">
                  <c:v>49.531170870054815</c:v>
                </c:pt>
                <c:pt idx="1109">
                  <c:v>46.656481340027746</c:v>
                </c:pt>
                <c:pt idx="1110">
                  <c:v>47.247614899858824</c:v>
                </c:pt>
                <c:pt idx="1111">
                  <c:v>46.137587084800721</c:v>
                </c:pt>
                <c:pt idx="1112">
                  <c:v>46.305769770147172</c:v>
                </c:pt>
                <c:pt idx="1113">
                  <c:v>44.258727937709615</c:v>
                </c:pt>
                <c:pt idx="1114">
                  <c:v>44.510254531157464</c:v>
                </c:pt>
                <c:pt idx="1115">
                  <c:v>45.618184221256335</c:v>
                </c:pt>
                <c:pt idx="1116">
                  <c:v>45.530414525886911</c:v>
                </c:pt>
                <c:pt idx="1117">
                  <c:v>44.560074871776351</c:v>
                </c:pt>
                <c:pt idx="1118">
                  <c:v>44.79700837496469</c:v>
                </c:pt>
                <c:pt idx="1119">
                  <c:v>45.564297951859018</c:v>
                </c:pt>
                <c:pt idx="1120">
                  <c:v>45.573101014084571</c:v>
                </c:pt>
                <c:pt idx="1121">
                  <c:v>45.573101014084571</c:v>
                </c:pt>
                <c:pt idx="1122">
                  <c:v>45.464291378078393</c:v>
                </c:pt>
                <c:pt idx="1123">
                  <c:v>45.713659596398422</c:v>
                </c:pt>
                <c:pt idx="1124">
                  <c:v>46.790414819629582</c:v>
                </c:pt>
                <c:pt idx="1125">
                  <c:v>46.790414819629582</c:v>
                </c:pt>
                <c:pt idx="1126">
                  <c:v>46.731926801105047</c:v>
                </c:pt>
                <c:pt idx="1127">
                  <c:v>46.731926801105047</c:v>
                </c:pt>
                <c:pt idx="1128">
                  <c:v>46.788760698453324</c:v>
                </c:pt>
                <c:pt idx="1129">
                  <c:v>46.169063741791476</c:v>
                </c:pt>
                <c:pt idx="1130">
                  <c:v>45.219358197115362</c:v>
                </c:pt>
                <c:pt idx="1131">
                  <c:v>44.296408346246295</c:v>
                </c:pt>
                <c:pt idx="1132">
                  <c:v>43.373500693173632</c:v>
                </c:pt>
                <c:pt idx="1133">
                  <c:v>42.818989489008722</c:v>
                </c:pt>
                <c:pt idx="1134">
                  <c:v>41.160280121531748</c:v>
                </c:pt>
                <c:pt idx="1135">
                  <c:v>41.817983943421162</c:v>
                </c:pt>
                <c:pt idx="1136">
                  <c:v>40.742131332914063</c:v>
                </c:pt>
                <c:pt idx="1137">
                  <c:v>40.574546096785554</c:v>
                </c:pt>
                <c:pt idx="1138">
                  <c:v>40.574183971148869</c:v>
                </c:pt>
                <c:pt idx="1139">
                  <c:v>39.086739880199694</c:v>
                </c:pt>
                <c:pt idx="1140">
                  <c:v>39.744672403344296</c:v>
                </c:pt>
                <c:pt idx="1141">
                  <c:v>40.569487152240669</c:v>
                </c:pt>
                <c:pt idx="1142">
                  <c:v>40.732884014843421</c:v>
                </c:pt>
                <c:pt idx="1143">
                  <c:v>42.072324919204576</c:v>
                </c:pt>
                <c:pt idx="1144">
                  <c:v>42.072324919204576</c:v>
                </c:pt>
                <c:pt idx="1145">
                  <c:v>42.019734513055568</c:v>
                </c:pt>
                <c:pt idx="1146">
                  <c:v>42.019734513055568</c:v>
                </c:pt>
                <c:pt idx="1147">
                  <c:v>42.019734513055568</c:v>
                </c:pt>
                <c:pt idx="1148">
                  <c:v>42.019734513055568</c:v>
                </c:pt>
                <c:pt idx="1149">
                  <c:v>42.019734513055568</c:v>
                </c:pt>
                <c:pt idx="1150">
                  <c:v>42.019734513055568</c:v>
                </c:pt>
                <c:pt idx="1151">
                  <c:v>42.019734513055568</c:v>
                </c:pt>
                <c:pt idx="1152">
                  <c:v>41.970256712547325</c:v>
                </c:pt>
                <c:pt idx="1153">
                  <c:v>42.157584014040857</c:v>
                </c:pt>
                <c:pt idx="1154">
                  <c:v>44.206937194077504</c:v>
                </c:pt>
                <c:pt idx="1155">
                  <c:v>44.206937194077504</c:v>
                </c:pt>
                <c:pt idx="1156">
                  <c:v>43.770953235172662</c:v>
                </c:pt>
                <c:pt idx="1157">
                  <c:v>43.624098509433189</c:v>
                </c:pt>
                <c:pt idx="1158">
                  <c:v>42.762684797914417</c:v>
                </c:pt>
                <c:pt idx="1159">
                  <c:v>42.941821481532635</c:v>
                </c:pt>
                <c:pt idx="1160">
                  <c:v>42.389211058834213</c:v>
                </c:pt>
                <c:pt idx="1161">
                  <c:v>41.581200236739626</c:v>
                </c:pt>
                <c:pt idx="1162">
                  <c:v>41.436163882953309</c:v>
                </c:pt>
                <c:pt idx="1163">
                  <c:v>40.749272204409124</c:v>
                </c:pt>
                <c:pt idx="1164">
                  <c:v>43.847386004828643</c:v>
                </c:pt>
                <c:pt idx="1165">
                  <c:v>43.931208687520346</c:v>
                </c:pt>
                <c:pt idx="1166">
                  <c:v>43.71854457411802</c:v>
                </c:pt>
                <c:pt idx="1167">
                  <c:v>43.772274953670838</c:v>
                </c:pt>
                <c:pt idx="1168">
                  <c:v>44.364404626700988</c:v>
                </c:pt>
                <c:pt idx="1169">
                  <c:v>43.51934314417899</c:v>
                </c:pt>
                <c:pt idx="1170">
                  <c:v>43.446960168684996</c:v>
                </c:pt>
                <c:pt idx="1171">
                  <c:v>44.409423149164098</c:v>
                </c:pt>
                <c:pt idx="1172">
                  <c:v>44.409423149164098</c:v>
                </c:pt>
                <c:pt idx="1173">
                  <c:v>44.745353370859583</c:v>
                </c:pt>
                <c:pt idx="1174">
                  <c:v>44.630967282036266</c:v>
                </c:pt>
                <c:pt idx="1175">
                  <c:v>44.085064576148362</c:v>
                </c:pt>
                <c:pt idx="1176">
                  <c:v>43.759961896465377</c:v>
                </c:pt>
                <c:pt idx="1177">
                  <c:v>42.052102107979017</c:v>
                </c:pt>
                <c:pt idx="1178">
                  <c:v>42.645001883165321</c:v>
                </c:pt>
                <c:pt idx="1179">
                  <c:v>42.033181772721775</c:v>
                </c:pt>
                <c:pt idx="1180">
                  <c:v>40.549358833216743</c:v>
                </c:pt>
                <c:pt idx="1181">
                  <c:v>39.499778124446905</c:v>
                </c:pt>
                <c:pt idx="1182">
                  <c:v>39.148750172161101</c:v>
                </c:pt>
                <c:pt idx="1183">
                  <c:v>38.537655359463429</c:v>
                </c:pt>
                <c:pt idx="1184">
                  <c:v>38.10038714697567</c:v>
                </c:pt>
                <c:pt idx="1185">
                  <c:v>38.360997047175793</c:v>
                </c:pt>
                <c:pt idx="1186">
                  <c:v>39.057889856743138</c:v>
                </c:pt>
                <c:pt idx="1187">
                  <c:v>40.015337125331563</c:v>
                </c:pt>
                <c:pt idx="1188">
                  <c:v>38.531128354458311</c:v>
                </c:pt>
                <c:pt idx="1189">
                  <c:v>38.694000030172106</c:v>
                </c:pt>
                <c:pt idx="1190">
                  <c:v>37.411600426118241</c:v>
                </c:pt>
                <c:pt idx="1191">
                  <c:v>36.769636191225842</c:v>
                </c:pt>
                <c:pt idx="1192">
                  <c:v>35.779361659948528</c:v>
                </c:pt>
                <c:pt idx="1193">
                  <c:v>35.058061975967036</c:v>
                </c:pt>
                <c:pt idx="1194">
                  <c:v>36.404899078959218</c:v>
                </c:pt>
                <c:pt idx="1195">
                  <c:v>34.873712405783742</c:v>
                </c:pt>
                <c:pt idx="1196">
                  <c:v>34.06156401153963</c:v>
                </c:pt>
                <c:pt idx="1197">
                  <c:v>34.911363364125137</c:v>
                </c:pt>
                <c:pt idx="1198">
                  <c:v>33.361266850961876</c:v>
                </c:pt>
                <c:pt idx="1199">
                  <c:v>33.125800150280071</c:v>
                </c:pt>
                <c:pt idx="1200">
                  <c:v>35.060210559705929</c:v>
                </c:pt>
                <c:pt idx="1201">
                  <c:v>38.306321870575893</c:v>
                </c:pt>
                <c:pt idx="1202">
                  <c:v>38.306321870575893</c:v>
                </c:pt>
                <c:pt idx="1203">
                  <c:v>38.258438968237677</c:v>
                </c:pt>
                <c:pt idx="1204">
                  <c:v>38.258438968237677</c:v>
                </c:pt>
                <c:pt idx="1205">
                  <c:v>38.258438968237677</c:v>
                </c:pt>
                <c:pt idx="1206">
                  <c:v>38.258438968237677</c:v>
                </c:pt>
                <c:pt idx="1207">
                  <c:v>38.258438968237677</c:v>
                </c:pt>
                <c:pt idx="1208">
                  <c:v>38.258438968237677</c:v>
                </c:pt>
                <c:pt idx="1209">
                  <c:v>38.178983151087259</c:v>
                </c:pt>
                <c:pt idx="1210">
                  <c:v>43.964713955016784</c:v>
                </c:pt>
                <c:pt idx="1211">
                  <c:v>43.964713955016784</c:v>
                </c:pt>
                <c:pt idx="1212">
                  <c:v>43.909758062573012</c:v>
                </c:pt>
                <c:pt idx="1213">
                  <c:v>43.909758062573012</c:v>
                </c:pt>
                <c:pt idx="1214">
                  <c:v>43.909758062573012</c:v>
                </c:pt>
                <c:pt idx="1215">
                  <c:v>43.909758062573012</c:v>
                </c:pt>
                <c:pt idx="1216">
                  <c:v>43.909758062573012</c:v>
                </c:pt>
                <c:pt idx="1217">
                  <c:v>43.909758062573012</c:v>
                </c:pt>
                <c:pt idx="1218">
                  <c:v>43.909758062573012</c:v>
                </c:pt>
                <c:pt idx="1219">
                  <c:v>42.836300749623142</c:v>
                </c:pt>
                <c:pt idx="1220">
                  <c:v>41.916199554895044</c:v>
                </c:pt>
                <c:pt idx="1221">
                  <c:v>41.123296795419876</c:v>
                </c:pt>
                <c:pt idx="1222">
                  <c:v>42.49565138433293</c:v>
                </c:pt>
                <c:pt idx="1223">
                  <c:v>41.412962379151935</c:v>
                </c:pt>
                <c:pt idx="1224">
                  <c:v>41.145457262914924</c:v>
                </c:pt>
                <c:pt idx="1225">
                  <c:v>40.14821931195263</c:v>
                </c:pt>
                <c:pt idx="1226">
                  <c:v>39.530755068512661</c:v>
                </c:pt>
                <c:pt idx="1227">
                  <c:v>39.193814708973107</c:v>
                </c:pt>
                <c:pt idx="1228">
                  <c:v>38.869684143664529</c:v>
                </c:pt>
                <c:pt idx="1229">
                  <c:v>38.868928955167739</c:v>
                </c:pt>
                <c:pt idx="1230">
                  <c:v>37.219835703025993</c:v>
                </c:pt>
                <c:pt idx="1231">
                  <c:v>36.953152106660696</c:v>
                </c:pt>
                <c:pt idx="1232">
                  <c:v>37.225638569765664</c:v>
                </c:pt>
                <c:pt idx="1233">
                  <c:v>37.426187310488551</c:v>
                </c:pt>
                <c:pt idx="1234">
                  <c:v>37.425742245575258</c:v>
                </c:pt>
                <c:pt idx="1235">
                  <c:v>37.16583962531471</c:v>
                </c:pt>
                <c:pt idx="1236">
                  <c:v>37.251274584030774</c:v>
                </c:pt>
                <c:pt idx="1237">
                  <c:v>36.211030635458592</c:v>
                </c:pt>
                <c:pt idx="1238">
                  <c:v>35.285063450726348</c:v>
                </c:pt>
                <c:pt idx="1239">
                  <c:v>34.729282582827359</c:v>
                </c:pt>
                <c:pt idx="1240">
                  <c:v>35.42974196170632</c:v>
                </c:pt>
                <c:pt idx="1241">
                  <c:v>34.901984437877296</c:v>
                </c:pt>
                <c:pt idx="1242">
                  <c:v>34.111602997764152</c:v>
                </c:pt>
                <c:pt idx="1243">
                  <c:v>34.899120685558927</c:v>
                </c:pt>
                <c:pt idx="1244">
                  <c:v>35.248090683063161</c:v>
                </c:pt>
                <c:pt idx="1245">
                  <c:v>34.89658264609686</c:v>
                </c:pt>
                <c:pt idx="1246">
                  <c:v>34.459152607979227</c:v>
                </c:pt>
                <c:pt idx="1247">
                  <c:v>33.904164522805509</c:v>
                </c:pt>
                <c:pt idx="1248">
                  <c:v>33.619129003469219</c:v>
                </c:pt>
                <c:pt idx="1249">
                  <c:v>33.352434392144168</c:v>
                </c:pt>
                <c:pt idx="1250">
                  <c:v>31.932602543928496</c:v>
                </c:pt>
                <c:pt idx="1251">
                  <c:v>30.953892608252811</c:v>
                </c:pt>
                <c:pt idx="1252">
                  <c:v>31.750049967060946</c:v>
                </c:pt>
                <c:pt idx="1253">
                  <c:v>30.950062832056926</c:v>
                </c:pt>
                <c:pt idx="1254">
                  <c:v>30.504939226318044</c:v>
                </c:pt>
                <c:pt idx="1255">
                  <c:v>30.326626333965677</c:v>
                </c:pt>
                <c:pt idx="1256">
                  <c:v>30.414912541327936</c:v>
                </c:pt>
                <c:pt idx="1257">
                  <c:v>29.616655358257283</c:v>
                </c:pt>
                <c:pt idx="1258">
                  <c:v>29.614945703189104</c:v>
                </c:pt>
                <c:pt idx="1259">
                  <c:v>30.612340553009869</c:v>
                </c:pt>
                <c:pt idx="1260">
                  <c:v>29.919570107975488</c:v>
                </c:pt>
                <c:pt idx="1261">
                  <c:v>29.759245294954091</c:v>
                </c:pt>
                <c:pt idx="1262">
                  <c:v>29.850919019754905</c:v>
                </c:pt>
                <c:pt idx="1263">
                  <c:v>29.76628686021046</c:v>
                </c:pt>
                <c:pt idx="1264">
                  <c:v>29.526704390366472</c:v>
                </c:pt>
                <c:pt idx="1265">
                  <c:v>29.9251927034151</c:v>
                </c:pt>
                <c:pt idx="1266">
                  <c:v>33.595124515599466</c:v>
                </c:pt>
                <c:pt idx="1267">
                  <c:v>33.595124515599466</c:v>
                </c:pt>
                <c:pt idx="1268">
                  <c:v>33.55313060995497</c:v>
                </c:pt>
                <c:pt idx="1269">
                  <c:v>33.55313060995497</c:v>
                </c:pt>
                <c:pt idx="1270">
                  <c:v>33.55313060995497</c:v>
                </c:pt>
                <c:pt idx="1271">
                  <c:v>33.55313060995497</c:v>
                </c:pt>
                <c:pt idx="1272">
                  <c:v>33.55313060995497</c:v>
                </c:pt>
                <c:pt idx="1273">
                  <c:v>33.55313060995497</c:v>
                </c:pt>
                <c:pt idx="1274">
                  <c:v>33.55313060995497</c:v>
                </c:pt>
                <c:pt idx="1275">
                  <c:v>33.55313060995497</c:v>
                </c:pt>
                <c:pt idx="1276">
                  <c:v>33.55313060995497</c:v>
                </c:pt>
                <c:pt idx="1277">
                  <c:v>33.55313060995497</c:v>
                </c:pt>
                <c:pt idx="1278">
                  <c:v>33.55313060995497</c:v>
                </c:pt>
                <c:pt idx="1279">
                  <c:v>33.55313060995497</c:v>
                </c:pt>
                <c:pt idx="1280">
                  <c:v>33.55313060995497</c:v>
                </c:pt>
                <c:pt idx="1281">
                  <c:v>33.55313060995497</c:v>
                </c:pt>
                <c:pt idx="1282">
                  <c:v>33.55313060995497</c:v>
                </c:pt>
                <c:pt idx="1283">
                  <c:v>33.55313060995497</c:v>
                </c:pt>
                <c:pt idx="1284">
                  <c:v>33.55313060995497</c:v>
                </c:pt>
                <c:pt idx="1285">
                  <c:v>33.55313060995497</c:v>
                </c:pt>
                <c:pt idx="1286">
                  <c:v>33.55313060995497</c:v>
                </c:pt>
                <c:pt idx="1287">
                  <c:v>33.55313060995497</c:v>
                </c:pt>
                <c:pt idx="1288">
                  <c:v>33.55313060995497</c:v>
                </c:pt>
                <c:pt idx="1289">
                  <c:v>33.55313060995497</c:v>
                </c:pt>
                <c:pt idx="1290">
                  <c:v>33.55313060995497</c:v>
                </c:pt>
                <c:pt idx="1291">
                  <c:v>33.55313060995497</c:v>
                </c:pt>
                <c:pt idx="1292">
                  <c:v>33.55313060995497</c:v>
                </c:pt>
                <c:pt idx="1293">
                  <c:v>33.55313060995497</c:v>
                </c:pt>
                <c:pt idx="1294">
                  <c:v>33.55313060995497</c:v>
                </c:pt>
                <c:pt idx="1295">
                  <c:v>33.55313060995497</c:v>
                </c:pt>
                <c:pt idx="1296">
                  <c:v>33.55313060995497</c:v>
                </c:pt>
                <c:pt idx="1297">
                  <c:v>33.55313060995497</c:v>
                </c:pt>
                <c:pt idx="1298">
                  <c:v>33.55313060995497</c:v>
                </c:pt>
                <c:pt idx="1299">
                  <c:v>33.55313060995497</c:v>
                </c:pt>
                <c:pt idx="1300">
                  <c:v>33.55313060995497</c:v>
                </c:pt>
                <c:pt idx="1301">
                  <c:v>33.55313060995497</c:v>
                </c:pt>
                <c:pt idx="1302">
                  <c:v>33.55313060995497</c:v>
                </c:pt>
                <c:pt idx="1303">
                  <c:v>33.55313060995497</c:v>
                </c:pt>
                <c:pt idx="1304">
                  <c:v>33.55313060995497</c:v>
                </c:pt>
                <c:pt idx="1305">
                  <c:v>33.55313060995497</c:v>
                </c:pt>
                <c:pt idx="1306">
                  <c:v>33.55313060995497</c:v>
                </c:pt>
                <c:pt idx="1307">
                  <c:v>33.55313060995497</c:v>
                </c:pt>
                <c:pt idx="1308">
                  <c:v>33.55313060995497</c:v>
                </c:pt>
                <c:pt idx="1309">
                  <c:v>33.55313060995497</c:v>
                </c:pt>
                <c:pt idx="1310">
                  <c:v>33.55313060995497</c:v>
                </c:pt>
                <c:pt idx="1311">
                  <c:v>33.55313060995497</c:v>
                </c:pt>
                <c:pt idx="1312">
                  <c:v>33.55313060995497</c:v>
                </c:pt>
                <c:pt idx="1313">
                  <c:v>33.55313060995497</c:v>
                </c:pt>
                <c:pt idx="1314">
                  <c:v>33.55313060995497</c:v>
                </c:pt>
                <c:pt idx="1315">
                  <c:v>33.55313060995497</c:v>
                </c:pt>
                <c:pt idx="1316">
                  <c:v>33.55313060995497</c:v>
                </c:pt>
                <c:pt idx="1317">
                  <c:v>33.55313060995497</c:v>
                </c:pt>
                <c:pt idx="1318">
                  <c:v>33.55313060995497</c:v>
                </c:pt>
                <c:pt idx="1319">
                  <c:v>33.55313060995497</c:v>
                </c:pt>
                <c:pt idx="1320">
                  <c:v>33.55313060995497</c:v>
                </c:pt>
                <c:pt idx="1321">
                  <c:v>33.55313060995497</c:v>
                </c:pt>
                <c:pt idx="1322">
                  <c:v>33.55313060995497</c:v>
                </c:pt>
                <c:pt idx="1323">
                  <c:v>33.55313060995497</c:v>
                </c:pt>
                <c:pt idx="1324">
                  <c:v>33.55313060995497</c:v>
                </c:pt>
                <c:pt idx="1325">
                  <c:v>33.55313060995497</c:v>
                </c:pt>
                <c:pt idx="1326">
                  <c:v>33.55313060995497</c:v>
                </c:pt>
                <c:pt idx="1327">
                  <c:v>33.55313060995497</c:v>
                </c:pt>
                <c:pt idx="1328">
                  <c:v>32.55112554354298</c:v>
                </c:pt>
                <c:pt idx="1329">
                  <c:v>32.362210208993822</c:v>
                </c:pt>
                <c:pt idx="1330">
                  <c:v>32.743141892747218</c:v>
                </c:pt>
                <c:pt idx="1331">
                  <c:v>32.742292759641607</c:v>
                </c:pt>
                <c:pt idx="1332">
                  <c:v>32.360829784633026</c:v>
                </c:pt>
                <c:pt idx="1333">
                  <c:v>30.325528053534999</c:v>
                </c:pt>
                <c:pt idx="1334">
                  <c:v>30.632465273161593</c:v>
                </c:pt>
                <c:pt idx="1335">
                  <c:v>30.186471918755323</c:v>
                </c:pt>
                <c:pt idx="1336">
                  <c:v>30.249057042411135</c:v>
                </c:pt>
                <c:pt idx="1337">
                  <c:v>30.121819500645557</c:v>
                </c:pt>
                <c:pt idx="1338">
                  <c:v>29.358966901271998</c:v>
                </c:pt>
                <c:pt idx="1339">
                  <c:v>29.547971720971386</c:v>
                </c:pt>
                <c:pt idx="1340">
                  <c:v>32.661205582906788</c:v>
                </c:pt>
                <c:pt idx="1341">
                  <c:v>32.661205582906788</c:v>
                </c:pt>
                <c:pt idx="1342">
                  <c:v>32.620379075928156</c:v>
                </c:pt>
                <c:pt idx="1343">
                  <c:v>32.620379075928156</c:v>
                </c:pt>
                <c:pt idx="1344">
                  <c:v>32.620379075928156</c:v>
                </c:pt>
                <c:pt idx="1345">
                  <c:v>32.620379075928156</c:v>
                </c:pt>
                <c:pt idx="1346">
                  <c:v>32.620379075928156</c:v>
                </c:pt>
                <c:pt idx="1347">
                  <c:v>32.620379075928156</c:v>
                </c:pt>
                <c:pt idx="1348">
                  <c:v>32.620379075928156</c:v>
                </c:pt>
                <c:pt idx="1349">
                  <c:v>32.620379075928156</c:v>
                </c:pt>
                <c:pt idx="1350">
                  <c:v>32.620379075928156</c:v>
                </c:pt>
                <c:pt idx="1351">
                  <c:v>32.620379075928156</c:v>
                </c:pt>
                <c:pt idx="1352">
                  <c:v>32.620379075928156</c:v>
                </c:pt>
                <c:pt idx="1353">
                  <c:v>32.676811708921576</c:v>
                </c:pt>
                <c:pt idx="1354">
                  <c:v>32.635965694285424</c:v>
                </c:pt>
                <c:pt idx="1355">
                  <c:v>32.595170737167571</c:v>
                </c:pt>
                <c:pt idx="1356">
                  <c:v>31.747778346813575</c:v>
                </c:pt>
                <c:pt idx="1357">
                  <c:v>29.915508577012172</c:v>
                </c:pt>
                <c:pt idx="1358">
                  <c:v>30.989285227212065</c:v>
                </c:pt>
                <c:pt idx="1359">
                  <c:v>30.226357968463713</c:v>
                </c:pt>
                <c:pt idx="1360">
                  <c:v>30.097992006369637</c:v>
                </c:pt>
                <c:pt idx="1361">
                  <c:v>29.496847464510953</c:v>
                </c:pt>
                <c:pt idx="1362">
                  <c:v>28.075330586399318</c:v>
                </c:pt>
                <c:pt idx="1363">
                  <c:v>28.072356675165658</c:v>
                </c:pt>
                <c:pt idx="1364">
                  <c:v>27.526203197675734</c:v>
                </c:pt>
                <c:pt idx="1365">
                  <c:v>27.415794871409702</c:v>
                </c:pt>
                <c:pt idx="1366">
                  <c:v>27.360941466708056</c:v>
                </c:pt>
                <c:pt idx="1367">
                  <c:v>26.596244640812515</c:v>
                </c:pt>
                <c:pt idx="1368">
                  <c:v>26.703833605930441</c:v>
                </c:pt>
                <c:pt idx="1369">
                  <c:v>27.249684326324044</c:v>
                </c:pt>
                <c:pt idx="1370">
                  <c:v>28.176804133791066</c:v>
                </c:pt>
                <c:pt idx="1371">
                  <c:v>28.176804133791066</c:v>
                </c:pt>
                <c:pt idx="1372">
                  <c:v>28.030169695742337</c:v>
                </c:pt>
                <c:pt idx="1373">
                  <c:v>27.903752367931293</c:v>
                </c:pt>
                <c:pt idx="1374">
                  <c:v>28.108304554301284</c:v>
                </c:pt>
                <c:pt idx="1375">
                  <c:v>28.451411824070213</c:v>
                </c:pt>
                <c:pt idx="1376">
                  <c:v>28.451411824070213</c:v>
                </c:pt>
                <c:pt idx="1377">
                  <c:v>28.011862018364226</c:v>
                </c:pt>
                <c:pt idx="1378">
                  <c:v>27.976847190841273</c:v>
                </c:pt>
                <c:pt idx="1379">
                  <c:v>28.139399170491139</c:v>
                </c:pt>
                <c:pt idx="1380">
                  <c:v>27.65026987139484</c:v>
                </c:pt>
                <c:pt idx="1381">
                  <c:v>26.444677328515663</c:v>
                </c:pt>
                <c:pt idx="1382">
                  <c:v>25.65904382329456</c:v>
                </c:pt>
                <c:pt idx="1383">
                  <c:v>24.874351050788746</c:v>
                </c:pt>
                <c:pt idx="1384">
                  <c:v>24.872681085447304</c:v>
                </c:pt>
                <c:pt idx="1385">
                  <c:v>25.956718336361988</c:v>
                </c:pt>
                <c:pt idx="1386">
                  <c:v>25.793339656643973</c:v>
                </c:pt>
                <c:pt idx="1387">
                  <c:v>24.988622111200602</c:v>
                </c:pt>
                <c:pt idx="1388">
                  <c:v>25.534558421178943</c:v>
                </c:pt>
                <c:pt idx="1389">
                  <c:v>24.193525009835827</c:v>
                </c:pt>
                <c:pt idx="1390">
                  <c:v>23.929770703436066</c:v>
                </c:pt>
                <c:pt idx="1391">
                  <c:v>22.916737247798288</c:v>
                </c:pt>
                <c:pt idx="1392">
                  <c:v>22.751761392772778</c:v>
                </c:pt>
                <c:pt idx="1393">
                  <c:v>23.240104266036266</c:v>
                </c:pt>
                <c:pt idx="1394">
                  <c:v>23.727700234968754</c:v>
                </c:pt>
                <c:pt idx="1395">
                  <c:v>23.618008211269785</c:v>
                </c:pt>
                <c:pt idx="1396">
                  <c:v>23.602996461455671</c:v>
                </c:pt>
                <c:pt idx="1397">
                  <c:v>23.469632373595605</c:v>
                </c:pt>
                <c:pt idx="1398">
                  <c:v>23.250327721393937</c:v>
                </c:pt>
                <c:pt idx="1399">
                  <c:v>22.733220084950965</c:v>
                </c:pt>
                <c:pt idx="1400">
                  <c:v>21.3764423331837</c:v>
                </c:pt>
                <c:pt idx="1401">
                  <c:v>21.426356326516387</c:v>
                </c:pt>
                <c:pt idx="1402">
                  <c:v>21.599489069301669</c:v>
                </c:pt>
                <c:pt idx="1403">
                  <c:v>21.83011382814032</c:v>
                </c:pt>
                <c:pt idx="1404">
                  <c:v>21.540843212842756</c:v>
                </c:pt>
                <c:pt idx="1405">
                  <c:v>21.88672024702862</c:v>
                </c:pt>
                <c:pt idx="1406">
                  <c:v>23.133642813715234</c:v>
                </c:pt>
                <c:pt idx="1407">
                  <c:v>23.133642813715234</c:v>
                </c:pt>
                <c:pt idx="1408">
                  <c:v>22.392863822183678</c:v>
                </c:pt>
                <c:pt idx="1409">
                  <c:v>22.36487274240595</c:v>
                </c:pt>
                <c:pt idx="1410">
                  <c:v>22.336916651477942</c:v>
                </c:pt>
                <c:pt idx="1411">
                  <c:v>22.602619813898755</c:v>
                </c:pt>
                <c:pt idx="1412">
                  <c:v>21.985519851375766</c:v>
                </c:pt>
                <c:pt idx="1413">
                  <c:v>22.993699303831512</c:v>
                </c:pt>
                <c:pt idx="1414">
                  <c:v>21.940077535971788</c:v>
                </c:pt>
                <c:pt idx="1415">
                  <c:v>22.707610049048885</c:v>
                </c:pt>
                <c:pt idx="1416">
                  <c:v>22.707610049048885</c:v>
                </c:pt>
                <c:pt idx="1417">
                  <c:v>22.679225536487575</c:v>
                </c:pt>
                <c:pt idx="1418">
                  <c:v>22.679225536487575</c:v>
                </c:pt>
                <c:pt idx="1419">
                  <c:v>22.679225536487575</c:v>
                </c:pt>
                <c:pt idx="1420">
                  <c:v>23.042748341549299</c:v>
                </c:pt>
                <c:pt idx="1421">
                  <c:v>22.672679328232078</c:v>
                </c:pt>
                <c:pt idx="1422">
                  <c:v>22.652058617391905</c:v>
                </c:pt>
                <c:pt idx="1423">
                  <c:v>22.161907059343424</c:v>
                </c:pt>
                <c:pt idx="1424">
                  <c:v>21.917320251423927</c:v>
                </c:pt>
                <c:pt idx="1425">
                  <c:v>21.97767019572321</c:v>
                </c:pt>
                <c:pt idx="1426">
                  <c:v>22.281935009399636</c:v>
                </c:pt>
                <c:pt idx="1427">
                  <c:v>22.723368925706527</c:v>
                </c:pt>
                <c:pt idx="1428">
                  <c:v>22.976845594830181</c:v>
                </c:pt>
                <c:pt idx="1429">
                  <c:v>22.976845594830181</c:v>
                </c:pt>
                <c:pt idx="1430">
                  <c:v>23.00356057261779</c:v>
                </c:pt>
                <c:pt idx="1431">
                  <c:v>22.918405455747109</c:v>
                </c:pt>
                <c:pt idx="1432">
                  <c:v>22.833567742434504</c:v>
                </c:pt>
                <c:pt idx="1433">
                  <c:v>22.817095500532929</c:v>
                </c:pt>
                <c:pt idx="1434">
                  <c:v>23.293905456686517</c:v>
                </c:pt>
                <c:pt idx="1435">
                  <c:v>23.751992944777136</c:v>
                </c:pt>
                <c:pt idx="1436">
                  <c:v>23.751992944777136</c:v>
                </c:pt>
                <c:pt idx="1437">
                  <c:v>23.722302953596166</c:v>
                </c:pt>
                <c:pt idx="1438">
                  <c:v>23.774951528598923</c:v>
                </c:pt>
                <c:pt idx="1439">
                  <c:v>23.806726443971471</c:v>
                </c:pt>
                <c:pt idx="1440">
                  <c:v>23.865319268052325</c:v>
                </c:pt>
                <c:pt idx="1441">
                  <c:v>23.680299419164346</c:v>
                </c:pt>
                <c:pt idx="1442">
                  <c:v>23.163003531955123</c:v>
                </c:pt>
                <c:pt idx="1443">
                  <c:v>23.10000423402747</c:v>
                </c:pt>
                <c:pt idx="1444">
                  <c:v>23.161797595151441</c:v>
                </c:pt>
                <c:pt idx="1445">
                  <c:v>23.099732108500518</c:v>
                </c:pt>
                <c:pt idx="1446">
                  <c:v>22.232584521861416</c:v>
                </c:pt>
                <c:pt idx="1447">
                  <c:v>21.054093260909823</c:v>
                </c:pt>
                <c:pt idx="1448">
                  <c:v>20.989719102341557</c:v>
                </c:pt>
                <c:pt idx="1449">
                  <c:v>20.010788205872309</c:v>
                </c:pt>
                <c:pt idx="1450">
                  <c:v>19.410585168877347</c:v>
                </c:pt>
                <c:pt idx="1451">
                  <c:v>20.387993639964357</c:v>
                </c:pt>
                <c:pt idx="1452">
                  <c:v>20.276996616803778</c:v>
                </c:pt>
                <c:pt idx="1453">
                  <c:v>20.494205444684837</c:v>
                </c:pt>
                <c:pt idx="1454">
                  <c:v>20.004472443896709</c:v>
                </c:pt>
                <c:pt idx="1455">
                  <c:v>19.794527815879547</c:v>
                </c:pt>
                <c:pt idx="1456">
                  <c:v>19.085505578720451</c:v>
                </c:pt>
                <c:pt idx="1457">
                  <c:v>18.757755291041381</c:v>
                </c:pt>
                <c:pt idx="1458">
                  <c:v>21.094975629984393</c:v>
                </c:pt>
                <c:pt idx="1459">
                  <c:v>21.094975629984393</c:v>
                </c:pt>
                <c:pt idx="1460">
                  <c:v>21.068606910446913</c:v>
                </c:pt>
                <c:pt idx="1461">
                  <c:v>20.979121243107677</c:v>
                </c:pt>
                <c:pt idx="1462">
                  <c:v>20.750637433207157</c:v>
                </c:pt>
                <c:pt idx="1463">
                  <c:v>20.619898999447599</c:v>
                </c:pt>
                <c:pt idx="1464">
                  <c:v>20.445271156459768</c:v>
                </c:pt>
                <c:pt idx="1465">
                  <c:v>20.348975721104342</c:v>
                </c:pt>
                <c:pt idx="1466">
                  <c:v>20.342829905638592</c:v>
                </c:pt>
                <c:pt idx="1467">
                  <c:v>20.39045650148541</c:v>
                </c:pt>
                <c:pt idx="1468">
                  <c:v>20.170689901827043</c:v>
                </c:pt>
                <c:pt idx="1469">
                  <c:v>19.995590754980157</c:v>
                </c:pt>
                <c:pt idx="1470">
                  <c:v>20.163219937903349</c:v>
                </c:pt>
                <c:pt idx="1471">
                  <c:v>20.371862620981993</c:v>
                </c:pt>
                <c:pt idx="1472">
                  <c:v>20.425705597166587</c:v>
                </c:pt>
                <c:pt idx="1473">
                  <c:v>20.425705597166587</c:v>
                </c:pt>
                <c:pt idx="1474">
                  <c:v>20.400173465170131</c:v>
                </c:pt>
                <c:pt idx="1475">
                  <c:v>20.400173465170131</c:v>
                </c:pt>
                <c:pt idx="1476">
                  <c:v>20.400173465170131</c:v>
                </c:pt>
                <c:pt idx="1477">
                  <c:v>20.400173465170131</c:v>
                </c:pt>
                <c:pt idx="1478">
                  <c:v>20.400173465170131</c:v>
                </c:pt>
                <c:pt idx="1479">
                  <c:v>20.400173465170131</c:v>
                </c:pt>
                <c:pt idx="1480">
                  <c:v>20.400173465170131</c:v>
                </c:pt>
                <c:pt idx="1481">
                  <c:v>20.400173465170131</c:v>
                </c:pt>
                <c:pt idx="1482">
                  <c:v>20.400173465170131</c:v>
                </c:pt>
                <c:pt idx="1483">
                  <c:v>20.400173465170131</c:v>
                </c:pt>
                <c:pt idx="1484">
                  <c:v>20.400173465170131</c:v>
                </c:pt>
                <c:pt idx="1485">
                  <c:v>20.400173465170131</c:v>
                </c:pt>
                <c:pt idx="1486">
                  <c:v>20.400173465170131</c:v>
                </c:pt>
                <c:pt idx="1487">
                  <c:v>20.400173465170131</c:v>
                </c:pt>
                <c:pt idx="1488">
                  <c:v>20.400173465170131</c:v>
                </c:pt>
                <c:pt idx="1489">
                  <c:v>20.400173465170131</c:v>
                </c:pt>
                <c:pt idx="1490">
                  <c:v>20.400173465170131</c:v>
                </c:pt>
                <c:pt idx="1491">
                  <c:v>20.400173465170131</c:v>
                </c:pt>
                <c:pt idx="1492">
                  <c:v>20.400173465170131</c:v>
                </c:pt>
                <c:pt idx="1493">
                  <c:v>20.400173465170131</c:v>
                </c:pt>
                <c:pt idx="1494">
                  <c:v>20.400173465170131</c:v>
                </c:pt>
                <c:pt idx="1495">
                  <c:v>20.400173465170131</c:v>
                </c:pt>
                <c:pt idx="1496">
                  <c:v>20.400173465170131</c:v>
                </c:pt>
                <c:pt idx="1497">
                  <c:v>20.400173465170131</c:v>
                </c:pt>
                <c:pt idx="1498">
                  <c:v>20.400173465170131</c:v>
                </c:pt>
                <c:pt idx="1499">
                  <c:v>20.400173465170131</c:v>
                </c:pt>
                <c:pt idx="1500">
                  <c:v>20.400173465170131</c:v>
                </c:pt>
                <c:pt idx="1501">
                  <c:v>20.400173465170131</c:v>
                </c:pt>
                <c:pt idx="1502">
                  <c:v>20.400173465170131</c:v>
                </c:pt>
                <c:pt idx="1503">
                  <c:v>20.400173465170131</c:v>
                </c:pt>
                <c:pt idx="1504">
                  <c:v>20.400173465170131</c:v>
                </c:pt>
                <c:pt idx="1505">
                  <c:v>20.174587139530338</c:v>
                </c:pt>
                <c:pt idx="1506">
                  <c:v>20.197908872371201</c:v>
                </c:pt>
                <c:pt idx="1507">
                  <c:v>20.458592236556079</c:v>
                </c:pt>
                <c:pt idx="1508">
                  <c:v>20.458592236556079</c:v>
                </c:pt>
                <c:pt idx="1509">
                  <c:v>20.55984880542222</c:v>
                </c:pt>
                <c:pt idx="1510">
                  <c:v>20.534148994415443</c:v>
                </c:pt>
                <c:pt idx="1511">
                  <c:v>20.467807044047365</c:v>
                </c:pt>
                <c:pt idx="1512">
                  <c:v>20.13138841062058</c:v>
                </c:pt>
                <c:pt idx="1513">
                  <c:v>20.675010620449964</c:v>
                </c:pt>
                <c:pt idx="1514">
                  <c:v>19.547869800320605</c:v>
                </c:pt>
                <c:pt idx="1515">
                  <c:v>18.658602526310293</c:v>
                </c:pt>
                <c:pt idx="1516">
                  <c:v>18.39616804332119</c:v>
                </c:pt>
                <c:pt idx="1517">
                  <c:v>17.933138030002514</c:v>
                </c:pt>
                <c:pt idx="1518">
                  <c:v>17.777993474086042</c:v>
                </c:pt>
                <c:pt idx="1519">
                  <c:v>17.469369021043523</c:v>
                </c:pt>
                <c:pt idx="1520">
                  <c:v>17.21179899165449</c:v>
                </c:pt>
                <c:pt idx="1521">
                  <c:v>17.15986537763207</c:v>
                </c:pt>
                <c:pt idx="1522">
                  <c:v>17.724893441338033</c:v>
                </c:pt>
                <c:pt idx="1523">
                  <c:v>18.186001732831635</c:v>
                </c:pt>
                <c:pt idx="1524">
                  <c:v>18.441823518997712</c:v>
                </c:pt>
                <c:pt idx="1525">
                  <c:v>18.441823518997712</c:v>
                </c:pt>
                <c:pt idx="1526">
                  <c:v>18.418771239598964</c:v>
                </c:pt>
                <c:pt idx="1527">
                  <c:v>18.418771239598964</c:v>
                </c:pt>
                <c:pt idx="1528">
                  <c:v>19.261623606206793</c:v>
                </c:pt>
                <c:pt idx="1529">
                  <c:v>19.193463445054359</c:v>
                </c:pt>
                <c:pt idx="1530">
                  <c:v>18.53722472112235</c:v>
                </c:pt>
                <c:pt idx="1531">
                  <c:v>18.611438651317727</c:v>
                </c:pt>
                <c:pt idx="1532">
                  <c:v>18.983422633883684</c:v>
                </c:pt>
                <c:pt idx="1533">
                  <c:v>18.983422633883684</c:v>
                </c:pt>
                <c:pt idx="1534">
                  <c:v>18.794767332466229</c:v>
                </c:pt>
                <c:pt idx="1535">
                  <c:v>18.489717653133912</c:v>
                </c:pt>
                <c:pt idx="1536">
                  <c:v>18.893274165302298</c:v>
                </c:pt>
                <c:pt idx="1537">
                  <c:v>19.415693784011005</c:v>
                </c:pt>
                <c:pt idx="1538">
                  <c:v>19.415693784011005</c:v>
                </c:pt>
                <c:pt idx="1539">
                  <c:v>19.431181047883648</c:v>
                </c:pt>
                <c:pt idx="1540">
                  <c:v>19.25009177643026</c:v>
                </c:pt>
                <c:pt idx="1541">
                  <c:v>18.936760277764261</c:v>
                </c:pt>
                <c:pt idx="1542">
                  <c:v>18.316859030853038</c:v>
                </c:pt>
                <c:pt idx="1543">
                  <c:v>19.865026137622593</c:v>
                </c:pt>
                <c:pt idx="1544">
                  <c:v>19.695328405343432</c:v>
                </c:pt>
                <c:pt idx="1545">
                  <c:v>19.596752546943993</c:v>
                </c:pt>
                <c:pt idx="1546">
                  <c:v>19.562306060103968</c:v>
                </c:pt>
                <c:pt idx="1547">
                  <c:v>19.562306060103968</c:v>
                </c:pt>
                <c:pt idx="1548">
                  <c:v>19.537853177528838</c:v>
                </c:pt>
                <c:pt idx="1549">
                  <c:v>19.537853177528838</c:v>
                </c:pt>
                <c:pt idx="1550">
                  <c:v>18.900382712203694</c:v>
                </c:pt>
                <c:pt idx="1551">
                  <c:v>18.876757233813439</c:v>
                </c:pt>
                <c:pt idx="1552">
                  <c:v>18.853161287271174</c:v>
                </c:pt>
                <c:pt idx="1553">
                  <c:v>17.124057472956949</c:v>
                </c:pt>
                <c:pt idx="1554">
                  <c:v>17.102652401115755</c:v>
                </c:pt>
                <c:pt idx="1555">
                  <c:v>17.081274085614361</c:v>
                </c:pt>
                <c:pt idx="1556">
                  <c:v>17.081274085614361</c:v>
                </c:pt>
                <c:pt idx="1557">
                  <c:v>17.081274085614361</c:v>
                </c:pt>
                <c:pt idx="1558">
                  <c:v>17.081274085614361</c:v>
                </c:pt>
                <c:pt idx="1559">
                  <c:v>17.081274085614361</c:v>
                </c:pt>
                <c:pt idx="1560">
                  <c:v>17.081274085614361</c:v>
                </c:pt>
                <c:pt idx="1561">
                  <c:v>17.081274085614361</c:v>
                </c:pt>
                <c:pt idx="1562">
                  <c:v>17.081274085614361</c:v>
                </c:pt>
                <c:pt idx="1563">
                  <c:v>17.081274085614361</c:v>
                </c:pt>
                <c:pt idx="1564">
                  <c:v>16.471903958182271</c:v>
                </c:pt>
                <c:pt idx="1565">
                  <c:v>15.744282096416608</c:v>
                </c:pt>
                <c:pt idx="1566">
                  <c:v>15.742814401713272</c:v>
                </c:pt>
                <c:pt idx="1567">
                  <c:v>16.021448702144998</c:v>
                </c:pt>
                <c:pt idx="1568">
                  <c:v>15.556437848719792</c:v>
                </c:pt>
                <c:pt idx="1569">
                  <c:v>15.880505291881271</c:v>
                </c:pt>
                <c:pt idx="1570">
                  <c:v>17.504970952969149</c:v>
                </c:pt>
                <c:pt idx="1571">
                  <c:v>17.504970952969149</c:v>
                </c:pt>
                <c:pt idx="1572">
                  <c:v>17.48308973927794</c:v>
                </c:pt>
                <c:pt idx="1573">
                  <c:v>17.48308973927794</c:v>
                </c:pt>
                <c:pt idx="1574">
                  <c:v>17.48308973927794</c:v>
                </c:pt>
                <c:pt idx="1575">
                  <c:v>17.48308973927794</c:v>
                </c:pt>
                <c:pt idx="1576">
                  <c:v>17.48308973927794</c:v>
                </c:pt>
                <c:pt idx="1577">
                  <c:v>17.48308973927794</c:v>
                </c:pt>
                <c:pt idx="1578">
                  <c:v>17.48308973927794</c:v>
                </c:pt>
                <c:pt idx="1579">
                  <c:v>17.48308973927794</c:v>
                </c:pt>
                <c:pt idx="1580">
                  <c:v>17.48308973927794</c:v>
                </c:pt>
                <c:pt idx="1581">
                  <c:v>17.48308973927794</c:v>
                </c:pt>
                <c:pt idx="1582">
                  <c:v>17.48308973927794</c:v>
                </c:pt>
                <c:pt idx="1583">
                  <c:v>17.48308973927794</c:v>
                </c:pt>
                <c:pt idx="1584">
                  <c:v>17.48308973927794</c:v>
                </c:pt>
                <c:pt idx="1585">
                  <c:v>17.48308973927794</c:v>
                </c:pt>
                <c:pt idx="1586">
                  <c:v>17.48308973927794</c:v>
                </c:pt>
                <c:pt idx="1587">
                  <c:v>17.48308973927794</c:v>
                </c:pt>
                <c:pt idx="1588">
                  <c:v>17.48308973927794</c:v>
                </c:pt>
                <c:pt idx="1589">
                  <c:v>17.48308973927794</c:v>
                </c:pt>
                <c:pt idx="1590">
                  <c:v>17.48308973927794</c:v>
                </c:pt>
                <c:pt idx="1591">
                  <c:v>17.48308973927794</c:v>
                </c:pt>
                <c:pt idx="1592">
                  <c:v>17.48308973927794</c:v>
                </c:pt>
                <c:pt idx="1593">
                  <c:v>17.48308973927794</c:v>
                </c:pt>
                <c:pt idx="1594">
                  <c:v>17.48308973927794</c:v>
                </c:pt>
                <c:pt idx="1595">
                  <c:v>17.48308973927794</c:v>
                </c:pt>
                <c:pt idx="1596">
                  <c:v>17.48308973927794</c:v>
                </c:pt>
                <c:pt idx="1597">
                  <c:v>17.48308973927794</c:v>
                </c:pt>
                <c:pt idx="1598">
                  <c:v>17.48308973927794</c:v>
                </c:pt>
                <c:pt idx="1599">
                  <c:v>17.48308973927794</c:v>
                </c:pt>
                <c:pt idx="1600">
                  <c:v>17.48308973927794</c:v>
                </c:pt>
                <c:pt idx="1601">
                  <c:v>17.48308973927794</c:v>
                </c:pt>
                <c:pt idx="1602">
                  <c:v>17.48308973927794</c:v>
                </c:pt>
                <c:pt idx="1603">
                  <c:v>17.48308973927794</c:v>
                </c:pt>
                <c:pt idx="1604">
                  <c:v>17.48308973927794</c:v>
                </c:pt>
                <c:pt idx="1605">
                  <c:v>17.48308973927794</c:v>
                </c:pt>
                <c:pt idx="1606">
                  <c:v>17.48308973927794</c:v>
                </c:pt>
                <c:pt idx="1607">
                  <c:v>17.48308973927794</c:v>
                </c:pt>
                <c:pt idx="1608">
                  <c:v>17.48308973927794</c:v>
                </c:pt>
                <c:pt idx="1609">
                  <c:v>17.48308973927794</c:v>
                </c:pt>
                <c:pt idx="1610">
                  <c:v>17.48308973927794</c:v>
                </c:pt>
                <c:pt idx="1611">
                  <c:v>17.48308973927794</c:v>
                </c:pt>
                <c:pt idx="1612">
                  <c:v>17.48308973927794</c:v>
                </c:pt>
                <c:pt idx="1613">
                  <c:v>17.48308973927794</c:v>
                </c:pt>
                <c:pt idx="1614">
                  <c:v>17.48308973927794</c:v>
                </c:pt>
                <c:pt idx="1615">
                  <c:v>17.48308973927794</c:v>
                </c:pt>
                <c:pt idx="1616">
                  <c:v>17.48308973927794</c:v>
                </c:pt>
                <c:pt idx="1617">
                  <c:v>17.48308973927794</c:v>
                </c:pt>
                <c:pt idx="1618">
                  <c:v>17.48308973927794</c:v>
                </c:pt>
                <c:pt idx="1619">
                  <c:v>17.48308973927794</c:v>
                </c:pt>
                <c:pt idx="1620">
                  <c:v>17.48308973927794</c:v>
                </c:pt>
                <c:pt idx="1621">
                  <c:v>17.48308973927794</c:v>
                </c:pt>
                <c:pt idx="1622">
                  <c:v>17.48308973927794</c:v>
                </c:pt>
                <c:pt idx="1623">
                  <c:v>17.48308973927794</c:v>
                </c:pt>
                <c:pt idx="1624">
                  <c:v>17.48308973927794</c:v>
                </c:pt>
                <c:pt idx="1625">
                  <c:v>17.48308973927794</c:v>
                </c:pt>
                <c:pt idx="1626">
                  <c:v>17.48308973927794</c:v>
                </c:pt>
                <c:pt idx="1627">
                  <c:v>17.48308973927794</c:v>
                </c:pt>
                <c:pt idx="1628">
                  <c:v>17.48308973927794</c:v>
                </c:pt>
                <c:pt idx="1629">
                  <c:v>17.48308973927794</c:v>
                </c:pt>
                <c:pt idx="1630">
                  <c:v>17.48308973927794</c:v>
                </c:pt>
                <c:pt idx="1631">
                  <c:v>17.48308973927794</c:v>
                </c:pt>
                <c:pt idx="1632">
                  <c:v>17.48308973927794</c:v>
                </c:pt>
                <c:pt idx="1633">
                  <c:v>17.48308973927794</c:v>
                </c:pt>
                <c:pt idx="1634">
                  <c:v>17.48308973927794</c:v>
                </c:pt>
                <c:pt idx="1635">
                  <c:v>17.48308973927794</c:v>
                </c:pt>
                <c:pt idx="1636">
                  <c:v>17.48308973927794</c:v>
                </c:pt>
                <c:pt idx="1637">
                  <c:v>17.48308973927794</c:v>
                </c:pt>
                <c:pt idx="1638">
                  <c:v>17.48308973927794</c:v>
                </c:pt>
                <c:pt idx="1639">
                  <c:v>17.48308973927794</c:v>
                </c:pt>
                <c:pt idx="1640">
                  <c:v>17.48308973927794</c:v>
                </c:pt>
                <c:pt idx="1641">
                  <c:v>17.48308973927794</c:v>
                </c:pt>
                <c:pt idx="1642">
                  <c:v>17.48308973927794</c:v>
                </c:pt>
                <c:pt idx="1643">
                  <c:v>17.48308973927794</c:v>
                </c:pt>
                <c:pt idx="1644">
                  <c:v>17.48308973927794</c:v>
                </c:pt>
                <c:pt idx="1645">
                  <c:v>17.48308973927794</c:v>
                </c:pt>
                <c:pt idx="1646">
                  <c:v>17.48308973927794</c:v>
                </c:pt>
                <c:pt idx="1647">
                  <c:v>17.48308973927794</c:v>
                </c:pt>
                <c:pt idx="1648">
                  <c:v>17.48308973927794</c:v>
                </c:pt>
                <c:pt idx="1649">
                  <c:v>17.48308973927794</c:v>
                </c:pt>
                <c:pt idx="1650">
                  <c:v>17.48308973927794</c:v>
                </c:pt>
                <c:pt idx="1651">
                  <c:v>17.48308973927794</c:v>
                </c:pt>
                <c:pt idx="1652">
                  <c:v>17.48308973927794</c:v>
                </c:pt>
                <c:pt idx="1653">
                  <c:v>17.48308973927794</c:v>
                </c:pt>
                <c:pt idx="1654">
                  <c:v>17.48308973927794</c:v>
                </c:pt>
                <c:pt idx="1655">
                  <c:v>17.48308973927794</c:v>
                </c:pt>
                <c:pt idx="1656">
                  <c:v>17.48308973927794</c:v>
                </c:pt>
                <c:pt idx="1657">
                  <c:v>17.48308973927794</c:v>
                </c:pt>
                <c:pt idx="1658">
                  <c:v>17.48308973927794</c:v>
                </c:pt>
                <c:pt idx="1659">
                  <c:v>17.48308973927794</c:v>
                </c:pt>
                <c:pt idx="1660">
                  <c:v>17.48308973927794</c:v>
                </c:pt>
                <c:pt idx="1661">
                  <c:v>17.48308973927794</c:v>
                </c:pt>
                <c:pt idx="1662">
                  <c:v>17.48308973927794</c:v>
                </c:pt>
                <c:pt idx="1663">
                  <c:v>17.48308973927794</c:v>
                </c:pt>
                <c:pt idx="1664">
                  <c:v>17.48308973927794</c:v>
                </c:pt>
                <c:pt idx="1665">
                  <c:v>17.48308973927794</c:v>
                </c:pt>
                <c:pt idx="1666">
                  <c:v>17.48308973927794</c:v>
                </c:pt>
                <c:pt idx="1667">
                  <c:v>17.48308973927794</c:v>
                </c:pt>
                <c:pt idx="1668">
                  <c:v>17.48308973927794</c:v>
                </c:pt>
                <c:pt idx="1669">
                  <c:v>17.48308973927794</c:v>
                </c:pt>
                <c:pt idx="1670">
                  <c:v>17.48308973927794</c:v>
                </c:pt>
                <c:pt idx="1671">
                  <c:v>17.429411303863485</c:v>
                </c:pt>
                <c:pt idx="1672">
                  <c:v>17.350692909499664</c:v>
                </c:pt>
                <c:pt idx="1673">
                  <c:v>17.350272604456496</c:v>
                </c:pt>
                <c:pt idx="1674">
                  <c:v>17.456790226210245</c:v>
                </c:pt>
                <c:pt idx="1675">
                  <c:v>17.456790226210245</c:v>
                </c:pt>
                <c:pt idx="1676">
                  <c:v>17.434969238427481</c:v>
                </c:pt>
                <c:pt idx="1677">
                  <c:v>17.434969238427481</c:v>
                </c:pt>
                <c:pt idx="1678">
                  <c:v>17.357694968807948</c:v>
                </c:pt>
                <c:pt idx="1679">
                  <c:v>17.087096146406193</c:v>
                </c:pt>
                <c:pt idx="1680">
                  <c:v>17.075554738251959</c:v>
                </c:pt>
                <c:pt idx="1681">
                  <c:v>16.882853275004251</c:v>
                </c:pt>
                <c:pt idx="1682">
                  <c:v>16.871039475946404</c:v>
                </c:pt>
                <c:pt idx="1683">
                  <c:v>16.665500031809479</c:v>
                </c:pt>
                <c:pt idx="1684">
                  <c:v>15.994456685365174</c:v>
                </c:pt>
                <c:pt idx="1685">
                  <c:v>14.999521953702414</c:v>
                </c:pt>
                <c:pt idx="1686">
                  <c:v>15.358213166616281</c:v>
                </c:pt>
                <c:pt idx="1687">
                  <c:v>15.724513353918816</c:v>
                </c:pt>
                <c:pt idx="1688">
                  <c:v>15.570724825530286</c:v>
                </c:pt>
                <c:pt idx="1689">
                  <c:v>16.1850730298681</c:v>
                </c:pt>
                <c:pt idx="1690">
                  <c:v>15.804855186754443</c:v>
                </c:pt>
                <c:pt idx="1691">
                  <c:v>15.825786357392332</c:v>
                </c:pt>
                <c:pt idx="1692">
                  <c:v>15.410783050722699</c:v>
                </c:pt>
                <c:pt idx="1693">
                  <c:v>15.466586257755555</c:v>
                </c:pt>
                <c:pt idx="1694">
                  <c:v>15.270247293686216</c:v>
                </c:pt>
                <c:pt idx="1695">
                  <c:v>14.955598985412635</c:v>
                </c:pt>
                <c:pt idx="1696">
                  <c:v>14.85031802175898</c:v>
                </c:pt>
                <c:pt idx="1697">
                  <c:v>14.51804694093188</c:v>
                </c:pt>
                <c:pt idx="1698">
                  <c:v>14.907096130444936</c:v>
                </c:pt>
                <c:pt idx="1699">
                  <c:v>14.419054850112291</c:v>
                </c:pt>
                <c:pt idx="1700">
                  <c:v>14.630509303905257</c:v>
                </c:pt>
                <c:pt idx="1701">
                  <c:v>14.538975012835991</c:v>
                </c:pt>
                <c:pt idx="1702">
                  <c:v>14.189611175665352</c:v>
                </c:pt>
                <c:pt idx="1703">
                  <c:v>13.960099987019673</c:v>
                </c:pt>
                <c:pt idx="1704">
                  <c:v>13.575001073939797</c:v>
                </c:pt>
                <c:pt idx="1705">
                  <c:v>13.228495184171949</c:v>
                </c:pt>
                <c:pt idx="1706">
                  <c:v>13.165657894418221</c:v>
                </c:pt>
                <c:pt idx="1707">
                  <c:v>12.792908488486637</c:v>
                </c:pt>
                <c:pt idx="1708">
                  <c:v>12.761061642760815</c:v>
                </c:pt>
                <c:pt idx="1709">
                  <c:v>12.512603664288816</c:v>
                </c:pt>
                <c:pt idx="1710">
                  <c:v>12.853603826372105</c:v>
                </c:pt>
                <c:pt idx="1711">
                  <c:v>12.977019585469128</c:v>
                </c:pt>
                <c:pt idx="1712">
                  <c:v>12.324788844539626</c:v>
                </c:pt>
                <c:pt idx="1713">
                  <c:v>12.072142521353278</c:v>
                </c:pt>
                <c:pt idx="1714">
                  <c:v>11.303369858223988</c:v>
                </c:pt>
                <c:pt idx="1715">
                  <c:v>11.396270304444835</c:v>
                </c:pt>
                <c:pt idx="1716">
                  <c:v>11.584946515333506</c:v>
                </c:pt>
                <c:pt idx="1717">
                  <c:v>12.08821907613439</c:v>
                </c:pt>
                <c:pt idx="1718">
                  <c:v>12.590737254689861</c:v>
                </c:pt>
                <c:pt idx="1719">
                  <c:v>12.909982852843996</c:v>
                </c:pt>
                <c:pt idx="1720">
                  <c:v>12.909982852843996</c:v>
                </c:pt>
                <c:pt idx="1721">
                  <c:v>12.561076112817702</c:v>
                </c:pt>
                <c:pt idx="1722">
                  <c:v>12.54537476767668</c:v>
                </c:pt>
                <c:pt idx="1723">
                  <c:v>12.529693049217085</c:v>
                </c:pt>
                <c:pt idx="1724">
                  <c:v>12.529693049217085</c:v>
                </c:pt>
                <c:pt idx="1725">
                  <c:v>12.529693049217085</c:v>
                </c:pt>
                <c:pt idx="1726">
                  <c:v>12.529693049217085</c:v>
                </c:pt>
                <c:pt idx="1727">
                  <c:v>12.658479795008235</c:v>
                </c:pt>
                <c:pt idx="1728">
                  <c:v>12.868586756943591</c:v>
                </c:pt>
                <c:pt idx="1729">
                  <c:v>13.064763060940058</c:v>
                </c:pt>
                <c:pt idx="1730">
                  <c:v>13.064763060940058</c:v>
                </c:pt>
                <c:pt idx="1731">
                  <c:v>13.068024906980309</c:v>
                </c:pt>
                <c:pt idx="1732">
                  <c:v>12.688377592177948</c:v>
                </c:pt>
                <c:pt idx="1733">
                  <c:v>12.783586389279952</c:v>
                </c:pt>
                <c:pt idx="1734">
                  <c:v>12.656098163463216</c:v>
                </c:pt>
                <c:pt idx="1735">
                  <c:v>13.310071490333069</c:v>
                </c:pt>
                <c:pt idx="1736">
                  <c:v>13.310071490333069</c:v>
                </c:pt>
                <c:pt idx="1737">
                  <c:v>13.293433900970154</c:v>
                </c:pt>
                <c:pt idx="1738">
                  <c:v>13.236612592518615</c:v>
                </c:pt>
                <c:pt idx="1739">
                  <c:v>12.800942820656349</c:v>
                </c:pt>
                <c:pt idx="1740">
                  <c:v>12.44301454449854</c:v>
                </c:pt>
                <c:pt idx="1741">
                  <c:v>13.01823144127594</c:v>
                </c:pt>
                <c:pt idx="1742">
                  <c:v>12.468360997165675</c:v>
                </c:pt>
                <c:pt idx="1743">
                  <c:v>12.396818318597781</c:v>
                </c:pt>
                <c:pt idx="1744">
                  <c:v>11.472201662404746</c:v>
                </c:pt>
                <c:pt idx="1745">
                  <c:v>10.954080718490399</c:v>
                </c:pt>
                <c:pt idx="1746">
                  <c:v>10.3794848085411</c:v>
                </c:pt>
                <c:pt idx="1747">
                  <c:v>10.52165402644469</c:v>
                </c:pt>
                <c:pt idx="1748">
                  <c:v>9.7472600600395243</c:v>
                </c:pt>
                <c:pt idx="1749">
                  <c:v>8.9429685769565381</c:v>
                </c:pt>
                <c:pt idx="1750">
                  <c:v>10.087881219609828</c:v>
                </c:pt>
                <c:pt idx="1751">
                  <c:v>10.113695017854978</c:v>
                </c:pt>
                <c:pt idx="1752">
                  <c:v>9.9440524368023162</c:v>
                </c:pt>
                <c:pt idx="1753">
                  <c:v>9.8836635780324347</c:v>
                </c:pt>
                <c:pt idx="1754">
                  <c:v>9.927054663783851</c:v>
                </c:pt>
                <c:pt idx="1755">
                  <c:v>9.9743753283826244</c:v>
                </c:pt>
                <c:pt idx="1756">
                  <c:v>10.031654822096622</c:v>
                </c:pt>
                <c:pt idx="1757">
                  <c:v>10.031654822096622</c:v>
                </c:pt>
                <c:pt idx="1758">
                  <c:v>10.019115253569002</c:v>
                </c:pt>
                <c:pt idx="1759">
                  <c:v>10.019115253569002</c:v>
                </c:pt>
                <c:pt idx="1760">
                  <c:v>10.019115253569002</c:v>
                </c:pt>
                <c:pt idx="1761">
                  <c:v>10.019115253569002</c:v>
                </c:pt>
                <c:pt idx="1762">
                  <c:v>10.019115253569002</c:v>
                </c:pt>
                <c:pt idx="1763">
                  <c:v>10.019115253569002</c:v>
                </c:pt>
                <c:pt idx="1764">
                  <c:v>10.019115253569002</c:v>
                </c:pt>
                <c:pt idx="1765">
                  <c:v>10.019115253569002</c:v>
                </c:pt>
                <c:pt idx="1766">
                  <c:v>10.019115253569002</c:v>
                </c:pt>
                <c:pt idx="1767">
                  <c:v>10.019115253569002</c:v>
                </c:pt>
                <c:pt idx="1768">
                  <c:v>10.019115253569002</c:v>
                </c:pt>
                <c:pt idx="1769">
                  <c:v>10.019115253569002</c:v>
                </c:pt>
                <c:pt idx="1770">
                  <c:v>10.019115253569002</c:v>
                </c:pt>
                <c:pt idx="1771">
                  <c:v>9.912979427847505</c:v>
                </c:pt>
                <c:pt idx="1772">
                  <c:v>9.9123868339670356</c:v>
                </c:pt>
                <c:pt idx="1773">
                  <c:v>10.120260558838835</c:v>
                </c:pt>
                <c:pt idx="1774">
                  <c:v>9.921885081733695</c:v>
                </c:pt>
                <c:pt idx="1775">
                  <c:v>9.9272996523928292</c:v>
                </c:pt>
                <c:pt idx="1776">
                  <c:v>10.161888024763071</c:v>
                </c:pt>
                <c:pt idx="1777">
                  <c:v>10.161888024763071</c:v>
                </c:pt>
                <c:pt idx="1778">
                  <c:v>10.149185664732117</c:v>
                </c:pt>
                <c:pt idx="1779">
                  <c:v>10.149185664732117</c:v>
                </c:pt>
                <c:pt idx="1780">
                  <c:v>10.149185664732117</c:v>
                </c:pt>
                <c:pt idx="1781">
                  <c:v>10.149185664732117</c:v>
                </c:pt>
                <c:pt idx="1782">
                  <c:v>10.149185664732117</c:v>
                </c:pt>
                <c:pt idx="1783">
                  <c:v>10.149185664732117</c:v>
                </c:pt>
                <c:pt idx="1784">
                  <c:v>10.149185664732117</c:v>
                </c:pt>
                <c:pt idx="1785">
                  <c:v>10.149185664732117</c:v>
                </c:pt>
                <c:pt idx="1786">
                  <c:v>10.149185664732117</c:v>
                </c:pt>
                <c:pt idx="1787">
                  <c:v>10.149185664732117</c:v>
                </c:pt>
                <c:pt idx="1788">
                  <c:v>10.149185664732117</c:v>
                </c:pt>
                <c:pt idx="1789">
                  <c:v>10.149185664732117</c:v>
                </c:pt>
                <c:pt idx="1790">
                  <c:v>10.149185664732117</c:v>
                </c:pt>
                <c:pt idx="1791">
                  <c:v>10.149185664732117</c:v>
                </c:pt>
                <c:pt idx="1792">
                  <c:v>10.149185664732117</c:v>
                </c:pt>
                <c:pt idx="1793">
                  <c:v>10.149185664732117</c:v>
                </c:pt>
                <c:pt idx="1794">
                  <c:v>10.149185664732117</c:v>
                </c:pt>
                <c:pt idx="1795">
                  <c:v>10.149185664732117</c:v>
                </c:pt>
                <c:pt idx="1796">
                  <c:v>10.149185664732117</c:v>
                </c:pt>
                <c:pt idx="1797">
                  <c:v>10.149185664732117</c:v>
                </c:pt>
                <c:pt idx="1798">
                  <c:v>10.149185664732117</c:v>
                </c:pt>
                <c:pt idx="1799">
                  <c:v>10.149185664732117</c:v>
                </c:pt>
                <c:pt idx="1800">
                  <c:v>10.149185664732117</c:v>
                </c:pt>
                <c:pt idx="1801">
                  <c:v>10.149185664732117</c:v>
                </c:pt>
                <c:pt idx="1802">
                  <c:v>10.149185664732117</c:v>
                </c:pt>
                <c:pt idx="1803">
                  <c:v>10.149185664732117</c:v>
                </c:pt>
                <c:pt idx="1804">
                  <c:v>10.149185664732117</c:v>
                </c:pt>
                <c:pt idx="1805">
                  <c:v>10.149185664732117</c:v>
                </c:pt>
                <c:pt idx="1806">
                  <c:v>10.149185664732117</c:v>
                </c:pt>
                <c:pt idx="1807">
                  <c:v>10.149185664732117</c:v>
                </c:pt>
                <c:pt idx="1808">
                  <c:v>10.149185664732117</c:v>
                </c:pt>
                <c:pt idx="1809">
                  <c:v>10.149185664732117</c:v>
                </c:pt>
                <c:pt idx="1810">
                  <c:v>11.196767732390498</c:v>
                </c:pt>
                <c:pt idx="1811">
                  <c:v>11.18277177272501</c:v>
                </c:pt>
                <c:pt idx="1812">
                  <c:v>11.168793308009104</c:v>
                </c:pt>
                <c:pt idx="1813">
                  <c:v>11.168793308009104</c:v>
                </c:pt>
                <c:pt idx="1814">
                  <c:v>11.159610052061181</c:v>
                </c:pt>
                <c:pt idx="1815">
                  <c:v>11.099649442237924</c:v>
                </c:pt>
                <c:pt idx="1816">
                  <c:v>10.942169874876001</c:v>
                </c:pt>
                <c:pt idx="1817">
                  <c:v>10.811342537445482</c:v>
                </c:pt>
                <c:pt idx="1818">
                  <c:v>10.662004802032969</c:v>
                </c:pt>
                <c:pt idx="1819">
                  <c:v>11.172172135456103</c:v>
                </c:pt>
                <c:pt idx="1820">
                  <c:v>10.905220017555013</c:v>
                </c:pt>
                <c:pt idx="1821">
                  <c:v>10.941547014443078</c:v>
                </c:pt>
                <c:pt idx="1822">
                  <c:v>11.199033842132412</c:v>
                </c:pt>
                <c:pt idx="1823">
                  <c:v>10.979711305919766</c:v>
                </c:pt>
                <c:pt idx="1824">
                  <c:v>10.979850286607119</c:v>
                </c:pt>
                <c:pt idx="1825">
                  <c:v>10.787524783347193</c:v>
                </c:pt>
                <c:pt idx="1826">
                  <c:v>10.780805368246678</c:v>
                </c:pt>
                <c:pt idx="1827">
                  <c:v>10.597863346626722</c:v>
                </c:pt>
                <c:pt idx="1828">
                  <c:v>10.618306010254196</c:v>
                </c:pt>
                <c:pt idx="1829">
                  <c:v>10.442169421882822</c:v>
                </c:pt>
                <c:pt idx="1830">
                  <c:v>10.751533817685909</c:v>
                </c:pt>
                <c:pt idx="1831">
                  <c:v>11.404563604289145</c:v>
                </c:pt>
                <c:pt idx="1832">
                  <c:v>11.404563604289145</c:v>
                </c:pt>
                <c:pt idx="1833">
                  <c:v>11.390307899783783</c:v>
                </c:pt>
                <c:pt idx="1834">
                  <c:v>11.390307899783783</c:v>
                </c:pt>
                <c:pt idx="1835">
                  <c:v>11.633341416594712</c:v>
                </c:pt>
                <c:pt idx="1836">
                  <c:v>11.708418489633928</c:v>
                </c:pt>
                <c:pt idx="1837">
                  <c:v>11.708418489633928</c:v>
                </c:pt>
                <c:pt idx="1838">
                  <c:v>11.693782966521885</c:v>
                </c:pt>
                <c:pt idx="1839">
                  <c:v>11.693782966521885</c:v>
                </c:pt>
                <c:pt idx="1840">
                  <c:v>11.653686988431184</c:v>
                </c:pt>
                <c:pt idx="1841">
                  <c:v>11.460735636822612</c:v>
                </c:pt>
                <c:pt idx="1842">
                  <c:v>11.996506313936731</c:v>
                </c:pt>
                <c:pt idx="1843">
                  <c:v>11.417519100702771</c:v>
                </c:pt>
                <c:pt idx="1844">
                  <c:v>11.301822144117725</c:v>
                </c:pt>
                <c:pt idx="1845">
                  <c:v>11.171294748730073</c:v>
                </c:pt>
                <c:pt idx="1846">
                  <c:v>10.830242431864576</c:v>
                </c:pt>
                <c:pt idx="1847">
                  <c:v>11.229843520869693</c:v>
                </c:pt>
                <c:pt idx="1848">
                  <c:v>11.092534279480116</c:v>
                </c:pt>
                <c:pt idx="1849">
                  <c:v>10.979855324929698</c:v>
                </c:pt>
                <c:pt idx="1850">
                  <c:v>10.846138014877335</c:v>
                </c:pt>
                <c:pt idx="1851">
                  <c:v>10.858237224602215</c:v>
                </c:pt>
                <c:pt idx="1852">
                  <c:v>11.051646727077728</c:v>
                </c:pt>
                <c:pt idx="1853">
                  <c:v>11.145878876747449</c:v>
                </c:pt>
                <c:pt idx="1854">
                  <c:v>11.160602559439353</c:v>
                </c:pt>
                <c:pt idx="1855">
                  <c:v>11.160602559439353</c:v>
                </c:pt>
                <c:pt idx="1856">
                  <c:v>11.067428269765998</c:v>
                </c:pt>
                <c:pt idx="1857">
                  <c:v>11.064826499506502</c:v>
                </c:pt>
                <c:pt idx="1858">
                  <c:v>11.064826499506502</c:v>
                </c:pt>
                <c:pt idx="1859">
                  <c:v>11.050995466382119</c:v>
                </c:pt>
                <c:pt idx="1860">
                  <c:v>11.050995466382119</c:v>
                </c:pt>
                <c:pt idx="1861">
                  <c:v>11.050995466382119</c:v>
                </c:pt>
                <c:pt idx="1862">
                  <c:v>11.026479729472205</c:v>
                </c:pt>
                <c:pt idx="1863">
                  <c:v>10.249019073817973</c:v>
                </c:pt>
                <c:pt idx="1864">
                  <c:v>9.6019111921673588</c:v>
                </c:pt>
                <c:pt idx="1865">
                  <c:v>10.490844319075217</c:v>
                </c:pt>
                <c:pt idx="1866">
                  <c:v>10.552289492181272</c:v>
                </c:pt>
                <c:pt idx="1867">
                  <c:v>10.043599943853629</c:v>
                </c:pt>
                <c:pt idx="1868">
                  <c:v>9.5330899679547851</c:v>
                </c:pt>
                <c:pt idx="1869">
                  <c:v>10.051280378226449</c:v>
                </c:pt>
                <c:pt idx="1870">
                  <c:v>9.7604081695199874</c:v>
                </c:pt>
                <c:pt idx="1871">
                  <c:v>9.5400227591027917</c:v>
                </c:pt>
                <c:pt idx="1872">
                  <c:v>9.4557788075212876</c:v>
                </c:pt>
                <c:pt idx="1873">
                  <c:v>9.6212268287155585</c:v>
                </c:pt>
                <c:pt idx="1874">
                  <c:v>9.471532448631331</c:v>
                </c:pt>
                <c:pt idx="1875">
                  <c:v>9.4307994352353361</c:v>
                </c:pt>
                <c:pt idx="1876">
                  <c:v>9.8558348381742977</c:v>
                </c:pt>
                <c:pt idx="1877">
                  <c:v>9.8558348381742977</c:v>
                </c:pt>
                <c:pt idx="1878">
                  <c:v>9.8435150446265798</c:v>
                </c:pt>
                <c:pt idx="1879">
                  <c:v>9.7165851901504254</c:v>
                </c:pt>
                <c:pt idx="1880">
                  <c:v>9.7628998355632621</c:v>
                </c:pt>
                <c:pt idx="1881">
                  <c:v>9.7628998355632621</c:v>
                </c:pt>
                <c:pt idx="1882">
                  <c:v>9.7506962107688082</c:v>
                </c:pt>
                <c:pt idx="1883">
                  <c:v>9.7506962107688082</c:v>
                </c:pt>
                <c:pt idx="1884">
                  <c:v>9.7480362183789317</c:v>
                </c:pt>
                <c:pt idx="1885">
                  <c:v>9.7703666039876271</c:v>
                </c:pt>
                <c:pt idx="1886">
                  <c:v>10.032630011175771</c:v>
                </c:pt>
                <c:pt idx="1887">
                  <c:v>10.032630011175771</c:v>
                </c:pt>
                <c:pt idx="1888">
                  <c:v>10.020089223661801</c:v>
                </c:pt>
                <c:pt idx="1889">
                  <c:v>10.020089223661801</c:v>
                </c:pt>
                <c:pt idx="1890">
                  <c:v>10.020089223661801</c:v>
                </c:pt>
                <c:pt idx="1891">
                  <c:v>10.070607500260543</c:v>
                </c:pt>
                <c:pt idx="1892">
                  <c:v>9.9645315508054377</c:v>
                </c:pt>
                <c:pt idx="1893">
                  <c:v>10.067296912298479</c:v>
                </c:pt>
                <c:pt idx="1894">
                  <c:v>10.540794602887948</c:v>
                </c:pt>
                <c:pt idx="1895">
                  <c:v>10.540794602887948</c:v>
                </c:pt>
                <c:pt idx="1896">
                  <c:v>10.527618609634338</c:v>
                </c:pt>
                <c:pt idx="1897">
                  <c:v>10.527618609634338</c:v>
                </c:pt>
                <c:pt idx="1898">
                  <c:v>10.527618609634338</c:v>
                </c:pt>
                <c:pt idx="1899">
                  <c:v>10.527618609634338</c:v>
                </c:pt>
                <c:pt idx="1900">
                  <c:v>10.527618609634338</c:v>
                </c:pt>
                <c:pt idx="1901">
                  <c:v>10.527618609634338</c:v>
                </c:pt>
                <c:pt idx="1902">
                  <c:v>9.9571722721886164</c:v>
                </c:pt>
                <c:pt idx="1903">
                  <c:v>9.9447258068483801</c:v>
                </c:pt>
                <c:pt idx="1904">
                  <c:v>9.9322948995898201</c:v>
                </c:pt>
                <c:pt idx="1905">
                  <c:v>9.9349932460102526</c:v>
                </c:pt>
                <c:pt idx="1906">
                  <c:v>9.92257450445274</c:v>
                </c:pt>
                <c:pt idx="1907">
                  <c:v>9.9101712863221749</c:v>
                </c:pt>
                <c:pt idx="1908">
                  <c:v>9.9101712863221749</c:v>
                </c:pt>
                <c:pt idx="1909">
                  <c:v>9.929862640543325</c:v>
                </c:pt>
                <c:pt idx="1910">
                  <c:v>10.127346303948144</c:v>
                </c:pt>
                <c:pt idx="1911">
                  <c:v>10.127346303948144</c:v>
                </c:pt>
                <c:pt idx="1912">
                  <c:v>10.11468712106821</c:v>
                </c:pt>
                <c:pt idx="1913">
                  <c:v>10.11468712106821</c:v>
                </c:pt>
                <c:pt idx="1914">
                  <c:v>10.069303622609855</c:v>
                </c:pt>
                <c:pt idx="1915">
                  <c:v>10.070337559744271</c:v>
                </c:pt>
                <c:pt idx="1916">
                  <c:v>9.8834185685475262</c:v>
                </c:pt>
                <c:pt idx="1917">
                  <c:v>9.6646477101435035</c:v>
                </c:pt>
                <c:pt idx="1918">
                  <c:v>9.9487653209959284</c:v>
                </c:pt>
                <c:pt idx="1919">
                  <c:v>9.5847306805895673</c:v>
                </c:pt>
                <c:pt idx="1920">
                  <c:v>9.4997317023941559</c:v>
                </c:pt>
                <c:pt idx="1921">
                  <c:v>9.62673636911037</c:v>
                </c:pt>
                <c:pt idx="1922">
                  <c:v>9.9793373270679382</c:v>
                </c:pt>
                <c:pt idx="1923">
                  <c:v>9.9989902227999536</c:v>
                </c:pt>
                <c:pt idx="1924">
                  <c:v>9.9989902227999536</c:v>
                </c:pt>
                <c:pt idx="1925">
                  <c:v>9.9191669509016815</c:v>
                </c:pt>
                <c:pt idx="1926">
                  <c:v>9.9067679922130552</c:v>
                </c:pt>
                <c:pt idx="1927">
                  <c:v>9.8871531582107437</c:v>
                </c:pt>
                <c:pt idx="1928">
                  <c:v>9.8829600434933553</c:v>
                </c:pt>
                <c:pt idx="1929">
                  <c:v>9.8752979574802424</c:v>
                </c:pt>
                <c:pt idx="1930">
                  <c:v>9.8752979574802424</c:v>
                </c:pt>
                <c:pt idx="1931">
                  <c:v>9.8629538350333927</c:v>
                </c:pt>
                <c:pt idx="1932">
                  <c:v>9.8629538350333927</c:v>
                </c:pt>
                <c:pt idx="1933">
                  <c:v>9.921364171702912</c:v>
                </c:pt>
                <c:pt idx="1934">
                  <c:v>10.166588556218928</c:v>
                </c:pt>
                <c:pt idx="1935">
                  <c:v>10.166588556218928</c:v>
                </c:pt>
                <c:pt idx="1936">
                  <c:v>10.153880320523655</c:v>
                </c:pt>
                <c:pt idx="1937">
                  <c:v>10.153880320523655</c:v>
                </c:pt>
                <c:pt idx="1938">
                  <c:v>10.153880320523655</c:v>
                </c:pt>
                <c:pt idx="1939">
                  <c:v>10.153880320523655</c:v>
                </c:pt>
                <c:pt idx="1940">
                  <c:v>10.153880320523655</c:v>
                </c:pt>
                <c:pt idx="1941">
                  <c:v>10.153880320523655</c:v>
                </c:pt>
                <c:pt idx="1942">
                  <c:v>10.153880320523655</c:v>
                </c:pt>
                <c:pt idx="1943">
                  <c:v>10.158034139492671</c:v>
                </c:pt>
                <c:pt idx="1944">
                  <c:v>9.8878559684804532</c:v>
                </c:pt>
                <c:pt idx="1945">
                  <c:v>9.690253222784964</c:v>
                </c:pt>
                <c:pt idx="1946">
                  <c:v>9.64378970567323</c:v>
                </c:pt>
                <c:pt idx="1947">
                  <c:v>9.6664569805360347</c:v>
                </c:pt>
                <c:pt idx="1948">
                  <c:v>9.4414729818076868</c:v>
                </c:pt>
                <c:pt idx="1949">
                  <c:v>9.4064538476323438</c:v>
                </c:pt>
                <c:pt idx="1950">
                  <c:v>9.3892728551725764</c:v>
                </c:pt>
                <c:pt idx="1951">
                  <c:v>9.3451199730582637</c:v>
                </c:pt>
                <c:pt idx="1952">
                  <c:v>9.2890503202491406</c:v>
                </c:pt>
                <c:pt idx="1953">
                  <c:v>9.3157985544963946</c:v>
                </c:pt>
                <c:pt idx="1954">
                  <c:v>9.15211015689645</c:v>
                </c:pt>
                <c:pt idx="1955">
                  <c:v>9.0954875151648746</c:v>
                </c:pt>
                <c:pt idx="1956">
                  <c:v>9.0070553299693756</c:v>
                </c:pt>
                <c:pt idx="1957">
                  <c:v>9.0821822239545984</c:v>
                </c:pt>
                <c:pt idx="1958">
                  <c:v>9.1306527343291091</c:v>
                </c:pt>
                <c:pt idx="1959">
                  <c:v>9.2395639661190749</c:v>
                </c:pt>
                <c:pt idx="1960">
                  <c:v>9.1513735551037332</c:v>
                </c:pt>
                <c:pt idx="1961">
                  <c:v>9.1854944896039559</c:v>
                </c:pt>
                <c:pt idx="1962">
                  <c:v>9.1854944896039559</c:v>
                </c:pt>
                <c:pt idx="1963">
                  <c:v>9.1740126214919506</c:v>
                </c:pt>
                <c:pt idx="1964">
                  <c:v>8.7556477678962974</c:v>
                </c:pt>
                <c:pt idx="1965">
                  <c:v>8.7447032081864275</c:v>
                </c:pt>
                <c:pt idx="1966">
                  <c:v>8.865336631532724</c:v>
                </c:pt>
                <c:pt idx="1967">
                  <c:v>8.8329286775532125</c:v>
                </c:pt>
                <c:pt idx="1968">
                  <c:v>8.7588153873318966</c:v>
                </c:pt>
                <c:pt idx="1969">
                  <c:v>8.7299751360720723</c:v>
                </c:pt>
                <c:pt idx="1970">
                  <c:v>8.6547459357676058</c:v>
                </c:pt>
                <c:pt idx="1971">
                  <c:v>8.6311171374195332</c:v>
                </c:pt>
                <c:pt idx="1972">
                  <c:v>8.522240095474297</c:v>
                </c:pt>
                <c:pt idx="1973">
                  <c:v>8.4971748483202951</c:v>
                </c:pt>
                <c:pt idx="1974">
                  <c:v>8.2032493079283864</c:v>
                </c:pt>
                <c:pt idx="1975">
                  <c:v>8.8876662117173453</c:v>
                </c:pt>
                <c:pt idx="1976">
                  <c:v>8.8876662117173453</c:v>
                </c:pt>
                <c:pt idx="1977">
                  <c:v>8.8765566289526987</c:v>
                </c:pt>
                <c:pt idx="1978">
                  <c:v>7.8502869077511237</c:v>
                </c:pt>
                <c:pt idx="1979">
                  <c:v>7.8404740491164349</c:v>
                </c:pt>
                <c:pt idx="1980">
                  <c:v>7.8306734565550391</c:v>
                </c:pt>
                <c:pt idx="1981">
                  <c:v>7.8306734565550391</c:v>
                </c:pt>
                <c:pt idx="1982">
                  <c:v>7.8306734565550391</c:v>
                </c:pt>
                <c:pt idx="1983">
                  <c:v>7.8306734565550391</c:v>
                </c:pt>
                <c:pt idx="1984">
                  <c:v>7.8306734565550391</c:v>
                </c:pt>
                <c:pt idx="1985">
                  <c:v>7.8434108158065659</c:v>
                </c:pt>
                <c:pt idx="1986">
                  <c:v>7.6870144302106835</c:v>
                </c:pt>
                <c:pt idx="1987">
                  <c:v>7.5869846049867924</c:v>
                </c:pt>
                <c:pt idx="1988">
                  <c:v>7.3068548131492399</c:v>
                </c:pt>
                <c:pt idx="1989">
                  <c:v>7.4119064240611348</c:v>
                </c:pt>
                <c:pt idx="1990">
                  <c:v>7.2544894781171454</c:v>
                </c:pt>
                <c:pt idx="1991">
                  <c:v>7.1084063592114486</c:v>
                </c:pt>
                <c:pt idx="1992">
                  <c:v>7.1399714632655531</c:v>
                </c:pt>
                <c:pt idx="1993">
                  <c:v>7.3760753334930422</c:v>
                </c:pt>
                <c:pt idx="1994">
                  <c:v>7.3721494200799897</c:v>
                </c:pt>
                <c:pt idx="1995">
                  <c:v>7.3199715862069326</c:v>
                </c:pt>
                <c:pt idx="1996">
                  <c:v>7.3303395542542757</c:v>
                </c:pt>
                <c:pt idx="1997">
                  <c:v>7.2988600782856574</c:v>
                </c:pt>
                <c:pt idx="1998">
                  <c:v>7.2850418050965962</c:v>
                </c:pt>
                <c:pt idx="1999">
                  <c:v>7.2687820388401585</c:v>
                </c:pt>
                <c:pt idx="2000">
                  <c:v>7.2986551429162185</c:v>
                </c:pt>
                <c:pt idx="2001">
                  <c:v>7.2403577165867201</c:v>
                </c:pt>
                <c:pt idx="2002">
                  <c:v>7.2812902661380257</c:v>
                </c:pt>
                <c:pt idx="2003">
                  <c:v>7.0743530275240722</c:v>
                </c:pt>
                <c:pt idx="2004">
                  <c:v>7.2277587862940544</c:v>
                </c:pt>
                <c:pt idx="2005">
                  <c:v>7.2277587862940544</c:v>
                </c:pt>
                <c:pt idx="2006">
                  <c:v>7.1819018025196879</c:v>
                </c:pt>
                <c:pt idx="2007">
                  <c:v>7.0755339652760787</c:v>
                </c:pt>
                <c:pt idx="2008">
                  <c:v>7.0716764383736219</c:v>
                </c:pt>
                <c:pt idx="2009">
                  <c:v>6.8241118717914455</c:v>
                </c:pt>
                <c:pt idx="2010">
                  <c:v>6.8480445427766998</c:v>
                </c:pt>
                <c:pt idx="2011">
                  <c:v>6.6826614452615205</c:v>
                </c:pt>
                <c:pt idx="2012">
                  <c:v>7.862981096034539</c:v>
                </c:pt>
                <c:pt idx="2013">
                  <c:v>7.862981096034539</c:v>
                </c:pt>
                <c:pt idx="2014">
                  <c:v>6.9893882647674079</c:v>
                </c:pt>
                <c:pt idx="2015">
                  <c:v>6.9806515294364493</c:v>
                </c:pt>
                <c:pt idx="2016">
                  <c:v>6.9719257150246543</c:v>
                </c:pt>
                <c:pt idx="2017">
                  <c:v>6.9719257150246543</c:v>
                </c:pt>
                <c:pt idx="2018">
                  <c:v>6.9719257150246543</c:v>
                </c:pt>
                <c:pt idx="2019">
                  <c:v>6.9699232365609642</c:v>
                </c:pt>
                <c:pt idx="2020">
                  <c:v>6.9807035971810318</c:v>
                </c:pt>
                <c:pt idx="2021">
                  <c:v>6.9801666653351848</c:v>
                </c:pt>
                <c:pt idx="2022">
                  <c:v>6.9734113047715107</c:v>
                </c:pt>
                <c:pt idx="2023">
                  <c:v>6.9328888786575611</c:v>
                </c:pt>
                <c:pt idx="2024">
                  <c:v>7.0088476186308455</c:v>
                </c:pt>
                <c:pt idx="2025">
                  <c:v>7.0088476186308455</c:v>
                </c:pt>
                <c:pt idx="2026">
                  <c:v>6.9954426092819597</c:v>
                </c:pt>
                <c:pt idx="2027">
                  <c:v>6.9589066104820159</c:v>
                </c:pt>
                <c:pt idx="2028">
                  <c:v>6.9527051602965324</c:v>
                </c:pt>
                <c:pt idx="2029">
                  <c:v>6.9747402193268888</c:v>
                </c:pt>
                <c:pt idx="2030">
                  <c:v>7.0049982758375711</c:v>
                </c:pt>
                <c:pt idx="2031">
                  <c:v>6.9674037289315489</c:v>
                </c:pt>
                <c:pt idx="2032">
                  <c:v>6.9569512805540255</c:v>
                </c:pt>
                <c:pt idx="2033">
                  <c:v>6.9444581296966401</c:v>
                </c:pt>
                <c:pt idx="2034">
                  <c:v>6.9722899659886757</c:v>
                </c:pt>
                <c:pt idx="2035">
                  <c:v>7.0463794980845709</c:v>
                </c:pt>
                <c:pt idx="2036">
                  <c:v>6.9918499455980063</c:v>
                </c:pt>
                <c:pt idx="2037">
                  <c:v>6.9831031433209985</c:v>
                </c:pt>
                <c:pt idx="2038">
                  <c:v>7.0224970444527095</c:v>
                </c:pt>
                <c:pt idx="2039">
                  <c:v>7.0224970444527095</c:v>
                </c:pt>
                <c:pt idx="2040">
                  <c:v>7.0137189231471435</c:v>
                </c:pt>
                <c:pt idx="2041">
                  <c:v>7.0137189231471435</c:v>
                </c:pt>
                <c:pt idx="2042">
                  <c:v>7.0137189231471435</c:v>
                </c:pt>
                <c:pt idx="2043">
                  <c:v>6.9211288769016619</c:v>
                </c:pt>
                <c:pt idx="2044">
                  <c:v>6.9124774658055346</c:v>
                </c:pt>
                <c:pt idx="2045">
                  <c:v>6.9038368689732774</c:v>
                </c:pt>
                <c:pt idx="2046">
                  <c:v>6.9038368689732774</c:v>
                </c:pt>
                <c:pt idx="2047">
                  <c:v>6.9038368689732774</c:v>
                </c:pt>
                <c:pt idx="2048">
                  <c:v>6.9038368689732774</c:v>
                </c:pt>
                <c:pt idx="2049">
                  <c:v>6.9038368689732774</c:v>
                </c:pt>
                <c:pt idx="2050">
                  <c:v>6.9038368689732774</c:v>
                </c:pt>
                <c:pt idx="2051">
                  <c:v>6.9038368689732774</c:v>
                </c:pt>
                <c:pt idx="2052">
                  <c:v>6.9038368689732774</c:v>
                </c:pt>
                <c:pt idx="2053">
                  <c:v>6.9038368689732774</c:v>
                </c:pt>
                <c:pt idx="2054">
                  <c:v>6.9038368689732774</c:v>
                </c:pt>
                <c:pt idx="2055">
                  <c:v>6.9038368689732774</c:v>
                </c:pt>
                <c:pt idx="2056">
                  <c:v>6.9038368689732774</c:v>
                </c:pt>
                <c:pt idx="2057">
                  <c:v>6.9038368689732774</c:v>
                </c:pt>
                <c:pt idx="2058">
                  <c:v>6.9038368689732774</c:v>
                </c:pt>
                <c:pt idx="2059">
                  <c:v>6.9038368689732774</c:v>
                </c:pt>
                <c:pt idx="2060">
                  <c:v>6.9038368689732774</c:v>
                </c:pt>
                <c:pt idx="2061">
                  <c:v>6.9038368689732774</c:v>
                </c:pt>
                <c:pt idx="2062">
                  <c:v>6.9038368689732774</c:v>
                </c:pt>
                <c:pt idx="2063">
                  <c:v>6.9038368689732774</c:v>
                </c:pt>
                <c:pt idx="2064">
                  <c:v>6.9038368689732774</c:v>
                </c:pt>
                <c:pt idx="2065">
                  <c:v>6.9038368689732774</c:v>
                </c:pt>
                <c:pt idx="2066">
                  <c:v>6.9038368689732774</c:v>
                </c:pt>
                <c:pt idx="2067">
                  <c:v>6.9038368689732774</c:v>
                </c:pt>
                <c:pt idx="2068">
                  <c:v>6.9038368689732774</c:v>
                </c:pt>
                <c:pt idx="2069">
                  <c:v>6.9038368689732774</c:v>
                </c:pt>
                <c:pt idx="2070">
                  <c:v>6.7034412551293743</c:v>
                </c:pt>
                <c:pt idx="2071">
                  <c:v>6.5818655780201487</c:v>
                </c:pt>
                <c:pt idx="2072">
                  <c:v>6.4726644670806719</c:v>
                </c:pt>
                <c:pt idx="2073">
                  <c:v>6.319873465250522</c:v>
                </c:pt>
                <c:pt idx="2074">
                  <c:v>6.3786090116283809</c:v>
                </c:pt>
                <c:pt idx="2075">
                  <c:v>6.201285431024206</c:v>
                </c:pt>
                <c:pt idx="2076">
                  <c:v>6.3780951312469485</c:v>
                </c:pt>
                <c:pt idx="2077">
                  <c:v>6.1414605900169041</c:v>
                </c:pt>
                <c:pt idx="2078">
                  <c:v>6.0955076196716487</c:v>
                </c:pt>
                <c:pt idx="2079">
                  <c:v>5.8945542551579875</c:v>
                </c:pt>
                <c:pt idx="2080">
                  <c:v>5.8335380245849811</c:v>
                </c:pt>
                <c:pt idx="2081">
                  <c:v>5.8103580500692509</c:v>
                </c:pt>
                <c:pt idx="2082">
                  <c:v>5.8698052870591626</c:v>
                </c:pt>
                <c:pt idx="2083">
                  <c:v>5.7506806504721721</c:v>
                </c:pt>
                <c:pt idx="2084">
                  <c:v>5.7305985091584821</c:v>
                </c:pt>
                <c:pt idx="2085">
                  <c:v>5.809877949721395</c:v>
                </c:pt>
                <c:pt idx="2086">
                  <c:v>5.6708929229313263</c:v>
                </c:pt>
                <c:pt idx="2087">
                  <c:v>5.5556718800517793</c:v>
                </c:pt>
                <c:pt idx="2088">
                  <c:v>5.4319210217963869</c:v>
                </c:pt>
                <c:pt idx="2089">
                  <c:v>5.2519333309429719</c:v>
                </c:pt>
                <c:pt idx="2090">
                  <c:v>5.2116090484467659</c:v>
                </c:pt>
                <c:pt idx="2091">
                  <c:v>5.3513025381624351</c:v>
                </c:pt>
                <c:pt idx="2092">
                  <c:v>5.4108883910787249</c:v>
                </c:pt>
                <c:pt idx="2093">
                  <c:v>5.2909469369351827</c:v>
                </c:pt>
                <c:pt idx="2094">
                  <c:v>5.4104943874880513</c:v>
                </c:pt>
                <c:pt idx="2095">
                  <c:v>5.3303585413197601</c:v>
                </c:pt>
                <c:pt idx="2096">
                  <c:v>5.2941689539467074</c:v>
                </c:pt>
                <c:pt idx="2097">
                  <c:v>5.3484594159502823</c:v>
                </c:pt>
                <c:pt idx="2098">
                  <c:v>5.7041235308999516</c:v>
                </c:pt>
                <c:pt idx="2099">
                  <c:v>5.7041235308999516</c:v>
                </c:pt>
                <c:pt idx="2100">
                  <c:v>5.6969933764863265</c:v>
                </c:pt>
                <c:pt idx="2101">
                  <c:v>5.6969933764863265</c:v>
                </c:pt>
                <c:pt idx="2102">
                  <c:v>5.6969933764863265</c:v>
                </c:pt>
                <c:pt idx="2103">
                  <c:v>5.6969933764863265</c:v>
                </c:pt>
                <c:pt idx="2104">
                  <c:v>5.6969933764863265</c:v>
                </c:pt>
                <c:pt idx="2105">
                  <c:v>5.6969933764863265</c:v>
                </c:pt>
                <c:pt idx="2106">
                  <c:v>5.6969933764863265</c:v>
                </c:pt>
                <c:pt idx="2107">
                  <c:v>5.6969933764863265</c:v>
                </c:pt>
                <c:pt idx="2108">
                  <c:v>5.6969933764863265</c:v>
                </c:pt>
                <c:pt idx="2109">
                  <c:v>5.6969933764863265</c:v>
                </c:pt>
                <c:pt idx="2110">
                  <c:v>5.6969933764863265</c:v>
                </c:pt>
                <c:pt idx="2111">
                  <c:v>5.6969933764863265</c:v>
                </c:pt>
                <c:pt idx="2112">
                  <c:v>5.6969933764863265</c:v>
                </c:pt>
                <c:pt idx="2113">
                  <c:v>5.6969933764863265</c:v>
                </c:pt>
                <c:pt idx="2114">
                  <c:v>5.6969933764863265</c:v>
                </c:pt>
                <c:pt idx="2115">
                  <c:v>5.6969933764863265</c:v>
                </c:pt>
                <c:pt idx="2116">
                  <c:v>5.6969933764863265</c:v>
                </c:pt>
                <c:pt idx="2117">
                  <c:v>5.7943920804869817</c:v>
                </c:pt>
                <c:pt idx="2118">
                  <c:v>5.7871490903863734</c:v>
                </c:pt>
                <c:pt idx="2119">
                  <c:v>5.7799151540233904</c:v>
                </c:pt>
                <c:pt idx="2120">
                  <c:v>5.7425422975218225</c:v>
                </c:pt>
                <c:pt idx="2121">
                  <c:v>5.4565184263812441</c:v>
                </c:pt>
                <c:pt idx="2122">
                  <c:v>5.4744961702948034</c:v>
                </c:pt>
                <c:pt idx="2123">
                  <c:v>5.5672477224827821</c:v>
                </c:pt>
                <c:pt idx="2124">
                  <c:v>5.6969355672432336</c:v>
                </c:pt>
                <c:pt idx="2125">
                  <c:v>5.596617585914955</c:v>
                </c:pt>
                <c:pt idx="2126">
                  <c:v>5.5869773595441341</c:v>
                </c:pt>
                <c:pt idx="2127">
                  <c:v>5.5440408323321115</c:v>
                </c:pt>
                <c:pt idx="2128">
                  <c:v>5.6815711975433185</c:v>
                </c:pt>
                <c:pt idx="2129">
                  <c:v>5.6815711975433185</c:v>
                </c:pt>
                <c:pt idx="2130">
                  <c:v>5.6744692335463895</c:v>
                </c:pt>
                <c:pt idx="2131">
                  <c:v>5.6744692335463895</c:v>
                </c:pt>
                <c:pt idx="2132">
                  <c:v>5.6744692335463895</c:v>
                </c:pt>
                <c:pt idx="2133">
                  <c:v>5.6744692335463895</c:v>
                </c:pt>
                <c:pt idx="2134">
                  <c:v>5.6744692335463895</c:v>
                </c:pt>
                <c:pt idx="2135">
                  <c:v>5.6744692335463895</c:v>
                </c:pt>
                <c:pt idx="2136">
                  <c:v>5.6744692335463895</c:v>
                </c:pt>
                <c:pt idx="2137">
                  <c:v>5.6744692335463895</c:v>
                </c:pt>
                <c:pt idx="2138">
                  <c:v>5.6744692335463895</c:v>
                </c:pt>
                <c:pt idx="2139">
                  <c:v>5.6744692335463895</c:v>
                </c:pt>
                <c:pt idx="2140">
                  <c:v>5.6744692335463895</c:v>
                </c:pt>
                <c:pt idx="2141">
                  <c:v>5.6744692335463895</c:v>
                </c:pt>
                <c:pt idx="2142">
                  <c:v>5.5958737448838036</c:v>
                </c:pt>
                <c:pt idx="2143">
                  <c:v>5.5056486185473634</c:v>
                </c:pt>
                <c:pt idx="2144">
                  <c:v>5.6009170975401377</c:v>
                </c:pt>
                <c:pt idx="2145">
                  <c:v>5.600702423678138</c:v>
                </c:pt>
                <c:pt idx="2146">
                  <c:v>5.6333480659125916</c:v>
                </c:pt>
                <c:pt idx="2147">
                  <c:v>5.5671976215368035</c:v>
                </c:pt>
                <c:pt idx="2148">
                  <c:v>5.5719621507356871</c:v>
                </c:pt>
                <c:pt idx="2149">
                  <c:v>5.5798234959213451</c:v>
                </c:pt>
                <c:pt idx="2150">
                  <c:v>5.5666193682528542</c:v>
                </c:pt>
                <c:pt idx="2151">
                  <c:v>5.5722445616774916</c:v>
                </c:pt>
                <c:pt idx="2152">
                  <c:v>5.5692702967509247</c:v>
                </c:pt>
                <c:pt idx="2153">
                  <c:v>5.5681301259030009</c:v>
                </c:pt>
                <c:pt idx="2154">
                  <c:v>5.5647651010287538</c:v>
                </c:pt>
                <c:pt idx="2155">
                  <c:v>5.5653716133812026</c:v>
                </c:pt>
                <c:pt idx="2156">
                  <c:v>5.5127513498621834</c:v>
                </c:pt>
                <c:pt idx="2157">
                  <c:v>5.5865137524134978</c:v>
                </c:pt>
                <c:pt idx="2158">
                  <c:v>5.4539842124358504</c:v>
                </c:pt>
                <c:pt idx="2159">
                  <c:v>5.442150983458351</c:v>
                </c:pt>
                <c:pt idx="2160">
                  <c:v>5.4500404384602072</c:v>
                </c:pt>
                <c:pt idx="2161">
                  <c:v>5.4075079917239304</c:v>
                </c:pt>
                <c:pt idx="2162">
                  <c:v>5.3306405761944973</c:v>
                </c:pt>
                <c:pt idx="2163">
                  <c:v>5.238417114116773</c:v>
                </c:pt>
                <c:pt idx="2164">
                  <c:v>5.2199537109154761</c:v>
                </c:pt>
                <c:pt idx="2165">
                  <c:v>5.2929307001895323</c:v>
                </c:pt>
                <c:pt idx="2166">
                  <c:v>5.1650001041939513</c:v>
                </c:pt>
                <c:pt idx="2167">
                  <c:v>5.0004772924564156</c:v>
                </c:pt>
                <c:pt idx="2168">
                  <c:v>4.9636149510447405</c:v>
                </c:pt>
                <c:pt idx="2169">
                  <c:v>4.9817827637718466</c:v>
                </c:pt>
                <c:pt idx="2170">
                  <c:v>5.0182518194519741</c:v>
                </c:pt>
                <c:pt idx="2171">
                  <c:v>5.0546651299462884</c:v>
                </c:pt>
                <c:pt idx="2172">
                  <c:v>5.0910778949864266</c:v>
                </c:pt>
                <c:pt idx="2173">
                  <c:v>5.1849440800711015</c:v>
                </c:pt>
                <c:pt idx="2174">
                  <c:v>5.1849440800711015</c:v>
                </c:pt>
                <c:pt idx="2175">
                  <c:v>5.1784628999710129</c:v>
                </c:pt>
                <c:pt idx="2176">
                  <c:v>5.1784628999710129</c:v>
                </c:pt>
                <c:pt idx="2177">
                  <c:v>5.1784628999710129</c:v>
                </c:pt>
                <c:pt idx="2178">
                  <c:v>5.2519197675024971</c:v>
                </c:pt>
                <c:pt idx="2179">
                  <c:v>5.2561253000786667</c:v>
                </c:pt>
                <c:pt idx="2180">
                  <c:v>5.6065100261218186</c:v>
                </c:pt>
                <c:pt idx="2181">
                  <c:v>5.6065100261218186</c:v>
                </c:pt>
                <c:pt idx="2182">
                  <c:v>5.5995018885891668</c:v>
                </c:pt>
                <c:pt idx="2183">
                  <c:v>5.5995018885891668</c:v>
                </c:pt>
                <c:pt idx="2184">
                  <c:v>5.5995018885891668</c:v>
                </c:pt>
                <c:pt idx="2185">
                  <c:v>5.5995018885891668</c:v>
                </c:pt>
                <c:pt idx="2186">
                  <c:v>5.5995018885891668</c:v>
                </c:pt>
                <c:pt idx="2187">
                  <c:v>5.5995018885891668</c:v>
                </c:pt>
                <c:pt idx="2188">
                  <c:v>5.5995018885891668</c:v>
                </c:pt>
                <c:pt idx="2189">
                  <c:v>5.43206153622772</c:v>
                </c:pt>
                <c:pt idx="2190">
                  <c:v>5.4227845911641595</c:v>
                </c:pt>
                <c:pt idx="2191">
                  <c:v>5.5441934287953059</c:v>
                </c:pt>
                <c:pt idx="2192">
                  <c:v>5.6248650932778368</c:v>
                </c:pt>
                <c:pt idx="2193">
                  <c:v>5.6248650932778368</c:v>
                </c:pt>
                <c:pt idx="2194">
                  <c:v>5.6178340119112393</c:v>
                </c:pt>
                <c:pt idx="2195">
                  <c:v>5.6178340119112393</c:v>
                </c:pt>
                <c:pt idx="2196">
                  <c:v>5.6178340119112393</c:v>
                </c:pt>
                <c:pt idx="2197">
                  <c:v>5.6178340119112393</c:v>
                </c:pt>
                <c:pt idx="2198">
                  <c:v>5.6148058055462986</c:v>
                </c:pt>
                <c:pt idx="2199">
                  <c:v>5.5961729783563783</c:v>
                </c:pt>
                <c:pt idx="2200">
                  <c:v>5.5637784274821476</c:v>
                </c:pt>
                <c:pt idx="2201">
                  <c:v>5.6449044733353553</c:v>
                </c:pt>
                <c:pt idx="2202">
                  <c:v>5.6449044733353553</c:v>
                </c:pt>
                <c:pt idx="2203">
                  <c:v>5.6263206463847739</c:v>
                </c:pt>
                <c:pt idx="2204">
                  <c:v>5.7353480829385246</c:v>
                </c:pt>
                <c:pt idx="2205">
                  <c:v>5.7150151326388139</c:v>
                </c:pt>
                <c:pt idx="2206">
                  <c:v>5.6895627576307195</c:v>
                </c:pt>
                <c:pt idx="2207">
                  <c:v>5.653890061273354</c:v>
                </c:pt>
                <c:pt idx="2208">
                  <c:v>5.7378527988447248</c:v>
                </c:pt>
                <c:pt idx="2209">
                  <c:v>6.5412991688007125</c:v>
                </c:pt>
                <c:pt idx="2210">
                  <c:v>6.5412991688007125</c:v>
                </c:pt>
                <c:pt idx="2211">
                  <c:v>6.5331225448397117</c:v>
                </c:pt>
                <c:pt idx="2212">
                  <c:v>6.5331225448397117</c:v>
                </c:pt>
                <c:pt idx="2213">
                  <c:v>6.5331225448397117</c:v>
                </c:pt>
                <c:pt idx="2214">
                  <c:v>6.5331225448397117</c:v>
                </c:pt>
                <c:pt idx="2215">
                  <c:v>6.5331225448397117</c:v>
                </c:pt>
                <c:pt idx="2216">
                  <c:v>6.5331225448397117</c:v>
                </c:pt>
                <c:pt idx="2217">
                  <c:v>6.5331225448397117</c:v>
                </c:pt>
                <c:pt idx="2218">
                  <c:v>6.5331225448397117</c:v>
                </c:pt>
                <c:pt idx="2219">
                  <c:v>6.5331225448397117</c:v>
                </c:pt>
                <c:pt idx="2220">
                  <c:v>6.5331225448397117</c:v>
                </c:pt>
                <c:pt idx="2221">
                  <c:v>6.5331225448397117</c:v>
                </c:pt>
                <c:pt idx="2222">
                  <c:v>6.5331225448397117</c:v>
                </c:pt>
                <c:pt idx="2223">
                  <c:v>6.5331225448397117</c:v>
                </c:pt>
                <c:pt idx="2224">
                  <c:v>6.5331225448397117</c:v>
                </c:pt>
                <c:pt idx="2225">
                  <c:v>6.5331225448397117</c:v>
                </c:pt>
                <c:pt idx="2226">
                  <c:v>6.9219233071595641</c:v>
                </c:pt>
                <c:pt idx="2227">
                  <c:v>6.913270903025615</c:v>
                </c:pt>
                <c:pt idx="2228">
                  <c:v>6.9046293143968329</c:v>
                </c:pt>
                <c:pt idx="2229">
                  <c:v>6.9046293143968329</c:v>
                </c:pt>
                <c:pt idx="2230">
                  <c:v>6.9046293143968329</c:v>
                </c:pt>
                <c:pt idx="2231">
                  <c:v>6.9046293143968329</c:v>
                </c:pt>
                <c:pt idx="2232">
                  <c:v>6.9046293143968329</c:v>
                </c:pt>
                <c:pt idx="2233">
                  <c:v>6.9046293143968329</c:v>
                </c:pt>
                <c:pt idx="2234">
                  <c:v>6.9046293143968329</c:v>
                </c:pt>
                <c:pt idx="2235">
                  <c:v>6.9046293143968329</c:v>
                </c:pt>
                <c:pt idx="2236">
                  <c:v>6.9046293143968329</c:v>
                </c:pt>
                <c:pt idx="2237">
                  <c:v>6.9046293143968329</c:v>
                </c:pt>
                <c:pt idx="2238">
                  <c:v>6.9046293143968329</c:v>
                </c:pt>
                <c:pt idx="2239">
                  <c:v>6.9046293143968329</c:v>
                </c:pt>
                <c:pt idx="2240">
                  <c:v>6.9046293143968329</c:v>
                </c:pt>
                <c:pt idx="2241">
                  <c:v>6.9046293143968329</c:v>
                </c:pt>
                <c:pt idx="2242">
                  <c:v>6.9046293143968329</c:v>
                </c:pt>
                <c:pt idx="2243">
                  <c:v>6.9046293143968329</c:v>
                </c:pt>
                <c:pt idx="2244">
                  <c:v>6.9046293143968329</c:v>
                </c:pt>
                <c:pt idx="2245">
                  <c:v>6.9046293143968329</c:v>
                </c:pt>
                <c:pt idx="2246">
                  <c:v>6.9046293143968329</c:v>
                </c:pt>
                <c:pt idx="2247">
                  <c:v>6.9046293143968329</c:v>
                </c:pt>
                <c:pt idx="2248">
                  <c:v>6.9046293143968329</c:v>
                </c:pt>
                <c:pt idx="2249">
                  <c:v>6.9046293143968329</c:v>
                </c:pt>
                <c:pt idx="2250">
                  <c:v>6.9046293143968329</c:v>
                </c:pt>
                <c:pt idx="2251">
                  <c:v>6.9046293143968329</c:v>
                </c:pt>
                <c:pt idx="2252">
                  <c:v>6.9046293143968329</c:v>
                </c:pt>
                <c:pt idx="2253">
                  <c:v>6.9046293143968329</c:v>
                </c:pt>
                <c:pt idx="2254">
                  <c:v>6.9046293143968329</c:v>
                </c:pt>
                <c:pt idx="2255">
                  <c:v>6.820236686179256</c:v>
                </c:pt>
                <c:pt idx="2256">
                  <c:v>6.8445280553406294</c:v>
                </c:pt>
                <c:pt idx="2257">
                  <c:v>6.7727376677498485</c:v>
                </c:pt>
                <c:pt idx="2258">
                  <c:v>6.960072945317525</c:v>
                </c:pt>
                <c:pt idx="2259">
                  <c:v>7.2643028226606852</c:v>
                </c:pt>
                <c:pt idx="2260">
                  <c:v>7.2643028226606852</c:v>
                </c:pt>
                <c:pt idx="2261">
                  <c:v>7.2552224441323592</c:v>
                </c:pt>
                <c:pt idx="2262">
                  <c:v>7.2471427852891299</c:v>
                </c:pt>
                <c:pt idx="2263">
                  <c:v>7.2380838568075188</c:v>
                </c:pt>
                <c:pt idx="2264">
                  <c:v>7.2290362519865097</c:v>
                </c:pt>
                <c:pt idx="2265">
                  <c:v>7.2290362519865097</c:v>
                </c:pt>
                <c:pt idx="2266">
                  <c:v>7.2290362519865097</c:v>
                </c:pt>
                <c:pt idx="2267">
                  <c:v>7.2290362519865097</c:v>
                </c:pt>
                <c:pt idx="2268">
                  <c:v>7.2290362519865097</c:v>
                </c:pt>
                <c:pt idx="2269">
                  <c:v>7.1880459933220662</c:v>
                </c:pt>
                <c:pt idx="2270">
                  <c:v>7.2296977697190838</c:v>
                </c:pt>
                <c:pt idx="2271">
                  <c:v>7.2712903790056753</c:v>
                </c:pt>
                <c:pt idx="2272">
                  <c:v>7.2712903790056753</c:v>
                </c:pt>
                <c:pt idx="2273">
                  <c:v>7.2622012660319184</c:v>
                </c:pt>
                <c:pt idx="2274">
                  <c:v>7.2224241823624844</c:v>
                </c:pt>
                <c:pt idx="2275">
                  <c:v>7.2068719099656304</c:v>
                </c:pt>
                <c:pt idx="2276">
                  <c:v>7.1628779847986719</c:v>
                </c:pt>
                <c:pt idx="2277">
                  <c:v>7.1604182548886577</c:v>
                </c:pt>
                <c:pt idx="2278">
                  <c:v>7.0556631553832867</c:v>
                </c:pt>
                <c:pt idx="2279">
                  <c:v>7.0972980856146748</c:v>
                </c:pt>
                <c:pt idx="2280">
                  <c:v>6.9227212320236875</c:v>
                </c:pt>
                <c:pt idx="2281">
                  <c:v>6.9365696509686439</c:v>
                </c:pt>
                <c:pt idx="2282">
                  <c:v>6.7404855310828014</c:v>
                </c:pt>
                <c:pt idx="2283">
                  <c:v>6.4762254368823937</c:v>
                </c:pt>
                <c:pt idx="2284">
                  <c:v>6.4756677250380914</c:v>
                </c:pt>
                <c:pt idx="2285">
                  <c:v>6.3557394950287165</c:v>
                </c:pt>
                <c:pt idx="2286">
                  <c:v>6.5713376523850462</c:v>
                </c:pt>
                <c:pt idx="2287">
                  <c:v>6.4606047159679045</c:v>
                </c:pt>
                <c:pt idx="2288">
                  <c:v>6.3280540285100519</c:v>
                </c:pt>
                <c:pt idx="2289">
                  <c:v>6.3498239283925475</c:v>
                </c:pt>
                <c:pt idx="2290">
                  <c:v>6.2174739242814923</c:v>
                </c:pt>
                <c:pt idx="2291">
                  <c:v>6.1951579064111266</c:v>
                </c:pt>
                <c:pt idx="2292">
                  <c:v>6.1289511005172583</c:v>
                </c:pt>
                <c:pt idx="2293">
                  <c:v>5.9304016228667278</c:v>
                </c:pt>
                <c:pt idx="2294">
                  <c:v>5.9299792711115948</c:v>
                </c:pt>
                <c:pt idx="2295">
                  <c:v>5.8638504253117842</c:v>
                </c:pt>
                <c:pt idx="2296">
                  <c:v>5.8637065642265727</c:v>
                </c:pt>
                <c:pt idx="2297">
                  <c:v>5.8196065312077092</c:v>
                </c:pt>
                <c:pt idx="2298">
                  <c:v>5.8636102738269384</c:v>
                </c:pt>
                <c:pt idx="2299">
                  <c:v>5.819413211323611</c:v>
                </c:pt>
                <c:pt idx="2300">
                  <c:v>5.5768432757629487</c:v>
                </c:pt>
                <c:pt idx="2301">
                  <c:v>5.2897876253975564</c:v>
                </c:pt>
                <c:pt idx="2302">
                  <c:v>5.3773311214311628</c:v>
                </c:pt>
                <c:pt idx="2303">
                  <c:v>5.3110238569562629</c:v>
                </c:pt>
                <c:pt idx="2304">
                  <c:v>5.5092260990785933</c:v>
                </c:pt>
                <c:pt idx="2305">
                  <c:v>5.8172831781953178</c:v>
                </c:pt>
                <c:pt idx="2306">
                  <c:v>5.6818353112549902</c:v>
                </c:pt>
                <c:pt idx="2307">
                  <c:v>5.6579956073438575</c:v>
                </c:pt>
                <c:pt idx="2308">
                  <c:v>5.7215444813225531</c:v>
                </c:pt>
                <c:pt idx="2309">
                  <c:v>5.9099318742910647</c:v>
                </c:pt>
                <c:pt idx="2310">
                  <c:v>5.9082373385785738</c:v>
                </c:pt>
                <c:pt idx="2311">
                  <c:v>5.9435948487339898</c:v>
                </c:pt>
                <c:pt idx="2312">
                  <c:v>5.8052540839309348</c:v>
                </c:pt>
                <c:pt idx="2313">
                  <c:v>6.0155086307268215</c:v>
                </c:pt>
                <c:pt idx="2314">
                  <c:v>5.8082410012787538</c:v>
                </c:pt>
                <c:pt idx="2315">
                  <c:v>5.8166500060598443</c:v>
                </c:pt>
                <c:pt idx="2316">
                  <c:v>5.7627864364016874</c:v>
                </c:pt>
                <c:pt idx="2317">
                  <c:v>5.7011257041341805</c:v>
                </c:pt>
                <c:pt idx="2318">
                  <c:v>5.6045488970841193</c:v>
                </c:pt>
                <c:pt idx="2319">
                  <c:v>5.5507853703817034</c:v>
                </c:pt>
                <c:pt idx="2320">
                  <c:v>5.4778810735206909</c:v>
                </c:pt>
                <c:pt idx="2321">
                  <c:v>5.6402018842740951</c:v>
                </c:pt>
                <c:pt idx="2322">
                  <c:v>5.7559006438145532</c:v>
                </c:pt>
                <c:pt idx="2323">
                  <c:v>5.7043349760655166</c:v>
                </c:pt>
                <c:pt idx="2324">
                  <c:v>5.6905679690105053</c:v>
                </c:pt>
                <c:pt idx="2325">
                  <c:v>5.6905679690105053</c:v>
                </c:pt>
                <c:pt idx="2326">
                  <c:v>5.6834547590492424</c:v>
                </c:pt>
                <c:pt idx="2327">
                  <c:v>5.5715727419737293</c:v>
                </c:pt>
                <c:pt idx="2328">
                  <c:v>5.5646082760462621</c:v>
                </c:pt>
                <c:pt idx="2329">
                  <c:v>5.2213833657322359</c:v>
                </c:pt>
                <c:pt idx="2330">
                  <c:v>5.214856636525071</c:v>
                </c:pt>
                <c:pt idx="2331">
                  <c:v>5.2083380657294152</c:v>
                </c:pt>
                <c:pt idx="2332">
                  <c:v>5.2083380657294152</c:v>
                </c:pt>
                <c:pt idx="2333">
                  <c:v>5.2083380657294152</c:v>
                </c:pt>
                <c:pt idx="2334">
                  <c:v>5.2083380657294152</c:v>
                </c:pt>
                <c:pt idx="2335">
                  <c:v>5.2083380657294152</c:v>
                </c:pt>
                <c:pt idx="2336">
                  <c:v>5.2083380657294152</c:v>
                </c:pt>
                <c:pt idx="2337">
                  <c:v>5.2083380657294152</c:v>
                </c:pt>
                <c:pt idx="2338">
                  <c:v>5.2083380657294152</c:v>
                </c:pt>
                <c:pt idx="2339">
                  <c:v>5.2083380657294152</c:v>
                </c:pt>
                <c:pt idx="2340">
                  <c:v>5.2083380657294152</c:v>
                </c:pt>
                <c:pt idx="2341">
                  <c:v>5.2083380657294152</c:v>
                </c:pt>
                <c:pt idx="2342">
                  <c:v>5.2083380657294152</c:v>
                </c:pt>
                <c:pt idx="2343">
                  <c:v>5.2083380657294152</c:v>
                </c:pt>
                <c:pt idx="2344">
                  <c:v>5.2083380657294152</c:v>
                </c:pt>
                <c:pt idx="2345">
                  <c:v>5.2083380657294152</c:v>
                </c:pt>
                <c:pt idx="2346">
                  <c:v>5.2083380657294152</c:v>
                </c:pt>
                <c:pt idx="2347">
                  <c:v>5.2083380657294152</c:v>
                </c:pt>
                <c:pt idx="2348">
                  <c:v>5.2083380657294152</c:v>
                </c:pt>
                <c:pt idx="2349">
                  <c:v>5.2083380657294152</c:v>
                </c:pt>
                <c:pt idx="2350">
                  <c:v>5.2083380657294152</c:v>
                </c:pt>
                <c:pt idx="2351">
                  <c:v>5.2083380657294152</c:v>
                </c:pt>
                <c:pt idx="2352">
                  <c:v>5.2468026171928059</c:v>
                </c:pt>
                <c:pt idx="2353">
                  <c:v>5.2401579535091019</c:v>
                </c:pt>
                <c:pt idx="2354">
                  <c:v>5.2013335257074385</c:v>
                </c:pt>
                <c:pt idx="2355">
                  <c:v>5.2398944822638303</c:v>
                </c:pt>
                <c:pt idx="2356">
                  <c:v>5.1922082309547672</c:v>
                </c:pt>
                <c:pt idx="2357">
                  <c:v>5.2062319567283852</c:v>
                </c:pt>
                <c:pt idx="2358">
                  <c:v>5.2062319567283852</c:v>
                </c:pt>
                <c:pt idx="2359">
                  <c:v>5.1997241667824747</c:v>
                </c:pt>
                <c:pt idx="2360">
                  <c:v>5.1997241667824747</c:v>
                </c:pt>
                <c:pt idx="2361">
                  <c:v>5.1997241667824747</c:v>
                </c:pt>
                <c:pt idx="2362">
                  <c:v>5.1997241667824747</c:v>
                </c:pt>
                <c:pt idx="2363">
                  <c:v>5.1997241667824747</c:v>
                </c:pt>
                <c:pt idx="2364">
                  <c:v>5.1997241667824747</c:v>
                </c:pt>
                <c:pt idx="2365">
                  <c:v>5.1981719727168283</c:v>
                </c:pt>
                <c:pt idx="2366">
                  <c:v>5.3033243955588105</c:v>
                </c:pt>
                <c:pt idx="2367">
                  <c:v>5.3033243955588105</c:v>
                </c:pt>
                <c:pt idx="2368">
                  <c:v>5.2966952400643619</c:v>
                </c:pt>
                <c:pt idx="2369">
                  <c:v>5.2966952400643619</c:v>
                </c:pt>
                <c:pt idx="2370">
                  <c:v>5.2966952400643619</c:v>
                </c:pt>
                <c:pt idx="2371">
                  <c:v>5.2966952400643619</c:v>
                </c:pt>
                <c:pt idx="2372">
                  <c:v>5.2966952400643619</c:v>
                </c:pt>
                <c:pt idx="2373">
                  <c:v>5.2202473387639392</c:v>
                </c:pt>
                <c:pt idx="2374">
                  <c:v>5.2479516926765548</c:v>
                </c:pt>
                <c:pt idx="2375">
                  <c:v>5.5260147211434898</c:v>
                </c:pt>
                <c:pt idx="2376">
                  <c:v>5.5260147211434898</c:v>
                </c:pt>
                <c:pt idx="2377">
                  <c:v>5.5191072027420605</c:v>
                </c:pt>
                <c:pt idx="2378">
                  <c:v>5.5191072027420605</c:v>
                </c:pt>
                <c:pt idx="2379">
                  <c:v>5.5191072027420605</c:v>
                </c:pt>
                <c:pt idx="2380">
                  <c:v>5.5191072027420605</c:v>
                </c:pt>
                <c:pt idx="2381">
                  <c:v>5.5191072027420605</c:v>
                </c:pt>
                <c:pt idx="2382">
                  <c:v>5.5191072027420605</c:v>
                </c:pt>
                <c:pt idx="2383">
                  <c:v>5.5191072027420605</c:v>
                </c:pt>
                <c:pt idx="2384">
                  <c:v>5.5191072027420605</c:v>
                </c:pt>
                <c:pt idx="2385">
                  <c:v>5.5191072027420605</c:v>
                </c:pt>
                <c:pt idx="2386">
                  <c:v>5.5191072027420605</c:v>
                </c:pt>
                <c:pt idx="2387">
                  <c:v>5.5191072027420605</c:v>
                </c:pt>
                <c:pt idx="2388">
                  <c:v>5.5191072027420605</c:v>
                </c:pt>
                <c:pt idx="2389">
                  <c:v>5.5191072027420605</c:v>
                </c:pt>
                <c:pt idx="2390">
                  <c:v>5.5191072027420605</c:v>
                </c:pt>
                <c:pt idx="2391">
                  <c:v>5.5191072027420605</c:v>
                </c:pt>
                <c:pt idx="2392">
                  <c:v>5.5191072027420605</c:v>
                </c:pt>
                <c:pt idx="2393">
                  <c:v>5.5191072027420605</c:v>
                </c:pt>
                <c:pt idx="2394">
                  <c:v>5.5191072027420605</c:v>
                </c:pt>
                <c:pt idx="2395">
                  <c:v>5.5191072027420605</c:v>
                </c:pt>
                <c:pt idx="2396">
                  <c:v>5.5191072027420605</c:v>
                </c:pt>
                <c:pt idx="2397">
                  <c:v>5.5191072027420605</c:v>
                </c:pt>
                <c:pt idx="2398">
                  <c:v>5.5191072027420605</c:v>
                </c:pt>
                <c:pt idx="2399">
                  <c:v>5.5191072027420605</c:v>
                </c:pt>
                <c:pt idx="2400">
                  <c:v>5.5191072027420605</c:v>
                </c:pt>
                <c:pt idx="2401">
                  <c:v>5.5191072027420605</c:v>
                </c:pt>
                <c:pt idx="2402">
                  <c:v>5.5191072027420605</c:v>
                </c:pt>
                <c:pt idx="2403">
                  <c:v>5.5191072027420605</c:v>
                </c:pt>
                <c:pt idx="2404">
                  <c:v>5.5191072027420605</c:v>
                </c:pt>
                <c:pt idx="2405">
                  <c:v>5.5191072027420605</c:v>
                </c:pt>
                <c:pt idx="2406">
                  <c:v>5.5191072027420605</c:v>
                </c:pt>
                <c:pt idx="2407">
                  <c:v>5.5191072027420605</c:v>
                </c:pt>
                <c:pt idx="2408">
                  <c:v>5.5191072027420605</c:v>
                </c:pt>
                <c:pt idx="2409">
                  <c:v>5.5191072027420605</c:v>
                </c:pt>
                <c:pt idx="2410">
                  <c:v>5.5191072027420605</c:v>
                </c:pt>
                <c:pt idx="2411">
                  <c:v>5.5191072027420605</c:v>
                </c:pt>
                <c:pt idx="2412">
                  <c:v>5.5191072027420605</c:v>
                </c:pt>
                <c:pt idx="2413">
                  <c:v>5.5191072027420605</c:v>
                </c:pt>
                <c:pt idx="2414">
                  <c:v>5.5191072027420605</c:v>
                </c:pt>
                <c:pt idx="2415">
                  <c:v>5.5191072027420605</c:v>
                </c:pt>
                <c:pt idx="2416">
                  <c:v>5.5191072027420605</c:v>
                </c:pt>
                <c:pt idx="2417">
                  <c:v>5.5191072027420605</c:v>
                </c:pt>
                <c:pt idx="2418">
                  <c:v>5.5191072027420605</c:v>
                </c:pt>
                <c:pt idx="2419">
                  <c:v>5.5191072027420605</c:v>
                </c:pt>
                <c:pt idx="2420">
                  <c:v>5.5191072027420605</c:v>
                </c:pt>
                <c:pt idx="2421">
                  <c:v>5.5191072027420605</c:v>
                </c:pt>
                <c:pt idx="2422">
                  <c:v>5.4189279564375621</c:v>
                </c:pt>
                <c:pt idx="2423">
                  <c:v>5.6600092683747594</c:v>
                </c:pt>
                <c:pt idx="2424">
                  <c:v>5.6600092683747594</c:v>
                </c:pt>
                <c:pt idx="2425">
                  <c:v>5.6529342567892913</c:v>
                </c:pt>
                <c:pt idx="2426">
                  <c:v>5.6371134064305606</c:v>
                </c:pt>
                <c:pt idx="2427">
                  <c:v>5.4919636391086639</c:v>
                </c:pt>
                <c:pt idx="2428">
                  <c:v>5.3799108873265213</c:v>
                </c:pt>
                <c:pt idx="2429">
                  <c:v>5.8124707568276746</c:v>
                </c:pt>
                <c:pt idx="2430">
                  <c:v>5.8124707568276746</c:v>
                </c:pt>
                <c:pt idx="2431">
                  <c:v>5.8052051683816401</c:v>
                </c:pt>
                <c:pt idx="2432">
                  <c:v>5.8052051683816401</c:v>
                </c:pt>
                <c:pt idx="2433">
                  <c:v>5.8052051683816401</c:v>
                </c:pt>
                <c:pt idx="2434">
                  <c:v>5.8052051683816401</c:v>
                </c:pt>
                <c:pt idx="2435">
                  <c:v>5.8052051683816401</c:v>
                </c:pt>
                <c:pt idx="2436">
                  <c:v>5.8052051683816401</c:v>
                </c:pt>
                <c:pt idx="2437">
                  <c:v>5.8052051683816401</c:v>
                </c:pt>
                <c:pt idx="2438">
                  <c:v>5.8052051683816401</c:v>
                </c:pt>
                <c:pt idx="2439">
                  <c:v>5.8052051683816401</c:v>
                </c:pt>
                <c:pt idx="2440">
                  <c:v>5.8052051683816401</c:v>
                </c:pt>
                <c:pt idx="2441">
                  <c:v>5.8052051683816401</c:v>
                </c:pt>
                <c:pt idx="2442">
                  <c:v>5.8052051683816401</c:v>
                </c:pt>
                <c:pt idx="2443">
                  <c:v>5.8052051683816401</c:v>
                </c:pt>
                <c:pt idx="2444">
                  <c:v>5.8052051683816401</c:v>
                </c:pt>
                <c:pt idx="2445">
                  <c:v>5.8052051683816401</c:v>
                </c:pt>
                <c:pt idx="2446">
                  <c:v>5.8052051683816401</c:v>
                </c:pt>
                <c:pt idx="2447">
                  <c:v>5.8052051683816401</c:v>
                </c:pt>
                <c:pt idx="2448">
                  <c:v>5.8052051683816401</c:v>
                </c:pt>
                <c:pt idx="2449">
                  <c:v>5.8052051683816401</c:v>
                </c:pt>
                <c:pt idx="2450">
                  <c:v>5.8052051683816401</c:v>
                </c:pt>
                <c:pt idx="2451">
                  <c:v>5.8052051683816401</c:v>
                </c:pt>
                <c:pt idx="2452">
                  <c:v>5.8052051683816401</c:v>
                </c:pt>
                <c:pt idx="2453">
                  <c:v>5.8052051683816401</c:v>
                </c:pt>
                <c:pt idx="2454">
                  <c:v>5.8052051683816401</c:v>
                </c:pt>
                <c:pt idx="2455">
                  <c:v>5.8052051683816401</c:v>
                </c:pt>
                <c:pt idx="2456">
                  <c:v>5.8052051683816401</c:v>
                </c:pt>
                <c:pt idx="2457">
                  <c:v>5.8052051683816401</c:v>
                </c:pt>
                <c:pt idx="2458">
                  <c:v>5.8052051683816401</c:v>
                </c:pt>
                <c:pt idx="2459">
                  <c:v>5.8052051683816401</c:v>
                </c:pt>
                <c:pt idx="2460">
                  <c:v>5.8052051683816401</c:v>
                </c:pt>
                <c:pt idx="2461">
                  <c:v>5.8052051683816401</c:v>
                </c:pt>
                <c:pt idx="2462">
                  <c:v>5.8052051683816401</c:v>
                </c:pt>
                <c:pt idx="2463">
                  <c:v>5.8052051683816401</c:v>
                </c:pt>
                <c:pt idx="2464">
                  <c:v>5.8052051683816401</c:v>
                </c:pt>
                <c:pt idx="2465">
                  <c:v>5.8052051683816401</c:v>
                </c:pt>
                <c:pt idx="2466">
                  <c:v>5.8052051683816401</c:v>
                </c:pt>
                <c:pt idx="2467">
                  <c:v>5.8052051683816401</c:v>
                </c:pt>
                <c:pt idx="2468">
                  <c:v>5.8052051683816401</c:v>
                </c:pt>
                <c:pt idx="2469">
                  <c:v>5.8052051683816401</c:v>
                </c:pt>
                <c:pt idx="2470">
                  <c:v>5.8052051683816401</c:v>
                </c:pt>
                <c:pt idx="2471">
                  <c:v>5.8052051683816401</c:v>
                </c:pt>
                <c:pt idx="2472">
                  <c:v>5.8052051683816401</c:v>
                </c:pt>
                <c:pt idx="2473">
                  <c:v>5.8052051683816401</c:v>
                </c:pt>
                <c:pt idx="2474">
                  <c:v>5.8052051683816401</c:v>
                </c:pt>
                <c:pt idx="2475">
                  <c:v>5.8052051683816401</c:v>
                </c:pt>
                <c:pt idx="2476">
                  <c:v>5.8052051683816401</c:v>
                </c:pt>
                <c:pt idx="2477">
                  <c:v>5.8052051683816401</c:v>
                </c:pt>
                <c:pt idx="2478">
                  <c:v>5.8052051683816401</c:v>
                </c:pt>
                <c:pt idx="2479">
                  <c:v>5.8052051683816401</c:v>
                </c:pt>
                <c:pt idx="2480">
                  <c:v>5.8052051683816401</c:v>
                </c:pt>
                <c:pt idx="2481">
                  <c:v>5.8052051683816401</c:v>
                </c:pt>
                <c:pt idx="2482">
                  <c:v>5.8052051683816401</c:v>
                </c:pt>
                <c:pt idx="2483">
                  <c:v>5.8052051683816401</c:v>
                </c:pt>
                <c:pt idx="2484">
                  <c:v>5.8052051683816401</c:v>
                </c:pt>
                <c:pt idx="2485">
                  <c:v>5.8052051683816401</c:v>
                </c:pt>
                <c:pt idx="2486">
                  <c:v>5.9509790133430096</c:v>
                </c:pt>
                <c:pt idx="2487">
                  <c:v>5.9435402895763314</c:v>
                </c:pt>
                <c:pt idx="2488">
                  <c:v>5.9361108642143607</c:v>
                </c:pt>
                <c:pt idx="2489">
                  <c:v>6.1490060323229443</c:v>
                </c:pt>
                <c:pt idx="2490">
                  <c:v>6.1413197747825405</c:v>
                </c:pt>
                <c:pt idx="2491">
                  <c:v>6.1336431250640624</c:v>
                </c:pt>
                <c:pt idx="2492">
                  <c:v>6.1336431250640624</c:v>
                </c:pt>
                <c:pt idx="2493">
                  <c:v>6.1336431250640624</c:v>
                </c:pt>
                <c:pt idx="2494">
                  <c:v>5.9200864448291002</c:v>
                </c:pt>
                <c:pt idx="2495">
                  <c:v>5.9126863367730635</c:v>
                </c:pt>
                <c:pt idx="2496">
                  <c:v>5.9052954788520973</c:v>
                </c:pt>
                <c:pt idx="2497">
                  <c:v>5.9052954788520973</c:v>
                </c:pt>
                <c:pt idx="2498">
                  <c:v>5.903590844435211</c:v>
                </c:pt>
                <c:pt idx="2499">
                  <c:v>5.7629470800054667</c:v>
                </c:pt>
                <c:pt idx="2500">
                  <c:v>5.7280303468993514</c:v>
                </c:pt>
                <c:pt idx="2501">
                  <c:v>5.6563848675579127</c:v>
                </c:pt>
                <c:pt idx="2502">
                  <c:v>5.9056369466012812</c:v>
                </c:pt>
                <c:pt idx="2503">
                  <c:v>5.8694316202870347</c:v>
                </c:pt>
                <c:pt idx="2504">
                  <c:v>5.8405084634727729</c:v>
                </c:pt>
                <c:pt idx="2505">
                  <c:v>5.8010398054079673</c:v>
                </c:pt>
                <c:pt idx="2506">
                  <c:v>5.8634821548306091</c:v>
                </c:pt>
                <c:pt idx="2507">
                  <c:v>5.7964429179906043</c:v>
                </c:pt>
                <c:pt idx="2508">
                  <c:v>5.7919347194219473</c:v>
                </c:pt>
                <c:pt idx="2509">
                  <c:v>5.7624516993323391</c:v>
                </c:pt>
                <c:pt idx="2510">
                  <c:v>5.7576419092509514</c:v>
                </c:pt>
                <c:pt idx="2511">
                  <c:v>5.5827042643676164</c:v>
                </c:pt>
                <c:pt idx="2512">
                  <c:v>5.319792871063143</c:v>
                </c:pt>
                <c:pt idx="2513">
                  <c:v>5.072721151835955</c:v>
                </c:pt>
                <c:pt idx="2514">
                  <c:v>5.2859806170237613</c:v>
                </c:pt>
                <c:pt idx="2515">
                  <c:v>5.1375047881372184</c:v>
                </c:pt>
                <c:pt idx="2516">
                  <c:v>5.0385595441848263</c:v>
                </c:pt>
                <c:pt idx="2517">
                  <c:v>4.9725888536919296</c:v>
                </c:pt>
                <c:pt idx="2518">
                  <c:v>5.1532654276180176</c:v>
                </c:pt>
                <c:pt idx="2519">
                  <c:v>4.9884842468646493</c:v>
                </c:pt>
                <c:pt idx="2520">
                  <c:v>4.9732013007050053</c:v>
                </c:pt>
                <c:pt idx="2521">
                  <c:v>4.905784957256774</c:v>
                </c:pt>
                <c:pt idx="2522">
                  <c:v>4.8399012224964251</c:v>
                </c:pt>
                <c:pt idx="2523">
                  <c:v>4.8068747968369179</c:v>
                </c:pt>
                <c:pt idx="2524">
                  <c:v>4.9711599623495273</c:v>
                </c:pt>
                <c:pt idx="2525">
                  <c:v>4.7571363445144552</c:v>
                </c:pt>
                <c:pt idx="2526">
                  <c:v>4.753920064079721</c:v>
                </c:pt>
                <c:pt idx="2527">
                  <c:v>4.8857371361767701</c:v>
                </c:pt>
                <c:pt idx="2528">
                  <c:v>4.8857371361767701</c:v>
                </c:pt>
                <c:pt idx="2529">
                  <c:v>4.8721073039316005</c:v>
                </c:pt>
                <c:pt idx="2530">
                  <c:v>5.0117966281461506</c:v>
                </c:pt>
                <c:pt idx="2531">
                  <c:v>5.0117966281461506</c:v>
                </c:pt>
                <c:pt idx="2532">
                  <c:v>5.0055318823609678</c:v>
                </c:pt>
                <c:pt idx="2533">
                  <c:v>5.0055318823609678</c:v>
                </c:pt>
                <c:pt idx="2534">
                  <c:v>4.8885305688312002</c:v>
                </c:pt>
                <c:pt idx="2535">
                  <c:v>4.79017867422424</c:v>
                </c:pt>
                <c:pt idx="2536">
                  <c:v>4.7783567309266957</c:v>
                </c:pt>
                <c:pt idx="2537">
                  <c:v>4.6813486304396701</c:v>
                </c:pt>
                <c:pt idx="2538">
                  <c:v>4.6649236177222617</c:v>
                </c:pt>
                <c:pt idx="2539">
                  <c:v>4.4972353596806958</c:v>
                </c:pt>
                <c:pt idx="2540">
                  <c:v>4.4668690801969655</c:v>
                </c:pt>
                <c:pt idx="2541">
                  <c:v>4.4668034914527857</c:v>
                </c:pt>
                <c:pt idx="2542">
                  <c:v>4.301629223334162</c:v>
                </c:pt>
                <c:pt idx="2543">
                  <c:v>4.3313216726149442</c:v>
                </c:pt>
                <c:pt idx="2544">
                  <c:v>4.4813666120584035</c:v>
                </c:pt>
                <c:pt idx="2545">
                  <c:v>4.3609257384615754</c:v>
                </c:pt>
                <c:pt idx="2546">
                  <c:v>4.3496406712734981</c:v>
                </c:pt>
                <c:pt idx="2547">
                  <c:v>4.3758213365119314</c:v>
                </c:pt>
                <c:pt idx="2548">
                  <c:v>4.3668267755347481</c:v>
                </c:pt>
                <c:pt idx="2549">
                  <c:v>4.3799907040822426</c:v>
                </c:pt>
                <c:pt idx="2550">
                  <c:v>4.3569366191321013</c:v>
                </c:pt>
                <c:pt idx="2551">
                  <c:v>4.27771601177239</c:v>
                </c:pt>
                <c:pt idx="2552">
                  <c:v>4.27771601177239</c:v>
                </c:pt>
                <c:pt idx="2553">
                  <c:v>4.2723688667576747</c:v>
                </c:pt>
                <c:pt idx="2554">
                  <c:v>4.2723688667576747</c:v>
                </c:pt>
                <c:pt idx="2555">
                  <c:v>4.2723688667576747</c:v>
                </c:pt>
                <c:pt idx="2556">
                  <c:v>4.294932081849522</c:v>
                </c:pt>
                <c:pt idx="2557">
                  <c:v>4.4920017702411315</c:v>
                </c:pt>
                <c:pt idx="2558">
                  <c:v>4.6813966646237759</c:v>
                </c:pt>
                <c:pt idx="2559">
                  <c:v>4.6813966646237759</c:v>
                </c:pt>
                <c:pt idx="2560">
                  <c:v>4.6684201300938541</c:v>
                </c:pt>
                <c:pt idx="2561">
                  <c:v>4.6451294247112331</c:v>
                </c:pt>
                <c:pt idx="2562">
                  <c:v>4.6604591833544422</c:v>
                </c:pt>
                <c:pt idx="2563">
                  <c:v>4.4043919517817436</c:v>
                </c:pt>
                <c:pt idx="2564">
                  <c:v>4.3776005390932804</c:v>
                </c:pt>
                <c:pt idx="2565">
                  <c:v>4.5248351680501511</c:v>
                </c:pt>
                <c:pt idx="2566">
                  <c:v>4.5399773348928418</c:v>
                </c:pt>
                <c:pt idx="2567">
                  <c:v>4.515614451269431</c:v>
                </c:pt>
                <c:pt idx="2568">
                  <c:v>5.0557902806986075</c:v>
                </c:pt>
                <c:pt idx="2569">
                  <c:v>5.0557902806986075</c:v>
                </c:pt>
                <c:pt idx="2570">
                  <c:v>5.0494705428477342</c:v>
                </c:pt>
                <c:pt idx="2571">
                  <c:v>5.0494705428477342</c:v>
                </c:pt>
                <c:pt idx="2572">
                  <c:v>5.0494705428477342</c:v>
                </c:pt>
                <c:pt idx="2573">
                  <c:v>5.0494705428477342</c:v>
                </c:pt>
                <c:pt idx="2574">
                  <c:v>5.0494705428477342</c:v>
                </c:pt>
                <c:pt idx="2575">
                  <c:v>5.0494705428477342</c:v>
                </c:pt>
                <c:pt idx="2576">
                  <c:v>5.0494705428477342</c:v>
                </c:pt>
                <c:pt idx="2577">
                  <c:v>5.0494705428477342</c:v>
                </c:pt>
                <c:pt idx="2578">
                  <c:v>5.0349113778181449</c:v>
                </c:pt>
                <c:pt idx="2579">
                  <c:v>4.996630287347803</c:v>
                </c:pt>
                <c:pt idx="2580">
                  <c:v>4.7217687342348071</c:v>
                </c:pt>
                <c:pt idx="2581">
                  <c:v>4.7217037325229878</c:v>
                </c:pt>
                <c:pt idx="2582">
                  <c:v>4.6621113278910977</c:v>
                </c:pt>
                <c:pt idx="2583">
                  <c:v>4.6611860345845324</c:v>
                </c:pt>
                <c:pt idx="2584">
                  <c:v>4.6489187088695472</c:v>
                </c:pt>
                <c:pt idx="2585">
                  <c:v>4.6684286509712143</c:v>
                </c:pt>
                <c:pt idx="2586">
                  <c:v>4.7638311225017738</c:v>
                </c:pt>
                <c:pt idx="2587">
                  <c:v>4.8369014753305848</c:v>
                </c:pt>
                <c:pt idx="2588">
                  <c:v>4.8369014753305848</c:v>
                </c:pt>
                <c:pt idx="2589">
                  <c:v>4.8575235876586689</c:v>
                </c:pt>
                <c:pt idx="2590">
                  <c:v>4.8422656318218076</c:v>
                </c:pt>
                <c:pt idx="2591">
                  <c:v>4.844364483546733</c:v>
                </c:pt>
                <c:pt idx="2592">
                  <c:v>4.8362810430214944</c:v>
                </c:pt>
                <c:pt idx="2593">
                  <c:v>4.8519254174794604</c:v>
                </c:pt>
                <c:pt idx="2594">
                  <c:v>4.8369393453010296</c:v>
                </c:pt>
                <c:pt idx="2595">
                  <c:v>4.8545930252836786</c:v>
                </c:pt>
                <c:pt idx="2596">
                  <c:v>4.8545930252836786</c:v>
                </c:pt>
                <c:pt idx="2597">
                  <c:v>4.8485247840020742</c:v>
                </c:pt>
                <c:pt idx="2598">
                  <c:v>4.846679326162314</c:v>
                </c:pt>
                <c:pt idx="2599">
                  <c:v>4.8406209770046109</c:v>
                </c:pt>
                <c:pt idx="2600">
                  <c:v>4.8345702007833555</c:v>
                </c:pt>
                <c:pt idx="2601">
                  <c:v>4.8345702007833555</c:v>
                </c:pt>
                <c:pt idx="2602">
                  <c:v>4.8345702007833555</c:v>
                </c:pt>
                <c:pt idx="2603">
                  <c:v>4.8345702007833555</c:v>
                </c:pt>
                <c:pt idx="2604">
                  <c:v>4.8345702007833555</c:v>
                </c:pt>
                <c:pt idx="2605">
                  <c:v>4.8345702007833555</c:v>
                </c:pt>
                <c:pt idx="2606">
                  <c:v>4.8345702007833555</c:v>
                </c:pt>
                <c:pt idx="2607">
                  <c:v>4.8345702007833555</c:v>
                </c:pt>
                <c:pt idx="2608">
                  <c:v>4.8345702007833555</c:v>
                </c:pt>
                <c:pt idx="2609">
                  <c:v>4.8345702007833555</c:v>
                </c:pt>
                <c:pt idx="2610">
                  <c:v>4.8345702007833555</c:v>
                </c:pt>
                <c:pt idx="2611">
                  <c:v>4.8345702007833555</c:v>
                </c:pt>
                <c:pt idx="2612">
                  <c:v>4.8345702007833555</c:v>
                </c:pt>
                <c:pt idx="2613">
                  <c:v>4.8345702007833555</c:v>
                </c:pt>
                <c:pt idx="2614">
                  <c:v>4.8345702007833555</c:v>
                </c:pt>
                <c:pt idx="2615">
                  <c:v>4.8345702007833555</c:v>
                </c:pt>
                <c:pt idx="2616">
                  <c:v>4.8345702007833555</c:v>
                </c:pt>
                <c:pt idx="2617">
                  <c:v>4.8345702007833555</c:v>
                </c:pt>
                <c:pt idx="2618">
                  <c:v>4.8345702007833555</c:v>
                </c:pt>
                <c:pt idx="2619">
                  <c:v>4.8345702007833555</c:v>
                </c:pt>
                <c:pt idx="2620">
                  <c:v>4.8345702007833555</c:v>
                </c:pt>
                <c:pt idx="2621">
                  <c:v>4.8345702007833555</c:v>
                </c:pt>
                <c:pt idx="2622">
                  <c:v>4.8345702007833555</c:v>
                </c:pt>
                <c:pt idx="2623">
                  <c:v>4.8345702007833555</c:v>
                </c:pt>
                <c:pt idx="2624">
                  <c:v>4.8345702007833555</c:v>
                </c:pt>
                <c:pt idx="2625">
                  <c:v>4.8345702007833555</c:v>
                </c:pt>
                <c:pt idx="2626">
                  <c:v>4.8345702007833555</c:v>
                </c:pt>
                <c:pt idx="2627">
                  <c:v>4.8345702007833555</c:v>
                </c:pt>
                <c:pt idx="2628">
                  <c:v>4.8345702007833555</c:v>
                </c:pt>
                <c:pt idx="2629">
                  <c:v>4.8345702007833555</c:v>
                </c:pt>
                <c:pt idx="2630">
                  <c:v>4.8345702007833555</c:v>
                </c:pt>
                <c:pt idx="2631">
                  <c:v>4.8345702007833555</c:v>
                </c:pt>
                <c:pt idx="2632">
                  <c:v>4.8345702007833555</c:v>
                </c:pt>
                <c:pt idx="2633">
                  <c:v>4.8345702007833555</c:v>
                </c:pt>
                <c:pt idx="2634">
                  <c:v>4.8345702007833555</c:v>
                </c:pt>
                <c:pt idx="2635">
                  <c:v>4.8345702007833555</c:v>
                </c:pt>
                <c:pt idx="2636">
                  <c:v>4.8345702007833555</c:v>
                </c:pt>
                <c:pt idx="2637">
                  <c:v>4.8345702007833555</c:v>
                </c:pt>
                <c:pt idx="2638">
                  <c:v>4.8345702007833555</c:v>
                </c:pt>
                <c:pt idx="2639">
                  <c:v>4.8345702007833555</c:v>
                </c:pt>
                <c:pt idx="2640">
                  <c:v>4.8345702007833555</c:v>
                </c:pt>
                <c:pt idx="2641">
                  <c:v>4.8345702007833555</c:v>
                </c:pt>
                <c:pt idx="2642">
                  <c:v>4.8345702007833555</c:v>
                </c:pt>
                <c:pt idx="2643">
                  <c:v>4.8345702007833555</c:v>
                </c:pt>
                <c:pt idx="2644">
                  <c:v>4.8345702007833555</c:v>
                </c:pt>
                <c:pt idx="2645">
                  <c:v>4.8345702007833555</c:v>
                </c:pt>
                <c:pt idx="2646">
                  <c:v>4.8345702007833555</c:v>
                </c:pt>
                <c:pt idx="2647">
                  <c:v>4.8345702007833555</c:v>
                </c:pt>
                <c:pt idx="2648">
                  <c:v>4.8345702007833555</c:v>
                </c:pt>
                <c:pt idx="2649">
                  <c:v>4.8345702007833555</c:v>
                </c:pt>
                <c:pt idx="2650">
                  <c:v>4.8345702007833555</c:v>
                </c:pt>
                <c:pt idx="2651">
                  <c:v>4.8345702007833555</c:v>
                </c:pt>
                <c:pt idx="2652">
                  <c:v>4.8345702007833555</c:v>
                </c:pt>
                <c:pt idx="2653">
                  <c:v>4.8345702007833555</c:v>
                </c:pt>
                <c:pt idx="2654">
                  <c:v>4.8345702007833555</c:v>
                </c:pt>
                <c:pt idx="2655">
                  <c:v>4.8345702007833555</c:v>
                </c:pt>
                <c:pt idx="2656">
                  <c:v>4.8345702007833555</c:v>
                </c:pt>
                <c:pt idx="2657">
                  <c:v>4.8345702007833555</c:v>
                </c:pt>
                <c:pt idx="2658">
                  <c:v>4.8345702007833555</c:v>
                </c:pt>
                <c:pt idx="2659">
                  <c:v>4.8345702007833555</c:v>
                </c:pt>
                <c:pt idx="2660">
                  <c:v>4.8345702007833555</c:v>
                </c:pt>
                <c:pt idx="2661">
                  <c:v>4.8917245643825851</c:v>
                </c:pt>
                <c:pt idx="2662">
                  <c:v>4.8856099086771065</c:v>
                </c:pt>
                <c:pt idx="2663">
                  <c:v>4.8795028962912603</c:v>
                </c:pt>
                <c:pt idx="2664">
                  <c:v>4.8795028962912603</c:v>
                </c:pt>
                <c:pt idx="2665">
                  <c:v>4.8795028962912603</c:v>
                </c:pt>
                <c:pt idx="2666">
                  <c:v>4.8795028962912603</c:v>
                </c:pt>
                <c:pt idx="2667">
                  <c:v>4.8795028962912603</c:v>
                </c:pt>
                <c:pt idx="2668">
                  <c:v>4.8795028962912603</c:v>
                </c:pt>
                <c:pt idx="2669">
                  <c:v>4.8795028962912603</c:v>
                </c:pt>
                <c:pt idx="2670">
                  <c:v>4.8795028962912603</c:v>
                </c:pt>
                <c:pt idx="2671">
                  <c:v>4.8795028962912603</c:v>
                </c:pt>
                <c:pt idx="2672">
                  <c:v>4.8795028962912603</c:v>
                </c:pt>
                <c:pt idx="2673">
                  <c:v>4.8795028962912603</c:v>
                </c:pt>
                <c:pt idx="2674">
                  <c:v>4.8795028962912603</c:v>
                </c:pt>
                <c:pt idx="2675">
                  <c:v>4.8795028962912603</c:v>
                </c:pt>
                <c:pt idx="2676">
                  <c:v>4.8795028962912603</c:v>
                </c:pt>
                <c:pt idx="2677">
                  <c:v>4.8795028962912603</c:v>
                </c:pt>
                <c:pt idx="2678">
                  <c:v>4.8795028962912603</c:v>
                </c:pt>
                <c:pt idx="2679">
                  <c:v>4.8795028962912603</c:v>
                </c:pt>
                <c:pt idx="2680">
                  <c:v>4.8795028962912603</c:v>
                </c:pt>
                <c:pt idx="2681">
                  <c:v>4.8795028962912603</c:v>
                </c:pt>
                <c:pt idx="2682">
                  <c:v>4.8795028962912603</c:v>
                </c:pt>
                <c:pt idx="2683">
                  <c:v>4.8795028962912603</c:v>
                </c:pt>
                <c:pt idx="2684">
                  <c:v>4.8795028962912603</c:v>
                </c:pt>
                <c:pt idx="2685">
                  <c:v>4.8795028962912603</c:v>
                </c:pt>
                <c:pt idx="2686">
                  <c:v>4.8795028962912603</c:v>
                </c:pt>
                <c:pt idx="2687">
                  <c:v>4.8795028962912603</c:v>
                </c:pt>
                <c:pt idx="2688">
                  <c:v>4.8795028962912603</c:v>
                </c:pt>
                <c:pt idx="2689">
                  <c:v>4.8795028962912603</c:v>
                </c:pt>
                <c:pt idx="2690">
                  <c:v>4.8795028962912603</c:v>
                </c:pt>
                <c:pt idx="2691">
                  <c:v>4.8795028962912603</c:v>
                </c:pt>
                <c:pt idx="2692">
                  <c:v>4.8795028962912603</c:v>
                </c:pt>
                <c:pt idx="2693">
                  <c:v>4.8795028962912603</c:v>
                </c:pt>
                <c:pt idx="2694">
                  <c:v>4.8795028962912603</c:v>
                </c:pt>
                <c:pt idx="2695">
                  <c:v>4.8795028962912603</c:v>
                </c:pt>
                <c:pt idx="2696">
                  <c:v>4.8795028962912603</c:v>
                </c:pt>
                <c:pt idx="2697">
                  <c:v>4.8795028962912603</c:v>
                </c:pt>
                <c:pt idx="2698">
                  <c:v>4.8795028962912603</c:v>
                </c:pt>
                <c:pt idx="2699">
                  <c:v>4.8795028962912603</c:v>
                </c:pt>
                <c:pt idx="2700">
                  <c:v>4.8795028962912603</c:v>
                </c:pt>
                <c:pt idx="2701">
                  <c:v>4.8795028962912603</c:v>
                </c:pt>
                <c:pt idx="2702">
                  <c:v>4.8795028962912603</c:v>
                </c:pt>
                <c:pt idx="2703">
                  <c:v>4.8795028962912603</c:v>
                </c:pt>
                <c:pt idx="2704">
                  <c:v>4.8795028962912603</c:v>
                </c:pt>
                <c:pt idx="2705">
                  <c:v>4.8795028962912603</c:v>
                </c:pt>
                <c:pt idx="2706">
                  <c:v>4.8795028962912603</c:v>
                </c:pt>
                <c:pt idx="2707">
                  <c:v>4.8795028962912603</c:v>
                </c:pt>
                <c:pt idx="2708">
                  <c:v>4.8795028962912603</c:v>
                </c:pt>
                <c:pt idx="2709">
                  <c:v>4.8795028962912603</c:v>
                </c:pt>
                <c:pt idx="2710">
                  <c:v>4.8795028962912603</c:v>
                </c:pt>
                <c:pt idx="2711">
                  <c:v>4.8795028962912603</c:v>
                </c:pt>
                <c:pt idx="2712">
                  <c:v>4.8795028962912603</c:v>
                </c:pt>
                <c:pt idx="2713">
                  <c:v>4.8795028962912603</c:v>
                </c:pt>
                <c:pt idx="2714">
                  <c:v>4.8795028962912603</c:v>
                </c:pt>
                <c:pt idx="2715">
                  <c:v>4.8795028962912603</c:v>
                </c:pt>
                <c:pt idx="2716">
                  <c:v>4.8795028962912603</c:v>
                </c:pt>
                <c:pt idx="2717">
                  <c:v>4.8795028962912603</c:v>
                </c:pt>
                <c:pt idx="2718">
                  <c:v>4.8795028962912603</c:v>
                </c:pt>
                <c:pt idx="2719">
                  <c:v>4.8795028962912603</c:v>
                </c:pt>
                <c:pt idx="2720">
                  <c:v>4.8795028962912603</c:v>
                </c:pt>
                <c:pt idx="2721">
                  <c:v>4.8795028962912603</c:v>
                </c:pt>
                <c:pt idx="2722">
                  <c:v>4.8795028962912603</c:v>
                </c:pt>
                <c:pt idx="2723">
                  <c:v>4.8795028962912603</c:v>
                </c:pt>
                <c:pt idx="2724">
                  <c:v>4.8795028962912603</c:v>
                </c:pt>
                <c:pt idx="2725">
                  <c:v>4.8795028962912603</c:v>
                </c:pt>
                <c:pt idx="2726">
                  <c:v>4.8795028962912603</c:v>
                </c:pt>
                <c:pt idx="2727">
                  <c:v>4.8795028962912603</c:v>
                </c:pt>
                <c:pt idx="2728">
                  <c:v>4.8795028962912603</c:v>
                </c:pt>
                <c:pt idx="2729">
                  <c:v>4.8795028962912603</c:v>
                </c:pt>
                <c:pt idx="2730">
                  <c:v>4.8795028962912603</c:v>
                </c:pt>
                <c:pt idx="2731">
                  <c:v>4.8795028962912603</c:v>
                </c:pt>
                <c:pt idx="2732">
                  <c:v>4.8795028962912603</c:v>
                </c:pt>
              </c:numCache>
            </c:numRef>
          </c:val>
          <c:smooth val="0"/>
          <c:extLst xmlns:c16r2="http://schemas.microsoft.com/office/drawing/2015/06/chart">
            <c:ext xmlns:c16="http://schemas.microsoft.com/office/drawing/2014/chart" uri="{C3380CC4-5D6E-409C-BE32-E72D297353CC}">
              <c16:uniqueId val="{00000002-6403-4414-851B-9E4B2D9F5C76}"/>
            </c:ext>
          </c:extLst>
        </c:ser>
        <c:ser>
          <c:idx val="3"/>
          <c:order val="3"/>
          <c:tx>
            <c:strRef>
              <c:f>'3M'!$O$30</c:f>
              <c:strCache>
                <c:ptCount val="1"/>
                <c:pt idx="0">
                  <c:v>Basic Mean Reversion Strategy</c:v>
                </c:pt>
              </c:strCache>
            </c:strRef>
          </c:tx>
          <c:spPr>
            <a:ln>
              <a:solidFill>
                <a:srgbClr val="0070C0"/>
              </a:solidFill>
            </a:ln>
          </c:spPr>
          <c:marker>
            <c:symbol val="none"/>
          </c:marker>
          <c:cat>
            <c:numRef>
              <c:f>'3M'!$N$31:$N$2763</c:f>
              <c:numCache>
                <c:formatCode>m/d/yyyy</c:formatCode>
                <c:ptCount val="2733"/>
                <c:pt idx="0">
                  <c:v>38457</c:v>
                </c:pt>
                <c:pt idx="1">
                  <c:v>38460</c:v>
                </c:pt>
                <c:pt idx="2">
                  <c:v>38461</c:v>
                </c:pt>
                <c:pt idx="3">
                  <c:v>38462</c:v>
                </c:pt>
                <c:pt idx="4">
                  <c:v>38463</c:v>
                </c:pt>
                <c:pt idx="5">
                  <c:v>38464</c:v>
                </c:pt>
                <c:pt idx="6">
                  <c:v>38467</c:v>
                </c:pt>
                <c:pt idx="7">
                  <c:v>38468</c:v>
                </c:pt>
                <c:pt idx="8">
                  <c:v>38469</c:v>
                </c:pt>
                <c:pt idx="9">
                  <c:v>38470</c:v>
                </c:pt>
                <c:pt idx="10">
                  <c:v>38471</c:v>
                </c:pt>
                <c:pt idx="11">
                  <c:v>38474</c:v>
                </c:pt>
                <c:pt idx="12">
                  <c:v>38475</c:v>
                </c:pt>
                <c:pt idx="13">
                  <c:v>38476</c:v>
                </c:pt>
                <c:pt idx="14">
                  <c:v>38477</c:v>
                </c:pt>
                <c:pt idx="15">
                  <c:v>38478</c:v>
                </c:pt>
                <c:pt idx="16">
                  <c:v>38481</c:v>
                </c:pt>
                <c:pt idx="17">
                  <c:v>38482</c:v>
                </c:pt>
                <c:pt idx="18">
                  <c:v>38483</c:v>
                </c:pt>
                <c:pt idx="19">
                  <c:v>38484</c:v>
                </c:pt>
                <c:pt idx="20">
                  <c:v>38485</c:v>
                </c:pt>
                <c:pt idx="21">
                  <c:v>38488</c:v>
                </c:pt>
                <c:pt idx="22">
                  <c:v>38489</c:v>
                </c:pt>
                <c:pt idx="23">
                  <c:v>38490</c:v>
                </c:pt>
                <c:pt idx="24">
                  <c:v>38491</c:v>
                </c:pt>
                <c:pt idx="25">
                  <c:v>38492</c:v>
                </c:pt>
                <c:pt idx="26">
                  <c:v>38495</c:v>
                </c:pt>
                <c:pt idx="27">
                  <c:v>38496</c:v>
                </c:pt>
                <c:pt idx="28">
                  <c:v>38497</c:v>
                </c:pt>
                <c:pt idx="29">
                  <c:v>38498</c:v>
                </c:pt>
                <c:pt idx="30">
                  <c:v>38499</c:v>
                </c:pt>
                <c:pt idx="31">
                  <c:v>38503</c:v>
                </c:pt>
                <c:pt idx="32">
                  <c:v>38504</c:v>
                </c:pt>
                <c:pt idx="33">
                  <c:v>38505</c:v>
                </c:pt>
                <c:pt idx="34">
                  <c:v>38506</c:v>
                </c:pt>
                <c:pt idx="35">
                  <c:v>38509</c:v>
                </c:pt>
                <c:pt idx="36">
                  <c:v>38510</c:v>
                </c:pt>
                <c:pt idx="37">
                  <c:v>38511</c:v>
                </c:pt>
                <c:pt idx="38">
                  <c:v>38512</c:v>
                </c:pt>
                <c:pt idx="39">
                  <c:v>38513</c:v>
                </c:pt>
                <c:pt idx="40">
                  <c:v>38516</c:v>
                </c:pt>
                <c:pt idx="41">
                  <c:v>38517</c:v>
                </c:pt>
                <c:pt idx="42">
                  <c:v>38518</c:v>
                </c:pt>
                <c:pt idx="43">
                  <c:v>38519</c:v>
                </c:pt>
                <c:pt idx="44">
                  <c:v>38520</c:v>
                </c:pt>
                <c:pt idx="45">
                  <c:v>38523</c:v>
                </c:pt>
                <c:pt idx="46">
                  <c:v>38524</c:v>
                </c:pt>
                <c:pt idx="47">
                  <c:v>38525</c:v>
                </c:pt>
                <c:pt idx="48">
                  <c:v>38526</c:v>
                </c:pt>
                <c:pt idx="49">
                  <c:v>38527</c:v>
                </c:pt>
                <c:pt idx="50">
                  <c:v>38530</c:v>
                </c:pt>
                <c:pt idx="51">
                  <c:v>38531</c:v>
                </c:pt>
                <c:pt idx="52">
                  <c:v>38532</c:v>
                </c:pt>
                <c:pt idx="53">
                  <c:v>38533</c:v>
                </c:pt>
                <c:pt idx="54">
                  <c:v>38534</c:v>
                </c:pt>
                <c:pt idx="55">
                  <c:v>38538</c:v>
                </c:pt>
                <c:pt idx="56">
                  <c:v>38539</c:v>
                </c:pt>
                <c:pt idx="57">
                  <c:v>38540</c:v>
                </c:pt>
                <c:pt idx="58">
                  <c:v>38541</c:v>
                </c:pt>
                <c:pt idx="59">
                  <c:v>38544</c:v>
                </c:pt>
                <c:pt idx="60">
                  <c:v>38545</c:v>
                </c:pt>
                <c:pt idx="61">
                  <c:v>38546</c:v>
                </c:pt>
                <c:pt idx="62">
                  <c:v>38547</c:v>
                </c:pt>
                <c:pt idx="63">
                  <c:v>38548</c:v>
                </c:pt>
                <c:pt idx="64">
                  <c:v>38551</c:v>
                </c:pt>
                <c:pt idx="65">
                  <c:v>38552</c:v>
                </c:pt>
                <c:pt idx="66">
                  <c:v>38553</c:v>
                </c:pt>
                <c:pt idx="67">
                  <c:v>38554</c:v>
                </c:pt>
                <c:pt idx="68">
                  <c:v>38555</c:v>
                </c:pt>
                <c:pt idx="69">
                  <c:v>38558</c:v>
                </c:pt>
                <c:pt idx="70">
                  <c:v>38559</c:v>
                </c:pt>
                <c:pt idx="71">
                  <c:v>38560</c:v>
                </c:pt>
                <c:pt idx="72">
                  <c:v>38561</c:v>
                </c:pt>
                <c:pt idx="73">
                  <c:v>38562</c:v>
                </c:pt>
                <c:pt idx="74">
                  <c:v>38565</c:v>
                </c:pt>
                <c:pt idx="75">
                  <c:v>38566</c:v>
                </c:pt>
                <c:pt idx="76">
                  <c:v>38567</c:v>
                </c:pt>
                <c:pt idx="77">
                  <c:v>38568</c:v>
                </c:pt>
                <c:pt idx="78">
                  <c:v>38569</c:v>
                </c:pt>
                <c:pt idx="79">
                  <c:v>38572</c:v>
                </c:pt>
                <c:pt idx="80">
                  <c:v>38573</c:v>
                </c:pt>
                <c:pt idx="81">
                  <c:v>38574</c:v>
                </c:pt>
                <c:pt idx="82">
                  <c:v>38575</c:v>
                </c:pt>
                <c:pt idx="83">
                  <c:v>38576</c:v>
                </c:pt>
                <c:pt idx="84">
                  <c:v>38579</c:v>
                </c:pt>
                <c:pt idx="85">
                  <c:v>38580</c:v>
                </c:pt>
                <c:pt idx="86">
                  <c:v>38581</c:v>
                </c:pt>
                <c:pt idx="87">
                  <c:v>38582</c:v>
                </c:pt>
                <c:pt idx="88">
                  <c:v>38583</c:v>
                </c:pt>
                <c:pt idx="89">
                  <c:v>38586</c:v>
                </c:pt>
                <c:pt idx="90">
                  <c:v>38587</c:v>
                </c:pt>
                <c:pt idx="91">
                  <c:v>38588</c:v>
                </c:pt>
                <c:pt idx="92">
                  <c:v>38589</c:v>
                </c:pt>
                <c:pt idx="93">
                  <c:v>38590</c:v>
                </c:pt>
                <c:pt idx="94">
                  <c:v>38593</c:v>
                </c:pt>
                <c:pt idx="95">
                  <c:v>38594</c:v>
                </c:pt>
                <c:pt idx="96">
                  <c:v>38595</c:v>
                </c:pt>
                <c:pt idx="97">
                  <c:v>38596</c:v>
                </c:pt>
                <c:pt idx="98">
                  <c:v>38597</c:v>
                </c:pt>
                <c:pt idx="99">
                  <c:v>38601</c:v>
                </c:pt>
                <c:pt idx="100">
                  <c:v>38602</c:v>
                </c:pt>
                <c:pt idx="101">
                  <c:v>38603</c:v>
                </c:pt>
                <c:pt idx="102">
                  <c:v>38604</c:v>
                </c:pt>
                <c:pt idx="103">
                  <c:v>38607</c:v>
                </c:pt>
                <c:pt idx="104">
                  <c:v>38608</c:v>
                </c:pt>
                <c:pt idx="105">
                  <c:v>38609</c:v>
                </c:pt>
                <c:pt idx="106">
                  <c:v>38610</c:v>
                </c:pt>
                <c:pt idx="107">
                  <c:v>38611</c:v>
                </c:pt>
                <c:pt idx="108">
                  <c:v>38614</c:v>
                </c:pt>
                <c:pt idx="109">
                  <c:v>38615</c:v>
                </c:pt>
                <c:pt idx="110">
                  <c:v>38616</c:v>
                </c:pt>
                <c:pt idx="111">
                  <c:v>38617</c:v>
                </c:pt>
                <c:pt idx="112">
                  <c:v>38618</c:v>
                </c:pt>
                <c:pt idx="113">
                  <c:v>38621</c:v>
                </c:pt>
                <c:pt idx="114">
                  <c:v>38622</c:v>
                </c:pt>
                <c:pt idx="115">
                  <c:v>38623</c:v>
                </c:pt>
                <c:pt idx="116">
                  <c:v>38624</c:v>
                </c:pt>
                <c:pt idx="117">
                  <c:v>38625</c:v>
                </c:pt>
                <c:pt idx="118">
                  <c:v>38628</c:v>
                </c:pt>
                <c:pt idx="119">
                  <c:v>38629</c:v>
                </c:pt>
                <c:pt idx="120">
                  <c:v>38630</c:v>
                </c:pt>
                <c:pt idx="121">
                  <c:v>38631</c:v>
                </c:pt>
                <c:pt idx="122">
                  <c:v>38632</c:v>
                </c:pt>
                <c:pt idx="123">
                  <c:v>38635</c:v>
                </c:pt>
                <c:pt idx="124">
                  <c:v>38636</c:v>
                </c:pt>
                <c:pt idx="125">
                  <c:v>38637</c:v>
                </c:pt>
                <c:pt idx="126">
                  <c:v>38638</c:v>
                </c:pt>
                <c:pt idx="127">
                  <c:v>38639</c:v>
                </c:pt>
                <c:pt idx="128">
                  <c:v>38642</c:v>
                </c:pt>
                <c:pt idx="129">
                  <c:v>38643</c:v>
                </c:pt>
                <c:pt idx="130">
                  <c:v>38644</c:v>
                </c:pt>
                <c:pt idx="131">
                  <c:v>38645</c:v>
                </c:pt>
                <c:pt idx="132">
                  <c:v>38646</c:v>
                </c:pt>
                <c:pt idx="133">
                  <c:v>38649</c:v>
                </c:pt>
                <c:pt idx="134">
                  <c:v>38650</c:v>
                </c:pt>
                <c:pt idx="135">
                  <c:v>38651</c:v>
                </c:pt>
                <c:pt idx="136">
                  <c:v>38652</c:v>
                </c:pt>
                <c:pt idx="137">
                  <c:v>38653</c:v>
                </c:pt>
                <c:pt idx="138">
                  <c:v>38656</c:v>
                </c:pt>
                <c:pt idx="139">
                  <c:v>38657</c:v>
                </c:pt>
                <c:pt idx="140">
                  <c:v>38658</c:v>
                </c:pt>
                <c:pt idx="141">
                  <c:v>38659</c:v>
                </c:pt>
                <c:pt idx="142">
                  <c:v>38660</c:v>
                </c:pt>
                <c:pt idx="143">
                  <c:v>38663</c:v>
                </c:pt>
                <c:pt idx="144">
                  <c:v>38664</c:v>
                </c:pt>
                <c:pt idx="145">
                  <c:v>38665</c:v>
                </c:pt>
                <c:pt idx="146">
                  <c:v>38666</c:v>
                </c:pt>
                <c:pt idx="147">
                  <c:v>38667</c:v>
                </c:pt>
                <c:pt idx="148">
                  <c:v>38670</c:v>
                </c:pt>
                <c:pt idx="149">
                  <c:v>38671</c:v>
                </c:pt>
                <c:pt idx="150">
                  <c:v>38672</c:v>
                </c:pt>
                <c:pt idx="151">
                  <c:v>38673</c:v>
                </c:pt>
                <c:pt idx="152">
                  <c:v>38674</c:v>
                </c:pt>
                <c:pt idx="153">
                  <c:v>38677</c:v>
                </c:pt>
                <c:pt idx="154">
                  <c:v>38678</c:v>
                </c:pt>
                <c:pt idx="155">
                  <c:v>38679</c:v>
                </c:pt>
                <c:pt idx="156">
                  <c:v>38681</c:v>
                </c:pt>
                <c:pt idx="157">
                  <c:v>38684</c:v>
                </c:pt>
                <c:pt idx="158">
                  <c:v>38685</c:v>
                </c:pt>
                <c:pt idx="159">
                  <c:v>38686</c:v>
                </c:pt>
                <c:pt idx="160">
                  <c:v>38687</c:v>
                </c:pt>
                <c:pt idx="161">
                  <c:v>38688</c:v>
                </c:pt>
                <c:pt idx="162">
                  <c:v>38691</c:v>
                </c:pt>
                <c:pt idx="163">
                  <c:v>38692</c:v>
                </c:pt>
                <c:pt idx="164">
                  <c:v>38693</c:v>
                </c:pt>
                <c:pt idx="165">
                  <c:v>38694</c:v>
                </c:pt>
                <c:pt idx="166">
                  <c:v>38695</c:v>
                </c:pt>
                <c:pt idx="167">
                  <c:v>38698</c:v>
                </c:pt>
                <c:pt idx="168">
                  <c:v>38699</c:v>
                </c:pt>
                <c:pt idx="169">
                  <c:v>38700</c:v>
                </c:pt>
                <c:pt idx="170">
                  <c:v>38701</c:v>
                </c:pt>
                <c:pt idx="171">
                  <c:v>38702</c:v>
                </c:pt>
                <c:pt idx="172">
                  <c:v>38705</c:v>
                </c:pt>
                <c:pt idx="173">
                  <c:v>38706</c:v>
                </c:pt>
                <c:pt idx="174">
                  <c:v>38707</c:v>
                </c:pt>
                <c:pt idx="175">
                  <c:v>38708</c:v>
                </c:pt>
                <c:pt idx="176">
                  <c:v>38709</c:v>
                </c:pt>
                <c:pt idx="177">
                  <c:v>38713</c:v>
                </c:pt>
                <c:pt idx="178">
                  <c:v>38714</c:v>
                </c:pt>
                <c:pt idx="179">
                  <c:v>38715</c:v>
                </c:pt>
                <c:pt idx="180">
                  <c:v>38716</c:v>
                </c:pt>
                <c:pt idx="181">
                  <c:v>38720</c:v>
                </c:pt>
                <c:pt idx="182">
                  <c:v>38721</c:v>
                </c:pt>
                <c:pt idx="183">
                  <c:v>38722</c:v>
                </c:pt>
                <c:pt idx="184">
                  <c:v>38723</c:v>
                </c:pt>
                <c:pt idx="185">
                  <c:v>38726</c:v>
                </c:pt>
                <c:pt idx="186">
                  <c:v>38727</c:v>
                </c:pt>
                <c:pt idx="187">
                  <c:v>38728</c:v>
                </c:pt>
                <c:pt idx="188">
                  <c:v>38729</c:v>
                </c:pt>
                <c:pt idx="189">
                  <c:v>38730</c:v>
                </c:pt>
                <c:pt idx="190">
                  <c:v>38734</c:v>
                </c:pt>
                <c:pt idx="191">
                  <c:v>38735</c:v>
                </c:pt>
                <c:pt idx="192">
                  <c:v>38736</c:v>
                </c:pt>
                <c:pt idx="193">
                  <c:v>38737</c:v>
                </c:pt>
                <c:pt idx="194">
                  <c:v>38740</c:v>
                </c:pt>
                <c:pt idx="195">
                  <c:v>38741</c:v>
                </c:pt>
                <c:pt idx="196">
                  <c:v>38742</c:v>
                </c:pt>
                <c:pt idx="197">
                  <c:v>38743</c:v>
                </c:pt>
                <c:pt idx="198">
                  <c:v>38744</c:v>
                </c:pt>
                <c:pt idx="199">
                  <c:v>38747</c:v>
                </c:pt>
                <c:pt idx="200">
                  <c:v>38748</c:v>
                </c:pt>
                <c:pt idx="201">
                  <c:v>38749</c:v>
                </c:pt>
                <c:pt idx="202">
                  <c:v>38750</c:v>
                </c:pt>
                <c:pt idx="203">
                  <c:v>38751</c:v>
                </c:pt>
                <c:pt idx="204">
                  <c:v>38754</c:v>
                </c:pt>
                <c:pt idx="205">
                  <c:v>38755</c:v>
                </c:pt>
                <c:pt idx="206">
                  <c:v>38756</c:v>
                </c:pt>
                <c:pt idx="207">
                  <c:v>38757</c:v>
                </c:pt>
                <c:pt idx="208">
                  <c:v>38758</c:v>
                </c:pt>
                <c:pt idx="209">
                  <c:v>38761</c:v>
                </c:pt>
                <c:pt idx="210">
                  <c:v>38762</c:v>
                </c:pt>
                <c:pt idx="211">
                  <c:v>38763</c:v>
                </c:pt>
                <c:pt idx="212">
                  <c:v>38764</c:v>
                </c:pt>
                <c:pt idx="213">
                  <c:v>38765</c:v>
                </c:pt>
                <c:pt idx="214">
                  <c:v>38769</c:v>
                </c:pt>
                <c:pt idx="215">
                  <c:v>38770</c:v>
                </c:pt>
                <c:pt idx="216">
                  <c:v>38771</c:v>
                </c:pt>
                <c:pt idx="217">
                  <c:v>38772</c:v>
                </c:pt>
                <c:pt idx="218">
                  <c:v>38775</c:v>
                </c:pt>
                <c:pt idx="219">
                  <c:v>38776</c:v>
                </c:pt>
                <c:pt idx="220">
                  <c:v>38777</c:v>
                </c:pt>
                <c:pt idx="221">
                  <c:v>38778</c:v>
                </c:pt>
                <c:pt idx="222">
                  <c:v>38779</c:v>
                </c:pt>
                <c:pt idx="223">
                  <c:v>38782</c:v>
                </c:pt>
                <c:pt idx="224">
                  <c:v>38783</c:v>
                </c:pt>
                <c:pt idx="225">
                  <c:v>38784</c:v>
                </c:pt>
                <c:pt idx="226">
                  <c:v>38785</c:v>
                </c:pt>
                <c:pt idx="227">
                  <c:v>38786</c:v>
                </c:pt>
                <c:pt idx="228">
                  <c:v>38789</c:v>
                </c:pt>
                <c:pt idx="229">
                  <c:v>38790</c:v>
                </c:pt>
                <c:pt idx="230">
                  <c:v>38791</c:v>
                </c:pt>
                <c:pt idx="231">
                  <c:v>38792</c:v>
                </c:pt>
                <c:pt idx="232">
                  <c:v>38793</c:v>
                </c:pt>
                <c:pt idx="233">
                  <c:v>38796</c:v>
                </c:pt>
                <c:pt idx="234">
                  <c:v>38797</c:v>
                </c:pt>
                <c:pt idx="235">
                  <c:v>38798</c:v>
                </c:pt>
                <c:pt idx="236">
                  <c:v>38799</c:v>
                </c:pt>
                <c:pt idx="237">
                  <c:v>38800</c:v>
                </c:pt>
                <c:pt idx="238">
                  <c:v>38803</c:v>
                </c:pt>
                <c:pt idx="239">
                  <c:v>38804</c:v>
                </c:pt>
                <c:pt idx="240">
                  <c:v>38805</c:v>
                </c:pt>
                <c:pt idx="241">
                  <c:v>38806</c:v>
                </c:pt>
                <c:pt idx="242">
                  <c:v>38807</c:v>
                </c:pt>
                <c:pt idx="243">
                  <c:v>38810</c:v>
                </c:pt>
                <c:pt idx="244">
                  <c:v>38811</c:v>
                </c:pt>
                <c:pt idx="245">
                  <c:v>38812</c:v>
                </c:pt>
                <c:pt idx="246">
                  <c:v>38813</c:v>
                </c:pt>
                <c:pt idx="247">
                  <c:v>38814</c:v>
                </c:pt>
                <c:pt idx="248">
                  <c:v>38817</c:v>
                </c:pt>
                <c:pt idx="249">
                  <c:v>38818</c:v>
                </c:pt>
                <c:pt idx="250">
                  <c:v>38819</c:v>
                </c:pt>
                <c:pt idx="251">
                  <c:v>38820</c:v>
                </c:pt>
                <c:pt idx="252">
                  <c:v>38824</c:v>
                </c:pt>
                <c:pt idx="253">
                  <c:v>38825</c:v>
                </c:pt>
                <c:pt idx="254">
                  <c:v>38826</c:v>
                </c:pt>
                <c:pt idx="255">
                  <c:v>38827</c:v>
                </c:pt>
                <c:pt idx="256">
                  <c:v>38828</c:v>
                </c:pt>
                <c:pt idx="257">
                  <c:v>38831</c:v>
                </c:pt>
                <c:pt idx="258">
                  <c:v>38832</c:v>
                </c:pt>
                <c:pt idx="259">
                  <c:v>38833</c:v>
                </c:pt>
                <c:pt idx="260">
                  <c:v>38834</c:v>
                </c:pt>
                <c:pt idx="261">
                  <c:v>38835</c:v>
                </c:pt>
                <c:pt idx="262">
                  <c:v>38838</c:v>
                </c:pt>
                <c:pt idx="263">
                  <c:v>38839</c:v>
                </c:pt>
                <c:pt idx="264">
                  <c:v>38840</c:v>
                </c:pt>
                <c:pt idx="265">
                  <c:v>38841</c:v>
                </c:pt>
                <c:pt idx="266">
                  <c:v>38842</c:v>
                </c:pt>
                <c:pt idx="267">
                  <c:v>38845</c:v>
                </c:pt>
                <c:pt idx="268">
                  <c:v>38846</c:v>
                </c:pt>
                <c:pt idx="269">
                  <c:v>38847</c:v>
                </c:pt>
                <c:pt idx="270">
                  <c:v>38848</c:v>
                </c:pt>
                <c:pt idx="271">
                  <c:v>38849</c:v>
                </c:pt>
                <c:pt idx="272">
                  <c:v>38852</c:v>
                </c:pt>
                <c:pt idx="273">
                  <c:v>38853</c:v>
                </c:pt>
                <c:pt idx="274">
                  <c:v>38854</c:v>
                </c:pt>
                <c:pt idx="275">
                  <c:v>38855</c:v>
                </c:pt>
                <c:pt idx="276">
                  <c:v>38856</c:v>
                </c:pt>
                <c:pt idx="277">
                  <c:v>38859</c:v>
                </c:pt>
                <c:pt idx="278">
                  <c:v>38860</c:v>
                </c:pt>
                <c:pt idx="279">
                  <c:v>38861</c:v>
                </c:pt>
                <c:pt idx="280">
                  <c:v>38862</c:v>
                </c:pt>
                <c:pt idx="281">
                  <c:v>38863</c:v>
                </c:pt>
                <c:pt idx="282">
                  <c:v>38867</c:v>
                </c:pt>
                <c:pt idx="283">
                  <c:v>38868</c:v>
                </c:pt>
                <c:pt idx="284">
                  <c:v>38869</c:v>
                </c:pt>
                <c:pt idx="285">
                  <c:v>38870</c:v>
                </c:pt>
                <c:pt idx="286">
                  <c:v>38873</c:v>
                </c:pt>
                <c:pt idx="287">
                  <c:v>38874</c:v>
                </c:pt>
                <c:pt idx="288">
                  <c:v>38875</c:v>
                </c:pt>
                <c:pt idx="289">
                  <c:v>38876</c:v>
                </c:pt>
                <c:pt idx="290">
                  <c:v>38877</c:v>
                </c:pt>
                <c:pt idx="291">
                  <c:v>38880</c:v>
                </c:pt>
                <c:pt idx="292">
                  <c:v>38881</c:v>
                </c:pt>
                <c:pt idx="293">
                  <c:v>38882</c:v>
                </c:pt>
                <c:pt idx="294">
                  <c:v>38883</c:v>
                </c:pt>
                <c:pt idx="295">
                  <c:v>38884</c:v>
                </c:pt>
                <c:pt idx="296">
                  <c:v>38887</c:v>
                </c:pt>
                <c:pt idx="297">
                  <c:v>38888</c:v>
                </c:pt>
                <c:pt idx="298">
                  <c:v>38889</c:v>
                </c:pt>
                <c:pt idx="299">
                  <c:v>38890</c:v>
                </c:pt>
                <c:pt idx="300">
                  <c:v>38891</c:v>
                </c:pt>
                <c:pt idx="301">
                  <c:v>38894</c:v>
                </c:pt>
                <c:pt idx="302">
                  <c:v>38895</c:v>
                </c:pt>
                <c:pt idx="303">
                  <c:v>38896</c:v>
                </c:pt>
                <c:pt idx="304">
                  <c:v>38897</c:v>
                </c:pt>
                <c:pt idx="305">
                  <c:v>38898</c:v>
                </c:pt>
                <c:pt idx="306">
                  <c:v>38901</c:v>
                </c:pt>
                <c:pt idx="307">
                  <c:v>38903</c:v>
                </c:pt>
                <c:pt idx="308">
                  <c:v>38904</c:v>
                </c:pt>
                <c:pt idx="309">
                  <c:v>38905</c:v>
                </c:pt>
                <c:pt idx="310">
                  <c:v>38908</c:v>
                </c:pt>
                <c:pt idx="311">
                  <c:v>38909</c:v>
                </c:pt>
                <c:pt idx="312">
                  <c:v>38910</c:v>
                </c:pt>
                <c:pt idx="313">
                  <c:v>38911</c:v>
                </c:pt>
                <c:pt idx="314">
                  <c:v>38912</c:v>
                </c:pt>
                <c:pt idx="315">
                  <c:v>38915</c:v>
                </c:pt>
                <c:pt idx="316">
                  <c:v>38916</c:v>
                </c:pt>
                <c:pt idx="317">
                  <c:v>38917</c:v>
                </c:pt>
                <c:pt idx="318">
                  <c:v>38918</c:v>
                </c:pt>
                <c:pt idx="319">
                  <c:v>38919</c:v>
                </c:pt>
                <c:pt idx="320">
                  <c:v>38922</c:v>
                </c:pt>
                <c:pt idx="321">
                  <c:v>38923</c:v>
                </c:pt>
                <c:pt idx="322">
                  <c:v>38924</c:v>
                </c:pt>
                <c:pt idx="323">
                  <c:v>38925</c:v>
                </c:pt>
                <c:pt idx="324">
                  <c:v>38926</c:v>
                </c:pt>
                <c:pt idx="325">
                  <c:v>38929</c:v>
                </c:pt>
                <c:pt idx="326">
                  <c:v>38930</c:v>
                </c:pt>
                <c:pt idx="327">
                  <c:v>38931</c:v>
                </c:pt>
                <c:pt idx="328">
                  <c:v>38932</c:v>
                </c:pt>
                <c:pt idx="329">
                  <c:v>38933</c:v>
                </c:pt>
                <c:pt idx="330">
                  <c:v>38936</c:v>
                </c:pt>
                <c:pt idx="331">
                  <c:v>38937</c:v>
                </c:pt>
                <c:pt idx="332">
                  <c:v>38938</c:v>
                </c:pt>
                <c:pt idx="333">
                  <c:v>38939</c:v>
                </c:pt>
                <c:pt idx="334">
                  <c:v>38940</c:v>
                </c:pt>
                <c:pt idx="335">
                  <c:v>38943</c:v>
                </c:pt>
                <c:pt idx="336">
                  <c:v>38944</c:v>
                </c:pt>
                <c:pt idx="337">
                  <c:v>38945</c:v>
                </c:pt>
                <c:pt idx="338">
                  <c:v>38946</c:v>
                </c:pt>
                <c:pt idx="339">
                  <c:v>38947</c:v>
                </c:pt>
                <c:pt idx="340">
                  <c:v>38950</c:v>
                </c:pt>
                <c:pt idx="341">
                  <c:v>38951</c:v>
                </c:pt>
                <c:pt idx="342">
                  <c:v>38952</c:v>
                </c:pt>
                <c:pt idx="343">
                  <c:v>38953</c:v>
                </c:pt>
                <c:pt idx="344">
                  <c:v>38954</c:v>
                </c:pt>
                <c:pt idx="345">
                  <c:v>38957</c:v>
                </c:pt>
                <c:pt idx="346">
                  <c:v>38958</c:v>
                </c:pt>
                <c:pt idx="347">
                  <c:v>38959</c:v>
                </c:pt>
                <c:pt idx="348">
                  <c:v>38960</c:v>
                </c:pt>
                <c:pt idx="349">
                  <c:v>38961</c:v>
                </c:pt>
                <c:pt idx="350">
                  <c:v>38965</c:v>
                </c:pt>
                <c:pt idx="351">
                  <c:v>38966</c:v>
                </c:pt>
                <c:pt idx="352">
                  <c:v>38967</c:v>
                </c:pt>
                <c:pt idx="353">
                  <c:v>38968</c:v>
                </c:pt>
                <c:pt idx="354">
                  <c:v>38971</c:v>
                </c:pt>
                <c:pt idx="355">
                  <c:v>38972</c:v>
                </c:pt>
                <c:pt idx="356">
                  <c:v>38973</c:v>
                </c:pt>
                <c:pt idx="357">
                  <c:v>38974</c:v>
                </c:pt>
                <c:pt idx="358">
                  <c:v>38975</c:v>
                </c:pt>
                <c:pt idx="359">
                  <c:v>38978</c:v>
                </c:pt>
                <c:pt idx="360">
                  <c:v>38979</c:v>
                </c:pt>
                <c:pt idx="361">
                  <c:v>38980</c:v>
                </c:pt>
                <c:pt idx="362">
                  <c:v>38981</c:v>
                </c:pt>
                <c:pt idx="363">
                  <c:v>38982</c:v>
                </c:pt>
                <c:pt idx="364">
                  <c:v>38985</c:v>
                </c:pt>
                <c:pt idx="365">
                  <c:v>38986</c:v>
                </c:pt>
                <c:pt idx="366">
                  <c:v>38987</c:v>
                </c:pt>
                <c:pt idx="367">
                  <c:v>38988</c:v>
                </c:pt>
                <c:pt idx="368">
                  <c:v>38989</c:v>
                </c:pt>
                <c:pt idx="369">
                  <c:v>38992</c:v>
                </c:pt>
                <c:pt idx="370">
                  <c:v>38993</c:v>
                </c:pt>
                <c:pt idx="371">
                  <c:v>38994</c:v>
                </c:pt>
                <c:pt idx="372">
                  <c:v>38995</c:v>
                </c:pt>
                <c:pt idx="373">
                  <c:v>38996</c:v>
                </c:pt>
                <c:pt idx="374">
                  <c:v>38999</c:v>
                </c:pt>
                <c:pt idx="375">
                  <c:v>39000</c:v>
                </c:pt>
                <c:pt idx="376">
                  <c:v>39001</c:v>
                </c:pt>
                <c:pt idx="377">
                  <c:v>39002</c:v>
                </c:pt>
                <c:pt idx="378">
                  <c:v>39003</c:v>
                </c:pt>
                <c:pt idx="379">
                  <c:v>39006</c:v>
                </c:pt>
                <c:pt idx="380">
                  <c:v>39007</c:v>
                </c:pt>
                <c:pt idx="381">
                  <c:v>39008</c:v>
                </c:pt>
                <c:pt idx="382">
                  <c:v>39009</c:v>
                </c:pt>
                <c:pt idx="383">
                  <c:v>39010</c:v>
                </c:pt>
                <c:pt idx="384">
                  <c:v>39013</c:v>
                </c:pt>
                <c:pt idx="385">
                  <c:v>39014</c:v>
                </c:pt>
                <c:pt idx="386">
                  <c:v>39015</c:v>
                </c:pt>
                <c:pt idx="387">
                  <c:v>39016</c:v>
                </c:pt>
                <c:pt idx="388">
                  <c:v>39017</c:v>
                </c:pt>
                <c:pt idx="389">
                  <c:v>39020</c:v>
                </c:pt>
                <c:pt idx="390">
                  <c:v>39021</c:v>
                </c:pt>
                <c:pt idx="391">
                  <c:v>39022</c:v>
                </c:pt>
                <c:pt idx="392">
                  <c:v>39023</c:v>
                </c:pt>
                <c:pt idx="393">
                  <c:v>39024</c:v>
                </c:pt>
                <c:pt idx="394">
                  <c:v>39027</c:v>
                </c:pt>
                <c:pt idx="395">
                  <c:v>39028</c:v>
                </c:pt>
                <c:pt idx="396">
                  <c:v>39029</c:v>
                </c:pt>
                <c:pt idx="397">
                  <c:v>39030</c:v>
                </c:pt>
                <c:pt idx="398">
                  <c:v>39031</c:v>
                </c:pt>
                <c:pt idx="399">
                  <c:v>39034</c:v>
                </c:pt>
                <c:pt idx="400">
                  <c:v>39035</c:v>
                </c:pt>
                <c:pt idx="401">
                  <c:v>39036</c:v>
                </c:pt>
                <c:pt idx="402">
                  <c:v>39037</c:v>
                </c:pt>
                <c:pt idx="403">
                  <c:v>39038</c:v>
                </c:pt>
                <c:pt idx="404">
                  <c:v>39041</c:v>
                </c:pt>
                <c:pt idx="405">
                  <c:v>39042</c:v>
                </c:pt>
                <c:pt idx="406">
                  <c:v>39043</c:v>
                </c:pt>
                <c:pt idx="407">
                  <c:v>39045</c:v>
                </c:pt>
                <c:pt idx="408">
                  <c:v>39048</c:v>
                </c:pt>
                <c:pt idx="409">
                  <c:v>39049</c:v>
                </c:pt>
                <c:pt idx="410">
                  <c:v>39050</c:v>
                </c:pt>
                <c:pt idx="411">
                  <c:v>39051</c:v>
                </c:pt>
                <c:pt idx="412">
                  <c:v>39052</c:v>
                </c:pt>
                <c:pt idx="413">
                  <c:v>39055</c:v>
                </c:pt>
                <c:pt idx="414">
                  <c:v>39056</c:v>
                </c:pt>
                <c:pt idx="415">
                  <c:v>39057</c:v>
                </c:pt>
                <c:pt idx="416">
                  <c:v>39058</c:v>
                </c:pt>
                <c:pt idx="417">
                  <c:v>39059</c:v>
                </c:pt>
                <c:pt idx="418">
                  <c:v>39062</c:v>
                </c:pt>
                <c:pt idx="419">
                  <c:v>39063</c:v>
                </c:pt>
                <c:pt idx="420">
                  <c:v>39064</c:v>
                </c:pt>
                <c:pt idx="421">
                  <c:v>39065</c:v>
                </c:pt>
                <c:pt idx="422">
                  <c:v>39066</c:v>
                </c:pt>
                <c:pt idx="423">
                  <c:v>39069</c:v>
                </c:pt>
                <c:pt idx="424">
                  <c:v>39070</c:v>
                </c:pt>
                <c:pt idx="425">
                  <c:v>39071</c:v>
                </c:pt>
                <c:pt idx="426">
                  <c:v>39072</c:v>
                </c:pt>
                <c:pt idx="427">
                  <c:v>39073</c:v>
                </c:pt>
                <c:pt idx="428">
                  <c:v>39077</c:v>
                </c:pt>
                <c:pt idx="429">
                  <c:v>39078</c:v>
                </c:pt>
                <c:pt idx="430">
                  <c:v>39079</c:v>
                </c:pt>
                <c:pt idx="431">
                  <c:v>39080</c:v>
                </c:pt>
                <c:pt idx="432">
                  <c:v>39085</c:v>
                </c:pt>
                <c:pt idx="433">
                  <c:v>39086</c:v>
                </c:pt>
                <c:pt idx="434">
                  <c:v>39087</c:v>
                </c:pt>
                <c:pt idx="435">
                  <c:v>39090</c:v>
                </c:pt>
                <c:pt idx="436">
                  <c:v>39091</c:v>
                </c:pt>
                <c:pt idx="437">
                  <c:v>39092</c:v>
                </c:pt>
                <c:pt idx="438">
                  <c:v>39093</c:v>
                </c:pt>
                <c:pt idx="439">
                  <c:v>39094</c:v>
                </c:pt>
                <c:pt idx="440">
                  <c:v>39098</c:v>
                </c:pt>
                <c:pt idx="441">
                  <c:v>39099</c:v>
                </c:pt>
                <c:pt idx="442">
                  <c:v>39100</c:v>
                </c:pt>
                <c:pt idx="443">
                  <c:v>39101</c:v>
                </c:pt>
                <c:pt idx="444">
                  <c:v>39104</c:v>
                </c:pt>
                <c:pt idx="445">
                  <c:v>39105</c:v>
                </c:pt>
                <c:pt idx="446">
                  <c:v>39106</c:v>
                </c:pt>
                <c:pt idx="447">
                  <c:v>39107</c:v>
                </c:pt>
                <c:pt idx="448">
                  <c:v>39108</c:v>
                </c:pt>
                <c:pt idx="449">
                  <c:v>39111</c:v>
                </c:pt>
                <c:pt idx="450">
                  <c:v>39112</c:v>
                </c:pt>
                <c:pt idx="451">
                  <c:v>39113</c:v>
                </c:pt>
                <c:pt idx="452">
                  <c:v>39114</c:v>
                </c:pt>
                <c:pt idx="453">
                  <c:v>39115</c:v>
                </c:pt>
                <c:pt idx="454">
                  <c:v>39118</c:v>
                </c:pt>
                <c:pt idx="455">
                  <c:v>39119</c:v>
                </c:pt>
                <c:pt idx="456">
                  <c:v>39120</c:v>
                </c:pt>
                <c:pt idx="457">
                  <c:v>39121</c:v>
                </c:pt>
                <c:pt idx="458">
                  <c:v>39122</c:v>
                </c:pt>
                <c:pt idx="459">
                  <c:v>39125</c:v>
                </c:pt>
                <c:pt idx="460">
                  <c:v>39126</c:v>
                </c:pt>
                <c:pt idx="461">
                  <c:v>39127</c:v>
                </c:pt>
                <c:pt idx="462">
                  <c:v>39128</c:v>
                </c:pt>
                <c:pt idx="463">
                  <c:v>39129</c:v>
                </c:pt>
                <c:pt idx="464">
                  <c:v>39133</c:v>
                </c:pt>
                <c:pt idx="465">
                  <c:v>39134</c:v>
                </c:pt>
                <c:pt idx="466">
                  <c:v>39135</c:v>
                </c:pt>
                <c:pt idx="467">
                  <c:v>39136</c:v>
                </c:pt>
                <c:pt idx="468">
                  <c:v>39139</c:v>
                </c:pt>
                <c:pt idx="469">
                  <c:v>39140</c:v>
                </c:pt>
                <c:pt idx="470">
                  <c:v>39141</c:v>
                </c:pt>
                <c:pt idx="471">
                  <c:v>39142</c:v>
                </c:pt>
                <c:pt idx="472">
                  <c:v>39143</c:v>
                </c:pt>
                <c:pt idx="473">
                  <c:v>39146</c:v>
                </c:pt>
                <c:pt idx="474">
                  <c:v>39147</c:v>
                </c:pt>
                <c:pt idx="475">
                  <c:v>39148</c:v>
                </c:pt>
                <c:pt idx="476">
                  <c:v>39149</c:v>
                </c:pt>
                <c:pt idx="477">
                  <c:v>39150</c:v>
                </c:pt>
                <c:pt idx="478">
                  <c:v>39153</c:v>
                </c:pt>
                <c:pt idx="479">
                  <c:v>39154</c:v>
                </c:pt>
                <c:pt idx="480">
                  <c:v>39155</c:v>
                </c:pt>
                <c:pt idx="481">
                  <c:v>39156</c:v>
                </c:pt>
                <c:pt idx="482">
                  <c:v>39157</c:v>
                </c:pt>
                <c:pt idx="483">
                  <c:v>39160</c:v>
                </c:pt>
                <c:pt idx="484">
                  <c:v>39161</c:v>
                </c:pt>
                <c:pt idx="485">
                  <c:v>39162</c:v>
                </c:pt>
                <c:pt idx="486">
                  <c:v>39163</c:v>
                </c:pt>
                <c:pt idx="487">
                  <c:v>39164</c:v>
                </c:pt>
                <c:pt idx="488">
                  <c:v>39167</c:v>
                </c:pt>
                <c:pt idx="489">
                  <c:v>39168</c:v>
                </c:pt>
                <c:pt idx="490">
                  <c:v>39169</c:v>
                </c:pt>
                <c:pt idx="491">
                  <c:v>39170</c:v>
                </c:pt>
                <c:pt idx="492">
                  <c:v>39171</c:v>
                </c:pt>
                <c:pt idx="493">
                  <c:v>39174</c:v>
                </c:pt>
                <c:pt idx="494">
                  <c:v>39175</c:v>
                </c:pt>
                <c:pt idx="495">
                  <c:v>39176</c:v>
                </c:pt>
                <c:pt idx="496">
                  <c:v>39177</c:v>
                </c:pt>
                <c:pt idx="497">
                  <c:v>39181</c:v>
                </c:pt>
                <c:pt idx="498">
                  <c:v>39182</c:v>
                </c:pt>
                <c:pt idx="499">
                  <c:v>39183</c:v>
                </c:pt>
                <c:pt idx="500">
                  <c:v>39184</c:v>
                </c:pt>
                <c:pt idx="501">
                  <c:v>39185</c:v>
                </c:pt>
                <c:pt idx="502">
                  <c:v>39188</c:v>
                </c:pt>
                <c:pt idx="503">
                  <c:v>39189</c:v>
                </c:pt>
                <c:pt idx="504">
                  <c:v>39190</c:v>
                </c:pt>
                <c:pt idx="505">
                  <c:v>39191</c:v>
                </c:pt>
                <c:pt idx="506">
                  <c:v>39192</c:v>
                </c:pt>
                <c:pt idx="507">
                  <c:v>39195</c:v>
                </c:pt>
                <c:pt idx="508">
                  <c:v>39196</c:v>
                </c:pt>
                <c:pt idx="509">
                  <c:v>39197</c:v>
                </c:pt>
                <c:pt idx="510">
                  <c:v>39198</c:v>
                </c:pt>
                <c:pt idx="511">
                  <c:v>39199</c:v>
                </c:pt>
                <c:pt idx="512">
                  <c:v>39202</c:v>
                </c:pt>
                <c:pt idx="513">
                  <c:v>39203</c:v>
                </c:pt>
                <c:pt idx="514">
                  <c:v>39204</c:v>
                </c:pt>
                <c:pt idx="515">
                  <c:v>39205</c:v>
                </c:pt>
                <c:pt idx="516">
                  <c:v>39206</c:v>
                </c:pt>
                <c:pt idx="517">
                  <c:v>39209</c:v>
                </c:pt>
                <c:pt idx="518">
                  <c:v>39210</c:v>
                </c:pt>
                <c:pt idx="519">
                  <c:v>39211</c:v>
                </c:pt>
                <c:pt idx="520">
                  <c:v>39212</c:v>
                </c:pt>
                <c:pt idx="521">
                  <c:v>39213</c:v>
                </c:pt>
                <c:pt idx="522">
                  <c:v>39216</c:v>
                </c:pt>
                <c:pt idx="523">
                  <c:v>39217</c:v>
                </c:pt>
                <c:pt idx="524">
                  <c:v>39218</c:v>
                </c:pt>
                <c:pt idx="525">
                  <c:v>39219</c:v>
                </c:pt>
                <c:pt idx="526">
                  <c:v>39220</c:v>
                </c:pt>
                <c:pt idx="527">
                  <c:v>39223</c:v>
                </c:pt>
                <c:pt idx="528">
                  <c:v>39224</c:v>
                </c:pt>
                <c:pt idx="529">
                  <c:v>39225</c:v>
                </c:pt>
                <c:pt idx="530">
                  <c:v>39226</c:v>
                </c:pt>
                <c:pt idx="531">
                  <c:v>39227</c:v>
                </c:pt>
                <c:pt idx="532">
                  <c:v>39231</c:v>
                </c:pt>
                <c:pt idx="533">
                  <c:v>39232</c:v>
                </c:pt>
                <c:pt idx="534">
                  <c:v>39233</c:v>
                </c:pt>
                <c:pt idx="535">
                  <c:v>39234</c:v>
                </c:pt>
                <c:pt idx="536">
                  <c:v>39237</c:v>
                </c:pt>
                <c:pt idx="537">
                  <c:v>39238</c:v>
                </c:pt>
                <c:pt idx="538">
                  <c:v>39239</c:v>
                </c:pt>
                <c:pt idx="539">
                  <c:v>39240</c:v>
                </c:pt>
                <c:pt idx="540">
                  <c:v>39241</c:v>
                </c:pt>
                <c:pt idx="541">
                  <c:v>39244</c:v>
                </c:pt>
                <c:pt idx="542">
                  <c:v>39245</c:v>
                </c:pt>
                <c:pt idx="543">
                  <c:v>39246</c:v>
                </c:pt>
                <c:pt idx="544">
                  <c:v>39247</c:v>
                </c:pt>
                <c:pt idx="545">
                  <c:v>39248</c:v>
                </c:pt>
                <c:pt idx="546">
                  <c:v>39251</c:v>
                </c:pt>
                <c:pt idx="547">
                  <c:v>39252</c:v>
                </c:pt>
                <c:pt idx="548">
                  <c:v>39253</c:v>
                </c:pt>
                <c:pt idx="549">
                  <c:v>39254</c:v>
                </c:pt>
                <c:pt idx="550">
                  <c:v>39255</c:v>
                </c:pt>
                <c:pt idx="551">
                  <c:v>39258</c:v>
                </c:pt>
                <c:pt idx="552">
                  <c:v>39259</c:v>
                </c:pt>
                <c:pt idx="553">
                  <c:v>39260</c:v>
                </c:pt>
                <c:pt idx="554">
                  <c:v>39261</c:v>
                </c:pt>
                <c:pt idx="555">
                  <c:v>39262</c:v>
                </c:pt>
                <c:pt idx="556">
                  <c:v>39265</c:v>
                </c:pt>
                <c:pt idx="557">
                  <c:v>39266</c:v>
                </c:pt>
                <c:pt idx="558">
                  <c:v>39268</c:v>
                </c:pt>
                <c:pt idx="559">
                  <c:v>39269</c:v>
                </c:pt>
                <c:pt idx="560">
                  <c:v>39272</c:v>
                </c:pt>
                <c:pt idx="561">
                  <c:v>39273</c:v>
                </c:pt>
                <c:pt idx="562">
                  <c:v>39274</c:v>
                </c:pt>
                <c:pt idx="563">
                  <c:v>39275</c:v>
                </c:pt>
                <c:pt idx="564">
                  <c:v>39276</c:v>
                </c:pt>
                <c:pt idx="565">
                  <c:v>39279</c:v>
                </c:pt>
                <c:pt idx="566">
                  <c:v>39280</c:v>
                </c:pt>
                <c:pt idx="567">
                  <c:v>39281</c:v>
                </c:pt>
                <c:pt idx="568">
                  <c:v>39282</c:v>
                </c:pt>
                <c:pt idx="569">
                  <c:v>39283</c:v>
                </c:pt>
                <c:pt idx="570">
                  <c:v>39286</c:v>
                </c:pt>
                <c:pt idx="571">
                  <c:v>39287</c:v>
                </c:pt>
                <c:pt idx="572">
                  <c:v>39288</c:v>
                </c:pt>
                <c:pt idx="573">
                  <c:v>39289</c:v>
                </c:pt>
                <c:pt idx="574">
                  <c:v>39290</c:v>
                </c:pt>
                <c:pt idx="575">
                  <c:v>39293</c:v>
                </c:pt>
                <c:pt idx="576">
                  <c:v>39294</c:v>
                </c:pt>
                <c:pt idx="577">
                  <c:v>39295</c:v>
                </c:pt>
                <c:pt idx="578">
                  <c:v>39296</c:v>
                </c:pt>
                <c:pt idx="579">
                  <c:v>39297</c:v>
                </c:pt>
                <c:pt idx="580">
                  <c:v>39300</c:v>
                </c:pt>
                <c:pt idx="581">
                  <c:v>39301</c:v>
                </c:pt>
                <c:pt idx="582">
                  <c:v>39302</c:v>
                </c:pt>
                <c:pt idx="583">
                  <c:v>39303</c:v>
                </c:pt>
                <c:pt idx="584">
                  <c:v>39304</c:v>
                </c:pt>
                <c:pt idx="585">
                  <c:v>39307</c:v>
                </c:pt>
                <c:pt idx="586">
                  <c:v>39308</c:v>
                </c:pt>
                <c:pt idx="587">
                  <c:v>39309</c:v>
                </c:pt>
                <c:pt idx="588">
                  <c:v>39310</c:v>
                </c:pt>
                <c:pt idx="589">
                  <c:v>39311</c:v>
                </c:pt>
                <c:pt idx="590">
                  <c:v>39314</c:v>
                </c:pt>
                <c:pt idx="591">
                  <c:v>39315</c:v>
                </c:pt>
                <c:pt idx="592">
                  <c:v>39316</c:v>
                </c:pt>
                <c:pt idx="593">
                  <c:v>39317</c:v>
                </c:pt>
                <c:pt idx="594">
                  <c:v>39318</c:v>
                </c:pt>
                <c:pt idx="595">
                  <c:v>39321</c:v>
                </c:pt>
                <c:pt idx="596">
                  <c:v>39322</c:v>
                </c:pt>
                <c:pt idx="597">
                  <c:v>39323</c:v>
                </c:pt>
                <c:pt idx="598">
                  <c:v>39324</c:v>
                </c:pt>
                <c:pt idx="599">
                  <c:v>39325</c:v>
                </c:pt>
                <c:pt idx="600">
                  <c:v>39329</c:v>
                </c:pt>
                <c:pt idx="601">
                  <c:v>39330</c:v>
                </c:pt>
                <c:pt idx="602">
                  <c:v>39331</c:v>
                </c:pt>
                <c:pt idx="603">
                  <c:v>39332</c:v>
                </c:pt>
                <c:pt idx="604">
                  <c:v>39335</c:v>
                </c:pt>
                <c:pt idx="605">
                  <c:v>39336</c:v>
                </c:pt>
                <c:pt idx="606">
                  <c:v>39337</c:v>
                </c:pt>
                <c:pt idx="607">
                  <c:v>39338</c:v>
                </c:pt>
                <c:pt idx="608">
                  <c:v>39339</c:v>
                </c:pt>
                <c:pt idx="609">
                  <c:v>39342</c:v>
                </c:pt>
                <c:pt idx="610">
                  <c:v>39343</c:v>
                </c:pt>
                <c:pt idx="611">
                  <c:v>39344</c:v>
                </c:pt>
                <c:pt idx="612">
                  <c:v>39345</c:v>
                </c:pt>
                <c:pt idx="613">
                  <c:v>39346</c:v>
                </c:pt>
                <c:pt idx="614">
                  <c:v>39349</c:v>
                </c:pt>
                <c:pt idx="615">
                  <c:v>39350</c:v>
                </c:pt>
                <c:pt idx="616">
                  <c:v>39351</c:v>
                </c:pt>
                <c:pt idx="617">
                  <c:v>39352</c:v>
                </c:pt>
                <c:pt idx="618">
                  <c:v>39353</c:v>
                </c:pt>
                <c:pt idx="619">
                  <c:v>39356</c:v>
                </c:pt>
                <c:pt idx="620">
                  <c:v>39357</c:v>
                </c:pt>
                <c:pt idx="621">
                  <c:v>39358</c:v>
                </c:pt>
                <c:pt idx="622">
                  <c:v>39359</c:v>
                </c:pt>
                <c:pt idx="623">
                  <c:v>39360</c:v>
                </c:pt>
                <c:pt idx="624">
                  <c:v>39363</c:v>
                </c:pt>
                <c:pt idx="625">
                  <c:v>39364</c:v>
                </c:pt>
                <c:pt idx="626">
                  <c:v>39365</c:v>
                </c:pt>
                <c:pt idx="627">
                  <c:v>39366</c:v>
                </c:pt>
                <c:pt idx="628">
                  <c:v>39367</c:v>
                </c:pt>
                <c:pt idx="629">
                  <c:v>39370</c:v>
                </c:pt>
                <c:pt idx="630">
                  <c:v>39371</c:v>
                </c:pt>
                <c:pt idx="631">
                  <c:v>39372</c:v>
                </c:pt>
                <c:pt idx="632">
                  <c:v>39373</c:v>
                </c:pt>
                <c:pt idx="633">
                  <c:v>39374</c:v>
                </c:pt>
                <c:pt idx="634">
                  <c:v>39377</c:v>
                </c:pt>
                <c:pt idx="635">
                  <c:v>39378</c:v>
                </c:pt>
                <c:pt idx="636">
                  <c:v>39379</c:v>
                </c:pt>
                <c:pt idx="637">
                  <c:v>39380</c:v>
                </c:pt>
                <c:pt idx="638">
                  <c:v>39381</c:v>
                </c:pt>
                <c:pt idx="639">
                  <c:v>39384</c:v>
                </c:pt>
                <c:pt idx="640">
                  <c:v>39385</c:v>
                </c:pt>
                <c:pt idx="641">
                  <c:v>39386</c:v>
                </c:pt>
                <c:pt idx="642">
                  <c:v>39387</c:v>
                </c:pt>
                <c:pt idx="643">
                  <c:v>39388</c:v>
                </c:pt>
                <c:pt idx="644">
                  <c:v>39391</c:v>
                </c:pt>
                <c:pt idx="645">
                  <c:v>39392</c:v>
                </c:pt>
                <c:pt idx="646">
                  <c:v>39393</c:v>
                </c:pt>
                <c:pt idx="647">
                  <c:v>39394</c:v>
                </c:pt>
                <c:pt idx="648">
                  <c:v>39395</c:v>
                </c:pt>
                <c:pt idx="649">
                  <c:v>39398</c:v>
                </c:pt>
                <c:pt idx="650">
                  <c:v>39399</c:v>
                </c:pt>
                <c:pt idx="651">
                  <c:v>39400</c:v>
                </c:pt>
                <c:pt idx="652">
                  <c:v>39401</c:v>
                </c:pt>
                <c:pt idx="653">
                  <c:v>39402</c:v>
                </c:pt>
                <c:pt idx="654">
                  <c:v>39405</c:v>
                </c:pt>
                <c:pt idx="655">
                  <c:v>39406</c:v>
                </c:pt>
                <c:pt idx="656">
                  <c:v>39407</c:v>
                </c:pt>
                <c:pt idx="657">
                  <c:v>39409</c:v>
                </c:pt>
                <c:pt idx="658">
                  <c:v>39412</c:v>
                </c:pt>
                <c:pt idx="659">
                  <c:v>39413</c:v>
                </c:pt>
                <c:pt idx="660">
                  <c:v>39414</c:v>
                </c:pt>
                <c:pt idx="661">
                  <c:v>39415</c:v>
                </c:pt>
                <c:pt idx="662">
                  <c:v>39416</c:v>
                </c:pt>
                <c:pt idx="663">
                  <c:v>39419</c:v>
                </c:pt>
                <c:pt idx="664">
                  <c:v>39420</c:v>
                </c:pt>
                <c:pt idx="665">
                  <c:v>39421</c:v>
                </c:pt>
                <c:pt idx="666">
                  <c:v>39422</c:v>
                </c:pt>
                <c:pt idx="667">
                  <c:v>39423</c:v>
                </c:pt>
                <c:pt idx="668">
                  <c:v>39426</c:v>
                </c:pt>
                <c:pt idx="669">
                  <c:v>39427</c:v>
                </c:pt>
                <c:pt idx="670">
                  <c:v>39428</c:v>
                </c:pt>
                <c:pt idx="671">
                  <c:v>39429</c:v>
                </c:pt>
                <c:pt idx="672">
                  <c:v>39430</c:v>
                </c:pt>
                <c:pt idx="673">
                  <c:v>39433</c:v>
                </c:pt>
                <c:pt idx="674">
                  <c:v>39434</c:v>
                </c:pt>
                <c:pt idx="675">
                  <c:v>39435</c:v>
                </c:pt>
                <c:pt idx="676">
                  <c:v>39436</c:v>
                </c:pt>
                <c:pt idx="677">
                  <c:v>39437</c:v>
                </c:pt>
                <c:pt idx="678">
                  <c:v>39440</c:v>
                </c:pt>
                <c:pt idx="679">
                  <c:v>39442</c:v>
                </c:pt>
                <c:pt idx="680">
                  <c:v>39443</c:v>
                </c:pt>
                <c:pt idx="681">
                  <c:v>39444</c:v>
                </c:pt>
                <c:pt idx="682">
                  <c:v>39447</c:v>
                </c:pt>
                <c:pt idx="683">
                  <c:v>39449</c:v>
                </c:pt>
                <c:pt idx="684">
                  <c:v>39450</c:v>
                </c:pt>
                <c:pt idx="685">
                  <c:v>39451</c:v>
                </c:pt>
                <c:pt idx="686">
                  <c:v>39454</c:v>
                </c:pt>
                <c:pt idx="687">
                  <c:v>39455</c:v>
                </c:pt>
                <c:pt idx="688">
                  <c:v>39456</c:v>
                </c:pt>
                <c:pt idx="689">
                  <c:v>39457</c:v>
                </c:pt>
                <c:pt idx="690">
                  <c:v>39458</c:v>
                </c:pt>
                <c:pt idx="691">
                  <c:v>39461</c:v>
                </c:pt>
                <c:pt idx="692">
                  <c:v>39462</c:v>
                </c:pt>
                <c:pt idx="693">
                  <c:v>39463</c:v>
                </c:pt>
                <c:pt idx="694">
                  <c:v>39464</c:v>
                </c:pt>
                <c:pt idx="695">
                  <c:v>39465</c:v>
                </c:pt>
                <c:pt idx="696">
                  <c:v>39469</c:v>
                </c:pt>
                <c:pt idx="697">
                  <c:v>39470</c:v>
                </c:pt>
                <c:pt idx="698">
                  <c:v>39471</c:v>
                </c:pt>
                <c:pt idx="699">
                  <c:v>39472</c:v>
                </c:pt>
                <c:pt idx="700">
                  <c:v>39475</c:v>
                </c:pt>
                <c:pt idx="701">
                  <c:v>39476</c:v>
                </c:pt>
                <c:pt idx="702">
                  <c:v>39477</c:v>
                </c:pt>
                <c:pt idx="703">
                  <c:v>39478</c:v>
                </c:pt>
                <c:pt idx="704">
                  <c:v>39479</c:v>
                </c:pt>
                <c:pt idx="705">
                  <c:v>39482</c:v>
                </c:pt>
                <c:pt idx="706">
                  <c:v>39483</c:v>
                </c:pt>
                <c:pt idx="707">
                  <c:v>39484</c:v>
                </c:pt>
                <c:pt idx="708">
                  <c:v>39485</c:v>
                </c:pt>
                <c:pt idx="709">
                  <c:v>39486</c:v>
                </c:pt>
                <c:pt idx="710">
                  <c:v>39489</c:v>
                </c:pt>
                <c:pt idx="711">
                  <c:v>39490</c:v>
                </c:pt>
                <c:pt idx="712">
                  <c:v>39491</c:v>
                </c:pt>
                <c:pt idx="713">
                  <c:v>39492</c:v>
                </c:pt>
                <c:pt idx="714">
                  <c:v>39493</c:v>
                </c:pt>
                <c:pt idx="715">
                  <c:v>39497</c:v>
                </c:pt>
                <c:pt idx="716">
                  <c:v>39498</c:v>
                </c:pt>
                <c:pt idx="717">
                  <c:v>39499</c:v>
                </c:pt>
                <c:pt idx="718">
                  <c:v>39500</c:v>
                </c:pt>
                <c:pt idx="719">
                  <c:v>39503</c:v>
                </c:pt>
                <c:pt idx="720">
                  <c:v>39504</c:v>
                </c:pt>
                <c:pt idx="721">
                  <c:v>39505</c:v>
                </c:pt>
                <c:pt idx="722">
                  <c:v>39506</c:v>
                </c:pt>
                <c:pt idx="723">
                  <c:v>39507</c:v>
                </c:pt>
                <c:pt idx="724">
                  <c:v>39510</c:v>
                </c:pt>
                <c:pt idx="725">
                  <c:v>39511</c:v>
                </c:pt>
                <c:pt idx="726">
                  <c:v>39512</c:v>
                </c:pt>
                <c:pt idx="727">
                  <c:v>39513</c:v>
                </c:pt>
                <c:pt idx="728">
                  <c:v>39514</c:v>
                </c:pt>
                <c:pt idx="729">
                  <c:v>39517</c:v>
                </c:pt>
                <c:pt idx="730">
                  <c:v>39518</c:v>
                </c:pt>
                <c:pt idx="731">
                  <c:v>39519</c:v>
                </c:pt>
                <c:pt idx="732">
                  <c:v>39520</c:v>
                </c:pt>
                <c:pt idx="733">
                  <c:v>39521</c:v>
                </c:pt>
                <c:pt idx="734">
                  <c:v>39524</c:v>
                </c:pt>
                <c:pt idx="735">
                  <c:v>39525</c:v>
                </c:pt>
                <c:pt idx="736">
                  <c:v>39526</c:v>
                </c:pt>
                <c:pt idx="737">
                  <c:v>39527</c:v>
                </c:pt>
                <c:pt idx="738">
                  <c:v>39531</c:v>
                </c:pt>
                <c:pt idx="739">
                  <c:v>39532</c:v>
                </c:pt>
                <c:pt idx="740">
                  <c:v>39533</c:v>
                </c:pt>
                <c:pt idx="741">
                  <c:v>39534</c:v>
                </c:pt>
                <c:pt idx="742">
                  <c:v>39535</c:v>
                </c:pt>
                <c:pt idx="743">
                  <c:v>39538</c:v>
                </c:pt>
                <c:pt idx="744">
                  <c:v>39539</c:v>
                </c:pt>
                <c:pt idx="745">
                  <c:v>39540</c:v>
                </c:pt>
                <c:pt idx="746">
                  <c:v>39541</c:v>
                </c:pt>
                <c:pt idx="747">
                  <c:v>39542</c:v>
                </c:pt>
                <c:pt idx="748">
                  <c:v>39545</c:v>
                </c:pt>
                <c:pt idx="749">
                  <c:v>39546</c:v>
                </c:pt>
                <c:pt idx="750">
                  <c:v>39547</c:v>
                </c:pt>
                <c:pt idx="751">
                  <c:v>39548</c:v>
                </c:pt>
                <c:pt idx="752">
                  <c:v>39549</c:v>
                </c:pt>
                <c:pt idx="753">
                  <c:v>39552</c:v>
                </c:pt>
                <c:pt idx="754">
                  <c:v>39553</c:v>
                </c:pt>
                <c:pt idx="755">
                  <c:v>39554</c:v>
                </c:pt>
                <c:pt idx="756">
                  <c:v>39555</c:v>
                </c:pt>
                <c:pt idx="757">
                  <c:v>39556</c:v>
                </c:pt>
                <c:pt idx="758">
                  <c:v>39559</c:v>
                </c:pt>
                <c:pt idx="759">
                  <c:v>39560</c:v>
                </c:pt>
                <c:pt idx="760">
                  <c:v>39561</c:v>
                </c:pt>
                <c:pt idx="761">
                  <c:v>39562</c:v>
                </c:pt>
                <c:pt idx="762">
                  <c:v>39563</c:v>
                </c:pt>
                <c:pt idx="763">
                  <c:v>39566</c:v>
                </c:pt>
                <c:pt idx="764">
                  <c:v>39567</c:v>
                </c:pt>
                <c:pt idx="765">
                  <c:v>39568</c:v>
                </c:pt>
                <c:pt idx="766">
                  <c:v>39569</c:v>
                </c:pt>
                <c:pt idx="767">
                  <c:v>39570</c:v>
                </c:pt>
                <c:pt idx="768">
                  <c:v>39573</c:v>
                </c:pt>
                <c:pt idx="769">
                  <c:v>39574</c:v>
                </c:pt>
                <c:pt idx="770">
                  <c:v>39575</c:v>
                </c:pt>
                <c:pt idx="771">
                  <c:v>39576</c:v>
                </c:pt>
                <c:pt idx="772">
                  <c:v>39577</c:v>
                </c:pt>
                <c:pt idx="773">
                  <c:v>39580</c:v>
                </c:pt>
                <c:pt idx="774">
                  <c:v>39581</c:v>
                </c:pt>
                <c:pt idx="775">
                  <c:v>39582</c:v>
                </c:pt>
                <c:pt idx="776">
                  <c:v>39583</c:v>
                </c:pt>
                <c:pt idx="777">
                  <c:v>39584</c:v>
                </c:pt>
                <c:pt idx="778">
                  <c:v>39587</c:v>
                </c:pt>
                <c:pt idx="779">
                  <c:v>39588</c:v>
                </c:pt>
                <c:pt idx="780">
                  <c:v>39589</c:v>
                </c:pt>
                <c:pt idx="781">
                  <c:v>39590</c:v>
                </c:pt>
                <c:pt idx="782">
                  <c:v>39591</c:v>
                </c:pt>
                <c:pt idx="783">
                  <c:v>39595</c:v>
                </c:pt>
                <c:pt idx="784">
                  <c:v>39596</c:v>
                </c:pt>
                <c:pt idx="785">
                  <c:v>39597</c:v>
                </c:pt>
                <c:pt idx="786">
                  <c:v>39598</c:v>
                </c:pt>
                <c:pt idx="787">
                  <c:v>39601</c:v>
                </c:pt>
                <c:pt idx="788">
                  <c:v>39602</c:v>
                </c:pt>
                <c:pt idx="789">
                  <c:v>39603</c:v>
                </c:pt>
                <c:pt idx="790">
                  <c:v>39604</c:v>
                </c:pt>
                <c:pt idx="791">
                  <c:v>39605</c:v>
                </c:pt>
                <c:pt idx="792">
                  <c:v>39608</c:v>
                </c:pt>
                <c:pt idx="793">
                  <c:v>39609</c:v>
                </c:pt>
                <c:pt idx="794">
                  <c:v>39610</c:v>
                </c:pt>
                <c:pt idx="795">
                  <c:v>39611</c:v>
                </c:pt>
                <c:pt idx="796">
                  <c:v>39612</c:v>
                </c:pt>
                <c:pt idx="797">
                  <c:v>39615</c:v>
                </c:pt>
                <c:pt idx="798">
                  <c:v>39616</c:v>
                </c:pt>
                <c:pt idx="799">
                  <c:v>39617</c:v>
                </c:pt>
                <c:pt idx="800">
                  <c:v>39618</c:v>
                </c:pt>
                <c:pt idx="801">
                  <c:v>39619</c:v>
                </c:pt>
                <c:pt idx="802">
                  <c:v>39622</c:v>
                </c:pt>
                <c:pt idx="803">
                  <c:v>39623</c:v>
                </c:pt>
                <c:pt idx="804">
                  <c:v>39624</c:v>
                </c:pt>
                <c:pt idx="805">
                  <c:v>39625</c:v>
                </c:pt>
                <c:pt idx="806">
                  <c:v>39626</c:v>
                </c:pt>
                <c:pt idx="807">
                  <c:v>39629</c:v>
                </c:pt>
                <c:pt idx="808">
                  <c:v>39630</c:v>
                </c:pt>
                <c:pt idx="809">
                  <c:v>39631</c:v>
                </c:pt>
                <c:pt idx="810">
                  <c:v>39632</c:v>
                </c:pt>
                <c:pt idx="811">
                  <c:v>39636</c:v>
                </c:pt>
                <c:pt idx="812">
                  <c:v>39637</c:v>
                </c:pt>
                <c:pt idx="813">
                  <c:v>39638</c:v>
                </c:pt>
                <c:pt idx="814">
                  <c:v>39639</c:v>
                </c:pt>
                <c:pt idx="815">
                  <c:v>39640</c:v>
                </c:pt>
                <c:pt idx="816">
                  <c:v>39643</c:v>
                </c:pt>
                <c:pt idx="817">
                  <c:v>39644</c:v>
                </c:pt>
                <c:pt idx="818">
                  <c:v>39645</c:v>
                </c:pt>
                <c:pt idx="819">
                  <c:v>39646</c:v>
                </c:pt>
                <c:pt idx="820">
                  <c:v>39647</c:v>
                </c:pt>
                <c:pt idx="821">
                  <c:v>39650</c:v>
                </c:pt>
                <c:pt idx="822">
                  <c:v>39651</c:v>
                </c:pt>
                <c:pt idx="823">
                  <c:v>39652</c:v>
                </c:pt>
                <c:pt idx="824">
                  <c:v>39653</c:v>
                </c:pt>
                <c:pt idx="825">
                  <c:v>39654</c:v>
                </c:pt>
                <c:pt idx="826">
                  <c:v>39657</c:v>
                </c:pt>
                <c:pt idx="827">
                  <c:v>39658</c:v>
                </c:pt>
                <c:pt idx="828">
                  <c:v>39659</c:v>
                </c:pt>
                <c:pt idx="829">
                  <c:v>39660</c:v>
                </c:pt>
                <c:pt idx="830">
                  <c:v>39661</c:v>
                </c:pt>
                <c:pt idx="831">
                  <c:v>39664</c:v>
                </c:pt>
                <c:pt idx="832">
                  <c:v>39665</c:v>
                </c:pt>
                <c:pt idx="833">
                  <c:v>39666</c:v>
                </c:pt>
                <c:pt idx="834">
                  <c:v>39667</c:v>
                </c:pt>
                <c:pt idx="835">
                  <c:v>39668</c:v>
                </c:pt>
                <c:pt idx="836">
                  <c:v>39671</c:v>
                </c:pt>
                <c:pt idx="837">
                  <c:v>39672</c:v>
                </c:pt>
                <c:pt idx="838">
                  <c:v>39673</c:v>
                </c:pt>
                <c:pt idx="839">
                  <c:v>39674</c:v>
                </c:pt>
                <c:pt idx="840">
                  <c:v>39675</c:v>
                </c:pt>
                <c:pt idx="841">
                  <c:v>39678</c:v>
                </c:pt>
                <c:pt idx="842">
                  <c:v>39679</c:v>
                </c:pt>
                <c:pt idx="843">
                  <c:v>39680</c:v>
                </c:pt>
                <c:pt idx="844">
                  <c:v>39681</c:v>
                </c:pt>
                <c:pt idx="845">
                  <c:v>39682</c:v>
                </c:pt>
                <c:pt idx="846">
                  <c:v>39685</c:v>
                </c:pt>
                <c:pt idx="847">
                  <c:v>39686</c:v>
                </c:pt>
                <c:pt idx="848">
                  <c:v>39687</c:v>
                </c:pt>
                <c:pt idx="849">
                  <c:v>39688</c:v>
                </c:pt>
                <c:pt idx="850">
                  <c:v>39689</c:v>
                </c:pt>
                <c:pt idx="851">
                  <c:v>39693</c:v>
                </c:pt>
                <c:pt idx="852">
                  <c:v>39694</c:v>
                </c:pt>
                <c:pt idx="853">
                  <c:v>39695</c:v>
                </c:pt>
                <c:pt idx="854">
                  <c:v>39696</c:v>
                </c:pt>
                <c:pt idx="855">
                  <c:v>39699</c:v>
                </c:pt>
                <c:pt idx="856">
                  <c:v>39700</c:v>
                </c:pt>
                <c:pt idx="857">
                  <c:v>39701</c:v>
                </c:pt>
                <c:pt idx="858">
                  <c:v>39702</c:v>
                </c:pt>
                <c:pt idx="859">
                  <c:v>39703</c:v>
                </c:pt>
                <c:pt idx="860">
                  <c:v>39706</c:v>
                </c:pt>
                <c:pt idx="861">
                  <c:v>39707</c:v>
                </c:pt>
                <c:pt idx="862">
                  <c:v>39708</c:v>
                </c:pt>
                <c:pt idx="863">
                  <c:v>39709</c:v>
                </c:pt>
                <c:pt idx="864">
                  <c:v>39710</c:v>
                </c:pt>
                <c:pt idx="865">
                  <c:v>39713</c:v>
                </c:pt>
                <c:pt idx="866">
                  <c:v>39714</c:v>
                </c:pt>
                <c:pt idx="867">
                  <c:v>39715</c:v>
                </c:pt>
                <c:pt idx="868">
                  <c:v>39716</c:v>
                </c:pt>
                <c:pt idx="869">
                  <c:v>39717</c:v>
                </c:pt>
                <c:pt idx="870">
                  <c:v>39720</c:v>
                </c:pt>
                <c:pt idx="871">
                  <c:v>39721</c:v>
                </c:pt>
                <c:pt idx="872">
                  <c:v>39722</c:v>
                </c:pt>
                <c:pt idx="873">
                  <c:v>39723</c:v>
                </c:pt>
                <c:pt idx="874">
                  <c:v>39724</c:v>
                </c:pt>
                <c:pt idx="875">
                  <c:v>39727</c:v>
                </c:pt>
                <c:pt idx="876">
                  <c:v>39728</c:v>
                </c:pt>
                <c:pt idx="877">
                  <c:v>39729</c:v>
                </c:pt>
                <c:pt idx="878">
                  <c:v>39730</c:v>
                </c:pt>
                <c:pt idx="879">
                  <c:v>39731</c:v>
                </c:pt>
                <c:pt idx="880">
                  <c:v>39734</c:v>
                </c:pt>
                <c:pt idx="881">
                  <c:v>39735</c:v>
                </c:pt>
                <c:pt idx="882">
                  <c:v>39736</c:v>
                </c:pt>
                <c:pt idx="883">
                  <c:v>39737</c:v>
                </c:pt>
                <c:pt idx="884">
                  <c:v>39738</c:v>
                </c:pt>
                <c:pt idx="885">
                  <c:v>39741</c:v>
                </c:pt>
                <c:pt idx="886">
                  <c:v>39742</c:v>
                </c:pt>
                <c:pt idx="887">
                  <c:v>39743</c:v>
                </c:pt>
                <c:pt idx="888">
                  <c:v>39744</c:v>
                </c:pt>
                <c:pt idx="889">
                  <c:v>39745</c:v>
                </c:pt>
                <c:pt idx="890">
                  <c:v>39748</c:v>
                </c:pt>
                <c:pt idx="891">
                  <c:v>39749</c:v>
                </c:pt>
                <c:pt idx="892">
                  <c:v>39750</c:v>
                </c:pt>
                <c:pt idx="893">
                  <c:v>39751</c:v>
                </c:pt>
                <c:pt idx="894">
                  <c:v>39752</c:v>
                </c:pt>
                <c:pt idx="895">
                  <c:v>39755</c:v>
                </c:pt>
                <c:pt idx="896">
                  <c:v>39756</c:v>
                </c:pt>
                <c:pt idx="897">
                  <c:v>39757</c:v>
                </c:pt>
                <c:pt idx="898">
                  <c:v>39758</c:v>
                </c:pt>
                <c:pt idx="899">
                  <c:v>39759</c:v>
                </c:pt>
                <c:pt idx="900">
                  <c:v>39762</c:v>
                </c:pt>
                <c:pt idx="901">
                  <c:v>39763</c:v>
                </c:pt>
                <c:pt idx="902">
                  <c:v>39764</c:v>
                </c:pt>
                <c:pt idx="903">
                  <c:v>39765</c:v>
                </c:pt>
                <c:pt idx="904">
                  <c:v>39766</c:v>
                </c:pt>
                <c:pt idx="905">
                  <c:v>39769</c:v>
                </c:pt>
                <c:pt idx="906">
                  <c:v>39770</c:v>
                </c:pt>
                <c:pt idx="907">
                  <c:v>39771</c:v>
                </c:pt>
                <c:pt idx="908">
                  <c:v>39772</c:v>
                </c:pt>
                <c:pt idx="909">
                  <c:v>39773</c:v>
                </c:pt>
                <c:pt idx="910">
                  <c:v>39776</c:v>
                </c:pt>
                <c:pt idx="911">
                  <c:v>39777</c:v>
                </c:pt>
                <c:pt idx="912">
                  <c:v>39778</c:v>
                </c:pt>
                <c:pt idx="913">
                  <c:v>39780</c:v>
                </c:pt>
                <c:pt idx="914">
                  <c:v>39783</c:v>
                </c:pt>
                <c:pt idx="915">
                  <c:v>39784</c:v>
                </c:pt>
                <c:pt idx="916">
                  <c:v>39785</c:v>
                </c:pt>
                <c:pt idx="917">
                  <c:v>39786</c:v>
                </c:pt>
                <c:pt idx="918">
                  <c:v>39787</c:v>
                </c:pt>
                <c:pt idx="919">
                  <c:v>39790</c:v>
                </c:pt>
                <c:pt idx="920">
                  <c:v>39791</c:v>
                </c:pt>
                <c:pt idx="921">
                  <c:v>39792</c:v>
                </c:pt>
                <c:pt idx="922">
                  <c:v>39793</c:v>
                </c:pt>
                <c:pt idx="923">
                  <c:v>39794</c:v>
                </c:pt>
                <c:pt idx="924">
                  <c:v>39797</c:v>
                </c:pt>
                <c:pt idx="925">
                  <c:v>39798</c:v>
                </c:pt>
                <c:pt idx="926">
                  <c:v>39799</c:v>
                </c:pt>
                <c:pt idx="927">
                  <c:v>39800</c:v>
                </c:pt>
                <c:pt idx="928">
                  <c:v>39801</c:v>
                </c:pt>
                <c:pt idx="929">
                  <c:v>39804</c:v>
                </c:pt>
                <c:pt idx="930">
                  <c:v>39805</c:v>
                </c:pt>
                <c:pt idx="931">
                  <c:v>39806</c:v>
                </c:pt>
                <c:pt idx="932">
                  <c:v>39808</c:v>
                </c:pt>
                <c:pt idx="933">
                  <c:v>39811</c:v>
                </c:pt>
                <c:pt idx="934">
                  <c:v>39812</c:v>
                </c:pt>
                <c:pt idx="935">
                  <c:v>39813</c:v>
                </c:pt>
                <c:pt idx="936">
                  <c:v>39815</c:v>
                </c:pt>
                <c:pt idx="937">
                  <c:v>39818</c:v>
                </c:pt>
                <c:pt idx="938">
                  <c:v>39819</c:v>
                </c:pt>
                <c:pt idx="939">
                  <c:v>39820</c:v>
                </c:pt>
                <c:pt idx="940">
                  <c:v>39821</c:v>
                </c:pt>
                <c:pt idx="941">
                  <c:v>39822</c:v>
                </c:pt>
                <c:pt idx="942">
                  <c:v>39825</c:v>
                </c:pt>
                <c:pt idx="943">
                  <c:v>39826</c:v>
                </c:pt>
                <c:pt idx="944">
                  <c:v>39827</c:v>
                </c:pt>
                <c:pt idx="945">
                  <c:v>39828</c:v>
                </c:pt>
                <c:pt idx="946">
                  <c:v>39829</c:v>
                </c:pt>
                <c:pt idx="947">
                  <c:v>39833</c:v>
                </c:pt>
                <c:pt idx="948">
                  <c:v>39834</c:v>
                </c:pt>
                <c:pt idx="949">
                  <c:v>39835</c:v>
                </c:pt>
                <c:pt idx="950">
                  <c:v>39836</c:v>
                </c:pt>
                <c:pt idx="951">
                  <c:v>39839</c:v>
                </c:pt>
                <c:pt idx="952">
                  <c:v>39840</c:v>
                </c:pt>
                <c:pt idx="953">
                  <c:v>39841</c:v>
                </c:pt>
                <c:pt idx="954">
                  <c:v>39842</c:v>
                </c:pt>
                <c:pt idx="955">
                  <c:v>39843</c:v>
                </c:pt>
                <c:pt idx="956">
                  <c:v>39846</c:v>
                </c:pt>
                <c:pt idx="957">
                  <c:v>39847</c:v>
                </c:pt>
                <c:pt idx="958">
                  <c:v>39848</c:v>
                </c:pt>
                <c:pt idx="959">
                  <c:v>39849</c:v>
                </c:pt>
                <c:pt idx="960">
                  <c:v>39850</c:v>
                </c:pt>
                <c:pt idx="961">
                  <c:v>39853</c:v>
                </c:pt>
                <c:pt idx="962">
                  <c:v>39854</c:v>
                </c:pt>
                <c:pt idx="963">
                  <c:v>39855</c:v>
                </c:pt>
                <c:pt idx="964">
                  <c:v>39856</c:v>
                </c:pt>
                <c:pt idx="965">
                  <c:v>39857</c:v>
                </c:pt>
                <c:pt idx="966">
                  <c:v>39861</c:v>
                </c:pt>
                <c:pt idx="967">
                  <c:v>39862</c:v>
                </c:pt>
                <c:pt idx="968">
                  <c:v>39863</c:v>
                </c:pt>
                <c:pt idx="969">
                  <c:v>39864</c:v>
                </c:pt>
                <c:pt idx="970">
                  <c:v>39867</c:v>
                </c:pt>
                <c:pt idx="971">
                  <c:v>39868</c:v>
                </c:pt>
                <c:pt idx="972">
                  <c:v>39869</c:v>
                </c:pt>
                <c:pt idx="973">
                  <c:v>39870</c:v>
                </c:pt>
                <c:pt idx="974">
                  <c:v>39871</c:v>
                </c:pt>
                <c:pt idx="975">
                  <c:v>39874</c:v>
                </c:pt>
                <c:pt idx="976">
                  <c:v>39875</c:v>
                </c:pt>
                <c:pt idx="977">
                  <c:v>39876</c:v>
                </c:pt>
                <c:pt idx="978">
                  <c:v>39877</c:v>
                </c:pt>
                <c:pt idx="979">
                  <c:v>39878</c:v>
                </c:pt>
                <c:pt idx="980">
                  <c:v>39881</c:v>
                </c:pt>
                <c:pt idx="981">
                  <c:v>39882</c:v>
                </c:pt>
                <c:pt idx="982">
                  <c:v>39883</c:v>
                </c:pt>
                <c:pt idx="983">
                  <c:v>39884</c:v>
                </c:pt>
                <c:pt idx="984">
                  <c:v>39885</c:v>
                </c:pt>
                <c:pt idx="985">
                  <c:v>39888</c:v>
                </c:pt>
                <c:pt idx="986">
                  <c:v>39889</c:v>
                </c:pt>
                <c:pt idx="987">
                  <c:v>39890</c:v>
                </c:pt>
                <c:pt idx="988">
                  <c:v>39891</c:v>
                </c:pt>
                <c:pt idx="989">
                  <c:v>39892</c:v>
                </c:pt>
                <c:pt idx="990">
                  <c:v>39895</c:v>
                </c:pt>
                <c:pt idx="991">
                  <c:v>39896</c:v>
                </c:pt>
                <c:pt idx="992">
                  <c:v>39897</c:v>
                </c:pt>
                <c:pt idx="993">
                  <c:v>39898</c:v>
                </c:pt>
                <c:pt idx="994">
                  <c:v>39899</c:v>
                </c:pt>
                <c:pt idx="995">
                  <c:v>39902</c:v>
                </c:pt>
                <c:pt idx="996">
                  <c:v>39903</c:v>
                </c:pt>
                <c:pt idx="997">
                  <c:v>39904</c:v>
                </c:pt>
                <c:pt idx="998">
                  <c:v>39905</c:v>
                </c:pt>
                <c:pt idx="999">
                  <c:v>39906</c:v>
                </c:pt>
                <c:pt idx="1000">
                  <c:v>39909</c:v>
                </c:pt>
                <c:pt idx="1001">
                  <c:v>39910</c:v>
                </c:pt>
                <c:pt idx="1002">
                  <c:v>39911</c:v>
                </c:pt>
                <c:pt idx="1003">
                  <c:v>39912</c:v>
                </c:pt>
                <c:pt idx="1004">
                  <c:v>39916</c:v>
                </c:pt>
                <c:pt idx="1005">
                  <c:v>39917</c:v>
                </c:pt>
                <c:pt idx="1006">
                  <c:v>39918</c:v>
                </c:pt>
                <c:pt idx="1007">
                  <c:v>39919</c:v>
                </c:pt>
                <c:pt idx="1008">
                  <c:v>39920</c:v>
                </c:pt>
                <c:pt idx="1009">
                  <c:v>39923</c:v>
                </c:pt>
                <c:pt idx="1010">
                  <c:v>39924</c:v>
                </c:pt>
                <c:pt idx="1011">
                  <c:v>39925</c:v>
                </c:pt>
                <c:pt idx="1012">
                  <c:v>39926</c:v>
                </c:pt>
                <c:pt idx="1013">
                  <c:v>39927</c:v>
                </c:pt>
                <c:pt idx="1014">
                  <c:v>39930</c:v>
                </c:pt>
                <c:pt idx="1015">
                  <c:v>39931</c:v>
                </c:pt>
                <c:pt idx="1016">
                  <c:v>39932</c:v>
                </c:pt>
                <c:pt idx="1017">
                  <c:v>39933</c:v>
                </c:pt>
                <c:pt idx="1018">
                  <c:v>39934</c:v>
                </c:pt>
                <c:pt idx="1019">
                  <c:v>39937</c:v>
                </c:pt>
                <c:pt idx="1020">
                  <c:v>39938</c:v>
                </c:pt>
                <c:pt idx="1021">
                  <c:v>39939</c:v>
                </c:pt>
                <c:pt idx="1022">
                  <c:v>39940</c:v>
                </c:pt>
                <c:pt idx="1023">
                  <c:v>39941</c:v>
                </c:pt>
                <c:pt idx="1024">
                  <c:v>39944</c:v>
                </c:pt>
                <c:pt idx="1025">
                  <c:v>39945</c:v>
                </c:pt>
                <c:pt idx="1026">
                  <c:v>39946</c:v>
                </c:pt>
                <c:pt idx="1027">
                  <c:v>39947</c:v>
                </c:pt>
                <c:pt idx="1028">
                  <c:v>39948</c:v>
                </c:pt>
                <c:pt idx="1029">
                  <c:v>39951</c:v>
                </c:pt>
                <c:pt idx="1030">
                  <c:v>39952</c:v>
                </c:pt>
                <c:pt idx="1031">
                  <c:v>39953</c:v>
                </c:pt>
                <c:pt idx="1032">
                  <c:v>39954</c:v>
                </c:pt>
                <c:pt idx="1033">
                  <c:v>39955</c:v>
                </c:pt>
                <c:pt idx="1034">
                  <c:v>39959</c:v>
                </c:pt>
                <c:pt idx="1035">
                  <c:v>39960</c:v>
                </c:pt>
                <c:pt idx="1036">
                  <c:v>39961</c:v>
                </c:pt>
                <c:pt idx="1037">
                  <c:v>39962</c:v>
                </c:pt>
                <c:pt idx="1038">
                  <c:v>39965</c:v>
                </c:pt>
                <c:pt idx="1039">
                  <c:v>39966</c:v>
                </c:pt>
                <c:pt idx="1040">
                  <c:v>39967</c:v>
                </c:pt>
                <c:pt idx="1041">
                  <c:v>39968</c:v>
                </c:pt>
                <c:pt idx="1042">
                  <c:v>39969</c:v>
                </c:pt>
                <c:pt idx="1043">
                  <c:v>39972</c:v>
                </c:pt>
                <c:pt idx="1044">
                  <c:v>39973</c:v>
                </c:pt>
                <c:pt idx="1045">
                  <c:v>39974</c:v>
                </c:pt>
                <c:pt idx="1046">
                  <c:v>39975</c:v>
                </c:pt>
                <c:pt idx="1047">
                  <c:v>39976</c:v>
                </c:pt>
                <c:pt idx="1048">
                  <c:v>39979</c:v>
                </c:pt>
                <c:pt idx="1049">
                  <c:v>39980</c:v>
                </c:pt>
                <c:pt idx="1050">
                  <c:v>39981</c:v>
                </c:pt>
                <c:pt idx="1051">
                  <c:v>39982</c:v>
                </c:pt>
                <c:pt idx="1052">
                  <c:v>39983</c:v>
                </c:pt>
                <c:pt idx="1053">
                  <c:v>39986</c:v>
                </c:pt>
                <c:pt idx="1054">
                  <c:v>39987</c:v>
                </c:pt>
                <c:pt idx="1055">
                  <c:v>39988</c:v>
                </c:pt>
                <c:pt idx="1056">
                  <c:v>39989</c:v>
                </c:pt>
                <c:pt idx="1057">
                  <c:v>39990</c:v>
                </c:pt>
                <c:pt idx="1058">
                  <c:v>39993</c:v>
                </c:pt>
                <c:pt idx="1059">
                  <c:v>39994</c:v>
                </c:pt>
                <c:pt idx="1060">
                  <c:v>39995</c:v>
                </c:pt>
                <c:pt idx="1061">
                  <c:v>39996</c:v>
                </c:pt>
                <c:pt idx="1062">
                  <c:v>40000</c:v>
                </c:pt>
                <c:pt idx="1063">
                  <c:v>40001</c:v>
                </c:pt>
                <c:pt idx="1064">
                  <c:v>40002</c:v>
                </c:pt>
                <c:pt idx="1065">
                  <c:v>40003</c:v>
                </c:pt>
                <c:pt idx="1066">
                  <c:v>40004</c:v>
                </c:pt>
                <c:pt idx="1067">
                  <c:v>40007</c:v>
                </c:pt>
                <c:pt idx="1068">
                  <c:v>40008</c:v>
                </c:pt>
                <c:pt idx="1069">
                  <c:v>40009</c:v>
                </c:pt>
                <c:pt idx="1070">
                  <c:v>40010</c:v>
                </c:pt>
                <c:pt idx="1071">
                  <c:v>40011</c:v>
                </c:pt>
                <c:pt idx="1072">
                  <c:v>40014</c:v>
                </c:pt>
                <c:pt idx="1073">
                  <c:v>40015</c:v>
                </c:pt>
                <c:pt idx="1074">
                  <c:v>40016</c:v>
                </c:pt>
                <c:pt idx="1075">
                  <c:v>40017</c:v>
                </c:pt>
                <c:pt idx="1076">
                  <c:v>40018</c:v>
                </c:pt>
                <c:pt idx="1077">
                  <c:v>40021</c:v>
                </c:pt>
                <c:pt idx="1078">
                  <c:v>40022</c:v>
                </c:pt>
                <c:pt idx="1079">
                  <c:v>40023</c:v>
                </c:pt>
                <c:pt idx="1080">
                  <c:v>40024</c:v>
                </c:pt>
                <c:pt idx="1081">
                  <c:v>40025</c:v>
                </c:pt>
                <c:pt idx="1082">
                  <c:v>40028</c:v>
                </c:pt>
                <c:pt idx="1083">
                  <c:v>40029</c:v>
                </c:pt>
                <c:pt idx="1084">
                  <c:v>40030</c:v>
                </c:pt>
                <c:pt idx="1085">
                  <c:v>40031</c:v>
                </c:pt>
                <c:pt idx="1086">
                  <c:v>40032</c:v>
                </c:pt>
                <c:pt idx="1087">
                  <c:v>40035</c:v>
                </c:pt>
                <c:pt idx="1088">
                  <c:v>40036</c:v>
                </c:pt>
                <c:pt idx="1089">
                  <c:v>40037</c:v>
                </c:pt>
                <c:pt idx="1090">
                  <c:v>40038</c:v>
                </c:pt>
                <c:pt idx="1091">
                  <c:v>40039</c:v>
                </c:pt>
                <c:pt idx="1092">
                  <c:v>40042</c:v>
                </c:pt>
                <c:pt idx="1093">
                  <c:v>40043</c:v>
                </c:pt>
                <c:pt idx="1094">
                  <c:v>40044</c:v>
                </c:pt>
                <c:pt idx="1095">
                  <c:v>40045</c:v>
                </c:pt>
                <c:pt idx="1096">
                  <c:v>40046</c:v>
                </c:pt>
                <c:pt idx="1097">
                  <c:v>40049</c:v>
                </c:pt>
                <c:pt idx="1098">
                  <c:v>40050</c:v>
                </c:pt>
                <c:pt idx="1099">
                  <c:v>40051</c:v>
                </c:pt>
                <c:pt idx="1100">
                  <c:v>40052</c:v>
                </c:pt>
                <c:pt idx="1101">
                  <c:v>40053</c:v>
                </c:pt>
                <c:pt idx="1102">
                  <c:v>40056</c:v>
                </c:pt>
                <c:pt idx="1103">
                  <c:v>40057</c:v>
                </c:pt>
                <c:pt idx="1104">
                  <c:v>40058</c:v>
                </c:pt>
                <c:pt idx="1105">
                  <c:v>40059</c:v>
                </c:pt>
                <c:pt idx="1106">
                  <c:v>40060</c:v>
                </c:pt>
                <c:pt idx="1107">
                  <c:v>40064</c:v>
                </c:pt>
                <c:pt idx="1108">
                  <c:v>40065</c:v>
                </c:pt>
                <c:pt idx="1109">
                  <c:v>40066</c:v>
                </c:pt>
                <c:pt idx="1110">
                  <c:v>40067</c:v>
                </c:pt>
                <c:pt idx="1111">
                  <c:v>40070</c:v>
                </c:pt>
                <c:pt idx="1112">
                  <c:v>40071</c:v>
                </c:pt>
                <c:pt idx="1113">
                  <c:v>40072</c:v>
                </c:pt>
                <c:pt idx="1114">
                  <c:v>40073</c:v>
                </c:pt>
                <c:pt idx="1115">
                  <c:v>40074</c:v>
                </c:pt>
                <c:pt idx="1116">
                  <c:v>40077</c:v>
                </c:pt>
                <c:pt idx="1117">
                  <c:v>40078</c:v>
                </c:pt>
                <c:pt idx="1118">
                  <c:v>40079</c:v>
                </c:pt>
                <c:pt idx="1119">
                  <c:v>40080</c:v>
                </c:pt>
                <c:pt idx="1120">
                  <c:v>40081</c:v>
                </c:pt>
                <c:pt idx="1121">
                  <c:v>40084</c:v>
                </c:pt>
                <c:pt idx="1122">
                  <c:v>40085</c:v>
                </c:pt>
                <c:pt idx="1123">
                  <c:v>40086</c:v>
                </c:pt>
                <c:pt idx="1124">
                  <c:v>40087</c:v>
                </c:pt>
                <c:pt idx="1125">
                  <c:v>40088</c:v>
                </c:pt>
                <c:pt idx="1126">
                  <c:v>40091</c:v>
                </c:pt>
                <c:pt idx="1127">
                  <c:v>40092</c:v>
                </c:pt>
                <c:pt idx="1128">
                  <c:v>40093</c:v>
                </c:pt>
                <c:pt idx="1129">
                  <c:v>40094</c:v>
                </c:pt>
                <c:pt idx="1130">
                  <c:v>40095</c:v>
                </c:pt>
                <c:pt idx="1131">
                  <c:v>40098</c:v>
                </c:pt>
                <c:pt idx="1132">
                  <c:v>40099</c:v>
                </c:pt>
                <c:pt idx="1133">
                  <c:v>40100</c:v>
                </c:pt>
                <c:pt idx="1134">
                  <c:v>40101</c:v>
                </c:pt>
                <c:pt idx="1135">
                  <c:v>40102</c:v>
                </c:pt>
                <c:pt idx="1136">
                  <c:v>40105</c:v>
                </c:pt>
                <c:pt idx="1137">
                  <c:v>40106</c:v>
                </c:pt>
                <c:pt idx="1138">
                  <c:v>40107</c:v>
                </c:pt>
                <c:pt idx="1139">
                  <c:v>40108</c:v>
                </c:pt>
                <c:pt idx="1140">
                  <c:v>40109</c:v>
                </c:pt>
                <c:pt idx="1141">
                  <c:v>40112</c:v>
                </c:pt>
                <c:pt idx="1142">
                  <c:v>40113</c:v>
                </c:pt>
                <c:pt idx="1143">
                  <c:v>40114</c:v>
                </c:pt>
                <c:pt idx="1144">
                  <c:v>40115</c:v>
                </c:pt>
                <c:pt idx="1145">
                  <c:v>40116</c:v>
                </c:pt>
                <c:pt idx="1146">
                  <c:v>40119</c:v>
                </c:pt>
                <c:pt idx="1147">
                  <c:v>40120</c:v>
                </c:pt>
                <c:pt idx="1148">
                  <c:v>40121</c:v>
                </c:pt>
                <c:pt idx="1149">
                  <c:v>40122</c:v>
                </c:pt>
                <c:pt idx="1150">
                  <c:v>40123</c:v>
                </c:pt>
                <c:pt idx="1151">
                  <c:v>40126</c:v>
                </c:pt>
                <c:pt idx="1152">
                  <c:v>40127</c:v>
                </c:pt>
                <c:pt idx="1153">
                  <c:v>40128</c:v>
                </c:pt>
                <c:pt idx="1154">
                  <c:v>40129</c:v>
                </c:pt>
                <c:pt idx="1155">
                  <c:v>40130</c:v>
                </c:pt>
                <c:pt idx="1156">
                  <c:v>40133</c:v>
                </c:pt>
                <c:pt idx="1157">
                  <c:v>40134</c:v>
                </c:pt>
                <c:pt idx="1158">
                  <c:v>40135</c:v>
                </c:pt>
                <c:pt idx="1159">
                  <c:v>40136</c:v>
                </c:pt>
                <c:pt idx="1160">
                  <c:v>40137</c:v>
                </c:pt>
                <c:pt idx="1161">
                  <c:v>40140</c:v>
                </c:pt>
                <c:pt idx="1162">
                  <c:v>40141</c:v>
                </c:pt>
                <c:pt idx="1163">
                  <c:v>40142</c:v>
                </c:pt>
                <c:pt idx="1164">
                  <c:v>40144</c:v>
                </c:pt>
                <c:pt idx="1165">
                  <c:v>40147</c:v>
                </c:pt>
                <c:pt idx="1166">
                  <c:v>40148</c:v>
                </c:pt>
                <c:pt idx="1167">
                  <c:v>40149</c:v>
                </c:pt>
                <c:pt idx="1168">
                  <c:v>40150</c:v>
                </c:pt>
                <c:pt idx="1169">
                  <c:v>40151</c:v>
                </c:pt>
                <c:pt idx="1170">
                  <c:v>40154</c:v>
                </c:pt>
                <c:pt idx="1171">
                  <c:v>40155</c:v>
                </c:pt>
                <c:pt idx="1172">
                  <c:v>40156</c:v>
                </c:pt>
                <c:pt idx="1173">
                  <c:v>40157</c:v>
                </c:pt>
                <c:pt idx="1174">
                  <c:v>40158</c:v>
                </c:pt>
                <c:pt idx="1175">
                  <c:v>40161</c:v>
                </c:pt>
                <c:pt idx="1176">
                  <c:v>40162</c:v>
                </c:pt>
                <c:pt idx="1177">
                  <c:v>40163</c:v>
                </c:pt>
                <c:pt idx="1178">
                  <c:v>40164</c:v>
                </c:pt>
                <c:pt idx="1179">
                  <c:v>40165</c:v>
                </c:pt>
                <c:pt idx="1180">
                  <c:v>40168</c:v>
                </c:pt>
                <c:pt idx="1181">
                  <c:v>40169</c:v>
                </c:pt>
                <c:pt idx="1182">
                  <c:v>40170</c:v>
                </c:pt>
                <c:pt idx="1183">
                  <c:v>40171</c:v>
                </c:pt>
                <c:pt idx="1184">
                  <c:v>40175</c:v>
                </c:pt>
                <c:pt idx="1185">
                  <c:v>40176</c:v>
                </c:pt>
                <c:pt idx="1186">
                  <c:v>40177</c:v>
                </c:pt>
                <c:pt idx="1187">
                  <c:v>40178</c:v>
                </c:pt>
                <c:pt idx="1188">
                  <c:v>40182</c:v>
                </c:pt>
                <c:pt idx="1189">
                  <c:v>40183</c:v>
                </c:pt>
                <c:pt idx="1190">
                  <c:v>40184</c:v>
                </c:pt>
                <c:pt idx="1191">
                  <c:v>40185</c:v>
                </c:pt>
                <c:pt idx="1192">
                  <c:v>40186</c:v>
                </c:pt>
                <c:pt idx="1193">
                  <c:v>40189</c:v>
                </c:pt>
                <c:pt idx="1194">
                  <c:v>40190</c:v>
                </c:pt>
                <c:pt idx="1195">
                  <c:v>40191</c:v>
                </c:pt>
                <c:pt idx="1196">
                  <c:v>40192</c:v>
                </c:pt>
                <c:pt idx="1197">
                  <c:v>40193</c:v>
                </c:pt>
                <c:pt idx="1198">
                  <c:v>40197</c:v>
                </c:pt>
                <c:pt idx="1199">
                  <c:v>40198</c:v>
                </c:pt>
                <c:pt idx="1200">
                  <c:v>40199</c:v>
                </c:pt>
                <c:pt idx="1201">
                  <c:v>40200</c:v>
                </c:pt>
                <c:pt idx="1202">
                  <c:v>40203</c:v>
                </c:pt>
                <c:pt idx="1203">
                  <c:v>40204</c:v>
                </c:pt>
                <c:pt idx="1204">
                  <c:v>40205</c:v>
                </c:pt>
                <c:pt idx="1205">
                  <c:v>40206</c:v>
                </c:pt>
                <c:pt idx="1206">
                  <c:v>40207</c:v>
                </c:pt>
                <c:pt idx="1207">
                  <c:v>40210</c:v>
                </c:pt>
                <c:pt idx="1208">
                  <c:v>40211</c:v>
                </c:pt>
                <c:pt idx="1209">
                  <c:v>40212</c:v>
                </c:pt>
                <c:pt idx="1210">
                  <c:v>40213</c:v>
                </c:pt>
                <c:pt idx="1211">
                  <c:v>40214</c:v>
                </c:pt>
                <c:pt idx="1212">
                  <c:v>40217</c:v>
                </c:pt>
                <c:pt idx="1213">
                  <c:v>40218</c:v>
                </c:pt>
                <c:pt idx="1214">
                  <c:v>40219</c:v>
                </c:pt>
                <c:pt idx="1215">
                  <c:v>40220</c:v>
                </c:pt>
                <c:pt idx="1216">
                  <c:v>40221</c:v>
                </c:pt>
                <c:pt idx="1217">
                  <c:v>40225</c:v>
                </c:pt>
                <c:pt idx="1218">
                  <c:v>40226</c:v>
                </c:pt>
                <c:pt idx="1219">
                  <c:v>40227</c:v>
                </c:pt>
                <c:pt idx="1220">
                  <c:v>40228</c:v>
                </c:pt>
                <c:pt idx="1221">
                  <c:v>40231</c:v>
                </c:pt>
                <c:pt idx="1222">
                  <c:v>40232</c:v>
                </c:pt>
                <c:pt idx="1223">
                  <c:v>40233</c:v>
                </c:pt>
                <c:pt idx="1224">
                  <c:v>40234</c:v>
                </c:pt>
                <c:pt idx="1225">
                  <c:v>40235</c:v>
                </c:pt>
                <c:pt idx="1226">
                  <c:v>40238</c:v>
                </c:pt>
                <c:pt idx="1227">
                  <c:v>40239</c:v>
                </c:pt>
                <c:pt idx="1228">
                  <c:v>40240</c:v>
                </c:pt>
                <c:pt idx="1229">
                  <c:v>40241</c:v>
                </c:pt>
                <c:pt idx="1230">
                  <c:v>40242</c:v>
                </c:pt>
                <c:pt idx="1231">
                  <c:v>40245</c:v>
                </c:pt>
                <c:pt idx="1232">
                  <c:v>40246</c:v>
                </c:pt>
                <c:pt idx="1233">
                  <c:v>40247</c:v>
                </c:pt>
                <c:pt idx="1234">
                  <c:v>40248</c:v>
                </c:pt>
                <c:pt idx="1235">
                  <c:v>40249</c:v>
                </c:pt>
                <c:pt idx="1236">
                  <c:v>40252</c:v>
                </c:pt>
                <c:pt idx="1237">
                  <c:v>40253</c:v>
                </c:pt>
                <c:pt idx="1238">
                  <c:v>40254</c:v>
                </c:pt>
                <c:pt idx="1239">
                  <c:v>40255</c:v>
                </c:pt>
                <c:pt idx="1240">
                  <c:v>40256</c:v>
                </c:pt>
                <c:pt idx="1241">
                  <c:v>40259</c:v>
                </c:pt>
                <c:pt idx="1242">
                  <c:v>40260</c:v>
                </c:pt>
                <c:pt idx="1243">
                  <c:v>40261</c:v>
                </c:pt>
                <c:pt idx="1244">
                  <c:v>40262</c:v>
                </c:pt>
                <c:pt idx="1245">
                  <c:v>40263</c:v>
                </c:pt>
                <c:pt idx="1246">
                  <c:v>40266</c:v>
                </c:pt>
                <c:pt idx="1247">
                  <c:v>40267</c:v>
                </c:pt>
                <c:pt idx="1248">
                  <c:v>40268</c:v>
                </c:pt>
                <c:pt idx="1249">
                  <c:v>40269</c:v>
                </c:pt>
                <c:pt idx="1250">
                  <c:v>40273</c:v>
                </c:pt>
                <c:pt idx="1251">
                  <c:v>40274</c:v>
                </c:pt>
                <c:pt idx="1252">
                  <c:v>40275</c:v>
                </c:pt>
                <c:pt idx="1253">
                  <c:v>40276</c:v>
                </c:pt>
                <c:pt idx="1254">
                  <c:v>40277</c:v>
                </c:pt>
                <c:pt idx="1255">
                  <c:v>40280</c:v>
                </c:pt>
                <c:pt idx="1256">
                  <c:v>40281</c:v>
                </c:pt>
                <c:pt idx="1257">
                  <c:v>40282</c:v>
                </c:pt>
                <c:pt idx="1258">
                  <c:v>40283</c:v>
                </c:pt>
                <c:pt idx="1259">
                  <c:v>40284</c:v>
                </c:pt>
                <c:pt idx="1260">
                  <c:v>40287</c:v>
                </c:pt>
                <c:pt idx="1261">
                  <c:v>40288</c:v>
                </c:pt>
                <c:pt idx="1262">
                  <c:v>40289</c:v>
                </c:pt>
                <c:pt idx="1263">
                  <c:v>40290</c:v>
                </c:pt>
                <c:pt idx="1264">
                  <c:v>40291</c:v>
                </c:pt>
                <c:pt idx="1265">
                  <c:v>40294</c:v>
                </c:pt>
                <c:pt idx="1266">
                  <c:v>40295</c:v>
                </c:pt>
                <c:pt idx="1267">
                  <c:v>40296</c:v>
                </c:pt>
                <c:pt idx="1268">
                  <c:v>40297</c:v>
                </c:pt>
                <c:pt idx="1269">
                  <c:v>40298</c:v>
                </c:pt>
                <c:pt idx="1270">
                  <c:v>40301</c:v>
                </c:pt>
                <c:pt idx="1271">
                  <c:v>40302</c:v>
                </c:pt>
                <c:pt idx="1272">
                  <c:v>40303</c:v>
                </c:pt>
                <c:pt idx="1273">
                  <c:v>40304</c:v>
                </c:pt>
                <c:pt idx="1274">
                  <c:v>40305</c:v>
                </c:pt>
                <c:pt idx="1275">
                  <c:v>40308</c:v>
                </c:pt>
                <c:pt idx="1276">
                  <c:v>40309</c:v>
                </c:pt>
                <c:pt idx="1277">
                  <c:v>40310</c:v>
                </c:pt>
                <c:pt idx="1278">
                  <c:v>40311</c:v>
                </c:pt>
                <c:pt idx="1279">
                  <c:v>40312</c:v>
                </c:pt>
                <c:pt idx="1280">
                  <c:v>40315</c:v>
                </c:pt>
                <c:pt idx="1281">
                  <c:v>40316</c:v>
                </c:pt>
                <c:pt idx="1282">
                  <c:v>40317</c:v>
                </c:pt>
                <c:pt idx="1283">
                  <c:v>40318</c:v>
                </c:pt>
                <c:pt idx="1284">
                  <c:v>40319</c:v>
                </c:pt>
                <c:pt idx="1285">
                  <c:v>40322</c:v>
                </c:pt>
                <c:pt idx="1286">
                  <c:v>40323</c:v>
                </c:pt>
                <c:pt idx="1287">
                  <c:v>40324</c:v>
                </c:pt>
                <c:pt idx="1288">
                  <c:v>40325</c:v>
                </c:pt>
                <c:pt idx="1289">
                  <c:v>40326</c:v>
                </c:pt>
                <c:pt idx="1290">
                  <c:v>40330</c:v>
                </c:pt>
                <c:pt idx="1291">
                  <c:v>40331</c:v>
                </c:pt>
                <c:pt idx="1292">
                  <c:v>40332</c:v>
                </c:pt>
                <c:pt idx="1293">
                  <c:v>40333</c:v>
                </c:pt>
                <c:pt idx="1294">
                  <c:v>40336</c:v>
                </c:pt>
                <c:pt idx="1295">
                  <c:v>40337</c:v>
                </c:pt>
                <c:pt idx="1296">
                  <c:v>40338</c:v>
                </c:pt>
                <c:pt idx="1297">
                  <c:v>40339</c:v>
                </c:pt>
                <c:pt idx="1298">
                  <c:v>40340</c:v>
                </c:pt>
                <c:pt idx="1299">
                  <c:v>40343</c:v>
                </c:pt>
                <c:pt idx="1300">
                  <c:v>40344</c:v>
                </c:pt>
                <c:pt idx="1301">
                  <c:v>40345</c:v>
                </c:pt>
                <c:pt idx="1302">
                  <c:v>40346</c:v>
                </c:pt>
                <c:pt idx="1303">
                  <c:v>40347</c:v>
                </c:pt>
                <c:pt idx="1304">
                  <c:v>40350</c:v>
                </c:pt>
                <c:pt idx="1305">
                  <c:v>40351</c:v>
                </c:pt>
                <c:pt idx="1306">
                  <c:v>40352</c:v>
                </c:pt>
                <c:pt idx="1307">
                  <c:v>40353</c:v>
                </c:pt>
                <c:pt idx="1308">
                  <c:v>40354</c:v>
                </c:pt>
                <c:pt idx="1309">
                  <c:v>40357</c:v>
                </c:pt>
                <c:pt idx="1310">
                  <c:v>40358</c:v>
                </c:pt>
                <c:pt idx="1311">
                  <c:v>40359</c:v>
                </c:pt>
                <c:pt idx="1312">
                  <c:v>40360</c:v>
                </c:pt>
                <c:pt idx="1313">
                  <c:v>40361</c:v>
                </c:pt>
                <c:pt idx="1314">
                  <c:v>40365</c:v>
                </c:pt>
                <c:pt idx="1315">
                  <c:v>40366</c:v>
                </c:pt>
                <c:pt idx="1316">
                  <c:v>40367</c:v>
                </c:pt>
                <c:pt idx="1317">
                  <c:v>40368</c:v>
                </c:pt>
                <c:pt idx="1318">
                  <c:v>40371</c:v>
                </c:pt>
                <c:pt idx="1319">
                  <c:v>40372</c:v>
                </c:pt>
                <c:pt idx="1320">
                  <c:v>40373</c:v>
                </c:pt>
                <c:pt idx="1321">
                  <c:v>40374</c:v>
                </c:pt>
                <c:pt idx="1322">
                  <c:v>40375</c:v>
                </c:pt>
                <c:pt idx="1323">
                  <c:v>40378</c:v>
                </c:pt>
                <c:pt idx="1324">
                  <c:v>40379</c:v>
                </c:pt>
                <c:pt idx="1325">
                  <c:v>40380</c:v>
                </c:pt>
                <c:pt idx="1326">
                  <c:v>40381</c:v>
                </c:pt>
                <c:pt idx="1327">
                  <c:v>40382</c:v>
                </c:pt>
                <c:pt idx="1328">
                  <c:v>40385</c:v>
                </c:pt>
                <c:pt idx="1329">
                  <c:v>40386</c:v>
                </c:pt>
                <c:pt idx="1330">
                  <c:v>40387</c:v>
                </c:pt>
                <c:pt idx="1331">
                  <c:v>40388</c:v>
                </c:pt>
                <c:pt idx="1332">
                  <c:v>40389</c:v>
                </c:pt>
                <c:pt idx="1333">
                  <c:v>40392</c:v>
                </c:pt>
                <c:pt idx="1334">
                  <c:v>40393</c:v>
                </c:pt>
                <c:pt idx="1335">
                  <c:v>40394</c:v>
                </c:pt>
                <c:pt idx="1336">
                  <c:v>40395</c:v>
                </c:pt>
                <c:pt idx="1337">
                  <c:v>40396</c:v>
                </c:pt>
                <c:pt idx="1338">
                  <c:v>40399</c:v>
                </c:pt>
                <c:pt idx="1339">
                  <c:v>40400</c:v>
                </c:pt>
                <c:pt idx="1340">
                  <c:v>40401</c:v>
                </c:pt>
                <c:pt idx="1341">
                  <c:v>40402</c:v>
                </c:pt>
                <c:pt idx="1342">
                  <c:v>40403</c:v>
                </c:pt>
                <c:pt idx="1343">
                  <c:v>40406</c:v>
                </c:pt>
                <c:pt idx="1344">
                  <c:v>40407</c:v>
                </c:pt>
                <c:pt idx="1345">
                  <c:v>40408</c:v>
                </c:pt>
                <c:pt idx="1346">
                  <c:v>40409</c:v>
                </c:pt>
                <c:pt idx="1347">
                  <c:v>40410</c:v>
                </c:pt>
                <c:pt idx="1348">
                  <c:v>40413</c:v>
                </c:pt>
                <c:pt idx="1349">
                  <c:v>40414</c:v>
                </c:pt>
                <c:pt idx="1350">
                  <c:v>40415</c:v>
                </c:pt>
                <c:pt idx="1351">
                  <c:v>40416</c:v>
                </c:pt>
                <c:pt idx="1352">
                  <c:v>40417</c:v>
                </c:pt>
                <c:pt idx="1353">
                  <c:v>40420</c:v>
                </c:pt>
                <c:pt idx="1354">
                  <c:v>40421</c:v>
                </c:pt>
                <c:pt idx="1355">
                  <c:v>40422</c:v>
                </c:pt>
                <c:pt idx="1356">
                  <c:v>40423</c:v>
                </c:pt>
                <c:pt idx="1357">
                  <c:v>40424</c:v>
                </c:pt>
                <c:pt idx="1358">
                  <c:v>40428</c:v>
                </c:pt>
                <c:pt idx="1359">
                  <c:v>40429</c:v>
                </c:pt>
                <c:pt idx="1360">
                  <c:v>40430</c:v>
                </c:pt>
                <c:pt idx="1361">
                  <c:v>40431</c:v>
                </c:pt>
                <c:pt idx="1362">
                  <c:v>40434</c:v>
                </c:pt>
                <c:pt idx="1363">
                  <c:v>40435</c:v>
                </c:pt>
                <c:pt idx="1364">
                  <c:v>40436</c:v>
                </c:pt>
                <c:pt idx="1365">
                  <c:v>40437</c:v>
                </c:pt>
                <c:pt idx="1366">
                  <c:v>40438</c:v>
                </c:pt>
                <c:pt idx="1367">
                  <c:v>40441</c:v>
                </c:pt>
                <c:pt idx="1368">
                  <c:v>40442</c:v>
                </c:pt>
                <c:pt idx="1369">
                  <c:v>40443</c:v>
                </c:pt>
                <c:pt idx="1370">
                  <c:v>40444</c:v>
                </c:pt>
                <c:pt idx="1371">
                  <c:v>40445</c:v>
                </c:pt>
                <c:pt idx="1372">
                  <c:v>40448</c:v>
                </c:pt>
                <c:pt idx="1373">
                  <c:v>40449</c:v>
                </c:pt>
                <c:pt idx="1374">
                  <c:v>40450</c:v>
                </c:pt>
                <c:pt idx="1375">
                  <c:v>40451</c:v>
                </c:pt>
                <c:pt idx="1376">
                  <c:v>40452</c:v>
                </c:pt>
                <c:pt idx="1377">
                  <c:v>40455</c:v>
                </c:pt>
                <c:pt idx="1378">
                  <c:v>40456</c:v>
                </c:pt>
                <c:pt idx="1379">
                  <c:v>40457</c:v>
                </c:pt>
                <c:pt idx="1380">
                  <c:v>40458</c:v>
                </c:pt>
                <c:pt idx="1381">
                  <c:v>40459</c:v>
                </c:pt>
                <c:pt idx="1382">
                  <c:v>40462</c:v>
                </c:pt>
                <c:pt idx="1383">
                  <c:v>40463</c:v>
                </c:pt>
                <c:pt idx="1384">
                  <c:v>40464</c:v>
                </c:pt>
                <c:pt idx="1385">
                  <c:v>40465</c:v>
                </c:pt>
                <c:pt idx="1386">
                  <c:v>40466</c:v>
                </c:pt>
                <c:pt idx="1387">
                  <c:v>40469</c:v>
                </c:pt>
                <c:pt idx="1388">
                  <c:v>40470</c:v>
                </c:pt>
                <c:pt idx="1389">
                  <c:v>40471</c:v>
                </c:pt>
                <c:pt idx="1390">
                  <c:v>40472</c:v>
                </c:pt>
                <c:pt idx="1391">
                  <c:v>40473</c:v>
                </c:pt>
                <c:pt idx="1392">
                  <c:v>40476</c:v>
                </c:pt>
                <c:pt idx="1393">
                  <c:v>40477</c:v>
                </c:pt>
                <c:pt idx="1394">
                  <c:v>40478</c:v>
                </c:pt>
                <c:pt idx="1395">
                  <c:v>40479</c:v>
                </c:pt>
                <c:pt idx="1396">
                  <c:v>40480</c:v>
                </c:pt>
                <c:pt idx="1397">
                  <c:v>40483</c:v>
                </c:pt>
                <c:pt idx="1398">
                  <c:v>40484</c:v>
                </c:pt>
                <c:pt idx="1399">
                  <c:v>40485</c:v>
                </c:pt>
                <c:pt idx="1400">
                  <c:v>40486</c:v>
                </c:pt>
                <c:pt idx="1401">
                  <c:v>40487</c:v>
                </c:pt>
                <c:pt idx="1402">
                  <c:v>40490</c:v>
                </c:pt>
                <c:pt idx="1403">
                  <c:v>40491</c:v>
                </c:pt>
                <c:pt idx="1404">
                  <c:v>40492</c:v>
                </c:pt>
                <c:pt idx="1405">
                  <c:v>40493</c:v>
                </c:pt>
                <c:pt idx="1406">
                  <c:v>40494</c:v>
                </c:pt>
                <c:pt idx="1407">
                  <c:v>40497</c:v>
                </c:pt>
                <c:pt idx="1408">
                  <c:v>40498</c:v>
                </c:pt>
                <c:pt idx="1409">
                  <c:v>40499</c:v>
                </c:pt>
                <c:pt idx="1410">
                  <c:v>40500</c:v>
                </c:pt>
                <c:pt idx="1411">
                  <c:v>40501</c:v>
                </c:pt>
                <c:pt idx="1412">
                  <c:v>40504</c:v>
                </c:pt>
                <c:pt idx="1413">
                  <c:v>40505</c:v>
                </c:pt>
                <c:pt idx="1414">
                  <c:v>40506</c:v>
                </c:pt>
                <c:pt idx="1415">
                  <c:v>40508</c:v>
                </c:pt>
                <c:pt idx="1416">
                  <c:v>40511</c:v>
                </c:pt>
                <c:pt idx="1417">
                  <c:v>40512</c:v>
                </c:pt>
                <c:pt idx="1418">
                  <c:v>40513</c:v>
                </c:pt>
                <c:pt idx="1419">
                  <c:v>40514</c:v>
                </c:pt>
                <c:pt idx="1420">
                  <c:v>40515</c:v>
                </c:pt>
                <c:pt idx="1421">
                  <c:v>40518</c:v>
                </c:pt>
                <c:pt idx="1422">
                  <c:v>40519</c:v>
                </c:pt>
                <c:pt idx="1423">
                  <c:v>40520</c:v>
                </c:pt>
                <c:pt idx="1424">
                  <c:v>40521</c:v>
                </c:pt>
                <c:pt idx="1425">
                  <c:v>40522</c:v>
                </c:pt>
                <c:pt idx="1426">
                  <c:v>40525</c:v>
                </c:pt>
                <c:pt idx="1427">
                  <c:v>40526</c:v>
                </c:pt>
                <c:pt idx="1428">
                  <c:v>40527</c:v>
                </c:pt>
                <c:pt idx="1429">
                  <c:v>40528</c:v>
                </c:pt>
                <c:pt idx="1430">
                  <c:v>40529</c:v>
                </c:pt>
                <c:pt idx="1431">
                  <c:v>40532</c:v>
                </c:pt>
                <c:pt idx="1432">
                  <c:v>40533</c:v>
                </c:pt>
                <c:pt idx="1433">
                  <c:v>40534</c:v>
                </c:pt>
                <c:pt idx="1434">
                  <c:v>40535</c:v>
                </c:pt>
                <c:pt idx="1435">
                  <c:v>40539</c:v>
                </c:pt>
                <c:pt idx="1436">
                  <c:v>40540</c:v>
                </c:pt>
                <c:pt idx="1437">
                  <c:v>40541</c:v>
                </c:pt>
                <c:pt idx="1438">
                  <c:v>40542</c:v>
                </c:pt>
                <c:pt idx="1439">
                  <c:v>40543</c:v>
                </c:pt>
                <c:pt idx="1440">
                  <c:v>40546</c:v>
                </c:pt>
                <c:pt idx="1441">
                  <c:v>40547</c:v>
                </c:pt>
                <c:pt idx="1442">
                  <c:v>40548</c:v>
                </c:pt>
                <c:pt idx="1443">
                  <c:v>40549</c:v>
                </c:pt>
                <c:pt idx="1444">
                  <c:v>40550</c:v>
                </c:pt>
                <c:pt idx="1445">
                  <c:v>40553</c:v>
                </c:pt>
                <c:pt idx="1446">
                  <c:v>40554</c:v>
                </c:pt>
                <c:pt idx="1447">
                  <c:v>40555</c:v>
                </c:pt>
                <c:pt idx="1448">
                  <c:v>40556</c:v>
                </c:pt>
                <c:pt idx="1449">
                  <c:v>40557</c:v>
                </c:pt>
                <c:pt idx="1450">
                  <c:v>40561</c:v>
                </c:pt>
                <c:pt idx="1451">
                  <c:v>40562</c:v>
                </c:pt>
                <c:pt idx="1452">
                  <c:v>40563</c:v>
                </c:pt>
                <c:pt idx="1453">
                  <c:v>40564</c:v>
                </c:pt>
                <c:pt idx="1454">
                  <c:v>40567</c:v>
                </c:pt>
                <c:pt idx="1455">
                  <c:v>40568</c:v>
                </c:pt>
                <c:pt idx="1456">
                  <c:v>40569</c:v>
                </c:pt>
                <c:pt idx="1457">
                  <c:v>40570</c:v>
                </c:pt>
                <c:pt idx="1458">
                  <c:v>40571</c:v>
                </c:pt>
                <c:pt idx="1459">
                  <c:v>40574</c:v>
                </c:pt>
                <c:pt idx="1460">
                  <c:v>40575</c:v>
                </c:pt>
                <c:pt idx="1461">
                  <c:v>40576</c:v>
                </c:pt>
                <c:pt idx="1462">
                  <c:v>40577</c:v>
                </c:pt>
                <c:pt idx="1463">
                  <c:v>40578</c:v>
                </c:pt>
                <c:pt idx="1464">
                  <c:v>40581</c:v>
                </c:pt>
                <c:pt idx="1465">
                  <c:v>40582</c:v>
                </c:pt>
                <c:pt idx="1466">
                  <c:v>40583</c:v>
                </c:pt>
                <c:pt idx="1467">
                  <c:v>40584</c:v>
                </c:pt>
                <c:pt idx="1468">
                  <c:v>40585</c:v>
                </c:pt>
                <c:pt idx="1469">
                  <c:v>40588</c:v>
                </c:pt>
                <c:pt idx="1470">
                  <c:v>40589</c:v>
                </c:pt>
                <c:pt idx="1471">
                  <c:v>40590</c:v>
                </c:pt>
                <c:pt idx="1472">
                  <c:v>40591</c:v>
                </c:pt>
                <c:pt idx="1473">
                  <c:v>40592</c:v>
                </c:pt>
                <c:pt idx="1474">
                  <c:v>40596</c:v>
                </c:pt>
                <c:pt idx="1475">
                  <c:v>40597</c:v>
                </c:pt>
                <c:pt idx="1476">
                  <c:v>40598</c:v>
                </c:pt>
                <c:pt idx="1477">
                  <c:v>40599</c:v>
                </c:pt>
                <c:pt idx="1478">
                  <c:v>40602</c:v>
                </c:pt>
                <c:pt idx="1479">
                  <c:v>40603</c:v>
                </c:pt>
                <c:pt idx="1480">
                  <c:v>40604</c:v>
                </c:pt>
                <c:pt idx="1481">
                  <c:v>40605</c:v>
                </c:pt>
                <c:pt idx="1482">
                  <c:v>40606</c:v>
                </c:pt>
                <c:pt idx="1483">
                  <c:v>40609</c:v>
                </c:pt>
                <c:pt idx="1484">
                  <c:v>40610</c:v>
                </c:pt>
                <c:pt idx="1485">
                  <c:v>40611</c:v>
                </c:pt>
                <c:pt idx="1486">
                  <c:v>40612</c:v>
                </c:pt>
                <c:pt idx="1487">
                  <c:v>40613</c:v>
                </c:pt>
                <c:pt idx="1488">
                  <c:v>40616</c:v>
                </c:pt>
                <c:pt idx="1489">
                  <c:v>40617</c:v>
                </c:pt>
                <c:pt idx="1490">
                  <c:v>40618</c:v>
                </c:pt>
                <c:pt idx="1491">
                  <c:v>40619</c:v>
                </c:pt>
                <c:pt idx="1492">
                  <c:v>40620</c:v>
                </c:pt>
                <c:pt idx="1493">
                  <c:v>40623</c:v>
                </c:pt>
                <c:pt idx="1494">
                  <c:v>40624</c:v>
                </c:pt>
                <c:pt idx="1495">
                  <c:v>40625</c:v>
                </c:pt>
                <c:pt idx="1496">
                  <c:v>40626</c:v>
                </c:pt>
                <c:pt idx="1497">
                  <c:v>40627</c:v>
                </c:pt>
                <c:pt idx="1498">
                  <c:v>40630</c:v>
                </c:pt>
                <c:pt idx="1499">
                  <c:v>40631</c:v>
                </c:pt>
                <c:pt idx="1500">
                  <c:v>40632</c:v>
                </c:pt>
                <c:pt idx="1501">
                  <c:v>40633</c:v>
                </c:pt>
                <c:pt idx="1502">
                  <c:v>40634</c:v>
                </c:pt>
                <c:pt idx="1503">
                  <c:v>40637</c:v>
                </c:pt>
                <c:pt idx="1504">
                  <c:v>40638</c:v>
                </c:pt>
                <c:pt idx="1505">
                  <c:v>40639</c:v>
                </c:pt>
                <c:pt idx="1506">
                  <c:v>40640</c:v>
                </c:pt>
                <c:pt idx="1507">
                  <c:v>40641</c:v>
                </c:pt>
                <c:pt idx="1508">
                  <c:v>40644</c:v>
                </c:pt>
                <c:pt idx="1509">
                  <c:v>40645</c:v>
                </c:pt>
                <c:pt idx="1510">
                  <c:v>40646</c:v>
                </c:pt>
                <c:pt idx="1511">
                  <c:v>40647</c:v>
                </c:pt>
                <c:pt idx="1512">
                  <c:v>40648</c:v>
                </c:pt>
                <c:pt idx="1513">
                  <c:v>40651</c:v>
                </c:pt>
                <c:pt idx="1514">
                  <c:v>40652</c:v>
                </c:pt>
                <c:pt idx="1515">
                  <c:v>40653</c:v>
                </c:pt>
                <c:pt idx="1516">
                  <c:v>40654</c:v>
                </c:pt>
                <c:pt idx="1517">
                  <c:v>40658</c:v>
                </c:pt>
                <c:pt idx="1518">
                  <c:v>40659</c:v>
                </c:pt>
                <c:pt idx="1519">
                  <c:v>40660</c:v>
                </c:pt>
                <c:pt idx="1520">
                  <c:v>40661</c:v>
                </c:pt>
                <c:pt idx="1521">
                  <c:v>40662</c:v>
                </c:pt>
                <c:pt idx="1522">
                  <c:v>40665</c:v>
                </c:pt>
                <c:pt idx="1523">
                  <c:v>40666</c:v>
                </c:pt>
                <c:pt idx="1524">
                  <c:v>40667</c:v>
                </c:pt>
                <c:pt idx="1525">
                  <c:v>40668</c:v>
                </c:pt>
                <c:pt idx="1526">
                  <c:v>40669</c:v>
                </c:pt>
                <c:pt idx="1527">
                  <c:v>40672</c:v>
                </c:pt>
                <c:pt idx="1528">
                  <c:v>40673</c:v>
                </c:pt>
                <c:pt idx="1529">
                  <c:v>40674</c:v>
                </c:pt>
                <c:pt idx="1530">
                  <c:v>40675</c:v>
                </c:pt>
                <c:pt idx="1531">
                  <c:v>40676</c:v>
                </c:pt>
                <c:pt idx="1532">
                  <c:v>40679</c:v>
                </c:pt>
                <c:pt idx="1533">
                  <c:v>40680</c:v>
                </c:pt>
                <c:pt idx="1534">
                  <c:v>40681</c:v>
                </c:pt>
                <c:pt idx="1535">
                  <c:v>40682</c:v>
                </c:pt>
                <c:pt idx="1536">
                  <c:v>40683</c:v>
                </c:pt>
                <c:pt idx="1537">
                  <c:v>40686</c:v>
                </c:pt>
                <c:pt idx="1538">
                  <c:v>40687</c:v>
                </c:pt>
                <c:pt idx="1539">
                  <c:v>40688</c:v>
                </c:pt>
                <c:pt idx="1540">
                  <c:v>40689</c:v>
                </c:pt>
                <c:pt idx="1541">
                  <c:v>40690</c:v>
                </c:pt>
                <c:pt idx="1542">
                  <c:v>40694</c:v>
                </c:pt>
                <c:pt idx="1543">
                  <c:v>40695</c:v>
                </c:pt>
                <c:pt idx="1544">
                  <c:v>40696</c:v>
                </c:pt>
                <c:pt idx="1545">
                  <c:v>40697</c:v>
                </c:pt>
                <c:pt idx="1546">
                  <c:v>40700</c:v>
                </c:pt>
                <c:pt idx="1547">
                  <c:v>40701</c:v>
                </c:pt>
                <c:pt idx="1548">
                  <c:v>40702</c:v>
                </c:pt>
                <c:pt idx="1549">
                  <c:v>40703</c:v>
                </c:pt>
                <c:pt idx="1550">
                  <c:v>40704</c:v>
                </c:pt>
                <c:pt idx="1551">
                  <c:v>40707</c:v>
                </c:pt>
                <c:pt idx="1552">
                  <c:v>40708</c:v>
                </c:pt>
                <c:pt idx="1553">
                  <c:v>40709</c:v>
                </c:pt>
                <c:pt idx="1554">
                  <c:v>40710</c:v>
                </c:pt>
                <c:pt idx="1555">
                  <c:v>40711</c:v>
                </c:pt>
                <c:pt idx="1556">
                  <c:v>40714</c:v>
                </c:pt>
                <c:pt idx="1557">
                  <c:v>40715</c:v>
                </c:pt>
                <c:pt idx="1558">
                  <c:v>40716</c:v>
                </c:pt>
                <c:pt idx="1559">
                  <c:v>40717</c:v>
                </c:pt>
                <c:pt idx="1560">
                  <c:v>40718</c:v>
                </c:pt>
                <c:pt idx="1561">
                  <c:v>40721</c:v>
                </c:pt>
                <c:pt idx="1562">
                  <c:v>40722</c:v>
                </c:pt>
                <c:pt idx="1563">
                  <c:v>40723</c:v>
                </c:pt>
                <c:pt idx="1564">
                  <c:v>40724</c:v>
                </c:pt>
                <c:pt idx="1565">
                  <c:v>40725</c:v>
                </c:pt>
                <c:pt idx="1566">
                  <c:v>40729</c:v>
                </c:pt>
                <c:pt idx="1567">
                  <c:v>40730</c:v>
                </c:pt>
                <c:pt idx="1568">
                  <c:v>40731</c:v>
                </c:pt>
                <c:pt idx="1569">
                  <c:v>40732</c:v>
                </c:pt>
                <c:pt idx="1570">
                  <c:v>40735</c:v>
                </c:pt>
                <c:pt idx="1571">
                  <c:v>40736</c:v>
                </c:pt>
                <c:pt idx="1572">
                  <c:v>40737</c:v>
                </c:pt>
                <c:pt idx="1573">
                  <c:v>40738</c:v>
                </c:pt>
                <c:pt idx="1574">
                  <c:v>40739</c:v>
                </c:pt>
                <c:pt idx="1575">
                  <c:v>40742</c:v>
                </c:pt>
                <c:pt idx="1576">
                  <c:v>40743</c:v>
                </c:pt>
                <c:pt idx="1577">
                  <c:v>40744</c:v>
                </c:pt>
                <c:pt idx="1578">
                  <c:v>40745</c:v>
                </c:pt>
                <c:pt idx="1579">
                  <c:v>40746</c:v>
                </c:pt>
                <c:pt idx="1580">
                  <c:v>40749</c:v>
                </c:pt>
                <c:pt idx="1581">
                  <c:v>40750</c:v>
                </c:pt>
                <c:pt idx="1582">
                  <c:v>40751</c:v>
                </c:pt>
                <c:pt idx="1583">
                  <c:v>40752</c:v>
                </c:pt>
                <c:pt idx="1584">
                  <c:v>40753</c:v>
                </c:pt>
                <c:pt idx="1585">
                  <c:v>40756</c:v>
                </c:pt>
                <c:pt idx="1586">
                  <c:v>40757</c:v>
                </c:pt>
                <c:pt idx="1587">
                  <c:v>40758</c:v>
                </c:pt>
                <c:pt idx="1588">
                  <c:v>40759</c:v>
                </c:pt>
                <c:pt idx="1589">
                  <c:v>40760</c:v>
                </c:pt>
                <c:pt idx="1590">
                  <c:v>40763</c:v>
                </c:pt>
                <c:pt idx="1591">
                  <c:v>40764</c:v>
                </c:pt>
                <c:pt idx="1592">
                  <c:v>40765</c:v>
                </c:pt>
                <c:pt idx="1593">
                  <c:v>40766</c:v>
                </c:pt>
                <c:pt idx="1594">
                  <c:v>40767</c:v>
                </c:pt>
                <c:pt idx="1595">
                  <c:v>40770</c:v>
                </c:pt>
                <c:pt idx="1596">
                  <c:v>40771</c:v>
                </c:pt>
                <c:pt idx="1597">
                  <c:v>40772</c:v>
                </c:pt>
                <c:pt idx="1598">
                  <c:v>40773</c:v>
                </c:pt>
                <c:pt idx="1599">
                  <c:v>40774</c:v>
                </c:pt>
                <c:pt idx="1600">
                  <c:v>40777</c:v>
                </c:pt>
                <c:pt idx="1601">
                  <c:v>40778</c:v>
                </c:pt>
                <c:pt idx="1602">
                  <c:v>40779</c:v>
                </c:pt>
                <c:pt idx="1603">
                  <c:v>40780</c:v>
                </c:pt>
                <c:pt idx="1604">
                  <c:v>40781</c:v>
                </c:pt>
                <c:pt idx="1605">
                  <c:v>40784</c:v>
                </c:pt>
                <c:pt idx="1606">
                  <c:v>40785</c:v>
                </c:pt>
                <c:pt idx="1607">
                  <c:v>40786</c:v>
                </c:pt>
                <c:pt idx="1608">
                  <c:v>40787</c:v>
                </c:pt>
                <c:pt idx="1609">
                  <c:v>40788</c:v>
                </c:pt>
                <c:pt idx="1610">
                  <c:v>40792</c:v>
                </c:pt>
                <c:pt idx="1611">
                  <c:v>40793</c:v>
                </c:pt>
                <c:pt idx="1612">
                  <c:v>40794</c:v>
                </c:pt>
                <c:pt idx="1613">
                  <c:v>40795</c:v>
                </c:pt>
                <c:pt idx="1614">
                  <c:v>40798</c:v>
                </c:pt>
                <c:pt idx="1615">
                  <c:v>40799</c:v>
                </c:pt>
                <c:pt idx="1616">
                  <c:v>40800</c:v>
                </c:pt>
                <c:pt idx="1617">
                  <c:v>40801</c:v>
                </c:pt>
                <c:pt idx="1618">
                  <c:v>40802</c:v>
                </c:pt>
                <c:pt idx="1619">
                  <c:v>40805</c:v>
                </c:pt>
                <c:pt idx="1620">
                  <c:v>40806</c:v>
                </c:pt>
                <c:pt idx="1621">
                  <c:v>40807</c:v>
                </c:pt>
                <c:pt idx="1622">
                  <c:v>40808</c:v>
                </c:pt>
                <c:pt idx="1623">
                  <c:v>40809</c:v>
                </c:pt>
                <c:pt idx="1624">
                  <c:v>40812</c:v>
                </c:pt>
                <c:pt idx="1625">
                  <c:v>40813</c:v>
                </c:pt>
                <c:pt idx="1626">
                  <c:v>40814</c:v>
                </c:pt>
                <c:pt idx="1627">
                  <c:v>40815</c:v>
                </c:pt>
                <c:pt idx="1628">
                  <c:v>40816</c:v>
                </c:pt>
                <c:pt idx="1629">
                  <c:v>40819</c:v>
                </c:pt>
                <c:pt idx="1630">
                  <c:v>40820</c:v>
                </c:pt>
                <c:pt idx="1631">
                  <c:v>40821</c:v>
                </c:pt>
                <c:pt idx="1632">
                  <c:v>40822</c:v>
                </c:pt>
                <c:pt idx="1633">
                  <c:v>40823</c:v>
                </c:pt>
                <c:pt idx="1634">
                  <c:v>40826</c:v>
                </c:pt>
                <c:pt idx="1635">
                  <c:v>40827</c:v>
                </c:pt>
                <c:pt idx="1636">
                  <c:v>40828</c:v>
                </c:pt>
                <c:pt idx="1637">
                  <c:v>40829</c:v>
                </c:pt>
                <c:pt idx="1638">
                  <c:v>40830</c:v>
                </c:pt>
                <c:pt idx="1639">
                  <c:v>40833</c:v>
                </c:pt>
                <c:pt idx="1640">
                  <c:v>40834</c:v>
                </c:pt>
                <c:pt idx="1641">
                  <c:v>40835</c:v>
                </c:pt>
                <c:pt idx="1642">
                  <c:v>40836</c:v>
                </c:pt>
                <c:pt idx="1643">
                  <c:v>40837</c:v>
                </c:pt>
                <c:pt idx="1644">
                  <c:v>40840</c:v>
                </c:pt>
                <c:pt idx="1645">
                  <c:v>40841</c:v>
                </c:pt>
                <c:pt idx="1646">
                  <c:v>40842</c:v>
                </c:pt>
                <c:pt idx="1647">
                  <c:v>40843</c:v>
                </c:pt>
                <c:pt idx="1648">
                  <c:v>40844</c:v>
                </c:pt>
                <c:pt idx="1649">
                  <c:v>40847</c:v>
                </c:pt>
                <c:pt idx="1650">
                  <c:v>40848</c:v>
                </c:pt>
                <c:pt idx="1651">
                  <c:v>40849</c:v>
                </c:pt>
                <c:pt idx="1652">
                  <c:v>40850</c:v>
                </c:pt>
                <c:pt idx="1653">
                  <c:v>40851</c:v>
                </c:pt>
                <c:pt idx="1654">
                  <c:v>40854</c:v>
                </c:pt>
                <c:pt idx="1655">
                  <c:v>40855</c:v>
                </c:pt>
                <c:pt idx="1656">
                  <c:v>40856</c:v>
                </c:pt>
                <c:pt idx="1657">
                  <c:v>40857</c:v>
                </c:pt>
                <c:pt idx="1658">
                  <c:v>40858</c:v>
                </c:pt>
                <c:pt idx="1659">
                  <c:v>40861</c:v>
                </c:pt>
                <c:pt idx="1660">
                  <c:v>40862</c:v>
                </c:pt>
                <c:pt idx="1661">
                  <c:v>40863</c:v>
                </c:pt>
                <c:pt idx="1662">
                  <c:v>40864</c:v>
                </c:pt>
                <c:pt idx="1663">
                  <c:v>40865</c:v>
                </c:pt>
                <c:pt idx="1664">
                  <c:v>40868</c:v>
                </c:pt>
                <c:pt idx="1665">
                  <c:v>40869</c:v>
                </c:pt>
                <c:pt idx="1666">
                  <c:v>40870</c:v>
                </c:pt>
                <c:pt idx="1667">
                  <c:v>40872</c:v>
                </c:pt>
                <c:pt idx="1668">
                  <c:v>40875</c:v>
                </c:pt>
                <c:pt idx="1669">
                  <c:v>40876</c:v>
                </c:pt>
                <c:pt idx="1670">
                  <c:v>40877</c:v>
                </c:pt>
                <c:pt idx="1671">
                  <c:v>40878</c:v>
                </c:pt>
                <c:pt idx="1672">
                  <c:v>40879</c:v>
                </c:pt>
                <c:pt idx="1673">
                  <c:v>40882</c:v>
                </c:pt>
                <c:pt idx="1674">
                  <c:v>40883</c:v>
                </c:pt>
                <c:pt idx="1675">
                  <c:v>40884</c:v>
                </c:pt>
                <c:pt idx="1676">
                  <c:v>40885</c:v>
                </c:pt>
                <c:pt idx="1677">
                  <c:v>40886</c:v>
                </c:pt>
                <c:pt idx="1678">
                  <c:v>40889</c:v>
                </c:pt>
                <c:pt idx="1679">
                  <c:v>40890</c:v>
                </c:pt>
                <c:pt idx="1680">
                  <c:v>40891</c:v>
                </c:pt>
                <c:pt idx="1681">
                  <c:v>40892</c:v>
                </c:pt>
                <c:pt idx="1682">
                  <c:v>40893</c:v>
                </c:pt>
                <c:pt idx="1683">
                  <c:v>40896</c:v>
                </c:pt>
                <c:pt idx="1684">
                  <c:v>40897</c:v>
                </c:pt>
                <c:pt idx="1685">
                  <c:v>40898</c:v>
                </c:pt>
                <c:pt idx="1686">
                  <c:v>40899</c:v>
                </c:pt>
                <c:pt idx="1687">
                  <c:v>40900</c:v>
                </c:pt>
                <c:pt idx="1688">
                  <c:v>40904</c:v>
                </c:pt>
                <c:pt idx="1689">
                  <c:v>40905</c:v>
                </c:pt>
                <c:pt idx="1690">
                  <c:v>40906</c:v>
                </c:pt>
                <c:pt idx="1691">
                  <c:v>40907</c:v>
                </c:pt>
                <c:pt idx="1692">
                  <c:v>40911</c:v>
                </c:pt>
                <c:pt idx="1693">
                  <c:v>40912</c:v>
                </c:pt>
                <c:pt idx="1694">
                  <c:v>40913</c:v>
                </c:pt>
                <c:pt idx="1695">
                  <c:v>40914</c:v>
                </c:pt>
                <c:pt idx="1696">
                  <c:v>40917</c:v>
                </c:pt>
                <c:pt idx="1697">
                  <c:v>40918</c:v>
                </c:pt>
                <c:pt idx="1698">
                  <c:v>40919</c:v>
                </c:pt>
                <c:pt idx="1699">
                  <c:v>40920</c:v>
                </c:pt>
                <c:pt idx="1700">
                  <c:v>40921</c:v>
                </c:pt>
                <c:pt idx="1701">
                  <c:v>40925</c:v>
                </c:pt>
                <c:pt idx="1702">
                  <c:v>40926</c:v>
                </c:pt>
                <c:pt idx="1703">
                  <c:v>40927</c:v>
                </c:pt>
                <c:pt idx="1704">
                  <c:v>40928</c:v>
                </c:pt>
                <c:pt idx="1705">
                  <c:v>40931</c:v>
                </c:pt>
                <c:pt idx="1706">
                  <c:v>40932</c:v>
                </c:pt>
                <c:pt idx="1707">
                  <c:v>40933</c:v>
                </c:pt>
                <c:pt idx="1708">
                  <c:v>40934</c:v>
                </c:pt>
                <c:pt idx="1709">
                  <c:v>40935</c:v>
                </c:pt>
                <c:pt idx="1710">
                  <c:v>40938</c:v>
                </c:pt>
                <c:pt idx="1711">
                  <c:v>40939</c:v>
                </c:pt>
                <c:pt idx="1712">
                  <c:v>40940</c:v>
                </c:pt>
                <c:pt idx="1713">
                  <c:v>40941</c:v>
                </c:pt>
                <c:pt idx="1714">
                  <c:v>40942</c:v>
                </c:pt>
                <c:pt idx="1715">
                  <c:v>40945</c:v>
                </c:pt>
                <c:pt idx="1716">
                  <c:v>40946</c:v>
                </c:pt>
                <c:pt idx="1717">
                  <c:v>40947</c:v>
                </c:pt>
                <c:pt idx="1718">
                  <c:v>40948</c:v>
                </c:pt>
                <c:pt idx="1719">
                  <c:v>40949</c:v>
                </c:pt>
                <c:pt idx="1720">
                  <c:v>40952</c:v>
                </c:pt>
                <c:pt idx="1721">
                  <c:v>40953</c:v>
                </c:pt>
                <c:pt idx="1722">
                  <c:v>40954</c:v>
                </c:pt>
                <c:pt idx="1723">
                  <c:v>40955</c:v>
                </c:pt>
                <c:pt idx="1724">
                  <c:v>40956</c:v>
                </c:pt>
                <c:pt idx="1725">
                  <c:v>40960</c:v>
                </c:pt>
                <c:pt idx="1726">
                  <c:v>40961</c:v>
                </c:pt>
                <c:pt idx="1727">
                  <c:v>40962</c:v>
                </c:pt>
                <c:pt idx="1728">
                  <c:v>40963</c:v>
                </c:pt>
                <c:pt idx="1729">
                  <c:v>40966</c:v>
                </c:pt>
                <c:pt idx="1730">
                  <c:v>40967</c:v>
                </c:pt>
                <c:pt idx="1731">
                  <c:v>40968</c:v>
                </c:pt>
                <c:pt idx="1732">
                  <c:v>40969</c:v>
                </c:pt>
                <c:pt idx="1733">
                  <c:v>40970</c:v>
                </c:pt>
                <c:pt idx="1734">
                  <c:v>40973</c:v>
                </c:pt>
                <c:pt idx="1735">
                  <c:v>40974</c:v>
                </c:pt>
                <c:pt idx="1736">
                  <c:v>40975</c:v>
                </c:pt>
                <c:pt idx="1737">
                  <c:v>40976</c:v>
                </c:pt>
                <c:pt idx="1738">
                  <c:v>40977</c:v>
                </c:pt>
                <c:pt idx="1739">
                  <c:v>40980</c:v>
                </c:pt>
                <c:pt idx="1740">
                  <c:v>40981</c:v>
                </c:pt>
                <c:pt idx="1741">
                  <c:v>40982</c:v>
                </c:pt>
                <c:pt idx="1742">
                  <c:v>40983</c:v>
                </c:pt>
                <c:pt idx="1743">
                  <c:v>40984</c:v>
                </c:pt>
                <c:pt idx="1744">
                  <c:v>40987</c:v>
                </c:pt>
                <c:pt idx="1745">
                  <c:v>40988</c:v>
                </c:pt>
                <c:pt idx="1746">
                  <c:v>40989</c:v>
                </c:pt>
                <c:pt idx="1747">
                  <c:v>40990</c:v>
                </c:pt>
                <c:pt idx="1748">
                  <c:v>40991</c:v>
                </c:pt>
                <c:pt idx="1749">
                  <c:v>40994</c:v>
                </c:pt>
                <c:pt idx="1750">
                  <c:v>40995</c:v>
                </c:pt>
                <c:pt idx="1751">
                  <c:v>40996</c:v>
                </c:pt>
                <c:pt idx="1752">
                  <c:v>40997</c:v>
                </c:pt>
                <c:pt idx="1753">
                  <c:v>40998</c:v>
                </c:pt>
                <c:pt idx="1754">
                  <c:v>41001</c:v>
                </c:pt>
                <c:pt idx="1755">
                  <c:v>41002</c:v>
                </c:pt>
                <c:pt idx="1756">
                  <c:v>41003</c:v>
                </c:pt>
                <c:pt idx="1757">
                  <c:v>41004</c:v>
                </c:pt>
                <c:pt idx="1758">
                  <c:v>41008</c:v>
                </c:pt>
                <c:pt idx="1759">
                  <c:v>41009</c:v>
                </c:pt>
                <c:pt idx="1760">
                  <c:v>41010</c:v>
                </c:pt>
                <c:pt idx="1761">
                  <c:v>41011</c:v>
                </c:pt>
                <c:pt idx="1762">
                  <c:v>41012</c:v>
                </c:pt>
                <c:pt idx="1763">
                  <c:v>41015</c:v>
                </c:pt>
                <c:pt idx="1764">
                  <c:v>41016</c:v>
                </c:pt>
                <c:pt idx="1765">
                  <c:v>41017</c:v>
                </c:pt>
                <c:pt idx="1766">
                  <c:v>41018</c:v>
                </c:pt>
                <c:pt idx="1767">
                  <c:v>41019</c:v>
                </c:pt>
                <c:pt idx="1768">
                  <c:v>41022</c:v>
                </c:pt>
                <c:pt idx="1769">
                  <c:v>41023</c:v>
                </c:pt>
                <c:pt idx="1770">
                  <c:v>41024</c:v>
                </c:pt>
                <c:pt idx="1771">
                  <c:v>41025</c:v>
                </c:pt>
                <c:pt idx="1772">
                  <c:v>41026</c:v>
                </c:pt>
                <c:pt idx="1773">
                  <c:v>41029</c:v>
                </c:pt>
                <c:pt idx="1774">
                  <c:v>41030</c:v>
                </c:pt>
                <c:pt idx="1775">
                  <c:v>41031</c:v>
                </c:pt>
                <c:pt idx="1776">
                  <c:v>41032</c:v>
                </c:pt>
                <c:pt idx="1777">
                  <c:v>41033</c:v>
                </c:pt>
                <c:pt idx="1778">
                  <c:v>41036</c:v>
                </c:pt>
                <c:pt idx="1779">
                  <c:v>41037</c:v>
                </c:pt>
                <c:pt idx="1780">
                  <c:v>41038</c:v>
                </c:pt>
                <c:pt idx="1781">
                  <c:v>41039</c:v>
                </c:pt>
                <c:pt idx="1782">
                  <c:v>41040</c:v>
                </c:pt>
                <c:pt idx="1783">
                  <c:v>41043</c:v>
                </c:pt>
                <c:pt idx="1784">
                  <c:v>41044</c:v>
                </c:pt>
                <c:pt idx="1785">
                  <c:v>41045</c:v>
                </c:pt>
                <c:pt idx="1786">
                  <c:v>41046</c:v>
                </c:pt>
                <c:pt idx="1787">
                  <c:v>41047</c:v>
                </c:pt>
                <c:pt idx="1788">
                  <c:v>41050</c:v>
                </c:pt>
                <c:pt idx="1789">
                  <c:v>41051</c:v>
                </c:pt>
                <c:pt idx="1790">
                  <c:v>41052</c:v>
                </c:pt>
                <c:pt idx="1791">
                  <c:v>41053</c:v>
                </c:pt>
                <c:pt idx="1792">
                  <c:v>41054</c:v>
                </c:pt>
                <c:pt idx="1793">
                  <c:v>41058</c:v>
                </c:pt>
                <c:pt idx="1794">
                  <c:v>41059</c:v>
                </c:pt>
                <c:pt idx="1795">
                  <c:v>41060</c:v>
                </c:pt>
                <c:pt idx="1796">
                  <c:v>41061</c:v>
                </c:pt>
                <c:pt idx="1797">
                  <c:v>41064</c:v>
                </c:pt>
                <c:pt idx="1798">
                  <c:v>41065</c:v>
                </c:pt>
                <c:pt idx="1799">
                  <c:v>41066</c:v>
                </c:pt>
                <c:pt idx="1800">
                  <c:v>41067</c:v>
                </c:pt>
                <c:pt idx="1801">
                  <c:v>41068</c:v>
                </c:pt>
                <c:pt idx="1802">
                  <c:v>41071</c:v>
                </c:pt>
                <c:pt idx="1803">
                  <c:v>41072</c:v>
                </c:pt>
                <c:pt idx="1804">
                  <c:v>41073</c:v>
                </c:pt>
                <c:pt idx="1805">
                  <c:v>41074</c:v>
                </c:pt>
                <c:pt idx="1806">
                  <c:v>41075</c:v>
                </c:pt>
                <c:pt idx="1807">
                  <c:v>41078</c:v>
                </c:pt>
                <c:pt idx="1808">
                  <c:v>41079</c:v>
                </c:pt>
                <c:pt idx="1809">
                  <c:v>41080</c:v>
                </c:pt>
                <c:pt idx="1810">
                  <c:v>41081</c:v>
                </c:pt>
                <c:pt idx="1811">
                  <c:v>41082</c:v>
                </c:pt>
                <c:pt idx="1812">
                  <c:v>41085</c:v>
                </c:pt>
                <c:pt idx="1813">
                  <c:v>41086</c:v>
                </c:pt>
                <c:pt idx="1814">
                  <c:v>41087</c:v>
                </c:pt>
                <c:pt idx="1815">
                  <c:v>41088</c:v>
                </c:pt>
                <c:pt idx="1816">
                  <c:v>41089</c:v>
                </c:pt>
                <c:pt idx="1817">
                  <c:v>41092</c:v>
                </c:pt>
                <c:pt idx="1818">
                  <c:v>41093</c:v>
                </c:pt>
                <c:pt idx="1819">
                  <c:v>41095</c:v>
                </c:pt>
                <c:pt idx="1820">
                  <c:v>41096</c:v>
                </c:pt>
                <c:pt idx="1821">
                  <c:v>41099</c:v>
                </c:pt>
                <c:pt idx="1822">
                  <c:v>41100</c:v>
                </c:pt>
                <c:pt idx="1823">
                  <c:v>41101</c:v>
                </c:pt>
                <c:pt idx="1824">
                  <c:v>41102</c:v>
                </c:pt>
                <c:pt idx="1825">
                  <c:v>41103</c:v>
                </c:pt>
                <c:pt idx="1826">
                  <c:v>41106</c:v>
                </c:pt>
                <c:pt idx="1827">
                  <c:v>41107</c:v>
                </c:pt>
                <c:pt idx="1828">
                  <c:v>41108</c:v>
                </c:pt>
                <c:pt idx="1829">
                  <c:v>41109</c:v>
                </c:pt>
                <c:pt idx="1830">
                  <c:v>41110</c:v>
                </c:pt>
                <c:pt idx="1831">
                  <c:v>41113</c:v>
                </c:pt>
                <c:pt idx="1832">
                  <c:v>41114</c:v>
                </c:pt>
                <c:pt idx="1833">
                  <c:v>41115</c:v>
                </c:pt>
                <c:pt idx="1834">
                  <c:v>41116</c:v>
                </c:pt>
                <c:pt idx="1835">
                  <c:v>41117</c:v>
                </c:pt>
                <c:pt idx="1836">
                  <c:v>41120</c:v>
                </c:pt>
                <c:pt idx="1837">
                  <c:v>41121</c:v>
                </c:pt>
                <c:pt idx="1838">
                  <c:v>41122</c:v>
                </c:pt>
                <c:pt idx="1839">
                  <c:v>41123</c:v>
                </c:pt>
                <c:pt idx="1840">
                  <c:v>41124</c:v>
                </c:pt>
                <c:pt idx="1841">
                  <c:v>41127</c:v>
                </c:pt>
                <c:pt idx="1842">
                  <c:v>41128</c:v>
                </c:pt>
                <c:pt idx="1843">
                  <c:v>41129</c:v>
                </c:pt>
                <c:pt idx="1844">
                  <c:v>41130</c:v>
                </c:pt>
                <c:pt idx="1845">
                  <c:v>41131</c:v>
                </c:pt>
                <c:pt idx="1846">
                  <c:v>41134</c:v>
                </c:pt>
                <c:pt idx="1847">
                  <c:v>41135</c:v>
                </c:pt>
                <c:pt idx="1848">
                  <c:v>41136</c:v>
                </c:pt>
                <c:pt idx="1849">
                  <c:v>41137</c:v>
                </c:pt>
                <c:pt idx="1850">
                  <c:v>41138</c:v>
                </c:pt>
                <c:pt idx="1851">
                  <c:v>41141</c:v>
                </c:pt>
                <c:pt idx="1852">
                  <c:v>41142</c:v>
                </c:pt>
                <c:pt idx="1853">
                  <c:v>41143</c:v>
                </c:pt>
                <c:pt idx="1854">
                  <c:v>41144</c:v>
                </c:pt>
                <c:pt idx="1855">
                  <c:v>41145</c:v>
                </c:pt>
                <c:pt idx="1856">
                  <c:v>41148</c:v>
                </c:pt>
                <c:pt idx="1857">
                  <c:v>41149</c:v>
                </c:pt>
                <c:pt idx="1858">
                  <c:v>41150</c:v>
                </c:pt>
                <c:pt idx="1859">
                  <c:v>41151</c:v>
                </c:pt>
                <c:pt idx="1860">
                  <c:v>41152</c:v>
                </c:pt>
                <c:pt idx="1861">
                  <c:v>41156</c:v>
                </c:pt>
                <c:pt idx="1862">
                  <c:v>41157</c:v>
                </c:pt>
                <c:pt idx="1863">
                  <c:v>41158</c:v>
                </c:pt>
                <c:pt idx="1864">
                  <c:v>41159</c:v>
                </c:pt>
                <c:pt idx="1865">
                  <c:v>41162</c:v>
                </c:pt>
                <c:pt idx="1866">
                  <c:v>41163</c:v>
                </c:pt>
                <c:pt idx="1867">
                  <c:v>41164</c:v>
                </c:pt>
                <c:pt idx="1868">
                  <c:v>41165</c:v>
                </c:pt>
                <c:pt idx="1869">
                  <c:v>41166</c:v>
                </c:pt>
                <c:pt idx="1870">
                  <c:v>41169</c:v>
                </c:pt>
                <c:pt idx="1871">
                  <c:v>41170</c:v>
                </c:pt>
                <c:pt idx="1872">
                  <c:v>41171</c:v>
                </c:pt>
                <c:pt idx="1873">
                  <c:v>41172</c:v>
                </c:pt>
                <c:pt idx="1874">
                  <c:v>41173</c:v>
                </c:pt>
                <c:pt idx="1875">
                  <c:v>41176</c:v>
                </c:pt>
                <c:pt idx="1876">
                  <c:v>41177</c:v>
                </c:pt>
                <c:pt idx="1877">
                  <c:v>41178</c:v>
                </c:pt>
                <c:pt idx="1878">
                  <c:v>41179</c:v>
                </c:pt>
                <c:pt idx="1879">
                  <c:v>41180</c:v>
                </c:pt>
                <c:pt idx="1880">
                  <c:v>41183</c:v>
                </c:pt>
                <c:pt idx="1881">
                  <c:v>41184</c:v>
                </c:pt>
                <c:pt idx="1882">
                  <c:v>41185</c:v>
                </c:pt>
                <c:pt idx="1883">
                  <c:v>41186</c:v>
                </c:pt>
                <c:pt idx="1884">
                  <c:v>41187</c:v>
                </c:pt>
                <c:pt idx="1885">
                  <c:v>41190</c:v>
                </c:pt>
                <c:pt idx="1886">
                  <c:v>41191</c:v>
                </c:pt>
                <c:pt idx="1887">
                  <c:v>41192</c:v>
                </c:pt>
                <c:pt idx="1888">
                  <c:v>41193</c:v>
                </c:pt>
                <c:pt idx="1889">
                  <c:v>41194</c:v>
                </c:pt>
                <c:pt idx="1890">
                  <c:v>41197</c:v>
                </c:pt>
                <c:pt idx="1891">
                  <c:v>41198</c:v>
                </c:pt>
                <c:pt idx="1892">
                  <c:v>41199</c:v>
                </c:pt>
                <c:pt idx="1893">
                  <c:v>41200</c:v>
                </c:pt>
                <c:pt idx="1894">
                  <c:v>41201</c:v>
                </c:pt>
                <c:pt idx="1895">
                  <c:v>41204</c:v>
                </c:pt>
                <c:pt idx="1896">
                  <c:v>41205</c:v>
                </c:pt>
                <c:pt idx="1897">
                  <c:v>41206</c:v>
                </c:pt>
                <c:pt idx="1898">
                  <c:v>41207</c:v>
                </c:pt>
                <c:pt idx="1899">
                  <c:v>41208</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6</c:v>
                </c:pt>
                <c:pt idx="1917">
                  <c:v>41239</c:v>
                </c:pt>
                <c:pt idx="1918">
                  <c:v>41240</c:v>
                </c:pt>
                <c:pt idx="1919">
                  <c:v>41241</c:v>
                </c:pt>
                <c:pt idx="1920">
                  <c:v>41242</c:v>
                </c:pt>
                <c:pt idx="1921">
                  <c:v>41243</c:v>
                </c:pt>
                <c:pt idx="1922">
                  <c:v>41246</c:v>
                </c:pt>
                <c:pt idx="1923">
                  <c:v>41247</c:v>
                </c:pt>
                <c:pt idx="1924">
                  <c:v>41248</c:v>
                </c:pt>
                <c:pt idx="1925">
                  <c:v>41249</c:v>
                </c:pt>
                <c:pt idx="1926">
                  <c:v>41250</c:v>
                </c:pt>
                <c:pt idx="1927">
                  <c:v>41253</c:v>
                </c:pt>
                <c:pt idx="1928">
                  <c:v>41254</c:v>
                </c:pt>
                <c:pt idx="1929">
                  <c:v>41255</c:v>
                </c:pt>
                <c:pt idx="1930">
                  <c:v>41256</c:v>
                </c:pt>
                <c:pt idx="1931">
                  <c:v>41257</c:v>
                </c:pt>
                <c:pt idx="1932">
                  <c:v>41260</c:v>
                </c:pt>
                <c:pt idx="1933">
                  <c:v>41261</c:v>
                </c:pt>
                <c:pt idx="1934">
                  <c:v>41262</c:v>
                </c:pt>
                <c:pt idx="1935">
                  <c:v>41263</c:v>
                </c:pt>
                <c:pt idx="1936">
                  <c:v>41264</c:v>
                </c:pt>
                <c:pt idx="1937">
                  <c:v>41267</c:v>
                </c:pt>
                <c:pt idx="1938">
                  <c:v>41269</c:v>
                </c:pt>
                <c:pt idx="1939">
                  <c:v>41270</c:v>
                </c:pt>
                <c:pt idx="1940">
                  <c:v>41271</c:v>
                </c:pt>
                <c:pt idx="1941">
                  <c:v>41274</c:v>
                </c:pt>
                <c:pt idx="1942">
                  <c:v>41276</c:v>
                </c:pt>
                <c:pt idx="1943">
                  <c:v>41277</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6</c:v>
                </c:pt>
                <c:pt idx="1956">
                  <c:v>41297</c:v>
                </c:pt>
                <c:pt idx="1957">
                  <c:v>41298</c:v>
                </c:pt>
                <c:pt idx="1958">
                  <c:v>41299</c:v>
                </c:pt>
                <c:pt idx="1959">
                  <c:v>41302</c:v>
                </c:pt>
                <c:pt idx="1960">
                  <c:v>41303</c:v>
                </c:pt>
                <c:pt idx="1961">
                  <c:v>41304</c:v>
                </c:pt>
                <c:pt idx="1962">
                  <c:v>41305</c:v>
                </c:pt>
                <c:pt idx="1963">
                  <c:v>41306</c:v>
                </c:pt>
                <c:pt idx="1964">
                  <c:v>41309</c:v>
                </c:pt>
                <c:pt idx="1965">
                  <c:v>41310</c:v>
                </c:pt>
                <c:pt idx="1966">
                  <c:v>41311</c:v>
                </c:pt>
                <c:pt idx="1967">
                  <c:v>41312</c:v>
                </c:pt>
                <c:pt idx="1968">
                  <c:v>41313</c:v>
                </c:pt>
                <c:pt idx="1969">
                  <c:v>41316</c:v>
                </c:pt>
                <c:pt idx="1970">
                  <c:v>41317</c:v>
                </c:pt>
                <c:pt idx="1971">
                  <c:v>41318</c:v>
                </c:pt>
                <c:pt idx="1972">
                  <c:v>41319</c:v>
                </c:pt>
                <c:pt idx="1973">
                  <c:v>41320</c:v>
                </c:pt>
                <c:pt idx="1974">
                  <c:v>41324</c:v>
                </c:pt>
                <c:pt idx="1975">
                  <c:v>41325</c:v>
                </c:pt>
                <c:pt idx="1976">
                  <c:v>41326</c:v>
                </c:pt>
                <c:pt idx="1977">
                  <c:v>41327</c:v>
                </c:pt>
                <c:pt idx="1978">
                  <c:v>41330</c:v>
                </c:pt>
                <c:pt idx="1979">
                  <c:v>41331</c:v>
                </c:pt>
                <c:pt idx="1980">
                  <c:v>41332</c:v>
                </c:pt>
                <c:pt idx="1981">
                  <c:v>41333</c:v>
                </c:pt>
                <c:pt idx="1982">
                  <c:v>41334</c:v>
                </c:pt>
                <c:pt idx="1983">
                  <c:v>41337</c:v>
                </c:pt>
                <c:pt idx="1984">
                  <c:v>41338</c:v>
                </c:pt>
                <c:pt idx="1985">
                  <c:v>41339</c:v>
                </c:pt>
                <c:pt idx="1986">
                  <c:v>41340</c:v>
                </c:pt>
                <c:pt idx="1987">
                  <c:v>41341</c:v>
                </c:pt>
                <c:pt idx="1988">
                  <c:v>41344</c:v>
                </c:pt>
                <c:pt idx="1989">
                  <c:v>41345</c:v>
                </c:pt>
                <c:pt idx="1990">
                  <c:v>41346</c:v>
                </c:pt>
                <c:pt idx="1991">
                  <c:v>41347</c:v>
                </c:pt>
                <c:pt idx="1992">
                  <c:v>41348</c:v>
                </c:pt>
                <c:pt idx="1993">
                  <c:v>41351</c:v>
                </c:pt>
                <c:pt idx="1994">
                  <c:v>41352</c:v>
                </c:pt>
                <c:pt idx="1995">
                  <c:v>41353</c:v>
                </c:pt>
                <c:pt idx="1996">
                  <c:v>41354</c:v>
                </c:pt>
                <c:pt idx="1997">
                  <c:v>41355</c:v>
                </c:pt>
                <c:pt idx="1998">
                  <c:v>41358</c:v>
                </c:pt>
                <c:pt idx="1999">
                  <c:v>41359</c:v>
                </c:pt>
                <c:pt idx="2000">
                  <c:v>41360</c:v>
                </c:pt>
                <c:pt idx="2001">
                  <c:v>41361</c:v>
                </c:pt>
                <c:pt idx="2002">
                  <c:v>41365</c:v>
                </c:pt>
                <c:pt idx="2003">
                  <c:v>41366</c:v>
                </c:pt>
                <c:pt idx="2004">
                  <c:v>41367</c:v>
                </c:pt>
                <c:pt idx="2005">
                  <c:v>41368</c:v>
                </c:pt>
                <c:pt idx="2006">
                  <c:v>41369</c:v>
                </c:pt>
                <c:pt idx="2007">
                  <c:v>41372</c:v>
                </c:pt>
                <c:pt idx="2008">
                  <c:v>41373</c:v>
                </c:pt>
                <c:pt idx="2009">
                  <c:v>41374</c:v>
                </c:pt>
                <c:pt idx="2010">
                  <c:v>41375</c:v>
                </c:pt>
                <c:pt idx="2011">
                  <c:v>41376</c:v>
                </c:pt>
                <c:pt idx="2012">
                  <c:v>41379</c:v>
                </c:pt>
                <c:pt idx="2013">
                  <c:v>41380</c:v>
                </c:pt>
                <c:pt idx="2014">
                  <c:v>41381</c:v>
                </c:pt>
                <c:pt idx="2015">
                  <c:v>41382</c:v>
                </c:pt>
                <c:pt idx="2016">
                  <c:v>41383</c:v>
                </c:pt>
                <c:pt idx="2017">
                  <c:v>41386</c:v>
                </c:pt>
                <c:pt idx="2018">
                  <c:v>41387</c:v>
                </c:pt>
                <c:pt idx="2019">
                  <c:v>41388</c:v>
                </c:pt>
                <c:pt idx="2020">
                  <c:v>41389</c:v>
                </c:pt>
                <c:pt idx="2021">
                  <c:v>41390</c:v>
                </c:pt>
                <c:pt idx="2022">
                  <c:v>41393</c:v>
                </c:pt>
                <c:pt idx="2023">
                  <c:v>41394</c:v>
                </c:pt>
                <c:pt idx="2024">
                  <c:v>41395</c:v>
                </c:pt>
                <c:pt idx="2025">
                  <c:v>41396</c:v>
                </c:pt>
                <c:pt idx="2026">
                  <c:v>41397</c:v>
                </c:pt>
                <c:pt idx="2027">
                  <c:v>41400</c:v>
                </c:pt>
                <c:pt idx="2028">
                  <c:v>41401</c:v>
                </c:pt>
                <c:pt idx="2029">
                  <c:v>41402</c:v>
                </c:pt>
                <c:pt idx="2030">
                  <c:v>41403</c:v>
                </c:pt>
                <c:pt idx="2031">
                  <c:v>41404</c:v>
                </c:pt>
                <c:pt idx="2032">
                  <c:v>41407</c:v>
                </c:pt>
                <c:pt idx="2033">
                  <c:v>41408</c:v>
                </c:pt>
                <c:pt idx="2034">
                  <c:v>41409</c:v>
                </c:pt>
                <c:pt idx="2035">
                  <c:v>41410</c:v>
                </c:pt>
                <c:pt idx="2036">
                  <c:v>41411</c:v>
                </c:pt>
                <c:pt idx="2037">
                  <c:v>41414</c:v>
                </c:pt>
                <c:pt idx="2038">
                  <c:v>41415</c:v>
                </c:pt>
                <c:pt idx="2039">
                  <c:v>41416</c:v>
                </c:pt>
                <c:pt idx="2040">
                  <c:v>41417</c:v>
                </c:pt>
                <c:pt idx="2041">
                  <c:v>41418</c:v>
                </c:pt>
                <c:pt idx="2042">
                  <c:v>41422</c:v>
                </c:pt>
                <c:pt idx="2043">
                  <c:v>41423</c:v>
                </c:pt>
                <c:pt idx="2044">
                  <c:v>41424</c:v>
                </c:pt>
                <c:pt idx="2045">
                  <c:v>41425</c:v>
                </c:pt>
                <c:pt idx="2046">
                  <c:v>41428</c:v>
                </c:pt>
                <c:pt idx="2047">
                  <c:v>41429</c:v>
                </c:pt>
                <c:pt idx="2048">
                  <c:v>41430</c:v>
                </c:pt>
                <c:pt idx="2049">
                  <c:v>41431</c:v>
                </c:pt>
                <c:pt idx="2050">
                  <c:v>41432</c:v>
                </c:pt>
                <c:pt idx="2051">
                  <c:v>41435</c:v>
                </c:pt>
                <c:pt idx="2052">
                  <c:v>41436</c:v>
                </c:pt>
                <c:pt idx="2053">
                  <c:v>41437</c:v>
                </c:pt>
                <c:pt idx="2054">
                  <c:v>41438</c:v>
                </c:pt>
                <c:pt idx="2055">
                  <c:v>41439</c:v>
                </c:pt>
                <c:pt idx="2056">
                  <c:v>41442</c:v>
                </c:pt>
                <c:pt idx="2057">
                  <c:v>41443</c:v>
                </c:pt>
                <c:pt idx="2058">
                  <c:v>41444</c:v>
                </c:pt>
                <c:pt idx="2059">
                  <c:v>41445</c:v>
                </c:pt>
                <c:pt idx="2060">
                  <c:v>41446</c:v>
                </c:pt>
                <c:pt idx="2061">
                  <c:v>41449</c:v>
                </c:pt>
                <c:pt idx="2062">
                  <c:v>41450</c:v>
                </c:pt>
                <c:pt idx="2063">
                  <c:v>41451</c:v>
                </c:pt>
                <c:pt idx="2064">
                  <c:v>41452</c:v>
                </c:pt>
                <c:pt idx="2065">
                  <c:v>41453</c:v>
                </c:pt>
                <c:pt idx="2066">
                  <c:v>41456</c:v>
                </c:pt>
                <c:pt idx="2067">
                  <c:v>41457</c:v>
                </c:pt>
                <c:pt idx="2068">
                  <c:v>41458</c:v>
                </c:pt>
                <c:pt idx="2069">
                  <c:v>41460</c:v>
                </c:pt>
                <c:pt idx="2070">
                  <c:v>41463</c:v>
                </c:pt>
                <c:pt idx="2071">
                  <c:v>41464</c:v>
                </c:pt>
                <c:pt idx="2072">
                  <c:v>41465</c:v>
                </c:pt>
                <c:pt idx="2073">
                  <c:v>41466</c:v>
                </c:pt>
                <c:pt idx="2074">
                  <c:v>41467</c:v>
                </c:pt>
                <c:pt idx="2075">
                  <c:v>41470</c:v>
                </c:pt>
                <c:pt idx="2076">
                  <c:v>41471</c:v>
                </c:pt>
                <c:pt idx="2077">
                  <c:v>41472</c:v>
                </c:pt>
                <c:pt idx="2078">
                  <c:v>41473</c:v>
                </c:pt>
                <c:pt idx="2079">
                  <c:v>41474</c:v>
                </c:pt>
                <c:pt idx="2080">
                  <c:v>41477</c:v>
                </c:pt>
                <c:pt idx="2081">
                  <c:v>41478</c:v>
                </c:pt>
                <c:pt idx="2082">
                  <c:v>41479</c:v>
                </c:pt>
                <c:pt idx="2083">
                  <c:v>41480</c:v>
                </c:pt>
                <c:pt idx="2084">
                  <c:v>41481</c:v>
                </c:pt>
                <c:pt idx="2085">
                  <c:v>41484</c:v>
                </c:pt>
                <c:pt idx="2086">
                  <c:v>41485</c:v>
                </c:pt>
                <c:pt idx="2087">
                  <c:v>41486</c:v>
                </c:pt>
                <c:pt idx="2088">
                  <c:v>41487</c:v>
                </c:pt>
                <c:pt idx="2089">
                  <c:v>41488</c:v>
                </c:pt>
                <c:pt idx="2090">
                  <c:v>41491</c:v>
                </c:pt>
                <c:pt idx="2091">
                  <c:v>41492</c:v>
                </c:pt>
                <c:pt idx="2092">
                  <c:v>41493</c:v>
                </c:pt>
                <c:pt idx="2093">
                  <c:v>41494</c:v>
                </c:pt>
                <c:pt idx="2094">
                  <c:v>41495</c:v>
                </c:pt>
                <c:pt idx="2095">
                  <c:v>41498</c:v>
                </c:pt>
                <c:pt idx="2096">
                  <c:v>41499</c:v>
                </c:pt>
                <c:pt idx="2097">
                  <c:v>41500</c:v>
                </c:pt>
                <c:pt idx="2098">
                  <c:v>41501</c:v>
                </c:pt>
                <c:pt idx="2099">
                  <c:v>41502</c:v>
                </c:pt>
                <c:pt idx="2100">
                  <c:v>41505</c:v>
                </c:pt>
                <c:pt idx="2101">
                  <c:v>41506</c:v>
                </c:pt>
                <c:pt idx="2102">
                  <c:v>41507</c:v>
                </c:pt>
                <c:pt idx="2103">
                  <c:v>41508</c:v>
                </c:pt>
                <c:pt idx="2104">
                  <c:v>41509</c:v>
                </c:pt>
                <c:pt idx="2105">
                  <c:v>41512</c:v>
                </c:pt>
                <c:pt idx="2106">
                  <c:v>41513</c:v>
                </c:pt>
                <c:pt idx="2107">
                  <c:v>41514</c:v>
                </c:pt>
                <c:pt idx="2108">
                  <c:v>41515</c:v>
                </c:pt>
                <c:pt idx="2109">
                  <c:v>41516</c:v>
                </c:pt>
                <c:pt idx="2110">
                  <c:v>41520</c:v>
                </c:pt>
                <c:pt idx="2111">
                  <c:v>41521</c:v>
                </c:pt>
                <c:pt idx="2112">
                  <c:v>41522</c:v>
                </c:pt>
                <c:pt idx="2113">
                  <c:v>41523</c:v>
                </c:pt>
                <c:pt idx="2114">
                  <c:v>41526</c:v>
                </c:pt>
                <c:pt idx="2115">
                  <c:v>41527</c:v>
                </c:pt>
                <c:pt idx="2116">
                  <c:v>41528</c:v>
                </c:pt>
                <c:pt idx="2117">
                  <c:v>41529</c:v>
                </c:pt>
                <c:pt idx="2118">
                  <c:v>41530</c:v>
                </c:pt>
                <c:pt idx="2119">
                  <c:v>41533</c:v>
                </c:pt>
                <c:pt idx="2120">
                  <c:v>41534</c:v>
                </c:pt>
                <c:pt idx="2121">
                  <c:v>41535</c:v>
                </c:pt>
                <c:pt idx="2122">
                  <c:v>41536</c:v>
                </c:pt>
                <c:pt idx="2123">
                  <c:v>41537</c:v>
                </c:pt>
                <c:pt idx="2124">
                  <c:v>41540</c:v>
                </c:pt>
                <c:pt idx="2125">
                  <c:v>41541</c:v>
                </c:pt>
                <c:pt idx="2126">
                  <c:v>41542</c:v>
                </c:pt>
                <c:pt idx="2127">
                  <c:v>41543</c:v>
                </c:pt>
                <c:pt idx="2128">
                  <c:v>41544</c:v>
                </c:pt>
                <c:pt idx="2129">
                  <c:v>41547</c:v>
                </c:pt>
                <c:pt idx="2130">
                  <c:v>41548</c:v>
                </c:pt>
                <c:pt idx="2131">
                  <c:v>41549</c:v>
                </c:pt>
                <c:pt idx="2132">
                  <c:v>41550</c:v>
                </c:pt>
                <c:pt idx="2133">
                  <c:v>41551</c:v>
                </c:pt>
                <c:pt idx="2134">
                  <c:v>41554</c:v>
                </c:pt>
                <c:pt idx="2135">
                  <c:v>41555</c:v>
                </c:pt>
                <c:pt idx="2136">
                  <c:v>41556</c:v>
                </c:pt>
                <c:pt idx="2137">
                  <c:v>41557</c:v>
                </c:pt>
                <c:pt idx="2138">
                  <c:v>41558</c:v>
                </c:pt>
                <c:pt idx="2139">
                  <c:v>41561</c:v>
                </c:pt>
                <c:pt idx="2140">
                  <c:v>41562</c:v>
                </c:pt>
                <c:pt idx="2141">
                  <c:v>41563</c:v>
                </c:pt>
                <c:pt idx="2142">
                  <c:v>41564</c:v>
                </c:pt>
                <c:pt idx="2143">
                  <c:v>41565</c:v>
                </c:pt>
                <c:pt idx="2144">
                  <c:v>41568</c:v>
                </c:pt>
                <c:pt idx="2145">
                  <c:v>41569</c:v>
                </c:pt>
                <c:pt idx="2146">
                  <c:v>41570</c:v>
                </c:pt>
                <c:pt idx="2147">
                  <c:v>41571</c:v>
                </c:pt>
                <c:pt idx="2148">
                  <c:v>41572</c:v>
                </c:pt>
                <c:pt idx="2149">
                  <c:v>41575</c:v>
                </c:pt>
                <c:pt idx="2150">
                  <c:v>41576</c:v>
                </c:pt>
                <c:pt idx="2151">
                  <c:v>41577</c:v>
                </c:pt>
                <c:pt idx="2152">
                  <c:v>41578</c:v>
                </c:pt>
                <c:pt idx="2153">
                  <c:v>41579</c:v>
                </c:pt>
                <c:pt idx="2154">
                  <c:v>41582</c:v>
                </c:pt>
                <c:pt idx="2155">
                  <c:v>41583</c:v>
                </c:pt>
                <c:pt idx="2156">
                  <c:v>41584</c:v>
                </c:pt>
                <c:pt idx="2157">
                  <c:v>41585</c:v>
                </c:pt>
                <c:pt idx="2158">
                  <c:v>41586</c:v>
                </c:pt>
                <c:pt idx="2159">
                  <c:v>41589</c:v>
                </c:pt>
                <c:pt idx="2160">
                  <c:v>41590</c:v>
                </c:pt>
                <c:pt idx="2161">
                  <c:v>41591</c:v>
                </c:pt>
                <c:pt idx="2162">
                  <c:v>41592</c:v>
                </c:pt>
                <c:pt idx="2163">
                  <c:v>41593</c:v>
                </c:pt>
                <c:pt idx="2164">
                  <c:v>41596</c:v>
                </c:pt>
                <c:pt idx="2165">
                  <c:v>41597</c:v>
                </c:pt>
                <c:pt idx="2166">
                  <c:v>41598</c:v>
                </c:pt>
                <c:pt idx="2167">
                  <c:v>41599</c:v>
                </c:pt>
                <c:pt idx="2168">
                  <c:v>41600</c:v>
                </c:pt>
                <c:pt idx="2169">
                  <c:v>41603</c:v>
                </c:pt>
                <c:pt idx="2170">
                  <c:v>41604</c:v>
                </c:pt>
                <c:pt idx="2171">
                  <c:v>41605</c:v>
                </c:pt>
                <c:pt idx="2172">
                  <c:v>41607</c:v>
                </c:pt>
                <c:pt idx="2173">
                  <c:v>41610</c:v>
                </c:pt>
                <c:pt idx="2174">
                  <c:v>41611</c:v>
                </c:pt>
                <c:pt idx="2175">
                  <c:v>41612</c:v>
                </c:pt>
                <c:pt idx="2176">
                  <c:v>41613</c:v>
                </c:pt>
                <c:pt idx="2177">
                  <c:v>41614</c:v>
                </c:pt>
                <c:pt idx="2178">
                  <c:v>41617</c:v>
                </c:pt>
                <c:pt idx="2179">
                  <c:v>41618</c:v>
                </c:pt>
                <c:pt idx="2180">
                  <c:v>41619</c:v>
                </c:pt>
                <c:pt idx="2181">
                  <c:v>41620</c:v>
                </c:pt>
                <c:pt idx="2182">
                  <c:v>41621</c:v>
                </c:pt>
                <c:pt idx="2183">
                  <c:v>41624</c:v>
                </c:pt>
                <c:pt idx="2184">
                  <c:v>41625</c:v>
                </c:pt>
                <c:pt idx="2185">
                  <c:v>41626</c:v>
                </c:pt>
                <c:pt idx="2186">
                  <c:v>41627</c:v>
                </c:pt>
                <c:pt idx="2187">
                  <c:v>41628</c:v>
                </c:pt>
                <c:pt idx="2188">
                  <c:v>41631</c:v>
                </c:pt>
                <c:pt idx="2189">
                  <c:v>41632</c:v>
                </c:pt>
                <c:pt idx="2190">
                  <c:v>41634</c:v>
                </c:pt>
                <c:pt idx="2191">
                  <c:v>41635</c:v>
                </c:pt>
                <c:pt idx="2192">
                  <c:v>41638</c:v>
                </c:pt>
                <c:pt idx="2193">
                  <c:v>41639</c:v>
                </c:pt>
                <c:pt idx="2194">
                  <c:v>41641</c:v>
                </c:pt>
                <c:pt idx="2195">
                  <c:v>41642</c:v>
                </c:pt>
                <c:pt idx="2196">
                  <c:v>41645</c:v>
                </c:pt>
                <c:pt idx="2197">
                  <c:v>41646</c:v>
                </c:pt>
                <c:pt idx="2198">
                  <c:v>41647</c:v>
                </c:pt>
                <c:pt idx="2199">
                  <c:v>41648</c:v>
                </c:pt>
                <c:pt idx="2200">
                  <c:v>41649</c:v>
                </c:pt>
                <c:pt idx="2201">
                  <c:v>41652</c:v>
                </c:pt>
                <c:pt idx="2202">
                  <c:v>41653</c:v>
                </c:pt>
                <c:pt idx="2203">
                  <c:v>41654</c:v>
                </c:pt>
                <c:pt idx="2204">
                  <c:v>41655</c:v>
                </c:pt>
                <c:pt idx="2205">
                  <c:v>41656</c:v>
                </c:pt>
                <c:pt idx="2206">
                  <c:v>41660</c:v>
                </c:pt>
                <c:pt idx="2207">
                  <c:v>41661</c:v>
                </c:pt>
                <c:pt idx="2208">
                  <c:v>41662</c:v>
                </c:pt>
                <c:pt idx="2209">
                  <c:v>41663</c:v>
                </c:pt>
                <c:pt idx="2210">
                  <c:v>41666</c:v>
                </c:pt>
                <c:pt idx="2211">
                  <c:v>41667</c:v>
                </c:pt>
                <c:pt idx="2212">
                  <c:v>41668</c:v>
                </c:pt>
                <c:pt idx="2213">
                  <c:v>41669</c:v>
                </c:pt>
                <c:pt idx="2214">
                  <c:v>41670</c:v>
                </c:pt>
                <c:pt idx="2215">
                  <c:v>41673</c:v>
                </c:pt>
                <c:pt idx="2216">
                  <c:v>41674</c:v>
                </c:pt>
                <c:pt idx="2217">
                  <c:v>41675</c:v>
                </c:pt>
                <c:pt idx="2218">
                  <c:v>41676</c:v>
                </c:pt>
                <c:pt idx="2219">
                  <c:v>41677</c:v>
                </c:pt>
                <c:pt idx="2220">
                  <c:v>41680</c:v>
                </c:pt>
                <c:pt idx="2221">
                  <c:v>41681</c:v>
                </c:pt>
                <c:pt idx="2222">
                  <c:v>41682</c:v>
                </c:pt>
                <c:pt idx="2223">
                  <c:v>41683</c:v>
                </c:pt>
                <c:pt idx="2224">
                  <c:v>41684</c:v>
                </c:pt>
                <c:pt idx="2225">
                  <c:v>41688</c:v>
                </c:pt>
                <c:pt idx="2226">
                  <c:v>41689</c:v>
                </c:pt>
                <c:pt idx="2227">
                  <c:v>41690</c:v>
                </c:pt>
                <c:pt idx="2228">
                  <c:v>41691</c:v>
                </c:pt>
                <c:pt idx="2229">
                  <c:v>41694</c:v>
                </c:pt>
                <c:pt idx="2230">
                  <c:v>41695</c:v>
                </c:pt>
                <c:pt idx="2231">
                  <c:v>41696</c:v>
                </c:pt>
                <c:pt idx="2232">
                  <c:v>41697</c:v>
                </c:pt>
                <c:pt idx="2233">
                  <c:v>41698</c:v>
                </c:pt>
                <c:pt idx="2234">
                  <c:v>41701</c:v>
                </c:pt>
                <c:pt idx="2235">
                  <c:v>41702</c:v>
                </c:pt>
                <c:pt idx="2236">
                  <c:v>41703</c:v>
                </c:pt>
                <c:pt idx="2237">
                  <c:v>41704</c:v>
                </c:pt>
                <c:pt idx="2238">
                  <c:v>41705</c:v>
                </c:pt>
                <c:pt idx="2239">
                  <c:v>41708</c:v>
                </c:pt>
                <c:pt idx="2240">
                  <c:v>41709</c:v>
                </c:pt>
                <c:pt idx="2241">
                  <c:v>41710</c:v>
                </c:pt>
                <c:pt idx="2242">
                  <c:v>41711</c:v>
                </c:pt>
                <c:pt idx="2243">
                  <c:v>41712</c:v>
                </c:pt>
                <c:pt idx="2244">
                  <c:v>41715</c:v>
                </c:pt>
                <c:pt idx="2245">
                  <c:v>41716</c:v>
                </c:pt>
                <c:pt idx="2246">
                  <c:v>41717</c:v>
                </c:pt>
                <c:pt idx="2247">
                  <c:v>41718</c:v>
                </c:pt>
                <c:pt idx="2248">
                  <c:v>41719</c:v>
                </c:pt>
                <c:pt idx="2249">
                  <c:v>41722</c:v>
                </c:pt>
                <c:pt idx="2250">
                  <c:v>41723</c:v>
                </c:pt>
                <c:pt idx="2251">
                  <c:v>41724</c:v>
                </c:pt>
                <c:pt idx="2252">
                  <c:v>41725</c:v>
                </c:pt>
                <c:pt idx="2253">
                  <c:v>41726</c:v>
                </c:pt>
                <c:pt idx="2254">
                  <c:v>41729</c:v>
                </c:pt>
                <c:pt idx="2255">
                  <c:v>41730</c:v>
                </c:pt>
                <c:pt idx="2256">
                  <c:v>41731</c:v>
                </c:pt>
                <c:pt idx="2257">
                  <c:v>41732</c:v>
                </c:pt>
                <c:pt idx="2258">
                  <c:v>41733</c:v>
                </c:pt>
                <c:pt idx="2259">
                  <c:v>41736</c:v>
                </c:pt>
                <c:pt idx="2260">
                  <c:v>41737</c:v>
                </c:pt>
                <c:pt idx="2261">
                  <c:v>41738</c:v>
                </c:pt>
                <c:pt idx="2262">
                  <c:v>41739</c:v>
                </c:pt>
                <c:pt idx="2263">
                  <c:v>41740</c:v>
                </c:pt>
                <c:pt idx="2264">
                  <c:v>41743</c:v>
                </c:pt>
                <c:pt idx="2265">
                  <c:v>41744</c:v>
                </c:pt>
                <c:pt idx="2266">
                  <c:v>41745</c:v>
                </c:pt>
                <c:pt idx="2267">
                  <c:v>41746</c:v>
                </c:pt>
                <c:pt idx="2268">
                  <c:v>41750</c:v>
                </c:pt>
                <c:pt idx="2269">
                  <c:v>41751</c:v>
                </c:pt>
                <c:pt idx="2270">
                  <c:v>41752</c:v>
                </c:pt>
                <c:pt idx="2271">
                  <c:v>41753</c:v>
                </c:pt>
                <c:pt idx="2272">
                  <c:v>41754</c:v>
                </c:pt>
                <c:pt idx="2273">
                  <c:v>41757</c:v>
                </c:pt>
                <c:pt idx="2274">
                  <c:v>41758</c:v>
                </c:pt>
                <c:pt idx="2275">
                  <c:v>41759</c:v>
                </c:pt>
                <c:pt idx="2276">
                  <c:v>41760</c:v>
                </c:pt>
                <c:pt idx="2277">
                  <c:v>41761</c:v>
                </c:pt>
                <c:pt idx="2278">
                  <c:v>41764</c:v>
                </c:pt>
                <c:pt idx="2279">
                  <c:v>41765</c:v>
                </c:pt>
                <c:pt idx="2280">
                  <c:v>41766</c:v>
                </c:pt>
                <c:pt idx="2281">
                  <c:v>41767</c:v>
                </c:pt>
                <c:pt idx="2282">
                  <c:v>41768</c:v>
                </c:pt>
                <c:pt idx="2283">
                  <c:v>41771</c:v>
                </c:pt>
                <c:pt idx="2284">
                  <c:v>41772</c:v>
                </c:pt>
                <c:pt idx="2285">
                  <c:v>41773</c:v>
                </c:pt>
                <c:pt idx="2286">
                  <c:v>41774</c:v>
                </c:pt>
                <c:pt idx="2287">
                  <c:v>41775</c:v>
                </c:pt>
                <c:pt idx="2288">
                  <c:v>41778</c:v>
                </c:pt>
                <c:pt idx="2289">
                  <c:v>41779</c:v>
                </c:pt>
                <c:pt idx="2290">
                  <c:v>41780</c:v>
                </c:pt>
                <c:pt idx="2291">
                  <c:v>41781</c:v>
                </c:pt>
                <c:pt idx="2292">
                  <c:v>41782</c:v>
                </c:pt>
                <c:pt idx="2293">
                  <c:v>41786</c:v>
                </c:pt>
                <c:pt idx="2294">
                  <c:v>41787</c:v>
                </c:pt>
                <c:pt idx="2295">
                  <c:v>41788</c:v>
                </c:pt>
                <c:pt idx="2296">
                  <c:v>41789</c:v>
                </c:pt>
                <c:pt idx="2297">
                  <c:v>41792</c:v>
                </c:pt>
                <c:pt idx="2298">
                  <c:v>41793</c:v>
                </c:pt>
                <c:pt idx="2299">
                  <c:v>41794</c:v>
                </c:pt>
                <c:pt idx="2300">
                  <c:v>41795</c:v>
                </c:pt>
                <c:pt idx="2301">
                  <c:v>41796</c:v>
                </c:pt>
                <c:pt idx="2302">
                  <c:v>41799</c:v>
                </c:pt>
                <c:pt idx="2303">
                  <c:v>41800</c:v>
                </c:pt>
                <c:pt idx="2304">
                  <c:v>41801</c:v>
                </c:pt>
                <c:pt idx="2305">
                  <c:v>41802</c:v>
                </c:pt>
                <c:pt idx="2306">
                  <c:v>41803</c:v>
                </c:pt>
                <c:pt idx="2307">
                  <c:v>41806</c:v>
                </c:pt>
                <c:pt idx="2308">
                  <c:v>41807</c:v>
                </c:pt>
                <c:pt idx="2309">
                  <c:v>41808</c:v>
                </c:pt>
                <c:pt idx="2310">
                  <c:v>41809</c:v>
                </c:pt>
                <c:pt idx="2311">
                  <c:v>41810</c:v>
                </c:pt>
                <c:pt idx="2312">
                  <c:v>41813</c:v>
                </c:pt>
                <c:pt idx="2313">
                  <c:v>41814</c:v>
                </c:pt>
                <c:pt idx="2314">
                  <c:v>41815</c:v>
                </c:pt>
                <c:pt idx="2315">
                  <c:v>41816</c:v>
                </c:pt>
                <c:pt idx="2316">
                  <c:v>41817</c:v>
                </c:pt>
                <c:pt idx="2317">
                  <c:v>41820</c:v>
                </c:pt>
                <c:pt idx="2318">
                  <c:v>41821</c:v>
                </c:pt>
                <c:pt idx="2319">
                  <c:v>41822</c:v>
                </c:pt>
                <c:pt idx="2320">
                  <c:v>41823</c:v>
                </c:pt>
                <c:pt idx="2321">
                  <c:v>41827</c:v>
                </c:pt>
                <c:pt idx="2322">
                  <c:v>41828</c:v>
                </c:pt>
                <c:pt idx="2323">
                  <c:v>41829</c:v>
                </c:pt>
                <c:pt idx="2324">
                  <c:v>41830</c:v>
                </c:pt>
                <c:pt idx="2325">
                  <c:v>41831</c:v>
                </c:pt>
                <c:pt idx="2326">
                  <c:v>41834</c:v>
                </c:pt>
                <c:pt idx="2327">
                  <c:v>41835</c:v>
                </c:pt>
                <c:pt idx="2328">
                  <c:v>41836</c:v>
                </c:pt>
                <c:pt idx="2329">
                  <c:v>41837</c:v>
                </c:pt>
                <c:pt idx="2330">
                  <c:v>41838</c:v>
                </c:pt>
                <c:pt idx="2331">
                  <c:v>41841</c:v>
                </c:pt>
                <c:pt idx="2332">
                  <c:v>41842</c:v>
                </c:pt>
                <c:pt idx="2333">
                  <c:v>41843</c:v>
                </c:pt>
                <c:pt idx="2334">
                  <c:v>41844</c:v>
                </c:pt>
                <c:pt idx="2335">
                  <c:v>41845</c:v>
                </c:pt>
                <c:pt idx="2336">
                  <c:v>41848</c:v>
                </c:pt>
                <c:pt idx="2337">
                  <c:v>41849</c:v>
                </c:pt>
                <c:pt idx="2338">
                  <c:v>41850</c:v>
                </c:pt>
                <c:pt idx="2339">
                  <c:v>41851</c:v>
                </c:pt>
                <c:pt idx="2340">
                  <c:v>41852</c:v>
                </c:pt>
                <c:pt idx="2341">
                  <c:v>41855</c:v>
                </c:pt>
                <c:pt idx="2342">
                  <c:v>41856</c:v>
                </c:pt>
                <c:pt idx="2343">
                  <c:v>41857</c:v>
                </c:pt>
                <c:pt idx="2344">
                  <c:v>41858</c:v>
                </c:pt>
                <c:pt idx="2345">
                  <c:v>41859</c:v>
                </c:pt>
                <c:pt idx="2346">
                  <c:v>41862</c:v>
                </c:pt>
                <c:pt idx="2347">
                  <c:v>41863</c:v>
                </c:pt>
                <c:pt idx="2348">
                  <c:v>41864</c:v>
                </c:pt>
                <c:pt idx="2349">
                  <c:v>41865</c:v>
                </c:pt>
                <c:pt idx="2350">
                  <c:v>41866</c:v>
                </c:pt>
                <c:pt idx="2351">
                  <c:v>41869</c:v>
                </c:pt>
                <c:pt idx="2352">
                  <c:v>41870</c:v>
                </c:pt>
                <c:pt idx="2353">
                  <c:v>41871</c:v>
                </c:pt>
                <c:pt idx="2354">
                  <c:v>41872</c:v>
                </c:pt>
                <c:pt idx="2355">
                  <c:v>41873</c:v>
                </c:pt>
                <c:pt idx="2356">
                  <c:v>41876</c:v>
                </c:pt>
                <c:pt idx="2357">
                  <c:v>41877</c:v>
                </c:pt>
                <c:pt idx="2358">
                  <c:v>41878</c:v>
                </c:pt>
                <c:pt idx="2359">
                  <c:v>41879</c:v>
                </c:pt>
                <c:pt idx="2360">
                  <c:v>41880</c:v>
                </c:pt>
                <c:pt idx="2361">
                  <c:v>41884</c:v>
                </c:pt>
                <c:pt idx="2362">
                  <c:v>41885</c:v>
                </c:pt>
                <c:pt idx="2363">
                  <c:v>41886</c:v>
                </c:pt>
                <c:pt idx="2364">
                  <c:v>41887</c:v>
                </c:pt>
                <c:pt idx="2365">
                  <c:v>41890</c:v>
                </c:pt>
                <c:pt idx="2366">
                  <c:v>41891</c:v>
                </c:pt>
                <c:pt idx="2367">
                  <c:v>41892</c:v>
                </c:pt>
                <c:pt idx="2368">
                  <c:v>41893</c:v>
                </c:pt>
                <c:pt idx="2369">
                  <c:v>41894</c:v>
                </c:pt>
                <c:pt idx="2370">
                  <c:v>41897</c:v>
                </c:pt>
                <c:pt idx="2371">
                  <c:v>41898</c:v>
                </c:pt>
                <c:pt idx="2372">
                  <c:v>41899</c:v>
                </c:pt>
                <c:pt idx="2373">
                  <c:v>41900</c:v>
                </c:pt>
                <c:pt idx="2374">
                  <c:v>41901</c:v>
                </c:pt>
                <c:pt idx="2375">
                  <c:v>41904</c:v>
                </c:pt>
                <c:pt idx="2376">
                  <c:v>41905</c:v>
                </c:pt>
                <c:pt idx="2377">
                  <c:v>41906</c:v>
                </c:pt>
                <c:pt idx="2378">
                  <c:v>41907</c:v>
                </c:pt>
                <c:pt idx="2379">
                  <c:v>41908</c:v>
                </c:pt>
                <c:pt idx="2380">
                  <c:v>41911</c:v>
                </c:pt>
                <c:pt idx="2381">
                  <c:v>41912</c:v>
                </c:pt>
                <c:pt idx="2382">
                  <c:v>41913</c:v>
                </c:pt>
                <c:pt idx="2383">
                  <c:v>41914</c:v>
                </c:pt>
                <c:pt idx="2384">
                  <c:v>41915</c:v>
                </c:pt>
                <c:pt idx="2385">
                  <c:v>41918</c:v>
                </c:pt>
                <c:pt idx="2386">
                  <c:v>41919</c:v>
                </c:pt>
                <c:pt idx="2387">
                  <c:v>41920</c:v>
                </c:pt>
                <c:pt idx="2388">
                  <c:v>41921</c:v>
                </c:pt>
                <c:pt idx="2389">
                  <c:v>41922</c:v>
                </c:pt>
                <c:pt idx="2390">
                  <c:v>41925</c:v>
                </c:pt>
                <c:pt idx="2391">
                  <c:v>41926</c:v>
                </c:pt>
                <c:pt idx="2392">
                  <c:v>41927</c:v>
                </c:pt>
                <c:pt idx="2393">
                  <c:v>41928</c:v>
                </c:pt>
                <c:pt idx="2394">
                  <c:v>41929</c:v>
                </c:pt>
                <c:pt idx="2395">
                  <c:v>41932</c:v>
                </c:pt>
                <c:pt idx="2396">
                  <c:v>41933</c:v>
                </c:pt>
                <c:pt idx="2397">
                  <c:v>41934</c:v>
                </c:pt>
                <c:pt idx="2398">
                  <c:v>41935</c:v>
                </c:pt>
                <c:pt idx="2399">
                  <c:v>41936</c:v>
                </c:pt>
                <c:pt idx="2400">
                  <c:v>41939</c:v>
                </c:pt>
                <c:pt idx="2401">
                  <c:v>41940</c:v>
                </c:pt>
                <c:pt idx="2402">
                  <c:v>41941</c:v>
                </c:pt>
                <c:pt idx="2403">
                  <c:v>41942</c:v>
                </c:pt>
                <c:pt idx="2404">
                  <c:v>41943</c:v>
                </c:pt>
                <c:pt idx="2405">
                  <c:v>41946</c:v>
                </c:pt>
                <c:pt idx="2406">
                  <c:v>41947</c:v>
                </c:pt>
                <c:pt idx="2407">
                  <c:v>41948</c:v>
                </c:pt>
                <c:pt idx="2408">
                  <c:v>41949</c:v>
                </c:pt>
                <c:pt idx="2409">
                  <c:v>41950</c:v>
                </c:pt>
                <c:pt idx="2410">
                  <c:v>41953</c:v>
                </c:pt>
                <c:pt idx="2411">
                  <c:v>41954</c:v>
                </c:pt>
                <c:pt idx="2412">
                  <c:v>41955</c:v>
                </c:pt>
                <c:pt idx="2413">
                  <c:v>41956</c:v>
                </c:pt>
                <c:pt idx="2414">
                  <c:v>41957</c:v>
                </c:pt>
                <c:pt idx="2415">
                  <c:v>41960</c:v>
                </c:pt>
                <c:pt idx="2416">
                  <c:v>41961</c:v>
                </c:pt>
                <c:pt idx="2417">
                  <c:v>41962</c:v>
                </c:pt>
                <c:pt idx="2418">
                  <c:v>41963</c:v>
                </c:pt>
                <c:pt idx="2419">
                  <c:v>41964</c:v>
                </c:pt>
                <c:pt idx="2420">
                  <c:v>41967</c:v>
                </c:pt>
                <c:pt idx="2421">
                  <c:v>41968</c:v>
                </c:pt>
                <c:pt idx="2422">
                  <c:v>41969</c:v>
                </c:pt>
                <c:pt idx="2423">
                  <c:v>41971</c:v>
                </c:pt>
                <c:pt idx="2424">
                  <c:v>41974</c:v>
                </c:pt>
                <c:pt idx="2425">
                  <c:v>41975</c:v>
                </c:pt>
                <c:pt idx="2426">
                  <c:v>41976</c:v>
                </c:pt>
                <c:pt idx="2427">
                  <c:v>41977</c:v>
                </c:pt>
                <c:pt idx="2428">
                  <c:v>41978</c:v>
                </c:pt>
                <c:pt idx="2429">
                  <c:v>41981</c:v>
                </c:pt>
                <c:pt idx="2430">
                  <c:v>41982</c:v>
                </c:pt>
                <c:pt idx="2431">
                  <c:v>41983</c:v>
                </c:pt>
                <c:pt idx="2432">
                  <c:v>41984</c:v>
                </c:pt>
                <c:pt idx="2433">
                  <c:v>41985</c:v>
                </c:pt>
                <c:pt idx="2434">
                  <c:v>41988</c:v>
                </c:pt>
                <c:pt idx="2435">
                  <c:v>41989</c:v>
                </c:pt>
                <c:pt idx="2436">
                  <c:v>41990</c:v>
                </c:pt>
                <c:pt idx="2437">
                  <c:v>41991</c:v>
                </c:pt>
                <c:pt idx="2438">
                  <c:v>41992</c:v>
                </c:pt>
                <c:pt idx="2439">
                  <c:v>41995</c:v>
                </c:pt>
                <c:pt idx="2440">
                  <c:v>41996</c:v>
                </c:pt>
                <c:pt idx="2441">
                  <c:v>41997</c:v>
                </c:pt>
                <c:pt idx="2442">
                  <c:v>41999</c:v>
                </c:pt>
                <c:pt idx="2443">
                  <c:v>42002</c:v>
                </c:pt>
                <c:pt idx="2444">
                  <c:v>42003</c:v>
                </c:pt>
                <c:pt idx="2445">
                  <c:v>42004</c:v>
                </c:pt>
                <c:pt idx="2446">
                  <c:v>42006</c:v>
                </c:pt>
                <c:pt idx="2447">
                  <c:v>42009</c:v>
                </c:pt>
                <c:pt idx="2448">
                  <c:v>42010</c:v>
                </c:pt>
                <c:pt idx="2449">
                  <c:v>42011</c:v>
                </c:pt>
                <c:pt idx="2450">
                  <c:v>42012</c:v>
                </c:pt>
                <c:pt idx="2451">
                  <c:v>42013</c:v>
                </c:pt>
                <c:pt idx="2452">
                  <c:v>42016</c:v>
                </c:pt>
                <c:pt idx="2453">
                  <c:v>42017</c:v>
                </c:pt>
                <c:pt idx="2454">
                  <c:v>42018</c:v>
                </c:pt>
                <c:pt idx="2455">
                  <c:v>42019</c:v>
                </c:pt>
                <c:pt idx="2456">
                  <c:v>42020</c:v>
                </c:pt>
                <c:pt idx="2457">
                  <c:v>42024</c:v>
                </c:pt>
                <c:pt idx="2458">
                  <c:v>42025</c:v>
                </c:pt>
                <c:pt idx="2459">
                  <c:v>42026</c:v>
                </c:pt>
                <c:pt idx="2460">
                  <c:v>42027</c:v>
                </c:pt>
                <c:pt idx="2461">
                  <c:v>42030</c:v>
                </c:pt>
                <c:pt idx="2462">
                  <c:v>42031</c:v>
                </c:pt>
                <c:pt idx="2463">
                  <c:v>42032</c:v>
                </c:pt>
                <c:pt idx="2464">
                  <c:v>42033</c:v>
                </c:pt>
                <c:pt idx="2465">
                  <c:v>42034</c:v>
                </c:pt>
                <c:pt idx="2466">
                  <c:v>42037</c:v>
                </c:pt>
                <c:pt idx="2467">
                  <c:v>42038</c:v>
                </c:pt>
                <c:pt idx="2468">
                  <c:v>42039</c:v>
                </c:pt>
                <c:pt idx="2469">
                  <c:v>42040</c:v>
                </c:pt>
                <c:pt idx="2470">
                  <c:v>42041</c:v>
                </c:pt>
                <c:pt idx="2471">
                  <c:v>42044</c:v>
                </c:pt>
                <c:pt idx="2472">
                  <c:v>42045</c:v>
                </c:pt>
                <c:pt idx="2473">
                  <c:v>42046</c:v>
                </c:pt>
                <c:pt idx="2474">
                  <c:v>42047</c:v>
                </c:pt>
                <c:pt idx="2475">
                  <c:v>42048</c:v>
                </c:pt>
                <c:pt idx="2476">
                  <c:v>42052</c:v>
                </c:pt>
                <c:pt idx="2477">
                  <c:v>42053</c:v>
                </c:pt>
                <c:pt idx="2478">
                  <c:v>42054</c:v>
                </c:pt>
                <c:pt idx="2479">
                  <c:v>42055</c:v>
                </c:pt>
                <c:pt idx="2480">
                  <c:v>42058</c:v>
                </c:pt>
                <c:pt idx="2481">
                  <c:v>42059</c:v>
                </c:pt>
                <c:pt idx="2482">
                  <c:v>42060</c:v>
                </c:pt>
                <c:pt idx="2483">
                  <c:v>42061</c:v>
                </c:pt>
                <c:pt idx="2484">
                  <c:v>42062</c:v>
                </c:pt>
                <c:pt idx="2485">
                  <c:v>42065</c:v>
                </c:pt>
                <c:pt idx="2486">
                  <c:v>42066</c:v>
                </c:pt>
                <c:pt idx="2487">
                  <c:v>42067</c:v>
                </c:pt>
                <c:pt idx="2488">
                  <c:v>42068</c:v>
                </c:pt>
                <c:pt idx="2489">
                  <c:v>42069</c:v>
                </c:pt>
                <c:pt idx="2490">
                  <c:v>42072</c:v>
                </c:pt>
                <c:pt idx="2491">
                  <c:v>42073</c:v>
                </c:pt>
                <c:pt idx="2492">
                  <c:v>42074</c:v>
                </c:pt>
                <c:pt idx="2493">
                  <c:v>42075</c:v>
                </c:pt>
                <c:pt idx="2494">
                  <c:v>42076</c:v>
                </c:pt>
                <c:pt idx="2495">
                  <c:v>42079</c:v>
                </c:pt>
                <c:pt idx="2496">
                  <c:v>42080</c:v>
                </c:pt>
                <c:pt idx="2497">
                  <c:v>42081</c:v>
                </c:pt>
                <c:pt idx="2498">
                  <c:v>42082</c:v>
                </c:pt>
                <c:pt idx="2499">
                  <c:v>42083</c:v>
                </c:pt>
                <c:pt idx="2500">
                  <c:v>42086</c:v>
                </c:pt>
                <c:pt idx="2501">
                  <c:v>42087</c:v>
                </c:pt>
                <c:pt idx="2502">
                  <c:v>42088</c:v>
                </c:pt>
                <c:pt idx="2503">
                  <c:v>42089</c:v>
                </c:pt>
                <c:pt idx="2504">
                  <c:v>42090</c:v>
                </c:pt>
                <c:pt idx="2505">
                  <c:v>42093</c:v>
                </c:pt>
                <c:pt idx="2506">
                  <c:v>42094</c:v>
                </c:pt>
                <c:pt idx="2507">
                  <c:v>42095</c:v>
                </c:pt>
                <c:pt idx="2508">
                  <c:v>42096</c:v>
                </c:pt>
                <c:pt idx="2509">
                  <c:v>42100</c:v>
                </c:pt>
                <c:pt idx="2510">
                  <c:v>42101</c:v>
                </c:pt>
                <c:pt idx="2511">
                  <c:v>42102</c:v>
                </c:pt>
                <c:pt idx="2512">
                  <c:v>42103</c:v>
                </c:pt>
                <c:pt idx="2513">
                  <c:v>42104</c:v>
                </c:pt>
                <c:pt idx="2514">
                  <c:v>42107</c:v>
                </c:pt>
                <c:pt idx="2515">
                  <c:v>42108</c:v>
                </c:pt>
                <c:pt idx="2516">
                  <c:v>42109</c:v>
                </c:pt>
                <c:pt idx="2517">
                  <c:v>42110</c:v>
                </c:pt>
                <c:pt idx="2518">
                  <c:v>42111</c:v>
                </c:pt>
                <c:pt idx="2519">
                  <c:v>42114</c:v>
                </c:pt>
                <c:pt idx="2520">
                  <c:v>42115</c:v>
                </c:pt>
                <c:pt idx="2521">
                  <c:v>42116</c:v>
                </c:pt>
                <c:pt idx="2522">
                  <c:v>42117</c:v>
                </c:pt>
                <c:pt idx="2523">
                  <c:v>42118</c:v>
                </c:pt>
                <c:pt idx="2524">
                  <c:v>42121</c:v>
                </c:pt>
                <c:pt idx="2525">
                  <c:v>42122</c:v>
                </c:pt>
                <c:pt idx="2526">
                  <c:v>42123</c:v>
                </c:pt>
                <c:pt idx="2527">
                  <c:v>42124</c:v>
                </c:pt>
                <c:pt idx="2528">
                  <c:v>42125</c:v>
                </c:pt>
                <c:pt idx="2529">
                  <c:v>42128</c:v>
                </c:pt>
                <c:pt idx="2530">
                  <c:v>42129</c:v>
                </c:pt>
                <c:pt idx="2531">
                  <c:v>42130</c:v>
                </c:pt>
                <c:pt idx="2532">
                  <c:v>42131</c:v>
                </c:pt>
                <c:pt idx="2533">
                  <c:v>42132</c:v>
                </c:pt>
                <c:pt idx="2534">
                  <c:v>42135</c:v>
                </c:pt>
                <c:pt idx="2535">
                  <c:v>42136</c:v>
                </c:pt>
                <c:pt idx="2536">
                  <c:v>42137</c:v>
                </c:pt>
                <c:pt idx="2537">
                  <c:v>42138</c:v>
                </c:pt>
                <c:pt idx="2538">
                  <c:v>42139</c:v>
                </c:pt>
                <c:pt idx="2539">
                  <c:v>42142</c:v>
                </c:pt>
                <c:pt idx="2540">
                  <c:v>42143</c:v>
                </c:pt>
                <c:pt idx="2541">
                  <c:v>42144</c:v>
                </c:pt>
                <c:pt idx="2542">
                  <c:v>42145</c:v>
                </c:pt>
                <c:pt idx="2543">
                  <c:v>42146</c:v>
                </c:pt>
                <c:pt idx="2544">
                  <c:v>42150</c:v>
                </c:pt>
                <c:pt idx="2545">
                  <c:v>42151</c:v>
                </c:pt>
                <c:pt idx="2546">
                  <c:v>42152</c:v>
                </c:pt>
                <c:pt idx="2547">
                  <c:v>42153</c:v>
                </c:pt>
                <c:pt idx="2548">
                  <c:v>42156</c:v>
                </c:pt>
                <c:pt idx="2549">
                  <c:v>42157</c:v>
                </c:pt>
                <c:pt idx="2550">
                  <c:v>42158</c:v>
                </c:pt>
                <c:pt idx="2551">
                  <c:v>42159</c:v>
                </c:pt>
                <c:pt idx="2552">
                  <c:v>42160</c:v>
                </c:pt>
                <c:pt idx="2553">
                  <c:v>42163</c:v>
                </c:pt>
                <c:pt idx="2554">
                  <c:v>42164</c:v>
                </c:pt>
                <c:pt idx="2555">
                  <c:v>42165</c:v>
                </c:pt>
                <c:pt idx="2556">
                  <c:v>42166</c:v>
                </c:pt>
                <c:pt idx="2557">
                  <c:v>42167</c:v>
                </c:pt>
                <c:pt idx="2558">
                  <c:v>42170</c:v>
                </c:pt>
                <c:pt idx="2559">
                  <c:v>42171</c:v>
                </c:pt>
                <c:pt idx="2560">
                  <c:v>42172</c:v>
                </c:pt>
                <c:pt idx="2561">
                  <c:v>42173</c:v>
                </c:pt>
                <c:pt idx="2562">
                  <c:v>42174</c:v>
                </c:pt>
                <c:pt idx="2563">
                  <c:v>42177</c:v>
                </c:pt>
                <c:pt idx="2564">
                  <c:v>42178</c:v>
                </c:pt>
                <c:pt idx="2565">
                  <c:v>42179</c:v>
                </c:pt>
                <c:pt idx="2566">
                  <c:v>42180</c:v>
                </c:pt>
                <c:pt idx="2567">
                  <c:v>42181</c:v>
                </c:pt>
                <c:pt idx="2568">
                  <c:v>42184</c:v>
                </c:pt>
                <c:pt idx="2569">
                  <c:v>42185</c:v>
                </c:pt>
                <c:pt idx="2570">
                  <c:v>42186</c:v>
                </c:pt>
                <c:pt idx="2571">
                  <c:v>42187</c:v>
                </c:pt>
                <c:pt idx="2572">
                  <c:v>42191</c:v>
                </c:pt>
                <c:pt idx="2573">
                  <c:v>42192</c:v>
                </c:pt>
                <c:pt idx="2574">
                  <c:v>42193</c:v>
                </c:pt>
                <c:pt idx="2575">
                  <c:v>42194</c:v>
                </c:pt>
                <c:pt idx="2576">
                  <c:v>42195</c:v>
                </c:pt>
                <c:pt idx="2577">
                  <c:v>42198</c:v>
                </c:pt>
                <c:pt idx="2578">
                  <c:v>42199</c:v>
                </c:pt>
                <c:pt idx="2579">
                  <c:v>42200</c:v>
                </c:pt>
                <c:pt idx="2580">
                  <c:v>42201</c:v>
                </c:pt>
                <c:pt idx="2581">
                  <c:v>42202</c:v>
                </c:pt>
                <c:pt idx="2582">
                  <c:v>42205</c:v>
                </c:pt>
                <c:pt idx="2583">
                  <c:v>42206</c:v>
                </c:pt>
                <c:pt idx="2584">
                  <c:v>42207</c:v>
                </c:pt>
                <c:pt idx="2585">
                  <c:v>42208</c:v>
                </c:pt>
                <c:pt idx="2586">
                  <c:v>42209</c:v>
                </c:pt>
                <c:pt idx="2587">
                  <c:v>42212</c:v>
                </c:pt>
                <c:pt idx="2588">
                  <c:v>42213</c:v>
                </c:pt>
                <c:pt idx="2589">
                  <c:v>42214</c:v>
                </c:pt>
                <c:pt idx="2590">
                  <c:v>42215</c:v>
                </c:pt>
                <c:pt idx="2591">
                  <c:v>42216</c:v>
                </c:pt>
                <c:pt idx="2592">
                  <c:v>42219</c:v>
                </c:pt>
                <c:pt idx="2593">
                  <c:v>42220</c:v>
                </c:pt>
                <c:pt idx="2594">
                  <c:v>42221</c:v>
                </c:pt>
                <c:pt idx="2595">
                  <c:v>42222</c:v>
                </c:pt>
                <c:pt idx="2596">
                  <c:v>42223</c:v>
                </c:pt>
                <c:pt idx="2597">
                  <c:v>42226</c:v>
                </c:pt>
                <c:pt idx="2598">
                  <c:v>42227</c:v>
                </c:pt>
                <c:pt idx="2599">
                  <c:v>42228</c:v>
                </c:pt>
                <c:pt idx="2600">
                  <c:v>42229</c:v>
                </c:pt>
                <c:pt idx="2601">
                  <c:v>42230</c:v>
                </c:pt>
                <c:pt idx="2602">
                  <c:v>42233</c:v>
                </c:pt>
                <c:pt idx="2603">
                  <c:v>42234</c:v>
                </c:pt>
                <c:pt idx="2604">
                  <c:v>42235</c:v>
                </c:pt>
                <c:pt idx="2605">
                  <c:v>42236</c:v>
                </c:pt>
                <c:pt idx="2606">
                  <c:v>42237</c:v>
                </c:pt>
                <c:pt idx="2607">
                  <c:v>42240</c:v>
                </c:pt>
                <c:pt idx="2608">
                  <c:v>42241</c:v>
                </c:pt>
                <c:pt idx="2609">
                  <c:v>42242</c:v>
                </c:pt>
                <c:pt idx="2610">
                  <c:v>42243</c:v>
                </c:pt>
                <c:pt idx="2611">
                  <c:v>42244</c:v>
                </c:pt>
                <c:pt idx="2612">
                  <c:v>42247</c:v>
                </c:pt>
                <c:pt idx="2613">
                  <c:v>42248</c:v>
                </c:pt>
                <c:pt idx="2614">
                  <c:v>42249</c:v>
                </c:pt>
                <c:pt idx="2615">
                  <c:v>42250</c:v>
                </c:pt>
                <c:pt idx="2616">
                  <c:v>42251</c:v>
                </c:pt>
                <c:pt idx="2617">
                  <c:v>42255</c:v>
                </c:pt>
                <c:pt idx="2618">
                  <c:v>42256</c:v>
                </c:pt>
                <c:pt idx="2619">
                  <c:v>42257</c:v>
                </c:pt>
                <c:pt idx="2620">
                  <c:v>42258</c:v>
                </c:pt>
                <c:pt idx="2621">
                  <c:v>42261</c:v>
                </c:pt>
                <c:pt idx="2622">
                  <c:v>42262</c:v>
                </c:pt>
                <c:pt idx="2623">
                  <c:v>42263</c:v>
                </c:pt>
                <c:pt idx="2624">
                  <c:v>42264</c:v>
                </c:pt>
                <c:pt idx="2625">
                  <c:v>42265</c:v>
                </c:pt>
                <c:pt idx="2626">
                  <c:v>42268</c:v>
                </c:pt>
                <c:pt idx="2627">
                  <c:v>42269</c:v>
                </c:pt>
                <c:pt idx="2628">
                  <c:v>42270</c:v>
                </c:pt>
                <c:pt idx="2629">
                  <c:v>42271</c:v>
                </c:pt>
                <c:pt idx="2630">
                  <c:v>42272</c:v>
                </c:pt>
                <c:pt idx="2631">
                  <c:v>42275</c:v>
                </c:pt>
                <c:pt idx="2632">
                  <c:v>42276</c:v>
                </c:pt>
                <c:pt idx="2633">
                  <c:v>42277</c:v>
                </c:pt>
                <c:pt idx="2634">
                  <c:v>42278</c:v>
                </c:pt>
                <c:pt idx="2635">
                  <c:v>42279</c:v>
                </c:pt>
                <c:pt idx="2636">
                  <c:v>42282</c:v>
                </c:pt>
                <c:pt idx="2637">
                  <c:v>42283</c:v>
                </c:pt>
                <c:pt idx="2638">
                  <c:v>42284</c:v>
                </c:pt>
                <c:pt idx="2639">
                  <c:v>42285</c:v>
                </c:pt>
                <c:pt idx="2640">
                  <c:v>42286</c:v>
                </c:pt>
                <c:pt idx="2641">
                  <c:v>42289</c:v>
                </c:pt>
                <c:pt idx="2642">
                  <c:v>42290</c:v>
                </c:pt>
                <c:pt idx="2643">
                  <c:v>42291</c:v>
                </c:pt>
                <c:pt idx="2644">
                  <c:v>42292</c:v>
                </c:pt>
                <c:pt idx="2645">
                  <c:v>42293</c:v>
                </c:pt>
                <c:pt idx="2646">
                  <c:v>42296</c:v>
                </c:pt>
                <c:pt idx="2647">
                  <c:v>42297</c:v>
                </c:pt>
                <c:pt idx="2648">
                  <c:v>42298</c:v>
                </c:pt>
                <c:pt idx="2649">
                  <c:v>42299</c:v>
                </c:pt>
                <c:pt idx="2650">
                  <c:v>42300</c:v>
                </c:pt>
                <c:pt idx="2651">
                  <c:v>42303</c:v>
                </c:pt>
                <c:pt idx="2652">
                  <c:v>42304</c:v>
                </c:pt>
                <c:pt idx="2653">
                  <c:v>42305</c:v>
                </c:pt>
                <c:pt idx="2654">
                  <c:v>42306</c:v>
                </c:pt>
                <c:pt idx="2655">
                  <c:v>42307</c:v>
                </c:pt>
                <c:pt idx="2656">
                  <c:v>42310</c:v>
                </c:pt>
                <c:pt idx="2657">
                  <c:v>42311</c:v>
                </c:pt>
                <c:pt idx="2658">
                  <c:v>42312</c:v>
                </c:pt>
                <c:pt idx="2659">
                  <c:v>42313</c:v>
                </c:pt>
                <c:pt idx="2660">
                  <c:v>42314</c:v>
                </c:pt>
                <c:pt idx="2661">
                  <c:v>42317</c:v>
                </c:pt>
                <c:pt idx="2662">
                  <c:v>42318</c:v>
                </c:pt>
                <c:pt idx="2663">
                  <c:v>42319</c:v>
                </c:pt>
                <c:pt idx="2664">
                  <c:v>42320</c:v>
                </c:pt>
                <c:pt idx="2665">
                  <c:v>42321</c:v>
                </c:pt>
                <c:pt idx="2666">
                  <c:v>42324</c:v>
                </c:pt>
                <c:pt idx="2667">
                  <c:v>42325</c:v>
                </c:pt>
                <c:pt idx="2668">
                  <c:v>42326</c:v>
                </c:pt>
                <c:pt idx="2669">
                  <c:v>42327</c:v>
                </c:pt>
                <c:pt idx="2670">
                  <c:v>42328</c:v>
                </c:pt>
                <c:pt idx="2671">
                  <c:v>42331</c:v>
                </c:pt>
                <c:pt idx="2672">
                  <c:v>42332</c:v>
                </c:pt>
                <c:pt idx="2673">
                  <c:v>42333</c:v>
                </c:pt>
                <c:pt idx="2674">
                  <c:v>42335</c:v>
                </c:pt>
                <c:pt idx="2675">
                  <c:v>42338</c:v>
                </c:pt>
                <c:pt idx="2676">
                  <c:v>42339</c:v>
                </c:pt>
                <c:pt idx="2677">
                  <c:v>42340</c:v>
                </c:pt>
                <c:pt idx="2678">
                  <c:v>42341</c:v>
                </c:pt>
                <c:pt idx="2679">
                  <c:v>42342</c:v>
                </c:pt>
                <c:pt idx="2680">
                  <c:v>42345</c:v>
                </c:pt>
                <c:pt idx="2681">
                  <c:v>42346</c:v>
                </c:pt>
                <c:pt idx="2682">
                  <c:v>42347</c:v>
                </c:pt>
                <c:pt idx="2683">
                  <c:v>42348</c:v>
                </c:pt>
                <c:pt idx="2684">
                  <c:v>42349</c:v>
                </c:pt>
                <c:pt idx="2685">
                  <c:v>42352</c:v>
                </c:pt>
                <c:pt idx="2686">
                  <c:v>42353</c:v>
                </c:pt>
                <c:pt idx="2687">
                  <c:v>42354</c:v>
                </c:pt>
                <c:pt idx="2688">
                  <c:v>42355</c:v>
                </c:pt>
                <c:pt idx="2689">
                  <c:v>42356</c:v>
                </c:pt>
                <c:pt idx="2690">
                  <c:v>42359</c:v>
                </c:pt>
                <c:pt idx="2691">
                  <c:v>42360</c:v>
                </c:pt>
                <c:pt idx="2692">
                  <c:v>42361</c:v>
                </c:pt>
                <c:pt idx="2693">
                  <c:v>42362</c:v>
                </c:pt>
                <c:pt idx="2694">
                  <c:v>42366</c:v>
                </c:pt>
                <c:pt idx="2695">
                  <c:v>42367</c:v>
                </c:pt>
                <c:pt idx="2696">
                  <c:v>42368</c:v>
                </c:pt>
                <c:pt idx="2697">
                  <c:v>42369</c:v>
                </c:pt>
                <c:pt idx="2698">
                  <c:v>42373</c:v>
                </c:pt>
                <c:pt idx="2699">
                  <c:v>42374</c:v>
                </c:pt>
                <c:pt idx="2700">
                  <c:v>42375</c:v>
                </c:pt>
                <c:pt idx="2701">
                  <c:v>42376</c:v>
                </c:pt>
                <c:pt idx="2702">
                  <c:v>42377</c:v>
                </c:pt>
                <c:pt idx="2703">
                  <c:v>42380</c:v>
                </c:pt>
                <c:pt idx="2704">
                  <c:v>42381</c:v>
                </c:pt>
                <c:pt idx="2705">
                  <c:v>42382</c:v>
                </c:pt>
                <c:pt idx="2706">
                  <c:v>42383</c:v>
                </c:pt>
                <c:pt idx="2707">
                  <c:v>42384</c:v>
                </c:pt>
                <c:pt idx="2708">
                  <c:v>42388</c:v>
                </c:pt>
                <c:pt idx="2709">
                  <c:v>42389</c:v>
                </c:pt>
                <c:pt idx="2710">
                  <c:v>42390</c:v>
                </c:pt>
                <c:pt idx="2711">
                  <c:v>42391</c:v>
                </c:pt>
                <c:pt idx="2712">
                  <c:v>42394</c:v>
                </c:pt>
                <c:pt idx="2713">
                  <c:v>42395</c:v>
                </c:pt>
                <c:pt idx="2714">
                  <c:v>42396</c:v>
                </c:pt>
                <c:pt idx="2715">
                  <c:v>42397</c:v>
                </c:pt>
                <c:pt idx="2716">
                  <c:v>42398</c:v>
                </c:pt>
                <c:pt idx="2717">
                  <c:v>42401</c:v>
                </c:pt>
                <c:pt idx="2718">
                  <c:v>42402</c:v>
                </c:pt>
                <c:pt idx="2719">
                  <c:v>42403</c:v>
                </c:pt>
                <c:pt idx="2720">
                  <c:v>42404</c:v>
                </c:pt>
                <c:pt idx="2721">
                  <c:v>42405</c:v>
                </c:pt>
                <c:pt idx="2722">
                  <c:v>42408</c:v>
                </c:pt>
                <c:pt idx="2723">
                  <c:v>42409</c:v>
                </c:pt>
                <c:pt idx="2724">
                  <c:v>42410</c:v>
                </c:pt>
                <c:pt idx="2725">
                  <c:v>42411</c:v>
                </c:pt>
                <c:pt idx="2726">
                  <c:v>42412</c:v>
                </c:pt>
                <c:pt idx="2727">
                  <c:v>42416</c:v>
                </c:pt>
                <c:pt idx="2728">
                  <c:v>42417</c:v>
                </c:pt>
                <c:pt idx="2729">
                  <c:v>42418</c:v>
                </c:pt>
                <c:pt idx="2730">
                  <c:v>42419</c:v>
                </c:pt>
                <c:pt idx="2731">
                  <c:v>42422</c:v>
                </c:pt>
                <c:pt idx="2732">
                  <c:v>42423</c:v>
                </c:pt>
              </c:numCache>
            </c:numRef>
          </c:cat>
          <c:val>
            <c:numRef>
              <c:f>'3M'!$O$31:$O$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99.712525880609149</c:v>
                </c:pt>
                <c:pt idx="42">
                  <c:v>98.507134997198278</c:v>
                </c:pt>
                <c:pt idx="43">
                  <c:v>98.2919095393123</c:v>
                </c:pt>
                <c:pt idx="44">
                  <c:v>99.212709486482879</c:v>
                </c:pt>
                <c:pt idx="45">
                  <c:v>99.210663712864559</c:v>
                </c:pt>
                <c:pt idx="46">
                  <c:v>98.496202405019957</c:v>
                </c:pt>
                <c:pt idx="47">
                  <c:v>98.437062467202125</c:v>
                </c:pt>
                <c:pt idx="48">
                  <c:v>98.897299192855286</c:v>
                </c:pt>
                <c:pt idx="49">
                  <c:v>101.02134530554071</c:v>
                </c:pt>
                <c:pt idx="50">
                  <c:v>100.55255839989994</c:v>
                </c:pt>
                <c:pt idx="51">
                  <c:v>102.04284871180431</c:v>
                </c:pt>
                <c:pt idx="52">
                  <c:v>100.71459538579865</c:v>
                </c:pt>
                <c:pt idx="53">
                  <c:v>100.48439685112858</c:v>
                </c:pt>
                <c:pt idx="54">
                  <c:v>100.24286119814289</c:v>
                </c:pt>
                <c:pt idx="55">
                  <c:v>101.29918241851038</c:v>
                </c:pt>
                <c:pt idx="56">
                  <c:v>100.86398370851245</c:v>
                </c:pt>
                <c:pt idx="57">
                  <c:v>101.2674832920611</c:v>
                </c:pt>
                <c:pt idx="58">
                  <c:v>99.337645740529481</c:v>
                </c:pt>
                <c:pt idx="59">
                  <c:v>99.671730555544769</c:v>
                </c:pt>
                <c:pt idx="60">
                  <c:v>98.310111722782224</c:v>
                </c:pt>
                <c:pt idx="61">
                  <c:v>96.766048969357541</c:v>
                </c:pt>
                <c:pt idx="62">
                  <c:v>95.514591968413654</c:v>
                </c:pt>
                <c:pt idx="63">
                  <c:v>94.630876767428532</c:v>
                </c:pt>
                <c:pt idx="64">
                  <c:v>94.041652109333484</c:v>
                </c:pt>
                <c:pt idx="65">
                  <c:v>92.792348916858941</c:v>
                </c:pt>
                <c:pt idx="66">
                  <c:v>91.835285743694541</c:v>
                </c:pt>
                <c:pt idx="67">
                  <c:v>91.392752266913192</c:v>
                </c:pt>
                <c:pt idx="68">
                  <c:v>89.99703823952386</c:v>
                </c:pt>
                <c:pt idx="69">
                  <c:v>90.654681172347253</c:v>
                </c:pt>
                <c:pt idx="70">
                  <c:v>91.313859591684022</c:v>
                </c:pt>
                <c:pt idx="71">
                  <c:v>90.358148786046527</c:v>
                </c:pt>
                <c:pt idx="72">
                  <c:v>88.961428108870507</c:v>
                </c:pt>
                <c:pt idx="73">
                  <c:v>90.353018061140929</c:v>
                </c:pt>
                <c:pt idx="74">
                  <c:v>91.377475829091537</c:v>
                </c:pt>
                <c:pt idx="75">
                  <c:v>91.008211838639994</c:v>
                </c:pt>
                <c:pt idx="76">
                  <c:v>90.361662549123352</c:v>
                </c:pt>
                <c:pt idx="77">
                  <c:v>89.369975345883162</c:v>
                </c:pt>
                <c:pt idx="78">
                  <c:v>88.713968555011689</c:v>
                </c:pt>
                <c:pt idx="79">
                  <c:v>88.018576081807723</c:v>
                </c:pt>
                <c:pt idx="80">
                  <c:v>91.297258346213908</c:v>
                </c:pt>
                <c:pt idx="81">
                  <c:v>93.572203320685574</c:v>
                </c:pt>
                <c:pt idx="82">
                  <c:v>92.559219141180421</c:v>
                </c:pt>
                <c:pt idx="83">
                  <c:v>95.017568848210459</c:v>
                </c:pt>
                <c:pt idx="84">
                  <c:v>94.352519965301838</c:v>
                </c:pt>
                <c:pt idx="85">
                  <c:v>96.329120349648008</c:v>
                </c:pt>
                <c:pt idx="86">
                  <c:v>95.533464835324523</c:v>
                </c:pt>
                <c:pt idx="87">
                  <c:v>95.520766578706514</c:v>
                </c:pt>
                <c:pt idx="88">
                  <c:v>95.258802640320809</c:v>
                </c:pt>
                <c:pt idx="89">
                  <c:v>94.737099634066453</c:v>
                </c:pt>
                <c:pt idx="90">
                  <c:v>94.772792642219585</c:v>
                </c:pt>
                <c:pt idx="91">
                  <c:v>94.810392926624331</c:v>
                </c:pt>
                <c:pt idx="92">
                  <c:v>94.823017664751106</c:v>
                </c:pt>
                <c:pt idx="93">
                  <c:v>95.086146693489923</c:v>
                </c:pt>
                <c:pt idx="94">
                  <c:v>94.473101696967845</c:v>
                </c:pt>
                <c:pt idx="95">
                  <c:v>94.292117336491287</c:v>
                </c:pt>
                <c:pt idx="96">
                  <c:v>92.816382705469735</c:v>
                </c:pt>
                <c:pt idx="97">
                  <c:v>92.660497411961003</c:v>
                </c:pt>
                <c:pt idx="98">
                  <c:v>92.797427736539888</c:v>
                </c:pt>
                <c:pt idx="99">
                  <c:v>92.177362965182539</c:v>
                </c:pt>
                <c:pt idx="100">
                  <c:v>91.977709376150358</c:v>
                </c:pt>
                <c:pt idx="101">
                  <c:v>91.925543593721272</c:v>
                </c:pt>
                <c:pt idx="102">
                  <c:v>90.408555608175504</c:v>
                </c:pt>
                <c:pt idx="103">
                  <c:v>90.009609101536654</c:v>
                </c:pt>
                <c:pt idx="104">
                  <c:v>90.865978254399195</c:v>
                </c:pt>
                <c:pt idx="105">
                  <c:v>90.798130544252729</c:v>
                </c:pt>
                <c:pt idx="106">
                  <c:v>90.402356759210988</c:v>
                </c:pt>
                <c:pt idx="107">
                  <c:v>89.544281053673615</c:v>
                </c:pt>
                <c:pt idx="108">
                  <c:v>90.267729604317765</c:v>
                </c:pt>
                <c:pt idx="109">
                  <c:v>90.068318127856529</c:v>
                </c:pt>
                <c:pt idx="110">
                  <c:v>92.639375986386682</c:v>
                </c:pt>
                <c:pt idx="111">
                  <c:v>93.490720968845636</c:v>
                </c:pt>
                <c:pt idx="112">
                  <c:v>94.593883018200643</c:v>
                </c:pt>
                <c:pt idx="113">
                  <c:v>95.946692113607028</c:v>
                </c:pt>
                <c:pt idx="114">
                  <c:v>96.781016703658977</c:v>
                </c:pt>
                <c:pt idx="115">
                  <c:v>95.227114961226917</c:v>
                </c:pt>
                <c:pt idx="116">
                  <c:v>93.201980377314797</c:v>
                </c:pt>
                <c:pt idx="117">
                  <c:v>91.709305269886499</c:v>
                </c:pt>
                <c:pt idx="118">
                  <c:v>91.139109648327121</c:v>
                </c:pt>
                <c:pt idx="119">
                  <c:v>93.405714934466772</c:v>
                </c:pt>
                <c:pt idx="120">
                  <c:v>97.794494643403979</c:v>
                </c:pt>
                <c:pt idx="121">
                  <c:v>99.910341927169057</c:v>
                </c:pt>
                <c:pt idx="122">
                  <c:v>99.820250528473053</c:v>
                </c:pt>
                <c:pt idx="123">
                  <c:v>96.196098979661471</c:v>
                </c:pt>
                <c:pt idx="124">
                  <c:v>95.725937261815616</c:v>
                </c:pt>
                <c:pt idx="125">
                  <c:v>94.808891838308796</c:v>
                </c:pt>
                <c:pt idx="126">
                  <c:v>91.019668796819474</c:v>
                </c:pt>
                <c:pt idx="127">
                  <c:v>94.109196039865168</c:v>
                </c:pt>
                <c:pt idx="128">
                  <c:v>93.974633097861755</c:v>
                </c:pt>
                <c:pt idx="129">
                  <c:v>93.656441464763375</c:v>
                </c:pt>
                <c:pt idx="130">
                  <c:v>95.045116408242279</c:v>
                </c:pt>
                <c:pt idx="131">
                  <c:v>91.398950118713117</c:v>
                </c:pt>
                <c:pt idx="132">
                  <c:v>91.220414656151917</c:v>
                </c:pt>
                <c:pt idx="133">
                  <c:v>93.747167280912237</c:v>
                </c:pt>
                <c:pt idx="134">
                  <c:v>94.411061768765634</c:v>
                </c:pt>
                <c:pt idx="135">
                  <c:v>93.520184813504443</c:v>
                </c:pt>
                <c:pt idx="136">
                  <c:v>96.822857303899099</c:v>
                </c:pt>
                <c:pt idx="137">
                  <c:v>93.958474996953555</c:v>
                </c:pt>
                <c:pt idx="138">
                  <c:v>93.782219031101548</c:v>
                </c:pt>
                <c:pt idx="139">
                  <c:v>92.872012514135562</c:v>
                </c:pt>
                <c:pt idx="140">
                  <c:v>91.138795004176231</c:v>
                </c:pt>
                <c:pt idx="141">
                  <c:v>87.147701793593399</c:v>
                </c:pt>
                <c:pt idx="142">
                  <c:v>86.613949185958077</c:v>
                </c:pt>
                <c:pt idx="143">
                  <c:v>86.022692867909186</c:v>
                </c:pt>
                <c:pt idx="144">
                  <c:v>86.414804446476566</c:v>
                </c:pt>
                <c:pt idx="145">
                  <c:v>84.57810983785356</c:v>
                </c:pt>
                <c:pt idx="146">
                  <c:v>81.230372398098694</c:v>
                </c:pt>
                <c:pt idx="147">
                  <c:v>78.742990408796402</c:v>
                </c:pt>
                <c:pt idx="148">
                  <c:v>79.791738809850699</c:v>
                </c:pt>
                <c:pt idx="149">
                  <c:v>79.35540316964169</c:v>
                </c:pt>
                <c:pt idx="150">
                  <c:v>79.10646720284187</c:v>
                </c:pt>
                <c:pt idx="151">
                  <c:v>76.998069650419097</c:v>
                </c:pt>
                <c:pt idx="152">
                  <c:v>74.699734961938219</c:v>
                </c:pt>
                <c:pt idx="153">
                  <c:v>74.880815288127678</c:v>
                </c:pt>
                <c:pt idx="154">
                  <c:v>74.446490710111419</c:v>
                </c:pt>
                <c:pt idx="155">
                  <c:v>74.011633867954728</c:v>
                </c:pt>
                <c:pt idx="156">
                  <c:v>74.134654825653612</c:v>
                </c:pt>
                <c:pt idx="157">
                  <c:v>74.754237296184044</c:v>
                </c:pt>
                <c:pt idx="158">
                  <c:v>75.062788484931829</c:v>
                </c:pt>
                <c:pt idx="159">
                  <c:v>75.557978490331195</c:v>
                </c:pt>
                <c:pt idx="160">
                  <c:v>74.971575274627554</c:v>
                </c:pt>
                <c:pt idx="161">
                  <c:v>75.13252252465324</c:v>
                </c:pt>
                <c:pt idx="162">
                  <c:v>75.169019558558418</c:v>
                </c:pt>
                <c:pt idx="163">
                  <c:v>74.925090185078432</c:v>
                </c:pt>
                <c:pt idx="164">
                  <c:v>77.08184319207399</c:v>
                </c:pt>
                <c:pt idx="165">
                  <c:v>77.076961121848001</c:v>
                </c:pt>
                <c:pt idx="166">
                  <c:v>77.619464520152746</c:v>
                </c:pt>
                <c:pt idx="167">
                  <c:v>77.911624084420382</c:v>
                </c:pt>
                <c:pt idx="168">
                  <c:v>77.751087192276628</c:v>
                </c:pt>
                <c:pt idx="169">
                  <c:v>76.675148658615186</c:v>
                </c:pt>
                <c:pt idx="170">
                  <c:v>75.426401519286387</c:v>
                </c:pt>
                <c:pt idx="171">
                  <c:v>76.309197927002998</c:v>
                </c:pt>
                <c:pt idx="172">
                  <c:v>76.012141102303673</c:v>
                </c:pt>
                <c:pt idx="173">
                  <c:v>75.303304131008403</c:v>
                </c:pt>
                <c:pt idx="174">
                  <c:v>74.298505798543204</c:v>
                </c:pt>
                <c:pt idx="175">
                  <c:v>73.647175577936068</c:v>
                </c:pt>
                <c:pt idx="176">
                  <c:v>72.052429167079836</c:v>
                </c:pt>
                <c:pt idx="177">
                  <c:v>73.465264402105191</c:v>
                </c:pt>
                <c:pt idx="178">
                  <c:v>72.694979237721512</c:v>
                </c:pt>
                <c:pt idx="179">
                  <c:v>72.693309294420914</c:v>
                </c:pt>
                <c:pt idx="180">
                  <c:v>73.460366437467599</c:v>
                </c:pt>
                <c:pt idx="181">
                  <c:v>70.921474031803498</c:v>
                </c:pt>
                <c:pt idx="182">
                  <c:v>70.139768045768932</c:v>
                </c:pt>
                <c:pt idx="183">
                  <c:v>70.032091182282642</c:v>
                </c:pt>
                <c:pt idx="184">
                  <c:v>68.433593011315892</c:v>
                </c:pt>
                <c:pt idx="185">
                  <c:v>67.068591252038615</c:v>
                </c:pt>
                <c:pt idx="186">
                  <c:v>66.414500884715025</c:v>
                </c:pt>
                <c:pt idx="187">
                  <c:v>66.235506272367047</c:v>
                </c:pt>
                <c:pt idx="188">
                  <c:v>66.886223921520269</c:v>
                </c:pt>
                <c:pt idx="189">
                  <c:v>66.678819082013803</c:v>
                </c:pt>
                <c:pt idx="190">
                  <c:v>67.39921619755826</c:v>
                </c:pt>
                <c:pt idx="191">
                  <c:v>68.324418092972408</c:v>
                </c:pt>
                <c:pt idx="192">
                  <c:v>67.498550231404948</c:v>
                </c:pt>
                <c:pt idx="193">
                  <c:v>65.166962566439906</c:v>
                </c:pt>
                <c:pt idx="194">
                  <c:v>65.003994763868405</c:v>
                </c:pt>
                <c:pt idx="195">
                  <c:v>65.71642176205701</c:v>
                </c:pt>
                <c:pt idx="196">
                  <c:v>66.877654749572756</c:v>
                </c:pt>
                <c:pt idx="197">
                  <c:v>68.883389199107725</c:v>
                </c:pt>
                <c:pt idx="198">
                  <c:v>69.390032600934148</c:v>
                </c:pt>
                <c:pt idx="199">
                  <c:v>68.120226007123676</c:v>
                </c:pt>
                <c:pt idx="200">
                  <c:v>69.042202318435145</c:v>
                </c:pt>
                <c:pt idx="201">
                  <c:v>68.822684922621775</c:v>
                </c:pt>
                <c:pt idx="202">
                  <c:v>69.909458501726249</c:v>
                </c:pt>
                <c:pt idx="203">
                  <c:v>69.961386236708179</c:v>
                </c:pt>
                <c:pt idx="204">
                  <c:v>69.58074792308858</c:v>
                </c:pt>
                <c:pt idx="205">
                  <c:v>70.510772489923866</c:v>
                </c:pt>
                <c:pt idx="206">
                  <c:v>68.345806111639746</c:v>
                </c:pt>
                <c:pt idx="207">
                  <c:v>68.42032633531241</c:v>
                </c:pt>
                <c:pt idx="208">
                  <c:v>67.907683780575766</c:v>
                </c:pt>
                <c:pt idx="209">
                  <c:v>69.069840527513733</c:v>
                </c:pt>
                <c:pt idx="210">
                  <c:v>68.3273966410176</c:v>
                </c:pt>
                <c:pt idx="211">
                  <c:v>68.420856765062368</c:v>
                </c:pt>
                <c:pt idx="212">
                  <c:v>67.031891333199326</c:v>
                </c:pt>
                <c:pt idx="213">
                  <c:v>66.445173232281377</c:v>
                </c:pt>
                <c:pt idx="214">
                  <c:v>65.563731413795921</c:v>
                </c:pt>
                <c:pt idx="215">
                  <c:v>64.244300875523479</c:v>
                </c:pt>
                <c:pt idx="216">
                  <c:v>64.294162389561805</c:v>
                </c:pt>
                <c:pt idx="217">
                  <c:v>63.767044698009592</c:v>
                </c:pt>
                <c:pt idx="218">
                  <c:v>63.028094220088029</c:v>
                </c:pt>
                <c:pt idx="219">
                  <c:v>64.238569560472286</c:v>
                </c:pt>
                <c:pt idx="220">
                  <c:v>63.498082083791068</c:v>
                </c:pt>
                <c:pt idx="221">
                  <c:v>63.601867579527749</c:v>
                </c:pt>
                <c:pt idx="222">
                  <c:v>63.812412770374344</c:v>
                </c:pt>
                <c:pt idx="223">
                  <c:v>65.023911083400662</c:v>
                </c:pt>
                <c:pt idx="224">
                  <c:v>65.350163637199856</c:v>
                </c:pt>
                <c:pt idx="225">
                  <c:v>66.102396545888524</c:v>
                </c:pt>
                <c:pt idx="226">
                  <c:v>65.398678943823199</c:v>
                </c:pt>
                <c:pt idx="227">
                  <c:v>65.933279743414872</c:v>
                </c:pt>
                <c:pt idx="228">
                  <c:v>67.663573490758665</c:v>
                </c:pt>
                <c:pt idx="229">
                  <c:v>67.819943341463926</c:v>
                </c:pt>
                <c:pt idx="230">
                  <c:v>67.474676244881152</c:v>
                </c:pt>
                <c:pt idx="231">
                  <c:v>67.297959244796417</c:v>
                </c:pt>
                <c:pt idx="232">
                  <c:v>67.405680018845487</c:v>
                </c:pt>
                <c:pt idx="233">
                  <c:v>67.891931358384014</c:v>
                </c:pt>
                <c:pt idx="234">
                  <c:v>68.215176743966282</c:v>
                </c:pt>
                <c:pt idx="235">
                  <c:v>67.187452572726684</c:v>
                </c:pt>
                <c:pt idx="236">
                  <c:v>67.293329909462287</c:v>
                </c:pt>
                <c:pt idx="237">
                  <c:v>66.806633934237865</c:v>
                </c:pt>
                <c:pt idx="238">
                  <c:v>66.913674659530542</c:v>
                </c:pt>
                <c:pt idx="239">
                  <c:v>66.751285902799935</c:v>
                </c:pt>
                <c:pt idx="240">
                  <c:v>65.21973364714529</c:v>
                </c:pt>
                <c:pt idx="241">
                  <c:v>64.888383611253985</c:v>
                </c:pt>
                <c:pt idx="242">
                  <c:v>65.536556071442448</c:v>
                </c:pt>
                <c:pt idx="243">
                  <c:v>65.372897300681288</c:v>
                </c:pt>
                <c:pt idx="244">
                  <c:v>64.885893367305357</c:v>
                </c:pt>
                <c:pt idx="245">
                  <c:v>64.344115716803543</c:v>
                </c:pt>
                <c:pt idx="246">
                  <c:v>64.451074847735526</c:v>
                </c:pt>
                <c:pt idx="247">
                  <c:v>65.261881919329198</c:v>
                </c:pt>
                <c:pt idx="248">
                  <c:v>66.50367538660646</c:v>
                </c:pt>
                <c:pt idx="249">
                  <c:v>66.77039520416244</c:v>
                </c:pt>
                <c:pt idx="250">
                  <c:v>66.483235392346543</c:v>
                </c:pt>
                <c:pt idx="251">
                  <c:v>66.798841466042447</c:v>
                </c:pt>
                <c:pt idx="252">
                  <c:v>66.591818179546266</c:v>
                </c:pt>
                <c:pt idx="253">
                  <c:v>68.488129138665187</c:v>
                </c:pt>
                <c:pt idx="254">
                  <c:v>68.53810607293255</c:v>
                </c:pt>
                <c:pt idx="255">
                  <c:v>67.951540938490311</c:v>
                </c:pt>
                <c:pt idx="256">
                  <c:v>68.795597105495418</c:v>
                </c:pt>
                <c:pt idx="257">
                  <c:v>68.500009081403462</c:v>
                </c:pt>
                <c:pt idx="258">
                  <c:v>68.499412957425776</c:v>
                </c:pt>
                <c:pt idx="259">
                  <c:v>67.57447809454797</c:v>
                </c:pt>
                <c:pt idx="260">
                  <c:v>67.191617687659175</c:v>
                </c:pt>
                <c:pt idx="261">
                  <c:v>66.537912996059987</c:v>
                </c:pt>
                <c:pt idx="262">
                  <c:v>68.168654301041187</c:v>
                </c:pt>
                <c:pt idx="263">
                  <c:v>66.968078352861909</c:v>
                </c:pt>
                <c:pt idx="264">
                  <c:v>66.607259901937354</c:v>
                </c:pt>
                <c:pt idx="265">
                  <c:v>65.609469590280611</c:v>
                </c:pt>
                <c:pt idx="266">
                  <c:v>65.177936546591724</c:v>
                </c:pt>
                <c:pt idx="267">
                  <c:v>64.984253069318569</c:v>
                </c:pt>
                <c:pt idx="268">
                  <c:v>64.338475722335005</c:v>
                </c:pt>
                <c:pt idx="269">
                  <c:v>64.444661889913405</c:v>
                </c:pt>
                <c:pt idx="270">
                  <c:v>66.488575942326534</c:v>
                </c:pt>
                <c:pt idx="271">
                  <c:v>69.449387515705126</c:v>
                </c:pt>
                <c:pt idx="272">
                  <c:v>69.553172787284382</c:v>
                </c:pt>
                <c:pt idx="273">
                  <c:v>70.390872473320016</c:v>
                </c:pt>
                <c:pt idx="274">
                  <c:v>63.355292773108893</c:v>
                </c:pt>
                <c:pt idx="275">
                  <c:v>62.418712678437167</c:v>
                </c:pt>
                <c:pt idx="276">
                  <c:v>61.435419819786915</c:v>
                </c:pt>
                <c:pt idx="277">
                  <c:v>57.381704376022554</c:v>
                </c:pt>
                <c:pt idx="278">
                  <c:v>57.844309912665146</c:v>
                </c:pt>
                <c:pt idx="279">
                  <c:v>56.075907527499297</c:v>
                </c:pt>
                <c:pt idx="280">
                  <c:v>58.808390964924769</c:v>
                </c:pt>
                <c:pt idx="281">
                  <c:v>60.71144154488691</c:v>
                </c:pt>
                <c:pt idx="282">
                  <c:v>54.839692702829822</c:v>
                </c:pt>
                <c:pt idx="283">
                  <c:v>54.93404119605664</c:v>
                </c:pt>
                <c:pt idx="284">
                  <c:v>57.490200034511986</c:v>
                </c:pt>
                <c:pt idx="285">
                  <c:v>58.169430170914289</c:v>
                </c:pt>
                <c:pt idx="286">
                  <c:v>59.535034850142459</c:v>
                </c:pt>
                <c:pt idx="287">
                  <c:v>60.680374967586609</c:v>
                </c:pt>
                <c:pt idx="288">
                  <c:v>60.276978212768043</c:v>
                </c:pt>
                <c:pt idx="289">
                  <c:v>59.397237279465699</c:v>
                </c:pt>
                <c:pt idx="290">
                  <c:v>58.667191685923491</c:v>
                </c:pt>
                <c:pt idx="291">
                  <c:v>56.226181579600471</c:v>
                </c:pt>
                <c:pt idx="292">
                  <c:v>48.346551664905697</c:v>
                </c:pt>
                <c:pt idx="293">
                  <c:v>46.378118905192643</c:v>
                </c:pt>
                <c:pt idx="294">
                  <c:v>58.215215803936566</c:v>
                </c:pt>
                <c:pt idx="295">
                  <c:v>56.426018846964233</c:v>
                </c:pt>
                <c:pt idx="296">
                  <c:v>56.398788383721616</c:v>
                </c:pt>
                <c:pt idx="297">
                  <c:v>56.21636394053138</c:v>
                </c:pt>
                <c:pt idx="298">
                  <c:v>55.609911260608101</c:v>
                </c:pt>
                <c:pt idx="299">
                  <c:v>55.68137611105972</c:v>
                </c:pt>
                <c:pt idx="300">
                  <c:v>55.554972183890904</c:v>
                </c:pt>
                <c:pt idx="301">
                  <c:v>55.375869952392407</c:v>
                </c:pt>
                <c:pt idx="302">
                  <c:v>55.846581510492001</c:v>
                </c:pt>
                <c:pt idx="303">
                  <c:v>55.877139366604048</c:v>
                </c:pt>
                <c:pt idx="304">
                  <c:v>54.954662825552994</c:v>
                </c:pt>
                <c:pt idx="305">
                  <c:v>54.901034178911125</c:v>
                </c:pt>
                <c:pt idx="306">
                  <c:v>54.42698209475266</c:v>
                </c:pt>
                <c:pt idx="307">
                  <c:v>55.467869127317549</c:v>
                </c:pt>
                <c:pt idx="308">
                  <c:v>55.092688219128839</c:v>
                </c:pt>
                <c:pt idx="309">
                  <c:v>55.19737873385295</c:v>
                </c:pt>
                <c:pt idx="310">
                  <c:v>55.164677022866108</c:v>
                </c:pt>
                <c:pt idx="311">
                  <c:v>54.977179108218635</c:v>
                </c:pt>
                <c:pt idx="312">
                  <c:v>55.15892440771615</c:v>
                </c:pt>
                <c:pt idx="313">
                  <c:v>56.295198313555204</c:v>
                </c:pt>
                <c:pt idx="314">
                  <c:v>56.230767600563532</c:v>
                </c:pt>
                <c:pt idx="315">
                  <c:v>56.446087961668873</c:v>
                </c:pt>
                <c:pt idx="316">
                  <c:v>57.247238908959361</c:v>
                </c:pt>
                <c:pt idx="317">
                  <c:v>60.296206552868924</c:v>
                </c:pt>
                <c:pt idx="318">
                  <c:v>58.367326669702997</c:v>
                </c:pt>
                <c:pt idx="319">
                  <c:v>58.003939606704357</c:v>
                </c:pt>
                <c:pt idx="320">
                  <c:v>59.995585990942963</c:v>
                </c:pt>
                <c:pt idx="321">
                  <c:v>60.894665100322122</c:v>
                </c:pt>
                <c:pt idx="322">
                  <c:v>60.565026210684074</c:v>
                </c:pt>
                <c:pt idx="323">
                  <c:v>61.309435459375422</c:v>
                </c:pt>
                <c:pt idx="324">
                  <c:v>59.515723010329729</c:v>
                </c:pt>
                <c:pt idx="325">
                  <c:v>59.711342940138579</c:v>
                </c:pt>
                <c:pt idx="326">
                  <c:v>61.038048271584138</c:v>
                </c:pt>
                <c:pt idx="327">
                  <c:v>60.057987382547616</c:v>
                </c:pt>
                <c:pt idx="328">
                  <c:v>59.866681177304471</c:v>
                </c:pt>
                <c:pt idx="329">
                  <c:v>60.306365237036381</c:v>
                </c:pt>
                <c:pt idx="330">
                  <c:v>60.646625559031541</c:v>
                </c:pt>
                <c:pt idx="331">
                  <c:v>60.582769807050553</c:v>
                </c:pt>
                <c:pt idx="332">
                  <c:v>60.567561722945612</c:v>
                </c:pt>
                <c:pt idx="333">
                  <c:v>60.654587392240558</c:v>
                </c:pt>
                <c:pt idx="334">
                  <c:v>60.617573063902832</c:v>
                </c:pt>
                <c:pt idx="335">
                  <c:v>60.334924348895377</c:v>
                </c:pt>
                <c:pt idx="336">
                  <c:v>60.321993558494476</c:v>
                </c:pt>
                <c:pt idx="337">
                  <c:v>57.30829085756698</c:v>
                </c:pt>
                <c:pt idx="338">
                  <c:v>56.853589870300432</c:v>
                </c:pt>
                <c:pt idx="339">
                  <c:v>55.923902695209854</c:v>
                </c:pt>
                <c:pt idx="340">
                  <c:v>55.275837850177325</c:v>
                </c:pt>
                <c:pt idx="341">
                  <c:v>54.911044230820671</c:v>
                </c:pt>
                <c:pt idx="342">
                  <c:v>56.242651636668818</c:v>
                </c:pt>
                <c:pt idx="343">
                  <c:v>55.957024356776429</c:v>
                </c:pt>
                <c:pt idx="344">
                  <c:v>54.664464137011215</c:v>
                </c:pt>
                <c:pt idx="345">
                  <c:v>53.733122730228708</c:v>
                </c:pt>
                <c:pt idx="346">
                  <c:v>54.74037724173364</c:v>
                </c:pt>
                <c:pt idx="347">
                  <c:v>54.334425221833904</c:v>
                </c:pt>
                <c:pt idx="348">
                  <c:v>53.471397505982139</c:v>
                </c:pt>
                <c:pt idx="349">
                  <c:v>52.328490361755883</c:v>
                </c:pt>
                <c:pt idx="350">
                  <c:v>52.487684368152031</c:v>
                </c:pt>
                <c:pt idx="351">
                  <c:v>55.315763063326116</c:v>
                </c:pt>
                <c:pt idx="352">
                  <c:v>55.874892477461444</c:v>
                </c:pt>
                <c:pt idx="353">
                  <c:v>56.156909959789147</c:v>
                </c:pt>
                <c:pt idx="354">
                  <c:v>56.464523511481204</c:v>
                </c:pt>
                <c:pt idx="355">
                  <c:v>60.288128094916644</c:v>
                </c:pt>
                <c:pt idx="356">
                  <c:v>61.266595635431969</c:v>
                </c:pt>
                <c:pt idx="357">
                  <c:v>61.454161961110771</c:v>
                </c:pt>
                <c:pt idx="358">
                  <c:v>61.322337204413849</c:v>
                </c:pt>
                <c:pt idx="359">
                  <c:v>60.754652780299899</c:v>
                </c:pt>
                <c:pt idx="360">
                  <c:v>60.49154650201973</c:v>
                </c:pt>
                <c:pt idx="361">
                  <c:v>59.312560317159623</c:v>
                </c:pt>
                <c:pt idx="362">
                  <c:v>60.924862328835616</c:v>
                </c:pt>
                <c:pt idx="363">
                  <c:v>61.052134929196164</c:v>
                </c:pt>
                <c:pt idx="364">
                  <c:v>59.236688940885678</c:v>
                </c:pt>
                <c:pt idx="365">
                  <c:v>58.737110521968923</c:v>
                </c:pt>
                <c:pt idx="366">
                  <c:v>58.608869016286974</c:v>
                </c:pt>
                <c:pt idx="367">
                  <c:v>58.475668757954139</c:v>
                </c:pt>
                <c:pt idx="368">
                  <c:v>58.120439773485494</c:v>
                </c:pt>
                <c:pt idx="369">
                  <c:v>59.317564610037145</c:v>
                </c:pt>
                <c:pt idx="370">
                  <c:v>59.847268137292048</c:v>
                </c:pt>
                <c:pt idx="371">
                  <c:v>58.639678622281117</c:v>
                </c:pt>
                <c:pt idx="372">
                  <c:v>58.643401985632423</c:v>
                </c:pt>
                <c:pt idx="373">
                  <c:v>58.037467155268068</c:v>
                </c:pt>
                <c:pt idx="374">
                  <c:v>56.873843020119416</c:v>
                </c:pt>
                <c:pt idx="375">
                  <c:v>54.499652248207262</c:v>
                </c:pt>
                <c:pt idx="376">
                  <c:v>54.029638119922772</c:v>
                </c:pt>
                <c:pt idx="377">
                  <c:v>52.819700536203477</c:v>
                </c:pt>
                <c:pt idx="378">
                  <c:v>52.123715342269549</c:v>
                </c:pt>
                <c:pt idx="379">
                  <c:v>51.02100309253813</c:v>
                </c:pt>
                <c:pt idx="380">
                  <c:v>51.589610735839358</c:v>
                </c:pt>
                <c:pt idx="381">
                  <c:v>51.343647244471619</c:v>
                </c:pt>
                <c:pt idx="382">
                  <c:v>51.057640888537826</c:v>
                </c:pt>
                <c:pt idx="383">
                  <c:v>50.078277481694066</c:v>
                </c:pt>
                <c:pt idx="384">
                  <c:v>48.730412618998066</c:v>
                </c:pt>
                <c:pt idx="385">
                  <c:v>48.034296553180532</c:v>
                </c:pt>
                <c:pt idx="386">
                  <c:v>46.850284408323105</c:v>
                </c:pt>
                <c:pt idx="387">
                  <c:v>45.869150344959216</c:v>
                </c:pt>
                <c:pt idx="388">
                  <c:v>46.111677523745399</c:v>
                </c:pt>
                <c:pt idx="389">
                  <c:v>46.274219868918017</c:v>
                </c:pt>
                <c:pt idx="390">
                  <c:v>46.110778339696523</c:v>
                </c:pt>
                <c:pt idx="391">
                  <c:v>47.088899556887185</c:v>
                </c:pt>
                <c:pt idx="392">
                  <c:v>47.494397406130282</c:v>
                </c:pt>
                <c:pt idx="393">
                  <c:v>47.010945512366909</c:v>
                </c:pt>
                <c:pt idx="394">
                  <c:v>47.491546417498078</c:v>
                </c:pt>
                <c:pt idx="395">
                  <c:v>47.463946511171628</c:v>
                </c:pt>
                <c:pt idx="396">
                  <c:v>46.263450306094953</c:v>
                </c:pt>
                <c:pt idx="397">
                  <c:v>46.557646844097938</c:v>
                </c:pt>
                <c:pt idx="398">
                  <c:v>46.870774497403367</c:v>
                </c:pt>
                <c:pt idx="399">
                  <c:v>46.948522856321993</c:v>
                </c:pt>
                <c:pt idx="400">
                  <c:v>45.967804614327214</c:v>
                </c:pt>
                <c:pt idx="401">
                  <c:v>45.573475276453095</c:v>
                </c:pt>
                <c:pt idx="402">
                  <c:v>45.415743329357653</c:v>
                </c:pt>
                <c:pt idx="403">
                  <c:v>45.76836873000493</c:v>
                </c:pt>
                <c:pt idx="404">
                  <c:v>44.826337760496102</c:v>
                </c:pt>
                <c:pt idx="405">
                  <c:v>45.098835355906921</c:v>
                </c:pt>
                <c:pt idx="406">
                  <c:v>45.529606263025158</c:v>
                </c:pt>
                <c:pt idx="407">
                  <c:v>45.8815920252094</c:v>
                </c:pt>
                <c:pt idx="408">
                  <c:v>48.238822287572717</c:v>
                </c:pt>
                <c:pt idx="409">
                  <c:v>48.625055250463149</c:v>
                </c:pt>
                <c:pt idx="410">
                  <c:v>50.735516205674209</c:v>
                </c:pt>
                <c:pt idx="411">
                  <c:v>51.128941172213679</c:v>
                </c:pt>
                <c:pt idx="412">
                  <c:v>52.026156464592418</c:v>
                </c:pt>
                <c:pt idx="413">
                  <c:v>51.300357390281739</c:v>
                </c:pt>
                <c:pt idx="414">
                  <c:v>51.216623065464859</c:v>
                </c:pt>
                <c:pt idx="415">
                  <c:v>51.242212887451743</c:v>
                </c:pt>
                <c:pt idx="416">
                  <c:v>52.458573249469033</c:v>
                </c:pt>
                <c:pt idx="417">
                  <c:v>52.399682709297892</c:v>
                </c:pt>
                <c:pt idx="418">
                  <c:v>54.631312735952115</c:v>
                </c:pt>
                <c:pt idx="419">
                  <c:v>55.644113544042213</c:v>
                </c:pt>
                <c:pt idx="420">
                  <c:v>53.349202420931832</c:v>
                </c:pt>
                <c:pt idx="421">
                  <c:v>52.444694923445546</c:v>
                </c:pt>
                <c:pt idx="422">
                  <c:v>53.196227118455177</c:v>
                </c:pt>
                <c:pt idx="423">
                  <c:v>53.320108719039602</c:v>
                </c:pt>
                <c:pt idx="424">
                  <c:v>51.854993667399427</c:v>
                </c:pt>
                <c:pt idx="425">
                  <c:v>51.684448657555087</c:v>
                </c:pt>
                <c:pt idx="426">
                  <c:v>52.060729916204998</c:v>
                </c:pt>
                <c:pt idx="427">
                  <c:v>52.813184962416962</c:v>
                </c:pt>
                <c:pt idx="428">
                  <c:v>51.346795720556699</c:v>
                </c:pt>
                <c:pt idx="429">
                  <c:v>50.828980017494835</c:v>
                </c:pt>
                <c:pt idx="430">
                  <c:v>51.323451387423951</c:v>
                </c:pt>
                <c:pt idx="431">
                  <c:v>52.210241479696506</c:v>
                </c:pt>
                <c:pt idx="432">
                  <c:v>51.826219647673007</c:v>
                </c:pt>
                <c:pt idx="433">
                  <c:v>51.628679833930128</c:v>
                </c:pt>
                <c:pt idx="434">
                  <c:v>52.099754171169799</c:v>
                </c:pt>
                <c:pt idx="435">
                  <c:v>51.77689261193408</c:v>
                </c:pt>
                <c:pt idx="436">
                  <c:v>51.718083624090973</c:v>
                </c:pt>
                <c:pt idx="437">
                  <c:v>51.625492262081494</c:v>
                </c:pt>
                <c:pt idx="438">
                  <c:v>51.338692791659298</c:v>
                </c:pt>
                <c:pt idx="439">
                  <c:v>50.437538522534247</c:v>
                </c:pt>
                <c:pt idx="440">
                  <c:v>49.679514977403507</c:v>
                </c:pt>
                <c:pt idx="441">
                  <c:v>49.71963255506072</c:v>
                </c:pt>
                <c:pt idx="442">
                  <c:v>50.34573299205698</c:v>
                </c:pt>
                <c:pt idx="443">
                  <c:v>48.799735169183421</c:v>
                </c:pt>
                <c:pt idx="444">
                  <c:v>49.464358209347161</c:v>
                </c:pt>
                <c:pt idx="445">
                  <c:v>47.876668433980356</c:v>
                </c:pt>
                <c:pt idx="446">
                  <c:v>47.247178664199225</c:v>
                </c:pt>
                <c:pt idx="447">
                  <c:v>49.374449554227482</c:v>
                </c:pt>
                <c:pt idx="448">
                  <c:v>49.578239728260066</c:v>
                </c:pt>
                <c:pt idx="449">
                  <c:v>49.465791207197661</c:v>
                </c:pt>
                <c:pt idx="450">
                  <c:v>49.647973651637876</c:v>
                </c:pt>
                <c:pt idx="451">
                  <c:v>49.6819579380603</c:v>
                </c:pt>
                <c:pt idx="452">
                  <c:v>49.204345032184115</c:v>
                </c:pt>
                <c:pt idx="453">
                  <c:v>48.981476615126084</c:v>
                </c:pt>
                <c:pt idx="454">
                  <c:v>48.76139997670191</c:v>
                </c:pt>
                <c:pt idx="455">
                  <c:v>48.761016846515638</c:v>
                </c:pt>
                <c:pt idx="456">
                  <c:v>47.843472830764902</c:v>
                </c:pt>
                <c:pt idx="457">
                  <c:v>48.103647651268147</c:v>
                </c:pt>
                <c:pt idx="458">
                  <c:v>49.02736481342216</c:v>
                </c:pt>
                <c:pt idx="459">
                  <c:v>49.909391126668659</c:v>
                </c:pt>
                <c:pt idx="460">
                  <c:v>49.120386966153013</c:v>
                </c:pt>
                <c:pt idx="461">
                  <c:v>50.443501195399477</c:v>
                </c:pt>
                <c:pt idx="462">
                  <c:v>49.916538476047911</c:v>
                </c:pt>
                <c:pt idx="463">
                  <c:v>49.949796237397948</c:v>
                </c:pt>
                <c:pt idx="464">
                  <c:v>49.128726992702262</c:v>
                </c:pt>
                <c:pt idx="465">
                  <c:v>48.565234284597103</c:v>
                </c:pt>
                <c:pt idx="466">
                  <c:v>48.175144632636332</c:v>
                </c:pt>
                <c:pt idx="467">
                  <c:v>50.07537742092876</c:v>
                </c:pt>
                <c:pt idx="468">
                  <c:v>49.422946892940061</c:v>
                </c:pt>
                <c:pt idx="469">
                  <c:v>56.479411732489524</c:v>
                </c:pt>
                <c:pt idx="470">
                  <c:v>51.572996706422721</c:v>
                </c:pt>
                <c:pt idx="471">
                  <c:v>48.837491792013097</c:v>
                </c:pt>
                <c:pt idx="472">
                  <c:v>46.2359463414994</c:v>
                </c:pt>
                <c:pt idx="473">
                  <c:v>43.704142079552355</c:v>
                </c:pt>
                <c:pt idx="474">
                  <c:v>46.727125875777624</c:v>
                </c:pt>
                <c:pt idx="475">
                  <c:v>48.771888219986309</c:v>
                </c:pt>
                <c:pt idx="476">
                  <c:v>49.998025274920167</c:v>
                </c:pt>
                <c:pt idx="477">
                  <c:v>50.101108788318477</c:v>
                </c:pt>
                <c:pt idx="478">
                  <c:v>49.967236686363911</c:v>
                </c:pt>
                <c:pt idx="479">
                  <c:v>51.513703919851118</c:v>
                </c:pt>
                <c:pt idx="480">
                  <c:v>52.141811719103771</c:v>
                </c:pt>
                <c:pt idx="481">
                  <c:v>52.393302618291372</c:v>
                </c:pt>
                <c:pt idx="482">
                  <c:v>51.91738299227486</c:v>
                </c:pt>
                <c:pt idx="483">
                  <c:v>52.392576490859383</c:v>
                </c:pt>
                <c:pt idx="484">
                  <c:v>52.848745361710037</c:v>
                </c:pt>
                <c:pt idx="485">
                  <c:v>53.090132582569048</c:v>
                </c:pt>
                <c:pt idx="486">
                  <c:v>53.093035220064657</c:v>
                </c:pt>
                <c:pt idx="487">
                  <c:v>53.02805617710586</c:v>
                </c:pt>
                <c:pt idx="488">
                  <c:v>53.078425913978464</c:v>
                </c:pt>
                <c:pt idx="489">
                  <c:v>53.679266748909995</c:v>
                </c:pt>
                <c:pt idx="490">
                  <c:v>54.501403428428596</c:v>
                </c:pt>
                <c:pt idx="491">
                  <c:v>54.40724353605107</c:v>
                </c:pt>
                <c:pt idx="492">
                  <c:v>54.461627243632641</c:v>
                </c:pt>
                <c:pt idx="493">
                  <c:v>54.265221806752891</c:v>
                </c:pt>
                <c:pt idx="494">
                  <c:v>54.976939838475531</c:v>
                </c:pt>
                <c:pt idx="495">
                  <c:v>55.555627251244324</c:v>
                </c:pt>
                <c:pt idx="496">
                  <c:v>55.517350047982887</c:v>
                </c:pt>
                <c:pt idx="497">
                  <c:v>55.247047892768379</c:v>
                </c:pt>
                <c:pt idx="498">
                  <c:v>54.341830448448896</c:v>
                </c:pt>
                <c:pt idx="499">
                  <c:v>55.619588315502739</c:v>
                </c:pt>
                <c:pt idx="500">
                  <c:v>53.989128317665681</c:v>
                </c:pt>
                <c:pt idx="501">
                  <c:v>53.467013878731017</c:v>
                </c:pt>
                <c:pt idx="502">
                  <c:v>51.080052523303436</c:v>
                </c:pt>
                <c:pt idx="503">
                  <c:v>51.744599542481559</c:v>
                </c:pt>
                <c:pt idx="504">
                  <c:v>51.70372613990255</c:v>
                </c:pt>
                <c:pt idx="505">
                  <c:v>51.270480244494848</c:v>
                </c:pt>
                <c:pt idx="506">
                  <c:v>51.306234997293679</c:v>
                </c:pt>
                <c:pt idx="507">
                  <c:v>52.05106638397239</c:v>
                </c:pt>
                <c:pt idx="508">
                  <c:v>52.005608006716109</c:v>
                </c:pt>
                <c:pt idx="509">
                  <c:v>51.80620671012062</c:v>
                </c:pt>
                <c:pt idx="510">
                  <c:v>51.809437497156829</c:v>
                </c:pt>
                <c:pt idx="511">
                  <c:v>51.7065712780662</c:v>
                </c:pt>
                <c:pt idx="512">
                  <c:v>51.882049253310299</c:v>
                </c:pt>
                <c:pt idx="513">
                  <c:v>51.887849770009197</c:v>
                </c:pt>
                <c:pt idx="514">
                  <c:v>52.602663074607101</c:v>
                </c:pt>
                <c:pt idx="515">
                  <c:v>52.853449222006525</c:v>
                </c:pt>
                <c:pt idx="516">
                  <c:v>52.767382657191888</c:v>
                </c:pt>
                <c:pt idx="517">
                  <c:v>52.847816568969513</c:v>
                </c:pt>
                <c:pt idx="518">
                  <c:v>52.906247067582619</c:v>
                </c:pt>
                <c:pt idx="519">
                  <c:v>53.069858953015782</c:v>
                </c:pt>
                <c:pt idx="520">
                  <c:v>51.897753361610604</c:v>
                </c:pt>
                <c:pt idx="521">
                  <c:v>50.755599990340826</c:v>
                </c:pt>
                <c:pt idx="522">
                  <c:v>49.904130688795867</c:v>
                </c:pt>
                <c:pt idx="523">
                  <c:v>49.852141484756707</c:v>
                </c:pt>
                <c:pt idx="524">
                  <c:v>50.084626494860849</c:v>
                </c:pt>
                <c:pt idx="525">
                  <c:v>49.70466661533623</c:v>
                </c:pt>
                <c:pt idx="526">
                  <c:v>49.683602564004339</c:v>
                </c:pt>
                <c:pt idx="527">
                  <c:v>50.148237154413764</c:v>
                </c:pt>
                <c:pt idx="528">
                  <c:v>50.070543102019393</c:v>
                </c:pt>
                <c:pt idx="529">
                  <c:v>49.809233952914269</c:v>
                </c:pt>
                <c:pt idx="530">
                  <c:v>51.438877472193283</c:v>
                </c:pt>
                <c:pt idx="531">
                  <c:v>50.565784661712449</c:v>
                </c:pt>
                <c:pt idx="532">
                  <c:v>50.816060486691285</c:v>
                </c:pt>
                <c:pt idx="533">
                  <c:v>50.411416601191441</c:v>
                </c:pt>
                <c:pt idx="534">
                  <c:v>50.367733425492929</c:v>
                </c:pt>
                <c:pt idx="535">
                  <c:v>49.772292526876456</c:v>
                </c:pt>
                <c:pt idx="536">
                  <c:v>50.364854826229177</c:v>
                </c:pt>
                <c:pt idx="537">
                  <c:v>50.883142459048379</c:v>
                </c:pt>
                <c:pt idx="538">
                  <c:v>53.183047775446511</c:v>
                </c:pt>
                <c:pt idx="539">
                  <c:v>54.006656809956148</c:v>
                </c:pt>
                <c:pt idx="540">
                  <c:v>56.392098092070277</c:v>
                </c:pt>
                <c:pt idx="541">
                  <c:v>57.844712096324088</c:v>
                </c:pt>
                <c:pt idx="542">
                  <c:v>54.651887403890363</c:v>
                </c:pt>
                <c:pt idx="543">
                  <c:v>57.183927203314767</c:v>
                </c:pt>
                <c:pt idx="544">
                  <c:v>60.737571487783924</c:v>
                </c:pt>
                <c:pt idx="545">
                  <c:v>61.151157409390876</c:v>
                </c:pt>
                <c:pt idx="546">
                  <c:v>61.140841635436395</c:v>
                </c:pt>
                <c:pt idx="547">
                  <c:v>59.840761155700875</c:v>
                </c:pt>
                <c:pt idx="548">
                  <c:v>63.425101715664496</c:v>
                </c:pt>
                <c:pt idx="549">
                  <c:v>63.585532088304127</c:v>
                </c:pt>
                <c:pt idx="550">
                  <c:v>64.228686987702019</c:v>
                </c:pt>
                <c:pt idx="551">
                  <c:v>64.240908049691313</c:v>
                </c:pt>
                <c:pt idx="552">
                  <c:v>62.41448800953593</c:v>
                </c:pt>
                <c:pt idx="553">
                  <c:v>65.600771453685653</c:v>
                </c:pt>
                <c:pt idx="554">
                  <c:v>65.820939233425619</c:v>
                </c:pt>
                <c:pt idx="555">
                  <c:v>64.709395621362333</c:v>
                </c:pt>
                <c:pt idx="556">
                  <c:v>65.156065069843564</c:v>
                </c:pt>
                <c:pt idx="557">
                  <c:v>65.802280368853204</c:v>
                </c:pt>
                <c:pt idx="558">
                  <c:v>65.633489742784164</c:v>
                </c:pt>
                <c:pt idx="559">
                  <c:v>65.30877132891645</c:v>
                </c:pt>
                <c:pt idx="560">
                  <c:v>65.343802241500356</c:v>
                </c:pt>
                <c:pt idx="561">
                  <c:v>68.118255556141278</c:v>
                </c:pt>
                <c:pt idx="562">
                  <c:v>67.388821597291653</c:v>
                </c:pt>
                <c:pt idx="563">
                  <c:v>69.818202592818949</c:v>
                </c:pt>
                <c:pt idx="564">
                  <c:v>69.608083729195272</c:v>
                </c:pt>
                <c:pt idx="565">
                  <c:v>69.742401518019349</c:v>
                </c:pt>
                <c:pt idx="566">
                  <c:v>69.886491683466915</c:v>
                </c:pt>
                <c:pt idx="567">
                  <c:v>69.780008026126879</c:v>
                </c:pt>
                <c:pt idx="568">
                  <c:v>69.888897324077519</c:v>
                </c:pt>
                <c:pt idx="569">
                  <c:v>68.404030188488889</c:v>
                </c:pt>
                <c:pt idx="570">
                  <c:v>68.646437288187045</c:v>
                </c:pt>
                <c:pt idx="571">
                  <c:v>66.438569106497781</c:v>
                </c:pt>
                <c:pt idx="572">
                  <c:v>66.619927072781877</c:v>
                </c:pt>
                <c:pt idx="573">
                  <c:v>61.763703587317714</c:v>
                </c:pt>
                <c:pt idx="574">
                  <c:v>59.521892178823521</c:v>
                </c:pt>
                <c:pt idx="575">
                  <c:v>61.385557899354765</c:v>
                </c:pt>
                <c:pt idx="576">
                  <c:v>57.971011365805857</c:v>
                </c:pt>
                <c:pt idx="577">
                  <c:v>54.347802499202302</c:v>
                </c:pt>
                <c:pt idx="578">
                  <c:v>56.808432922707304</c:v>
                </c:pt>
                <c:pt idx="579">
                  <c:v>51.889001375055564</c:v>
                </c:pt>
                <c:pt idx="580">
                  <c:v>53.09545637543296</c:v>
                </c:pt>
                <c:pt idx="581">
                  <c:v>56.387140400612651</c:v>
                </c:pt>
                <c:pt idx="582">
                  <c:v>57.876926249473286</c:v>
                </c:pt>
                <c:pt idx="583">
                  <c:v>56.537354027027988</c:v>
                </c:pt>
                <c:pt idx="584">
                  <c:v>60.183224918875688</c:v>
                </c:pt>
                <c:pt idx="585">
                  <c:v>62.116385383868</c:v>
                </c:pt>
                <c:pt idx="586">
                  <c:v>60.096381981966665</c:v>
                </c:pt>
                <c:pt idx="587">
                  <c:v>56.20472150748239</c:v>
                </c:pt>
                <c:pt idx="588">
                  <c:v>52.878306553406993</c:v>
                </c:pt>
                <c:pt idx="589">
                  <c:v>54.391350485714412</c:v>
                </c:pt>
                <c:pt idx="590">
                  <c:v>58.538678468887269</c:v>
                </c:pt>
                <c:pt idx="591">
                  <c:v>59.821278059521021</c:v>
                </c:pt>
                <c:pt idx="592">
                  <c:v>60.646355110237323</c:v>
                </c:pt>
                <c:pt idx="593">
                  <c:v>60.559633919091247</c:v>
                </c:pt>
                <c:pt idx="594">
                  <c:v>59.778417487095105</c:v>
                </c:pt>
                <c:pt idx="595">
                  <c:v>60.630860317536602</c:v>
                </c:pt>
                <c:pt idx="596">
                  <c:v>62.926562940693216</c:v>
                </c:pt>
                <c:pt idx="597">
                  <c:v>62.327469124383533</c:v>
                </c:pt>
                <c:pt idx="598">
                  <c:v>62.147080546849466</c:v>
                </c:pt>
                <c:pt idx="599">
                  <c:v>62.096195737549138</c:v>
                </c:pt>
                <c:pt idx="600">
                  <c:v>62.336958449101054</c:v>
                </c:pt>
                <c:pt idx="601">
                  <c:v>62.320727085083902</c:v>
                </c:pt>
                <c:pt idx="602">
                  <c:v>62.211839030739881</c:v>
                </c:pt>
                <c:pt idx="603">
                  <c:v>61.490091057565607</c:v>
                </c:pt>
                <c:pt idx="604">
                  <c:v>61.332918170537766</c:v>
                </c:pt>
                <c:pt idx="605">
                  <c:v>63.310140475777388</c:v>
                </c:pt>
                <c:pt idx="606">
                  <c:v>63.413480160823347</c:v>
                </c:pt>
                <c:pt idx="607">
                  <c:v>63.345563958584727</c:v>
                </c:pt>
                <c:pt idx="608">
                  <c:v>63.335363529824861</c:v>
                </c:pt>
                <c:pt idx="609">
                  <c:v>63.174659228862289</c:v>
                </c:pt>
                <c:pt idx="610">
                  <c:v>63.953255294251512</c:v>
                </c:pt>
                <c:pt idx="611">
                  <c:v>64.655183973276337</c:v>
                </c:pt>
                <c:pt idx="612">
                  <c:v>65.249398653207564</c:v>
                </c:pt>
                <c:pt idx="613">
                  <c:v>62.271940959162741</c:v>
                </c:pt>
                <c:pt idx="614">
                  <c:v>61.764250770601272</c:v>
                </c:pt>
                <c:pt idx="615">
                  <c:v>62.295876522438455</c:v>
                </c:pt>
                <c:pt idx="616">
                  <c:v>59.631143269954727</c:v>
                </c:pt>
                <c:pt idx="617">
                  <c:v>58.745419324737348</c:v>
                </c:pt>
                <c:pt idx="618">
                  <c:v>59.358822193174078</c:v>
                </c:pt>
                <c:pt idx="619">
                  <c:v>57.820121837681526</c:v>
                </c:pt>
                <c:pt idx="620">
                  <c:v>59.038963658803034</c:v>
                </c:pt>
                <c:pt idx="621">
                  <c:v>59.48034777646042</c:v>
                </c:pt>
                <c:pt idx="622">
                  <c:v>59.593756212204447</c:v>
                </c:pt>
                <c:pt idx="623">
                  <c:v>58.92370874718565</c:v>
                </c:pt>
                <c:pt idx="624">
                  <c:v>58.847819166177167</c:v>
                </c:pt>
                <c:pt idx="625">
                  <c:v>55.939525036066421</c:v>
                </c:pt>
                <c:pt idx="626">
                  <c:v>56.291983868512226</c:v>
                </c:pt>
                <c:pt idx="627">
                  <c:v>60.194240576904576</c:v>
                </c:pt>
                <c:pt idx="628">
                  <c:v>59.294445588261269</c:v>
                </c:pt>
                <c:pt idx="629">
                  <c:v>58.834081216565394</c:v>
                </c:pt>
                <c:pt idx="630">
                  <c:v>58.948861377046583</c:v>
                </c:pt>
                <c:pt idx="631">
                  <c:v>59.213807571045002</c:v>
                </c:pt>
                <c:pt idx="632">
                  <c:v>59.086759791807118</c:v>
                </c:pt>
                <c:pt idx="633">
                  <c:v>55.02424473065944</c:v>
                </c:pt>
                <c:pt idx="634">
                  <c:v>55.675042424716828</c:v>
                </c:pt>
                <c:pt idx="635">
                  <c:v>57.448578705029789</c:v>
                </c:pt>
                <c:pt idx="636">
                  <c:v>56.24548097165902</c:v>
                </c:pt>
                <c:pt idx="637">
                  <c:v>56.676122632265589</c:v>
                </c:pt>
                <c:pt idx="638">
                  <c:v>58.498556683033101</c:v>
                </c:pt>
                <c:pt idx="639">
                  <c:v>58.859589425560486</c:v>
                </c:pt>
                <c:pt idx="640">
                  <c:v>59.887668856374162</c:v>
                </c:pt>
                <c:pt idx="641">
                  <c:v>54.778533393901881</c:v>
                </c:pt>
                <c:pt idx="642">
                  <c:v>57.967632608289939</c:v>
                </c:pt>
                <c:pt idx="643">
                  <c:v>59.579134851524095</c:v>
                </c:pt>
                <c:pt idx="644">
                  <c:v>58.528677125148874</c:v>
                </c:pt>
                <c:pt idx="645">
                  <c:v>60.65326961340817</c:v>
                </c:pt>
                <c:pt idx="646">
                  <c:v>54.306820960452207</c:v>
                </c:pt>
                <c:pt idx="647">
                  <c:v>54.216939739918736</c:v>
                </c:pt>
                <c:pt idx="648">
                  <c:v>50.768710645278894</c:v>
                </c:pt>
                <c:pt idx="649">
                  <c:v>49.635189402556506</c:v>
                </c:pt>
                <c:pt idx="650">
                  <c:v>54.993485695765813</c:v>
                </c:pt>
                <c:pt idx="651">
                  <c:v>53.530266223098081</c:v>
                </c:pt>
                <c:pt idx="652">
                  <c:v>52.65712603143033</c:v>
                </c:pt>
                <c:pt idx="653">
                  <c:v>52.731693688006665</c:v>
                </c:pt>
                <c:pt idx="654">
                  <c:v>52.259670053401607</c:v>
                </c:pt>
                <c:pt idx="655">
                  <c:v>52.73744691695282</c:v>
                </c:pt>
                <c:pt idx="656">
                  <c:v>52.27701895289789</c:v>
                </c:pt>
                <c:pt idx="657">
                  <c:v>52.370847603940412</c:v>
                </c:pt>
                <c:pt idx="658">
                  <c:v>51.939645475566678</c:v>
                </c:pt>
                <c:pt idx="659">
                  <c:v>51.950080323218906</c:v>
                </c:pt>
                <c:pt idx="660">
                  <c:v>52.885657182599338</c:v>
                </c:pt>
                <c:pt idx="661">
                  <c:v>52.80631446139131</c:v>
                </c:pt>
                <c:pt idx="662">
                  <c:v>52.264043399852781</c:v>
                </c:pt>
                <c:pt idx="663">
                  <c:v>52.330282161063195</c:v>
                </c:pt>
                <c:pt idx="664">
                  <c:v>52.541765065286633</c:v>
                </c:pt>
                <c:pt idx="665">
                  <c:v>51.015606616764053</c:v>
                </c:pt>
                <c:pt idx="666">
                  <c:v>49.890058927131747</c:v>
                </c:pt>
                <c:pt idx="667">
                  <c:v>50.378343219510391</c:v>
                </c:pt>
                <c:pt idx="668">
                  <c:v>48.772531624167819</c:v>
                </c:pt>
                <c:pt idx="669">
                  <c:v>52.527945466619641</c:v>
                </c:pt>
                <c:pt idx="670">
                  <c:v>50.846030241920403</c:v>
                </c:pt>
                <c:pt idx="671">
                  <c:v>50.699519022618425</c:v>
                </c:pt>
                <c:pt idx="672">
                  <c:v>51.452037615373165</c:v>
                </c:pt>
                <c:pt idx="673">
                  <c:v>52.207642009303306</c:v>
                </c:pt>
                <c:pt idx="674">
                  <c:v>52.222852759479977</c:v>
                </c:pt>
                <c:pt idx="675">
                  <c:v>52.352302961328</c:v>
                </c:pt>
                <c:pt idx="676">
                  <c:v>52.389029093051995</c:v>
                </c:pt>
                <c:pt idx="677">
                  <c:v>52.640324206708428</c:v>
                </c:pt>
                <c:pt idx="678">
                  <c:v>52.47673406375425</c:v>
                </c:pt>
                <c:pt idx="679">
                  <c:v>51.59744761456416</c:v>
                </c:pt>
                <c:pt idx="680">
                  <c:v>53.207426617975798</c:v>
                </c:pt>
                <c:pt idx="681">
                  <c:v>53.414473896177128</c:v>
                </c:pt>
                <c:pt idx="682">
                  <c:v>54.035511279618142</c:v>
                </c:pt>
                <c:pt idx="683">
                  <c:v>55.228020748421386</c:v>
                </c:pt>
                <c:pt idx="684">
                  <c:v>54.865785523688402</c:v>
                </c:pt>
                <c:pt idx="685">
                  <c:v>53.409471578149784</c:v>
                </c:pt>
                <c:pt idx="686">
                  <c:v>53.59811652634064</c:v>
                </c:pt>
                <c:pt idx="687">
                  <c:v>50.346070722755847</c:v>
                </c:pt>
                <c:pt idx="688">
                  <c:v>51.485302258189478</c:v>
                </c:pt>
                <c:pt idx="689">
                  <c:v>53.167850832750808</c:v>
                </c:pt>
                <c:pt idx="690">
                  <c:v>50.606828455616125</c:v>
                </c:pt>
                <c:pt idx="691">
                  <c:v>50.867622852840505</c:v>
                </c:pt>
                <c:pt idx="692">
                  <c:v>50.49090938347193</c:v>
                </c:pt>
                <c:pt idx="693">
                  <c:v>50.329052604992249</c:v>
                </c:pt>
                <c:pt idx="694">
                  <c:v>50.633577688376562</c:v>
                </c:pt>
                <c:pt idx="695">
                  <c:v>50.780769535824746</c:v>
                </c:pt>
                <c:pt idx="696">
                  <c:v>49.716225556240303</c:v>
                </c:pt>
                <c:pt idx="697">
                  <c:v>52.098772114716645</c:v>
                </c:pt>
                <c:pt idx="698">
                  <c:v>52.034071014075813</c:v>
                </c:pt>
                <c:pt idx="699">
                  <c:v>51.782711607537628</c:v>
                </c:pt>
                <c:pt idx="700">
                  <c:v>52.063701885119308</c:v>
                </c:pt>
                <c:pt idx="701">
                  <c:v>51.987811821981019</c:v>
                </c:pt>
                <c:pt idx="702">
                  <c:v>51.914516945443694</c:v>
                </c:pt>
                <c:pt idx="703">
                  <c:v>51.792699303148865</c:v>
                </c:pt>
                <c:pt idx="704">
                  <c:v>51.383286793142645</c:v>
                </c:pt>
                <c:pt idx="705">
                  <c:v>52.66370617457153</c:v>
                </c:pt>
                <c:pt idx="706">
                  <c:v>55.862063266680046</c:v>
                </c:pt>
                <c:pt idx="707">
                  <c:v>56.348551228873298</c:v>
                </c:pt>
                <c:pt idx="708">
                  <c:v>57.203234111254062</c:v>
                </c:pt>
                <c:pt idx="709">
                  <c:v>55.591892517884453</c:v>
                </c:pt>
                <c:pt idx="710">
                  <c:v>56.828157723402015</c:v>
                </c:pt>
                <c:pt idx="711">
                  <c:v>57.344517209687041</c:v>
                </c:pt>
                <c:pt idx="712">
                  <c:v>58.945227071673273</c:v>
                </c:pt>
                <c:pt idx="713">
                  <c:v>58.457100488144256</c:v>
                </c:pt>
                <c:pt idx="714">
                  <c:v>58.114881245616495</c:v>
                </c:pt>
                <c:pt idx="715">
                  <c:v>57.97040735742263</c:v>
                </c:pt>
                <c:pt idx="716">
                  <c:v>57.599147167448287</c:v>
                </c:pt>
                <c:pt idx="717">
                  <c:v>57.505181604004697</c:v>
                </c:pt>
                <c:pt idx="718">
                  <c:v>56.260822780465787</c:v>
                </c:pt>
                <c:pt idx="719">
                  <c:v>54.674605746851988</c:v>
                </c:pt>
                <c:pt idx="720">
                  <c:v>53.630657779893497</c:v>
                </c:pt>
                <c:pt idx="721">
                  <c:v>54.012943738023985</c:v>
                </c:pt>
                <c:pt idx="722">
                  <c:v>55.595387405562981</c:v>
                </c:pt>
                <c:pt idx="723">
                  <c:v>59.029759127477945</c:v>
                </c:pt>
                <c:pt idx="724">
                  <c:v>59.047047426757445</c:v>
                </c:pt>
                <c:pt idx="725">
                  <c:v>59.834206731371879</c:v>
                </c:pt>
                <c:pt idx="726">
                  <c:v>61.902460547900311</c:v>
                </c:pt>
                <c:pt idx="727">
                  <c:v>57.308268273179856</c:v>
                </c:pt>
                <c:pt idx="728">
                  <c:v>57.209542458132489</c:v>
                </c:pt>
                <c:pt idx="729">
                  <c:v>55.277789964474337</c:v>
                </c:pt>
                <c:pt idx="730">
                  <c:v>58.540859444849097</c:v>
                </c:pt>
                <c:pt idx="731">
                  <c:v>57.255259982430381</c:v>
                </c:pt>
                <c:pt idx="732">
                  <c:v>57.120830723267574</c:v>
                </c:pt>
                <c:pt idx="733">
                  <c:v>55.568534580527711</c:v>
                </c:pt>
                <c:pt idx="734">
                  <c:v>55.536866356832327</c:v>
                </c:pt>
                <c:pt idx="735">
                  <c:v>60.012578373289287</c:v>
                </c:pt>
                <c:pt idx="736">
                  <c:v>57.230182321794715</c:v>
                </c:pt>
                <c:pt idx="737">
                  <c:v>56.56477462974874</c:v>
                </c:pt>
                <c:pt idx="738">
                  <c:v>56.564953171318137</c:v>
                </c:pt>
                <c:pt idx="739">
                  <c:v>56.52505061558977</c:v>
                </c:pt>
                <c:pt idx="740">
                  <c:v>57.163564280296129</c:v>
                </c:pt>
                <c:pt idx="741">
                  <c:v>56.86805240498493</c:v>
                </c:pt>
                <c:pt idx="742">
                  <c:v>56.8181413193971</c:v>
                </c:pt>
                <c:pt idx="743">
                  <c:v>56.473343528115414</c:v>
                </c:pt>
                <c:pt idx="744">
                  <c:v>55.321116432371078</c:v>
                </c:pt>
                <c:pt idx="745">
                  <c:v>56.069537306433617</c:v>
                </c:pt>
                <c:pt idx="746">
                  <c:v>55.17148805243572</c:v>
                </c:pt>
                <c:pt idx="747">
                  <c:v>54.551334159132175</c:v>
                </c:pt>
                <c:pt idx="748">
                  <c:v>52.533520543415293</c:v>
                </c:pt>
                <c:pt idx="749">
                  <c:v>52.543822511583436</c:v>
                </c:pt>
                <c:pt idx="750">
                  <c:v>53.936112704941543</c:v>
                </c:pt>
                <c:pt idx="751">
                  <c:v>52.152599997392187</c:v>
                </c:pt>
                <c:pt idx="752">
                  <c:v>53.147363456297512</c:v>
                </c:pt>
                <c:pt idx="753">
                  <c:v>52.905699716811654</c:v>
                </c:pt>
                <c:pt idx="754">
                  <c:v>52.510832580010479</c:v>
                </c:pt>
                <c:pt idx="755">
                  <c:v>51.822294187456521</c:v>
                </c:pt>
                <c:pt idx="756">
                  <c:v>51.867948393598191</c:v>
                </c:pt>
                <c:pt idx="757">
                  <c:v>49.942677667587475</c:v>
                </c:pt>
                <c:pt idx="758">
                  <c:v>49.308807798578997</c:v>
                </c:pt>
                <c:pt idx="759">
                  <c:v>49.712348391333308</c:v>
                </c:pt>
                <c:pt idx="760">
                  <c:v>49.171589181729729</c:v>
                </c:pt>
                <c:pt idx="761">
                  <c:v>47.753297742015199</c:v>
                </c:pt>
                <c:pt idx="762">
                  <c:v>46.535633463074056</c:v>
                </c:pt>
                <c:pt idx="763">
                  <c:v>46.195652796999077</c:v>
                </c:pt>
                <c:pt idx="764">
                  <c:v>46.802159065163579</c:v>
                </c:pt>
                <c:pt idx="765">
                  <c:v>47.767885129065476</c:v>
                </c:pt>
                <c:pt idx="766">
                  <c:v>44.662152776319587</c:v>
                </c:pt>
                <c:pt idx="767">
                  <c:v>44.377368551784187</c:v>
                </c:pt>
                <c:pt idx="768">
                  <c:v>44.400497275807851</c:v>
                </c:pt>
                <c:pt idx="769">
                  <c:v>42.438516548877544</c:v>
                </c:pt>
                <c:pt idx="770">
                  <c:v>44.418766311787095</c:v>
                </c:pt>
                <c:pt idx="771">
                  <c:v>44.346552367694152</c:v>
                </c:pt>
                <c:pt idx="772">
                  <c:v>44.564279558279431</c:v>
                </c:pt>
                <c:pt idx="773">
                  <c:v>43.478292628506154</c:v>
                </c:pt>
                <c:pt idx="774">
                  <c:v>43.344184651821323</c:v>
                </c:pt>
                <c:pt idx="775">
                  <c:v>42.339384312699508</c:v>
                </c:pt>
                <c:pt idx="776">
                  <c:v>40.324538550228795</c:v>
                </c:pt>
                <c:pt idx="777">
                  <c:v>40.847703499589265</c:v>
                </c:pt>
                <c:pt idx="778">
                  <c:v>40.075819251403239</c:v>
                </c:pt>
                <c:pt idx="779">
                  <c:v>42.223971106284793</c:v>
                </c:pt>
                <c:pt idx="780">
                  <c:v>44.896010484679231</c:v>
                </c:pt>
                <c:pt idx="781">
                  <c:v>44.485974400080522</c:v>
                </c:pt>
                <c:pt idx="782">
                  <c:v>43.359778732442308</c:v>
                </c:pt>
                <c:pt idx="783">
                  <c:v>44.249088044790881</c:v>
                </c:pt>
                <c:pt idx="784">
                  <c:v>44.541260070106119</c:v>
                </c:pt>
                <c:pt idx="785">
                  <c:v>45.749164363173847</c:v>
                </c:pt>
                <c:pt idx="786">
                  <c:v>46.135944977957308</c:v>
                </c:pt>
                <c:pt idx="787">
                  <c:v>48.461269496044132</c:v>
                </c:pt>
                <c:pt idx="788">
                  <c:v>49.456511235699566</c:v>
                </c:pt>
                <c:pt idx="789">
                  <c:v>49.498900906169489</c:v>
                </c:pt>
                <c:pt idx="790">
                  <c:v>49.495405753617042</c:v>
                </c:pt>
                <c:pt idx="791">
                  <c:v>48.230343312225422</c:v>
                </c:pt>
                <c:pt idx="792">
                  <c:v>47.659116248546617</c:v>
                </c:pt>
                <c:pt idx="793">
                  <c:v>47.449192486065961</c:v>
                </c:pt>
                <c:pt idx="794">
                  <c:v>45.865642216179701</c:v>
                </c:pt>
                <c:pt idx="795">
                  <c:v>47.104220531133699</c:v>
                </c:pt>
                <c:pt idx="796">
                  <c:v>48.807745640853732</c:v>
                </c:pt>
                <c:pt idx="797">
                  <c:v>49.032942107599794</c:v>
                </c:pt>
                <c:pt idx="798">
                  <c:v>48.984573483369331</c:v>
                </c:pt>
                <c:pt idx="799">
                  <c:v>49.171959739495094</c:v>
                </c:pt>
                <c:pt idx="800">
                  <c:v>48.991815094188063</c:v>
                </c:pt>
                <c:pt idx="801">
                  <c:v>48.913668754518483</c:v>
                </c:pt>
                <c:pt idx="802">
                  <c:v>48.880948435193851</c:v>
                </c:pt>
                <c:pt idx="803">
                  <c:v>48.839597285262769</c:v>
                </c:pt>
                <c:pt idx="804">
                  <c:v>48.939312123279201</c:v>
                </c:pt>
                <c:pt idx="805">
                  <c:v>48.41866884364903</c:v>
                </c:pt>
                <c:pt idx="806">
                  <c:v>48.286581275409752</c:v>
                </c:pt>
                <c:pt idx="807">
                  <c:v>48.625853983614626</c:v>
                </c:pt>
                <c:pt idx="808">
                  <c:v>48.613324970208218</c:v>
                </c:pt>
                <c:pt idx="809">
                  <c:v>47.799752435467568</c:v>
                </c:pt>
                <c:pt idx="810">
                  <c:v>47.849736292167464</c:v>
                </c:pt>
                <c:pt idx="811">
                  <c:v>47.206991957869157</c:v>
                </c:pt>
                <c:pt idx="812">
                  <c:v>49.189064670286847</c:v>
                </c:pt>
                <c:pt idx="813">
                  <c:v>46.038833272979893</c:v>
                </c:pt>
                <c:pt idx="814">
                  <c:v>45.986743443160236</c:v>
                </c:pt>
                <c:pt idx="815">
                  <c:v>45.507269377482771</c:v>
                </c:pt>
                <c:pt idx="816">
                  <c:v>44.972718513721794</c:v>
                </c:pt>
                <c:pt idx="817">
                  <c:v>44.68763057429689</c:v>
                </c:pt>
                <c:pt idx="818">
                  <c:v>47.036530062346685</c:v>
                </c:pt>
                <c:pt idx="819">
                  <c:v>47.895069511478113</c:v>
                </c:pt>
                <c:pt idx="820">
                  <c:v>47.727727456623569</c:v>
                </c:pt>
                <c:pt idx="821">
                  <c:v>47.149788331519652</c:v>
                </c:pt>
                <c:pt idx="822">
                  <c:v>46.149512947155635</c:v>
                </c:pt>
                <c:pt idx="823">
                  <c:v>46.041077551671677</c:v>
                </c:pt>
                <c:pt idx="824">
                  <c:v>48.326757359205182</c:v>
                </c:pt>
                <c:pt idx="825">
                  <c:v>48.116242675807534</c:v>
                </c:pt>
                <c:pt idx="826">
                  <c:v>48.740057415882305</c:v>
                </c:pt>
                <c:pt idx="827">
                  <c:v>47.158100563958307</c:v>
                </c:pt>
                <c:pt idx="828">
                  <c:v>47.86319586044052</c:v>
                </c:pt>
                <c:pt idx="829">
                  <c:v>49.419587576041025</c:v>
                </c:pt>
                <c:pt idx="830">
                  <c:v>49.7729160005048</c:v>
                </c:pt>
                <c:pt idx="831">
                  <c:v>49.612743180141365</c:v>
                </c:pt>
                <c:pt idx="832">
                  <c:v>49.609218475837537</c:v>
                </c:pt>
                <c:pt idx="833">
                  <c:v>49.482174233729694</c:v>
                </c:pt>
                <c:pt idx="834">
                  <c:v>51.316864348249467</c:v>
                </c:pt>
                <c:pt idx="835">
                  <c:v>49.881013732189018</c:v>
                </c:pt>
                <c:pt idx="836">
                  <c:v>48.801186626539362</c:v>
                </c:pt>
                <c:pt idx="837">
                  <c:v>51.124998397495389</c:v>
                </c:pt>
                <c:pt idx="838">
                  <c:v>51.649302042520205</c:v>
                </c:pt>
                <c:pt idx="839">
                  <c:v>51.15781232008878</c:v>
                </c:pt>
                <c:pt idx="840">
                  <c:v>51.098851508467895</c:v>
                </c:pt>
                <c:pt idx="841">
                  <c:v>51.384515952782273</c:v>
                </c:pt>
                <c:pt idx="842">
                  <c:v>52.187472335367481</c:v>
                </c:pt>
                <c:pt idx="843">
                  <c:v>52.025879144619175</c:v>
                </c:pt>
                <c:pt idx="844">
                  <c:v>52.23739357092068</c:v>
                </c:pt>
                <c:pt idx="845">
                  <c:v>52.251084569123663</c:v>
                </c:pt>
                <c:pt idx="846">
                  <c:v>52.529825377170162</c:v>
                </c:pt>
                <c:pt idx="847">
                  <c:v>52.160633652494113</c:v>
                </c:pt>
                <c:pt idx="848">
                  <c:v>52.382821276779502</c:v>
                </c:pt>
                <c:pt idx="849">
                  <c:v>52.46878557261816</c:v>
                </c:pt>
                <c:pt idx="850">
                  <c:v>53.060281797539254</c:v>
                </c:pt>
                <c:pt idx="851">
                  <c:v>53.926879201498174</c:v>
                </c:pt>
                <c:pt idx="852">
                  <c:v>53.374010945713209</c:v>
                </c:pt>
                <c:pt idx="853">
                  <c:v>53.345644265542887</c:v>
                </c:pt>
                <c:pt idx="854">
                  <c:v>52.620200091217008</c:v>
                </c:pt>
                <c:pt idx="855">
                  <c:v>54.941198146451448</c:v>
                </c:pt>
                <c:pt idx="856">
                  <c:v>50.316255533954433</c:v>
                </c:pt>
                <c:pt idx="857">
                  <c:v>49.941691897690497</c:v>
                </c:pt>
                <c:pt idx="858">
                  <c:v>49.30308942852696</c:v>
                </c:pt>
                <c:pt idx="859">
                  <c:v>49.155152779762275</c:v>
                </c:pt>
                <c:pt idx="860">
                  <c:v>47.417396481001106</c:v>
                </c:pt>
                <c:pt idx="861">
                  <c:v>48.053617943833466</c:v>
                </c:pt>
                <c:pt idx="862">
                  <c:v>45.264045365894745</c:v>
                </c:pt>
                <c:pt idx="863">
                  <c:v>46.496802316258787</c:v>
                </c:pt>
                <c:pt idx="864">
                  <c:v>47.497987110963159</c:v>
                </c:pt>
                <c:pt idx="865">
                  <c:v>46.34835868201759</c:v>
                </c:pt>
                <c:pt idx="866">
                  <c:v>46.476876788537879</c:v>
                </c:pt>
                <c:pt idx="867">
                  <c:v>46.76337275904109</c:v>
                </c:pt>
                <c:pt idx="868">
                  <c:v>48.206064320081651</c:v>
                </c:pt>
                <c:pt idx="869">
                  <c:v>46.699607146469788</c:v>
                </c:pt>
                <c:pt idx="870">
                  <c:v>43.291761586353935</c:v>
                </c:pt>
                <c:pt idx="871">
                  <c:v>45.096286874696389</c:v>
                </c:pt>
                <c:pt idx="872">
                  <c:v>43.280114467576148</c:v>
                </c:pt>
                <c:pt idx="873">
                  <c:v>41.297950127727646</c:v>
                </c:pt>
                <c:pt idx="874">
                  <c:v>39.818163926260233</c:v>
                </c:pt>
                <c:pt idx="875">
                  <c:v>37.903798688647427</c:v>
                </c:pt>
                <c:pt idx="876">
                  <c:v>33.376113996762925</c:v>
                </c:pt>
                <c:pt idx="877">
                  <c:v>30.391187861777297</c:v>
                </c:pt>
                <c:pt idx="878">
                  <c:v>25.889252924570279</c:v>
                </c:pt>
                <c:pt idx="879">
                  <c:v>23.697813473136655</c:v>
                </c:pt>
                <c:pt idx="880">
                  <c:v>26.229931630738843</c:v>
                </c:pt>
                <c:pt idx="881">
                  <c:v>27.047325252197016</c:v>
                </c:pt>
                <c:pt idx="882">
                  <c:v>22.408168966911603</c:v>
                </c:pt>
                <c:pt idx="883">
                  <c:v>21.103762103908501</c:v>
                </c:pt>
                <c:pt idx="884">
                  <c:v>19.301370938481497</c:v>
                </c:pt>
                <c:pt idx="885">
                  <c:v>20.049432775968082</c:v>
                </c:pt>
                <c:pt idx="886">
                  <c:v>20.575175102247002</c:v>
                </c:pt>
                <c:pt idx="887">
                  <c:v>19.185183329224749</c:v>
                </c:pt>
                <c:pt idx="888">
                  <c:v>18.880438006994687</c:v>
                </c:pt>
                <c:pt idx="889">
                  <c:v>17.620662079707905</c:v>
                </c:pt>
                <c:pt idx="890">
                  <c:v>16.995007749498086</c:v>
                </c:pt>
                <c:pt idx="891">
                  <c:v>18.171665392082268</c:v>
                </c:pt>
                <c:pt idx="892">
                  <c:v>17.413849057624983</c:v>
                </c:pt>
                <c:pt idx="893">
                  <c:v>17.501686624101641</c:v>
                </c:pt>
                <c:pt idx="894">
                  <c:v>17.594019422671749</c:v>
                </c:pt>
                <c:pt idx="895">
                  <c:v>17.7936580264812</c:v>
                </c:pt>
                <c:pt idx="896">
                  <c:v>18.079930301235759</c:v>
                </c:pt>
                <c:pt idx="897">
                  <c:v>18.142191761284277</c:v>
                </c:pt>
                <c:pt idx="898">
                  <c:v>19.251638336576313</c:v>
                </c:pt>
                <c:pt idx="899">
                  <c:v>19.054712019624365</c:v>
                </c:pt>
                <c:pt idx="900">
                  <c:v>18.929010038143669</c:v>
                </c:pt>
                <c:pt idx="901">
                  <c:v>18.888599464938991</c:v>
                </c:pt>
                <c:pt idx="902">
                  <c:v>18.593869868983361</c:v>
                </c:pt>
                <c:pt idx="903">
                  <c:v>19.136687976363582</c:v>
                </c:pt>
                <c:pt idx="904">
                  <c:v>18.261179239338261</c:v>
                </c:pt>
                <c:pt idx="905">
                  <c:v>18.10217543716357</c:v>
                </c:pt>
                <c:pt idx="906">
                  <c:v>17.961357742053785</c:v>
                </c:pt>
                <c:pt idx="907">
                  <c:v>17.053408730831819</c:v>
                </c:pt>
                <c:pt idx="908">
                  <c:v>16.642960861976423</c:v>
                </c:pt>
                <c:pt idx="909">
                  <c:v>17.243525203748487</c:v>
                </c:pt>
                <c:pt idx="910">
                  <c:v>18.14579996246681</c:v>
                </c:pt>
                <c:pt idx="911">
                  <c:v>18.361749722901923</c:v>
                </c:pt>
                <c:pt idx="912">
                  <c:v>18.482715058028312</c:v>
                </c:pt>
                <c:pt idx="913">
                  <c:v>18.476789779038924</c:v>
                </c:pt>
                <c:pt idx="914">
                  <c:v>19.438180988262289</c:v>
                </c:pt>
                <c:pt idx="915">
                  <c:v>19.099829716642002</c:v>
                </c:pt>
                <c:pt idx="916">
                  <c:v>19.086053188575477</c:v>
                </c:pt>
                <c:pt idx="917">
                  <c:v>19.138155349851669</c:v>
                </c:pt>
                <c:pt idx="918">
                  <c:v>19.072484323534336</c:v>
                </c:pt>
                <c:pt idx="919">
                  <c:v>19.21363669800046</c:v>
                </c:pt>
                <c:pt idx="920">
                  <c:v>19.19289908953024</c:v>
                </c:pt>
                <c:pt idx="921">
                  <c:v>19.10282970271658</c:v>
                </c:pt>
                <c:pt idx="922">
                  <c:v>19.092759449266126</c:v>
                </c:pt>
                <c:pt idx="923">
                  <c:v>19.039590810026198</c:v>
                </c:pt>
                <c:pt idx="924">
                  <c:v>19.067296361647383</c:v>
                </c:pt>
                <c:pt idx="925">
                  <c:v>18.676542296239194</c:v>
                </c:pt>
                <c:pt idx="926">
                  <c:v>18.652764127950778</c:v>
                </c:pt>
                <c:pt idx="927">
                  <c:v>18.232227713803848</c:v>
                </c:pt>
                <c:pt idx="928">
                  <c:v>17.605497552331524</c:v>
                </c:pt>
                <c:pt idx="929">
                  <c:v>17.017515978247662</c:v>
                </c:pt>
                <c:pt idx="930">
                  <c:v>17.249719725249811</c:v>
                </c:pt>
                <c:pt idx="931">
                  <c:v>17.092199793964912</c:v>
                </c:pt>
                <c:pt idx="932">
                  <c:v>16.875075545940856</c:v>
                </c:pt>
                <c:pt idx="933">
                  <c:v>17.31937352509232</c:v>
                </c:pt>
                <c:pt idx="934">
                  <c:v>16.511078691189674</c:v>
                </c:pt>
                <c:pt idx="935">
                  <c:v>15.996743478369714</c:v>
                </c:pt>
                <c:pt idx="936">
                  <c:v>14.745763885803152</c:v>
                </c:pt>
                <c:pt idx="937">
                  <c:v>15.223351627000829</c:v>
                </c:pt>
                <c:pt idx="938">
                  <c:v>15.058446305503928</c:v>
                </c:pt>
                <c:pt idx="939">
                  <c:v>16.578029815990089</c:v>
                </c:pt>
                <c:pt idx="940">
                  <c:v>16.364837931853103</c:v>
                </c:pt>
                <c:pt idx="941">
                  <c:v>16.224885979376367</c:v>
                </c:pt>
                <c:pt idx="942">
                  <c:v>16.115591749053774</c:v>
                </c:pt>
                <c:pt idx="943">
                  <c:v>16.386656051552876</c:v>
                </c:pt>
                <c:pt idx="944">
                  <c:v>14.575001906067095</c:v>
                </c:pt>
                <c:pt idx="945">
                  <c:v>14.157790143361266</c:v>
                </c:pt>
                <c:pt idx="946">
                  <c:v>14.553880348165038</c:v>
                </c:pt>
                <c:pt idx="947">
                  <c:v>12.714628872860207</c:v>
                </c:pt>
                <c:pt idx="948">
                  <c:v>13.532219395213502</c:v>
                </c:pt>
                <c:pt idx="949">
                  <c:v>13.686447973976044</c:v>
                </c:pt>
                <c:pt idx="950">
                  <c:v>13.7573568983623</c:v>
                </c:pt>
                <c:pt idx="951">
                  <c:v>14.123520435226549</c:v>
                </c:pt>
                <c:pt idx="952">
                  <c:v>14.327448629401969</c:v>
                </c:pt>
                <c:pt idx="953">
                  <c:v>14.126674796108372</c:v>
                </c:pt>
                <c:pt idx="954">
                  <c:v>14.316804846707518</c:v>
                </c:pt>
                <c:pt idx="955">
                  <c:v>14.810843817131351</c:v>
                </c:pt>
                <c:pt idx="956">
                  <c:v>14.888247039130432</c:v>
                </c:pt>
                <c:pt idx="957">
                  <c:v>14.581093484321448</c:v>
                </c:pt>
                <c:pt idx="958">
                  <c:v>14.648205952574108</c:v>
                </c:pt>
                <c:pt idx="959">
                  <c:v>14.55367286549817</c:v>
                </c:pt>
                <c:pt idx="960">
                  <c:v>14.479813732548305</c:v>
                </c:pt>
                <c:pt idx="961">
                  <c:v>14.46823659693761</c:v>
                </c:pt>
                <c:pt idx="962">
                  <c:v>14.795736912512529</c:v>
                </c:pt>
                <c:pt idx="963">
                  <c:v>14.71544587657306</c:v>
                </c:pt>
                <c:pt idx="964">
                  <c:v>14.963385094048906</c:v>
                </c:pt>
                <c:pt idx="965">
                  <c:v>14.916462700610722</c:v>
                </c:pt>
                <c:pt idx="966">
                  <c:v>15.096396241207406</c:v>
                </c:pt>
                <c:pt idx="967">
                  <c:v>15.111812503167938</c:v>
                </c:pt>
                <c:pt idx="968">
                  <c:v>15.133040441638663</c:v>
                </c:pt>
                <c:pt idx="969">
                  <c:v>14.597138907690489</c:v>
                </c:pt>
                <c:pt idx="970">
                  <c:v>14.124758331034229</c:v>
                </c:pt>
                <c:pt idx="971">
                  <c:v>15.424758498334612</c:v>
                </c:pt>
                <c:pt idx="972">
                  <c:v>15.785565462918786</c:v>
                </c:pt>
                <c:pt idx="973">
                  <c:v>15.753622522654181</c:v>
                </c:pt>
                <c:pt idx="974">
                  <c:v>15.793516250288706</c:v>
                </c:pt>
                <c:pt idx="975">
                  <c:v>15.991812613094012</c:v>
                </c:pt>
                <c:pt idx="976">
                  <c:v>16.012215842910454</c:v>
                </c:pt>
                <c:pt idx="977">
                  <c:v>16.932079703502552</c:v>
                </c:pt>
                <c:pt idx="978">
                  <c:v>16.123968032985292</c:v>
                </c:pt>
                <c:pt idx="979">
                  <c:v>16.017186629007469</c:v>
                </c:pt>
                <c:pt idx="980">
                  <c:v>15.949178827739544</c:v>
                </c:pt>
                <c:pt idx="981">
                  <c:v>16.158518163637762</c:v>
                </c:pt>
                <c:pt idx="982">
                  <c:v>16.211471386116756</c:v>
                </c:pt>
                <c:pt idx="983">
                  <c:v>15.845451420428651</c:v>
                </c:pt>
                <c:pt idx="984">
                  <c:v>15.981496204758566</c:v>
                </c:pt>
                <c:pt idx="985">
                  <c:v>16.548951948171943</c:v>
                </c:pt>
                <c:pt idx="986">
                  <c:v>15.926595866959893</c:v>
                </c:pt>
                <c:pt idx="987">
                  <c:v>15.860544286899135</c:v>
                </c:pt>
                <c:pt idx="988">
                  <c:v>16.547749802365743</c:v>
                </c:pt>
                <c:pt idx="989">
                  <c:v>17.376688066908454</c:v>
                </c:pt>
                <c:pt idx="990">
                  <c:v>17.543798981065859</c:v>
                </c:pt>
                <c:pt idx="991">
                  <c:v>17.298314905685629</c:v>
                </c:pt>
                <c:pt idx="992">
                  <c:v>17.329586577683344</c:v>
                </c:pt>
                <c:pt idx="993">
                  <c:v>17.471267011795426</c:v>
                </c:pt>
                <c:pt idx="994">
                  <c:v>17.476121579034803</c:v>
                </c:pt>
                <c:pt idx="995">
                  <c:v>17.951419715814396</c:v>
                </c:pt>
                <c:pt idx="996">
                  <c:v>17.927838680413192</c:v>
                </c:pt>
                <c:pt idx="997">
                  <c:v>18.273832983143404</c:v>
                </c:pt>
                <c:pt idx="998">
                  <c:v>18.346018159351512</c:v>
                </c:pt>
                <c:pt idx="999">
                  <c:v>18.283401541121215</c:v>
                </c:pt>
                <c:pt idx="1000">
                  <c:v>18.305354358770089</c:v>
                </c:pt>
                <c:pt idx="1001">
                  <c:v>18.236335451783031</c:v>
                </c:pt>
                <c:pt idx="1002">
                  <c:v>18.067368667996544</c:v>
                </c:pt>
                <c:pt idx="1003">
                  <c:v>17.589371771830198</c:v>
                </c:pt>
                <c:pt idx="1004">
                  <c:v>17.512058904014332</c:v>
                </c:pt>
                <c:pt idx="1005">
                  <c:v>17.457884276346618</c:v>
                </c:pt>
                <c:pt idx="1006">
                  <c:v>17.105103465857226</c:v>
                </c:pt>
                <c:pt idx="1007">
                  <c:v>16.465105660318489</c:v>
                </c:pt>
                <c:pt idx="1008">
                  <c:v>16.133127270491524</c:v>
                </c:pt>
                <c:pt idx="1009">
                  <c:v>17.410723229120848</c:v>
                </c:pt>
                <c:pt idx="1010">
                  <c:v>16.702442878600881</c:v>
                </c:pt>
                <c:pt idx="1011">
                  <c:v>16.723370536072881</c:v>
                </c:pt>
                <c:pt idx="1012">
                  <c:v>16.495524244435277</c:v>
                </c:pt>
                <c:pt idx="1013">
                  <c:v>16.47836313004094</c:v>
                </c:pt>
                <c:pt idx="1014">
                  <c:v>16.625568056802223</c:v>
                </c:pt>
                <c:pt idx="1015">
                  <c:v>16.557129850011432</c:v>
                </c:pt>
                <c:pt idx="1016">
                  <c:v>16.736731930899687</c:v>
                </c:pt>
                <c:pt idx="1017">
                  <c:v>16.715250155869214</c:v>
                </c:pt>
                <c:pt idx="1018">
                  <c:v>16.427098858596132</c:v>
                </c:pt>
                <c:pt idx="1019">
                  <c:v>15.998789656619534</c:v>
                </c:pt>
                <c:pt idx="1020">
                  <c:v>15.89273795293613</c:v>
                </c:pt>
                <c:pt idx="1021">
                  <c:v>15.180294901177108</c:v>
                </c:pt>
                <c:pt idx="1022">
                  <c:v>15.477353035566505</c:v>
                </c:pt>
                <c:pt idx="1023">
                  <c:v>14.787780301613681</c:v>
                </c:pt>
                <c:pt idx="1024">
                  <c:v>14.90114435944775</c:v>
                </c:pt>
                <c:pt idx="1025">
                  <c:v>14.671287270360803</c:v>
                </c:pt>
                <c:pt idx="1026">
                  <c:v>15.336622440091887</c:v>
                </c:pt>
                <c:pt idx="1027">
                  <c:v>14.50856704516457</c:v>
                </c:pt>
                <c:pt idx="1028">
                  <c:v>14.590049979311084</c:v>
                </c:pt>
                <c:pt idx="1029">
                  <c:v>13.535854124166512</c:v>
                </c:pt>
                <c:pt idx="1030">
                  <c:v>13.435532063536709</c:v>
                </c:pt>
                <c:pt idx="1031">
                  <c:v>13.462791125013133</c:v>
                </c:pt>
                <c:pt idx="1032">
                  <c:v>14.21307907293591</c:v>
                </c:pt>
                <c:pt idx="1033">
                  <c:v>14.454105864344591</c:v>
                </c:pt>
                <c:pt idx="1034">
                  <c:v>14.376687793696183</c:v>
                </c:pt>
                <c:pt idx="1035">
                  <c:v>14.241457154579587</c:v>
                </c:pt>
                <c:pt idx="1036">
                  <c:v>14.090980025683621</c:v>
                </c:pt>
                <c:pt idx="1037">
                  <c:v>14.109200384279433</c:v>
                </c:pt>
                <c:pt idx="1038">
                  <c:v>14.071824034989751</c:v>
                </c:pt>
                <c:pt idx="1039">
                  <c:v>14.054202227743541</c:v>
                </c:pt>
                <c:pt idx="1040">
                  <c:v>14.70244693436686</c:v>
                </c:pt>
                <c:pt idx="1041">
                  <c:v>14.555306197829955</c:v>
                </c:pt>
                <c:pt idx="1042">
                  <c:v>14.530897074954192</c:v>
                </c:pt>
                <c:pt idx="1043">
                  <c:v>14.497341269357001</c:v>
                </c:pt>
                <c:pt idx="1044">
                  <c:v>14.362409559086691</c:v>
                </c:pt>
                <c:pt idx="1045">
                  <c:v>14.360233826467947</c:v>
                </c:pt>
                <c:pt idx="1046">
                  <c:v>13.898930290962888</c:v>
                </c:pt>
                <c:pt idx="1047">
                  <c:v>13.683126651316162</c:v>
                </c:pt>
                <c:pt idx="1048">
                  <c:v>14.313712619843487</c:v>
                </c:pt>
                <c:pt idx="1049">
                  <c:v>14.791646954928623</c:v>
                </c:pt>
                <c:pt idx="1050">
                  <c:v>14.829727710133682</c:v>
                </c:pt>
                <c:pt idx="1051">
                  <c:v>14.832273539305493</c:v>
                </c:pt>
                <c:pt idx="1052">
                  <c:v>15.077161944478794</c:v>
                </c:pt>
                <c:pt idx="1053">
                  <c:v>14.791688861759567</c:v>
                </c:pt>
                <c:pt idx="1054">
                  <c:v>14.669663607396027</c:v>
                </c:pt>
                <c:pt idx="1055">
                  <c:v>15.21323889031358</c:v>
                </c:pt>
                <c:pt idx="1056">
                  <c:v>15.432416055538294</c:v>
                </c:pt>
                <c:pt idx="1057">
                  <c:v>15.136814741163262</c:v>
                </c:pt>
                <c:pt idx="1058">
                  <c:v>14.548939855468253</c:v>
                </c:pt>
                <c:pt idx="1059">
                  <c:v>14.865716670357363</c:v>
                </c:pt>
                <c:pt idx="1060">
                  <c:v>14.653013078022317</c:v>
                </c:pt>
                <c:pt idx="1061">
                  <c:v>15.526964396080539</c:v>
                </c:pt>
                <c:pt idx="1062">
                  <c:v>15.365947141460451</c:v>
                </c:pt>
                <c:pt idx="1063">
                  <c:v>15.512544355494224</c:v>
                </c:pt>
                <c:pt idx="1064">
                  <c:v>15.599976255670754</c:v>
                </c:pt>
                <c:pt idx="1065">
                  <c:v>15.973220280913889</c:v>
                </c:pt>
                <c:pt idx="1066">
                  <c:v>15.937451740505232</c:v>
                </c:pt>
                <c:pt idx="1067">
                  <c:v>16.598600542970114</c:v>
                </c:pt>
                <c:pt idx="1068">
                  <c:v>16.788267079626575</c:v>
                </c:pt>
                <c:pt idx="1069">
                  <c:v>16.43836214602543</c:v>
                </c:pt>
                <c:pt idx="1070">
                  <c:v>16.091135801282995</c:v>
                </c:pt>
                <c:pt idx="1071">
                  <c:v>16.118191483471318</c:v>
                </c:pt>
                <c:pt idx="1072">
                  <c:v>15.784650359268717</c:v>
                </c:pt>
                <c:pt idx="1073">
                  <c:v>15.478242428885187</c:v>
                </c:pt>
                <c:pt idx="1074">
                  <c:v>15.116331698172015</c:v>
                </c:pt>
                <c:pt idx="1075">
                  <c:v>14.587596061591842</c:v>
                </c:pt>
                <c:pt idx="1076">
                  <c:v>14.447545562441674</c:v>
                </c:pt>
                <c:pt idx="1077">
                  <c:v>14.641728320856819</c:v>
                </c:pt>
                <c:pt idx="1078">
                  <c:v>15.169175177821224</c:v>
                </c:pt>
                <c:pt idx="1079">
                  <c:v>15.3624488624971</c:v>
                </c:pt>
                <c:pt idx="1080">
                  <c:v>15.230042598185905</c:v>
                </c:pt>
                <c:pt idx="1081">
                  <c:v>15.195843580083732</c:v>
                </c:pt>
                <c:pt idx="1082">
                  <c:v>15.084453344360885</c:v>
                </c:pt>
                <c:pt idx="1083">
                  <c:v>15.084886424792547</c:v>
                </c:pt>
                <c:pt idx="1084">
                  <c:v>14.988796418380849</c:v>
                </c:pt>
                <c:pt idx="1085">
                  <c:v>15.169334472581037</c:v>
                </c:pt>
                <c:pt idx="1086">
                  <c:v>14.752990264885153</c:v>
                </c:pt>
                <c:pt idx="1087">
                  <c:v>14.729717356576312</c:v>
                </c:pt>
                <c:pt idx="1088">
                  <c:v>15.046510862664869</c:v>
                </c:pt>
                <c:pt idx="1089">
                  <c:v>14.672444091439855</c:v>
                </c:pt>
                <c:pt idx="1090">
                  <c:v>14.502172546463413</c:v>
                </c:pt>
                <c:pt idx="1091">
                  <c:v>14.748133562602774</c:v>
                </c:pt>
                <c:pt idx="1092">
                  <c:v>15.581366947191293</c:v>
                </c:pt>
                <c:pt idx="1093">
                  <c:v>15.31374944321449</c:v>
                </c:pt>
                <c:pt idx="1094">
                  <c:v>15.726202001855855</c:v>
                </c:pt>
                <c:pt idx="1095">
                  <c:v>15.90175009665214</c:v>
                </c:pt>
                <c:pt idx="1096">
                  <c:v>15.731440224644455</c:v>
                </c:pt>
                <c:pt idx="1097">
                  <c:v>15.742965222818359</c:v>
                </c:pt>
                <c:pt idx="1098">
                  <c:v>15.943998395494178</c:v>
                </c:pt>
                <c:pt idx="1099">
                  <c:v>16.259557057459354</c:v>
                </c:pt>
                <c:pt idx="1100">
                  <c:v>16.03609651776463</c:v>
                </c:pt>
                <c:pt idx="1101">
                  <c:v>15.981162008770498</c:v>
                </c:pt>
                <c:pt idx="1102">
                  <c:v>16.101328873386379</c:v>
                </c:pt>
                <c:pt idx="1103">
                  <c:v>16.206358938953784</c:v>
                </c:pt>
                <c:pt idx="1104">
                  <c:v>15.994041118597814</c:v>
                </c:pt>
                <c:pt idx="1105">
                  <c:v>16.79822894081455</c:v>
                </c:pt>
                <c:pt idx="1106">
                  <c:v>17.579688181566357</c:v>
                </c:pt>
                <c:pt idx="1107">
                  <c:v>17.87395492526683</c:v>
                </c:pt>
                <c:pt idx="1108">
                  <c:v>17.35570323056988</c:v>
                </c:pt>
                <c:pt idx="1109">
                  <c:v>16.348413124425029</c:v>
                </c:pt>
                <c:pt idx="1110">
                  <c:v>16.555546096528079</c:v>
                </c:pt>
                <c:pt idx="1111">
                  <c:v>16.16659277688278</c:v>
                </c:pt>
                <c:pt idx="1112">
                  <c:v>16.225523925170211</c:v>
                </c:pt>
                <c:pt idx="1113">
                  <c:v>15.508241254070922</c:v>
                </c:pt>
                <c:pt idx="1114">
                  <c:v>15.596376075715453</c:v>
                </c:pt>
                <c:pt idx="1115">
                  <c:v>15.984594213181664</c:v>
                </c:pt>
                <c:pt idx="1116">
                  <c:v>15.953839745667345</c:v>
                </c:pt>
                <c:pt idx="1117">
                  <c:v>15.613833103914843</c:v>
                </c:pt>
                <c:pt idx="1118">
                  <c:v>15.696854512342766</c:v>
                </c:pt>
                <c:pt idx="1119">
                  <c:v>15.965712485101459</c:v>
                </c:pt>
                <c:pt idx="1120">
                  <c:v>15.96879707472095</c:v>
                </c:pt>
                <c:pt idx="1121">
                  <c:v>16.098466581308017</c:v>
                </c:pt>
                <c:pt idx="1122">
                  <c:v>16.080153212987753</c:v>
                </c:pt>
                <c:pt idx="1123">
                  <c:v>16.188451835305205</c:v>
                </c:pt>
                <c:pt idx="1124">
                  <c:v>16.569760184354212</c:v>
                </c:pt>
                <c:pt idx="1125">
                  <c:v>16.559981965422683</c:v>
                </c:pt>
                <c:pt idx="1126">
                  <c:v>17.144380659942211</c:v>
                </c:pt>
                <c:pt idx="1127">
                  <c:v>17.654731071832227</c:v>
                </c:pt>
                <c:pt idx="1128">
                  <c:v>17.676202199648515</c:v>
                </c:pt>
                <c:pt idx="1129">
                  <c:v>17.464183777555139</c:v>
                </c:pt>
                <c:pt idx="1130">
                  <c:v>17.104942527623241</c:v>
                </c:pt>
                <c:pt idx="1131">
                  <c:v>16.755822045059627</c:v>
                </c:pt>
                <c:pt idx="1132">
                  <c:v>16.406717524484662</c:v>
                </c:pt>
                <c:pt idx="1133">
                  <c:v>16.196964828817944</c:v>
                </c:pt>
                <c:pt idx="1134">
                  <c:v>15.569531589340125</c:v>
                </c:pt>
                <c:pt idx="1135">
                  <c:v>15.818318536394456</c:v>
                </c:pt>
                <c:pt idx="1136">
                  <c:v>15.411360149442134</c:v>
                </c:pt>
                <c:pt idx="1137">
                  <c:v>15.347968364446848</c:v>
                </c:pt>
                <c:pt idx="1138">
                  <c:v>15.34783138465655</c:v>
                </c:pt>
                <c:pt idx="1139">
                  <c:v>14.785181964073631</c:v>
                </c:pt>
                <c:pt idx="1140">
                  <c:v>15.034055421020669</c:v>
                </c:pt>
                <c:pt idx="1141">
                  <c:v>15.346054738089888</c:v>
                </c:pt>
                <c:pt idx="1142">
                  <c:v>15.407862204083342</c:v>
                </c:pt>
                <c:pt idx="1143">
                  <c:v>15.914527061827981</c:v>
                </c:pt>
                <c:pt idx="1144">
                  <c:v>15.872521186007708</c:v>
                </c:pt>
                <c:pt idx="1145">
                  <c:v>14.062498730880495</c:v>
                </c:pt>
                <c:pt idx="1146">
                  <c:v>14.014810959567674</c:v>
                </c:pt>
                <c:pt idx="1147">
                  <c:v>13.943122831444155</c:v>
                </c:pt>
                <c:pt idx="1148">
                  <c:v>14.191111473155738</c:v>
                </c:pt>
                <c:pt idx="1149">
                  <c:v>15.06464545606879</c:v>
                </c:pt>
                <c:pt idx="1150">
                  <c:v>15.527921150073231</c:v>
                </c:pt>
                <c:pt idx="1151">
                  <c:v>15.319389802947365</c:v>
                </c:pt>
                <c:pt idx="1152">
                  <c:v>15.301351380730711</c:v>
                </c:pt>
                <c:pt idx="1153">
                  <c:v>15.388773121926123</c:v>
                </c:pt>
                <c:pt idx="1154">
                  <c:v>16.136848038263317</c:v>
                </c:pt>
                <c:pt idx="1155">
                  <c:v>15.889225809404826</c:v>
                </c:pt>
                <c:pt idx="1156">
                  <c:v>15.752382353444839</c:v>
                </c:pt>
                <c:pt idx="1157">
                  <c:v>15.719222445016728</c:v>
                </c:pt>
                <c:pt idx="1158">
                  <c:v>15.408826260081858</c:v>
                </c:pt>
                <c:pt idx="1159">
                  <c:v>15.473375201471407</c:v>
                </c:pt>
                <c:pt idx="1160">
                  <c:v>15.274251174691742</c:v>
                </c:pt>
                <c:pt idx="1161">
                  <c:v>14.98309783778693</c:v>
                </c:pt>
                <c:pt idx="1162">
                  <c:v>14.930836386302992</c:v>
                </c:pt>
                <c:pt idx="1163">
                  <c:v>14.683326329715069</c:v>
                </c:pt>
                <c:pt idx="1164">
                  <c:v>15.799680401266595</c:v>
                </c:pt>
                <c:pt idx="1165">
                  <c:v>15.829884518719798</c:v>
                </c:pt>
                <c:pt idx="1166">
                  <c:v>15.753254522482269</c:v>
                </c:pt>
                <c:pt idx="1167">
                  <c:v>15.772615376164168</c:v>
                </c:pt>
                <c:pt idx="1168">
                  <c:v>15.985979511233761</c:v>
                </c:pt>
                <c:pt idx="1169">
                  <c:v>15.681475581585646</c:v>
                </c:pt>
                <c:pt idx="1170">
                  <c:v>15.655393573431914</c:v>
                </c:pt>
                <c:pt idx="1171">
                  <c:v>16.002201191289583</c:v>
                </c:pt>
                <c:pt idx="1172">
                  <c:v>15.852881069823072</c:v>
                </c:pt>
                <c:pt idx="1173">
                  <c:v>15.992614555234681</c:v>
                </c:pt>
                <c:pt idx="1174">
                  <c:v>15.971722136880386</c:v>
                </c:pt>
                <c:pt idx="1175">
                  <c:v>15.776364364840296</c:v>
                </c:pt>
                <c:pt idx="1176">
                  <c:v>15.660022506662784</c:v>
                </c:pt>
                <c:pt idx="1177">
                  <c:v>15.048844581298068</c:v>
                </c:pt>
                <c:pt idx="1178">
                  <c:v>15.261020813205684</c:v>
                </c:pt>
                <c:pt idx="1179">
                  <c:v>15.042073714434359</c:v>
                </c:pt>
                <c:pt idx="1180">
                  <c:v>14.511070038436454</c:v>
                </c:pt>
                <c:pt idx="1181">
                  <c:v>14.135465106220497</c:v>
                </c:pt>
                <c:pt idx="1182">
                  <c:v>14.009845581087697</c:v>
                </c:pt>
                <c:pt idx="1183">
                  <c:v>13.791158038735807</c:v>
                </c:pt>
                <c:pt idx="1184">
                  <c:v>13.634676411416118</c:v>
                </c:pt>
                <c:pt idx="1185">
                  <c:v>13.727938761878145</c:v>
                </c:pt>
                <c:pt idx="1186">
                  <c:v>13.977330137226613</c:v>
                </c:pt>
                <c:pt idx="1187">
                  <c:v>14.319964022752201</c:v>
                </c:pt>
                <c:pt idx="1188">
                  <c:v>13.788822272413089</c:v>
                </c:pt>
                <c:pt idx="1189">
                  <c:v>13.847107837501342</c:v>
                </c:pt>
                <c:pt idx="1190">
                  <c:v>13.388185896263522</c:v>
                </c:pt>
                <c:pt idx="1191">
                  <c:v>13.158451364257461</c:v>
                </c:pt>
                <c:pt idx="1192">
                  <c:v>12.80406985258548</c:v>
                </c:pt>
                <c:pt idx="1193">
                  <c:v>12.545944187121606</c:v>
                </c:pt>
                <c:pt idx="1194">
                  <c:v>13.02792585327497</c:v>
                </c:pt>
                <c:pt idx="1195">
                  <c:v>12.479972502205738</c:v>
                </c:pt>
                <c:pt idx="1196">
                  <c:v>12.189335545923559</c:v>
                </c:pt>
                <c:pt idx="1197">
                  <c:v>12.493446345177052</c:v>
                </c:pt>
                <c:pt idx="1198">
                  <c:v>11.938725883101036</c:v>
                </c:pt>
                <c:pt idx="1199">
                  <c:v>11.854461325445088</c:v>
                </c:pt>
                <c:pt idx="1200">
                  <c:v>12.546713083351179</c:v>
                </c:pt>
                <c:pt idx="1201">
                  <c:v>13.708372600048845</c:v>
                </c:pt>
                <c:pt idx="1202">
                  <c:v>13.698550687963776</c:v>
                </c:pt>
                <c:pt idx="1203">
                  <c:v>13.559484492173354</c:v>
                </c:pt>
                <c:pt idx="1204">
                  <c:v>14.001096085464631</c:v>
                </c:pt>
                <c:pt idx="1205">
                  <c:v>13.852712155488812</c:v>
                </c:pt>
                <c:pt idx="1206">
                  <c:v>13.602527280109028</c:v>
                </c:pt>
                <c:pt idx="1207">
                  <c:v>14.230977421732458</c:v>
                </c:pt>
                <c:pt idx="1208">
                  <c:v>14.803031652954502</c:v>
                </c:pt>
                <c:pt idx="1209">
                  <c:v>14.772288449415397</c:v>
                </c:pt>
                <c:pt idx="1210">
                  <c:v>17.029380333582758</c:v>
                </c:pt>
                <c:pt idx="1211">
                  <c:v>17.356535394400527</c:v>
                </c:pt>
                <c:pt idx="1212">
                  <c:v>17.154456315130382</c:v>
                </c:pt>
                <c:pt idx="1213">
                  <c:v>17.603947415726594</c:v>
                </c:pt>
                <c:pt idx="1214">
                  <c:v>17.631072610676576</c:v>
                </c:pt>
                <c:pt idx="1215">
                  <c:v>17.976355650309653</c:v>
                </c:pt>
                <c:pt idx="1216">
                  <c:v>17.989225951311411</c:v>
                </c:pt>
                <c:pt idx="1217">
                  <c:v>17.94957634488151</c:v>
                </c:pt>
                <c:pt idx="1218">
                  <c:v>17.927136859795457</c:v>
                </c:pt>
                <c:pt idx="1219">
                  <c:v>17.488873999522415</c:v>
                </c:pt>
                <c:pt idx="1220">
                  <c:v>17.135083283163151</c:v>
                </c:pt>
                <c:pt idx="1221">
                  <c:v>16.810949536226875</c:v>
                </c:pt>
                <c:pt idx="1222">
                  <c:v>17.371959609295633</c:v>
                </c:pt>
                <c:pt idx="1223">
                  <c:v>16.929363036358598</c:v>
                </c:pt>
                <c:pt idx="1224">
                  <c:v>16.820008598359266</c:v>
                </c:pt>
                <c:pt idx="1225">
                  <c:v>16.412343888191753</c:v>
                </c:pt>
                <c:pt idx="1226">
                  <c:v>16.159928322179791</c:v>
                </c:pt>
                <c:pt idx="1227">
                  <c:v>16.02218918591559</c:v>
                </c:pt>
                <c:pt idx="1228">
                  <c:v>15.889686614352357</c:v>
                </c:pt>
                <c:pt idx="1229">
                  <c:v>15.889377897962884</c:v>
                </c:pt>
                <c:pt idx="1230">
                  <c:v>15.215238769959539</c:v>
                </c:pt>
                <c:pt idx="1231">
                  <c:v>15.106220164205736</c:v>
                </c:pt>
                <c:pt idx="1232">
                  <c:v>15.217610946013695</c:v>
                </c:pt>
                <c:pt idx="1233">
                  <c:v>15.299594031577538</c:v>
                </c:pt>
                <c:pt idx="1234">
                  <c:v>15.299412091792044</c:v>
                </c:pt>
                <c:pt idx="1235">
                  <c:v>15.193165507154895</c:v>
                </c:pt>
                <c:pt idx="1236">
                  <c:v>15.228090790182431</c:v>
                </c:pt>
                <c:pt idx="1237">
                  <c:v>14.802845494023199</c:v>
                </c:pt>
                <c:pt idx="1238">
                  <c:v>14.42431583254748</c:v>
                </c:pt>
                <c:pt idx="1239">
                  <c:v>14.197116049175762</c:v>
                </c:pt>
                <c:pt idx="1240">
                  <c:v>14.483459513540772</c:v>
                </c:pt>
                <c:pt idx="1241">
                  <c:v>14.267715500005313</c:v>
                </c:pt>
                <c:pt idx="1242">
                  <c:v>13.944612452839303</c:v>
                </c:pt>
                <c:pt idx="1243">
                  <c:v>14.266544815759158</c:v>
                </c:pt>
                <c:pt idx="1244">
                  <c:v>14.409201593665017</c:v>
                </c:pt>
                <c:pt idx="1245">
                  <c:v>14.265507280915346</c:v>
                </c:pt>
                <c:pt idx="1246">
                  <c:v>14.086688585201136</c:v>
                </c:pt>
                <c:pt idx="1247">
                  <c:v>13.859812886507115</c:v>
                </c:pt>
                <c:pt idx="1248">
                  <c:v>13.743292128080753</c:v>
                </c:pt>
                <c:pt idx="1249">
                  <c:v>13.63426901947949</c:v>
                </c:pt>
                <c:pt idx="1250">
                  <c:v>13.05385053627705</c:v>
                </c:pt>
                <c:pt idx="1251">
                  <c:v>12.653759964232247</c:v>
                </c:pt>
                <c:pt idx="1252">
                  <c:v>12.97922417125832</c:v>
                </c:pt>
                <c:pt idx="1253">
                  <c:v>12.652194375396205</c:v>
                </c:pt>
                <c:pt idx="1254">
                  <c:v>12.470230596794361</c:v>
                </c:pt>
                <c:pt idx="1255">
                  <c:v>12.397337388598851</c:v>
                </c:pt>
                <c:pt idx="1256">
                  <c:v>12.433428244448645</c:v>
                </c:pt>
                <c:pt idx="1257">
                  <c:v>12.10710564224361</c:v>
                </c:pt>
                <c:pt idx="1258">
                  <c:v>12.106406745819559</c:v>
                </c:pt>
                <c:pt idx="1259">
                  <c:v>12.514135595270583</c:v>
                </c:pt>
                <c:pt idx="1260">
                  <c:v>12.230935319533947</c:v>
                </c:pt>
                <c:pt idx="1261">
                  <c:v>12.165395526979964</c:v>
                </c:pt>
                <c:pt idx="1262">
                  <c:v>12.202871179019516</c:v>
                </c:pt>
                <c:pt idx="1263">
                  <c:v>12.168274075331029</c:v>
                </c:pt>
                <c:pt idx="1264">
                  <c:v>12.07033424258006</c:v>
                </c:pt>
                <c:pt idx="1265">
                  <c:v>12.233233801794942</c:v>
                </c:pt>
                <c:pt idx="1266">
                  <c:v>13.733479241817552</c:v>
                </c:pt>
                <c:pt idx="1267">
                  <c:v>13.584799320553941</c:v>
                </c:pt>
                <c:pt idx="1268">
                  <c:v>14.280492318021135</c:v>
                </c:pt>
                <c:pt idx="1269">
                  <c:v>12.861606894693788</c:v>
                </c:pt>
                <c:pt idx="1270">
                  <c:v>12.986530354414677</c:v>
                </c:pt>
                <c:pt idx="1271">
                  <c:v>11.416176797693591</c:v>
                </c:pt>
                <c:pt idx="1272">
                  <c:v>11.061604368724325</c:v>
                </c:pt>
                <c:pt idx="1273">
                  <c:v>8.7394674124128766</c:v>
                </c:pt>
                <c:pt idx="1274">
                  <c:v>7.6130830114667205</c:v>
                </c:pt>
                <c:pt idx="1275">
                  <c:v>8.8817049790137883</c:v>
                </c:pt>
                <c:pt idx="1276">
                  <c:v>8.991689147974494</c:v>
                </c:pt>
                <c:pt idx="1277">
                  <c:v>9.3422230618042512</c:v>
                </c:pt>
                <c:pt idx="1278">
                  <c:v>9.2235803312086659</c:v>
                </c:pt>
                <c:pt idx="1279">
                  <c:v>9.1840073751517011</c:v>
                </c:pt>
                <c:pt idx="1280">
                  <c:v>9.1795971246872874</c:v>
                </c:pt>
                <c:pt idx="1281">
                  <c:v>9.0253851134346856</c:v>
                </c:pt>
                <c:pt idx="1282">
                  <c:v>8.9895767945739173</c:v>
                </c:pt>
                <c:pt idx="1283">
                  <c:v>8.638072119994666</c:v>
                </c:pt>
                <c:pt idx="1284">
                  <c:v>8.6504534341670549</c:v>
                </c:pt>
                <c:pt idx="1285">
                  <c:v>8.7339930063256919</c:v>
                </c:pt>
                <c:pt idx="1286">
                  <c:v>8.9124407759194053</c:v>
                </c:pt>
                <c:pt idx="1287">
                  <c:v>9.0141047867539843</c:v>
                </c:pt>
                <c:pt idx="1288">
                  <c:v>9.2360258013042529</c:v>
                </c:pt>
                <c:pt idx="1289">
                  <c:v>9.2117867751881004</c:v>
                </c:pt>
                <c:pt idx="1290">
                  <c:v>9.3675140533212407</c:v>
                </c:pt>
                <c:pt idx="1291">
                  <c:v>9.2090373917191091</c:v>
                </c:pt>
                <c:pt idx="1292">
                  <c:v>9.2039998121427509</c:v>
                </c:pt>
                <c:pt idx="1293">
                  <c:v>9.5556569714975303</c:v>
                </c:pt>
                <c:pt idx="1294">
                  <c:v>9.7179254576254621</c:v>
                </c:pt>
                <c:pt idx="1295">
                  <c:v>9.7918762743515675</c:v>
                </c:pt>
                <c:pt idx="1296">
                  <c:v>9.7922054668863581</c:v>
                </c:pt>
                <c:pt idx="1297">
                  <c:v>9.9861037581760019</c:v>
                </c:pt>
                <c:pt idx="1298">
                  <c:v>10.035620902242098</c:v>
                </c:pt>
                <c:pt idx="1299">
                  <c:v>9.9855729089333671</c:v>
                </c:pt>
                <c:pt idx="1300">
                  <c:v>9.7907246856481009</c:v>
                </c:pt>
                <c:pt idx="1301">
                  <c:v>9.6682043520591687</c:v>
                </c:pt>
                <c:pt idx="1302">
                  <c:v>9.5410386682502821</c:v>
                </c:pt>
                <c:pt idx="1303">
                  <c:v>9.406538499714463</c:v>
                </c:pt>
                <c:pt idx="1304">
                  <c:v>9.4825278961609865</c:v>
                </c:pt>
                <c:pt idx="1305">
                  <c:v>9.935114986619185</c:v>
                </c:pt>
                <c:pt idx="1306">
                  <c:v>10.019020107085749</c:v>
                </c:pt>
                <c:pt idx="1307">
                  <c:v>10.151208139308057</c:v>
                </c:pt>
                <c:pt idx="1308">
                  <c:v>10.149130155552511</c:v>
                </c:pt>
                <c:pt idx="1309">
                  <c:v>10.069555053600094</c:v>
                </c:pt>
                <c:pt idx="1310">
                  <c:v>9.6594922391086708</c:v>
                </c:pt>
                <c:pt idx="1311">
                  <c:v>9.6016243973276634</c:v>
                </c:pt>
                <c:pt idx="1312">
                  <c:v>9.7466791904964758</c:v>
                </c:pt>
                <c:pt idx="1313">
                  <c:v>10.126261603383293</c:v>
                </c:pt>
                <c:pt idx="1314">
                  <c:v>10.75610725338753</c:v>
                </c:pt>
                <c:pt idx="1315">
                  <c:v>11.160862981076859</c:v>
                </c:pt>
                <c:pt idx="1316">
                  <c:v>11.042190694531945</c:v>
                </c:pt>
                <c:pt idx="1317">
                  <c:v>10.82409410468817</c:v>
                </c:pt>
                <c:pt idx="1318">
                  <c:v>10.538272222548446</c:v>
                </c:pt>
                <c:pt idx="1319">
                  <c:v>10.517278268630104</c:v>
                </c:pt>
                <c:pt idx="1320">
                  <c:v>10.904497629217312</c:v>
                </c:pt>
                <c:pt idx="1321">
                  <c:v>10.801703125280623</c:v>
                </c:pt>
                <c:pt idx="1322">
                  <c:v>11.251605186194569</c:v>
                </c:pt>
                <c:pt idx="1323">
                  <c:v>11.162902212691487</c:v>
                </c:pt>
                <c:pt idx="1324">
                  <c:v>11.195969177709724</c:v>
                </c:pt>
                <c:pt idx="1325">
                  <c:v>11.172517065622269</c:v>
                </c:pt>
                <c:pt idx="1326">
                  <c:v>10.912918315531288</c:v>
                </c:pt>
                <c:pt idx="1327">
                  <c:v>10.849975768461443</c:v>
                </c:pt>
                <c:pt idx="1328">
                  <c:v>10.525960378755299</c:v>
                </c:pt>
                <c:pt idx="1329">
                  <c:v>10.478028840961846</c:v>
                </c:pt>
                <c:pt idx="1330">
                  <c:v>10.601364458122351</c:v>
                </c:pt>
                <c:pt idx="1331">
                  <c:v>10.601089531252001</c:v>
                </c:pt>
                <c:pt idx="1332">
                  <c:v>10.477581896016746</c:v>
                </c:pt>
                <c:pt idx="1333">
                  <c:v>9.8186049565313827</c:v>
                </c:pt>
                <c:pt idx="1334">
                  <c:v>9.9179831207186453</c:v>
                </c:pt>
                <c:pt idx="1335">
                  <c:v>9.773582253158386</c:v>
                </c:pt>
                <c:pt idx="1336">
                  <c:v>9.7938456630567163</c:v>
                </c:pt>
                <c:pt idx="1337">
                  <c:v>9.7526495079219746</c:v>
                </c:pt>
                <c:pt idx="1338">
                  <c:v>9.5056579864523609</c:v>
                </c:pt>
                <c:pt idx="1339">
                  <c:v>9.5668527546434596</c:v>
                </c:pt>
                <c:pt idx="1340">
                  <c:v>10.57483564528523</c:v>
                </c:pt>
                <c:pt idx="1341">
                  <c:v>10.757547047852093</c:v>
                </c:pt>
                <c:pt idx="1342">
                  <c:v>10.47710728819346</c:v>
                </c:pt>
                <c:pt idx="1343">
                  <c:v>10.59605456404336</c:v>
                </c:pt>
                <c:pt idx="1344">
                  <c:v>10.910003971555787</c:v>
                </c:pt>
                <c:pt idx="1345">
                  <c:v>11.075998223140413</c:v>
                </c:pt>
                <c:pt idx="1346">
                  <c:v>10.829416865620285</c:v>
                </c:pt>
                <c:pt idx="1347">
                  <c:v>10.845309722904712</c:v>
                </c:pt>
                <c:pt idx="1348">
                  <c:v>11.001861645101247</c:v>
                </c:pt>
                <c:pt idx="1349">
                  <c:v>10.88359794018969</c:v>
                </c:pt>
                <c:pt idx="1350">
                  <c:v>10.782997828484625</c:v>
                </c:pt>
                <c:pt idx="1351">
                  <c:v>10.765669109142628</c:v>
                </c:pt>
                <c:pt idx="1352">
                  <c:v>10.43503531642212</c:v>
                </c:pt>
                <c:pt idx="1353">
                  <c:v>10.453087728287548</c:v>
                </c:pt>
                <c:pt idx="1354">
                  <c:v>10.229800640568342</c:v>
                </c:pt>
                <c:pt idx="1355">
                  <c:v>9.820369630514282</c:v>
                </c:pt>
                <c:pt idx="1356">
                  <c:v>9.5650647400302375</c:v>
                </c:pt>
                <c:pt idx="1357">
                  <c:v>9.0249894050573136</c:v>
                </c:pt>
                <c:pt idx="1358">
                  <c:v>9.3489291725028387</c:v>
                </c:pt>
                <c:pt idx="1359">
                  <c:v>9.1187672680408767</c:v>
                </c:pt>
                <c:pt idx="1360">
                  <c:v>9.0800414865658041</c:v>
                </c:pt>
                <c:pt idx="1361">
                  <c:v>8.8986866181631452</c:v>
                </c:pt>
                <c:pt idx="1362">
                  <c:v>8.4698396630448247</c:v>
                </c:pt>
                <c:pt idx="1363">
                  <c:v>8.4689424856725513</c:v>
                </c:pt>
                <c:pt idx="1364">
                  <c:v>8.3041774663785333</c:v>
                </c:pt>
                <c:pt idx="1365">
                  <c:v>8.2708691917685293</c:v>
                </c:pt>
                <c:pt idx="1366">
                  <c:v>8.2543208721907675</c:v>
                </c:pt>
                <c:pt idx="1367">
                  <c:v>8.0236251200519781</c:v>
                </c:pt>
                <c:pt idx="1368">
                  <c:v>8.0560828423665001</c:v>
                </c:pt>
                <c:pt idx="1369">
                  <c:v>8.2207565251024395</c:v>
                </c:pt>
                <c:pt idx="1370">
                  <c:v>8.5004524700357731</c:v>
                </c:pt>
                <c:pt idx="1371">
                  <c:v>8.2647144856010133</c:v>
                </c:pt>
                <c:pt idx="1372">
                  <c:v>8.2320351154263829</c:v>
                </c:pt>
                <c:pt idx="1373">
                  <c:v>8.2051983101779378</c:v>
                </c:pt>
                <c:pt idx="1374">
                  <c:v>8.2653476131037742</c:v>
                </c:pt>
                <c:pt idx="1375">
                  <c:v>8.3662395344839702</c:v>
                </c:pt>
                <c:pt idx="1376">
                  <c:v>8.3547910684297904</c:v>
                </c:pt>
                <c:pt idx="1377">
                  <c:v>8.2361602317608344</c:v>
                </c:pt>
                <c:pt idx="1378">
                  <c:v>8.2365212046352578</c:v>
                </c:pt>
                <c:pt idx="1379">
                  <c:v>8.2946729572273767</c:v>
                </c:pt>
                <c:pt idx="1380">
                  <c:v>8.1608602679328168</c:v>
                </c:pt>
                <c:pt idx="1381">
                  <c:v>7.8050347252433694</c:v>
                </c:pt>
                <c:pt idx="1382">
                  <c:v>7.5731583172467678</c:v>
                </c:pt>
                <c:pt idx="1383">
                  <c:v>7.3415595625343713</c:v>
                </c:pt>
                <c:pt idx="1384">
                  <c:v>7.3410666793232053</c:v>
                </c:pt>
                <c:pt idx="1385">
                  <c:v>7.6610156914339678</c:v>
                </c:pt>
                <c:pt idx="1386">
                  <c:v>7.6127951647577552</c:v>
                </c:pt>
                <c:pt idx="1387">
                  <c:v>7.3752861829625651</c:v>
                </c:pt>
                <c:pt idx="1388">
                  <c:v>7.5364169770432872</c:v>
                </c:pt>
                <c:pt idx="1389">
                  <c:v>7.140616634569148</c:v>
                </c:pt>
                <c:pt idx="1390">
                  <c:v>7.0627706659907084</c:v>
                </c:pt>
                <c:pt idx="1391">
                  <c:v>6.7637781239051158</c:v>
                </c:pt>
                <c:pt idx="1392">
                  <c:v>6.7150861976885556</c:v>
                </c:pt>
                <c:pt idx="1393">
                  <c:v>6.8592185323847561</c:v>
                </c:pt>
                <c:pt idx="1394">
                  <c:v>7.0031304214250136</c:v>
                </c:pt>
                <c:pt idx="1395">
                  <c:v>6.9707552843258949</c:v>
                </c:pt>
                <c:pt idx="1396">
                  <c:v>6.9663246298266817</c:v>
                </c:pt>
                <c:pt idx="1397">
                  <c:v>6.9269627830581531</c:v>
                </c:pt>
                <c:pt idx="1398">
                  <c:v>6.8622359420164694</c:v>
                </c:pt>
                <c:pt idx="1399">
                  <c:v>6.7096138090636952</c:v>
                </c:pt>
                <c:pt idx="1400">
                  <c:v>6.3091665910686361</c:v>
                </c:pt>
                <c:pt idx="1401">
                  <c:v>6.3238984952018402</c:v>
                </c:pt>
                <c:pt idx="1402">
                  <c:v>6.3749978923594917</c:v>
                </c:pt>
                <c:pt idx="1403">
                  <c:v>6.4430658150221571</c:v>
                </c:pt>
                <c:pt idx="1404">
                  <c:v>6.3576888157363527</c:v>
                </c:pt>
                <c:pt idx="1405">
                  <c:v>6.459772960267542</c:v>
                </c:pt>
                <c:pt idx="1406">
                  <c:v>6.827796884771403</c:v>
                </c:pt>
                <c:pt idx="1407">
                  <c:v>6.7409544504763472</c:v>
                </c:pt>
                <c:pt idx="1408">
                  <c:v>6.5335236996073993</c:v>
                </c:pt>
                <c:pt idx="1409">
                  <c:v>6.6196953761990764</c:v>
                </c:pt>
                <c:pt idx="1410">
                  <c:v>7.0739797346190922</c:v>
                </c:pt>
                <c:pt idx="1411">
                  <c:v>7.1581264776864559</c:v>
                </c:pt>
                <c:pt idx="1412">
                  <c:v>6.9716419417509563</c:v>
                </c:pt>
                <c:pt idx="1413">
                  <c:v>7.2913371867606918</c:v>
                </c:pt>
                <c:pt idx="1414">
                  <c:v>6.9572321140942845</c:v>
                </c:pt>
                <c:pt idx="1415">
                  <c:v>7.2006178468856312</c:v>
                </c:pt>
                <c:pt idx="1416">
                  <c:v>7.260905131129813</c:v>
                </c:pt>
                <c:pt idx="1417">
                  <c:v>7.2183651011919574</c:v>
                </c:pt>
                <c:pt idx="1418">
                  <c:v>7.3145814540345908</c:v>
                </c:pt>
                <c:pt idx="1419">
                  <c:v>7.9869195382338942</c:v>
                </c:pt>
                <c:pt idx="1420">
                  <c:v>8.1149409907155885</c:v>
                </c:pt>
                <c:pt idx="1421">
                  <c:v>7.9947578430418114</c:v>
                </c:pt>
                <c:pt idx="1422">
                  <c:v>7.9874866428747771</c:v>
                </c:pt>
                <c:pt idx="1423">
                  <c:v>7.814651180587453</c:v>
                </c:pt>
                <c:pt idx="1424">
                  <c:v>7.7284058686589212</c:v>
                </c:pt>
                <c:pt idx="1425">
                  <c:v>7.7496862468413541</c:v>
                </c:pt>
                <c:pt idx="1426">
                  <c:v>7.8569750004238328</c:v>
                </c:pt>
                <c:pt idx="1427">
                  <c:v>8.0126318248109119</c:v>
                </c:pt>
                <c:pt idx="1428">
                  <c:v>8.1020118473114309</c:v>
                </c:pt>
                <c:pt idx="1429">
                  <c:v>8.0592430666649051</c:v>
                </c:pt>
                <c:pt idx="1430">
                  <c:v>8.0786875320554845</c:v>
                </c:pt>
                <c:pt idx="1431">
                  <c:v>8.0588800176045403</c:v>
                </c:pt>
                <c:pt idx="1432">
                  <c:v>8.0290482322355992</c:v>
                </c:pt>
                <c:pt idx="1433">
                  <c:v>8.0232560395212289</c:v>
                </c:pt>
                <c:pt idx="1434">
                  <c:v>8.1909184118123797</c:v>
                </c:pt>
                <c:pt idx="1435">
                  <c:v>8.3519973364005828</c:v>
                </c:pt>
                <c:pt idx="1436">
                  <c:v>8.3516850057646437</c:v>
                </c:pt>
                <c:pt idx="1437">
                  <c:v>8.3738673719266767</c:v>
                </c:pt>
                <c:pt idx="1438">
                  <c:v>8.3924520846021888</c:v>
                </c:pt>
                <c:pt idx="1439">
                  <c:v>8.4141590534274453</c:v>
                </c:pt>
                <c:pt idx="1440">
                  <c:v>8.4348678788245905</c:v>
                </c:pt>
                <c:pt idx="1441">
                  <c:v>8.3694751655404502</c:v>
                </c:pt>
                <c:pt idx="1442">
                  <c:v>8.1866440701814973</c:v>
                </c:pt>
                <c:pt idx="1443">
                  <c:v>8.1643778373894715</c:v>
                </c:pt>
                <c:pt idx="1444">
                  <c:v>8.1862178484538504</c:v>
                </c:pt>
                <c:pt idx="1445">
                  <c:v>8.164281658375879</c:v>
                </c:pt>
                <c:pt idx="1446">
                  <c:v>7.8578003059753776</c:v>
                </c:pt>
                <c:pt idx="1447">
                  <c:v>7.4412788268019163</c:v>
                </c:pt>
                <c:pt idx="1448">
                  <c:v>7.418526668482345</c:v>
                </c:pt>
                <c:pt idx="1449">
                  <c:v>7.0725370472468567</c:v>
                </c:pt>
                <c:pt idx="1450">
                  <c:v>6.860403563480773</c:v>
                </c:pt>
                <c:pt idx="1451">
                  <c:v>7.2058551044664094</c:v>
                </c:pt>
                <c:pt idx="1452">
                  <c:v>7.1666247378081422</c:v>
                </c:pt>
                <c:pt idx="1453">
                  <c:v>7.2433942016779884</c:v>
                </c:pt>
                <c:pt idx="1454">
                  <c:v>7.0703048283010324</c:v>
                </c:pt>
                <c:pt idx="1455">
                  <c:v>6.996102795665152</c:v>
                </c:pt>
                <c:pt idx="1456">
                  <c:v>6.7455086667363382</c:v>
                </c:pt>
                <c:pt idx="1457">
                  <c:v>6.6296698487943342</c:v>
                </c:pt>
                <c:pt idx="1458">
                  <c:v>7.4557281361886529</c:v>
                </c:pt>
                <c:pt idx="1459">
                  <c:v>7.3383894892579589</c:v>
                </c:pt>
                <c:pt idx="1460">
                  <c:v>7.7415246908003903</c:v>
                </c:pt>
                <c:pt idx="1461">
                  <c:v>7.7086437553819245</c:v>
                </c:pt>
                <c:pt idx="1462">
                  <c:v>7.6343246472852186</c:v>
                </c:pt>
                <c:pt idx="1463">
                  <c:v>7.586224937075797</c:v>
                </c:pt>
                <c:pt idx="1464">
                  <c:v>7.5219779639350692</c:v>
                </c:pt>
                <c:pt idx="1465">
                  <c:v>7.486550106939287</c:v>
                </c:pt>
                <c:pt idx="1466">
                  <c:v>7.4842890125204349</c:v>
                </c:pt>
                <c:pt idx="1467">
                  <c:v>7.5018112161496004</c:v>
                </c:pt>
                <c:pt idx="1468">
                  <c:v>7.4209573352111278</c:v>
                </c:pt>
                <c:pt idx="1469">
                  <c:v>7.3565369656299708</c:v>
                </c:pt>
                <c:pt idx="1470">
                  <c:v>7.4182090760368951</c:v>
                </c:pt>
                <c:pt idx="1471">
                  <c:v>7.4949703795404679</c:v>
                </c:pt>
                <c:pt idx="1472">
                  <c:v>7.5147796389664663</c:v>
                </c:pt>
                <c:pt idx="1473">
                  <c:v>7.5097389579147027</c:v>
                </c:pt>
                <c:pt idx="1474">
                  <c:v>7.268980904907969</c:v>
                </c:pt>
                <c:pt idx="1475">
                  <c:v>7.1110669644842677</c:v>
                </c:pt>
                <c:pt idx="1476">
                  <c:v>7.2300327398776361</c:v>
                </c:pt>
                <c:pt idx="1477">
                  <c:v>7.7922665718245252</c:v>
                </c:pt>
                <c:pt idx="1478">
                  <c:v>8.1583099887326398</c:v>
                </c:pt>
                <c:pt idx="1479">
                  <c:v>7.8167114299152383</c:v>
                </c:pt>
                <c:pt idx="1480">
                  <c:v>7.7968374167352401</c:v>
                </c:pt>
                <c:pt idx="1481">
                  <c:v>8.1442366532782344</c:v>
                </c:pt>
                <c:pt idx="1482">
                  <c:v>8.0654181462194234</c:v>
                </c:pt>
                <c:pt idx="1483">
                  <c:v>8.1828792588585664</c:v>
                </c:pt>
                <c:pt idx="1484">
                  <c:v>8.1266205714997284</c:v>
                </c:pt>
                <c:pt idx="1485">
                  <c:v>8.084986136806517</c:v>
                </c:pt>
                <c:pt idx="1486">
                  <c:v>8.1323251875708653</c:v>
                </c:pt>
                <c:pt idx="1487">
                  <c:v>8.1798632049589912</c:v>
                </c:pt>
                <c:pt idx="1488">
                  <c:v>8.104457095133716</c:v>
                </c:pt>
                <c:pt idx="1489">
                  <c:v>7.9415238793571099</c:v>
                </c:pt>
                <c:pt idx="1490">
                  <c:v>7.7642445459883369</c:v>
                </c:pt>
                <c:pt idx="1491">
                  <c:v>7.925644696042923</c:v>
                </c:pt>
                <c:pt idx="1492">
                  <c:v>8.1828370272932425</c:v>
                </c:pt>
                <c:pt idx="1493">
                  <c:v>8.5658149708913669</c:v>
                </c:pt>
                <c:pt idx="1494">
                  <c:v>8.5692333384391493</c:v>
                </c:pt>
                <c:pt idx="1495">
                  <c:v>8.4203079365785172</c:v>
                </c:pt>
                <c:pt idx="1496">
                  <c:v>8.2953685871917422</c:v>
                </c:pt>
                <c:pt idx="1497">
                  <c:v>8.2075939261443214</c:v>
                </c:pt>
                <c:pt idx="1498">
                  <c:v>8.4352542831806527</c:v>
                </c:pt>
                <c:pt idx="1499">
                  <c:v>8.1438654946991829</c:v>
                </c:pt>
                <c:pt idx="1500">
                  <c:v>8.016282243817999</c:v>
                </c:pt>
                <c:pt idx="1501">
                  <c:v>8.0344491966105807</c:v>
                </c:pt>
                <c:pt idx="1502">
                  <c:v>7.93032969693905</c:v>
                </c:pt>
                <c:pt idx="1503">
                  <c:v>7.7844015220195732</c:v>
                </c:pt>
                <c:pt idx="1504">
                  <c:v>7.7276507448721388</c:v>
                </c:pt>
                <c:pt idx="1505">
                  <c:v>7.6421979255449104</c:v>
                </c:pt>
                <c:pt idx="1506">
                  <c:v>7.6605850197022303</c:v>
                </c:pt>
                <c:pt idx="1507">
                  <c:v>7.7594560012072478</c:v>
                </c:pt>
                <c:pt idx="1508">
                  <c:v>7.6691316912045764</c:v>
                </c:pt>
                <c:pt idx="1509">
                  <c:v>7.7166752610448546</c:v>
                </c:pt>
                <c:pt idx="1510">
                  <c:v>7.6299632261877415</c:v>
                </c:pt>
                <c:pt idx="1511">
                  <c:v>7.6148497126152614</c:v>
                </c:pt>
                <c:pt idx="1512">
                  <c:v>7.4992069749374748</c:v>
                </c:pt>
                <c:pt idx="1513">
                  <c:v>7.7017133984652579</c:v>
                </c:pt>
                <c:pt idx="1514">
                  <c:v>7.281838617469452</c:v>
                </c:pt>
                <c:pt idx="1515">
                  <c:v>6.9505748611989926</c:v>
                </c:pt>
                <c:pt idx="1516">
                  <c:v>6.8528145644348744</c:v>
                </c:pt>
                <c:pt idx="1517">
                  <c:v>6.6803297941518212</c:v>
                </c:pt>
                <c:pt idx="1518">
                  <c:v>6.6225364064270789</c:v>
                </c:pt>
                <c:pt idx="1519">
                  <c:v>6.5075697382726005</c:v>
                </c:pt>
                <c:pt idx="1520">
                  <c:v>6.4116215144575932</c:v>
                </c:pt>
                <c:pt idx="1521">
                  <c:v>6.3922755601415364</c:v>
                </c:pt>
                <c:pt idx="1522">
                  <c:v>6.6027559457936134</c:v>
                </c:pt>
                <c:pt idx="1523">
                  <c:v>6.774524849420053</c:v>
                </c:pt>
                <c:pt idx="1524">
                  <c:v>6.8698218296395339</c:v>
                </c:pt>
                <c:pt idx="1525">
                  <c:v>6.7932862673045857</c:v>
                </c:pt>
                <c:pt idx="1526">
                  <c:v>6.8402800186032646</c:v>
                </c:pt>
                <c:pt idx="1527">
                  <c:v>7.1039691667298168</c:v>
                </c:pt>
                <c:pt idx="1528">
                  <c:v>7.4290504192519391</c:v>
                </c:pt>
                <c:pt idx="1529">
                  <c:v>7.4120479165386532</c:v>
                </c:pt>
                <c:pt idx="1530">
                  <c:v>7.1586245112008546</c:v>
                </c:pt>
                <c:pt idx="1531">
                  <c:v>7.1872841227533764</c:v>
                </c:pt>
                <c:pt idx="1532">
                  <c:v>7.330935273097178</c:v>
                </c:pt>
                <c:pt idx="1533">
                  <c:v>7.2198051727264803</c:v>
                </c:pt>
                <c:pt idx="1534">
                  <c:v>7.157080248046646</c:v>
                </c:pt>
                <c:pt idx="1535">
                  <c:v>7.0498631473279225</c:v>
                </c:pt>
                <c:pt idx="1536">
                  <c:v>7.2037334354725271</c:v>
                </c:pt>
                <c:pt idx="1537">
                  <c:v>7.402924514885866</c:v>
                </c:pt>
                <c:pt idx="1538">
                  <c:v>7.3100046999930175</c:v>
                </c:pt>
                <c:pt idx="1539">
                  <c:v>7.324973157517662</c:v>
                </c:pt>
                <c:pt idx="1540">
                  <c:v>7.2658641434959783</c:v>
                </c:pt>
                <c:pt idx="1541">
                  <c:v>7.1475985202654106</c:v>
                </c:pt>
                <c:pt idx="1542">
                  <c:v>6.9136194673470488</c:v>
                </c:pt>
                <c:pt idx="1543">
                  <c:v>7.4979684668146653</c:v>
                </c:pt>
                <c:pt idx="1544">
                  <c:v>7.4339167894242522</c:v>
                </c:pt>
                <c:pt idx="1545">
                  <c:v>7.3967097566850217</c:v>
                </c:pt>
                <c:pt idx="1546">
                  <c:v>7.3837080787446192</c:v>
                </c:pt>
                <c:pt idx="1547">
                  <c:v>7.3917814424017916</c:v>
                </c:pt>
                <c:pt idx="1548">
                  <c:v>7.292349474323915</c:v>
                </c:pt>
                <c:pt idx="1549">
                  <c:v>7.452916261895024</c:v>
                </c:pt>
                <c:pt idx="1550">
                  <c:v>7.2097465566909804</c:v>
                </c:pt>
                <c:pt idx="1551">
                  <c:v>7.1885648318347224</c:v>
                </c:pt>
                <c:pt idx="1552">
                  <c:v>7.3990976505924699</c:v>
                </c:pt>
                <c:pt idx="1553">
                  <c:v>6.7204948542136638</c:v>
                </c:pt>
                <c:pt idx="1554">
                  <c:v>6.7831419685071994</c:v>
                </c:pt>
                <c:pt idx="1555">
                  <c:v>6.918708060519319</c:v>
                </c:pt>
                <c:pt idx="1556">
                  <c:v>7.2409116877376691</c:v>
                </c:pt>
                <c:pt idx="1557">
                  <c:v>7.4172073569415584</c:v>
                </c:pt>
                <c:pt idx="1558">
                  <c:v>7.3736182307327134</c:v>
                </c:pt>
                <c:pt idx="1559">
                  <c:v>7.3296010843539463</c:v>
                </c:pt>
                <c:pt idx="1560">
                  <c:v>7.3128736384605659</c:v>
                </c:pt>
                <c:pt idx="1561">
                  <c:v>7.2400707432480926</c:v>
                </c:pt>
                <c:pt idx="1562">
                  <c:v>7.3837062650905692</c:v>
                </c:pt>
                <c:pt idx="1563">
                  <c:v>7.3890198865521368</c:v>
                </c:pt>
                <c:pt idx="1564">
                  <c:v>7.1254184732560057</c:v>
                </c:pt>
                <c:pt idx="1565">
                  <c:v>6.8195704815958926</c:v>
                </c:pt>
                <c:pt idx="1566">
                  <c:v>6.8189347557232498</c:v>
                </c:pt>
                <c:pt idx="1567">
                  <c:v>6.9396240471592057</c:v>
                </c:pt>
                <c:pt idx="1568">
                  <c:v>6.738206524898092</c:v>
                </c:pt>
                <c:pt idx="1569">
                  <c:v>6.8785749936473453</c:v>
                </c:pt>
                <c:pt idx="1570">
                  <c:v>7.5822055563417505</c:v>
                </c:pt>
                <c:pt idx="1571">
                  <c:v>7.8507370732452468</c:v>
                </c:pt>
                <c:pt idx="1572">
                  <c:v>7.7580575391114106</c:v>
                </c:pt>
                <c:pt idx="1573">
                  <c:v>7.4582463294104429</c:v>
                </c:pt>
                <c:pt idx="1574">
                  <c:v>7.6201555442909177</c:v>
                </c:pt>
                <c:pt idx="1575">
                  <c:v>7.3180007243514495</c:v>
                </c:pt>
                <c:pt idx="1576">
                  <c:v>7.752958652508366</c:v>
                </c:pt>
                <c:pt idx="1577">
                  <c:v>7.9089648096274514</c:v>
                </c:pt>
                <c:pt idx="1578">
                  <c:v>8.1025290041678613</c:v>
                </c:pt>
                <c:pt idx="1579">
                  <c:v>8.0978224832150936</c:v>
                </c:pt>
                <c:pt idx="1580">
                  <c:v>8.4449524500173005</c:v>
                </c:pt>
                <c:pt idx="1581">
                  <c:v>8.5612080340779713</c:v>
                </c:pt>
                <c:pt idx="1582">
                  <c:v>8.6773420876805094</c:v>
                </c:pt>
                <c:pt idx="1583">
                  <c:v>8.6729957422254298</c:v>
                </c:pt>
                <c:pt idx="1584">
                  <c:v>8.7469250293235081</c:v>
                </c:pt>
                <c:pt idx="1585">
                  <c:v>8.902635292443021</c:v>
                </c:pt>
                <c:pt idx="1586">
                  <c:v>8.3642916359904245</c:v>
                </c:pt>
                <c:pt idx="1587">
                  <c:v>8.4227254268304108</c:v>
                </c:pt>
                <c:pt idx="1588">
                  <c:v>6.3279687938923219</c:v>
                </c:pt>
                <c:pt idx="1589">
                  <c:v>5.9623336290385982</c:v>
                </c:pt>
                <c:pt idx="1590">
                  <c:v>4.4484579542229827</c:v>
                </c:pt>
                <c:pt idx="1591">
                  <c:v>5.182311621580074</c:v>
                </c:pt>
                <c:pt idx="1592">
                  <c:v>4.2459091811549641</c:v>
                </c:pt>
                <c:pt idx="1593">
                  <c:v>4.3012967099033101</c:v>
                </c:pt>
                <c:pt idx="1594">
                  <c:v>4.274344582326969</c:v>
                </c:pt>
                <c:pt idx="1595">
                  <c:v>4.3821471269605423</c:v>
                </c:pt>
                <c:pt idx="1596">
                  <c:v>4.3645793983309433</c:v>
                </c:pt>
                <c:pt idx="1597">
                  <c:v>4.314674106720517</c:v>
                </c:pt>
                <c:pt idx="1598">
                  <c:v>4.14970197822164</c:v>
                </c:pt>
                <c:pt idx="1599">
                  <c:v>4.1080858781236795</c:v>
                </c:pt>
                <c:pt idx="1600">
                  <c:v>4.0490525589264115</c:v>
                </c:pt>
                <c:pt idx="1601">
                  <c:v>4.1602503758862861</c:v>
                </c:pt>
                <c:pt idx="1602">
                  <c:v>4.2040629782046031</c:v>
                </c:pt>
                <c:pt idx="1603">
                  <c:v>4.1615450173285851</c:v>
                </c:pt>
                <c:pt idx="1604">
                  <c:v>4.1778742739917023</c:v>
                </c:pt>
                <c:pt idx="1605">
                  <c:v>4.2402392770621571</c:v>
                </c:pt>
                <c:pt idx="1606">
                  <c:v>4.2253473270136661</c:v>
                </c:pt>
                <c:pt idx="1607">
                  <c:v>4.2158204601572562</c:v>
                </c:pt>
                <c:pt idx="1608">
                  <c:v>4.2193204348867752</c:v>
                </c:pt>
                <c:pt idx="1609">
                  <c:v>4.2617164581222085</c:v>
                </c:pt>
                <c:pt idx="1610">
                  <c:v>4.2808390053646912</c:v>
                </c:pt>
                <c:pt idx="1611">
                  <c:v>4.3003042628806671</c:v>
                </c:pt>
                <c:pt idx="1612">
                  <c:v>4.2627347903699846</c:v>
                </c:pt>
                <c:pt idx="1613">
                  <c:v>4.2472923480803608</c:v>
                </c:pt>
                <c:pt idx="1614">
                  <c:v>4.2520407535487301</c:v>
                </c:pt>
                <c:pt idx="1615">
                  <c:v>4.2880587690391474</c:v>
                </c:pt>
                <c:pt idx="1616">
                  <c:v>4.456861789985691</c:v>
                </c:pt>
                <c:pt idx="1617">
                  <c:v>4.626052886439175</c:v>
                </c:pt>
                <c:pt idx="1618">
                  <c:v>4.6318086124830717</c:v>
                </c:pt>
                <c:pt idx="1619">
                  <c:v>4.6947969688919153</c:v>
                </c:pt>
                <c:pt idx="1620">
                  <c:v>4.6725435865985618</c:v>
                </c:pt>
                <c:pt idx="1621">
                  <c:v>4.8484543615108953</c:v>
                </c:pt>
                <c:pt idx="1622">
                  <c:v>5.0169069175876011</c:v>
                </c:pt>
                <c:pt idx="1623">
                  <c:v>4.9878950831714493</c:v>
                </c:pt>
                <c:pt idx="1624">
                  <c:v>5.1466704190383616</c:v>
                </c:pt>
                <c:pt idx="1625">
                  <c:v>5.2394065254665874</c:v>
                </c:pt>
                <c:pt idx="1626">
                  <c:v>5.0295977713018454</c:v>
                </c:pt>
                <c:pt idx="1627">
                  <c:v>5.0712445090197917</c:v>
                </c:pt>
                <c:pt idx="1628">
                  <c:v>4.6523661629985131</c:v>
                </c:pt>
                <c:pt idx="1629">
                  <c:v>4.4722969340121654</c:v>
                </c:pt>
                <c:pt idx="1630">
                  <c:v>4.8674797887337427</c:v>
                </c:pt>
                <c:pt idx="1631">
                  <c:v>5.1462931911963015</c:v>
                </c:pt>
                <c:pt idx="1632">
                  <c:v>5.1592559193339937</c:v>
                </c:pt>
                <c:pt idx="1633">
                  <c:v>5.1568264420685548</c:v>
                </c:pt>
                <c:pt idx="1634">
                  <c:v>5.024591001951352</c:v>
                </c:pt>
                <c:pt idx="1635">
                  <c:v>5.0151554178041264</c:v>
                </c:pt>
                <c:pt idx="1636">
                  <c:v>4.7232974580255673</c:v>
                </c:pt>
                <c:pt idx="1637">
                  <c:v>4.7036018035755411</c:v>
                </c:pt>
                <c:pt idx="1638">
                  <c:v>4.4233233203087874</c:v>
                </c:pt>
                <c:pt idx="1639">
                  <c:v>4.9653006676519142</c:v>
                </c:pt>
                <c:pt idx="1640">
                  <c:v>4.6701115439883667</c:v>
                </c:pt>
                <c:pt idx="1641">
                  <c:v>4.7585650294719777</c:v>
                </c:pt>
                <c:pt idx="1642">
                  <c:v>4.7717495078508145</c:v>
                </c:pt>
                <c:pt idx="1643">
                  <c:v>4.8193486383689335</c:v>
                </c:pt>
                <c:pt idx="1644">
                  <c:v>4.8915512323600305</c:v>
                </c:pt>
                <c:pt idx="1645">
                  <c:v>4.9385608922324202</c:v>
                </c:pt>
                <c:pt idx="1646">
                  <c:v>4.8226376278354959</c:v>
                </c:pt>
                <c:pt idx="1647">
                  <c:v>4.8946147593543827</c:v>
                </c:pt>
                <c:pt idx="1648">
                  <c:v>4.8932840532771857</c:v>
                </c:pt>
                <c:pt idx="1649">
                  <c:v>5.3957118613559159</c:v>
                </c:pt>
                <c:pt idx="1650">
                  <c:v>5.9217627305947422</c:v>
                </c:pt>
                <c:pt idx="1651">
                  <c:v>5.8970547089495602</c:v>
                </c:pt>
                <c:pt idx="1652">
                  <c:v>6.0144727660360564</c:v>
                </c:pt>
                <c:pt idx="1653">
                  <c:v>5.9901350218373386</c:v>
                </c:pt>
                <c:pt idx="1654">
                  <c:v>5.9922339442652808</c:v>
                </c:pt>
                <c:pt idx="1655">
                  <c:v>6.0499601947819368</c:v>
                </c:pt>
                <c:pt idx="1656">
                  <c:v>5.9084394617543152</c:v>
                </c:pt>
                <c:pt idx="1657">
                  <c:v>5.8267076972094607</c:v>
                </c:pt>
                <c:pt idx="1658">
                  <c:v>5.9361613280192111</c:v>
                </c:pt>
                <c:pt idx="1659">
                  <c:v>5.9137639200646941</c:v>
                </c:pt>
                <c:pt idx="1660">
                  <c:v>5.9115769251762869</c:v>
                </c:pt>
                <c:pt idx="1661">
                  <c:v>5.8993478678166174</c:v>
                </c:pt>
                <c:pt idx="1662">
                  <c:v>5.8913844848430656</c:v>
                </c:pt>
                <c:pt idx="1663">
                  <c:v>5.9412408764947484</c:v>
                </c:pt>
                <c:pt idx="1664">
                  <c:v>5.9108189325833838</c:v>
                </c:pt>
                <c:pt idx="1665">
                  <c:v>5.9219810024222115</c:v>
                </c:pt>
                <c:pt idx="1666">
                  <c:v>5.8889014478922137</c:v>
                </c:pt>
                <c:pt idx="1667">
                  <c:v>5.8843404723443733</c:v>
                </c:pt>
                <c:pt idx="1668">
                  <c:v>5.951509849637203</c:v>
                </c:pt>
                <c:pt idx="1669">
                  <c:v>5.9819393629309152</c:v>
                </c:pt>
                <c:pt idx="1670">
                  <c:v>5.9406744099607902</c:v>
                </c:pt>
                <c:pt idx="1671">
                  <c:v>5.9224347216454598</c:v>
                </c:pt>
                <c:pt idx="1672">
                  <c:v>5.9030896125204642</c:v>
                </c:pt>
                <c:pt idx="1673">
                  <c:v>5.9029466154455141</c:v>
                </c:pt>
                <c:pt idx="1674">
                  <c:v>5.939186267072377</c:v>
                </c:pt>
                <c:pt idx="1675">
                  <c:v>5.9916185245157561</c:v>
                </c:pt>
                <c:pt idx="1676">
                  <c:v>6.1106671430281772</c:v>
                </c:pt>
                <c:pt idx="1677">
                  <c:v>5.9676991237758603</c:v>
                </c:pt>
                <c:pt idx="1678">
                  <c:v>5.94124943035842</c:v>
                </c:pt>
                <c:pt idx="1679">
                  <c:v>5.8560545293116339</c:v>
                </c:pt>
                <c:pt idx="1680">
                  <c:v>5.8520990815914873</c:v>
                </c:pt>
                <c:pt idx="1681">
                  <c:v>5.7860568315223286</c:v>
                </c:pt>
                <c:pt idx="1682">
                  <c:v>5.7820080305506298</c:v>
                </c:pt>
                <c:pt idx="1683">
                  <c:v>5.7115659740141016</c:v>
                </c:pt>
                <c:pt idx="1684">
                  <c:v>5.4815873752727287</c:v>
                </c:pt>
                <c:pt idx="1685">
                  <c:v>5.1406053856004474</c:v>
                </c:pt>
                <c:pt idx="1686">
                  <c:v>5.2635353020713813</c:v>
                </c:pt>
                <c:pt idx="1687">
                  <c:v>5.3890729506315118</c:v>
                </c:pt>
                <c:pt idx="1688">
                  <c:v>5.3363668617496254</c:v>
                </c:pt>
                <c:pt idx="1689">
                  <c:v>5.546915017724249</c:v>
                </c:pt>
                <c:pt idx="1690">
                  <c:v>5.4166075387229604</c:v>
                </c:pt>
                <c:pt idx="1691">
                  <c:v>5.423781026574118</c:v>
                </c:pt>
                <c:pt idx="1692">
                  <c:v>5.2815519448811967</c:v>
                </c:pt>
                <c:pt idx="1693">
                  <c:v>5.3006767054897219</c:v>
                </c:pt>
                <c:pt idx="1694">
                  <c:v>5.2333878186029681</c:v>
                </c:pt>
                <c:pt idx="1695">
                  <c:v>5.1255521960362111</c:v>
                </c:pt>
                <c:pt idx="1696">
                  <c:v>5.0894705202048298</c:v>
                </c:pt>
                <c:pt idx="1697">
                  <c:v>4.9755952571897</c:v>
                </c:pt>
                <c:pt idx="1698">
                  <c:v>5.108929397107449</c:v>
                </c:pt>
                <c:pt idx="1699">
                  <c:v>4.9416688909515134</c:v>
                </c:pt>
                <c:pt idx="1700">
                  <c:v>5.014138127460015</c:v>
                </c:pt>
                <c:pt idx="1701">
                  <c:v>4.9827676830491754</c:v>
                </c:pt>
                <c:pt idx="1702">
                  <c:v>4.8630344256535878</c:v>
                </c:pt>
                <c:pt idx="1703">
                  <c:v>4.7843768220280056</c:v>
                </c:pt>
                <c:pt idx="1704">
                  <c:v>4.6523965127436391</c:v>
                </c:pt>
                <c:pt idx="1705">
                  <c:v>4.5336427252175504</c:v>
                </c:pt>
                <c:pt idx="1706">
                  <c:v>4.5121072582125619</c:v>
                </c:pt>
                <c:pt idx="1707">
                  <c:v>4.3843593466774013</c:v>
                </c:pt>
                <c:pt idx="1708">
                  <c:v>4.3734448610586023</c:v>
                </c:pt>
                <c:pt idx="1709">
                  <c:v>4.2882938525017398</c:v>
                </c:pt>
                <c:pt idx="1710">
                  <c:v>4.4051607283332919</c:v>
                </c:pt>
                <c:pt idx="1711">
                  <c:v>4.4474575240472065</c:v>
                </c:pt>
                <c:pt idx="1712">
                  <c:v>4.2239263428652114</c:v>
                </c:pt>
                <c:pt idx="1713">
                  <c:v>4.1373399134021502</c:v>
                </c:pt>
                <c:pt idx="1714">
                  <c:v>3.8738677237828441</c:v>
                </c:pt>
                <c:pt idx="1715">
                  <c:v>3.9057063740839419</c:v>
                </c:pt>
                <c:pt idx="1716">
                  <c:v>3.9703690979242561</c:v>
                </c:pt>
                <c:pt idx="1717">
                  <c:v>4.142849637268335</c:v>
                </c:pt>
                <c:pt idx="1718">
                  <c:v>4.3150716362772261</c:v>
                </c:pt>
                <c:pt idx="1719">
                  <c:v>4.4244828325984056</c:v>
                </c:pt>
                <c:pt idx="1720">
                  <c:v>4.6463568041425152</c:v>
                </c:pt>
                <c:pt idx="1721">
                  <c:v>4.5265917556665096</c:v>
                </c:pt>
                <c:pt idx="1722">
                  <c:v>4.3659622462817733</c:v>
                </c:pt>
                <c:pt idx="1723">
                  <c:v>4.5893470940238741</c:v>
                </c:pt>
                <c:pt idx="1724">
                  <c:v>4.6277740616155789</c:v>
                </c:pt>
                <c:pt idx="1725">
                  <c:v>4.630663200907347</c:v>
                </c:pt>
                <c:pt idx="1726">
                  <c:v>4.6814000276796452</c:v>
                </c:pt>
                <c:pt idx="1727">
                  <c:v>4.7295179083765815</c:v>
                </c:pt>
                <c:pt idx="1728">
                  <c:v>4.8139309097840153</c:v>
                </c:pt>
                <c:pt idx="1729">
                  <c:v>4.8873173034426829</c:v>
                </c:pt>
                <c:pt idx="1730">
                  <c:v>4.7918762384698317</c:v>
                </c:pt>
                <c:pt idx="1731">
                  <c:v>4.7990624592751452</c:v>
                </c:pt>
                <c:pt idx="1732">
                  <c:v>4.6656407406942186</c:v>
                </c:pt>
                <c:pt idx="1733">
                  <c:v>4.7006499480892945</c:v>
                </c:pt>
                <c:pt idx="1734">
                  <c:v>4.6537712785345615</c:v>
                </c:pt>
                <c:pt idx="1735">
                  <c:v>4.8942436773897393</c:v>
                </c:pt>
                <c:pt idx="1736">
                  <c:v>4.689571747289639</c:v>
                </c:pt>
                <c:pt idx="1737">
                  <c:v>4.8253624408547378</c:v>
                </c:pt>
                <c:pt idx="1738">
                  <c:v>4.8047369644214237</c:v>
                </c:pt>
                <c:pt idx="1739">
                  <c:v>4.6525998076667472</c:v>
                </c:pt>
                <c:pt idx="1740">
                  <c:v>4.5225080595712015</c:v>
                </c:pt>
                <c:pt idx="1741">
                  <c:v>4.7315750057179047</c:v>
                </c:pt>
                <c:pt idx="1742">
                  <c:v>4.5317204201337251</c:v>
                </c:pt>
                <c:pt idx="1743">
                  <c:v>4.5057176907091527</c:v>
                </c:pt>
                <c:pt idx="1744">
                  <c:v>4.1696587505951923</c:v>
                </c:pt>
                <c:pt idx="1745">
                  <c:v>3.9813437617871723</c:v>
                </c:pt>
                <c:pt idx="1746">
                  <c:v>3.7725025180154788</c:v>
                </c:pt>
                <c:pt idx="1747">
                  <c:v>3.8241749991085907</c:v>
                </c:pt>
                <c:pt idx="1748">
                  <c:v>3.5427156355575682</c:v>
                </c:pt>
                <c:pt idx="1749">
                  <c:v>3.2503897926937508</c:v>
                </c:pt>
                <c:pt idx="1750">
                  <c:v>3.6665169807949471</c:v>
                </c:pt>
                <c:pt idx="1751">
                  <c:v>3.6758992016542367</c:v>
                </c:pt>
                <c:pt idx="1752">
                  <c:v>3.6142413182439554</c:v>
                </c:pt>
                <c:pt idx="1753">
                  <c:v>3.5922925292653356</c:v>
                </c:pt>
                <c:pt idx="1754">
                  <c:v>3.6080633486533982</c:v>
                </c:pt>
                <c:pt idx="1755">
                  <c:v>3.6252624032930023</c:v>
                </c:pt>
                <c:pt idx="1756">
                  <c:v>3.6460810699467547</c:v>
                </c:pt>
                <c:pt idx="1757">
                  <c:v>3.6438102948234694</c:v>
                </c:pt>
                <c:pt idx="1758">
                  <c:v>3.5608533255130239</c:v>
                </c:pt>
                <c:pt idx="1759">
                  <c:v>3.3912714561690467</c:v>
                </c:pt>
                <c:pt idx="1760">
                  <c:v>3.4577274414654218</c:v>
                </c:pt>
                <c:pt idx="1761">
                  <c:v>3.8748156171774442</c:v>
                </c:pt>
                <c:pt idx="1762">
                  <c:v>3.5444260472584284</c:v>
                </c:pt>
                <c:pt idx="1763">
                  <c:v>3.5321188302954396</c:v>
                </c:pt>
                <c:pt idx="1764">
                  <c:v>3.6133642048801837</c:v>
                </c:pt>
                <c:pt idx="1765">
                  <c:v>3.593352326881011</c:v>
                </c:pt>
                <c:pt idx="1766">
                  <c:v>3.5817950279661637</c:v>
                </c:pt>
                <c:pt idx="1767">
                  <c:v>3.560669245381312</c:v>
                </c:pt>
                <c:pt idx="1768">
                  <c:v>3.5993370218201219</c:v>
                </c:pt>
                <c:pt idx="1769">
                  <c:v>3.5308850828568095</c:v>
                </c:pt>
                <c:pt idx="1770">
                  <c:v>3.5001861819181554</c:v>
                </c:pt>
                <c:pt idx="1771">
                  <c:v>3.4631075436157843</c:v>
                </c:pt>
                <c:pt idx="1772">
                  <c:v>3.4672294048841352</c:v>
                </c:pt>
                <c:pt idx="1773">
                  <c:v>3.539941043710467</c:v>
                </c:pt>
                <c:pt idx="1774">
                  <c:v>3.4705517736035021</c:v>
                </c:pt>
                <c:pt idx="1775">
                  <c:v>3.4724457229538084</c:v>
                </c:pt>
                <c:pt idx="1776">
                  <c:v>3.5545018126070902</c:v>
                </c:pt>
                <c:pt idx="1777">
                  <c:v>3.6516730435110585</c:v>
                </c:pt>
                <c:pt idx="1778">
                  <c:v>3.6492823370300895</c:v>
                </c:pt>
                <c:pt idx="1779">
                  <c:v>3.6251011088949148</c:v>
                </c:pt>
                <c:pt idx="1780">
                  <c:v>3.5678836285513369</c:v>
                </c:pt>
                <c:pt idx="1781">
                  <c:v>3.6602917401212096</c:v>
                </c:pt>
                <c:pt idx="1782">
                  <c:v>3.5499968963201667</c:v>
                </c:pt>
                <c:pt idx="1783">
                  <c:v>3.4879343213197136</c:v>
                </c:pt>
                <c:pt idx="1784">
                  <c:v>3.3911637955370781</c:v>
                </c:pt>
                <c:pt idx="1785">
                  <c:v>3.3180718739612725</c:v>
                </c:pt>
                <c:pt idx="1786">
                  <c:v>3.0731427604737749</c:v>
                </c:pt>
                <c:pt idx="1787">
                  <c:v>2.838052918197898</c:v>
                </c:pt>
                <c:pt idx="1788">
                  <c:v>3.2351053343044045</c:v>
                </c:pt>
                <c:pt idx="1789">
                  <c:v>3.1407241645361954</c:v>
                </c:pt>
                <c:pt idx="1790">
                  <c:v>3.140413464317052</c:v>
                </c:pt>
                <c:pt idx="1791">
                  <c:v>3.1648336822804604</c:v>
                </c:pt>
                <c:pt idx="1792">
                  <c:v>3.1548300751632383</c:v>
                </c:pt>
                <c:pt idx="1793">
                  <c:v>3.1349805726602122</c:v>
                </c:pt>
                <c:pt idx="1794">
                  <c:v>3.1689346728562047</c:v>
                </c:pt>
                <c:pt idx="1795">
                  <c:v>3.1880582294276283</c:v>
                </c:pt>
                <c:pt idx="1796">
                  <c:v>3.1422131912645082</c:v>
                </c:pt>
                <c:pt idx="1797">
                  <c:v>3.1621911515805543</c:v>
                </c:pt>
                <c:pt idx="1798">
                  <c:v>3.254513891282004</c:v>
                </c:pt>
                <c:pt idx="1799">
                  <c:v>3.3817775961967995</c:v>
                </c:pt>
                <c:pt idx="1800">
                  <c:v>3.382854577015864</c:v>
                </c:pt>
                <c:pt idx="1801">
                  <c:v>3.2935289981913076</c:v>
                </c:pt>
                <c:pt idx="1802">
                  <c:v>3.5051109985866948</c:v>
                </c:pt>
                <c:pt idx="1803">
                  <c:v>3.3795043637235724</c:v>
                </c:pt>
                <c:pt idx="1804">
                  <c:v>3.3809726997130984</c:v>
                </c:pt>
                <c:pt idx="1805">
                  <c:v>3.3021399590305012</c:v>
                </c:pt>
                <c:pt idx="1806">
                  <c:v>3.3106679107750945</c:v>
                </c:pt>
                <c:pt idx="1807">
                  <c:v>3.2336503048224534</c:v>
                </c:pt>
                <c:pt idx="1808">
                  <c:v>3.2390933293752595</c:v>
                </c:pt>
                <c:pt idx="1809">
                  <c:v>3.086914749895048</c:v>
                </c:pt>
                <c:pt idx="1810">
                  <c:v>3.405540957278117</c:v>
                </c:pt>
                <c:pt idx="1811">
                  <c:v>3.1928681139177413</c:v>
                </c:pt>
                <c:pt idx="1812">
                  <c:v>3.1969059076489836</c:v>
                </c:pt>
                <c:pt idx="1813">
                  <c:v>3.157354052051347</c:v>
                </c:pt>
                <c:pt idx="1814">
                  <c:v>3.1547579980660516</c:v>
                </c:pt>
                <c:pt idx="1815">
                  <c:v>3.1417509237688428</c:v>
                </c:pt>
                <c:pt idx="1816">
                  <c:v>3.0971764010500165</c:v>
                </c:pt>
                <c:pt idx="1817">
                  <c:v>3.0601457803655059</c:v>
                </c:pt>
                <c:pt idx="1818">
                  <c:v>3.0178757996217529</c:v>
                </c:pt>
                <c:pt idx="1819">
                  <c:v>3.162278440389807</c:v>
                </c:pt>
                <c:pt idx="1820">
                  <c:v>3.0867177600834301</c:v>
                </c:pt>
                <c:pt idx="1821">
                  <c:v>3.0970001006766856</c:v>
                </c:pt>
                <c:pt idx="1822">
                  <c:v>3.1698816347252214</c:v>
                </c:pt>
                <c:pt idx="1823">
                  <c:v>3.1078024867003018</c:v>
                </c:pt>
                <c:pt idx="1824">
                  <c:v>3.1078418251231188</c:v>
                </c:pt>
                <c:pt idx="1825">
                  <c:v>3.0534041754770094</c:v>
                </c:pt>
                <c:pt idx="1826">
                  <c:v>3.0515022479693807</c:v>
                </c:pt>
                <c:pt idx="1827">
                  <c:v>2.9997205887006215</c:v>
                </c:pt>
                <c:pt idx="1828">
                  <c:v>3.0055068757063634</c:v>
                </c:pt>
                <c:pt idx="1829">
                  <c:v>2.9556514913444509</c:v>
                </c:pt>
                <c:pt idx="1830">
                  <c:v>3.0432169483756395</c:v>
                </c:pt>
                <c:pt idx="1831">
                  <c:v>3.2280567440814427</c:v>
                </c:pt>
                <c:pt idx="1832">
                  <c:v>3.2700025748667492</c:v>
                </c:pt>
                <c:pt idx="1833">
                  <c:v>3.3399347597433922</c:v>
                </c:pt>
                <c:pt idx="1834">
                  <c:v>3.6461197114095492</c:v>
                </c:pt>
                <c:pt idx="1835">
                  <c:v>3.7239164930219526</c:v>
                </c:pt>
                <c:pt idx="1836">
                  <c:v>3.7526041012120852</c:v>
                </c:pt>
                <c:pt idx="1837">
                  <c:v>3.7837119651598932</c:v>
                </c:pt>
                <c:pt idx="1838">
                  <c:v>3.7797761788541822</c:v>
                </c:pt>
                <c:pt idx="1839">
                  <c:v>3.8051948407441487</c:v>
                </c:pt>
                <c:pt idx="1840">
                  <c:v>3.7921474796461934</c:v>
                </c:pt>
                <c:pt idx="1841">
                  <c:v>3.7341006694228622</c:v>
                </c:pt>
                <c:pt idx="1842">
                  <c:v>3.9086637784122278</c:v>
                </c:pt>
                <c:pt idx="1843">
                  <c:v>3.7200199941879544</c:v>
                </c:pt>
                <c:pt idx="1844">
                  <c:v>3.6823239773942036</c:v>
                </c:pt>
                <c:pt idx="1845">
                  <c:v>3.6397959538937696</c:v>
                </c:pt>
                <c:pt idx="1846">
                  <c:v>3.528675365733275</c:v>
                </c:pt>
                <c:pt idx="1847">
                  <c:v>3.6588721298189877</c:v>
                </c:pt>
                <c:pt idx="1848">
                  <c:v>3.6141344666847464</c:v>
                </c:pt>
                <c:pt idx="1849">
                  <c:v>3.5774217657770726</c:v>
                </c:pt>
                <c:pt idx="1850">
                  <c:v>3.5338544143606687</c:v>
                </c:pt>
                <c:pt idx="1851">
                  <c:v>3.537796540639893</c:v>
                </c:pt>
                <c:pt idx="1852">
                  <c:v>3.6008126135651022</c:v>
                </c:pt>
                <c:pt idx="1853">
                  <c:v>3.6315150347981966</c:v>
                </c:pt>
                <c:pt idx="1854">
                  <c:v>3.6363122585662384</c:v>
                </c:pt>
                <c:pt idx="1855">
                  <c:v>3.6475275674589138</c:v>
                </c:pt>
                <c:pt idx="1856">
                  <c:v>3.6216355932808439</c:v>
                </c:pt>
                <c:pt idx="1857">
                  <c:v>3.6253112508424685</c:v>
                </c:pt>
                <c:pt idx="1858">
                  <c:v>3.6233877190082198</c:v>
                </c:pt>
                <c:pt idx="1859">
                  <c:v>3.5988417862633164</c:v>
                </c:pt>
                <c:pt idx="1860">
                  <c:v>3.6691120990295216</c:v>
                </c:pt>
                <c:pt idx="1861">
                  <c:v>3.7232233260098222</c:v>
                </c:pt>
                <c:pt idx="1862">
                  <c:v>3.7149636571143834</c:v>
                </c:pt>
                <c:pt idx="1863">
                  <c:v>3.4576708097260469</c:v>
                </c:pt>
                <c:pt idx="1864">
                  <c:v>3.2393585969170338</c:v>
                </c:pt>
                <c:pt idx="1865">
                  <c:v>3.5392544311007832</c:v>
                </c:pt>
                <c:pt idx="1866">
                  <c:v>3.5599839448149408</c:v>
                </c:pt>
                <c:pt idx="1867">
                  <c:v>3.3883693746988173</c:v>
                </c:pt>
                <c:pt idx="1868">
                  <c:v>3.2161406541719253</c:v>
                </c:pt>
                <c:pt idx="1869">
                  <c:v>3.3909604923019407</c:v>
                </c:pt>
                <c:pt idx="1870">
                  <c:v>3.2928300919035132</c:v>
                </c:pt>
                <c:pt idx="1871">
                  <c:v>3.2184795423532955</c:v>
                </c:pt>
                <c:pt idx="1872">
                  <c:v>3.1900584954041817</c:v>
                </c:pt>
                <c:pt idx="1873">
                  <c:v>3.2458750364107019</c:v>
                </c:pt>
                <c:pt idx="1874">
                  <c:v>3.1953732386611486</c:v>
                </c:pt>
                <c:pt idx="1875">
                  <c:v>3.1816313039065047</c:v>
                </c:pt>
                <c:pt idx="1876">
                  <c:v>3.3250238076434235</c:v>
                </c:pt>
                <c:pt idx="1877">
                  <c:v>3.3886367174775684</c:v>
                </c:pt>
                <c:pt idx="1878">
                  <c:v>3.4885295191472734</c:v>
                </c:pt>
                <c:pt idx="1879">
                  <c:v>3.443545736200464</c:v>
                </c:pt>
                <c:pt idx="1880">
                  <c:v>3.4642640212432934</c:v>
                </c:pt>
                <c:pt idx="1881">
                  <c:v>3.4597931742925567</c:v>
                </c:pt>
                <c:pt idx="1882">
                  <c:v>3.4625133339148042</c:v>
                </c:pt>
                <c:pt idx="1883">
                  <c:v>3.4665268494216073</c:v>
                </c:pt>
                <c:pt idx="1884">
                  <c:v>3.4655811800212435</c:v>
                </c:pt>
                <c:pt idx="1885">
                  <c:v>3.4778519620540713</c:v>
                </c:pt>
                <c:pt idx="1886">
                  <c:v>3.5712070368669253</c:v>
                </c:pt>
                <c:pt idx="1887">
                  <c:v>3.5765279935225704</c:v>
                </c:pt>
                <c:pt idx="1888">
                  <c:v>3.5963852932657119</c:v>
                </c:pt>
                <c:pt idx="1889">
                  <c:v>3.5615243521639308</c:v>
                </c:pt>
                <c:pt idx="1890">
                  <c:v>3.5328537428953006</c:v>
                </c:pt>
                <c:pt idx="1891">
                  <c:v>3.5506653290581296</c:v>
                </c:pt>
                <c:pt idx="1892">
                  <c:v>3.5177037128049471</c:v>
                </c:pt>
                <c:pt idx="1893">
                  <c:v>3.5539821963270946</c:v>
                </c:pt>
                <c:pt idx="1894">
                  <c:v>3.7211375287879074</c:v>
                </c:pt>
                <c:pt idx="1895">
                  <c:v>3.6870791534653611</c:v>
                </c:pt>
                <c:pt idx="1896">
                  <c:v>3.5958714595859056</c:v>
                </c:pt>
                <c:pt idx="1897">
                  <c:v>3.5924201214525353</c:v>
                </c:pt>
                <c:pt idx="1898">
                  <c:v>3.670604505585759</c:v>
                </c:pt>
                <c:pt idx="1899">
                  <c:v>3.6793845199662103</c:v>
                </c:pt>
                <c:pt idx="1900">
                  <c:v>3.5769911644374379</c:v>
                </c:pt>
                <c:pt idx="1901">
                  <c:v>3.8263956684616076</c:v>
                </c:pt>
                <c:pt idx="1902">
                  <c:v>3.6190597574993171</c:v>
                </c:pt>
                <c:pt idx="1903">
                  <c:v>3.6454191396357118</c:v>
                </c:pt>
                <c:pt idx="1904">
                  <c:v>3.6188205376376894</c:v>
                </c:pt>
                <c:pt idx="1905">
                  <c:v>3.61980367713794</c:v>
                </c:pt>
                <c:pt idx="1906">
                  <c:v>3.5726056399095749</c:v>
                </c:pt>
                <c:pt idx="1907">
                  <c:v>3.5592122485338287</c:v>
                </c:pt>
                <c:pt idx="1908">
                  <c:v>3.611914981297367</c:v>
                </c:pt>
                <c:pt idx="1909">
                  <c:v>3.6190917994631207</c:v>
                </c:pt>
                <c:pt idx="1910">
                  <c:v>3.695591635344031</c:v>
                </c:pt>
                <c:pt idx="1911">
                  <c:v>3.7138427642815226</c:v>
                </c:pt>
                <c:pt idx="1912">
                  <c:v>3.7179590746984852</c:v>
                </c:pt>
                <c:pt idx="1913">
                  <c:v>3.7447358190308759</c:v>
                </c:pt>
                <c:pt idx="1914">
                  <c:v>3.7279335976437267</c:v>
                </c:pt>
                <c:pt idx="1915">
                  <c:v>3.7329763066516</c:v>
                </c:pt>
                <c:pt idx="1916">
                  <c:v>3.6636872524107624</c:v>
                </c:pt>
                <c:pt idx="1917">
                  <c:v>3.5825910204162521</c:v>
                </c:pt>
                <c:pt idx="1918">
                  <c:v>3.6879106587424073</c:v>
                </c:pt>
                <c:pt idx="1919">
                  <c:v>3.5529665539023019</c:v>
                </c:pt>
                <c:pt idx="1920">
                  <c:v>3.5214582583947651</c:v>
                </c:pt>
                <c:pt idx="1921">
                  <c:v>3.5685376545791616</c:v>
                </c:pt>
                <c:pt idx="1922">
                  <c:v>3.699243404406249</c:v>
                </c:pt>
                <c:pt idx="1923">
                  <c:v>3.7065285419390737</c:v>
                </c:pt>
                <c:pt idx="1924">
                  <c:v>3.7256013531068644</c:v>
                </c:pt>
                <c:pt idx="1925">
                  <c:v>3.7005163825423386</c:v>
                </c:pt>
                <c:pt idx="1926">
                  <c:v>3.7082303019077676</c:v>
                </c:pt>
                <c:pt idx="1927">
                  <c:v>3.7055235058813571</c:v>
                </c:pt>
                <c:pt idx="1928">
                  <c:v>3.7085839078403606</c:v>
                </c:pt>
                <c:pt idx="1929">
                  <c:v>3.7057087076206221</c:v>
                </c:pt>
                <c:pt idx="1930">
                  <c:v>3.7547220636667529</c:v>
                </c:pt>
                <c:pt idx="1931">
                  <c:v>3.7541902032836827</c:v>
                </c:pt>
                <c:pt idx="1932">
                  <c:v>3.8411985375318181</c:v>
                </c:pt>
                <c:pt idx="1933">
                  <c:v>3.8639468646095287</c:v>
                </c:pt>
                <c:pt idx="1934">
                  <c:v>3.9642812041649202</c:v>
                </c:pt>
                <c:pt idx="1935">
                  <c:v>4.0526362032295031</c:v>
                </c:pt>
                <c:pt idx="1936">
                  <c:v>3.955316279294828</c:v>
                </c:pt>
                <c:pt idx="1937">
                  <c:v>3.8643068790623412</c:v>
                </c:pt>
                <c:pt idx="1938">
                  <c:v>3.6880008222062157</c:v>
                </c:pt>
                <c:pt idx="1939">
                  <c:v>3.7632813912521224</c:v>
                </c:pt>
                <c:pt idx="1940">
                  <c:v>3.1227613496653848</c:v>
                </c:pt>
                <c:pt idx="1941">
                  <c:v>3.771294671736463</c:v>
                </c:pt>
                <c:pt idx="1942">
                  <c:v>4.21700915642006</c:v>
                </c:pt>
                <c:pt idx="1943">
                  <c:v>4.2187342794344653</c:v>
                </c:pt>
                <c:pt idx="1944">
                  <c:v>4.1117999712659099</c:v>
                </c:pt>
                <c:pt idx="1945">
                  <c:v>4.029628167119208</c:v>
                </c:pt>
                <c:pt idx="1946">
                  <c:v>4.0103066186526899</c:v>
                </c:pt>
                <c:pt idx="1947">
                  <c:v>4.0197326560491344</c:v>
                </c:pt>
                <c:pt idx="1948">
                  <c:v>3.9261745376405104</c:v>
                </c:pt>
                <c:pt idx="1949">
                  <c:v>3.9116120606632023</c:v>
                </c:pt>
                <c:pt idx="1950">
                  <c:v>3.9044674577758234</c:v>
                </c:pt>
                <c:pt idx="1951">
                  <c:v>3.8861067716991187</c:v>
                </c:pt>
                <c:pt idx="1952">
                  <c:v>3.8627905747860205</c:v>
                </c:pt>
                <c:pt idx="1953">
                  <c:v>3.8739136523429623</c:v>
                </c:pt>
                <c:pt idx="1954">
                  <c:v>3.8058449071373777</c:v>
                </c:pt>
                <c:pt idx="1955">
                  <c:v>3.7822987534123382</c:v>
                </c:pt>
                <c:pt idx="1956">
                  <c:v>3.7455248099300573</c:v>
                </c:pt>
                <c:pt idx="1957">
                  <c:v>3.7767658354379567</c:v>
                </c:pt>
                <c:pt idx="1958">
                  <c:v>3.7969219788729407</c:v>
                </c:pt>
                <c:pt idx="1959">
                  <c:v>3.842211999396302</c:v>
                </c:pt>
                <c:pt idx="1960">
                  <c:v>3.8055385961191162</c:v>
                </c:pt>
                <c:pt idx="1961">
                  <c:v>3.8197275626599732</c:v>
                </c:pt>
                <c:pt idx="1962">
                  <c:v>3.8052134704705156</c:v>
                </c:pt>
                <c:pt idx="1963">
                  <c:v>3.8812693700793326</c:v>
                </c:pt>
                <c:pt idx="1964">
                  <c:v>3.7042708462300751</c:v>
                </c:pt>
                <c:pt idx="1965">
                  <c:v>3.6859210761188708</c:v>
                </c:pt>
                <c:pt idx="1966">
                  <c:v>3.7413758609612917</c:v>
                </c:pt>
                <c:pt idx="1967">
                  <c:v>3.7323756791918092</c:v>
                </c:pt>
                <c:pt idx="1968">
                  <c:v>3.7010589266146163</c:v>
                </c:pt>
                <c:pt idx="1969">
                  <c:v>3.6888724077018691</c:v>
                </c:pt>
                <c:pt idx="1970">
                  <c:v>3.6570841245817998</c:v>
                </c:pt>
                <c:pt idx="1971">
                  <c:v>3.6470997178802049</c:v>
                </c:pt>
                <c:pt idx="1972">
                  <c:v>3.6010934567392723</c:v>
                </c:pt>
                <c:pt idx="1973">
                  <c:v>3.590502075071234</c:v>
                </c:pt>
                <c:pt idx="1974">
                  <c:v>3.466303117001988</c:v>
                </c:pt>
                <c:pt idx="1975">
                  <c:v>3.7555051585198065</c:v>
                </c:pt>
                <c:pt idx="1976">
                  <c:v>3.7787131136735801</c:v>
                </c:pt>
                <c:pt idx="1977">
                  <c:v>3.8478744685175523</c:v>
                </c:pt>
                <c:pt idx="1978">
                  <c:v>3.4029995893167775</c:v>
                </c:pt>
                <c:pt idx="1979">
                  <c:v>3.4012209823399968</c:v>
                </c:pt>
                <c:pt idx="1980">
                  <c:v>3.7231053484247552</c:v>
                </c:pt>
                <c:pt idx="1981">
                  <c:v>3.5716394176914781</c:v>
                </c:pt>
                <c:pt idx="1982">
                  <c:v>3.5630900258914644</c:v>
                </c:pt>
                <c:pt idx="1983">
                  <c:v>3.6530685409634298</c:v>
                </c:pt>
                <c:pt idx="1984">
                  <c:v>3.6884270840365931</c:v>
                </c:pt>
                <c:pt idx="1985">
                  <c:v>3.6944266728463027</c:v>
                </c:pt>
                <c:pt idx="1986">
                  <c:v>3.6253784158385534</c:v>
                </c:pt>
                <c:pt idx="1987">
                  <c:v>3.5782019765851594</c:v>
                </c:pt>
                <c:pt idx="1988">
                  <c:v>3.4460861193584709</c:v>
                </c:pt>
                <c:pt idx="1989">
                  <c:v>3.4956309519077986</c:v>
                </c:pt>
                <c:pt idx="1990">
                  <c:v>3.4213893847436117</c:v>
                </c:pt>
                <c:pt idx="1991">
                  <c:v>3.3524931193590057</c:v>
                </c:pt>
                <c:pt idx="1992">
                  <c:v>3.367379971461391</c:v>
                </c:pt>
                <c:pt idx="1993">
                  <c:v>3.4787321593348337</c:v>
                </c:pt>
                <c:pt idx="1994">
                  <c:v>3.4768806054084882</c:v>
                </c:pt>
                <c:pt idx="1995">
                  <c:v>3.452272300789577</c:v>
                </c:pt>
                <c:pt idx="1996">
                  <c:v>3.457162080549482</c:v>
                </c:pt>
                <c:pt idx="1997">
                  <c:v>3.442315612684141</c:v>
                </c:pt>
                <c:pt idx="1998">
                  <c:v>3.4357985871446939</c:v>
                </c:pt>
                <c:pt idx="1999">
                  <c:v>3.4281300955387723</c:v>
                </c:pt>
                <c:pt idx="2000">
                  <c:v>3.4422189603008588</c:v>
                </c:pt>
                <c:pt idx="2001">
                  <c:v>3.414724510663393</c:v>
                </c:pt>
                <c:pt idx="2002">
                  <c:v>3.4340292723489356</c:v>
                </c:pt>
                <c:pt idx="2003">
                  <c:v>3.3364327600598731</c:v>
                </c:pt>
                <c:pt idx="2004">
                  <c:v>3.4087825561685281</c:v>
                </c:pt>
                <c:pt idx="2005">
                  <c:v>3.3110902305438303</c:v>
                </c:pt>
                <c:pt idx="2006">
                  <c:v>3.2942216668991522</c:v>
                </c:pt>
                <c:pt idx="2007">
                  <c:v>3.249550245279702</c:v>
                </c:pt>
                <c:pt idx="2008">
                  <c:v>3.2477786153852559</c:v>
                </c:pt>
                <c:pt idx="2009">
                  <c:v>3.1340806949162552</c:v>
                </c:pt>
                <c:pt idx="2010">
                  <c:v>3.1450721504377745</c:v>
                </c:pt>
                <c:pt idx="2011">
                  <c:v>3.0691173620454051</c:v>
                </c:pt>
                <c:pt idx="2012">
                  <c:v>3.6111977236832788</c:v>
                </c:pt>
                <c:pt idx="2013">
                  <c:v>3.1977099757443139</c:v>
                </c:pt>
                <c:pt idx="2014">
                  <c:v>2.8464351779055854</c:v>
                </c:pt>
                <c:pt idx="2015">
                  <c:v>2.8707197946410519</c:v>
                </c:pt>
                <c:pt idx="2016">
                  <c:v>2.975166633502079</c:v>
                </c:pt>
                <c:pt idx="2017">
                  <c:v>3.0683744892179998</c:v>
                </c:pt>
                <c:pt idx="2018">
                  <c:v>3.1004678945924922</c:v>
                </c:pt>
                <c:pt idx="2019">
                  <c:v>3.0995773773322606</c:v>
                </c:pt>
                <c:pt idx="2020">
                  <c:v>3.1082459566449776</c:v>
                </c:pt>
                <c:pt idx="2021">
                  <c:v>3.1080068809965686</c:v>
                </c:pt>
                <c:pt idx="2022">
                  <c:v>3.1049989718559776</c:v>
                </c:pt>
                <c:pt idx="2023">
                  <c:v>3.0869558526533529</c:v>
                </c:pt>
                <c:pt idx="2024">
                  <c:v>3.1207774356939439</c:v>
                </c:pt>
                <c:pt idx="2025">
                  <c:v>3.0766481434320769</c:v>
                </c:pt>
                <c:pt idx="2026">
                  <c:v>3.0746096058027046</c:v>
                </c:pt>
                <c:pt idx="2027">
                  <c:v>3.0623947083564227</c:v>
                </c:pt>
                <c:pt idx="2028">
                  <c:v>3.0596656462644622</c:v>
                </c:pt>
                <c:pt idx="2029">
                  <c:v>3.0693625788359156</c:v>
                </c:pt>
                <c:pt idx="2030">
                  <c:v>3.082678192527855</c:v>
                </c:pt>
                <c:pt idx="2031">
                  <c:v>3.0661340214457713</c:v>
                </c:pt>
                <c:pt idx="2032">
                  <c:v>3.0615342294967776</c:v>
                </c:pt>
                <c:pt idx="2033">
                  <c:v>3.0560363889281561</c:v>
                </c:pt>
                <c:pt idx="2034">
                  <c:v>3.0682842998364861</c:v>
                </c:pt>
                <c:pt idx="2035">
                  <c:v>3.1008887596654642</c:v>
                </c:pt>
                <c:pt idx="2036">
                  <c:v>3.0768920282346435</c:v>
                </c:pt>
                <c:pt idx="2037">
                  <c:v>3.0730428371896306</c:v>
                </c:pt>
                <c:pt idx="2038">
                  <c:v>3.0903788471578566</c:v>
                </c:pt>
                <c:pt idx="2039">
                  <c:v>3.0836611164048398</c:v>
                </c:pt>
                <c:pt idx="2040">
                  <c:v>3.0479596780526692</c:v>
                </c:pt>
                <c:pt idx="2041">
                  <c:v>3.0455215968292939</c:v>
                </c:pt>
                <c:pt idx="2042">
                  <c:v>3.100156001139263</c:v>
                </c:pt>
                <c:pt idx="2043">
                  <c:v>3.0592299830511456</c:v>
                </c:pt>
                <c:pt idx="2044">
                  <c:v>3.0513325534263003</c:v>
                </c:pt>
                <c:pt idx="2045">
                  <c:v>2.9934106274061869</c:v>
                </c:pt>
                <c:pt idx="2046">
                  <c:v>2.9969943866579278</c:v>
                </c:pt>
                <c:pt idx="2047">
                  <c:v>2.9743359042942639</c:v>
                </c:pt>
                <c:pt idx="2048">
                  <c:v>2.7987908838638318</c:v>
                </c:pt>
                <c:pt idx="2049">
                  <c:v>2.8805063501182371</c:v>
                </c:pt>
                <c:pt idx="2050">
                  <c:v>3.0108549381561867</c:v>
                </c:pt>
                <c:pt idx="2051">
                  <c:v>3.0486691485521584</c:v>
                </c:pt>
                <c:pt idx="2052">
                  <c:v>3.1077210398152952</c:v>
                </c:pt>
                <c:pt idx="2053">
                  <c:v>3.3248743474169866</c:v>
                </c:pt>
                <c:pt idx="2054">
                  <c:v>3.5746851408354519</c:v>
                </c:pt>
                <c:pt idx="2055">
                  <c:v>3.4528869515644378</c:v>
                </c:pt>
                <c:pt idx="2056">
                  <c:v>3.4756660839278983</c:v>
                </c:pt>
                <c:pt idx="2057">
                  <c:v>3.4929890814917393</c:v>
                </c:pt>
                <c:pt idx="2058">
                  <c:v>3.4922723070090331</c:v>
                </c:pt>
                <c:pt idx="2059">
                  <c:v>3.5021667820977034</c:v>
                </c:pt>
                <c:pt idx="2060">
                  <c:v>3.4924527506712297</c:v>
                </c:pt>
                <c:pt idx="2061">
                  <c:v>3.2727866177553073</c:v>
                </c:pt>
                <c:pt idx="2062">
                  <c:v>3.3296255314175758</c:v>
                </c:pt>
                <c:pt idx="2063">
                  <c:v>3.4174154567283224</c:v>
                </c:pt>
                <c:pt idx="2064">
                  <c:v>3.4646657851314457</c:v>
                </c:pt>
                <c:pt idx="2065">
                  <c:v>3.4664252695515678</c:v>
                </c:pt>
                <c:pt idx="2066">
                  <c:v>3.4462471989770198</c:v>
                </c:pt>
                <c:pt idx="2067">
                  <c:v>3.4426880210442192</c:v>
                </c:pt>
                <c:pt idx="2068">
                  <c:v>3.4063160522161957</c:v>
                </c:pt>
                <c:pt idx="2069">
                  <c:v>3.2691062857986921</c:v>
                </c:pt>
                <c:pt idx="2070">
                  <c:v>3.1742149125960952</c:v>
                </c:pt>
                <c:pt idx="2071">
                  <c:v>3.1206141410495478</c:v>
                </c:pt>
                <c:pt idx="2072">
                  <c:v>3.0688393779559271</c:v>
                </c:pt>
                <c:pt idx="2073">
                  <c:v>2.996397643118839</c:v>
                </c:pt>
                <c:pt idx="2074">
                  <c:v>3.0242455191406634</c:v>
                </c:pt>
                <c:pt idx="2075">
                  <c:v>2.9401723233855201</c:v>
                </c:pt>
                <c:pt idx="2076">
                  <c:v>3.0240018766101229</c:v>
                </c:pt>
                <c:pt idx="2077">
                  <c:v>2.9118079876785026</c:v>
                </c:pt>
                <c:pt idx="2078">
                  <c:v>2.890020625511533</c:v>
                </c:pt>
                <c:pt idx="2079">
                  <c:v>2.7947440046873426</c:v>
                </c:pt>
                <c:pt idx="2080">
                  <c:v>2.7658148037332051</c:v>
                </c:pt>
                <c:pt idx="2081">
                  <c:v>2.7548246436630088</c:v>
                </c:pt>
                <c:pt idx="2082">
                  <c:v>2.7830099486039894</c:v>
                </c:pt>
                <c:pt idx="2083">
                  <c:v>2.7265302133261726</c:v>
                </c:pt>
                <c:pt idx="2084">
                  <c:v>2.7170088073625904</c:v>
                </c:pt>
                <c:pt idx="2085">
                  <c:v>2.7545970170248033</c:v>
                </c:pt>
                <c:pt idx="2086">
                  <c:v>2.6887010130949109</c:v>
                </c:pt>
                <c:pt idx="2087">
                  <c:v>2.6340720615470206</c:v>
                </c:pt>
                <c:pt idx="2088">
                  <c:v>2.5753989279709684</c:v>
                </c:pt>
                <c:pt idx="2089">
                  <c:v>2.4900626161557136</c:v>
                </c:pt>
                <c:pt idx="2090">
                  <c:v>2.4709439446037509</c:v>
                </c:pt>
                <c:pt idx="2091">
                  <c:v>2.537175847132275</c:v>
                </c:pt>
                <c:pt idx="2092">
                  <c:v>2.5654268730781751</c:v>
                </c:pt>
                <c:pt idx="2093">
                  <c:v>2.508559865774302</c:v>
                </c:pt>
                <c:pt idx="2094">
                  <c:v>2.5652400668965378</c:v>
                </c:pt>
                <c:pt idx="2095">
                  <c:v>2.5272458156020643</c:v>
                </c:pt>
                <c:pt idx="2096">
                  <c:v>2.5100874982866466</c:v>
                </c:pt>
                <c:pt idx="2097">
                  <c:v>2.5358278573754491</c:v>
                </c:pt>
                <c:pt idx="2098">
                  <c:v>2.7044564100888682</c:v>
                </c:pt>
                <c:pt idx="2099">
                  <c:v>2.6995195774143155</c:v>
                </c:pt>
                <c:pt idx="2100">
                  <c:v>2.6334302310005984</c:v>
                </c:pt>
                <c:pt idx="2101">
                  <c:v>2.6828328189818293</c:v>
                </c:pt>
                <c:pt idx="2102">
                  <c:v>2.6055809333538154</c:v>
                </c:pt>
                <c:pt idx="2103">
                  <c:v>2.7106098554081108</c:v>
                </c:pt>
                <c:pt idx="2104">
                  <c:v>2.7542339005239613</c:v>
                </c:pt>
                <c:pt idx="2105">
                  <c:v>2.7198714876810457</c:v>
                </c:pt>
                <c:pt idx="2106">
                  <c:v>2.7987958836796363</c:v>
                </c:pt>
                <c:pt idx="2107">
                  <c:v>2.77370212567067</c:v>
                </c:pt>
                <c:pt idx="2108">
                  <c:v>2.7721729090998255</c:v>
                </c:pt>
                <c:pt idx="2109">
                  <c:v>2.7482081621756911</c:v>
                </c:pt>
                <c:pt idx="2110">
                  <c:v>2.8502317230740566</c:v>
                </c:pt>
                <c:pt idx="2111">
                  <c:v>2.8753695244015764</c:v>
                </c:pt>
                <c:pt idx="2112">
                  <c:v>2.9028312646372467</c:v>
                </c:pt>
                <c:pt idx="2113">
                  <c:v>2.8965288409330534</c:v>
                </c:pt>
                <c:pt idx="2114">
                  <c:v>2.8645738882760763</c:v>
                </c:pt>
                <c:pt idx="2115">
                  <c:v>2.8345888219285467</c:v>
                </c:pt>
                <c:pt idx="2116">
                  <c:v>2.7176021481061081</c:v>
                </c:pt>
                <c:pt idx="2117">
                  <c:v>2.7640636602973303</c:v>
                </c:pt>
                <c:pt idx="2118">
                  <c:v>2.7639591676096673</c:v>
                </c:pt>
                <c:pt idx="2119">
                  <c:v>2.7202235809752868</c:v>
                </c:pt>
                <c:pt idx="2120">
                  <c:v>2.7026346505438075</c:v>
                </c:pt>
                <c:pt idx="2121">
                  <c:v>2.5714004351496853</c:v>
                </c:pt>
                <c:pt idx="2122">
                  <c:v>2.5798725001020975</c:v>
                </c:pt>
                <c:pt idx="2123">
                  <c:v>2.6235819431975091</c:v>
                </c:pt>
                <c:pt idx="2124">
                  <c:v>2.684697723332758</c:v>
                </c:pt>
                <c:pt idx="2125">
                  <c:v>2.6374225781424299</c:v>
                </c:pt>
                <c:pt idx="2126">
                  <c:v>2.6328795929735316</c:v>
                </c:pt>
                <c:pt idx="2127">
                  <c:v>2.6126456276261383</c:v>
                </c:pt>
                <c:pt idx="2128">
                  <c:v>2.677457218702342</c:v>
                </c:pt>
                <c:pt idx="2129">
                  <c:v>2.7880870501320798</c:v>
                </c:pt>
                <c:pt idx="2130">
                  <c:v>2.8873264857150289</c:v>
                </c:pt>
                <c:pt idx="2131">
                  <c:v>2.717963936130126</c:v>
                </c:pt>
                <c:pt idx="2132">
                  <c:v>2.6387773443135711</c:v>
                </c:pt>
                <c:pt idx="2133">
                  <c:v>2.7049197987011175</c:v>
                </c:pt>
                <c:pt idx="2134">
                  <c:v>2.4310505660433765</c:v>
                </c:pt>
                <c:pt idx="2135">
                  <c:v>2.3122410346257594</c:v>
                </c:pt>
                <c:pt idx="2136">
                  <c:v>2.377545677444973</c:v>
                </c:pt>
                <c:pt idx="2137">
                  <c:v>2.6864163750300185</c:v>
                </c:pt>
                <c:pt idx="2138">
                  <c:v>2.7573948841114926</c:v>
                </c:pt>
                <c:pt idx="2139">
                  <c:v>2.7644187023429829</c:v>
                </c:pt>
                <c:pt idx="2140">
                  <c:v>2.8318822782948301</c:v>
                </c:pt>
                <c:pt idx="2141">
                  <c:v>2.6885206116071112</c:v>
                </c:pt>
                <c:pt idx="2142">
                  <c:v>2.6512826634304787</c:v>
                </c:pt>
                <c:pt idx="2143">
                  <c:v>2.611848784198449</c:v>
                </c:pt>
                <c:pt idx="2144">
                  <c:v>2.6570436155924226</c:v>
                </c:pt>
                <c:pt idx="2145">
                  <c:v>2.6569417755179261</c:v>
                </c:pt>
                <c:pt idx="2146">
                  <c:v>2.6724286848517682</c:v>
                </c:pt>
                <c:pt idx="2147">
                  <c:v>2.6410472855494138</c:v>
                </c:pt>
                <c:pt idx="2148">
                  <c:v>2.6433075514431472</c:v>
                </c:pt>
                <c:pt idx="2149">
                  <c:v>2.647036929448884</c:v>
                </c:pt>
                <c:pt idx="2150">
                  <c:v>2.6407729654390546</c:v>
                </c:pt>
                <c:pt idx="2151">
                  <c:v>2.6434415256078827</c:v>
                </c:pt>
                <c:pt idx="2152">
                  <c:v>2.642030551030579</c:v>
                </c:pt>
                <c:pt idx="2153">
                  <c:v>2.6414896603836722</c:v>
                </c:pt>
                <c:pt idx="2154">
                  <c:v>2.6398933114817478</c:v>
                </c:pt>
                <c:pt idx="2155">
                  <c:v>2.640181037535497</c:v>
                </c:pt>
                <c:pt idx="2156">
                  <c:v>2.6152182800443344</c:v>
                </c:pt>
                <c:pt idx="2157">
                  <c:v>2.6502107495554088</c:v>
                </c:pt>
                <c:pt idx="2158">
                  <c:v>2.5873394800931875</c:v>
                </c:pt>
                <c:pt idx="2159">
                  <c:v>2.5817258627232182</c:v>
                </c:pt>
                <c:pt idx="2160">
                  <c:v>2.5854685758678912</c:v>
                </c:pt>
                <c:pt idx="2161">
                  <c:v>2.5652914220039675</c:v>
                </c:pt>
                <c:pt idx="2162">
                  <c:v>2.5288259517742313</c:v>
                </c:pt>
                <c:pt idx="2163">
                  <c:v>2.4850756593035452</c:v>
                </c:pt>
                <c:pt idx="2164">
                  <c:v>2.4763167245177296</c:v>
                </c:pt>
                <c:pt idx="2165">
                  <c:v>2.5109365983810559</c:v>
                </c:pt>
                <c:pt idx="2166">
                  <c:v>2.4502470421156577</c:v>
                </c:pt>
                <c:pt idx="2167">
                  <c:v>2.3721983442089307</c:v>
                </c:pt>
                <c:pt idx="2168">
                  <c:v>2.3547110564669471</c:v>
                </c:pt>
                <c:pt idx="2169">
                  <c:v>2.3633297647918812</c:v>
                </c:pt>
                <c:pt idx="2170">
                  <c:v>2.3806304799915625</c:v>
                </c:pt>
                <c:pt idx="2171">
                  <c:v>2.3979047499881663</c:v>
                </c:pt>
                <c:pt idx="2172">
                  <c:v>2.4151787612243725</c:v>
                </c:pt>
                <c:pt idx="2173">
                  <c:v>2.4597083522638097</c:v>
                </c:pt>
                <c:pt idx="2174">
                  <c:v>2.4624183214969508</c:v>
                </c:pt>
                <c:pt idx="2175">
                  <c:v>2.5236528735857</c:v>
                </c:pt>
                <c:pt idx="2176">
                  <c:v>2.4703675737215072</c:v>
                </c:pt>
                <c:pt idx="2177">
                  <c:v>2.5690578383380895</c:v>
                </c:pt>
                <c:pt idx="2178">
                  <c:v>2.6055001079761668</c:v>
                </c:pt>
                <c:pt idx="2179">
                  <c:v>2.6108433660085129</c:v>
                </c:pt>
                <c:pt idx="2180">
                  <c:v>2.784887854165365</c:v>
                </c:pt>
                <c:pt idx="2181">
                  <c:v>2.8443364822971051</c:v>
                </c:pt>
                <c:pt idx="2182">
                  <c:v>2.833792918007124</c:v>
                </c:pt>
                <c:pt idx="2183">
                  <c:v>2.7880841677974391</c:v>
                </c:pt>
                <c:pt idx="2184">
                  <c:v>2.823392761724056</c:v>
                </c:pt>
                <c:pt idx="2185">
                  <c:v>3.0139621964833645</c:v>
                </c:pt>
                <c:pt idx="2186">
                  <c:v>3.0239062897880076</c:v>
                </c:pt>
                <c:pt idx="2187">
                  <c:v>3.0132494219594426</c:v>
                </c:pt>
                <c:pt idx="2188">
                  <c:v>2.9338715221700378</c:v>
                </c:pt>
                <c:pt idx="2189">
                  <c:v>2.8461407755376551</c:v>
                </c:pt>
                <c:pt idx="2190">
                  <c:v>2.8448377754190521</c:v>
                </c:pt>
                <c:pt idx="2191">
                  <c:v>2.9085298586571686</c:v>
                </c:pt>
                <c:pt idx="2192">
                  <c:v>2.9508508829699869</c:v>
                </c:pt>
                <c:pt idx="2193">
                  <c:v>2.9613694865298807</c:v>
                </c:pt>
                <c:pt idx="2194">
                  <c:v>2.9952730806279417</c:v>
                </c:pt>
                <c:pt idx="2195">
                  <c:v>2.9834173781117861</c:v>
                </c:pt>
                <c:pt idx="2196">
                  <c:v>2.991980462944805</c:v>
                </c:pt>
                <c:pt idx="2197">
                  <c:v>3.0028386560286964</c:v>
                </c:pt>
                <c:pt idx="2198">
                  <c:v>3.0012200223859447</c:v>
                </c:pt>
                <c:pt idx="2199">
                  <c:v>2.9950119484584641</c:v>
                </c:pt>
                <c:pt idx="2200">
                  <c:v>2.9776747311657705</c:v>
                </c:pt>
                <c:pt idx="2201">
                  <c:v>3.0210925235752017</c:v>
                </c:pt>
                <c:pt idx="2202">
                  <c:v>2.8636989939615201</c:v>
                </c:pt>
                <c:pt idx="2203">
                  <c:v>2.8578509140477415</c:v>
                </c:pt>
                <c:pt idx="2204">
                  <c:v>2.9168029649634741</c:v>
                </c:pt>
                <c:pt idx="2205">
                  <c:v>2.906462318003078</c:v>
                </c:pt>
                <c:pt idx="2206">
                  <c:v>2.8935181057573001</c:v>
                </c:pt>
                <c:pt idx="2207">
                  <c:v>2.8753761856857123</c:v>
                </c:pt>
                <c:pt idx="2208">
                  <c:v>2.9180767782832495</c:v>
                </c:pt>
                <c:pt idx="2209">
                  <c:v>3.3266822753145768</c:v>
                </c:pt>
                <c:pt idx="2210">
                  <c:v>3.3189657777814632</c:v>
                </c:pt>
                <c:pt idx="2211">
                  <c:v>3.4975453679592095</c:v>
                </c:pt>
                <c:pt idx="2212">
                  <c:v>3.2209908583117057</c:v>
                </c:pt>
                <c:pt idx="2213">
                  <c:v>3.1846333727917071</c:v>
                </c:pt>
                <c:pt idx="2214">
                  <c:v>3.0007768955371152</c:v>
                </c:pt>
                <c:pt idx="2215">
                  <c:v>2.7276002871605436</c:v>
                </c:pt>
                <c:pt idx="2216">
                  <c:v>2.8051927670029912</c:v>
                </c:pt>
                <c:pt idx="2217">
                  <c:v>2.7298091189085745</c:v>
                </c:pt>
                <c:pt idx="2218">
                  <c:v>3.0361273212917057</c:v>
                </c:pt>
                <c:pt idx="2219">
                  <c:v>3.3032730509268777</c:v>
                </c:pt>
                <c:pt idx="2220">
                  <c:v>3.2985478711192204</c:v>
                </c:pt>
                <c:pt idx="2221">
                  <c:v>3.2082962202673708</c:v>
                </c:pt>
                <c:pt idx="2222">
                  <c:v>3.1440313170838041</c:v>
                </c:pt>
                <c:pt idx="2223">
                  <c:v>3.151413791673324</c:v>
                </c:pt>
                <c:pt idx="2224">
                  <c:v>3.0978266841348896</c:v>
                </c:pt>
                <c:pt idx="2225">
                  <c:v>3.0485811290605094</c:v>
                </c:pt>
                <c:pt idx="2226">
                  <c:v>3.2300090234306924</c:v>
                </c:pt>
                <c:pt idx="2227">
                  <c:v>3.1530451423512642</c:v>
                </c:pt>
                <c:pt idx="2228">
                  <c:v>3.1563908268802847</c:v>
                </c:pt>
                <c:pt idx="2229">
                  <c:v>3.1502391591427483</c:v>
                </c:pt>
                <c:pt idx="2230">
                  <c:v>3.1487619751931928</c:v>
                </c:pt>
                <c:pt idx="2231">
                  <c:v>3.1529183341294242</c:v>
                </c:pt>
                <c:pt idx="2232">
                  <c:v>3.1509221822833435</c:v>
                </c:pt>
                <c:pt idx="2233">
                  <c:v>3.1426359431648132</c:v>
                </c:pt>
                <c:pt idx="2234">
                  <c:v>3.1195683072776585</c:v>
                </c:pt>
                <c:pt idx="2235">
                  <c:v>3.1653908238138722</c:v>
                </c:pt>
                <c:pt idx="2236">
                  <c:v>3.1513834688185041</c:v>
                </c:pt>
                <c:pt idx="2237">
                  <c:v>3.1424588018454034</c:v>
                </c:pt>
                <c:pt idx="2238">
                  <c:v>3.1477260681709329</c:v>
                </c:pt>
                <c:pt idx="2239">
                  <c:v>3.1418855478041277</c:v>
                </c:pt>
                <c:pt idx="2240">
                  <c:v>3.1301475164549712</c:v>
                </c:pt>
                <c:pt idx="2241">
                  <c:v>3.1276124172700226</c:v>
                </c:pt>
                <c:pt idx="2242">
                  <c:v>3.1020638949988601</c:v>
                </c:pt>
                <c:pt idx="2243">
                  <c:v>3.1095085168554948</c:v>
                </c:pt>
                <c:pt idx="2244">
                  <c:v>3.196712914347176</c:v>
                </c:pt>
                <c:pt idx="2245">
                  <c:v>3.2925771114253046</c:v>
                </c:pt>
                <c:pt idx="2246">
                  <c:v>3.2846561554574616</c:v>
                </c:pt>
                <c:pt idx="2247">
                  <c:v>3.2552697691812091</c:v>
                </c:pt>
                <c:pt idx="2248">
                  <c:v>3.2603348455955716</c:v>
                </c:pt>
                <c:pt idx="2249">
                  <c:v>3.2538475708307222</c:v>
                </c:pt>
                <c:pt idx="2250">
                  <c:v>3.2446782952645448</c:v>
                </c:pt>
                <c:pt idx="2251">
                  <c:v>3.2583156062164385</c:v>
                </c:pt>
                <c:pt idx="2252">
                  <c:v>3.2315449923266937</c:v>
                </c:pt>
                <c:pt idx="2253">
                  <c:v>3.2277570401830591</c:v>
                </c:pt>
                <c:pt idx="2254">
                  <c:v>3.2002410976600535</c:v>
                </c:pt>
                <c:pt idx="2255">
                  <c:v>3.1611257817084355</c:v>
                </c:pt>
                <c:pt idx="2256">
                  <c:v>3.1763360464888022</c:v>
                </c:pt>
                <c:pt idx="2257">
                  <c:v>3.1430203241990715</c:v>
                </c:pt>
                <c:pt idx="2258">
                  <c:v>3.2299568945668264</c:v>
                </c:pt>
                <c:pt idx="2259">
                  <c:v>3.3711406720326718</c:v>
                </c:pt>
                <c:pt idx="2260">
                  <c:v>3.2999163090529708</c:v>
                </c:pt>
                <c:pt idx="2261">
                  <c:v>3.3736449137119595</c:v>
                </c:pt>
                <c:pt idx="2262">
                  <c:v>3.369887909681982</c:v>
                </c:pt>
                <c:pt idx="2263">
                  <c:v>3.4403361078657548</c:v>
                </c:pt>
                <c:pt idx="2264">
                  <c:v>3.4255355609953222</c:v>
                </c:pt>
                <c:pt idx="2265">
                  <c:v>3.4666802235669847</c:v>
                </c:pt>
                <c:pt idx="2266">
                  <c:v>3.5824900659535048</c:v>
                </c:pt>
                <c:pt idx="2267">
                  <c:v>3.6498211215968168</c:v>
                </c:pt>
                <c:pt idx="2268">
                  <c:v>3.6496349826843639</c:v>
                </c:pt>
                <c:pt idx="2269">
                  <c:v>3.6289407328900118</c:v>
                </c:pt>
                <c:pt idx="2270">
                  <c:v>3.6545051309550627</c:v>
                </c:pt>
                <c:pt idx="2271">
                  <c:v>3.6755295788489009</c:v>
                </c:pt>
                <c:pt idx="2272">
                  <c:v>3.6894451648771693</c:v>
                </c:pt>
                <c:pt idx="2273">
                  <c:v>3.6291463497996546</c:v>
                </c:pt>
                <c:pt idx="2274">
                  <c:v>3.6092685121142942</c:v>
                </c:pt>
                <c:pt idx="2275">
                  <c:v>3.606008146725741</c:v>
                </c:pt>
                <c:pt idx="2276">
                  <c:v>3.5839954823492417</c:v>
                </c:pt>
                <c:pt idx="2277">
                  <c:v>3.5827647394964388</c:v>
                </c:pt>
                <c:pt idx="2278">
                  <c:v>3.5303498017888484</c:v>
                </c:pt>
                <c:pt idx="2279">
                  <c:v>3.5511821267529062</c:v>
                </c:pt>
                <c:pt idx="2280">
                  <c:v>3.4638313920453361</c:v>
                </c:pt>
                <c:pt idx="2281">
                  <c:v>3.4707605441322116</c:v>
                </c:pt>
                <c:pt idx="2282">
                  <c:v>3.3726485001573288</c:v>
                </c:pt>
                <c:pt idx="2283">
                  <c:v>3.2404241364603021</c:v>
                </c:pt>
                <c:pt idx="2284">
                  <c:v>3.2401450814862156</c:v>
                </c:pt>
                <c:pt idx="2285">
                  <c:v>3.1801381631117964</c:v>
                </c:pt>
                <c:pt idx="2286">
                  <c:v>3.288014190542079</c:v>
                </c:pt>
                <c:pt idx="2287">
                  <c:v>3.2326082008395396</c:v>
                </c:pt>
                <c:pt idx="2288">
                  <c:v>3.1662855486822052</c:v>
                </c:pt>
                <c:pt idx="2289">
                  <c:v>3.1771782684794214</c:v>
                </c:pt>
                <c:pt idx="2290">
                  <c:v>3.1109560296210197</c:v>
                </c:pt>
                <c:pt idx="2291">
                  <c:v>3.099790055915876</c:v>
                </c:pt>
                <c:pt idx="2292">
                  <c:v>3.0666630232164538</c:v>
                </c:pt>
                <c:pt idx="2293">
                  <c:v>2.9673174204528037</c:v>
                </c:pt>
                <c:pt idx="2294">
                  <c:v>2.9671060938344289</c:v>
                </c:pt>
                <c:pt idx="2295">
                  <c:v>2.9340180690066329</c:v>
                </c:pt>
                <c:pt idx="2296">
                  <c:v>2.9339460871188252</c:v>
                </c:pt>
                <c:pt idx="2297">
                  <c:v>2.9118803309456101</c:v>
                </c:pt>
                <c:pt idx="2298">
                  <c:v>2.9338979075521743</c:v>
                </c:pt>
                <c:pt idx="2299">
                  <c:v>2.9117836020061079</c:v>
                </c:pt>
                <c:pt idx="2300">
                  <c:v>2.790412059024618</c:v>
                </c:pt>
                <c:pt idx="2301">
                  <c:v>2.646781781323984</c:v>
                </c:pt>
                <c:pt idx="2302">
                  <c:v>2.6905847743331304</c:v>
                </c:pt>
                <c:pt idx="2303">
                  <c:v>2.6574074764887001</c:v>
                </c:pt>
                <c:pt idx="2304">
                  <c:v>2.7565793375570395</c:v>
                </c:pt>
                <c:pt idx="2305">
                  <c:v>2.9107178252156527</c:v>
                </c:pt>
                <c:pt idx="2306">
                  <c:v>2.8429455492899418</c:v>
                </c:pt>
                <c:pt idx="2307">
                  <c:v>2.8310171887483593</c:v>
                </c:pt>
                <c:pt idx="2308">
                  <c:v>2.862814306852477</c:v>
                </c:pt>
                <c:pt idx="2309">
                  <c:v>2.9570752403436784</c:v>
                </c:pt>
                <c:pt idx="2310">
                  <c:v>2.9562273676937276</c:v>
                </c:pt>
                <c:pt idx="2311">
                  <c:v>2.9739187421570454</c:v>
                </c:pt>
                <c:pt idx="2312">
                  <c:v>2.904698984800977</c:v>
                </c:pt>
                <c:pt idx="2313">
                  <c:v>3.0099012997725656</c:v>
                </c:pt>
                <c:pt idx="2314">
                  <c:v>2.9061935095302065</c:v>
                </c:pt>
                <c:pt idx="2315">
                  <c:v>2.9104010131635842</c:v>
                </c:pt>
                <c:pt idx="2316">
                  <c:v>2.8834500039843505</c:v>
                </c:pt>
                <c:pt idx="2317">
                  <c:v>2.852597630629103</c:v>
                </c:pt>
                <c:pt idx="2318">
                  <c:v>2.8042747580488769</c:v>
                </c:pt>
                <c:pt idx="2319">
                  <c:v>2.7773738060536659</c:v>
                </c:pt>
                <c:pt idx="2320">
                  <c:v>2.7408956374811684</c:v>
                </c:pt>
                <c:pt idx="2321">
                  <c:v>2.8221139764876533</c:v>
                </c:pt>
                <c:pt idx="2322">
                  <c:v>2.8800046500948864</c:v>
                </c:pt>
                <c:pt idx="2323">
                  <c:v>2.8542034120102668</c:v>
                </c:pt>
                <c:pt idx="2324">
                  <c:v>2.8473149949249357</c:v>
                </c:pt>
                <c:pt idx="2325">
                  <c:v>2.841247363108653</c:v>
                </c:pt>
                <c:pt idx="2326">
                  <c:v>2.9308988769863857</c:v>
                </c:pt>
                <c:pt idx="2327">
                  <c:v>2.8732024771550182</c:v>
                </c:pt>
                <c:pt idx="2328">
                  <c:v>2.8822254481881586</c:v>
                </c:pt>
                <c:pt idx="2329">
                  <c:v>2.708052630731582</c:v>
                </c:pt>
                <c:pt idx="2330">
                  <c:v>2.6987524129059519</c:v>
                </c:pt>
                <c:pt idx="2331">
                  <c:v>2.609605207908364</c:v>
                </c:pt>
                <c:pt idx="2332">
                  <c:v>2.6120378950488941</c:v>
                </c:pt>
                <c:pt idx="2333">
                  <c:v>2.6029454128838152</c:v>
                </c:pt>
                <c:pt idx="2334">
                  <c:v>2.6020224516687138</c:v>
                </c:pt>
                <c:pt idx="2335">
                  <c:v>2.6085714397974238</c:v>
                </c:pt>
                <c:pt idx="2336">
                  <c:v>2.6124368979581298</c:v>
                </c:pt>
                <c:pt idx="2337">
                  <c:v>2.5963148141871089</c:v>
                </c:pt>
                <c:pt idx="2338">
                  <c:v>2.5883580225529386</c:v>
                </c:pt>
                <c:pt idx="2339">
                  <c:v>2.4619424026353083</c:v>
                </c:pt>
                <c:pt idx="2340">
                  <c:v>2.4014408352441334</c:v>
                </c:pt>
                <c:pt idx="2341">
                  <c:v>2.5631990617600882</c:v>
                </c:pt>
                <c:pt idx="2342">
                  <c:v>2.357067537435491</c:v>
                </c:pt>
                <c:pt idx="2343">
                  <c:v>2.3495695159380747</c:v>
                </c:pt>
                <c:pt idx="2344">
                  <c:v>2.2837912411275849</c:v>
                </c:pt>
                <c:pt idx="2345">
                  <c:v>2.3728115702760779</c:v>
                </c:pt>
                <c:pt idx="2346">
                  <c:v>2.5505629351061616</c:v>
                </c:pt>
                <c:pt idx="2347">
                  <c:v>2.5654867183384682</c:v>
                </c:pt>
                <c:pt idx="2348">
                  <c:v>2.5011173940229403</c:v>
                </c:pt>
                <c:pt idx="2349">
                  <c:v>2.4449689349097277</c:v>
                </c:pt>
                <c:pt idx="2350">
                  <c:v>2.4421417628196824</c:v>
                </c:pt>
                <c:pt idx="2351">
                  <c:v>2.354297101914705</c:v>
                </c:pt>
                <c:pt idx="2352">
                  <c:v>2.3716840266676447</c:v>
                </c:pt>
                <c:pt idx="2353">
                  <c:v>2.3716450800389479</c:v>
                </c:pt>
                <c:pt idx="2354">
                  <c:v>2.3540735175024632</c:v>
                </c:pt>
                <c:pt idx="2355">
                  <c:v>2.3715258354879007</c:v>
                </c:pt>
                <c:pt idx="2356">
                  <c:v>2.3499434968816941</c:v>
                </c:pt>
                <c:pt idx="2357">
                  <c:v>2.3562905002601982</c:v>
                </c:pt>
                <c:pt idx="2358">
                  <c:v>2.3627298232448464</c:v>
                </c:pt>
                <c:pt idx="2359">
                  <c:v>2.362738235224489</c:v>
                </c:pt>
                <c:pt idx="2360">
                  <c:v>2.3617807017488999</c:v>
                </c:pt>
                <c:pt idx="2361">
                  <c:v>2.3621194487110801</c:v>
                </c:pt>
                <c:pt idx="2362">
                  <c:v>2.3757278221608673</c:v>
                </c:pt>
                <c:pt idx="2363">
                  <c:v>2.372877257417136</c:v>
                </c:pt>
                <c:pt idx="2364">
                  <c:v>2.3664636682273934</c:v>
                </c:pt>
                <c:pt idx="2365">
                  <c:v>2.3657572440509234</c:v>
                </c:pt>
                <c:pt idx="2366">
                  <c:v>2.4165707076501701</c:v>
                </c:pt>
                <c:pt idx="2367">
                  <c:v>2.4064820180614226</c:v>
                </c:pt>
                <c:pt idx="2368">
                  <c:v>2.4215185561300312</c:v>
                </c:pt>
                <c:pt idx="2369">
                  <c:v>2.4030789811365758</c:v>
                </c:pt>
                <c:pt idx="2370">
                  <c:v>2.411735493093512</c:v>
                </c:pt>
                <c:pt idx="2371">
                  <c:v>2.5324221058891725</c:v>
                </c:pt>
                <c:pt idx="2372">
                  <c:v>2.5585046621014826</c:v>
                </c:pt>
                <c:pt idx="2373">
                  <c:v>2.521577426717891</c:v>
                </c:pt>
                <c:pt idx="2374">
                  <c:v>2.5381116520449289</c:v>
                </c:pt>
                <c:pt idx="2375">
                  <c:v>2.6725936469039326</c:v>
                </c:pt>
                <c:pt idx="2376">
                  <c:v>2.7619696787174757</c:v>
                </c:pt>
                <c:pt idx="2377">
                  <c:v>2.8841294142559777</c:v>
                </c:pt>
                <c:pt idx="2378">
                  <c:v>2.657417809110445</c:v>
                </c:pt>
                <c:pt idx="2379">
                  <c:v>2.6561600327027231</c:v>
                </c:pt>
                <c:pt idx="2380">
                  <c:v>2.494930987573416</c:v>
                </c:pt>
                <c:pt idx="2381">
                  <c:v>2.4872491393611837</c:v>
                </c:pt>
                <c:pt idx="2382">
                  <c:v>2.3949141644905207</c:v>
                </c:pt>
                <c:pt idx="2383">
                  <c:v>2.4443152802005832</c:v>
                </c:pt>
                <c:pt idx="2384">
                  <c:v>2.6435902939728093</c:v>
                </c:pt>
                <c:pt idx="2385">
                  <c:v>2.5474653851257991</c:v>
                </c:pt>
                <c:pt idx="2386">
                  <c:v>2.6497582959405417</c:v>
                </c:pt>
                <c:pt idx="2387">
                  <c:v>2.633032677076633</c:v>
                </c:pt>
                <c:pt idx="2388">
                  <c:v>2.3365779639978963</c:v>
                </c:pt>
                <c:pt idx="2389">
                  <c:v>2.4950163110233672</c:v>
                </c:pt>
                <c:pt idx="2390">
                  <c:v>2.3213429153605767</c:v>
                </c:pt>
                <c:pt idx="2391">
                  <c:v>2.507430828726358</c:v>
                </c:pt>
                <c:pt idx="2392">
                  <c:v>2.1410599828237609</c:v>
                </c:pt>
                <c:pt idx="2393">
                  <c:v>2.2523174292011419</c:v>
                </c:pt>
                <c:pt idx="2394">
                  <c:v>2.3685977519351833</c:v>
                </c:pt>
                <c:pt idx="2395">
                  <c:v>2.4903644889461662</c:v>
                </c:pt>
                <c:pt idx="2396">
                  <c:v>2.5453983367868789</c:v>
                </c:pt>
                <c:pt idx="2397">
                  <c:v>2.5558154673135038</c:v>
                </c:pt>
                <c:pt idx="2398">
                  <c:v>2.5158256100404706</c:v>
                </c:pt>
                <c:pt idx="2399">
                  <c:v>2.5051269840184638</c:v>
                </c:pt>
                <c:pt idx="2400">
                  <c:v>2.5041188484897767</c:v>
                </c:pt>
                <c:pt idx="2401">
                  <c:v>2.4277878776785937</c:v>
                </c:pt>
                <c:pt idx="2402">
                  <c:v>2.4591124833789402</c:v>
                </c:pt>
                <c:pt idx="2403">
                  <c:v>2.446872602900239</c:v>
                </c:pt>
                <c:pt idx="2404">
                  <c:v>2.4312526297467638</c:v>
                </c:pt>
                <c:pt idx="2405">
                  <c:v>2.4359352894024244</c:v>
                </c:pt>
                <c:pt idx="2406">
                  <c:v>2.4325493689894198</c:v>
                </c:pt>
                <c:pt idx="2407">
                  <c:v>2.4202678079999118</c:v>
                </c:pt>
                <c:pt idx="2408">
                  <c:v>2.4109512743028119</c:v>
                </c:pt>
                <c:pt idx="2409">
                  <c:v>2.4066201032520773</c:v>
                </c:pt>
                <c:pt idx="2410">
                  <c:v>2.3642677679336312</c:v>
                </c:pt>
                <c:pt idx="2411">
                  <c:v>2.3700527721259395</c:v>
                </c:pt>
                <c:pt idx="2412">
                  <c:v>2.4038701717037809</c:v>
                </c:pt>
                <c:pt idx="2413">
                  <c:v>2.4359410203766529</c:v>
                </c:pt>
                <c:pt idx="2414">
                  <c:v>2.4035753366689101</c:v>
                </c:pt>
                <c:pt idx="2415">
                  <c:v>2.4037673615987583</c:v>
                </c:pt>
                <c:pt idx="2416">
                  <c:v>2.3991670344913718</c:v>
                </c:pt>
                <c:pt idx="2417">
                  <c:v>2.40888498383939</c:v>
                </c:pt>
                <c:pt idx="2418">
                  <c:v>2.3938488804829712</c:v>
                </c:pt>
                <c:pt idx="2419">
                  <c:v>2.3968190170037205</c:v>
                </c:pt>
                <c:pt idx="2420">
                  <c:v>2.3704330457113985</c:v>
                </c:pt>
                <c:pt idx="2421">
                  <c:v>2.3590319478407635</c:v>
                </c:pt>
                <c:pt idx="2422">
                  <c:v>2.3162123333883557</c:v>
                </c:pt>
                <c:pt idx="2423">
                  <c:v>2.4221529820519785</c:v>
                </c:pt>
                <c:pt idx="2424">
                  <c:v>2.5442364260443369</c:v>
                </c:pt>
                <c:pt idx="2425">
                  <c:v>2.4744303538308343</c:v>
                </c:pt>
                <c:pt idx="2426">
                  <c:v>2.4675051729295987</c:v>
                </c:pt>
                <c:pt idx="2427">
                  <c:v>2.4070538800366572</c:v>
                </c:pt>
                <c:pt idx="2428">
                  <c:v>2.3579426643277044</c:v>
                </c:pt>
                <c:pt idx="2429">
                  <c:v>2.5475278438100442</c:v>
                </c:pt>
                <c:pt idx="2430">
                  <c:v>2.5817284710965542</c:v>
                </c:pt>
                <c:pt idx="2431">
                  <c:v>2.4293468138173493</c:v>
                </c:pt>
                <c:pt idx="2432">
                  <c:v>2.2853726992109107</c:v>
                </c:pt>
                <c:pt idx="2433">
                  <c:v>2.2238388916276097</c:v>
                </c:pt>
                <c:pt idx="2434">
                  <c:v>2.2701635145646417</c:v>
                </c:pt>
                <c:pt idx="2435">
                  <c:v>2.1066030520910841</c:v>
                </c:pt>
                <c:pt idx="2436">
                  <c:v>2.3630487532468329</c:v>
                </c:pt>
                <c:pt idx="2437">
                  <c:v>2.4226586693052967</c:v>
                </c:pt>
                <c:pt idx="2438">
                  <c:v>2.4562099759444793</c:v>
                </c:pt>
                <c:pt idx="2439">
                  <c:v>2.4564690549030974</c:v>
                </c:pt>
                <c:pt idx="2440">
                  <c:v>2.434432281189586</c:v>
                </c:pt>
                <c:pt idx="2441">
                  <c:v>2.4518475144521195</c:v>
                </c:pt>
                <c:pt idx="2442">
                  <c:v>2.4122332566989835</c:v>
                </c:pt>
                <c:pt idx="2443">
                  <c:v>2.4303210283577665</c:v>
                </c:pt>
                <c:pt idx="2444">
                  <c:v>2.4587256881011106</c:v>
                </c:pt>
                <c:pt idx="2445">
                  <c:v>2.5415511634925383</c:v>
                </c:pt>
                <c:pt idx="2446">
                  <c:v>2.5362035762717792</c:v>
                </c:pt>
                <c:pt idx="2447">
                  <c:v>2.4388940540285624</c:v>
                </c:pt>
                <c:pt idx="2448">
                  <c:v>2.3971380582655692</c:v>
                </c:pt>
                <c:pt idx="2449">
                  <c:v>2.4891567598324436</c:v>
                </c:pt>
                <c:pt idx="2450">
                  <c:v>2.6228900857761506</c:v>
                </c:pt>
                <c:pt idx="2451">
                  <c:v>2.5507508480632906</c:v>
                </c:pt>
                <c:pt idx="2452">
                  <c:v>2.5423580191863637</c:v>
                </c:pt>
                <c:pt idx="2453">
                  <c:v>2.5126626891597881</c:v>
                </c:pt>
                <c:pt idx="2454">
                  <c:v>2.4789858459127596</c:v>
                </c:pt>
                <c:pt idx="2455">
                  <c:v>2.4020553689365514</c:v>
                </c:pt>
                <c:pt idx="2456">
                  <c:v>2.4666799124992158</c:v>
                </c:pt>
                <c:pt idx="2457">
                  <c:v>2.4650686854295842</c:v>
                </c:pt>
                <c:pt idx="2458">
                  <c:v>2.5610333709605375</c:v>
                </c:pt>
                <c:pt idx="2459">
                  <c:v>2.6354751598656034</c:v>
                </c:pt>
                <c:pt idx="2460">
                  <c:v>2.6486045215792173</c:v>
                </c:pt>
                <c:pt idx="2461">
                  <c:v>2.5113145139302664</c:v>
                </c:pt>
                <c:pt idx="2462">
                  <c:v>2.5642118661840003</c:v>
                </c:pt>
                <c:pt idx="2463">
                  <c:v>2.9348801680259498</c:v>
                </c:pt>
                <c:pt idx="2464">
                  <c:v>2.7966772061323875</c:v>
                </c:pt>
                <c:pt idx="2465">
                  <c:v>2.6492348317903929</c:v>
                </c:pt>
                <c:pt idx="2466">
                  <c:v>2.6468341730795362</c:v>
                </c:pt>
                <c:pt idx="2467">
                  <c:v>2.7402211877758726</c:v>
                </c:pt>
                <c:pt idx="2468">
                  <c:v>2.6975874206677761</c:v>
                </c:pt>
                <c:pt idx="2469">
                  <c:v>2.6925741404059509</c:v>
                </c:pt>
                <c:pt idx="2470">
                  <c:v>2.6721274881580843</c:v>
                </c:pt>
                <c:pt idx="2471">
                  <c:v>2.6790861734244253</c:v>
                </c:pt>
                <c:pt idx="2472">
                  <c:v>2.6777480081138325</c:v>
                </c:pt>
                <c:pt idx="2473">
                  <c:v>2.6788311264659868</c:v>
                </c:pt>
                <c:pt idx="2474">
                  <c:v>2.5972137879150443</c:v>
                </c:pt>
                <c:pt idx="2475">
                  <c:v>2.57761014309364</c:v>
                </c:pt>
                <c:pt idx="2476">
                  <c:v>2.5862785353410018</c:v>
                </c:pt>
                <c:pt idx="2477">
                  <c:v>2.5437744769392183</c:v>
                </c:pt>
                <c:pt idx="2478">
                  <c:v>2.5197567356545902</c:v>
                </c:pt>
                <c:pt idx="2479">
                  <c:v>2.4504849508294173</c:v>
                </c:pt>
                <c:pt idx="2480">
                  <c:v>2.4602452510589763</c:v>
                </c:pt>
                <c:pt idx="2481">
                  <c:v>2.3490120048575553</c:v>
                </c:pt>
                <c:pt idx="2482">
                  <c:v>2.3769551913750337</c:v>
                </c:pt>
                <c:pt idx="2483">
                  <c:v>2.3262893289535067</c:v>
                </c:pt>
                <c:pt idx="2484">
                  <c:v>2.3084882986134678</c:v>
                </c:pt>
                <c:pt idx="2485">
                  <c:v>2.2486146795773343</c:v>
                </c:pt>
                <c:pt idx="2486">
                  <c:v>2.3050793863656298</c:v>
                </c:pt>
                <c:pt idx="2487">
                  <c:v>2.2972050887619382</c:v>
                </c:pt>
                <c:pt idx="2488">
                  <c:v>2.2546553718337909</c:v>
                </c:pt>
                <c:pt idx="2489">
                  <c:v>2.3355172771103869</c:v>
                </c:pt>
                <c:pt idx="2490">
                  <c:v>2.2838343994714618</c:v>
                </c:pt>
                <c:pt idx="2491">
                  <c:v>2.2301399193443272</c:v>
                </c:pt>
                <c:pt idx="2492">
                  <c:v>2.2298804610581131</c:v>
                </c:pt>
                <c:pt idx="2493">
                  <c:v>2.3995442685688508</c:v>
                </c:pt>
                <c:pt idx="2494">
                  <c:v>2.3159986990559451</c:v>
                </c:pt>
                <c:pt idx="2495">
                  <c:v>2.3044926636297864</c:v>
                </c:pt>
                <c:pt idx="2496">
                  <c:v>2.3073529311354184</c:v>
                </c:pt>
                <c:pt idx="2497">
                  <c:v>2.2956218643736341</c:v>
                </c:pt>
                <c:pt idx="2498">
                  <c:v>2.2949592055698229</c:v>
                </c:pt>
                <c:pt idx="2499">
                  <c:v>2.2431541118988454</c:v>
                </c:pt>
                <c:pt idx="2500">
                  <c:v>2.2295632160683421</c:v>
                </c:pt>
                <c:pt idx="2501">
                  <c:v>2.2016761212620577</c:v>
                </c:pt>
                <c:pt idx="2502">
                  <c:v>2.2986943340347037</c:v>
                </c:pt>
                <c:pt idx="2503">
                  <c:v>2.2846018696294319</c:v>
                </c:pt>
                <c:pt idx="2504">
                  <c:v>2.2733438974085689</c:v>
                </c:pt>
                <c:pt idx="2505">
                  <c:v>2.2579812224785201</c:v>
                </c:pt>
                <c:pt idx="2506">
                  <c:v>2.2822861156034264</c:v>
                </c:pt>
                <c:pt idx="2507">
                  <c:v>2.2561919423117858</c:v>
                </c:pt>
                <c:pt idx="2508">
                  <c:v>2.2544371831553769</c:v>
                </c:pt>
                <c:pt idx="2509">
                  <c:v>2.2429612912502344</c:v>
                </c:pt>
                <c:pt idx="2510">
                  <c:v>2.2410891414198346</c:v>
                </c:pt>
                <c:pt idx="2511">
                  <c:v>2.1729968802905546</c:v>
                </c:pt>
                <c:pt idx="2512">
                  <c:v>2.0706619525585053</c:v>
                </c:pt>
                <c:pt idx="2513">
                  <c:v>1.9744924172106535</c:v>
                </c:pt>
                <c:pt idx="2514">
                  <c:v>2.0575009612066748</c:v>
                </c:pt>
                <c:pt idx="2515">
                  <c:v>1.9997086265798363</c:v>
                </c:pt>
                <c:pt idx="2516">
                  <c:v>1.9611954443931223</c:v>
                </c:pt>
                <c:pt idx="2517">
                  <c:v>1.935517189224448</c:v>
                </c:pt>
                <c:pt idx="2518">
                  <c:v>2.0058432557490282</c:v>
                </c:pt>
                <c:pt idx="2519">
                  <c:v>1.9417042695603655</c:v>
                </c:pt>
                <c:pt idx="2520">
                  <c:v>1.9357555764621979</c:v>
                </c:pt>
                <c:pt idx="2521">
                  <c:v>1.9095146192027153</c:v>
                </c:pt>
                <c:pt idx="2522">
                  <c:v>1.8838702104508671</c:v>
                </c:pt>
                <c:pt idx="2523">
                  <c:v>1.8710150928363956</c:v>
                </c:pt>
                <c:pt idx="2524">
                  <c:v>1.9349610113790388</c:v>
                </c:pt>
                <c:pt idx="2525">
                  <c:v>1.8516550306498605</c:v>
                </c:pt>
                <c:pt idx="2526">
                  <c:v>1.8504031342534446</c:v>
                </c:pt>
                <c:pt idx="2527">
                  <c:v>1.9017112589313276</c:v>
                </c:pt>
                <c:pt idx="2528">
                  <c:v>1.9137241040452433</c:v>
                </c:pt>
                <c:pt idx="2529">
                  <c:v>1.9107775072583095</c:v>
                </c:pt>
                <c:pt idx="2530">
                  <c:v>1.9679503264612286</c:v>
                </c:pt>
                <c:pt idx="2531">
                  <c:v>1.9995788070667693</c:v>
                </c:pt>
                <c:pt idx="2532">
                  <c:v>2.0099266855206444</c:v>
                </c:pt>
                <c:pt idx="2533">
                  <c:v>2.136009593892374</c:v>
                </c:pt>
                <c:pt idx="2534">
                  <c:v>2.0860816473582058</c:v>
                </c:pt>
                <c:pt idx="2535">
                  <c:v>2.0467195655965367</c:v>
                </c:pt>
                <c:pt idx="2536">
                  <c:v>2.041668354713599</c:v>
                </c:pt>
                <c:pt idx="2537">
                  <c:v>2.0002193001393862</c:v>
                </c:pt>
                <c:pt idx="2538">
                  <c:v>1.9932013166401934</c:v>
                </c:pt>
                <c:pt idx="2539">
                  <c:v>1.9215524571725335</c:v>
                </c:pt>
                <c:pt idx="2540">
                  <c:v>1.9085777306371419</c:v>
                </c:pt>
                <c:pt idx="2541">
                  <c:v>1.9085497062616175</c:v>
                </c:pt>
                <c:pt idx="2542">
                  <c:v>1.8379750097245986</c:v>
                </c:pt>
                <c:pt idx="2543">
                  <c:v>1.8506618260265608</c:v>
                </c:pt>
                <c:pt idx="2544">
                  <c:v>1.9147721513741658</c:v>
                </c:pt>
                <c:pt idx="2545">
                  <c:v>1.863310878371006</c:v>
                </c:pt>
                <c:pt idx="2546">
                  <c:v>1.8584890607763525</c:v>
                </c:pt>
                <c:pt idx="2547">
                  <c:v>1.8696753825042185</c:v>
                </c:pt>
                <c:pt idx="2548">
                  <c:v>1.8658322390250386</c:v>
                </c:pt>
                <c:pt idx="2549">
                  <c:v>1.8714568455273493</c:v>
                </c:pt>
                <c:pt idx="2550">
                  <c:v>1.8616064307634321</c:v>
                </c:pt>
                <c:pt idx="2551">
                  <c:v>1.827757512360024</c:v>
                </c:pt>
                <c:pt idx="2552">
                  <c:v>1.810770179439128</c:v>
                </c:pt>
                <c:pt idx="2553">
                  <c:v>1.7646737494223177</c:v>
                </c:pt>
                <c:pt idx="2554">
                  <c:v>1.7690860430781175</c:v>
                </c:pt>
                <c:pt idx="2555">
                  <c:v>1.8791009061242967</c:v>
                </c:pt>
                <c:pt idx="2556">
                  <c:v>1.8890248053114811</c:v>
                </c:pt>
                <c:pt idx="2557">
                  <c:v>1.9780625511963366</c:v>
                </c:pt>
                <c:pt idx="2558">
                  <c:v>2.061462996505151</c:v>
                </c:pt>
                <c:pt idx="2559">
                  <c:v>2.0313462205029706</c:v>
                </c:pt>
                <c:pt idx="2560">
                  <c:v>2.0282546404398554</c:v>
                </c:pt>
                <c:pt idx="2561">
                  <c:v>2.0206710148675304</c:v>
                </c:pt>
                <c:pt idx="2562">
                  <c:v>2.0273395909443255</c:v>
                </c:pt>
                <c:pt idx="2563">
                  <c:v>1.9159481558760787</c:v>
                </c:pt>
                <c:pt idx="2564">
                  <c:v>1.9042936622942777</c:v>
                </c:pt>
                <c:pt idx="2565">
                  <c:v>1.968341984723188</c:v>
                </c:pt>
                <c:pt idx="2566">
                  <c:v>1.9749289567628781</c:v>
                </c:pt>
                <c:pt idx="2567">
                  <c:v>1.9643308940879123</c:v>
                </c:pt>
                <c:pt idx="2568">
                  <c:v>2.1993119983070737</c:v>
                </c:pt>
                <c:pt idx="2569">
                  <c:v>2.194830163189998</c:v>
                </c:pt>
                <c:pt idx="2570">
                  <c:v>2.3642921957765259</c:v>
                </c:pt>
                <c:pt idx="2571">
                  <c:v>2.2154118698628857</c:v>
                </c:pt>
                <c:pt idx="2572">
                  <c:v>2.1994445106268836</c:v>
                </c:pt>
                <c:pt idx="2573">
                  <c:v>2.274716729607603</c:v>
                </c:pt>
                <c:pt idx="2574">
                  <c:v>2.0640243212553471</c:v>
                </c:pt>
                <c:pt idx="2575">
                  <c:v>2.0514475974002484</c:v>
                </c:pt>
                <c:pt idx="2576">
                  <c:v>2.2164123022964346</c:v>
                </c:pt>
                <c:pt idx="2577">
                  <c:v>2.4475368638264974</c:v>
                </c:pt>
                <c:pt idx="2578">
                  <c:v>2.4404798678872051</c:v>
                </c:pt>
                <c:pt idx="2579">
                  <c:v>2.4249751797332366</c:v>
                </c:pt>
                <c:pt idx="2580">
                  <c:v>2.291578789399995</c:v>
                </c:pt>
                <c:pt idx="2581">
                  <c:v>2.2915472426317258</c:v>
                </c:pt>
                <c:pt idx="2582">
                  <c:v>2.2626257307682458</c:v>
                </c:pt>
                <c:pt idx="2583">
                  <c:v>2.2621766654635591</c:v>
                </c:pt>
                <c:pt idx="2584">
                  <c:v>2.2562230610001932</c:v>
                </c:pt>
                <c:pt idx="2585">
                  <c:v>2.2656916673676433</c:v>
                </c:pt>
                <c:pt idx="2586">
                  <c:v>2.3119925966424431</c:v>
                </c:pt>
                <c:pt idx="2587">
                  <c:v>2.3474552548328833</c:v>
                </c:pt>
                <c:pt idx="2588">
                  <c:v>2.3524852756062975</c:v>
                </c:pt>
                <c:pt idx="2589">
                  <c:v>2.365455694850731</c:v>
                </c:pt>
                <c:pt idx="2590">
                  <c:v>2.3609823871884341</c:v>
                </c:pt>
                <c:pt idx="2591">
                  <c:v>2.3620057411992721</c:v>
                </c:pt>
                <c:pt idx="2592">
                  <c:v>2.3580644331094072</c:v>
                </c:pt>
                <c:pt idx="2593">
                  <c:v>2.3656922865487364</c:v>
                </c:pt>
                <c:pt idx="2594">
                  <c:v>2.3583854068447625</c:v>
                </c:pt>
                <c:pt idx="2595">
                  <c:v>2.3669929535341034</c:v>
                </c:pt>
                <c:pt idx="2596">
                  <c:v>2.3589316053052451</c:v>
                </c:pt>
                <c:pt idx="2597">
                  <c:v>2.3667018377358962</c:v>
                </c:pt>
                <c:pt idx="2598">
                  <c:v>2.3658010176606363</c:v>
                </c:pt>
                <c:pt idx="2599">
                  <c:v>2.346967490222716</c:v>
                </c:pt>
                <c:pt idx="2600">
                  <c:v>2.3526388501255537</c:v>
                </c:pt>
                <c:pt idx="2601">
                  <c:v>2.3472909900688159</c:v>
                </c:pt>
                <c:pt idx="2602">
                  <c:v>2.3476189328632797</c:v>
                </c:pt>
                <c:pt idx="2603">
                  <c:v>2.3428917283572273</c:v>
                </c:pt>
                <c:pt idx="2604">
                  <c:v>2.3416850982962716</c:v>
                </c:pt>
                <c:pt idx="2605">
                  <c:v>2.2990838110958869</c:v>
                </c:pt>
                <c:pt idx="2606">
                  <c:v>2.0489310173311135</c:v>
                </c:pt>
                <c:pt idx="2607">
                  <c:v>1.510189999251589</c:v>
                </c:pt>
                <c:pt idx="2608">
                  <c:v>1.4973006731190606</c:v>
                </c:pt>
                <c:pt idx="2609">
                  <c:v>1.5918743487495921</c:v>
                </c:pt>
                <c:pt idx="2610">
                  <c:v>1.5614536464274451</c:v>
                </c:pt>
                <c:pt idx="2611">
                  <c:v>1.5452389208847805</c:v>
                </c:pt>
                <c:pt idx="2612">
                  <c:v>1.4186815889516902</c:v>
                </c:pt>
                <c:pt idx="2613">
                  <c:v>1.2530029314658429</c:v>
                </c:pt>
                <c:pt idx="2614">
                  <c:v>1.4075742480938795</c:v>
                </c:pt>
                <c:pt idx="2615">
                  <c:v>1.4260931011108393</c:v>
                </c:pt>
                <c:pt idx="2616">
                  <c:v>1.3863700930786529</c:v>
                </c:pt>
                <c:pt idx="2617">
                  <c:v>1.4020769824092429</c:v>
                </c:pt>
                <c:pt idx="2618">
                  <c:v>1.3825848087317347</c:v>
                </c:pt>
                <c:pt idx="2619">
                  <c:v>1.373135416288682</c:v>
                </c:pt>
                <c:pt idx="2620">
                  <c:v>1.372900219902059</c:v>
                </c:pt>
                <c:pt idx="2621">
                  <c:v>1.3720218387902188</c:v>
                </c:pt>
                <c:pt idx="2622">
                  <c:v>1.3349167898312946</c:v>
                </c:pt>
                <c:pt idx="2623">
                  <c:v>1.3112918920488037</c:v>
                </c:pt>
                <c:pt idx="2624">
                  <c:v>1.3591087627572531</c:v>
                </c:pt>
                <c:pt idx="2625">
                  <c:v>1.3998226196627086</c:v>
                </c:pt>
                <c:pt idx="2626">
                  <c:v>1.3632337198636511</c:v>
                </c:pt>
                <c:pt idx="2627">
                  <c:v>1.3812117354572622</c:v>
                </c:pt>
                <c:pt idx="2628">
                  <c:v>1.3680925149697507</c:v>
                </c:pt>
                <c:pt idx="2629">
                  <c:v>1.3660335916561772</c:v>
                </c:pt>
                <c:pt idx="2630">
                  <c:v>1.3668002370275207</c:v>
                </c:pt>
                <c:pt idx="2631">
                  <c:v>1.3509214730319856</c:v>
                </c:pt>
                <c:pt idx="2632">
                  <c:v>1.3533405692195384</c:v>
                </c:pt>
                <c:pt idx="2633">
                  <c:v>1.3767146895838911</c:v>
                </c:pt>
                <c:pt idx="2634">
                  <c:v>1.3970945948602598</c:v>
                </c:pt>
                <c:pt idx="2635">
                  <c:v>1.4127828367198183</c:v>
                </c:pt>
                <c:pt idx="2636">
                  <c:v>1.4144054142561715</c:v>
                </c:pt>
                <c:pt idx="2637">
                  <c:v>1.421461477270217</c:v>
                </c:pt>
                <c:pt idx="2638">
                  <c:v>1.3848842119821785</c:v>
                </c:pt>
                <c:pt idx="2639">
                  <c:v>1.3448493922330871</c:v>
                </c:pt>
                <c:pt idx="2640">
                  <c:v>1.329766998405399</c:v>
                </c:pt>
                <c:pt idx="2641">
                  <c:v>1.2230080453386798</c:v>
                </c:pt>
                <c:pt idx="2642">
                  <c:v>1.3361398721442865</c:v>
                </c:pt>
                <c:pt idx="2643">
                  <c:v>1.3395200558253353</c:v>
                </c:pt>
                <c:pt idx="2644">
                  <c:v>1.273397204118665</c:v>
                </c:pt>
                <c:pt idx="2645">
                  <c:v>1.2600506850922311</c:v>
                </c:pt>
                <c:pt idx="2646">
                  <c:v>1.190122883542748</c:v>
                </c:pt>
                <c:pt idx="2647">
                  <c:v>1.2592876317882939</c:v>
                </c:pt>
                <c:pt idx="2648">
                  <c:v>1.3478287136299836</c:v>
                </c:pt>
                <c:pt idx="2649">
                  <c:v>1.2480560872680964</c:v>
                </c:pt>
                <c:pt idx="2650">
                  <c:v>1.2436952159642136</c:v>
                </c:pt>
                <c:pt idx="2651">
                  <c:v>1.257129001810632</c:v>
                </c:pt>
                <c:pt idx="2652">
                  <c:v>1.2457513733572261</c:v>
                </c:pt>
                <c:pt idx="2653">
                  <c:v>1.2387103100262367</c:v>
                </c:pt>
                <c:pt idx="2654">
                  <c:v>1.2423166144377609</c:v>
                </c:pt>
                <c:pt idx="2655">
                  <c:v>1.2532080866960038</c:v>
                </c:pt>
                <c:pt idx="2656">
                  <c:v>1.2422623538899913</c:v>
                </c:pt>
                <c:pt idx="2657">
                  <c:v>1.2414281603570332</c:v>
                </c:pt>
                <c:pt idx="2658">
                  <c:v>1.2546628975652954</c:v>
                </c:pt>
                <c:pt idx="2659">
                  <c:v>1.245926500355524</c:v>
                </c:pt>
                <c:pt idx="2660">
                  <c:v>1.2494692694561558</c:v>
                </c:pt>
                <c:pt idx="2661">
                  <c:v>1.2642405144617592</c:v>
                </c:pt>
                <c:pt idx="2662">
                  <c:v>1.2483673330821672</c:v>
                </c:pt>
                <c:pt idx="2663">
                  <c:v>1.2328154856305105</c:v>
                </c:pt>
                <c:pt idx="2664">
                  <c:v>1.2328441841489428</c:v>
                </c:pt>
                <c:pt idx="2665">
                  <c:v>1.2074932170102859</c:v>
                </c:pt>
                <c:pt idx="2666">
                  <c:v>1.3139859207899984</c:v>
                </c:pt>
                <c:pt idx="2667">
                  <c:v>1.2656329332138485</c:v>
                </c:pt>
                <c:pt idx="2668">
                  <c:v>1.2849753991762594</c:v>
                </c:pt>
                <c:pt idx="2669">
                  <c:v>1.2684209301461622</c:v>
                </c:pt>
                <c:pt idx="2670">
                  <c:v>1.2801289304717172</c:v>
                </c:pt>
                <c:pt idx="2671">
                  <c:v>1.2908544746289292</c:v>
                </c:pt>
                <c:pt idx="2672">
                  <c:v>1.2927488898748762</c:v>
                </c:pt>
                <c:pt idx="2673">
                  <c:v>1.2762226305847724</c:v>
                </c:pt>
                <c:pt idx="2674">
                  <c:v>1.2822841973854131</c:v>
                </c:pt>
                <c:pt idx="2675">
                  <c:v>1.2729893284628491</c:v>
                </c:pt>
                <c:pt idx="2676">
                  <c:v>1.2530599513666572</c:v>
                </c:pt>
                <c:pt idx="2677">
                  <c:v>1.2666323902560188</c:v>
                </c:pt>
                <c:pt idx="2678">
                  <c:v>1.3385513390264272</c:v>
                </c:pt>
                <c:pt idx="2679">
                  <c:v>1.3079575240061474</c:v>
                </c:pt>
                <c:pt idx="2680">
                  <c:v>1.2945725944462969</c:v>
                </c:pt>
                <c:pt idx="2681">
                  <c:v>1.321577233520181</c:v>
                </c:pt>
                <c:pt idx="2682">
                  <c:v>1.3344985741125368</c:v>
                </c:pt>
                <c:pt idx="2683">
                  <c:v>1.3261117158588662</c:v>
                </c:pt>
                <c:pt idx="2684">
                  <c:v>1.1364993717524348</c:v>
                </c:pt>
                <c:pt idx="2685">
                  <c:v>1.1881751498359683</c:v>
                </c:pt>
                <c:pt idx="2686">
                  <c:v>1.2773581569723498</c:v>
                </c:pt>
                <c:pt idx="2687">
                  <c:v>1.3191809481140071</c:v>
                </c:pt>
                <c:pt idx="2688">
                  <c:v>1.2867338235751684</c:v>
                </c:pt>
                <c:pt idx="2689">
                  <c:v>1.2782130749334777</c:v>
                </c:pt>
                <c:pt idx="2690">
                  <c:v>1.3106935203149774</c:v>
                </c:pt>
                <c:pt idx="2691">
                  <c:v>1.3414775173166003</c:v>
                </c:pt>
                <c:pt idx="2692">
                  <c:v>1.3402443141005633</c:v>
                </c:pt>
                <c:pt idx="2693">
                  <c:v>1.3471377992150229</c:v>
                </c:pt>
                <c:pt idx="2694">
                  <c:v>1.3385625414245326</c:v>
                </c:pt>
                <c:pt idx="2695">
                  <c:v>1.3327242257840886</c:v>
                </c:pt>
                <c:pt idx="2696">
                  <c:v>1.3474466166357373</c:v>
                </c:pt>
                <c:pt idx="2697">
                  <c:v>1.3504970650459154</c:v>
                </c:pt>
                <c:pt idx="2698">
                  <c:v>1.3510464570365039</c:v>
                </c:pt>
                <c:pt idx="2699">
                  <c:v>1.3514750056401439</c:v>
                </c:pt>
                <c:pt idx="2700">
                  <c:v>1.3306756307925847</c:v>
                </c:pt>
                <c:pt idx="2701">
                  <c:v>1.2703366464377277</c:v>
                </c:pt>
                <c:pt idx="2702">
                  <c:v>1.2247174059654442</c:v>
                </c:pt>
                <c:pt idx="2703">
                  <c:v>1.3049441700314548</c:v>
                </c:pt>
                <c:pt idx="2704">
                  <c:v>1.3823855435680166</c:v>
                </c:pt>
                <c:pt idx="2705">
                  <c:v>1.2781500489023387</c:v>
                </c:pt>
                <c:pt idx="2706">
                  <c:v>1.301514450872741</c:v>
                </c:pt>
                <c:pt idx="2707">
                  <c:v>1.1699115417743959</c:v>
                </c:pt>
                <c:pt idx="2708">
                  <c:v>1.1752444768705101</c:v>
                </c:pt>
                <c:pt idx="2709">
                  <c:v>1.1474399037335556</c:v>
                </c:pt>
                <c:pt idx="2710">
                  <c:v>1.1372379887585156</c:v>
                </c:pt>
                <c:pt idx="2711">
                  <c:v>1.2002831517898587</c:v>
                </c:pt>
                <c:pt idx="2712">
                  <c:v>1.1626193954802329</c:v>
                </c:pt>
                <c:pt idx="2713">
                  <c:v>1.1574325767068481</c:v>
                </c:pt>
                <c:pt idx="2714">
                  <c:v>1.147473677444258</c:v>
                </c:pt>
                <c:pt idx="2715">
                  <c:v>1.1451610436668691</c:v>
                </c:pt>
                <c:pt idx="2716">
                  <c:v>1.1483032520476266</c:v>
                </c:pt>
                <c:pt idx="2717">
                  <c:v>1.1475754842033927</c:v>
                </c:pt>
                <c:pt idx="2718">
                  <c:v>1.1858383977973512</c:v>
                </c:pt>
                <c:pt idx="2719">
                  <c:v>1.1773173542134838</c:v>
                </c:pt>
                <c:pt idx="2720">
                  <c:v>1.1766044462999787</c:v>
                </c:pt>
                <c:pt idx="2721">
                  <c:v>1.179898039976133</c:v>
                </c:pt>
                <c:pt idx="2722">
                  <c:v>1.1768275389212921</c:v>
                </c:pt>
                <c:pt idx="2723">
                  <c:v>1.1663714824580005</c:v>
                </c:pt>
                <c:pt idx="2724">
                  <c:v>1.1613998245938573</c:v>
                </c:pt>
                <c:pt idx="2725">
                  <c:v>1.098383733476255</c:v>
                </c:pt>
                <c:pt idx="2726">
                  <c:v>1.1363374986105661</c:v>
                </c:pt>
                <c:pt idx="2727">
                  <c:v>1.194495195967856</c:v>
                </c:pt>
                <c:pt idx="2728">
                  <c:v>1.2274479283043784</c:v>
                </c:pt>
                <c:pt idx="2729">
                  <c:v>1.2273263142773934</c:v>
                </c:pt>
                <c:pt idx="2730">
                  <c:v>1.2196673626735639</c:v>
                </c:pt>
                <c:pt idx="2731">
                  <c:v>1.1866255874365574</c:v>
                </c:pt>
                <c:pt idx="2732">
                  <c:v>1.2144589261060554</c:v>
                </c:pt>
              </c:numCache>
            </c:numRef>
          </c:val>
          <c:smooth val="0"/>
          <c:extLst xmlns:c16r2="http://schemas.microsoft.com/office/drawing/2015/06/chart">
            <c:ext xmlns:c16="http://schemas.microsoft.com/office/drawing/2014/chart" uri="{C3380CC4-5D6E-409C-BE32-E72D297353CC}">
              <c16:uniqueId val="{00000003-6403-4414-851B-9E4B2D9F5C76}"/>
            </c:ext>
          </c:extLst>
        </c:ser>
        <c:dLbls>
          <c:showLegendKey val="0"/>
          <c:showVal val="0"/>
          <c:showCatName val="0"/>
          <c:showSerName val="0"/>
          <c:showPercent val="0"/>
          <c:showBubbleSize val="0"/>
        </c:dLbls>
        <c:marker val="1"/>
        <c:smooth val="0"/>
        <c:axId val="559305088"/>
        <c:axId val="559306624"/>
      </c:lineChart>
      <c:dateAx>
        <c:axId val="559305088"/>
        <c:scaling>
          <c:orientation val="minMax"/>
        </c:scaling>
        <c:delete val="0"/>
        <c:axPos val="b"/>
        <c:numFmt formatCode="m/d/yyyy" sourceLinked="1"/>
        <c:majorTickMark val="none"/>
        <c:minorTickMark val="none"/>
        <c:tickLblPos val="nextTo"/>
        <c:crossAx val="559306624"/>
        <c:crosses val="autoZero"/>
        <c:auto val="1"/>
        <c:lblOffset val="100"/>
        <c:baseTimeUnit val="days"/>
      </c:dateAx>
      <c:valAx>
        <c:axId val="559306624"/>
        <c:scaling>
          <c:orientation val="minMax"/>
        </c:scaling>
        <c:delete val="0"/>
        <c:axPos val="l"/>
        <c:majorGridlines/>
        <c:numFmt formatCode="General" sourceLinked="1"/>
        <c:majorTickMark val="none"/>
        <c:minorTickMark val="none"/>
        <c:tickLblPos val="nextTo"/>
        <c:spPr>
          <a:ln w="9525">
            <a:noFill/>
          </a:ln>
        </c:spPr>
        <c:crossAx val="55930508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rical</a:t>
            </a:r>
            <a:r>
              <a:rPr lang="en-US" baseline="0" dirty="0"/>
              <a:t> simulation</a:t>
            </a:r>
            <a:endParaRPr lang="en-US" dirty="0"/>
          </a:p>
        </c:rich>
      </c:tx>
      <c:layout/>
      <c:overlay val="0"/>
    </c:title>
    <c:autoTitleDeleted val="0"/>
    <c:plotArea>
      <c:layout/>
      <c:lineChart>
        <c:grouping val="standard"/>
        <c:varyColors val="0"/>
        <c:ser>
          <c:idx val="0"/>
          <c:order val="0"/>
          <c:tx>
            <c:strRef>
              <c:f>'6M'!$O$30</c:f>
              <c:strCache>
                <c:ptCount val="1"/>
                <c:pt idx="0">
                  <c:v>Basic Mean Reversion Strategy</c:v>
                </c:pt>
              </c:strCache>
            </c:strRef>
          </c:tx>
          <c:marker>
            <c:symbol val="none"/>
          </c:marker>
          <c:cat>
            <c:numRef>
              <c:f>'6M'!$N$137:$N$2763</c:f>
              <c:numCache>
                <c:formatCode>m/d/yyyy</c:formatCode>
                <c:ptCount val="2627"/>
                <c:pt idx="0">
                  <c:v>38610</c:v>
                </c:pt>
                <c:pt idx="1">
                  <c:v>38611</c:v>
                </c:pt>
                <c:pt idx="2">
                  <c:v>38614</c:v>
                </c:pt>
                <c:pt idx="3">
                  <c:v>38615</c:v>
                </c:pt>
                <c:pt idx="4">
                  <c:v>38616</c:v>
                </c:pt>
                <c:pt idx="5">
                  <c:v>38617</c:v>
                </c:pt>
                <c:pt idx="6">
                  <c:v>38618</c:v>
                </c:pt>
                <c:pt idx="7">
                  <c:v>38621</c:v>
                </c:pt>
                <c:pt idx="8">
                  <c:v>38622</c:v>
                </c:pt>
                <c:pt idx="9">
                  <c:v>38623</c:v>
                </c:pt>
                <c:pt idx="10">
                  <c:v>38624</c:v>
                </c:pt>
                <c:pt idx="11">
                  <c:v>38625</c:v>
                </c:pt>
                <c:pt idx="12">
                  <c:v>38628</c:v>
                </c:pt>
                <c:pt idx="13">
                  <c:v>38629</c:v>
                </c:pt>
                <c:pt idx="14">
                  <c:v>38630</c:v>
                </c:pt>
                <c:pt idx="15">
                  <c:v>38631</c:v>
                </c:pt>
                <c:pt idx="16">
                  <c:v>38632</c:v>
                </c:pt>
                <c:pt idx="17">
                  <c:v>38635</c:v>
                </c:pt>
                <c:pt idx="18">
                  <c:v>38636</c:v>
                </c:pt>
                <c:pt idx="19">
                  <c:v>38637</c:v>
                </c:pt>
                <c:pt idx="20">
                  <c:v>38638</c:v>
                </c:pt>
                <c:pt idx="21">
                  <c:v>38639</c:v>
                </c:pt>
                <c:pt idx="22">
                  <c:v>38642</c:v>
                </c:pt>
                <c:pt idx="23">
                  <c:v>38643</c:v>
                </c:pt>
                <c:pt idx="24">
                  <c:v>38644</c:v>
                </c:pt>
                <c:pt idx="25">
                  <c:v>38645</c:v>
                </c:pt>
                <c:pt idx="26">
                  <c:v>38646</c:v>
                </c:pt>
                <c:pt idx="27">
                  <c:v>38649</c:v>
                </c:pt>
                <c:pt idx="28">
                  <c:v>38650</c:v>
                </c:pt>
                <c:pt idx="29">
                  <c:v>38651</c:v>
                </c:pt>
                <c:pt idx="30">
                  <c:v>38652</c:v>
                </c:pt>
                <c:pt idx="31">
                  <c:v>38653</c:v>
                </c:pt>
                <c:pt idx="32">
                  <c:v>38656</c:v>
                </c:pt>
                <c:pt idx="33">
                  <c:v>38657</c:v>
                </c:pt>
                <c:pt idx="34">
                  <c:v>38658</c:v>
                </c:pt>
                <c:pt idx="35">
                  <c:v>38659</c:v>
                </c:pt>
                <c:pt idx="36">
                  <c:v>38660</c:v>
                </c:pt>
                <c:pt idx="37">
                  <c:v>38663</c:v>
                </c:pt>
                <c:pt idx="38">
                  <c:v>38664</c:v>
                </c:pt>
                <c:pt idx="39">
                  <c:v>38665</c:v>
                </c:pt>
                <c:pt idx="40">
                  <c:v>38666</c:v>
                </c:pt>
                <c:pt idx="41">
                  <c:v>38667</c:v>
                </c:pt>
                <c:pt idx="42">
                  <c:v>38670</c:v>
                </c:pt>
                <c:pt idx="43">
                  <c:v>38671</c:v>
                </c:pt>
                <c:pt idx="44">
                  <c:v>38672</c:v>
                </c:pt>
                <c:pt idx="45">
                  <c:v>38673</c:v>
                </c:pt>
                <c:pt idx="46">
                  <c:v>38674</c:v>
                </c:pt>
                <c:pt idx="47">
                  <c:v>38677</c:v>
                </c:pt>
                <c:pt idx="48">
                  <c:v>38678</c:v>
                </c:pt>
                <c:pt idx="49">
                  <c:v>38679</c:v>
                </c:pt>
                <c:pt idx="50">
                  <c:v>38681</c:v>
                </c:pt>
                <c:pt idx="51">
                  <c:v>38684</c:v>
                </c:pt>
                <c:pt idx="52">
                  <c:v>38685</c:v>
                </c:pt>
                <c:pt idx="53">
                  <c:v>38686</c:v>
                </c:pt>
                <c:pt idx="54">
                  <c:v>38687</c:v>
                </c:pt>
                <c:pt idx="55">
                  <c:v>38688</c:v>
                </c:pt>
                <c:pt idx="56">
                  <c:v>38691</c:v>
                </c:pt>
                <c:pt idx="57">
                  <c:v>38692</c:v>
                </c:pt>
                <c:pt idx="58">
                  <c:v>38693</c:v>
                </c:pt>
                <c:pt idx="59">
                  <c:v>38694</c:v>
                </c:pt>
                <c:pt idx="60">
                  <c:v>38695</c:v>
                </c:pt>
                <c:pt idx="61">
                  <c:v>38698</c:v>
                </c:pt>
                <c:pt idx="62">
                  <c:v>38699</c:v>
                </c:pt>
                <c:pt idx="63">
                  <c:v>38700</c:v>
                </c:pt>
                <c:pt idx="64">
                  <c:v>38701</c:v>
                </c:pt>
                <c:pt idx="65">
                  <c:v>38702</c:v>
                </c:pt>
                <c:pt idx="66">
                  <c:v>38705</c:v>
                </c:pt>
                <c:pt idx="67">
                  <c:v>38706</c:v>
                </c:pt>
                <c:pt idx="68">
                  <c:v>38707</c:v>
                </c:pt>
                <c:pt idx="69">
                  <c:v>38708</c:v>
                </c:pt>
                <c:pt idx="70">
                  <c:v>38709</c:v>
                </c:pt>
                <c:pt idx="71">
                  <c:v>38713</c:v>
                </c:pt>
                <c:pt idx="72">
                  <c:v>38714</c:v>
                </c:pt>
                <c:pt idx="73">
                  <c:v>38715</c:v>
                </c:pt>
                <c:pt idx="74">
                  <c:v>38716</c:v>
                </c:pt>
                <c:pt idx="75">
                  <c:v>38720</c:v>
                </c:pt>
                <c:pt idx="76">
                  <c:v>38721</c:v>
                </c:pt>
                <c:pt idx="77">
                  <c:v>38722</c:v>
                </c:pt>
                <c:pt idx="78">
                  <c:v>38723</c:v>
                </c:pt>
                <c:pt idx="79">
                  <c:v>38726</c:v>
                </c:pt>
                <c:pt idx="80">
                  <c:v>38727</c:v>
                </c:pt>
                <c:pt idx="81">
                  <c:v>38728</c:v>
                </c:pt>
                <c:pt idx="82">
                  <c:v>38729</c:v>
                </c:pt>
                <c:pt idx="83">
                  <c:v>38730</c:v>
                </c:pt>
                <c:pt idx="84">
                  <c:v>38734</c:v>
                </c:pt>
                <c:pt idx="85">
                  <c:v>38735</c:v>
                </c:pt>
                <c:pt idx="86">
                  <c:v>38736</c:v>
                </c:pt>
                <c:pt idx="87">
                  <c:v>38737</c:v>
                </c:pt>
                <c:pt idx="88">
                  <c:v>38740</c:v>
                </c:pt>
                <c:pt idx="89">
                  <c:v>38741</c:v>
                </c:pt>
                <c:pt idx="90">
                  <c:v>38742</c:v>
                </c:pt>
                <c:pt idx="91">
                  <c:v>38743</c:v>
                </c:pt>
                <c:pt idx="92">
                  <c:v>38744</c:v>
                </c:pt>
                <c:pt idx="93">
                  <c:v>38747</c:v>
                </c:pt>
                <c:pt idx="94">
                  <c:v>38748</c:v>
                </c:pt>
                <c:pt idx="95">
                  <c:v>38749</c:v>
                </c:pt>
                <c:pt idx="96">
                  <c:v>38750</c:v>
                </c:pt>
                <c:pt idx="97">
                  <c:v>38751</c:v>
                </c:pt>
                <c:pt idx="98">
                  <c:v>38754</c:v>
                </c:pt>
                <c:pt idx="99">
                  <c:v>38755</c:v>
                </c:pt>
                <c:pt idx="100">
                  <c:v>38756</c:v>
                </c:pt>
                <c:pt idx="101">
                  <c:v>38757</c:v>
                </c:pt>
                <c:pt idx="102">
                  <c:v>38758</c:v>
                </c:pt>
                <c:pt idx="103">
                  <c:v>38761</c:v>
                </c:pt>
                <c:pt idx="104">
                  <c:v>38762</c:v>
                </c:pt>
                <c:pt idx="105">
                  <c:v>38763</c:v>
                </c:pt>
                <c:pt idx="106">
                  <c:v>38764</c:v>
                </c:pt>
                <c:pt idx="107">
                  <c:v>38765</c:v>
                </c:pt>
                <c:pt idx="108">
                  <c:v>38769</c:v>
                </c:pt>
                <c:pt idx="109">
                  <c:v>38770</c:v>
                </c:pt>
                <c:pt idx="110">
                  <c:v>38771</c:v>
                </c:pt>
                <c:pt idx="111">
                  <c:v>38772</c:v>
                </c:pt>
                <c:pt idx="112">
                  <c:v>38775</c:v>
                </c:pt>
                <c:pt idx="113">
                  <c:v>38776</c:v>
                </c:pt>
                <c:pt idx="114">
                  <c:v>38777</c:v>
                </c:pt>
                <c:pt idx="115">
                  <c:v>38778</c:v>
                </c:pt>
                <c:pt idx="116">
                  <c:v>38779</c:v>
                </c:pt>
                <c:pt idx="117">
                  <c:v>38782</c:v>
                </c:pt>
                <c:pt idx="118">
                  <c:v>38783</c:v>
                </c:pt>
                <c:pt idx="119">
                  <c:v>38784</c:v>
                </c:pt>
                <c:pt idx="120">
                  <c:v>38785</c:v>
                </c:pt>
                <c:pt idx="121">
                  <c:v>38786</c:v>
                </c:pt>
                <c:pt idx="122">
                  <c:v>38789</c:v>
                </c:pt>
                <c:pt idx="123">
                  <c:v>38790</c:v>
                </c:pt>
                <c:pt idx="124">
                  <c:v>38791</c:v>
                </c:pt>
                <c:pt idx="125">
                  <c:v>38792</c:v>
                </c:pt>
                <c:pt idx="126">
                  <c:v>38793</c:v>
                </c:pt>
                <c:pt idx="127">
                  <c:v>38796</c:v>
                </c:pt>
                <c:pt idx="128">
                  <c:v>38797</c:v>
                </c:pt>
                <c:pt idx="129">
                  <c:v>38798</c:v>
                </c:pt>
                <c:pt idx="130">
                  <c:v>38799</c:v>
                </c:pt>
                <c:pt idx="131">
                  <c:v>38800</c:v>
                </c:pt>
                <c:pt idx="132">
                  <c:v>38803</c:v>
                </c:pt>
                <c:pt idx="133">
                  <c:v>38804</c:v>
                </c:pt>
                <c:pt idx="134">
                  <c:v>38805</c:v>
                </c:pt>
                <c:pt idx="135">
                  <c:v>38806</c:v>
                </c:pt>
                <c:pt idx="136">
                  <c:v>38807</c:v>
                </c:pt>
                <c:pt idx="137">
                  <c:v>38810</c:v>
                </c:pt>
                <c:pt idx="138">
                  <c:v>38811</c:v>
                </c:pt>
                <c:pt idx="139">
                  <c:v>38812</c:v>
                </c:pt>
                <c:pt idx="140">
                  <c:v>38813</c:v>
                </c:pt>
                <c:pt idx="141">
                  <c:v>38814</c:v>
                </c:pt>
                <c:pt idx="142">
                  <c:v>38817</c:v>
                </c:pt>
                <c:pt idx="143">
                  <c:v>38818</c:v>
                </c:pt>
                <c:pt idx="144">
                  <c:v>38819</c:v>
                </c:pt>
                <c:pt idx="145">
                  <c:v>38820</c:v>
                </c:pt>
                <c:pt idx="146">
                  <c:v>38824</c:v>
                </c:pt>
                <c:pt idx="147">
                  <c:v>38825</c:v>
                </c:pt>
                <c:pt idx="148">
                  <c:v>38826</c:v>
                </c:pt>
                <c:pt idx="149">
                  <c:v>38827</c:v>
                </c:pt>
                <c:pt idx="150">
                  <c:v>38828</c:v>
                </c:pt>
                <c:pt idx="151">
                  <c:v>38831</c:v>
                </c:pt>
                <c:pt idx="152">
                  <c:v>38832</c:v>
                </c:pt>
                <c:pt idx="153">
                  <c:v>38833</c:v>
                </c:pt>
                <c:pt idx="154">
                  <c:v>38834</c:v>
                </c:pt>
                <c:pt idx="155">
                  <c:v>38835</c:v>
                </c:pt>
                <c:pt idx="156">
                  <c:v>38838</c:v>
                </c:pt>
                <c:pt idx="157">
                  <c:v>38839</c:v>
                </c:pt>
                <c:pt idx="158">
                  <c:v>38840</c:v>
                </c:pt>
                <c:pt idx="159">
                  <c:v>38841</c:v>
                </c:pt>
                <c:pt idx="160">
                  <c:v>38842</c:v>
                </c:pt>
                <c:pt idx="161">
                  <c:v>38845</c:v>
                </c:pt>
                <c:pt idx="162">
                  <c:v>38846</c:v>
                </c:pt>
                <c:pt idx="163">
                  <c:v>38847</c:v>
                </c:pt>
                <c:pt idx="164">
                  <c:v>38848</c:v>
                </c:pt>
                <c:pt idx="165">
                  <c:v>38849</c:v>
                </c:pt>
                <c:pt idx="166">
                  <c:v>38852</c:v>
                </c:pt>
                <c:pt idx="167">
                  <c:v>38853</c:v>
                </c:pt>
                <c:pt idx="168">
                  <c:v>38854</c:v>
                </c:pt>
                <c:pt idx="169">
                  <c:v>38855</c:v>
                </c:pt>
                <c:pt idx="170">
                  <c:v>38856</c:v>
                </c:pt>
                <c:pt idx="171">
                  <c:v>38859</c:v>
                </c:pt>
                <c:pt idx="172">
                  <c:v>38860</c:v>
                </c:pt>
                <c:pt idx="173">
                  <c:v>38861</c:v>
                </c:pt>
                <c:pt idx="174">
                  <c:v>38862</c:v>
                </c:pt>
                <c:pt idx="175">
                  <c:v>38863</c:v>
                </c:pt>
                <c:pt idx="176">
                  <c:v>38867</c:v>
                </c:pt>
                <c:pt idx="177">
                  <c:v>38868</c:v>
                </c:pt>
                <c:pt idx="178">
                  <c:v>38869</c:v>
                </c:pt>
                <c:pt idx="179">
                  <c:v>38870</c:v>
                </c:pt>
                <c:pt idx="180">
                  <c:v>38873</c:v>
                </c:pt>
                <c:pt idx="181">
                  <c:v>38874</c:v>
                </c:pt>
                <c:pt idx="182">
                  <c:v>38875</c:v>
                </c:pt>
                <c:pt idx="183">
                  <c:v>38876</c:v>
                </c:pt>
                <c:pt idx="184">
                  <c:v>38877</c:v>
                </c:pt>
                <c:pt idx="185">
                  <c:v>38880</c:v>
                </c:pt>
                <c:pt idx="186">
                  <c:v>38881</c:v>
                </c:pt>
                <c:pt idx="187">
                  <c:v>38882</c:v>
                </c:pt>
                <c:pt idx="188">
                  <c:v>38883</c:v>
                </c:pt>
                <c:pt idx="189">
                  <c:v>38884</c:v>
                </c:pt>
                <c:pt idx="190">
                  <c:v>38887</c:v>
                </c:pt>
                <c:pt idx="191">
                  <c:v>38888</c:v>
                </c:pt>
                <c:pt idx="192">
                  <c:v>38889</c:v>
                </c:pt>
                <c:pt idx="193">
                  <c:v>38890</c:v>
                </c:pt>
                <c:pt idx="194">
                  <c:v>38891</c:v>
                </c:pt>
                <c:pt idx="195">
                  <c:v>38894</c:v>
                </c:pt>
                <c:pt idx="196">
                  <c:v>38895</c:v>
                </c:pt>
                <c:pt idx="197">
                  <c:v>38896</c:v>
                </c:pt>
                <c:pt idx="198">
                  <c:v>38897</c:v>
                </c:pt>
                <c:pt idx="199">
                  <c:v>38898</c:v>
                </c:pt>
                <c:pt idx="200">
                  <c:v>38901</c:v>
                </c:pt>
                <c:pt idx="201">
                  <c:v>38903</c:v>
                </c:pt>
                <c:pt idx="202">
                  <c:v>38904</c:v>
                </c:pt>
                <c:pt idx="203">
                  <c:v>38905</c:v>
                </c:pt>
                <c:pt idx="204">
                  <c:v>38908</c:v>
                </c:pt>
                <c:pt idx="205">
                  <c:v>38909</c:v>
                </c:pt>
                <c:pt idx="206">
                  <c:v>38910</c:v>
                </c:pt>
                <c:pt idx="207">
                  <c:v>38911</c:v>
                </c:pt>
                <c:pt idx="208">
                  <c:v>38912</c:v>
                </c:pt>
                <c:pt idx="209">
                  <c:v>38915</c:v>
                </c:pt>
                <c:pt idx="210">
                  <c:v>38916</c:v>
                </c:pt>
                <c:pt idx="211">
                  <c:v>38917</c:v>
                </c:pt>
                <c:pt idx="212">
                  <c:v>38918</c:v>
                </c:pt>
                <c:pt idx="213">
                  <c:v>38919</c:v>
                </c:pt>
                <c:pt idx="214">
                  <c:v>38922</c:v>
                </c:pt>
                <c:pt idx="215">
                  <c:v>38923</c:v>
                </c:pt>
                <c:pt idx="216">
                  <c:v>38924</c:v>
                </c:pt>
                <c:pt idx="217">
                  <c:v>38925</c:v>
                </c:pt>
                <c:pt idx="218">
                  <c:v>38926</c:v>
                </c:pt>
                <c:pt idx="219">
                  <c:v>38929</c:v>
                </c:pt>
                <c:pt idx="220">
                  <c:v>38930</c:v>
                </c:pt>
                <c:pt idx="221">
                  <c:v>38931</c:v>
                </c:pt>
                <c:pt idx="222">
                  <c:v>38932</c:v>
                </c:pt>
                <c:pt idx="223">
                  <c:v>38933</c:v>
                </c:pt>
                <c:pt idx="224">
                  <c:v>38936</c:v>
                </c:pt>
                <c:pt idx="225">
                  <c:v>38937</c:v>
                </c:pt>
                <c:pt idx="226">
                  <c:v>38938</c:v>
                </c:pt>
                <c:pt idx="227">
                  <c:v>38939</c:v>
                </c:pt>
                <c:pt idx="228">
                  <c:v>38940</c:v>
                </c:pt>
                <c:pt idx="229">
                  <c:v>38943</c:v>
                </c:pt>
                <c:pt idx="230">
                  <c:v>38944</c:v>
                </c:pt>
                <c:pt idx="231">
                  <c:v>38945</c:v>
                </c:pt>
                <c:pt idx="232">
                  <c:v>38946</c:v>
                </c:pt>
                <c:pt idx="233">
                  <c:v>38947</c:v>
                </c:pt>
                <c:pt idx="234">
                  <c:v>38950</c:v>
                </c:pt>
                <c:pt idx="235">
                  <c:v>38951</c:v>
                </c:pt>
                <c:pt idx="236">
                  <c:v>38952</c:v>
                </c:pt>
                <c:pt idx="237">
                  <c:v>38953</c:v>
                </c:pt>
                <c:pt idx="238">
                  <c:v>38954</c:v>
                </c:pt>
                <c:pt idx="239">
                  <c:v>38957</c:v>
                </c:pt>
                <c:pt idx="240">
                  <c:v>38958</c:v>
                </c:pt>
                <c:pt idx="241">
                  <c:v>38959</c:v>
                </c:pt>
                <c:pt idx="242">
                  <c:v>38960</c:v>
                </c:pt>
                <c:pt idx="243">
                  <c:v>38961</c:v>
                </c:pt>
                <c:pt idx="244">
                  <c:v>38965</c:v>
                </c:pt>
                <c:pt idx="245">
                  <c:v>38966</c:v>
                </c:pt>
                <c:pt idx="246">
                  <c:v>38967</c:v>
                </c:pt>
                <c:pt idx="247">
                  <c:v>38968</c:v>
                </c:pt>
                <c:pt idx="248">
                  <c:v>38971</c:v>
                </c:pt>
                <c:pt idx="249">
                  <c:v>38972</c:v>
                </c:pt>
                <c:pt idx="250">
                  <c:v>38973</c:v>
                </c:pt>
                <c:pt idx="251">
                  <c:v>38974</c:v>
                </c:pt>
                <c:pt idx="252">
                  <c:v>38975</c:v>
                </c:pt>
                <c:pt idx="253">
                  <c:v>38978</c:v>
                </c:pt>
                <c:pt idx="254">
                  <c:v>38979</c:v>
                </c:pt>
                <c:pt idx="255">
                  <c:v>38980</c:v>
                </c:pt>
                <c:pt idx="256">
                  <c:v>38981</c:v>
                </c:pt>
                <c:pt idx="257">
                  <c:v>38982</c:v>
                </c:pt>
                <c:pt idx="258">
                  <c:v>38985</c:v>
                </c:pt>
                <c:pt idx="259">
                  <c:v>38986</c:v>
                </c:pt>
                <c:pt idx="260">
                  <c:v>38987</c:v>
                </c:pt>
                <c:pt idx="261">
                  <c:v>38988</c:v>
                </c:pt>
                <c:pt idx="262">
                  <c:v>38989</c:v>
                </c:pt>
                <c:pt idx="263">
                  <c:v>38992</c:v>
                </c:pt>
                <c:pt idx="264">
                  <c:v>38993</c:v>
                </c:pt>
                <c:pt idx="265">
                  <c:v>38994</c:v>
                </c:pt>
                <c:pt idx="266">
                  <c:v>38995</c:v>
                </c:pt>
                <c:pt idx="267">
                  <c:v>38996</c:v>
                </c:pt>
                <c:pt idx="268">
                  <c:v>38999</c:v>
                </c:pt>
                <c:pt idx="269">
                  <c:v>39000</c:v>
                </c:pt>
                <c:pt idx="270">
                  <c:v>39001</c:v>
                </c:pt>
                <c:pt idx="271">
                  <c:v>39002</c:v>
                </c:pt>
                <c:pt idx="272">
                  <c:v>39003</c:v>
                </c:pt>
                <c:pt idx="273">
                  <c:v>39006</c:v>
                </c:pt>
                <c:pt idx="274">
                  <c:v>39007</c:v>
                </c:pt>
                <c:pt idx="275">
                  <c:v>39008</c:v>
                </c:pt>
                <c:pt idx="276">
                  <c:v>39009</c:v>
                </c:pt>
                <c:pt idx="277">
                  <c:v>39010</c:v>
                </c:pt>
                <c:pt idx="278">
                  <c:v>39013</c:v>
                </c:pt>
                <c:pt idx="279">
                  <c:v>39014</c:v>
                </c:pt>
                <c:pt idx="280">
                  <c:v>39015</c:v>
                </c:pt>
                <c:pt idx="281">
                  <c:v>39016</c:v>
                </c:pt>
                <c:pt idx="282">
                  <c:v>39017</c:v>
                </c:pt>
                <c:pt idx="283">
                  <c:v>39020</c:v>
                </c:pt>
                <c:pt idx="284">
                  <c:v>39021</c:v>
                </c:pt>
                <c:pt idx="285">
                  <c:v>39022</c:v>
                </c:pt>
                <c:pt idx="286">
                  <c:v>39023</c:v>
                </c:pt>
                <c:pt idx="287">
                  <c:v>39024</c:v>
                </c:pt>
                <c:pt idx="288">
                  <c:v>39027</c:v>
                </c:pt>
                <c:pt idx="289">
                  <c:v>39028</c:v>
                </c:pt>
                <c:pt idx="290">
                  <c:v>39029</c:v>
                </c:pt>
                <c:pt idx="291">
                  <c:v>39030</c:v>
                </c:pt>
                <c:pt idx="292">
                  <c:v>39031</c:v>
                </c:pt>
                <c:pt idx="293">
                  <c:v>39034</c:v>
                </c:pt>
                <c:pt idx="294">
                  <c:v>39035</c:v>
                </c:pt>
                <c:pt idx="295">
                  <c:v>39036</c:v>
                </c:pt>
                <c:pt idx="296">
                  <c:v>39037</c:v>
                </c:pt>
                <c:pt idx="297">
                  <c:v>39038</c:v>
                </c:pt>
                <c:pt idx="298">
                  <c:v>39041</c:v>
                </c:pt>
                <c:pt idx="299">
                  <c:v>39042</c:v>
                </c:pt>
                <c:pt idx="300">
                  <c:v>39043</c:v>
                </c:pt>
                <c:pt idx="301">
                  <c:v>39045</c:v>
                </c:pt>
                <c:pt idx="302">
                  <c:v>39048</c:v>
                </c:pt>
                <c:pt idx="303">
                  <c:v>39049</c:v>
                </c:pt>
                <c:pt idx="304">
                  <c:v>39050</c:v>
                </c:pt>
                <c:pt idx="305">
                  <c:v>39051</c:v>
                </c:pt>
                <c:pt idx="306">
                  <c:v>39052</c:v>
                </c:pt>
                <c:pt idx="307">
                  <c:v>39055</c:v>
                </c:pt>
                <c:pt idx="308">
                  <c:v>39056</c:v>
                </c:pt>
                <c:pt idx="309">
                  <c:v>39057</c:v>
                </c:pt>
                <c:pt idx="310">
                  <c:v>39058</c:v>
                </c:pt>
                <c:pt idx="311">
                  <c:v>39059</c:v>
                </c:pt>
                <c:pt idx="312">
                  <c:v>39062</c:v>
                </c:pt>
                <c:pt idx="313">
                  <c:v>39063</c:v>
                </c:pt>
                <c:pt idx="314">
                  <c:v>39064</c:v>
                </c:pt>
                <c:pt idx="315">
                  <c:v>39065</c:v>
                </c:pt>
                <c:pt idx="316">
                  <c:v>39066</c:v>
                </c:pt>
                <c:pt idx="317">
                  <c:v>39069</c:v>
                </c:pt>
                <c:pt idx="318">
                  <c:v>39070</c:v>
                </c:pt>
                <c:pt idx="319">
                  <c:v>39071</c:v>
                </c:pt>
                <c:pt idx="320">
                  <c:v>39072</c:v>
                </c:pt>
                <c:pt idx="321">
                  <c:v>39073</c:v>
                </c:pt>
                <c:pt idx="322">
                  <c:v>39077</c:v>
                </c:pt>
                <c:pt idx="323">
                  <c:v>39078</c:v>
                </c:pt>
                <c:pt idx="324">
                  <c:v>39079</c:v>
                </c:pt>
                <c:pt idx="325">
                  <c:v>39080</c:v>
                </c:pt>
                <c:pt idx="326">
                  <c:v>39085</c:v>
                </c:pt>
                <c:pt idx="327">
                  <c:v>39086</c:v>
                </c:pt>
                <c:pt idx="328">
                  <c:v>39087</c:v>
                </c:pt>
                <c:pt idx="329">
                  <c:v>39090</c:v>
                </c:pt>
                <c:pt idx="330">
                  <c:v>39091</c:v>
                </c:pt>
                <c:pt idx="331">
                  <c:v>39092</c:v>
                </c:pt>
                <c:pt idx="332">
                  <c:v>39093</c:v>
                </c:pt>
                <c:pt idx="333">
                  <c:v>39094</c:v>
                </c:pt>
                <c:pt idx="334">
                  <c:v>39098</c:v>
                </c:pt>
                <c:pt idx="335">
                  <c:v>39099</c:v>
                </c:pt>
                <c:pt idx="336">
                  <c:v>39100</c:v>
                </c:pt>
                <c:pt idx="337">
                  <c:v>39101</c:v>
                </c:pt>
                <c:pt idx="338">
                  <c:v>39104</c:v>
                </c:pt>
                <c:pt idx="339">
                  <c:v>39105</c:v>
                </c:pt>
                <c:pt idx="340">
                  <c:v>39106</c:v>
                </c:pt>
                <c:pt idx="341">
                  <c:v>39107</c:v>
                </c:pt>
                <c:pt idx="342">
                  <c:v>39108</c:v>
                </c:pt>
                <c:pt idx="343">
                  <c:v>39111</c:v>
                </c:pt>
                <c:pt idx="344">
                  <c:v>39112</c:v>
                </c:pt>
                <c:pt idx="345">
                  <c:v>39113</c:v>
                </c:pt>
                <c:pt idx="346">
                  <c:v>39114</c:v>
                </c:pt>
                <c:pt idx="347">
                  <c:v>39115</c:v>
                </c:pt>
                <c:pt idx="348">
                  <c:v>39118</c:v>
                </c:pt>
                <c:pt idx="349">
                  <c:v>39119</c:v>
                </c:pt>
                <c:pt idx="350">
                  <c:v>39120</c:v>
                </c:pt>
                <c:pt idx="351">
                  <c:v>39121</c:v>
                </c:pt>
                <c:pt idx="352">
                  <c:v>39122</c:v>
                </c:pt>
                <c:pt idx="353">
                  <c:v>39125</c:v>
                </c:pt>
                <c:pt idx="354">
                  <c:v>39126</c:v>
                </c:pt>
                <c:pt idx="355">
                  <c:v>39127</c:v>
                </c:pt>
                <c:pt idx="356">
                  <c:v>39128</c:v>
                </c:pt>
                <c:pt idx="357">
                  <c:v>39129</c:v>
                </c:pt>
                <c:pt idx="358">
                  <c:v>39133</c:v>
                </c:pt>
                <c:pt idx="359">
                  <c:v>39134</c:v>
                </c:pt>
                <c:pt idx="360">
                  <c:v>39135</c:v>
                </c:pt>
                <c:pt idx="361">
                  <c:v>39136</c:v>
                </c:pt>
                <c:pt idx="362">
                  <c:v>39139</c:v>
                </c:pt>
                <c:pt idx="363">
                  <c:v>39140</c:v>
                </c:pt>
                <c:pt idx="364">
                  <c:v>39141</c:v>
                </c:pt>
                <c:pt idx="365">
                  <c:v>39142</c:v>
                </c:pt>
                <c:pt idx="366">
                  <c:v>39143</c:v>
                </c:pt>
                <c:pt idx="367">
                  <c:v>39146</c:v>
                </c:pt>
                <c:pt idx="368">
                  <c:v>39147</c:v>
                </c:pt>
                <c:pt idx="369">
                  <c:v>39148</c:v>
                </c:pt>
                <c:pt idx="370">
                  <c:v>39149</c:v>
                </c:pt>
                <c:pt idx="371">
                  <c:v>39150</c:v>
                </c:pt>
                <c:pt idx="372">
                  <c:v>39153</c:v>
                </c:pt>
                <c:pt idx="373">
                  <c:v>39154</c:v>
                </c:pt>
                <c:pt idx="374">
                  <c:v>39155</c:v>
                </c:pt>
                <c:pt idx="375">
                  <c:v>39156</c:v>
                </c:pt>
                <c:pt idx="376">
                  <c:v>39157</c:v>
                </c:pt>
                <c:pt idx="377">
                  <c:v>39160</c:v>
                </c:pt>
                <c:pt idx="378">
                  <c:v>39161</c:v>
                </c:pt>
                <c:pt idx="379">
                  <c:v>39162</c:v>
                </c:pt>
                <c:pt idx="380">
                  <c:v>39163</c:v>
                </c:pt>
                <c:pt idx="381">
                  <c:v>39164</c:v>
                </c:pt>
                <c:pt idx="382">
                  <c:v>39167</c:v>
                </c:pt>
                <c:pt idx="383">
                  <c:v>39168</c:v>
                </c:pt>
                <c:pt idx="384">
                  <c:v>39169</c:v>
                </c:pt>
                <c:pt idx="385">
                  <c:v>39170</c:v>
                </c:pt>
                <c:pt idx="386">
                  <c:v>39171</c:v>
                </c:pt>
                <c:pt idx="387">
                  <c:v>39174</c:v>
                </c:pt>
                <c:pt idx="388">
                  <c:v>39175</c:v>
                </c:pt>
                <c:pt idx="389">
                  <c:v>39176</c:v>
                </c:pt>
                <c:pt idx="390">
                  <c:v>39177</c:v>
                </c:pt>
                <c:pt idx="391">
                  <c:v>39181</c:v>
                </c:pt>
                <c:pt idx="392">
                  <c:v>39182</c:v>
                </c:pt>
                <c:pt idx="393">
                  <c:v>39183</c:v>
                </c:pt>
                <c:pt idx="394">
                  <c:v>39184</c:v>
                </c:pt>
                <c:pt idx="395">
                  <c:v>39185</c:v>
                </c:pt>
                <c:pt idx="396">
                  <c:v>39188</c:v>
                </c:pt>
                <c:pt idx="397">
                  <c:v>39189</c:v>
                </c:pt>
                <c:pt idx="398">
                  <c:v>39190</c:v>
                </c:pt>
                <c:pt idx="399">
                  <c:v>39191</c:v>
                </c:pt>
                <c:pt idx="400">
                  <c:v>39192</c:v>
                </c:pt>
                <c:pt idx="401">
                  <c:v>39195</c:v>
                </c:pt>
                <c:pt idx="402">
                  <c:v>39196</c:v>
                </c:pt>
                <c:pt idx="403">
                  <c:v>39197</c:v>
                </c:pt>
                <c:pt idx="404">
                  <c:v>39198</c:v>
                </c:pt>
                <c:pt idx="405">
                  <c:v>39199</c:v>
                </c:pt>
                <c:pt idx="406">
                  <c:v>39202</c:v>
                </c:pt>
                <c:pt idx="407">
                  <c:v>39203</c:v>
                </c:pt>
                <c:pt idx="408">
                  <c:v>39204</c:v>
                </c:pt>
                <c:pt idx="409">
                  <c:v>39205</c:v>
                </c:pt>
                <c:pt idx="410">
                  <c:v>39206</c:v>
                </c:pt>
                <c:pt idx="411">
                  <c:v>39209</c:v>
                </c:pt>
                <c:pt idx="412">
                  <c:v>39210</c:v>
                </c:pt>
                <c:pt idx="413">
                  <c:v>39211</c:v>
                </c:pt>
                <c:pt idx="414">
                  <c:v>39212</c:v>
                </c:pt>
                <c:pt idx="415">
                  <c:v>39213</c:v>
                </c:pt>
                <c:pt idx="416">
                  <c:v>39216</c:v>
                </c:pt>
                <c:pt idx="417">
                  <c:v>39217</c:v>
                </c:pt>
                <c:pt idx="418">
                  <c:v>39218</c:v>
                </c:pt>
                <c:pt idx="419">
                  <c:v>39219</c:v>
                </c:pt>
                <c:pt idx="420">
                  <c:v>39220</c:v>
                </c:pt>
                <c:pt idx="421">
                  <c:v>39223</c:v>
                </c:pt>
                <c:pt idx="422">
                  <c:v>39224</c:v>
                </c:pt>
                <c:pt idx="423">
                  <c:v>39225</c:v>
                </c:pt>
                <c:pt idx="424">
                  <c:v>39226</c:v>
                </c:pt>
                <c:pt idx="425">
                  <c:v>39227</c:v>
                </c:pt>
                <c:pt idx="426">
                  <c:v>39231</c:v>
                </c:pt>
                <c:pt idx="427">
                  <c:v>39232</c:v>
                </c:pt>
                <c:pt idx="428">
                  <c:v>39233</c:v>
                </c:pt>
                <c:pt idx="429">
                  <c:v>39234</c:v>
                </c:pt>
                <c:pt idx="430">
                  <c:v>39237</c:v>
                </c:pt>
                <c:pt idx="431">
                  <c:v>39238</c:v>
                </c:pt>
                <c:pt idx="432">
                  <c:v>39239</c:v>
                </c:pt>
                <c:pt idx="433">
                  <c:v>39240</c:v>
                </c:pt>
                <c:pt idx="434">
                  <c:v>39241</c:v>
                </c:pt>
                <c:pt idx="435">
                  <c:v>39244</c:v>
                </c:pt>
                <c:pt idx="436">
                  <c:v>39245</c:v>
                </c:pt>
                <c:pt idx="437">
                  <c:v>39246</c:v>
                </c:pt>
                <c:pt idx="438">
                  <c:v>39247</c:v>
                </c:pt>
                <c:pt idx="439">
                  <c:v>39248</c:v>
                </c:pt>
                <c:pt idx="440">
                  <c:v>39251</c:v>
                </c:pt>
                <c:pt idx="441">
                  <c:v>39252</c:v>
                </c:pt>
                <c:pt idx="442">
                  <c:v>39253</c:v>
                </c:pt>
                <c:pt idx="443">
                  <c:v>39254</c:v>
                </c:pt>
                <c:pt idx="444">
                  <c:v>39255</c:v>
                </c:pt>
                <c:pt idx="445">
                  <c:v>39258</c:v>
                </c:pt>
                <c:pt idx="446">
                  <c:v>39259</c:v>
                </c:pt>
                <c:pt idx="447">
                  <c:v>39260</c:v>
                </c:pt>
                <c:pt idx="448">
                  <c:v>39261</c:v>
                </c:pt>
                <c:pt idx="449">
                  <c:v>39262</c:v>
                </c:pt>
                <c:pt idx="450">
                  <c:v>39265</c:v>
                </c:pt>
                <c:pt idx="451">
                  <c:v>39266</c:v>
                </c:pt>
                <c:pt idx="452">
                  <c:v>39268</c:v>
                </c:pt>
                <c:pt idx="453">
                  <c:v>39269</c:v>
                </c:pt>
                <c:pt idx="454">
                  <c:v>39272</c:v>
                </c:pt>
                <c:pt idx="455">
                  <c:v>39273</c:v>
                </c:pt>
                <c:pt idx="456">
                  <c:v>39274</c:v>
                </c:pt>
                <c:pt idx="457">
                  <c:v>39275</c:v>
                </c:pt>
                <c:pt idx="458">
                  <c:v>39276</c:v>
                </c:pt>
                <c:pt idx="459">
                  <c:v>39279</c:v>
                </c:pt>
                <c:pt idx="460">
                  <c:v>39280</c:v>
                </c:pt>
                <c:pt idx="461">
                  <c:v>39281</c:v>
                </c:pt>
                <c:pt idx="462">
                  <c:v>39282</c:v>
                </c:pt>
                <c:pt idx="463">
                  <c:v>39283</c:v>
                </c:pt>
                <c:pt idx="464">
                  <c:v>39286</c:v>
                </c:pt>
                <c:pt idx="465">
                  <c:v>39287</c:v>
                </c:pt>
                <c:pt idx="466">
                  <c:v>39288</c:v>
                </c:pt>
                <c:pt idx="467">
                  <c:v>39289</c:v>
                </c:pt>
                <c:pt idx="468">
                  <c:v>39290</c:v>
                </c:pt>
                <c:pt idx="469">
                  <c:v>39293</c:v>
                </c:pt>
                <c:pt idx="470">
                  <c:v>39294</c:v>
                </c:pt>
                <c:pt idx="471">
                  <c:v>39295</c:v>
                </c:pt>
                <c:pt idx="472">
                  <c:v>39296</c:v>
                </c:pt>
                <c:pt idx="473">
                  <c:v>39297</c:v>
                </c:pt>
                <c:pt idx="474">
                  <c:v>39300</c:v>
                </c:pt>
                <c:pt idx="475">
                  <c:v>39301</c:v>
                </c:pt>
                <c:pt idx="476">
                  <c:v>39302</c:v>
                </c:pt>
                <c:pt idx="477">
                  <c:v>39303</c:v>
                </c:pt>
                <c:pt idx="478">
                  <c:v>39304</c:v>
                </c:pt>
                <c:pt idx="479">
                  <c:v>39307</c:v>
                </c:pt>
                <c:pt idx="480">
                  <c:v>39308</c:v>
                </c:pt>
                <c:pt idx="481">
                  <c:v>39309</c:v>
                </c:pt>
                <c:pt idx="482">
                  <c:v>39310</c:v>
                </c:pt>
                <c:pt idx="483">
                  <c:v>39311</c:v>
                </c:pt>
                <c:pt idx="484">
                  <c:v>39314</c:v>
                </c:pt>
                <c:pt idx="485">
                  <c:v>39315</c:v>
                </c:pt>
                <c:pt idx="486">
                  <c:v>39316</c:v>
                </c:pt>
                <c:pt idx="487">
                  <c:v>39317</c:v>
                </c:pt>
                <c:pt idx="488">
                  <c:v>39318</c:v>
                </c:pt>
                <c:pt idx="489">
                  <c:v>39321</c:v>
                </c:pt>
                <c:pt idx="490">
                  <c:v>39322</c:v>
                </c:pt>
                <c:pt idx="491">
                  <c:v>39323</c:v>
                </c:pt>
                <c:pt idx="492">
                  <c:v>39324</c:v>
                </c:pt>
                <c:pt idx="493">
                  <c:v>39325</c:v>
                </c:pt>
                <c:pt idx="494">
                  <c:v>39329</c:v>
                </c:pt>
                <c:pt idx="495">
                  <c:v>39330</c:v>
                </c:pt>
                <c:pt idx="496">
                  <c:v>39331</c:v>
                </c:pt>
                <c:pt idx="497">
                  <c:v>39332</c:v>
                </c:pt>
                <c:pt idx="498">
                  <c:v>39335</c:v>
                </c:pt>
                <c:pt idx="499">
                  <c:v>39336</c:v>
                </c:pt>
                <c:pt idx="500">
                  <c:v>39337</c:v>
                </c:pt>
                <c:pt idx="501">
                  <c:v>39338</c:v>
                </c:pt>
                <c:pt idx="502">
                  <c:v>39339</c:v>
                </c:pt>
                <c:pt idx="503">
                  <c:v>39342</c:v>
                </c:pt>
                <c:pt idx="504">
                  <c:v>39343</c:v>
                </c:pt>
                <c:pt idx="505">
                  <c:v>39344</c:v>
                </c:pt>
                <c:pt idx="506">
                  <c:v>39345</c:v>
                </c:pt>
                <c:pt idx="507">
                  <c:v>39346</c:v>
                </c:pt>
                <c:pt idx="508">
                  <c:v>39349</c:v>
                </c:pt>
                <c:pt idx="509">
                  <c:v>39350</c:v>
                </c:pt>
                <c:pt idx="510">
                  <c:v>39351</c:v>
                </c:pt>
                <c:pt idx="511">
                  <c:v>39352</c:v>
                </c:pt>
                <c:pt idx="512">
                  <c:v>39353</c:v>
                </c:pt>
                <c:pt idx="513">
                  <c:v>39356</c:v>
                </c:pt>
                <c:pt idx="514">
                  <c:v>39357</c:v>
                </c:pt>
                <c:pt idx="515">
                  <c:v>39358</c:v>
                </c:pt>
                <c:pt idx="516">
                  <c:v>39359</c:v>
                </c:pt>
                <c:pt idx="517">
                  <c:v>39360</c:v>
                </c:pt>
                <c:pt idx="518">
                  <c:v>39363</c:v>
                </c:pt>
                <c:pt idx="519">
                  <c:v>39364</c:v>
                </c:pt>
                <c:pt idx="520">
                  <c:v>39365</c:v>
                </c:pt>
                <c:pt idx="521">
                  <c:v>39366</c:v>
                </c:pt>
                <c:pt idx="522">
                  <c:v>39367</c:v>
                </c:pt>
                <c:pt idx="523">
                  <c:v>39370</c:v>
                </c:pt>
                <c:pt idx="524">
                  <c:v>39371</c:v>
                </c:pt>
                <c:pt idx="525">
                  <c:v>39372</c:v>
                </c:pt>
                <c:pt idx="526">
                  <c:v>39373</c:v>
                </c:pt>
                <c:pt idx="527">
                  <c:v>39374</c:v>
                </c:pt>
                <c:pt idx="528">
                  <c:v>39377</c:v>
                </c:pt>
                <c:pt idx="529">
                  <c:v>39378</c:v>
                </c:pt>
                <c:pt idx="530">
                  <c:v>39379</c:v>
                </c:pt>
                <c:pt idx="531">
                  <c:v>39380</c:v>
                </c:pt>
                <c:pt idx="532">
                  <c:v>39381</c:v>
                </c:pt>
                <c:pt idx="533">
                  <c:v>39384</c:v>
                </c:pt>
                <c:pt idx="534">
                  <c:v>39385</c:v>
                </c:pt>
                <c:pt idx="535">
                  <c:v>39386</c:v>
                </c:pt>
                <c:pt idx="536">
                  <c:v>39387</c:v>
                </c:pt>
                <c:pt idx="537">
                  <c:v>39388</c:v>
                </c:pt>
                <c:pt idx="538">
                  <c:v>39391</c:v>
                </c:pt>
                <c:pt idx="539">
                  <c:v>39392</c:v>
                </c:pt>
                <c:pt idx="540">
                  <c:v>39393</c:v>
                </c:pt>
                <c:pt idx="541">
                  <c:v>39394</c:v>
                </c:pt>
                <c:pt idx="542">
                  <c:v>39395</c:v>
                </c:pt>
                <c:pt idx="543">
                  <c:v>39398</c:v>
                </c:pt>
                <c:pt idx="544">
                  <c:v>39399</c:v>
                </c:pt>
                <c:pt idx="545">
                  <c:v>39400</c:v>
                </c:pt>
                <c:pt idx="546">
                  <c:v>39401</c:v>
                </c:pt>
                <c:pt idx="547">
                  <c:v>39402</c:v>
                </c:pt>
                <c:pt idx="548">
                  <c:v>39405</c:v>
                </c:pt>
                <c:pt idx="549">
                  <c:v>39406</c:v>
                </c:pt>
                <c:pt idx="550">
                  <c:v>39407</c:v>
                </c:pt>
                <c:pt idx="551">
                  <c:v>39409</c:v>
                </c:pt>
                <c:pt idx="552">
                  <c:v>39412</c:v>
                </c:pt>
                <c:pt idx="553">
                  <c:v>39413</c:v>
                </c:pt>
                <c:pt idx="554">
                  <c:v>39414</c:v>
                </c:pt>
                <c:pt idx="555">
                  <c:v>39415</c:v>
                </c:pt>
                <c:pt idx="556">
                  <c:v>39416</c:v>
                </c:pt>
                <c:pt idx="557">
                  <c:v>39419</c:v>
                </c:pt>
                <c:pt idx="558">
                  <c:v>39420</c:v>
                </c:pt>
                <c:pt idx="559">
                  <c:v>39421</c:v>
                </c:pt>
                <c:pt idx="560">
                  <c:v>39422</c:v>
                </c:pt>
                <c:pt idx="561">
                  <c:v>39423</c:v>
                </c:pt>
                <c:pt idx="562">
                  <c:v>39426</c:v>
                </c:pt>
                <c:pt idx="563">
                  <c:v>39427</c:v>
                </c:pt>
                <c:pt idx="564">
                  <c:v>39428</c:v>
                </c:pt>
                <c:pt idx="565">
                  <c:v>39429</c:v>
                </c:pt>
                <c:pt idx="566">
                  <c:v>39430</c:v>
                </c:pt>
                <c:pt idx="567">
                  <c:v>39433</c:v>
                </c:pt>
                <c:pt idx="568">
                  <c:v>39434</c:v>
                </c:pt>
                <c:pt idx="569">
                  <c:v>39435</c:v>
                </c:pt>
                <c:pt idx="570">
                  <c:v>39436</c:v>
                </c:pt>
                <c:pt idx="571">
                  <c:v>39437</c:v>
                </c:pt>
                <c:pt idx="572">
                  <c:v>39440</c:v>
                </c:pt>
                <c:pt idx="573">
                  <c:v>39442</c:v>
                </c:pt>
                <c:pt idx="574">
                  <c:v>39443</c:v>
                </c:pt>
                <c:pt idx="575">
                  <c:v>39444</c:v>
                </c:pt>
                <c:pt idx="576">
                  <c:v>39447</c:v>
                </c:pt>
                <c:pt idx="577">
                  <c:v>39449</c:v>
                </c:pt>
                <c:pt idx="578">
                  <c:v>39450</c:v>
                </c:pt>
                <c:pt idx="579">
                  <c:v>39451</c:v>
                </c:pt>
                <c:pt idx="580">
                  <c:v>39454</c:v>
                </c:pt>
                <c:pt idx="581">
                  <c:v>39455</c:v>
                </c:pt>
                <c:pt idx="582">
                  <c:v>39456</c:v>
                </c:pt>
                <c:pt idx="583">
                  <c:v>39457</c:v>
                </c:pt>
                <c:pt idx="584">
                  <c:v>39458</c:v>
                </c:pt>
                <c:pt idx="585">
                  <c:v>39461</c:v>
                </c:pt>
                <c:pt idx="586">
                  <c:v>39462</c:v>
                </c:pt>
                <c:pt idx="587">
                  <c:v>39463</c:v>
                </c:pt>
                <c:pt idx="588">
                  <c:v>39464</c:v>
                </c:pt>
                <c:pt idx="589">
                  <c:v>39465</c:v>
                </c:pt>
                <c:pt idx="590">
                  <c:v>39469</c:v>
                </c:pt>
                <c:pt idx="591">
                  <c:v>39470</c:v>
                </c:pt>
                <c:pt idx="592">
                  <c:v>39471</c:v>
                </c:pt>
                <c:pt idx="593">
                  <c:v>39472</c:v>
                </c:pt>
                <c:pt idx="594">
                  <c:v>39475</c:v>
                </c:pt>
                <c:pt idx="595">
                  <c:v>39476</c:v>
                </c:pt>
                <c:pt idx="596">
                  <c:v>39477</c:v>
                </c:pt>
                <c:pt idx="597">
                  <c:v>39478</c:v>
                </c:pt>
                <c:pt idx="598">
                  <c:v>39479</c:v>
                </c:pt>
                <c:pt idx="599">
                  <c:v>39482</c:v>
                </c:pt>
                <c:pt idx="600">
                  <c:v>39483</c:v>
                </c:pt>
                <c:pt idx="601">
                  <c:v>39484</c:v>
                </c:pt>
                <c:pt idx="602">
                  <c:v>39485</c:v>
                </c:pt>
                <c:pt idx="603">
                  <c:v>39486</c:v>
                </c:pt>
                <c:pt idx="604">
                  <c:v>39489</c:v>
                </c:pt>
                <c:pt idx="605">
                  <c:v>39490</c:v>
                </c:pt>
                <c:pt idx="606">
                  <c:v>39491</c:v>
                </c:pt>
                <c:pt idx="607">
                  <c:v>39492</c:v>
                </c:pt>
                <c:pt idx="608">
                  <c:v>39493</c:v>
                </c:pt>
                <c:pt idx="609">
                  <c:v>39497</c:v>
                </c:pt>
                <c:pt idx="610">
                  <c:v>39498</c:v>
                </c:pt>
                <c:pt idx="611">
                  <c:v>39499</c:v>
                </c:pt>
                <c:pt idx="612">
                  <c:v>39500</c:v>
                </c:pt>
                <c:pt idx="613">
                  <c:v>39503</c:v>
                </c:pt>
                <c:pt idx="614">
                  <c:v>39504</c:v>
                </c:pt>
                <c:pt idx="615">
                  <c:v>39505</c:v>
                </c:pt>
                <c:pt idx="616">
                  <c:v>39506</c:v>
                </c:pt>
                <c:pt idx="617">
                  <c:v>39507</c:v>
                </c:pt>
                <c:pt idx="618">
                  <c:v>39510</c:v>
                </c:pt>
                <c:pt idx="619">
                  <c:v>39511</c:v>
                </c:pt>
                <c:pt idx="620">
                  <c:v>39512</c:v>
                </c:pt>
                <c:pt idx="621">
                  <c:v>39513</c:v>
                </c:pt>
                <c:pt idx="622">
                  <c:v>39514</c:v>
                </c:pt>
                <c:pt idx="623">
                  <c:v>39517</c:v>
                </c:pt>
                <c:pt idx="624">
                  <c:v>39518</c:v>
                </c:pt>
                <c:pt idx="625">
                  <c:v>39519</c:v>
                </c:pt>
                <c:pt idx="626">
                  <c:v>39520</c:v>
                </c:pt>
                <c:pt idx="627">
                  <c:v>39521</c:v>
                </c:pt>
                <c:pt idx="628">
                  <c:v>39524</c:v>
                </c:pt>
                <c:pt idx="629">
                  <c:v>39525</c:v>
                </c:pt>
                <c:pt idx="630">
                  <c:v>39526</c:v>
                </c:pt>
                <c:pt idx="631">
                  <c:v>39527</c:v>
                </c:pt>
                <c:pt idx="632">
                  <c:v>39531</c:v>
                </c:pt>
                <c:pt idx="633">
                  <c:v>39532</c:v>
                </c:pt>
                <c:pt idx="634">
                  <c:v>39533</c:v>
                </c:pt>
                <c:pt idx="635">
                  <c:v>39534</c:v>
                </c:pt>
                <c:pt idx="636">
                  <c:v>39535</c:v>
                </c:pt>
                <c:pt idx="637">
                  <c:v>39538</c:v>
                </c:pt>
                <c:pt idx="638">
                  <c:v>39539</c:v>
                </c:pt>
                <c:pt idx="639">
                  <c:v>39540</c:v>
                </c:pt>
                <c:pt idx="640">
                  <c:v>39541</c:v>
                </c:pt>
                <c:pt idx="641">
                  <c:v>39542</c:v>
                </c:pt>
                <c:pt idx="642">
                  <c:v>39545</c:v>
                </c:pt>
                <c:pt idx="643">
                  <c:v>39546</c:v>
                </c:pt>
                <c:pt idx="644">
                  <c:v>39547</c:v>
                </c:pt>
                <c:pt idx="645">
                  <c:v>39548</c:v>
                </c:pt>
                <c:pt idx="646">
                  <c:v>39549</c:v>
                </c:pt>
                <c:pt idx="647">
                  <c:v>39552</c:v>
                </c:pt>
                <c:pt idx="648">
                  <c:v>39553</c:v>
                </c:pt>
                <c:pt idx="649">
                  <c:v>39554</c:v>
                </c:pt>
                <c:pt idx="650">
                  <c:v>39555</c:v>
                </c:pt>
                <c:pt idx="651">
                  <c:v>39556</c:v>
                </c:pt>
                <c:pt idx="652">
                  <c:v>39559</c:v>
                </c:pt>
                <c:pt idx="653">
                  <c:v>39560</c:v>
                </c:pt>
                <c:pt idx="654">
                  <c:v>39561</c:v>
                </c:pt>
                <c:pt idx="655">
                  <c:v>39562</c:v>
                </c:pt>
                <c:pt idx="656">
                  <c:v>39563</c:v>
                </c:pt>
                <c:pt idx="657">
                  <c:v>39566</c:v>
                </c:pt>
                <c:pt idx="658">
                  <c:v>39567</c:v>
                </c:pt>
                <c:pt idx="659">
                  <c:v>39568</c:v>
                </c:pt>
                <c:pt idx="660">
                  <c:v>39569</c:v>
                </c:pt>
                <c:pt idx="661">
                  <c:v>39570</c:v>
                </c:pt>
                <c:pt idx="662">
                  <c:v>39573</c:v>
                </c:pt>
                <c:pt idx="663">
                  <c:v>39574</c:v>
                </c:pt>
                <c:pt idx="664">
                  <c:v>39575</c:v>
                </c:pt>
                <c:pt idx="665">
                  <c:v>39576</c:v>
                </c:pt>
                <c:pt idx="666">
                  <c:v>39577</c:v>
                </c:pt>
                <c:pt idx="667">
                  <c:v>39580</c:v>
                </c:pt>
                <c:pt idx="668">
                  <c:v>39581</c:v>
                </c:pt>
                <c:pt idx="669">
                  <c:v>39582</c:v>
                </c:pt>
                <c:pt idx="670">
                  <c:v>39583</c:v>
                </c:pt>
                <c:pt idx="671">
                  <c:v>39584</c:v>
                </c:pt>
                <c:pt idx="672">
                  <c:v>39587</c:v>
                </c:pt>
                <c:pt idx="673">
                  <c:v>39588</c:v>
                </c:pt>
                <c:pt idx="674">
                  <c:v>39589</c:v>
                </c:pt>
                <c:pt idx="675">
                  <c:v>39590</c:v>
                </c:pt>
                <c:pt idx="676">
                  <c:v>39591</c:v>
                </c:pt>
                <c:pt idx="677">
                  <c:v>39595</c:v>
                </c:pt>
                <c:pt idx="678">
                  <c:v>39596</c:v>
                </c:pt>
                <c:pt idx="679">
                  <c:v>39597</c:v>
                </c:pt>
                <c:pt idx="680">
                  <c:v>39598</c:v>
                </c:pt>
                <c:pt idx="681">
                  <c:v>39601</c:v>
                </c:pt>
                <c:pt idx="682">
                  <c:v>39602</c:v>
                </c:pt>
                <c:pt idx="683">
                  <c:v>39603</c:v>
                </c:pt>
                <c:pt idx="684">
                  <c:v>39604</c:v>
                </c:pt>
                <c:pt idx="685">
                  <c:v>39605</c:v>
                </c:pt>
                <c:pt idx="686">
                  <c:v>39608</c:v>
                </c:pt>
                <c:pt idx="687">
                  <c:v>39609</c:v>
                </c:pt>
                <c:pt idx="688">
                  <c:v>39610</c:v>
                </c:pt>
                <c:pt idx="689">
                  <c:v>39611</c:v>
                </c:pt>
                <c:pt idx="690">
                  <c:v>39612</c:v>
                </c:pt>
                <c:pt idx="691">
                  <c:v>39615</c:v>
                </c:pt>
                <c:pt idx="692">
                  <c:v>39616</c:v>
                </c:pt>
                <c:pt idx="693">
                  <c:v>39617</c:v>
                </c:pt>
                <c:pt idx="694">
                  <c:v>39618</c:v>
                </c:pt>
                <c:pt idx="695">
                  <c:v>39619</c:v>
                </c:pt>
                <c:pt idx="696">
                  <c:v>39622</c:v>
                </c:pt>
                <c:pt idx="697">
                  <c:v>39623</c:v>
                </c:pt>
                <c:pt idx="698">
                  <c:v>39624</c:v>
                </c:pt>
                <c:pt idx="699">
                  <c:v>39625</c:v>
                </c:pt>
                <c:pt idx="700">
                  <c:v>39626</c:v>
                </c:pt>
                <c:pt idx="701">
                  <c:v>39629</c:v>
                </c:pt>
                <c:pt idx="702">
                  <c:v>39630</c:v>
                </c:pt>
                <c:pt idx="703">
                  <c:v>39631</c:v>
                </c:pt>
                <c:pt idx="704">
                  <c:v>39632</c:v>
                </c:pt>
                <c:pt idx="705">
                  <c:v>39636</c:v>
                </c:pt>
                <c:pt idx="706">
                  <c:v>39637</c:v>
                </c:pt>
                <c:pt idx="707">
                  <c:v>39638</c:v>
                </c:pt>
                <c:pt idx="708">
                  <c:v>39639</c:v>
                </c:pt>
                <c:pt idx="709">
                  <c:v>39640</c:v>
                </c:pt>
                <c:pt idx="710">
                  <c:v>39643</c:v>
                </c:pt>
                <c:pt idx="711">
                  <c:v>39644</c:v>
                </c:pt>
                <c:pt idx="712">
                  <c:v>39645</c:v>
                </c:pt>
                <c:pt idx="713">
                  <c:v>39646</c:v>
                </c:pt>
                <c:pt idx="714">
                  <c:v>39647</c:v>
                </c:pt>
                <c:pt idx="715">
                  <c:v>39650</c:v>
                </c:pt>
                <c:pt idx="716">
                  <c:v>39651</c:v>
                </c:pt>
                <c:pt idx="717">
                  <c:v>39652</c:v>
                </c:pt>
                <c:pt idx="718">
                  <c:v>39653</c:v>
                </c:pt>
                <c:pt idx="719">
                  <c:v>39654</c:v>
                </c:pt>
                <c:pt idx="720">
                  <c:v>39657</c:v>
                </c:pt>
                <c:pt idx="721">
                  <c:v>39658</c:v>
                </c:pt>
                <c:pt idx="722">
                  <c:v>39659</c:v>
                </c:pt>
                <c:pt idx="723">
                  <c:v>39660</c:v>
                </c:pt>
                <c:pt idx="724">
                  <c:v>39661</c:v>
                </c:pt>
                <c:pt idx="725">
                  <c:v>39664</c:v>
                </c:pt>
                <c:pt idx="726">
                  <c:v>39665</c:v>
                </c:pt>
                <c:pt idx="727">
                  <c:v>39666</c:v>
                </c:pt>
                <c:pt idx="728">
                  <c:v>39667</c:v>
                </c:pt>
                <c:pt idx="729">
                  <c:v>39668</c:v>
                </c:pt>
                <c:pt idx="730">
                  <c:v>39671</c:v>
                </c:pt>
                <c:pt idx="731">
                  <c:v>39672</c:v>
                </c:pt>
                <c:pt idx="732">
                  <c:v>39673</c:v>
                </c:pt>
                <c:pt idx="733">
                  <c:v>39674</c:v>
                </c:pt>
                <c:pt idx="734">
                  <c:v>39675</c:v>
                </c:pt>
                <c:pt idx="735">
                  <c:v>39678</c:v>
                </c:pt>
                <c:pt idx="736">
                  <c:v>39679</c:v>
                </c:pt>
                <c:pt idx="737">
                  <c:v>39680</c:v>
                </c:pt>
                <c:pt idx="738">
                  <c:v>39681</c:v>
                </c:pt>
                <c:pt idx="739">
                  <c:v>39682</c:v>
                </c:pt>
                <c:pt idx="740">
                  <c:v>39685</c:v>
                </c:pt>
                <c:pt idx="741">
                  <c:v>39686</c:v>
                </c:pt>
                <c:pt idx="742">
                  <c:v>39687</c:v>
                </c:pt>
                <c:pt idx="743">
                  <c:v>39688</c:v>
                </c:pt>
                <c:pt idx="744">
                  <c:v>39689</c:v>
                </c:pt>
                <c:pt idx="745">
                  <c:v>39693</c:v>
                </c:pt>
                <c:pt idx="746">
                  <c:v>39694</c:v>
                </c:pt>
                <c:pt idx="747">
                  <c:v>39695</c:v>
                </c:pt>
                <c:pt idx="748">
                  <c:v>39696</c:v>
                </c:pt>
                <c:pt idx="749">
                  <c:v>39699</c:v>
                </c:pt>
                <c:pt idx="750">
                  <c:v>39700</c:v>
                </c:pt>
                <c:pt idx="751">
                  <c:v>39701</c:v>
                </c:pt>
                <c:pt idx="752">
                  <c:v>39702</c:v>
                </c:pt>
                <c:pt idx="753">
                  <c:v>39703</c:v>
                </c:pt>
                <c:pt idx="754">
                  <c:v>39706</c:v>
                </c:pt>
                <c:pt idx="755">
                  <c:v>39707</c:v>
                </c:pt>
                <c:pt idx="756">
                  <c:v>39708</c:v>
                </c:pt>
                <c:pt idx="757">
                  <c:v>39709</c:v>
                </c:pt>
                <c:pt idx="758">
                  <c:v>39710</c:v>
                </c:pt>
                <c:pt idx="759">
                  <c:v>39713</c:v>
                </c:pt>
                <c:pt idx="760">
                  <c:v>39714</c:v>
                </c:pt>
                <c:pt idx="761">
                  <c:v>39715</c:v>
                </c:pt>
                <c:pt idx="762">
                  <c:v>39716</c:v>
                </c:pt>
                <c:pt idx="763">
                  <c:v>39717</c:v>
                </c:pt>
                <c:pt idx="764">
                  <c:v>39720</c:v>
                </c:pt>
                <c:pt idx="765">
                  <c:v>39721</c:v>
                </c:pt>
                <c:pt idx="766">
                  <c:v>39722</c:v>
                </c:pt>
                <c:pt idx="767">
                  <c:v>39723</c:v>
                </c:pt>
                <c:pt idx="768">
                  <c:v>39724</c:v>
                </c:pt>
                <c:pt idx="769">
                  <c:v>39727</c:v>
                </c:pt>
                <c:pt idx="770">
                  <c:v>39728</c:v>
                </c:pt>
                <c:pt idx="771">
                  <c:v>39729</c:v>
                </c:pt>
                <c:pt idx="772">
                  <c:v>39730</c:v>
                </c:pt>
                <c:pt idx="773">
                  <c:v>39731</c:v>
                </c:pt>
                <c:pt idx="774">
                  <c:v>39734</c:v>
                </c:pt>
                <c:pt idx="775">
                  <c:v>39735</c:v>
                </c:pt>
                <c:pt idx="776">
                  <c:v>39736</c:v>
                </c:pt>
                <c:pt idx="777">
                  <c:v>39737</c:v>
                </c:pt>
                <c:pt idx="778">
                  <c:v>39738</c:v>
                </c:pt>
                <c:pt idx="779">
                  <c:v>39741</c:v>
                </c:pt>
                <c:pt idx="780">
                  <c:v>39742</c:v>
                </c:pt>
                <c:pt idx="781">
                  <c:v>39743</c:v>
                </c:pt>
                <c:pt idx="782">
                  <c:v>39744</c:v>
                </c:pt>
                <c:pt idx="783">
                  <c:v>39745</c:v>
                </c:pt>
                <c:pt idx="784">
                  <c:v>39748</c:v>
                </c:pt>
                <c:pt idx="785">
                  <c:v>39749</c:v>
                </c:pt>
                <c:pt idx="786">
                  <c:v>39750</c:v>
                </c:pt>
                <c:pt idx="787">
                  <c:v>39751</c:v>
                </c:pt>
                <c:pt idx="788">
                  <c:v>39752</c:v>
                </c:pt>
                <c:pt idx="789">
                  <c:v>39755</c:v>
                </c:pt>
                <c:pt idx="790">
                  <c:v>39756</c:v>
                </c:pt>
                <c:pt idx="791">
                  <c:v>39757</c:v>
                </c:pt>
                <c:pt idx="792">
                  <c:v>39758</c:v>
                </c:pt>
                <c:pt idx="793">
                  <c:v>39759</c:v>
                </c:pt>
                <c:pt idx="794">
                  <c:v>39762</c:v>
                </c:pt>
                <c:pt idx="795">
                  <c:v>39763</c:v>
                </c:pt>
                <c:pt idx="796">
                  <c:v>39764</c:v>
                </c:pt>
                <c:pt idx="797">
                  <c:v>39765</c:v>
                </c:pt>
                <c:pt idx="798">
                  <c:v>39766</c:v>
                </c:pt>
                <c:pt idx="799">
                  <c:v>39769</c:v>
                </c:pt>
                <c:pt idx="800">
                  <c:v>39770</c:v>
                </c:pt>
                <c:pt idx="801">
                  <c:v>39771</c:v>
                </c:pt>
                <c:pt idx="802">
                  <c:v>39772</c:v>
                </c:pt>
                <c:pt idx="803">
                  <c:v>39773</c:v>
                </c:pt>
                <c:pt idx="804">
                  <c:v>39776</c:v>
                </c:pt>
                <c:pt idx="805">
                  <c:v>39777</c:v>
                </c:pt>
                <c:pt idx="806">
                  <c:v>39778</c:v>
                </c:pt>
                <c:pt idx="807">
                  <c:v>39780</c:v>
                </c:pt>
                <c:pt idx="808">
                  <c:v>39783</c:v>
                </c:pt>
                <c:pt idx="809">
                  <c:v>39784</c:v>
                </c:pt>
                <c:pt idx="810">
                  <c:v>39785</c:v>
                </c:pt>
                <c:pt idx="811">
                  <c:v>39786</c:v>
                </c:pt>
                <c:pt idx="812">
                  <c:v>39787</c:v>
                </c:pt>
                <c:pt idx="813">
                  <c:v>39790</c:v>
                </c:pt>
                <c:pt idx="814">
                  <c:v>39791</c:v>
                </c:pt>
                <c:pt idx="815">
                  <c:v>39792</c:v>
                </c:pt>
                <c:pt idx="816">
                  <c:v>39793</c:v>
                </c:pt>
                <c:pt idx="817">
                  <c:v>39794</c:v>
                </c:pt>
                <c:pt idx="818">
                  <c:v>39797</c:v>
                </c:pt>
                <c:pt idx="819">
                  <c:v>39798</c:v>
                </c:pt>
                <c:pt idx="820">
                  <c:v>39799</c:v>
                </c:pt>
                <c:pt idx="821">
                  <c:v>39800</c:v>
                </c:pt>
                <c:pt idx="822">
                  <c:v>39801</c:v>
                </c:pt>
                <c:pt idx="823">
                  <c:v>39804</c:v>
                </c:pt>
                <c:pt idx="824">
                  <c:v>39805</c:v>
                </c:pt>
                <c:pt idx="825">
                  <c:v>39806</c:v>
                </c:pt>
                <c:pt idx="826">
                  <c:v>39808</c:v>
                </c:pt>
                <c:pt idx="827">
                  <c:v>39811</c:v>
                </c:pt>
                <c:pt idx="828">
                  <c:v>39812</c:v>
                </c:pt>
                <c:pt idx="829">
                  <c:v>39813</c:v>
                </c:pt>
                <c:pt idx="830">
                  <c:v>39815</c:v>
                </c:pt>
                <c:pt idx="831">
                  <c:v>39818</c:v>
                </c:pt>
                <c:pt idx="832">
                  <c:v>39819</c:v>
                </c:pt>
                <c:pt idx="833">
                  <c:v>39820</c:v>
                </c:pt>
                <c:pt idx="834">
                  <c:v>39821</c:v>
                </c:pt>
                <c:pt idx="835">
                  <c:v>39822</c:v>
                </c:pt>
                <c:pt idx="836">
                  <c:v>39825</c:v>
                </c:pt>
                <c:pt idx="837">
                  <c:v>39826</c:v>
                </c:pt>
                <c:pt idx="838">
                  <c:v>39827</c:v>
                </c:pt>
                <c:pt idx="839">
                  <c:v>39828</c:v>
                </c:pt>
                <c:pt idx="840">
                  <c:v>39829</c:v>
                </c:pt>
                <c:pt idx="841">
                  <c:v>39833</c:v>
                </c:pt>
                <c:pt idx="842">
                  <c:v>39834</c:v>
                </c:pt>
                <c:pt idx="843">
                  <c:v>39835</c:v>
                </c:pt>
                <c:pt idx="844">
                  <c:v>39836</c:v>
                </c:pt>
                <c:pt idx="845">
                  <c:v>39839</c:v>
                </c:pt>
                <c:pt idx="846">
                  <c:v>39840</c:v>
                </c:pt>
                <c:pt idx="847">
                  <c:v>39841</c:v>
                </c:pt>
                <c:pt idx="848">
                  <c:v>39842</c:v>
                </c:pt>
                <c:pt idx="849">
                  <c:v>39843</c:v>
                </c:pt>
                <c:pt idx="850">
                  <c:v>39846</c:v>
                </c:pt>
                <c:pt idx="851">
                  <c:v>39847</c:v>
                </c:pt>
                <c:pt idx="852">
                  <c:v>39848</c:v>
                </c:pt>
                <c:pt idx="853">
                  <c:v>39849</c:v>
                </c:pt>
                <c:pt idx="854">
                  <c:v>39850</c:v>
                </c:pt>
                <c:pt idx="855">
                  <c:v>39853</c:v>
                </c:pt>
                <c:pt idx="856">
                  <c:v>39854</c:v>
                </c:pt>
                <c:pt idx="857">
                  <c:v>39855</c:v>
                </c:pt>
                <c:pt idx="858">
                  <c:v>39856</c:v>
                </c:pt>
                <c:pt idx="859">
                  <c:v>39857</c:v>
                </c:pt>
                <c:pt idx="860">
                  <c:v>39861</c:v>
                </c:pt>
                <c:pt idx="861">
                  <c:v>39862</c:v>
                </c:pt>
                <c:pt idx="862">
                  <c:v>39863</c:v>
                </c:pt>
                <c:pt idx="863">
                  <c:v>39864</c:v>
                </c:pt>
                <c:pt idx="864">
                  <c:v>39867</c:v>
                </c:pt>
                <c:pt idx="865">
                  <c:v>39868</c:v>
                </c:pt>
                <c:pt idx="866">
                  <c:v>39869</c:v>
                </c:pt>
                <c:pt idx="867">
                  <c:v>39870</c:v>
                </c:pt>
                <c:pt idx="868">
                  <c:v>39871</c:v>
                </c:pt>
                <c:pt idx="869">
                  <c:v>39874</c:v>
                </c:pt>
                <c:pt idx="870">
                  <c:v>39875</c:v>
                </c:pt>
                <c:pt idx="871">
                  <c:v>39876</c:v>
                </c:pt>
                <c:pt idx="872">
                  <c:v>39877</c:v>
                </c:pt>
                <c:pt idx="873">
                  <c:v>39878</c:v>
                </c:pt>
                <c:pt idx="874">
                  <c:v>39881</c:v>
                </c:pt>
                <c:pt idx="875">
                  <c:v>39882</c:v>
                </c:pt>
                <c:pt idx="876">
                  <c:v>39883</c:v>
                </c:pt>
                <c:pt idx="877">
                  <c:v>39884</c:v>
                </c:pt>
                <c:pt idx="878">
                  <c:v>39885</c:v>
                </c:pt>
                <c:pt idx="879">
                  <c:v>39888</c:v>
                </c:pt>
                <c:pt idx="880">
                  <c:v>39889</c:v>
                </c:pt>
                <c:pt idx="881">
                  <c:v>39890</c:v>
                </c:pt>
                <c:pt idx="882">
                  <c:v>39891</c:v>
                </c:pt>
                <c:pt idx="883">
                  <c:v>39892</c:v>
                </c:pt>
                <c:pt idx="884">
                  <c:v>39895</c:v>
                </c:pt>
                <c:pt idx="885">
                  <c:v>39896</c:v>
                </c:pt>
                <c:pt idx="886">
                  <c:v>39897</c:v>
                </c:pt>
                <c:pt idx="887">
                  <c:v>39898</c:v>
                </c:pt>
                <c:pt idx="888">
                  <c:v>39899</c:v>
                </c:pt>
                <c:pt idx="889">
                  <c:v>39902</c:v>
                </c:pt>
                <c:pt idx="890">
                  <c:v>39903</c:v>
                </c:pt>
                <c:pt idx="891">
                  <c:v>39904</c:v>
                </c:pt>
                <c:pt idx="892">
                  <c:v>39905</c:v>
                </c:pt>
                <c:pt idx="893">
                  <c:v>39906</c:v>
                </c:pt>
                <c:pt idx="894">
                  <c:v>39909</c:v>
                </c:pt>
                <c:pt idx="895">
                  <c:v>39910</c:v>
                </c:pt>
                <c:pt idx="896">
                  <c:v>39911</c:v>
                </c:pt>
                <c:pt idx="897">
                  <c:v>39912</c:v>
                </c:pt>
                <c:pt idx="898">
                  <c:v>39916</c:v>
                </c:pt>
                <c:pt idx="899">
                  <c:v>39917</c:v>
                </c:pt>
                <c:pt idx="900">
                  <c:v>39918</c:v>
                </c:pt>
                <c:pt idx="901">
                  <c:v>39919</c:v>
                </c:pt>
                <c:pt idx="902">
                  <c:v>39920</c:v>
                </c:pt>
                <c:pt idx="903">
                  <c:v>39923</c:v>
                </c:pt>
                <c:pt idx="904">
                  <c:v>39924</c:v>
                </c:pt>
                <c:pt idx="905">
                  <c:v>39925</c:v>
                </c:pt>
                <c:pt idx="906">
                  <c:v>39926</c:v>
                </c:pt>
                <c:pt idx="907">
                  <c:v>39927</c:v>
                </c:pt>
                <c:pt idx="908">
                  <c:v>39930</c:v>
                </c:pt>
                <c:pt idx="909">
                  <c:v>39931</c:v>
                </c:pt>
                <c:pt idx="910">
                  <c:v>39932</c:v>
                </c:pt>
                <c:pt idx="911">
                  <c:v>39933</c:v>
                </c:pt>
                <c:pt idx="912">
                  <c:v>39934</c:v>
                </c:pt>
                <c:pt idx="913">
                  <c:v>39937</c:v>
                </c:pt>
                <c:pt idx="914">
                  <c:v>39938</c:v>
                </c:pt>
                <c:pt idx="915">
                  <c:v>39939</c:v>
                </c:pt>
                <c:pt idx="916">
                  <c:v>39940</c:v>
                </c:pt>
                <c:pt idx="917">
                  <c:v>39941</c:v>
                </c:pt>
                <c:pt idx="918">
                  <c:v>39944</c:v>
                </c:pt>
                <c:pt idx="919">
                  <c:v>39945</c:v>
                </c:pt>
                <c:pt idx="920">
                  <c:v>39946</c:v>
                </c:pt>
                <c:pt idx="921">
                  <c:v>39947</c:v>
                </c:pt>
                <c:pt idx="922">
                  <c:v>39948</c:v>
                </c:pt>
                <c:pt idx="923">
                  <c:v>39951</c:v>
                </c:pt>
                <c:pt idx="924">
                  <c:v>39952</c:v>
                </c:pt>
                <c:pt idx="925">
                  <c:v>39953</c:v>
                </c:pt>
                <c:pt idx="926">
                  <c:v>39954</c:v>
                </c:pt>
                <c:pt idx="927">
                  <c:v>39955</c:v>
                </c:pt>
                <c:pt idx="928">
                  <c:v>39959</c:v>
                </c:pt>
                <c:pt idx="929">
                  <c:v>39960</c:v>
                </c:pt>
                <c:pt idx="930">
                  <c:v>39961</c:v>
                </c:pt>
                <c:pt idx="931">
                  <c:v>39962</c:v>
                </c:pt>
                <c:pt idx="932">
                  <c:v>39965</c:v>
                </c:pt>
                <c:pt idx="933">
                  <c:v>39966</c:v>
                </c:pt>
                <c:pt idx="934">
                  <c:v>39967</c:v>
                </c:pt>
                <c:pt idx="935">
                  <c:v>39968</c:v>
                </c:pt>
                <c:pt idx="936">
                  <c:v>39969</c:v>
                </c:pt>
                <c:pt idx="937">
                  <c:v>39972</c:v>
                </c:pt>
                <c:pt idx="938">
                  <c:v>39973</c:v>
                </c:pt>
                <c:pt idx="939">
                  <c:v>39974</c:v>
                </c:pt>
                <c:pt idx="940">
                  <c:v>39975</c:v>
                </c:pt>
                <c:pt idx="941">
                  <c:v>39976</c:v>
                </c:pt>
                <c:pt idx="942">
                  <c:v>39979</c:v>
                </c:pt>
                <c:pt idx="943">
                  <c:v>39980</c:v>
                </c:pt>
                <c:pt idx="944">
                  <c:v>39981</c:v>
                </c:pt>
                <c:pt idx="945">
                  <c:v>39982</c:v>
                </c:pt>
                <c:pt idx="946">
                  <c:v>39983</c:v>
                </c:pt>
                <c:pt idx="947">
                  <c:v>39986</c:v>
                </c:pt>
                <c:pt idx="948">
                  <c:v>39987</c:v>
                </c:pt>
                <c:pt idx="949">
                  <c:v>39988</c:v>
                </c:pt>
                <c:pt idx="950">
                  <c:v>39989</c:v>
                </c:pt>
                <c:pt idx="951">
                  <c:v>39990</c:v>
                </c:pt>
                <c:pt idx="952">
                  <c:v>39993</c:v>
                </c:pt>
                <c:pt idx="953">
                  <c:v>39994</c:v>
                </c:pt>
                <c:pt idx="954">
                  <c:v>39995</c:v>
                </c:pt>
                <c:pt idx="955">
                  <c:v>39996</c:v>
                </c:pt>
                <c:pt idx="956">
                  <c:v>40000</c:v>
                </c:pt>
                <c:pt idx="957">
                  <c:v>40001</c:v>
                </c:pt>
                <c:pt idx="958">
                  <c:v>40002</c:v>
                </c:pt>
                <c:pt idx="959">
                  <c:v>40003</c:v>
                </c:pt>
                <c:pt idx="960">
                  <c:v>40004</c:v>
                </c:pt>
                <c:pt idx="961">
                  <c:v>40007</c:v>
                </c:pt>
                <c:pt idx="962">
                  <c:v>40008</c:v>
                </c:pt>
                <c:pt idx="963">
                  <c:v>40009</c:v>
                </c:pt>
                <c:pt idx="964">
                  <c:v>40010</c:v>
                </c:pt>
                <c:pt idx="965">
                  <c:v>40011</c:v>
                </c:pt>
                <c:pt idx="966">
                  <c:v>40014</c:v>
                </c:pt>
                <c:pt idx="967">
                  <c:v>40015</c:v>
                </c:pt>
                <c:pt idx="968">
                  <c:v>40016</c:v>
                </c:pt>
                <c:pt idx="969">
                  <c:v>40017</c:v>
                </c:pt>
                <c:pt idx="970">
                  <c:v>40018</c:v>
                </c:pt>
                <c:pt idx="971">
                  <c:v>40021</c:v>
                </c:pt>
                <c:pt idx="972">
                  <c:v>40022</c:v>
                </c:pt>
                <c:pt idx="973">
                  <c:v>40023</c:v>
                </c:pt>
                <c:pt idx="974">
                  <c:v>40024</c:v>
                </c:pt>
                <c:pt idx="975">
                  <c:v>40025</c:v>
                </c:pt>
                <c:pt idx="976">
                  <c:v>40028</c:v>
                </c:pt>
                <c:pt idx="977">
                  <c:v>40029</c:v>
                </c:pt>
                <c:pt idx="978">
                  <c:v>40030</c:v>
                </c:pt>
                <c:pt idx="979">
                  <c:v>40031</c:v>
                </c:pt>
                <c:pt idx="980">
                  <c:v>40032</c:v>
                </c:pt>
                <c:pt idx="981">
                  <c:v>40035</c:v>
                </c:pt>
                <c:pt idx="982">
                  <c:v>40036</c:v>
                </c:pt>
                <c:pt idx="983">
                  <c:v>40037</c:v>
                </c:pt>
                <c:pt idx="984">
                  <c:v>40038</c:v>
                </c:pt>
                <c:pt idx="985">
                  <c:v>40039</c:v>
                </c:pt>
                <c:pt idx="986">
                  <c:v>40042</c:v>
                </c:pt>
                <c:pt idx="987">
                  <c:v>40043</c:v>
                </c:pt>
                <c:pt idx="988">
                  <c:v>40044</c:v>
                </c:pt>
                <c:pt idx="989">
                  <c:v>40045</c:v>
                </c:pt>
                <c:pt idx="990">
                  <c:v>40046</c:v>
                </c:pt>
                <c:pt idx="991">
                  <c:v>40049</c:v>
                </c:pt>
                <c:pt idx="992">
                  <c:v>40050</c:v>
                </c:pt>
                <c:pt idx="993">
                  <c:v>40051</c:v>
                </c:pt>
                <c:pt idx="994">
                  <c:v>40052</c:v>
                </c:pt>
                <c:pt idx="995">
                  <c:v>40053</c:v>
                </c:pt>
                <c:pt idx="996">
                  <c:v>40056</c:v>
                </c:pt>
                <c:pt idx="997">
                  <c:v>40057</c:v>
                </c:pt>
                <c:pt idx="998">
                  <c:v>40058</c:v>
                </c:pt>
                <c:pt idx="999">
                  <c:v>40059</c:v>
                </c:pt>
                <c:pt idx="1000">
                  <c:v>40060</c:v>
                </c:pt>
                <c:pt idx="1001">
                  <c:v>40064</c:v>
                </c:pt>
                <c:pt idx="1002">
                  <c:v>40065</c:v>
                </c:pt>
                <c:pt idx="1003">
                  <c:v>40066</c:v>
                </c:pt>
                <c:pt idx="1004">
                  <c:v>40067</c:v>
                </c:pt>
                <c:pt idx="1005">
                  <c:v>40070</c:v>
                </c:pt>
                <c:pt idx="1006">
                  <c:v>40071</c:v>
                </c:pt>
                <c:pt idx="1007">
                  <c:v>40072</c:v>
                </c:pt>
                <c:pt idx="1008">
                  <c:v>40073</c:v>
                </c:pt>
                <c:pt idx="1009">
                  <c:v>40074</c:v>
                </c:pt>
                <c:pt idx="1010">
                  <c:v>40077</c:v>
                </c:pt>
                <c:pt idx="1011">
                  <c:v>40078</c:v>
                </c:pt>
                <c:pt idx="1012">
                  <c:v>40079</c:v>
                </c:pt>
                <c:pt idx="1013">
                  <c:v>40080</c:v>
                </c:pt>
                <c:pt idx="1014">
                  <c:v>40081</c:v>
                </c:pt>
                <c:pt idx="1015">
                  <c:v>40084</c:v>
                </c:pt>
                <c:pt idx="1016">
                  <c:v>40085</c:v>
                </c:pt>
                <c:pt idx="1017">
                  <c:v>40086</c:v>
                </c:pt>
                <c:pt idx="1018">
                  <c:v>40087</c:v>
                </c:pt>
                <c:pt idx="1019">
                  <c:v>40088</c:v>
                </c:pt>
                <c:pt idx="1020">
                  <c:v>40091</c:v>
                </c:pt>
                <c:pt idx="1021">
                  <c:v>40092</c:v>
                </c:pt>
                <c:pt idx="1022">
                  <c:v>40093</c:v>
                </c:pt>
                <c:pt idx="1023">
                  <c:v>40094</c:v>
                </c:pt>
                <c:pt idx="1024">
                  <c:v>40095</c:v>
                </c:pt>
                <c:pt idx="1025">
                  <c:v>40098</c:v>
                </c:pt>
                <c:pt idx="1026">
                  <c:v>40099</c:v>
                </c:pt>
                <c:pt idx="1027">
                  <c:v>40100</c:v>
                </c:pt>
                <c:pt idx="1028">
                  <c:v>40101</c:v>
                </c:pt>
                <c:pt idx="1029">
                  <c:v>40102</c:v>
                </c:pt>
                <c:pt idx="1030">
                  <c:v>40105</c:v>
                </c:pt>
                <c:pt idx="1031">
                  <c:v>40106</c:v>
                </c:pt>
                <c:pt idx="1032">
                  <c:v>40107</c:v>
                </c:pt>
                <c:pt idx="1033">
                  <c:v>40108</c:v>
                </c:pt>
                <c:pt idx="1034">
                  <c:v>40109</c:v>
                </c:pt>
                <c:pt idx="1035">
                  <c:v>40112</c:v>
                </c:pt>
                <c:pt idx="1036">
                  <c:v>40113</c:v>
                </c:pt>
                <c:pt idx="1037">
                  <c:v>40114</c:v>
                </c:pt>
                <c:pt idx="1038">
                  <c:v>40115</c:v>
                </c:pt>
                <c:pt idx="1039">
                  <c:v>40116</c:v>
                </c:pt>
                <c:pt idx="1040">
                  <c:v>40119</c:v>
                </c:pt>
                <c:pt idx="1041">
                  <c:v>40120</c:v>
                </c:pt>
                <c:pt idx="1042">
                  <c:v>40121</c:v>
                </c:pt>
                <c:pt idx="1043">
                  <c:v>40122</c:v>
                </c:pt>
                <c:pt idx="1044">
                  <c:v>40123</c:v>
                </c:pt>
                <c:pt idx="1045">
                  <c:v>40126</c:v>
                </c:pt>
                <c:pt idx="1046">
                  <c:v>40127</c:v>
                </c:pt>
                <c:pt idx="1047">
                  <c:v>40128</c:v>
                </c:pt>
                <c:pt idx="1048">
                  <c:v>40129</c:v>
                </c:pt>
                <c:pt idx="1049">
                  <c:v>40130</c:v>
                </c:pt>
                <c:pt idx="1050">
                  <c:v>40133</c:v>
                </c:pt>
                <c:pt idx="1051">
                  <c:v>40134</c:v>
                </c:pt>
                <c:pt idx="1052">
                  <c:v>40135</c:v>
                </c:pt>
                <c:pt idx="1053">
                  <c:v>40136</c:v>
                </c:pt>
                <c:pt idx="1054">
                  <c:v>40137</c:v>
                </c:pt>
                <c:pt idx="1055">
                  <c:v>40140</c:v>
                </c:pt>
                <c:pt idx="1056">
                  <c:v>40141</c:v>
                </c:pt>
                <c:pt idx="1057">
                  <c:v>40142</c:v>
                </c:pt>
                <c:pt idx="1058">
                  <c:v>40144</c:v>
                </c:pt>
                <c:pt idx="1059">
                  <c:v>40147</c:v>
                </c:pt>
                <c:pt idx="1060">
                  <c:v>40148</c:v>
                </c:pt>
                <c:pt idx="1061">
                  <c:v>40149</c:v>
                </c:pt>
                <c:pt idx="1062">
                  <c:v>40150</c:v>
                </c:pt>
                <c:pt idx="1063">
                  <c:v>40151</c:v>
                </c:pt>
                <c:pt idx="1064">
                  <c:v>40154</c:v>
                </c:pt>
                <c:pt idx="1065">
                  <c:v>40155</c:v>
                </c:pt>
                <c:pt idx="1066">
                  <c:v>40156</c:v>
                </c:pt>
                <c:pt idx="1067">
                  <c:v>40157</c:v>
                </c:pt>
                <c:pt idx="1068">
                  <c:v>40158</c:v>
                </c:pt>
                <c:pt idx="1069">
                  <c:v>40161</c:v>
                </c:pt>
                <c:pt idx="1070">
                  <c:v>40162</c:v>
                </c:pt>
                <c:pt idx="1071">
                  <c:v>40163</c:v>
                </c:pt>
                <c:pt idx="1072">
                  <c:v>40164</c:v>
                </c:pt>
                <c:pt idx="1073">
                  <c:v>40165</c:v>
                </c:pt>
                <c:pt idx="1074">
                  <c:v>40168</c:v>
                </c:pt>
                <c:pt idx="1075">
                  <c:v>40169</c:v>
                </c:pt>
                <c:pt idx="1076">
                  <c:v>40170</c:v>
                </c:pt>
                <c:pt idx="1077">
                  <c:v>40171</c:v>
                </c:pt>
                <c:pt idx="1078">
                  <c:v>40175</c:v>
                </c:pt>
                <c:pt idx="1079">
                  <c:v>40176</c:v>
                </c:pt>
                <c:pt idx="1080">
                  <c:v>40177</c:v>
                </c:pt>
                <c:pt idx="1081">
                  <c:v>40178</c:v>
                </c:pt>
                <c:pt idx="1082">
                  <c:v>40182</c:v>
                </c:pt>
                <c:pt idx="1083">
                  <c:v>40183</c:v>
                </c:pt>
                <c:pt idx="1084">
                  <c:v>40184</c:v>
                </c:pt>
                <c:pt idx="1085">
                  <c:v>40185</c:v>
                </c:pt>
                <c:pt idx="1086">
                  <c:v>40186</c:v>
                </c:pt>
                <c:pt idx="1087">
                  <c:v>40189</c:v>
                </c:pt>
                <c:pt idx="1088">
                  <c:v>40190</c:v>
                </c:pt>
                <c:pt idx="1089">
                  <c:v>40191</c:v>
                </c:pt>
                <c:pt idx="1090">
                  <c:v>40192</c:v>
                </c:pt>
                <c:pt idx="1091">
                  <c:v>40193</c:v>
                </c:pt>
                <c:pt idx="1092">
                  <c:v>40197</c:v>
                </c:pt>
                <c:pt idx="1093">
                  <c:v>40198</c:v>
                </c:pt>
                <c:pt idx="1094">
                  <c:v>40199</c:v>
                </c:pt>
                <c:pt idx="1095">
                  <c:v>40200</c:v>
                </c:pt>
                <c:pt idx="1096">
                  <c:v>40203</c:v>
                </c:pt>
                <c:pt idx="1097">
                  <c:v>40204</c:v>
                </c:pt>
                <c:pt idx="1098">
                  <c:v>40205</c:v>
                </c:pt>
                <c:pt idx="1099">
                  <c:v>40206</c:v>
                </c:pt>
                <c:pt idx="1100">
                  <c:v>40207</c:v>
                </c:pt>
                <c:pt idx="1101">
                  <c:v>40210</c:v>
                </c:pt>
                <c:pt idx="1102">
                  <c:v>40211</c:v>
                </c:pt>
                <c:pt idx="1103">
                  <c:v>40212</c:v>
                </c:pt>
                <c:pt idx="1104">
                  <c:v>40213</c:v>
                </c:pt>
                <c:pt idx="1105">
                  <c:v>40214</c:v>
                </c:pt>
                <c:pt idx="1106">
                  <c:v>40217</c:v>
                </c:pt>
                <c:pt idx="1107">
                  <c:v>40218</c:v>
                </c:pt>
                <c:pt idx="1108">
                  <c:v>40219</c:v>
                </c:pt>
                <c:pt idx="1109">
                  <c:v>40220</c:v>
                </c:pt>
                <c:pt idx="1110">
                  <c:v>40221</c:v>
                </c:pt>
                <c:pt idx="1111">
                  <c:v>40225</c:v>
                </c:pt>
                <c:pt idx="1112">
                  <c:v>40226</c:v>
                </c:pt>
                <c:pt idx="1113">
                  <c:v>40227</c:v>
                </c:pt>
                <c:pt idx="1114">
                  <c:v>40228</c:v>
                </c:pt>
                <c:pt idx="1115">
                  <c:v>40231</c:v>
                </c:pt>
                <c:pt idx="1116">
                  <c:v>40232</c:v>
                </c:pt>
                <c:pt idx="1117">
                  <c:v>40233</c:v>
                </c:pt>
                <c:pt idx="1118">
                  <c:v>40234</c:v>
                </c:pt>
                <c:pt idx="1119">
                  <c:v>40235</c:v>
                </c:pt>
                <c:pt idx="1120">
                  <c:v>40238</c:v>
                </c:pt>
                <c:pt idx="1121">
                  <c:v>40239</c:v>
                </c:pt>
                <c:pt idx="1122">
                  <c:v>40240</c:v>
                </c:pt>
                <c:pt idx="1123">
                  <c:v>40241</c:v>
                </c:pt>
                <c:pt idx="1124">
                  <c:v>40242</c:v>
                </c:pt>
                <c:pt idx="1125">
                  <c:v>40245</c:v>
                </c:pt>
                <c:pt idx="1126">
                  <c:v>40246</c:v>
                </c:pt>
                <c:pt idx="1127">
                  <c:v>40247</c:v>
                </c:pt>
                <c:pt idx="1128">
                  <c:v>40248</c:v>
                </c:pt>
                <c:pt idx="1129">
                  <c:v>40249</c:v>
                </c:pt>
                <c:pt idx="1130">
                  <c:v>40252</c:v>
                </c:pt>
                <c:pt idx="1131">
                  <c:v>40253</c:v>
                </c:pt>
                <c:pt idx="1132">
                  <c:v>40254</c:v>
                </c:pt>
                <c:pt idx="1133">
                  <c:v>40255</c:v>
                </c:pt>
                <c:pt idx="1134">
                  <c:v>40256</c:v>
                </c:pt>
                <c:pt idx="1135">
                  <c:v>40259</c:v>
                </c:pt>
                <c:pt idx="1136">
                  <c:v>40260</c:v>
                </c:pt>
                <c:pt idx="1137">
                  <c:v>40261</c:v>
                </c:pt>
                <c:pt idx="1138">
                  <c:v>40262</c:v>
                </c:pt>
                <c:pt idx="1139">
                  <c:v>40263</c:v>
                </c:pt>
                <c:pt idx="1140">
                  <c:v>40266</c:v>
                </c:pt>
                <c:pt idx="1141">
                  <c:v>40267</c:v>
                </c:pt>
                <c:pt idx="1142">
                  <c:v>40268</c:v>
                </c:pt>
                <c:pt idx="1143">
                  <c:v>40269</c:v>
                </c:pt>
                <c:pt idx="1144">
                  <c:v>40273</c:v>
                </c:pt>
                <c:pt idx="1145">
                  <c:v>40274</c:v>
                </c:pt>
                <c:pt idx="1146">
                  <c:v>40275</c:v>
                </c:pt>
                <c:pt idx="1147">
                  <c:v>40276</c:v>
                </c:pt>
                <c:pt idx="1148">
                  <c:v>40277</c:v>
                </c:pt>
                <c:pt idx="1149">
                  <c:v>40280</c:v>
                </c:pt>
                <c:pt idx="1150">
                  <c:v>40281</c:v>
                </c:pt>
                <c:pt idx="1151">
                  <c:v>40282</c:v>
                </c:pt>
                <c:pt idx="1152">
                  <c:v>40283</c:v>
                </c:pt>
                <c:pt idx="1153">
                  <c:v>40284</c:v>
                </c:pt>
                <c:pt idx="1154">
                  <c:v>40287</c:v>
                </c:pt>
                <c:pt idx="1155">
                  <c:v>40288</c:v>
                </c:pt>
                <c:pt idx="1156">
                  <c:v>40289</c:v>
                </c:pt>
                <c:pt idx="1157">
                  <c:v>40290</c:v>
                </c:pt>
                <c:pt idx="1158">
                  <c:v>40291</c:v>
                </c:pt>
                <c:pt idx="1159">
                  <c:v>40294</c:v>
                </c:pt>
                <c:pt idx="1160">
                  <c:v>40295</c:v>
                </c:pt>
                <c:pt idx="1161">
                  <c:v>40296</c:v>
                </c:pt>
                <c:pt idx="1162">
                  <c:v>40297</c:v>
                </c:pt>
                <c:pt idx="1163">
                  <c:v>40298</c:v>
                </c:pt>
                <c:pt idx="1164">
                  <c:v>40301</c:v>
                </c:pt>
                <c:pt idx="1165">
                  <c:v>40302</c:v>
                </c:pt>
                <c:pt idx="1166">
                  <c:v>40303</c:v>
                </c:pt>
                <c:pt idx="1167">
                  <c:v>40304</c:v>
                </c:pt>
                <c:pt idx="1168">
                  <c:v>40305</c:v>
                </c:pt>
                <c:pt idx="1169">
                  <c:v>40308</c:v>
                </c:pt>
                <c:pt idx="1170">
                  <c:v>40309</c:v>
                </c:pt>
                <c:pt idx="1171">
                  <c:v>40310</c:v>
                </c:pt>
                <c:pt idx="1172">
                  <c:v>40311</c:v>
                </c:pt>
                <c:pt idx="1173">
                  <c:v>40312</c:v>
                </c:pt>
                <c:pt idx="1174">
                  <c:v>40315</c:v>
                </c:pt>
                <c:pt idx="1175">
                  <c:v>40316</c:v>
                </c:pt>
                <c:pt idx="1176">
                  <c:v>40317</c:v>
                </c:pt>
                <c:pt idx="1177">
                  <c:v>40318</c:v>
                </c:pt>
                <c:pt idx="1178">
                  <c:v>40319</c:v>
                </c:pt>
                <c:pt idx="1179">
                  <c:v>40322</c:v>
                </c:pt>
                <c:pt idx="1180">
                  <c:v>40323</c:v>
                </c:pt>
                <c:pt idx="1181">
                  <c:v>40324</c:v>
                </c:pt>
                <c:pt idx="1182">
                  <c:v>40325</c:v>
                </c:pt>
                <c:pt idx="1183">
                  <c:v>40326</c:v>
                </c:pt>
                <c:pt idx="1184">
                  <c:v>40330</c:v>
                </c:pt>
                <c:pt idx="1185">
                  <c:v>40331</c:v>
                </c:pt>
                <c:pt idx="1186">
                  <c:v>40332</c:v>
                </c:pt>
                <c:pt idx="1187">
                  <c:v>40333</c:v>
                </c:pt>
                <c:pt idx="1188">
                  <c:v>40336</c:v>
                </c:pt>
                <c:pt idx="1189">
                  <c:v>40337</c:v>
                </c:pt>
                <c:pt idx="1190">
                  <c:v>40338</c:v>
                </c:pt>
                <c:pt idx="1191">
                  <c:v>40339</c:v>
                </c:pt>
                <c:pt idx="1192">
                  <c:v>40340</c:v>
                </c:pt>
                <c:pt idx="1193">
                  <c:v>40343</c:v>
                </c:pt>
                <c:pt idx="1194">
                  <c:v>40344</c:v>
                </c:pt>
                <c:pt idx="1195">
                  <c:v>40345</c:v>
                </c:pt>
                <c:pt idx="1196">
                  <c:v>40346</c:v>
                </c:pt>
                <c:pt idx="1197">
                  <c:v>40347</c:v>
                </c:pt>
                <c:pt idx="1198">
                  <c:v>40350</c:v>
                </c:pt>
                <c:pt idx="1199">
                  <c:v>40351</c:v>
                </c:pt>
                <c:pt idx="1200">
                  <c:v>40352</c:v>
                </c:pt>
                <c:pt idx="1201">
                  <c:v>40353</c:v>
                </c:pt>
                <c:pt idx="1202">
                  <c:v>40354</c:v>
                </c:pt>
                <c:pt idx="1203">
                  <c:v>40357</c:v>
                </c:pt>
                <c:pt idx="1204">
                  <c:v>40358</c:v>
                </c:pt>
                <c:pt idx="1205">
                  <c:v>40359</c:v>
                </c:pt>
                <c:pt idx="1206">
                  <c:v>40360</c:v>
                </c:pt>
                <c:pt idx="1207">
                  <c:v>40361</c:v>
                </c:pt>
                <c:pt idx="1208">
                  <c:v>40365</c:v>
                </c:pt>
                <c:pt idx="1209">
                  <c:v>40366</c:v>
                </c:pt>
                <c:pt idx="1210">
                  <c:v>40367</c:v>
                </c:pt>
                <c:pt idx="1211">
                  <c:v>40368</c:v>
                </c:pt>
                <c:pt idx="1212">
                  <c:v>40371</c:v>
                </c:pt>
                <c:pt idx="1213">
                  <c:v>40372</c:v>
                </c:pt>
                <c:pt idx="1214">
                  <c:v>40373</c:v>
                </c:pt>
                <c:pt idx="1215">
                  <c:v>40374</c:v>
                </c:pt>
                <c:pt idx="1216">
                  <c:v>40375</c:v>
                </c:pt>
                <c:pt idx="1217">
                  <c:v>40378</c:v>
                </c:pt>
                <c:pt idx="1218">
                  <c:v>40379</c:v>
                </c:pt>
                <c:pt idx="1219">
                  <c:v>40380</c:v>
                </c:pt>
                <c:pt idx="1220">
                  <c:v>40381</c:v>
                </c:pt>
                <c:pt idx="1221">
                  <c:v>40382</c:v>
                </c:pt>
                <c:pt idx="1222">
                  <c:v>40385</c:v>
                </c:pt>
                <c:pt idx="1223">
                  <c:v>40386</c:v>
                </c:pt>
                <c:pt idx="1224">
                  <c:v>40387</c:v>
                </c:pt>
                <c:pt idx="1225">
                  <c:v>40388</c:v>
                </c:pt>
                <c:pt idx="1226">
                  <c:v>40389</c:v>
                </c:pt>
                <c:pt idx="1227">
                  <c:v>40392</c:v>
                </c:pt>
                <c:pt idx="1228">
                  <c:v>40393</c:v>
                </c:pt>
                <c:pt idx="1229">
                  <c:v>40394</c:v>
                </c:pt>
                <c:pt idx="1230">
                  <c:v>40395</c:v>
                </c:pt>
                <c:pt idx="1231">
                  <c:v>40396</c:v>
                </c:pt>
                <c:pt idx="1232">
                  <c:v>40399</c:v>
                </c:pt>
                <c:pt idx="1233">
                  <c:v>40400</c:v>
                </c:pt>
                <c:pt idx="1234">
                  <c:v>40401</c:v>
                </c:pt>
                <c:pt idx="1235">
                  <c:v>40402</c:v>
                </c:pt>
                <c:pt idx="1236">
                  <c:v>40403</c:v>
                </c:pt>
                <c:pt idx="1237">
                  <c:v>40406</c:v>
                </c:pt>
                <c:pt idx="1238">
                  <c:v>40407</c:v>
                </c:pt>
                <c:pt idx="1239">
                  <c:v>40408</c:v>
                </c:pt>
                <c:pt idx="1240">
                  <c:v>40409</c:v>
                </c:pt>
                <c:pt idx="1241">
                  <c:v>40410</c:v>
                </c:pt>
                <c:pt idx="1242">
                  <c:v>40413</c:v>
                </c:pt>
                <c:pt idx="1243">
                  <c:v>40414</c:v>
                </c:pt>
                <c:pt idx="1244">
                  <c:v>40415</c:v>
                </c:pt>
                <c:pt idx="1245">
                  <c:v>40416</c:v>
                </c:pt>
                <c:pt idx="1246">
                  <c:v>40417</c:v>
                </c:pt>
                <c:pt idx="1247">
                  <c:v>40420</c:v>
                </c:pt>
                <c:pt idx="1248">
                  <c:v>40421</c:v>
                </c:pt>
                <c:pt idx="1249">
                  <c:v>40422</c:v>
                </c:pt>
                <c:pt idx="1250">
                  <c:v>40423</c:v>
                </c:pt>
                <c:pt idx="1251">
                  <c:v>40424</c:v>
                </c:pt>
                <c:pt idx="1252">
                  <c:v>40428</c:v>
                </c:pt>
                <c:pt idx="1253">
                  <c:v>40429</c:v>
                </c:pt>
                <c:pt idx="1254">
                  <c:v>40430</c:v>
                </c:pt>
                <c:pt idx="1255">
                  <c:v>40431</c:v>
                </c:pt>
                <c:pt idx="1256">
                  <c:v>40434</c:v>
                </c:pt>
                <c:pt idx="1257">
                  <c:v>40435</c:v>
                </c:pt>
                <c:pt idx="1258">
                  <c:v>40436</c:v>
                </c:pt>
                <c:pt idx="1259">
                  <c:v>40437</c:v>
                </c:pt>
                <c:pt idx="1260">
                  <c:v>40438</c:v>
                </c:pt>
                <c:pt idx="1261">
                  <c:v>40441</c:v>
                </c:pt>
                <c:pt idx="1262">
                  <c:v>40442</c:v>
                </c:pt>
                <c:pt idx="1263">
                  <c:v>40443</c:v>
                </c:pt>
                <c:pt idx="1264">
                  <c:v>40444</c:v>
                </c:pt>
                <c:pt idx="1265">
                  <c:v>40445</c:v>
                </c:pt>
                <c:pt idx="1266">
                  <c:v>40448</c:v>
                </c:pt>
                <c:pt idx="1267">
                  <c:v>40449</c:v>
                </c:pt>
                <c:pt idx="1268">
                  <c:v>40450</c:v>
                </c:pt>
                <c:pt idx="1269">
                  <c:v>40451</c:v>
                </c:pt>
                <c:pt idx="1270">
                  <c:v>40452</c:v>
                </c:pt>
                <c:pt idx="1271">
                  <c:v>40455</c:v>
                </c:pt>
                <c:pt idx="1272">
                  <c:v>40456</c:v>
                </c:pt>
                <c:pt idx="1273">
                  <c:v>40457</c:v>
                </c:pt>
                <c:pt idx="1274">
                  <c:v>40458</c:v>
                </c:pt>
                <c:pt idx="1275">
                  <c:v>40459</c:v>
                </c:pt>
                <c:pt idx="1276">
                  <c:v>40462</c:v>
                </c:pt>
                <c:pt idx="1277">
                  <c:v>40463</c:v>
                </c:pt>
                <c:pt idx="1278">
                  <c:v>40464</c:v>
                </c:pt>
                <c:pt idx="1279">
                  <c:v>40465</c:v>
                </c:pt>
                <c:pt idx="1280">
                  <c:v>40466</c:v>
                </c:pt>
                <c:pt idx="1281">
                  <c:v>40469</c:v>
                </c:pt>
                <c:pt idx="1282">
                  <c:v>40470</c:v>
                </c:pt>
                <c:pt idx="1283">
                  <c:v>40471</c:v>
                </c:pt>
                <c:pt idx="1284">
                  <c:v>40472</c:v>
                </c:pt>
                <c:pt idx="1285">
                  <c:v>40473</c:v>
                </c:pt>
                <c:pt idx="1286">
                  <c:v>40476</c:v>
                </c:pt>
                <c:pt idx="1287">
                  <c:v>40477</c:v>
                </c:pt>
                <c:pt idx="1288">
                  <c:v>40478</c:v>
                </c:pt>
                <c:pt idx="1289">
                  <c:v>40479</c:v>
                </c:pt>
                <c:pt idx="1290">
                  <c:v>40480</c:v>
                </c:pt>
                <c:pt idx="1291">
                  <c:v>40483</c:v>
                </c:pt>
                <c:pt idx="1292">
                  <c:v>40484</c:v>
                </c:pt>
                <c:pt idx="1293">
                  <c:v>40485</c:v>
                </c:pt>
                <c:pt idx="1294">
                  <c:v>40486</c:v>
                </c:pt>
                <c:pt idx="1295">
                  <c:v>40487</c:v>
                </c:pt>
                <c:pt idx="1296">
                  <c:v>40490</c:v>
                </c:pt>
                <c:pt idx="1297">
                  <c:v>40491</c:v>
                </c:pt>
                <c:pt idx="1298">
                  <c:v>40492</c:v>
                </c:pt>
                <c:pt idx="1299">
                  <c:v>40493</c:v>
                </c:pt>
                <c:pt idx="1300">
                  <c:v>40494</c:v>
                </c:pt>
                <c:pt idx="1301">
                  <c:v>40497</c:v>
                </c:pt>
                <c:pt idx="1302">
                  <c:v>40498</c:v>
                </c:pt>
                <c:pt idx="1303">
                  <c:v>40499</c:v>
                </c:pt>
                <c:pt idx="1304">
                  <c:v>40500</c:v>
                </c:pt>
                <c:pt idx="1305">
                  <c:v>40501</c:v>
                </c:pt>
                <c:pt idx="1306">
                  <c:v>40504</c:v>
                </c:pt>
                <c:pt idx="1307">
                  <c:v>40505</c:v>
                </c:pt>
                <c:pt idx="1308">
                  <c:v>40506</c:v>
                </c:pt>
                <c:pt idx="1309">
                  <c:v>40508</c:v>
                </c:pt>
                <c:pt idx="1310">
                  <c:v>40511</c:v>
                </c:pt>
                <c:pt idx="1311">
                  <c:v>40512</c:v>
                </c:pt>
                <c:pt idx="1312">
                  <c:v>40513</c:v>
                </c:pt>
                <c:pt idx="1313">
                  <c:v>40514</c:v>
                </c:pt>
                <c:pt idx="1314">
                  <c:v>40515</c:v>
                </c:pt>
                <c:pt idx="1315">
                  <c:v>40518</c:v>
                </c:pt>
                <c:pt idx="1316">
                  <c:v>40519</c:v>
                </c:pt>
                <c:pt idx="1317">
                  <c:v>40520</c:v>
                </c:pt>
                <c:pt idx="1318">
                  <c:v>40521</c:v>
                </c:pt>
                <c:pt idx="1319">
                  <c:v>40522</c:v>
                </c:pt>
                <c:pt idx="1320">
                  <c:v>40525</c:v>
                </c:pt>
                <c:pt idx="1321">
                  <c:v>40526</c:v>
                </c:pt>
                <c:pt idx="1322">
                  <c:v>40527</c:v>
                </c:pt>
                <c:pt idx="1323">
                  <c:v>40528</c:v>
                </c:pt>
                <c:pt idx="1324">
                  <c:v>40529</c:v>
                </c:pt>
                <c:pt idx="1325">
                  <c:v>40532</c:v>
                </c:pt>
                <c:pt idx="1326">
                  <c:v>40533</c:v>
                </c:pt>
                <c:pt idx="1327">
                  <c:v>40534</c:v>
                </c:pt>
                <c:pt idx="1328">
                  <c:v>40535</c:v>
                </c:pt>
                <c:pt idx="1329">
                  <c:v>40539</c:v>
                </c:pt>
                <c:pt idx="1330">
                  <c:v>40540</c:v>
                </c:pt>
                <c:pt idx="1331">
                  <c:v>40541</c:v>
                </c:pt>
                <c:pt idx="1332">
                  <c:v>40542</c:v>
                </c:pt>
                <c:pt idx="1333">
                  <c:v>40543</c:v>
                </c:pt>
                <c:pt idx="1334">
                  <c:v>40546</c:v>
                </c:pt>
                <c:pt idx="1335">
                  <c:v>40547</c:v>
                </c:pt>
                <c:pt idx="1336">
                  <c:v>40548</c:v>
                </c:pt>
                <c:pt idx="1337">
                  <c:v>40549</c:v>
                </c:pt>
                <c:pt idx="1338">
                  <c:v>40550</c:v>
                </c:pt>
                <c:pt idx="1339">
                  <c:v>40553</c:v>
                </c:pt>
                <c:pt idx="1340">
                  <c:v>40554</c:v>
                </c:pt>
                <c:pt idx="1341">
                  <c:v>40555</c:v>
                </c:pt>
                <c:pt idx="1342">
                  <c:v>40556</c:v>
                </c:pt>
                <c:pt idx="1343">
                  <c:v>40557</c:v>
                </c:pt>
                <c:pt idx="1344">
                  <c:v>40561</c:v>
                </c:pt>
                <c:pt idx="1345">
                  <c:v>40562</c:v>
                </c:pt>
                <c:pt idx="1346">
                  <c:v>40563</c:v>
                </c:pt>
                <c:pt idx="1347">
                  <c:v>40564</c:v>
                </c:pt>
                <c:pt idx="1348">
                  <c:v>40567</c:v>
                </c:pt>
                <c:pt idx="1349">
                  <c:v>40568</c:v>
                </c:pt>
                <c:pt idx="1350">
                  <c:v>40569</c:v>
                </c:pt>
                <c:pt idx="1351">
                  <c:v>40570</c:v>
                </c:pt>
                <c:pt idx="1352">
                  <c:v>40571</c:v>
                </c:pt>
                <c:pt idx="1353">
                  <c:v>40574</c:v>
                </c:pt>
                <c:pt idx="1354">
                  <c:v>40575</c:v>
                </c:pt>
                <c:pt idx="1355">
                  <c:v>40576</c:v>
                </c:pt>
                <c:pt idx="1356">
                  <c:v>40577</c:v>
                </c:pt>
                <c:pt idx="1357">
                  <c:v>40578</c:v>
                </c:pt>
                <c:pt idx="1358">
                  <c:v>40581</c:v>
                </c:pt>
                <c:pt idx="1359">
                  <c:v>40582</c:v>
                </c:pt>
                <c:pt idx="1360">
                  <c:v>40583</c:v>
                </c:pt>
                <c:pt idx="1361">
                  <c:v>40584</c:v>
                </c:pt>
                <c:pt idx="1362">
                  <c:v>40585</c:v>
                </c:pt>
                <c:pt idx="1363">
                  <c:v>40588</c:v>
                </c:pt>
                <c:pt idx="1364">
                  <c:v>40589</c:v>
                </c:pt>
                <c:pt idx="1365">
                  <c:v>40590</c:v>
                </c:pt>
                <c:pt idx="1366">
                  <c:v>40591</c:v>
                </c:pt>
                <c:pt idx="1367">
                  <c:v>40592</c:v>
                </c:pt>
                <c:pt idx="1368">
                  <c:v>40596</c:v>
                </c:pt>
                <c:pt idx="1369">
                  <c:v>40597</c:v>
                </c:pt>
                <c:pt idx="1370">
                  <c:v>40598</c:v>
                </c:pt>
                <c:pt idx="1371">
                  <c:v>40599</c:v>
                </c:pt>
                <c:pt idx="1372">
                  <c:v>40602</c:v>
                </c:pt>
                <c:pt idx="1373">
                  <c:v>40603</c:v>
                </c:pt>
                <c:pt idx="1374">
                  <c:v>40604</c:v>
                </c:pt>
                <c:pt idx="1375">
                  <c:v>40605</c:v>
                </c:pt>
                <c:pt idx="1376">
                  <c:v>40606</c:v>
                </c:pt>
                <c:pt idx="1377">
                  <c:v>40609</c:v>
                </c:pt>
                <c:pt idx="1378">
                  <c:v>40610</c:v>
                </c:pt>
                <c:pt idx="1379">
                  <c:v>40611</c:v>
                </c:pt>
                <c:pt idx="1380">
                  <c:v>40612</c:v>
                </c:pt>
                <c:pt idx="1381">
                  <c:v>40613</c:v>
                </c:pt>
                <c:pt idx="1382">
                  <c:v>40616</c:v>
                </c:pt>
                <c:pt idx="1383">
                  <c:v>40617</c:v>
                </c:pt>
                <c:pt idx="1384">
                  <c:v>40618</c:v>
                </c:pt>
                <c:pt idx="1385">
                  <c:v>40619</c:v>
                </c:pt>
                <c:pt idx="1386">
                  <c:v>40620</c:v>
                </c:pt>
                <c:pt idx="1387">
                  <c:v>40623</c:v>
                </c:pt>
                <c:pt idx="1388">
                  <c:v>40624</c:v>
                </c:pt>
                <c:pt idx="1389">
                  <c:v>40625</c:v>
                </c:pt>
                <c:pt idx="1390">
                  <c:v>40626</c:v>
                </c:pt>
                <c:pt idx="1391">
                  <c:v>40627</c:v>
                </c:pt>
                <c:pt idx="1392">
                  <c:v>40630</c:v>
                </c:pt>
                <c:pt idx="1393">
                  <c:v>40631</c:v>
                </c:pt>
                <c:pt idx="1394">
                  <c:v>40632</c:v>
                </c:pt>
                <c:pt idx="1395">
                  <c:v>40633</c:v>
                </c:pt>
                <c:pt idx="1396">
                  <c:v>40634</c:v>
                </c:pt>
                <c:pt idx="1397">
                  <c:v>40637</c:v>
                </c:pt>
                <c:pt idx="1398">
                  <c:v>40638</c:v>
                </c:pt>
                <c:pt idx="1399">
                  <c:v>40639</c:v>
                </c:pt>
                <c:pt idx="1400">
                  <c:v>40640</c:v>
                </c:pt>
                <c:pt idx="1401">
                  <c:v>40641</c:v>
                </c:pt>
                <c:pt idx="1402">
                  <c:v>40644</c:v>
                </c:pt>
                <c:pt idx="1403">
                  <c:v>40645</c:v>
                </c:pt>
                <c:pt idx="1404">
                  <c:v>40646</c:v>
                </c:pt>
                <c:pt idx="1405">
                  <c:v>40647</c:v>
                </c:pt>
                <c:pt idx="1406">
                  <c:v>40648</c:v>
                </c:pt>
                <c:pt idx="1407">
                  <c:v>40651</c:v>
                </c:pt>
                <c:pt idx="1408">
                  <c:v>40652</c:v>
                </c:pt>
                <c:pt idx="1409">
                  <c:v>40653</c:v>
                </c:pt>
                <c:pt idx="1410">
                  <c:v>40654</c:v>
                </c:pt>
                <c:pt idx="1411">
                  <c:v>40658</c:v>
                </c:pt>
                <c:pt idx="1412">
                  <c:v>40659</c:v>
                </c:pt>
                <c:pt idx="1413">
                  <c:v>40660</c:v>
                </c:pt>
                <c:pt idx="1414">
                  <c:v>40661</c:v>
                </c:pt>
                <c:pt idx="1415">
                  <c:v>40662</c:v>
                </c:pt>
                <c:pt idx="1416">
                  <c:v>40665</c:v>
                </c:pt>
                <c:pt idx="1417">
                  <c:v>40666</c:v>
                </c:pt>
                <c:pt idx="1418">
                  <c:v>40667</c:v>
                </c:pt>
                <c:pt idx="1419">
                  <c:v>40668</c:v>
                </c:pt>
                <c:pt idx="1420">
                  <c:v>40669</c:v>
                </c:pt>
                <c:pt idx="1421">
                  <c:v>40672</c:v>
                </c:pt>
                <c:pt idx="1422">
                  <c:v>40673</c:v>
                </c:pt>
                <c:pt idx="1423">
                  <c:v>40674</c:v>
                </c:pt>
                <c:pt idx="1424">
                  <c:v>40675</c:v>
                </c:pt>
                <c:pt idx="1425">
                  <c:v>40676</c:v>
                </c:pt>
                <c:pt idx="1426">
                  <c:v>40679</c:v>
                </c:pt>
                <c:pt idx="1427">
                  <c:v>40680</c:v>
                </c:pt>
                <c:pt idx="1428">
                  <c:v>40681</c:v>
                </c:pt>
                <c:pt idx="1429">
                  <c:v>40682</c:v>
                </c:pt>
                <c:pt idx="1430">
                  <c:v>40683</c:v>
                </c:pt>
                <c:pt idx="1431">
                  <c:v>40686</c:v>
                </c:pt>
                <c:pt idx="1432">
                  <c:v>40687</c:v>
                </c:pt>
                <c:pt idx="1433">
                  <c:v>40688</c:v>
                </c:pt>
                <c:pt idx="1434">
                  <c:v>40689</c:v>
                </c:pt>
                <c:pt idx="1435">
                  <c:v>40690</c:v>
                </c:pt>
                <c:pt idx="1436">
                  <c:v>40694</c:v>
                </c:pt>
                <c:pt idx="1437">
                  <c:v>40695</c:v>
                </c:pt>
                <c:pt idx="1438">
                  <c:v>40696</c:v>
                </c:pt>
                <c:pt idx="1439">
                  <c:v>40697</c:v>
                </c:pt>
                <c:pt idx="1440">
                  <c:v>40700</c:v>
                </c:pt>
                <c:pt idx="1441">
                  <c:v>40701</c:v>
                </c:pt>
                <c:pt idx="1442">
                  <c:v>40702</c:v>
                </c:pt>
                <c:pt idx="1443">
                  <c:v>40703</c:v>
                </c:pt>
                <c:pt idx="1444">
                  <c:v>40704</c:v>
                </c:pt>
                <c:pt idx="1445">
                  <c:v>40707</c:v>
                </c:pt>
                <c:pt idx="1446">
                  <c:v>40708</c:v>
                </c:pt>
                <c:pt idx="1447">
                  <c:v>40709</c:v>
                </c:pt>
                <c:pt idx="1448">
                  <c:v>40710</c:v>
                </c:pt>
                <c:pt idx="1449">
                  <c:v>40711</c:v>
                </c:pt>
                <c:pt idx="1450">
                  <c:v>40714</c:v>
                </c:pt>
                <c:pt idx="1451">
                  <c:v>40715</c:v>
                </c:pt>
                <c:pt idx="1452">
                  <c:v>40716</c:v>
                </c:pt>
                <c:pt idx="1453">
                  <c:v>40717</c:v>
                </c:pt>
                <c:pt idx="1454">
                  <c:v>40718</c:v>
                </c:pt>
                <c:pt idx="1455">
                  <c:v>40721</c:v>
                </c:pt>
                <c:pt idx="1456">
                  <c:v>40722</c:v>
                </c:pt>
                <c:pt idx="1457">
                  <c:v>40723</c:v>
                </c:pt>
                <c:pt idx="1458">
                  <c:v>40724</c:v>
                </c:pt>
                <c:pt idx="1459">
                  <c:v>40725</c:v>
                </c:pt>
                <c:pt idx="1460">
                  <c:v>40729</c:v>
                </c:pt>
                <c:pt idx="1461">
                  <c:v>40730</c:v>
                </c:pt>
                <c:pt idx="1462">
                  <c:v>40731</c:v>
                </c:pt>
                <c:pt idx="1463">
                  <c:v>40732</c:v>
                </c:pt>
                <c:pt idx="1464">
                  <c:v>40735</c:v>
                </c:pt>
                <c:pt idx="1465">
                  <c:v>40736</c:v>
                </c:pt>
                <c:pt idx="1466">
                  <c:v>40737</c:v>
                </c:pt>
                <c:pt idx="1467">
                  <c:v>40738</c:v>
                </c:pt>
                <c:pt idx="1468">
                  <c:v>40739</c:v>
                </c:pt>
                <c:pt idx="1469">
                  <c:v>40742</c:v>
                </c:pt>
                <c:pt idx="1470">
                  <c:v>40743</c:v>
                </c:pt>
                <c:pt idx="1471">
                  <c:v>40744</c:v>
                </c:pt>
                <c:pt idx="1472">
                  <c:v>40745</c:v>
                </c:pt>
                <c:pt idx="1473">
                  <c:v>40746</c:v>
                </c:pt>
                <c:pt idx="1474">
                  <c:v>40749</c:v>
                </c:pt>
                <c:pt idx="1475">
                  <c:v>40750</c:v>
                </c:pt>
                <c:pt idx="1476">
                  <c:v>40751</c:v>
                </c:pt>
                <c:pt idx="1477">
                  <c:v>40752</c:v>
                </c:pt>
                <c:pt idx="1478">
                  <c:v>40753</c:v>
                </c:pt>
                <c:pt idx="1479">
                  <c:v>40756</c:v>
                </c:pt>
                <c:pt idx="1480">
                  <c:v>40757</c:v>
                </c:pt>
                <c:pt idx="1481">
                  <c:v>40758</c:v>
                </c:pt>
                <c:pt idx="1482">
                  <c:v>40759</c:v>
                </c:pt>
                <c:pt idx="1483">
                  <c:v>40760</c:v>
                </c:pt>
                <c:pt idx="1484">
                  <c:v>40763</c:v>
                </c:pt>
                <c:pt idx="1485">
                  <c:v>40764</c:v>
                </c:pt>
                <c:pt idx="1486">
                  <c:v>40765</c:v>
                </c:pt>
                <c:pt idx="1487">
                  <c:v>40766</c:v>
                </c:pt>
                <c:pt idx="1488">
                  <c:v>40767</c:v>
                </c:pt>
                <c:pt idx="1489">
                  <c:v>40770</c:v>
                </c:pt>
                <c:pt idx="1490">
                  <c:v>40771</c:v>
                </c:pt>
                <c:pt idx="1491">
                  <c:v>40772</c:v>
                </c:pt>
                <c:pt idx="1492">
                  <c:v>40773</c:v>
                </c:pt>
                <c:pt idx="1493">
                  <c:v>40774</c:v>
                </c:pt>
                <c:pt idx="1494">
                  <c:v>40777</c:v>
                </c:pt>
                <c:pt idx="1495">
                  <c:v>40778</c:v>
                </c:pt>
                <c:pt idx="1496">
                  <c:v>40779</c:v>
                </c:pt>
                <c:pt idx="1497">
                  <c:v>40780</c:v>
                </c:pt>
                <c:pt idx="1498">
                  <c:v>40781</c:v>
                </c:pt>
                <c:pt idx="1499">
                  <c:v>40784</c:v>
                </c:pt>
                <c:pt idx="1500">
                  <c:v>40785</c:v>
                </c:pt>
                <c:pt idx="1501">
                  <c:v>40786</c:v>
                </c:pt>
                <c:pt idx="1502">
                  <c:v>40787</c:v>
                </c:pt>
                <c:pt idx="1503">
                  <c:v>40788</c:v>
                </c:pt>
                <c:pt idx="1504">
                  <c:v>40792</c:v>
                </c:pt>
                <c:pt idx="1505">
                  <c:v>40793</c:v>
                </c:pt>
                <c:pt idx="1506">
                  <c:v>40794</c:v>
                </c:pt>
                <c:pt idx="1507">
                  <c:v>40795</c:v>
                </c:pt>
                <c:pt idx="1508">
                  <c:v>40798</c:v>
                </c:pt>
                <c:pt idx="1509">
                  <c:v>40799</c:v>
                </c:pt>
                <c:pt idx="1510">
                  <c:v>40800</c:v>
                </c:pt>
                <c:pt idx="1511">
                  <c:v>40801</c:v>
                </c:pt>
                <c:pt idx="1512">
                  <c:v>40802</c:v>
                </c:pt>
                <c:pt idx="1513">
                  <c:v>40805</c:v>
                </c:pt>
                <c:pt idx="1514">
                  <c:v>40806</c:v>
                </c:pt>
                <c:pt idx="1515">
                  <c:v>40807</c:v>
                </c:pt>
                <c:pt idx="1516">
                  <c:v>40808</c:v>
                </c:pt>
                <c:pt idx="1517">
                  <c:v>40809</c:v>
                </c:pt>
                <c:pt idx="1518">
                  <c:v>40812</c:v>
                </c:pt>
                <c:pt idx="1519">
                  <c:v>40813</c:v>
                </c:pt>
                <c:pt idx="1520">
                  <c:v>40814</c:v>
                </c:pt>
                <c:pt idx="1521">
                  <c:v>40815</c:v>
                </c:pt>
                <c:pt idx="1522">
                  <c:v>40816</c:v>
                </c:pt>
                <c:pt idx="1523">
                  <c:v>40819</c:v>
                </c:pt>
                <c:pt idx="1524">
                  <c:v>40820</c:v>
                </c:pt>
                <c:pt idx="1525">
                  <c:v>40821</c:v>
                </c:pt>
                <c:pt idx="1526">
                  <c:v>40822</c:v>
                </c:pt>
                <c:pt idx="1527">
                  <c:v>40823</c:v>
                </c:pt>
                <c:pt idx="1528">
                  <c:v>40826</c:v>
                </c:pt>
                <c:pt idx="1529">
                  <c:v>40827</c:v>
                </c:pt>
                <c:pt idx="1530">
                  <c:v>40828</c:v>
                </c:pt>
                <c:pt idx="1531">
                  <c:v>40829</c:v>
                </c:pt>
                <c:pt idx="1532">
                  <c:v>40830</c:v>
                </c:pt>
                <c:pt idx="1533">
                  <c:v>40833</c:v>
                </c:pt>
                <c:pt idx="1534">
                  <c:v>40834</c:v>
                </c:pt>
                <c:pt idx="1535">
                  <c:v>40835</c:v>
                </c:pt>
                <c:pt idx="1536">
                  <c:v>40836</c:v>
                </c:pt>
                <c:pt idx="1537">
                  <c:v>40837</c:v>
                </c:pt>
                <c:pt idx="1538">
                  <c:v>40840</c:v>
                </c:pt>
                <c:pt idx="1539">
                  <c:v>40841</c:v>
                </c:pt>
                <c:pt idx="1540">
                  <c:v>40842</c:v>
                </c:pt>
                <c:pt idx="1541">
                  <c:v>40843</c:v>
                </c:pt>
                <c:pt idx="1542">
                  <c:v>40844</c:v>
                </c:pt>
                <c:pt idx="1543">
                  <c:v>40847</c:v>
                </c:pt>
                <c:pt idx="1544">
                  <c:v>40848</c:v>
                </c:pt>
                <c:pt idx="1545">
                  <c:v>40849</c:v>
                </c:pt>
                <c:pt idx="1546">
                  <c:v>40850</c:v>
                </c:pt>
                <c:pt idx="1547">
                  <c:v>40851</c:v>
                </c:pt>
                <c:pt idx="1548">
                  <c:v>40854</c:v>
                </c:pt>
                <c:pt idx="1549">
                  <c:v>40855</c:v>
                </c:pt>
                <c:pt idx="1550">
                  <c:v>40856</c:v>
                </c:pt>
                <c:pt idx="1551">
                  <c:v>40857</c:v>
                </c:pt>
                <c:pt idx="1552">
                  <c:v>40858</c:v>
                </c:pt>
                <c:pt idx="1553">
                  <c:v>40861</c:v>
                </c:pt>
                <c:pt idx="1554">
                  <c:v>40862</c:v>
                </c:pt>
                <c:pt idx="1555">
                  <c:v>40863</c:v>
                </c:pt>
                <c:pt idx="1556">
                  <c:v>40864</c:v>
                </c:pt>
                <c:pt idx="1557">
                  <c:v>40865</c:v>
                </c:pt>
                <c:pt idx="1558">
                  <c:v>40868</c:v>
                </c:pt>
                <c:pt idx="1559">
                  <c:v>40869</c:v>
                </c:pt>
                <c:pt idx="1560">
                  <c:v>40870</c:v>
                </c:pt>
                <c:pt idx="1561">
                  <c:v>40872</c:v>
                </c:pt>
                <c:pt idx="1562">
                  <c:v>40875</c:v>
                </c:pt>
                <c:pt idx="1563">
                  <c:v>40876</c:v>
                </c:pt>
                <c:pt idx="1564">
                  <c:v>40877</c:v>
                </c:pt>
                <c:pt idx="1565">
                  <c:v>40878</c:v>
                </c:pt>
                <c:pt idx="1566">
                  <c:v>40879</c:v>
                </c:pt>
                <c:pt idx="1567">
                  <c:v>40882</c:v>
                </c:pt>
                <c:pt idx="1568">
                  <c:v>40883</c:v>
                </c:pt>
                <c:pt idx="1569">
                  <c:v>40884</c:v>
                </c:pt>
                <c:pt idx="1570">
                  <c:v>40885</c:v>
                </c:pt>
                <c:pt idx="1571">
                  <c:v>40886</c:v>
                </c:pt>
                <c:pt idx="1572">
                  <c:v>40889</c:v>
                </c:pt>
                <c:pt idx="1573">
                  <c:v>40890</c:v>
                </c:pt>
                <c:pt idx="1574">
                  <c:v>40891</c:v>
                </c:pt>
                <c:pt idx="1575">
                  <c:v>40892</c:v>
                </c:pt>
                <c:pt idx="1576">
                  <c:v>40893</c:v>
                </c:pt>
                <c:pt idx="1577">
                  <c:v>40896</c:v>
                </c:pt>
                <c:pt idx="1578">
                  <c:v>40897</c:v>
                </c:pt>
                <c:pt idx="1579">
                  <c:v>40898</c:v>
                </c:pt>
                <c:pt idx="1580">
                  <c:v>40899</c:v>
                </c:pt>
                <c:pt idx="1581">
                  <c:v>40900</c:v>
                </c:pt>
                <c:pt idx="1582">
                  <c:v>40904</c:v>
                </c:pt>
                <c:pt idx="1583">
                  <c:v>40905</c:v>
                </c:pt>
                <c:pt idx="1584">
                  <c:v>40906</c:v>
                </c:pt>
                <c:pt idx="1585">
                  <c:v>40907</c:v>
                </c:pt>
                <c:pt idx="1586">
                  <c:v>40911</c:v>
                </c:pt>
                <c:pt idx="1587">
                  <c:v>40912</c:v>
                </c:pt>
                <c:pt idx="1588">
                  <c:v>40913</c:v>
                </c:pt>
                <c:pt idx="1589">
                  <c:v>40914</c:v>
                </c:pt>
                <c:pt idx="1590">
                  <c:v>40917</c:v>
                </c:pt>
                <c:pt idx="1591">
                  <c:v>40918</c:v>
                </c:pt>
                <c:pt idx="1592">
                  <c:v>40919</c:v>
                </c:pt>
                <c:pt idx="1593">
                  <c:v>40920</c:v>
                </c:pt>
                <c:pt idx="1594">
                  <c:v>40921</c:v>
                </c:pt>
                <c:pt idx="1595">
                  <c:v>40925</c:v>
                </c:pt>
                <c:pt idx="1596">
                  <c:v>40926</c:v>
                </c:pt>
                <c:pt idx="1597">
                  <c:v>40927</c:v>
                </c:pt>
                <c:pt idx="1598">
                  <c:v>40928</c:v>
                </c:pt>
                <c:pt idx="1599">
                  <c:v>40931</c:v>
                </c:pt>
                <c:pt idx="1600">
                  <c:v>40932</c:v>
                </c:pt>
                <c:pt idx="1601">
                  <c:v>40933</c:v>
                </c:pt>
                <c:pt idx="1602">
                  <c:v>40934</c:v>
                </c:pt>
                <c:pt idx="1603">
                  <c:v>40935</c:v>
                </c:pt>
                <c:pt idx="1604">
                  <c:v>40938</c:v>
                </c:pt>
                <c:pt idx="1605">
                  <c:v>40939</c:v>
                </c:pt>
                <c:pt idx="1606">
                  <c:v>40940</c:v>
                </c:pt>
                <c:pt idx="1607">
                  <c:v>40941</c:v>
                </c:pt>
                <c:pt idx="1608">
                  <c:v>40942</c:v>
                </c:pt>
                <c:pt idx="1609">
                  <c:v>40945</c:v>
                </c:pt>
                <c:pt idx="1610">
                  <c:v>40946</c:v>
                </c:pt>
                <c:pt idx="1611">
                  <c:v>40947</c:v>
                </c:pt>
                <c:pt idx="1612">
                  <c:v>40948</c:v>
                </c:pt>
                <c:pt idx="1613">
                  <c:v>40949</c:v>
                </c:pt>
                <c:pt idx="1614">
                  <c:v>40952</c:v>
                </c:pt>
                <c:pt idx="1615">
                  <c:v>40953</c:v>
                </c:pt>
                <c:pt idx="1616">
                  <c:v>40954</c:v>
                </c:pt>
                <c:pt idx="1617">
                  <c:v>40955</c:v>
                </c:pt>
                <c:pt idx="1618">
                  <c:v>40956</c:v>
                </c:pt>
                <c:pt idx="1619">
                  <c:v>40960</c:v>
                </c:pt>
                <c:pt idx="1620">
                  <c:v>40961</c:v>
                </c:pt>
                <c:pt idx="1621">
                  <c:v>40962</c:v>
                </c:pt>
                <c:pt idx="1622">
                  <c:v>40963</c:v>
                </c:pt>
                <c:pt idx="1623">
                  <c:v>40966</c:v>
                </c:pt>
                <c:pt idx="1624">
                  <c:v>40967</c:v>
                </c:pt>
                <c:pt idx="1625">
                  <c:v>40968</c:v>
                </c:pt>
                <c:pt idx="1626">
                  <c:v>40969</c:v>
                </c:pt>
                <c:pt idx="1627">
                  <c:v>40970</c:v>
                </c:pt>
                <c:pt idx="1628">
                  <c:v>40973</c:v>
                </c:pt>
                <c:pt idx="1629">
                  <c:v>40974</c:v>
                </c:pt>
                <c:pt idx="1630">
                  <c:v>40975</c:v>
                </c:pt>
                <c:pt idx="1631">
                  <c:v>40976</c:v>
                </c:pt>
                <c:pt idx="1632">
                  <c:v>40977</c:v>
                </c:pt>
                <c:pt idx="1633">
                  <c:v>40980</c:v>
                </c:pt>
                <c:pt idx="1634">
                  <c:v>40981</c:v>
                </c:pt>
                <c:pt idx="1635">
                  <c:v>40982</c:v>
                </c:pt>
                <c:pt idx="1636">
                  <c:v>40983</c:v>
                </c:pt>
                <c:pt idx="1637">
                  <c:v>40984</c:v>
                </c:pt>
                <c:pt idx="1638">
                  <c:v>40987</c:v>
                </c:pt>
                <c:pt idx="1639">
                  <c:v>40988</c:v>
                </c:pt>
                <c:pt idx="1640">
                  <c:v>40989</c:v>
                </c:pt>
                <c:pt idx="1641">
                  <c:v>40990</c:v>
                </c:pt>
                <c:pt idx="1642">
                  <c:v>40991</c:v>
                </c:pt>
                <c:pt idx="1643">
                  <c:v>40994</c:v>
                </c:pt>
                <c:pt idx="1644">
                  <c:v>40995</c:v>
                </c:pt>
                <c:pt idx="1645">
                  <c:v>40996</c:v>
                </c:pt>
                <c:pt idx="1646">
                  <c:v>40997</c:v>
                </c:pt>
                <c:pt idx="1647">
                  <c:v>40998</c:v>
                </c:pt>
                <c:pt idx="1648">
                  <c:v>41001</c:v>
                </c:pt>
                <c:pt idx="1649">
                  <c:v>41002</c:v>
                </c:pt>
                <c:pt idx="1650">
                  <c:v>41003</c:v>
                </c:pt>
                <c:pt idx="1651">
                  <c:v>41004</c:v>
                </c:pt>
                <c:pt idx="1652">
                  <c:v>41008</c:v>
                </c:pt>
                <c:pt idx="1653">
                  <c:v>41009</c:v>
                </c:pt>
                <c:pt idx="1654">
                  <c:v>41010</c:v>
                </c:pt>
                <c:pt idx="1655">
                  <c:v>41011</c:v>
                </c:pt>
                <c:pt idx="1656">
                  <c:v>41012</c:v>
                </c:pt>
                <c:pt idx="1657">
                  <c:v>41015</c:v>
                </c:pt>
                <c:pt idx="1658">
                  <c:v>41016</c:v>
                </c:pt>
                <c:pt idx="1659">
                  <c:v>41017</c:v>
                </c:pt>
                <c:pt idx="1660">
                  <c:v>41018</c:v>
                </c:pt>
                <c:pt idx="1661">
                  <c:v>41019</c:v>
                </c:pt>
                <c:pt idx="1662">
                  <c:v>41022</c:v>
                </c:pt>
                <c:pt idx="1663">
                  <c:v>41023</c:v>
                </c:pt>
                <c:pt idx="1664">
                  <c:v>41024</c:v>
                </c:pt>
                <c:pt idx="1665">
                  <c:v>41025</c:v>
                </c:pt>
                <c:pt idx="1666">
                  <c:v>41026</c:v>
                </c:pt>
                <c:pt idx="1667">
                  <c:v>41029</c:v>
                </c:pt>
                <c:pt idx="1668">
                  <c:v>41030</c:v>
                </c:pt>
                <c:pt idx="1669">
                  <c:v>41031</c:v>
                </c:pt>
                <c:pt idx="1670">
                  <c:v>41032</c:v>
                </c:pt>
                <c:pt idx="1671">
                  <c:v>41033</c:v>
                </c:pt>
                <c:pt idx="1672">
                  <c:v>41036</c:v>
                </c:pt>
                <c:pt idx="1673">
                  <c:v>41037</c:v>
                </c:pt>
                <c:pt idx="1674">
                  <c:v>41038</c:v>
                </c:pt>
                <c:pt idx="1675">
                  <c:v>41039</c:v>
                </c:pt>
                <c:pt idx="1676">
                  <c:v>41040</c:v>
                </c:pt>
                <c:pt idx="1677">
                  <c:v>41043</c:v>
                </c:pt>
                <c:pt idx="1678">
                  <c:v>41044</c:v>
                </c:pt>
                <c:pt idx="1679">
                  <c:v>41045</c:v>
                </c:pt>
                <c:pt idx="1680">
                  <c:v>41046</c:v>
                </c:pt>
                <c:pt idx="1681">
                  <c:v>41047</c:v>
                </c:pt>
                <c:pt idx="1682">
                  <c:v>41050</c:v>
                </c:pt>
                <c:pt idx="1683">
                  <c:v>41051</c:v>
                </c:pt>
                <c:pt idx="1684">
                  <c:v>41052</c:v>
                </c:pt>
                <c:pt idx="1685">
                  <c:v>41053</c:v>
                </c:pt>
                <c:pt idx="1686">
                  <c:v>41054</c:v>
                </c:pt>
                <c:pt idx="1687">
                  <c:v>41058</c:v>
                </c:pt>
                <c:pt idx="1688">
                  <c:v>41059</c:v>
                </c:pt>
                <c:pt idx="1689">
                  <c:v>41060</c:v>
                </c:pt>
                <c:pt idx="1690">
                  <c:v>41061</c:v>
                </c:pt>
                <c:pt idx="1691">
                  <c:v>41064</c:v>
                </c:pt>
                <c:pt idx="1692">
                  <c:v>41065</c:v>
                </c:pt>
                <c:pt idx="1693">
                  <c:v>41066</c:v>
                </c:pt>
                <c:pt idx="1694">
                  <c:v>41067</c:v>
                </c:pt>
                <c:pt idx="1695">
                  <c:v>41068</c:v>
                </c:pt>
                <c:pt idx="1696">
                  <c:v>41071</c:v>
                </c:pt>
                <c:pt idx="1697">
                  <c:v>41072</c:v>
                </c:pt>
                <c:pt idx="1698">
                  <c:v>41073</c:v>
                </c:pt>
                <c:pt idx="1699">
                  <c:v>41074</c:v>
                </c:pt>
                <c:pt idx="1700">
                  <c:v>41075</c:v>
                </c:pt>
                <c:pt idx="1701">
                  <c:v>41078</c:v>
                </c:pt>
                <c:pt idx="1702">
                  <c:v>41079</c:v>
                </c:pt>
                <c:pt idx="1703">
                  <c:v>41080</c:v>
                </c:pt>
                <c:pt idx="1704">
                  <c:v>41081</c:v>
                </c:pt>
                <c:pt idx="1705">
                  <c:v>41082</c:v>
                </c:pt>
                <c:pt idx="1706">
                  <c:v>41085</c:v>
                </c:pt>
                <c:pt idx="1707">
                  <c:v>41086</c:v>
                </c:pt>
                <c:pt idx="1708">
                  <c:v>41087</c:v>
                </c:pt>
                <c:pt idx="1709">
                  <c:v>41088</c:v>
                </c:pt>
                <c:pt idx="1710">
                  <c:v>41089</c:v>
                </c:pt>
                <c:pt idx="1711">
                  <c:v>41092</c:v>
                </c:pt>
                <c:pt idx="1712">
                  <c:v>41093</c:v>
                </c:pt>
                <c:pt idx="1713">
                  <c:v>41095</c:v>
                </c:pt>
                <c:pt idx="1714">
                  <c:v>41096</c:v>
                </c:pt>
                <c:pt idx="1715">
                  <c:v>41099</c:v>
                </c:pt>
                <c:pt idx="1716">
                  <c:v>41100</c:v>
                </c:pt>
                <c:pt idx="1717">
                  <c:v>41101</c:v>
                </c:pt>
                <c:pt idx="1718">
                  <c:v>41102</c:v>
                </c:pt>
                <c:pt idx="1719">
                  <c:v>41103</c:v>
                </c:pt>
                <c:pt idx="1720">
                  <c:v>41106</c:v>
                </c:pt>
                <c:pt idx="1721">
                  <c:v>41107</c:v>
                </c:pt>
                <c:pt idx="1722">
                  <c:v>41108</c:v>
                </c:pt>
                <c:pt idx="1723">
                  <c:v>41109</c:v>
                </c:pt>
                <c:pt idx="1724">
                  <c:v>41110</c:v>
                </c:pt>
                <c:pt idx="1725">
                  <c:v>41113</c:v>
                </c:pt>
                <c:pt idx="1726">
                  <c:v>41114</c:v>
                </c:pt>
                <c:pt idx="1727">
                  <c:v>41115</c:v>
                </c:pt>
                <c:pt idx="1728">
                  <c:v>41116</c:v>
                </c:pt>
                <c:pt idx="1729">
                  <c:v>41117</c:v>
                </c:pt>
                <c:pt idx="1730">
                  <c:v>41120</c:v>
                </c:pt>
                <c:pt idx="1731">
                  <c:v>41121</c:v>
                </c:pt>
                <c:pt idx="1732">
                  <c:v>41122</c:v>
                </c:pt>
                <c:pt idx="1733">
                  <c:v>41123</c:v>
                </c:pt>
                <c:pt idx="1734">
                  <c:v>41124</c:v>
                </c:pt>
                <c:pt idx="1735">
                  <c:v>41127</c:v>
                </c:pt>
                <c:pt idx="1736">
                  <c:v>41128</c:v>
                </c:pt>
                <c:pt idx="1737">
                  <c:v>41129</c:v>
                </c:pt>
                <c:pt idx="1738">
                  <c:v>41130</c:v>
                </c:pt>
                <c:pt idx="1739">
                  <c:v>41131</c:v>
                </c:pt>
                <c:pt idx="1740">
                  <c:v>41134</c:v>
                </c:pt>
                <c:pt idx="1741">
                  <c:v>41135</c:v>
                </c:pt>
                <c:pt idx="1742">
                  <c:v>41136</c:v>
                </c:pt>
                <c:pt idx="1743">
                  <c:v>41137</c:v>
                </c:pt>
                <c:pt idx="1744">
                  <c:v>41138</c:v>
                </c:pt>
                <c:pt idx="1745">
                  <c:v>41141</c:v>
                </c:pt>
                <c:pt idx="1746">
                  <c:v>41142</c:v>
                </c:pt>
                <c:pt idx="1747">
                  <c:v>41143</c:v>
                </c:pt>
                <c:pt idx="1748">
                  <c:v>41144</c:v>
                </c:pt>
                <c:pt idx="1749">
                  <c:v>41145</c:v>
                </c:pt>
                <c:pt idx="1750">
                  <c:v>41148</c:v>
                </c:pt>
                <c:pt idx="1751">
                  <c:v>41149</c:v>
                </c:pt>
                <c:pt idx="1752">
                  <c:v>41150</c:v>
                </c:pt>
                <c:pt idx="1753">
                  <c:v>41151</c:v>
                </c:pt>
                <c:pt idx="1754">
                  <c:v>41152</c:v>
                </c:pt>
                <c:pt idx="1755">
                  <c:v>41156</c:v>
                </c:pt>
                <c:pt idx="1756">
                  <c:v>41157</c:v>
                </c:pt>
                <c:pt idx="1757">
                  <c:v>41158</c:v>
                </c:pt>
                <c:pt idx="1758">
                  <c:v>41159</c:v>
                </c:pt>
                <c:pt idx="1759">
                  <c:v>41162</c:v>
                </c:pt>
                <c:pt idx="1760">
                  <c:v>41163</c:v>
                </c:pt>
                <c:pt idx="1761">
                  <c:v>41164</c:v>
                </c:pt>
                <c:pt idx="1762">
                  <c:v>41165</c:v>
                </c:pt>
                <c:pt idx="1763">
                  <c:v>41166</c:v>
                </c:pt>
                <c:pt idx="1764">
                  <c:v>41169</c:v>
                </c:pt>
                <c:pt idx="1765">
                  <c:v>41170</c:v>
                </c:pt>
                <c:pt idx="1766">
                  <c:v>41171</c:v>
                </c:pt>
                <c:pt idx="1767">
                  <c:v>41172</c:v>
                </c:pt>
                <c:pt idx="1768">
                  <c:v>41173</c:v>
                </c:pt>
                <c:pt idx="1769">
                  <c:v>41176</c:v>
                </c:pt>
                <c:pt idx="1770">
                  <c:v>41177</c:v>
                </c:pt>
                <c:pt idx="1771">
                  <c:v>41178</c:v>
                </c:pt>
                <c:pt idx="1772">
                  <c:v>41179</c:v>
                </c:pt>
                <c:pt idx="1773">
                  <c:v>41180</c:v>
                </c:pt>
                <c:pt idx="1774">
                  <c:v>41183</c:v>
                </c:pt>
                <c:pt idx="1775">
                  <c:v>41184</c:v>
                </c:pt>
                <c:pt idx="1776">
                  <c:v>41185</c:v>
                </c:pt>
                <c:pt idx="1777">
                  <c:v>41186</c:v>
                </c:pt>
                <c:pt idx="1778">
                  <c:v>41187</c:v>
                </c:pt>
                <c:pt idx="1779">
                  <c:v>41190</c:v>
                </c:pt>
                <c:pt idx="1780">
                  <c:v>41191</c:v>
                </c:pt>
                <c:pt idx="1781">
                  <c:v>41192</c:v>
                </c:pt>
                <c:pt idx="1782">
                  <c:v>41193</c:v>
                </c:pt>
                <c:pt idx="1783">
                  <c:v>41194</c:v>
                </c:pt>
                <c:pt idx="1784">
                  <c:v>41197</c:v>
                </c:pt>
                <c:pt idx="1785">
                  <c:v>41198</c:v>
                </c:pt>
                <c:pt idx="1786">
                  <c:v>41199</c:v>
                </c:pt>
                <c:pt idx="1787">
                  <c:v>41200</c:v>
                </c:pt>
                <c:pt idx="1788">
                  <c:v>41201</c:v>
                </c:pt>
                <c:pt idx="1789">
                  <c:v>41204</c:v>
                </c:pt>
                <c:pt idx="1790">
                  <c:v>41205</c:v>
                </c:pt>
                <c:pt idx="1791">
                  <c:v>41206</c:v>
                </c:pt>
                <c:pt idx="1792">
                  <c:v>41207</c:v>
                </c:pt>
                <c:pt idx="1793">
                  <c:v>41208</c:v>
                </c:pt>
                <c:pt idx="1794">
                  <c:v>41213</c:v>
                </c:pt>
                <c:pt idx="1795">
                  <c:v>41214</c:v>
                </c:pt>
                <c:pt idx="1796">
                  <c:v>41215</c:v>
                </c:pt>
                <c:pt idx="1797">
                  <c:v>41218</c:v>
                </c:pt>
                <c:pt idx="1798">
                  <c:v>41219</c:v>
                </c:pt>
                <c:pt idx="1799">
                  <c:v>41220</c:v>
                </c:pt>
                <c:pt idx="1800">
                  <c:v>41221</c:v>
                </c:pt>
                <c:pt idx="1801">
                  <c:v>41222</c:v>
                </c:pt>
                <c:pt idx="1802">
                  <c:v>41225</c:v>
                </c:pt>
                <c:pt idx="1803">
                  <c:v>41226</c:v>
                </c:pt>
                <c:pt idx="1804">
                  <c:v>41227</c:v>
                </c:pt>
                <c:pt idx="1805">
                  <c:v>41228</c:v>
                </c:pt>
                <c:pt idx="1806">
                  <c:v>41229</c:v>
                </c:pt>
                <c:pt idx="1807">
                  <c:v>41232</c:v>
                </c:pt>
                <c:pt idx="1808">
                  <c:v>41233</c:v>
                </c:pt>
                <c:pt idx="1809">
                  <c:v>41234</c:v>
                </c:pt>
                <c:pt idx="1810">
                  <c:v>41236</c:v>
                </c:pt>
                <c:pt idx="1811">
                  <c:v>41239</c:v>
                </c:pt>
                <c:pt idx="1812">
                  <c:v>41240</c:v>
                </c:pt>
                <c:pt idx="1813">
                  <c:v>41241</c:v>
                </c:pt>
                <c:pt idx="1814">
                  <c:v>41242</c:v>
                </c:pt>
                <c:pt idx="1815">
                  <c:v>41243</c:v>
                </c:pt>
                <c:pt idx="1816">
                  <c:v>41246</c:v>
                </c:pt>
                <c:pt idx="1817">
                  <c:v>41247</c:v>
                </c:pt>
                <c:pt idx="1818">
                  <c:v>41248</c:v>
                </c:pt>
                <c:pt idx="1819">
                  <c:v>41249</c:v>
                </c:pt>
                <c:pt idx="1820">
                  <c:v>41250</c:v>
                </c:pt>
                <c:pt idx="1821">
                  <c:v>41253</c:v>
                </c:pt>
                <c:pt idx="1822">
                  <c:v>41254</c:v>
                </c:pt>
                <c:pt idx="1823">
                  <c:v>41255</c:v>
                </c:pt>
                <c:pt idx="1824">
                  <c:v>41256</c:v>
                </c:pt>
                <c:pt idx="1825">
                  <c:v>41257</c:v>
                </c:pt>
                <c:pt idx="1826">
                  <c:v>41260</c:v>
                </c:pt>
                <c:pt idx="1827">
                  <c:v>41261</c:v>
                </c:pt>
                <c:pt idx="1828">
                  <c:v>41262</c:v>
                </c:pt>
                <c:pt idx="1829">
                  <c:v>41263</c:v>
                </c:pt>
                <c:pt idx="1830">
                  <c:v>41264</c:v>
                </c:pt>
                <c:pt idx="1831">
                  <c:v>41267</c:v>
                </c:pt>
                <c:pt idx="1832">
                  <c:v>41269</c:v>
                </c:pt>
                <c:pt idx="1833">
                  <c:v>41270</c:v>
                </c:pt>
                <c:pt idx="1834">
                  <c:v>41271</c:v>
                </c:pt>
                <c:pt idx="1835">
                  <c:v>41274</c:v>
                </c:pt>
                <c:pt idx="1836">
                  <c:v>41276</c:v>
                </c:pt>
                <c:pt idx="1837">
                  <c:v>41277</c:v>
                </c:pt>
                <c:pt idx="1838">
                  <c:v>41278</c:v>
                </c:pt>
                <c:pt idx="1839">
                  <c:v>41281</c:v>
                </c:pt>
                <c:pt idx="1840">
                  <c:v>41282</c:v>
                </c:pt>
                <c:pt idx="1841">
                  <c:v>41283</c:v>
                </c:pt>
                <c:pt idx="1842">
                  <c:v>41284</c:v>
                </c:pt>
                <c:pt idx="1843">
                  <c:v>41285</c:v>
                </c:pt>
                <c:pt idx="1844">
                  <c:v>41288</c:v>
                </c:pt>
                <c:pt idx="1845">
                  <c:v>41289</c:v>
                </c:pt>
                <c:pt idx="1846">
                  <c:v>41290</c:v>
                </c:pt>
                <c:pt idx="1847">
                  <c:v>41291</c:v>
                </c:pt>
                <c:pt idx="1848">
                  <c:v>41292</c:v>
                </c:pt>
                <c:pt idx="1849">
                  <c:v>41296</c:v>
                </c:pt>
                <c:pt idx="1850">
                  <c:v>41297</c:v>
                </c:pt>
                <c:pt idx="1851">
                  <c:v>41298</c:v>
                </c:pt>
                <c:pt idx="1852">
                  <c:v>41299</c:v>
                </c:pt>
                <c:pt idx="1853">
                  <c:v>41302</c:v>
                </c:pt>
                <c:pt idx="1854">
                  <c:v>41303</c:v>
                </c:pt>
                <c:pt idx="1855">
                  <c:v>41304</c:v>
                </c:pt>
                <c:pt idx="1856">
                  <c:v>41305</c:v>
                </c:pt>
                <c:pt idx="1857">
                  <c:v>41306</c:v>
                </c:pt>
                <c:pt idx="1858">
                  <c:v>41309</c:v>
                </c:pt>
                <c:pt idx="1859">
                  <c:v>41310</c:v>
                </c:pt>
                <c:pt idx="1860">
                  <c:v>41311</c:v>
                </c:pt>
                <c:pt idx="1861">
                  <c:v>41312</c:v>
                </c:pt>
                <c:pt idx="1862">
                  <c:v>41313</c:v>
                </c:pt>
                <c:pt idx="1863">
                  <c:v>41316</c:v>
                </c:pt>
                <c:pt idx="1864">
                  <c:v>41317</c:v>
                </c:pt>
                <c:pt idx="1865">
                  <c:v>41318</c:v>
                </c:pt>
                <c:pt idx="1866">
                  <c:v>41319</c:v>
                </c:pt>
                <c:pt idx="1867">
                  <c:v>41320</c:v>
                </c:pt>
                <c:pt idx="1868">
                  <c:v>41324</c:v>
                </c:pt>
                <c:pt idx="1869">
                  <c:v>41325</c:v>
                </c:pt>
                <c:pt idx="1870">
                  <c:v>41326</c:v>
                </c:pt>
                <c:pt idx="1871">
                  <c:v>41327</c:v>
                </c:pt>
                <c:pt idx="1872">
                  <c:v>41330</c:v>
                </c:pt>
                <c:pt idx="1873">
                  <c:v>41331</c:v>
                </c:pt>
                <c:pt idx="1874">
                  <c:v>41332</c:v>
                </c:pt>
                <c:pt idx="1875">
                  <c:v>41333</c:v>
                </c:pt>
                <c:pt idx="1876">
                  <c:v>41334</c:v>
                </c:pt>
                <c:pt idx="1877">
                  <c:v>41337</c:v>
                </c:pt>
                <c:pt idx="1878">
                  <c:v>41338</c:v>
                </c:pt>
                <c:pt idx="1879">
                  <c:v>41339</c:v>
                </c:pt>
                <c:pt idx="1880">
                  <c:v>41340</c:v>
                </c:pt>
                <c:pt idx="1881">
                  <c:v>41341</c:v>
                </c:pt>
                <c:pt idx="1882">
                  <c:v>41344</c:v>
                </c:pt>
                <c:pt idx="1883">
                  <c:v>41345</c:v>
                </c:pt>
                <c:pt idx="1884">
                  <c:v>41346</c:v>
                </c:pt>
                <c:pt idx="1885">
                  <c:v>41347</c:v>
                </c:pt>
                <c:pt idx="1886">
                  <c:v>41348</c:v>
                </c:pt>
                <c:pt idx="1887">
                  <c:v>41351</c:v>
                </c:pt>
                <c:pt idx="1888">
                  <c:v>41352</c:v>
                </c:pt>
                <c:pt idx="1889">
                  <c:v>41353</c:v>
                </c:pt>
                <c:pt idx="1890">
                  <c:v>41354</c:v>
                </c:pt>
                <c:pt idx="1891">
                  <c:v>41355</c:v>
                </c:pt>
                <c:pt idx="1892">
                  <c:v>41358</c:v>
                </c:pt>
                <c:pt idx="1893">
                  <c:v>41359</c:v>
                </c:pt>
                <c:pt idx="1894">
                  <c:v>41360</c:v>
                </c:pt>
                <c:pt idx="1895">
                  <c:v>41361</c:v>
                </c:pt>
                <c:pt idx="1896">
                  <c:v>41365</c:v>
                </c:pt>
                <c:pt idx="1897">
                  <c:v>41366</c:v>
                </c:pt>
                <c:pt idx="1898">
                  <c:v>41367</c:v>
                </c:pt>
                <c:pt idx="1899">
                  <c:v>41368</c:v>
                </c:pt>
                <c:pt idx="1900">
                  <c:v>41369</c:v>
                </c:pt>
                <c:pt idx="1901">
                  <c:v>41372</c:v>
                </c:pt>
                <c:pt idx="1902">
                  <c:v>41373</c:v>
                </c:pt>
                <c:pt idx="1903">
                  <c:v>41374</c:v>
                </c:pt>
                <c:pt idx="1904">
                  <c:v>41375</c:v>
                </c:pt>
                <c:pt idx="1905">
                  <c:v>41376</c:v>
                </c:pt>
                <c:pt idx="1906">
                  <c:v>41379</c:v>
                </c:pt>
                <c:pt idx="1907">
                  <c:v>41380</c:v>
                </c:pt>
                <c:pt idx="1908">
                  <c:v>41381</c:v>
                </c:pt>
                <c:pt idx="1909">
                  <c:v>41382</c:v>
                </c:pt>
                <c:pt idx="1910">
                  <c:v>41383</c:v>
                </c:pt>
                <c:pt idx="1911">
                  <c:v>41386</c:v>
                </c:pt>
                <c:pt idx="1912">
                  <c:v>41387</c:v>
                </c:pt>
                <c:pt idx="1913">
                  <c:v>41388</c:v>
                </c:pt>
                <c:pt idx="1914">
                  <c:v>41389</c:v>
                </c:pt>
                <c:pt idx="1915">
                  <c:v>41390</c:v>
                </c:pt>
                <c:pt idx="1916">
                  <c:v>41393</c:v>
                </c:pt>
                <c:pt idx="1917">
                  <c:v>41394</c:v>
                </c:pt>
                <c:pt idx="1918">
                  <c:v>41395</c:v>
                </c:pt>
                <c:pt idx="1919">
                  <c:v>41396</c:v>
                </c:pt>
                <c:pt idx="1920">
                  <c:v>41397</c:v>
                </c:pt>
                <c:pt idx="1921">
                  <c:v>41400</c:v>
                </c:pt>
                <c:pt idx="1922">
                  <c:v>41401</c:v>
                </c:pt>
                <c:pt idx="1923">
                  <c:v>41402</c:v>
                </c:pt>
                <c:pt idx="1924">
                  <c:v>41403</c:v>
                </c:pt>
                <c:pt idx="1925">
                  <c:v>41404</c:v>
                </c:pt>
                <c:pt idx="1926">
                  <c:v>41407</c:v>
                </c:pt>
                <c:pt idx="1927">
                  <c:v>41408</c:v>
                </c:pt>
                <c:pt idx="1928">
                  <c:v>41409</c:v>
                </c:pt>
                <c:pt idx="1929">
                  <c:v>41410</c:v>
                </c:pt>
                <c:pt idx="1930">
                  <c:v>41411</c:v>
                </c:pt>
                <c:pt idx="1931">
                  <c:v>41414</c:v>
                </c:pt>
                <c:pt idx="1932">
                  <c:v>41415</c:v>
                </c:pt>
                <c:pt idx="1933">
                  <c:v>41416</c:v>
                </c:pt>
                <c:pt idx="1934">
                  <c:v>41417</c:v>
                </c:pt>
                <c:pt idx="1935">
                  <c:v>41418</c:v>
                </c:pt>
                <c:pt idx="1936">
                  <c:v>41422</c:v>
                </c:pt>
                <c:pt idx="1937">
                  <c:v>41423</c:v>
                </c:pt>
                <c:pt idx="1938">
                  <c:v>41424</c:v>
                </c:pt>
                <c:pt idx="1939">
                  <c:v>41425</c:v>
                </c:pt>
                <c:pt idx="1940">
                  <c:v>41428</c:v>
                </c:pt>
                <c:pt idx="1941">
                  <c:v>41429</c:v>
                </c:pt>
                <c:pt idx="1942">
                  <c:v>41430</c:v>
                </c:pt>
                <c:pt idx="1943">
                  <c:v>41431</c:v>
                </c:pt>
                <c:pt idx="1944">
                  <c:v>41432</c:v>
                </c:pt>
                <c:pt idx="1945">
                  <c:v>41435</c:v>
                </c:pt>
                <c:pt idx="1946">
                  <c:v>41436</c:v>
                </c:pt>
                <c:pt idx="1947">
                  <c:v>41437</c:v>
                </c:pt>
                <c:pt idx="1948">
                  <c:v>41438</c:v>
                </c:pt>
                <c:pt idx="1949">
                  <c:v>41439</c:v>
                </c:pt>
                <c:pt idx="1950">
                  <c:v>41442</c:v>
                </c:pt>
                <c:pt idx="1951">
                  <c:v>41443</c:v>
                </c:pt>
                <c:pt idx="1952">
                  <c:v>41444</c:v>
                </c:pt>
                <c:pt idx="1953">
                  <c:v>41445</c:v>
                </c:pt>
                <c:pt idx="1954">
                  <c:v>41446</c:v>
                </c:pt>
                <c:pt idx="1955">
                  <c:v>41449</c:v>
                </c:pt>
                <c:pt idx="1956">
                  <c:v>41450</c:v>
                </c:pt>
                <c:pt idx="1957">
                  <c:v>41451</c:v>
                </c:pt>
                <c:pt idx="1958">
                  <c:v>41452</c:v>
                </c:pt>
                <c:pt idx="1959">
                  <c:v>41453</c:v>
                </c:pt>
                <c:pt idx="1960">
                  <c:v>41456</c:v>
                </c:pt>
                <c:pt idx="1961">
                  <c:v>41457</c:v>
                </c:pt>
                <c:pt idx="1962">
                  <c:v>41458</c:v>
                </c:pt>
                <c:pt idx="1963">
                  <c:v>41460</c:v>
                </c:pt>
                <c:pt idx="1964">
                  <c:v>41463</c:v>
                </c:pt>
                <c:pt idx="1965">
                  <c:v>41464</c:v>
                </c:pt>
                <c:pt idx="1966">
                  <c:v>41465</c:v>
                </c:pt>
                <c:pt idx="1967">
                  <c:v>41466</c:v>
                </c:pt>
                <c:pt idx="1968">
                  <c:v>41467</c:v>
                </c:pt>
                <c:pt idx="1969">
                  <c:v>41470</c:v>
                </c:pt>
                <c:pt idx="1970">
                  <c:v>41471</c:v>
                </c:pt>
                <c:pt idx="1971">
                  <c:v>41472</c:v>
                </c:pt>
                <c:pt idx="1972">
                  <c:v>41473</c:v>
                </c:pt>
                <c:pt idx="1973">
                  <c:v>41474</c:v>
                </c:pt>
                <c:pt idx="1974">
                  <c:v>41477</c:v>
                </c:pt>
                <c:pt idx="1975">
                  <c:v>41478</c:v>
                </c:pt>
                <c:pt idx="1976">
                  <c:v>41479</c:v>
                </c:pt>
                <c:pt idx="1977">
                  <c:v>41480</c:v>
                </c:pt>
                <c:pt idx="1978">
                  <c:v>41481</c:v>
                </c:pt>
                <c:pt idx="1979">
                  <c:v>41484</c:v>
                </c:pt>
                <c:pt idx="1980">
                  <c:v>41485</c:v>
                </c:pt>
                <c:pt idx="1981">
                  <c:v>41486</c:v>
                </c:pt>
                <c:pt idx="1982">
                  <c:v>41487</c:v>
                </c:pt>
                <c:pt idx="1983">
                  <c:v>41488</c:v>
                </c:pt>
                <c:pt idx="1984">
                  <c:v>41491</c:v>
                </c:pt>
                <c:pt idx="1985">
                  <c:v>41492</c:v>
                </c:pt>
                <c:pt idx="1986">
                  <c:v>41493</c:v>
                </c:pt>
                <c:pt idx="1987">
                  <c:v>41494</c:v>
                </c:pt>
                <c:pt idx="1988">
                  <c:v>41495</c:v>
                </c:pt>
                <c:pt idx="1989">
                  <c:v>41498</c:v>
                </c:pt>
                <c:pt idx="1990">
                  <c:v>41499</c:v>
                </c:pt>
                <c:pt idx="1991">
                  <c:v>41500</c:v>
                </c:pt>
                <c:pt idx="1992">
                  <c:v>41501</c:v>
                </c:pt>
                <c:pt idx="1993">
                  <c:v>41502</c:v>
                </c:pt>
                <c:pt idx="1994">
                  <c:v>41505</c:v>
                </c:pt>
                <c:pt idx="1995">
                  <c:v>41506</c:v>
                </c:pt>
                <c:pt idx="1996">
                  <c:v>41507</c:v>
                </c:pt>
                <c:pt idx="1997">
                  <c:v>41508</c:v>
                </c:pt>
                <c:pt idx="1998">
                  <c:v>41509</c:v>
                </c:pt>
                <c:pt idx="1999">
                  <c:v>41512</c:v>
                </c:pt>
                <c:pt idx="2000">
                  <c:v>41513</c:v>
                </c:pt>
                <c:pt idx="2001">
                  <c:v>41514</c:v>
                </c:pt>
                <c:pt idx="2002">
                  <c:v>41515</c:v>
                </c:pt>
                <c:pt idx="2003">
                  <c:v>41516</c:v>
                </c:pt>
                <c:pt idx="2004">
                  <c:v>41520</c:v>
                </c:pt>
                <c:pt idx="2005">
                  <c:v>41521</c:v>
                </c:pt>
                <c:pt idx="2006">
                  <c:v>41522</c:v>
                </c:pt>
                <c:pt idx="2007">
                  <c:v>41523</c:v>
                </c:pt>
                <c:pt idx="2008">
                  <c:v>41526</c:v>
                </c:pt>
                <c:pt idx="2009">
                  <c:v>41527</c:v>
                </c:pt>
                <c:pt idx="2010">
                  <c:v>41528</c:v>
                </c:pt>
                <c:pt idx="2011">
                  <c:v>41529</c:v>
                </c:pt>
                <c:pt idx="2012">
                  <c:v>41530</c:v>
                </c:pt>
                <c:pt idx="2013">
                  <c:v>41533</c:v>
                </c:pt>
                <c:pt idx="2014">
                  <c:v>41534</c:v>
                </c:pt>
                <c:pt idx="2015">
                  <c:v>41535</c:v>
                </c:pt>
                <c:pt idx="2016">
                  <c:v>41536</c:v>
                </c:pt>
                <c:pt idx="2017">
                  <c:v>41537</c:v>
                </c:pt>
                <c:pt idx="2018">
                  <c:v>41540</c:v>
                </c:pt>
                <c:pt idx="2019">
                  <c:v>41541</c:v>
                </c:pt>
                <c:pt idx="2020">
                  <c:v>41542</c:v>
                </c:pt>
                <c:pt idx="2021">
                  <c:v>41543</c:v>
                </c:pt>
                <c:pt idx="2022">
                  <c:v>41544</c:v>
                </c:pt>
                <c:pt idx="2023">
                  <c:v>41547</c:v>
                </c:pt>
                <c:pt idx="2024">
                  <c:v>41548</c:v>
                </c:pt>
                <c:pt idx="2025">
                  <c:v>41549</c:v>
                </c:pt>
                <c:pt idx="2026">
                  <c:v>41550</c:v>
                </c:pt>
                <c:pt idx="2027">
                  <c:v>41551</c:v>
                </c:pt>
                <c:pt idx="2028">
                  <c:v>41554</c:v>
                </c:pt>
                <c:pt idx="2029">
                  <c:v>41555</c:v>
                </c:pt>
                <c:pt idx="2030">
                  <c:v>41556</c:v>
                </c:pt>
                <c:pt idx="2031">
                  <c:v>41557</c:v>
                </c:pt>
                <c:pt idx="2032">
                  <c:v>41558</c:v>
                </c:pt>
                <c:pt idx="2033">
                  <c:v>41561</c:v>
                </c:pt>
                <c:pt idx="2034">
                  <c:v>41562</c:v>
                </c:pt>
                <c:pt idx="2035">
                  <c:v>41563</c:v>
                </c:pt>
                <c:pt idx="2036">
                  <c:v>41564</c:v>
                </c:pt>
                <c:pt idx="2037">
                  <c:v>41565</c:v>
                </c:pt>
                <c:pt idx="2038">
                  <c:v>41568</c:v>
                </c:pt>
                <c:pt idx="2039">
                  <c:v>41569</c:v>
                </c:pt>
                <c:pt idx="2040">
                  <c:v>41570</c:v>
                </c:pt>
                <c:pt idx="2041">
                  <c:v>41571</c:v>
                </c:pt>
                <c:pt idx="2042">
                  <c:v>41572</c:v>
                </c:pt>
                <c:pt idx="2043">
                  <c:v>41575</c:v>
                </c:pt>
                <c:pt idx="2044">
                  <c:v>41576</c:v>
                </c:pt>
                <c:pt idx="2045">
                  <c:v>41577</c:v>
                </c:pt>
                <c:pt idx="2046">
                  <c:v>41578</c:v>
                </c:pt>
                <c:pt idx="2047">
                  <c:v>41579</c:v>
                </c:pt>
                <c:pt idx="2048">
                  <c:v>41582</c:v>
                </c:pt>
                <c:pt idx="2049">
                  <c:v>41583</c:v>
                </c:pt>
                <c:pt idx="2050">
                  <c:v>41584</c:v>
                </c:pt>
                <c:pt idx="2051">
                  <c:v>41585</c:v>
                </c:pt>
                <c:pt idx="2052">
                  <c:v>41586</c:v>
                </c:pt>
                <c:pt idx="2053">
                  <c:v>41589</c:v>
                </c:pt>
                <c:pt idx="2054">
                  <c:v>41590</c:v>
                </c:pt>
                <c:pt idx="2055">
                  <c:v>41591</c:v>
                </c:pt>
                <c:pt idx="2056">
                  <c:v>41592</c:v>
                </c:pt>
                <c:pt idx="2057">
                  <c:v>41593</c:v>
                </c:pt>
                <c:pt idx="2058">
                  <c:v>41596</c:v>
                </c:pt>
                <c:pt idx="2059">
                  <c:v>41597</c:v>
                </c:pt>
                <c:pt idx="2060">
                  <c:v>41598</c:v>
                </c:pt>
                <c:pt idx="2061">
                  <c:v>41599</c:v>
                </c:pt>
                <c:pt idx="2062">
                  <c:v>41600</c:v>
                </c:pt>
                <c:pt idx="2063">
                  <c:v>41603</c:v>
                </c:pt>
                <c:pt idx="2064">
                  <c:v>41604</c:v>
                </c:pt>
                <c:pt idx="2065">
                  <c:v>41605</c:v>
                </c:pt>
                <c:pt idx="2066">
                  <c:v>41607</c:v>
                </c:pt>
                <c:pt idx="2067">
                  <c:v>41610</c:v>
                </c:pt>
                <c:pt idx="2068">
                  <c:v>41611</c:v>
                </c:pt>
                <c:pt idx="2069">
                  <c:v>41612</c:v>
                </c:pt>
                <c:pt idx="2070">
                  <c:v>41613</c:v>
                </c:pt>
                <c:pt idx="2071">
                  <c:v>41614</c:v>
                </c:pt>
                <c:pt idx="2072">
                  <c:v>41617</c:v>
                </c:pt>
                <c:pt idx="2073">
                  <c:v>41618</c:v>
                </c:pt>
                <c:pt idx="2074">
                  <c:v>41619</c:v>
                </c:pt>
                <c:pt idx="2075">
                  <c:v>41620</c:v>
                </c:pt>
                <c:pt idx="2076">
                  <c:v>41621</c:v>
                </c:pt>
                <c:pt idx="2077">
                  <c:v>41624</c:v>
                </c:pt>
                <c:pt idx="2078">
                  <c:v>41625</c:v>
                </c:pt>
                <c:pt idx="2079">
                  <c:v>41626</c:v>
                </c:pt>
                <c:pt idx="2080">
                  <c:v>41627</c:v>
                </c:pt>
                <c:pt idx="2081">
                  <c:v>41628</c:v>
                </c:pt>
                <c:pt idx="2082">
                  <c:v>41631</c:v>
                </c:pt>
                <c:pt idx="2083">
                  <c:v>41632</c:v>
                </c:pt>
                <c:pt idx="2084">
                  <c:v>41634</c:v>
                </c:pt>
                <c:pt idx="2085">
                  <c:v>41635</c:v>
                </c:pt>
                <c:pt idx="2086">
                  <c:v>41638</c:v>
                </c:pt>
                <c:pt idx="2087">
                  <c:v>41639</c:v>
                </c:pt>
                <c:pt idx="2088">
                  <c:v>41641</c:v>
                </c:pt>
                <c:pt idx="2089">
                  <c:v>41642</c:v>
                </c:pt>
                <c:pt idx="2090">
                  <c:v>41645</c:v>
                </c:pt>
                <c:pt idx="2091">
                  <c:v>41646</c:v>
                </c:pt>
                <c:pt idx="2092">
                  <c:v>41647</c:v>
                </c:pt>
                <c:pt idx="2093">
                  <c:v>41648</c:v>
                </c:pt>
                <c:pt idx="2094">
                  <c:v>41649</c:v>
                </c:pt>
                <c:pt idx="2095">
                  <c:v>41652</c:v>
                </c:pt>
                <c:pt idx="2096">
                  <c:v>41653</c:v>
                </c:pt>
                <c:pt idx="2097">
                  <c:v>41654</c:v>
                </c:pt>
                <c:pt idx="2098">
                  <c:v>41655</c:v>
                </c:pt>
                <c:pt idx="2099">
                  <c:v>41656</c:v>
                </c:pt>
                <c:pt idx="2100">
                  <c:v>41660</c:v>
                </c:pt>
                <c:pt idx="2101">
                  <c:v>41661</c:v>
                </c:pt>
                <c:pt idx="2102">
                  <c:v>41662</c:v>
                </c:pt>
                <c:pt idx="2103">
                  <c:v>41663</c:v>
                </c:pt>
                <c:pt idx="2104">
                  <c:v>41666</c:v>
                </c:pt>
                <c:pt idx="2105">
                  <c:v>41667</c:v>
                </c:pt>
                <c:pt idx="2106">
                  <c:v>41668</c:v>
                </c:pt>
                <c:pt idx="2107">
                  <c:v>41669</c:v>
                </c:pt>
                <c:pt idx="2108">
                  <c:v>41670</c:v>
                </c:pt>
                <c:pt idx="2109">
                  <c:v>41673</c:v>
                </c:pt>
                <c:pt idx="2110">
                  <c:v>41674</c:v>
                </c:pt>
                <c:pt idx="2111">
                  <c:v>41675</c:v>
                </c:pt>
                <c:pt idx="2112">
                  <c:v>41676</c:v>
                </c:pt>
                <c:pt idx="2113">
                  <c:v>41677</c:v>
                </c:pt>
                <c:pt idx="2114">
                  <c:v>41680</c:v>
                </c:pt>
                <c:pt idx="2115">
                  <c:v>41681</c:v>
                </c:pt>
                <c:pt idx="2116">
                  <c:v>41682</c:v>
                </c:pt>
                <c:pt idx="2117">
                  <c:v>41683</c:v>
                </c:pt>
                <c:pt idx="2118">
                  <c:v>41684</c:v>
                </c:pt>
                <c:pt idx="2119">
                  <c:v>41688</c:v>
                </c:pt>
                <c:pt idx="2120">
                  <c:v>41689</c:v>
                </c:pt>
                <c:pt idx="2121">
                  <c:v>41690</c:v>
                </c:pt>
                <c:pt idx="2122">
                  <c:v>41691</c:v>
                </c:pt>
                <c:pt idx="2123">
                  <c:v>41694</c:v>
                </c:pt>
                <c:pt idx="2124">
                  <c:v>41695</c:v>
                </c:pt>
                <c:pt idx="2125">
                  <c:v>41696</c:v>
                </c:pt>
                <c:pt idx="2126">
                  <c:v>41697</c:v>
                </c:pt>
                <c:pt idx="2127">
                  <c:v>41698</c:v>
                </c:pt>
                <c:pt idx="2128">
                  <c:v>41701</c:v>
                </c:pt>
                <c:pt idx="2129">
                  <c:v>41702</c:v>
                </c:pt>
                <c:pt idx="2130">
                  <c:v>41703</c:v>
                </c:pt>
                <c:pt idx="2131">
                  <c:v>41704</c:v>
                </c:pt>
                <c:pt idx="2132">
                  <c:v>41705</c:v>
                </c:pt>
                <c:pt idx="2133">
                  <c:v>41708</c:v>
                </c:pt>
                <c:pt idx="2134">
                  <c:v>41709</c:v>
                </c:pt>
                <c:pt idx="2135">
                  <c:v>41710</c:v>
                </c:pt>
                <c:pt idx="2136">
                  <c:v>41711</c:v>
                </c:pt>
                <c:pt idx="2137">
                  <c:v>41712</c:v>
                </c:pt>
                <c:pt idx="2138">
                  <c:v>41715</c:v>
                </c:pt>
                <c:pt idx="2139">
                  <c:v>41716</c:v>
                </c:pt>
                <c:pt idx="2140">
                  <c:v>41717</c:v>
                </c:pt>
                <c:pt idx="2141">
                  <c:v>41718</c:v>
                </c:pt>
                <c:pt idx="2142">
                  <c:v>41719</c:v>
                </c:pt>
                <c:pt idx="2143">
                  <c:v>41722</c:v>
                </c:pt>
                <c:pt idx="2144">
                  <c:v>41723</c:v>
                </c:pt>
                <c:pt idx="2145">
                  <c:v>41724</c:v>
                </c:pt>
                <c:pt idx="2146">
                  <c:v>41725</c:v>
                </c:pt>
                <c:pt idx="2147">
                  <c:v>41726</c:v>
                </c:pt>
                <c:pt idx="2148">
                  <c:v>41729</c:v>
                </c:pt>
                <c:pt idx="2149">
                  <c:v>41730</c:v>
                </c:pt>
                <c:pt idx="2150">
                  <c:v>41731</c:v>
                </c:pt>
                <c:pt idx="2151">
                  <c:v>41732</c:v>
                </c:pt>
                <c:pt idx="2152">
                  <c:v>41733</c:v>
                </c:pt>
                <c:pt idx="2153">
                  <c:v>41736</c:v>
                </c:pt>
                <c:pt idx="2154">
                  <c:v>41737</c:v>
                </c:pt>
                <c:pt idx="2155">
                  <c:v>41738</c:v>
                </c:pt>
                <c:pt idx="2156">
                  <c:v>41739</c:v>
                </c:pt>
                <c:pt idx="2157">
                  <c:v>41740</c:v>
                </c:pt>
                <c:pt idx="2158">
                  <c:v>41743</c:v>
                </c:pt>
                <c:pt idx="2159">
                  <c:v>41744</c:v>
                </c:pt>
                <c:pt idx="2160">
                  <c:v>41745</c:v>
                </c:pt>
                <c:pt idx="2161">
                  <c:v>41746</c:v>
                </c:pt>
                <c:pt idx="2162">
                  <c:v>41750</c:v>
                </c:pt>
                <c:pt idx="2163">
                  <c:v>41751</c:v>
                </c:pt>
                <c:pt idx="2164">
                  <c:v>41752</c:v>
                </c:pt>
                <c:pt idx="2165">
                  <c:v>41753</c:v>
                </c:pt>
                <c:pt idx="2166">
                  <c:v>41754</c:v>
                </c:pt>
                <c:pt idx="2167">
                  <c:v>41757</c:v>
                </c:pt>
                <c:pt idx="2168">
                  <c:v>41758</c:v>
                </c:pt>
                <c:pt idx="2169">
                  <c:v>41759</c:v>
                </c:pt>
                <c:pt idx="2170">
                  <c:v>41760</c:v>
                </c:pt>
                <c:pt idx="2171">
                  <c:v>41761</c:v>
                </c:pt>
                <c:pt idx="2172">
                  <c:v>41764</c:v>
                </c:pt>
                <c:pt idx="2173">
                  <c:v>41765</c:v>
                </c:pt>
                <c:pt idx="2174">
                  <c:v>41766</c:v>
                </c:pt>
                <c:pt idx="2175">
                  <c:v>41767</c:v>
                </c:pt>
                <c:pt idx="2176">
                  <c:v>41768</c:v>
                </c:pt>
                <c:pt idx="2177">
                  <c:v>41771</c:v>
                </c:pt>
                <c:pt idx="2178">
                  <c:v>41772</c:v>
                </c:pt>
                <c:pt idx="2179">
                  <c:v>41773</c:v>
                </c:pt>
                <c:pt idx="2180">
                  <c:v>41774</c:v>
                </c:pt>
                <c:pt idx="2181">
                  <c:v>41775</c:v>
                </c:pt>
                <c:pt idx="2182">
                  <c:v>41778</c:v>
                </c:pt>
                <c:pt idx="2183">
                  <c:v>41779</c:v>
                </c:pt>
                <c:pt idx="2184">
                  <c:v>41780</c:v>
                </c:pt>
                <c:pt idx="2185">
                  <c:v>41781</c:v>
                </c:pt>
                <c:pt idx="2186">
                  <c:v>41782</c:v>
                </c:pt>
                <c:pt idx="2187">
                  <c:v>41786</c:v>
                </c:pt>
                <c:pt idx="2188">
                  <c:v>41787</c:v>
                </c:pt>
                <c:pt idx="2189">
                  <c:v>41788</c:v>
                </c:pt>
                <c:pt idx="2190">
                  <c:v>41789</c:v>
                </c:pt>
                <c:pt idx="2191">
                  <c:v>41792</c:v>
                </c:pt>
                <c:pt idx="2192">
                  <c:v>41793</c:v>
                </c:pt>
                <c:pt idx="2193">
                  <c:v>41794</c:v>
                </c:pt>
                <c:pt idx="2194">
                  <c:v>41795</c:v>
                </c:pt>
                <c:pt idx="2195">
                  <c:v>41796</c:v>
                </c:pt>
                <c:pt idx="2196">
                  <c:v>41799</c:v>
                </c:pt>
                <c:pt idx="2197">
                  <c:v>41800</c:v>
                </c:pt>
                <c:pt idx="2198">
                  <c:v>41801</c:v>
                </c:pt>
                <c:pt idx="2199">
                  <c:v>41802</c:v>
                </c:pt>
                <c:pt idx="2200">
                  <c:v>41803</c:v>
                </c:pt>
                <c:pt idx="2201">
                  <c:v>41806</c:v>
                </c:pt>
                <c:pt idx="2202">
                  <c:v>41807</c:v>
                </c:pt>
                <c:pt idx="2203">
                  <c:v>41808</c:v>
                </c:pt>
                <c:pt idx="2204">
                  <c:v>41809</c:v>
                </c:pt>
                <c:pt idx="2205">
                  <c:v>41810</c:v>
                </c:pt>
                <c:pt idx="2206">
                  <c:v>41813</c:v>
                </c:pt>
                <c:pt idx="2207">
                  <c:v>41814</c:v>
                </c:pt>
                <c:pt idx="2208">
                  <c:v>41815</c:v>
                </c:pt>
                <c:pt idx="2209">
                  <c:v>41816</c:v>
                </c:pt>
                <c:pt idx="2210">
                  <c:v>41817</c:v>
                </c:pt>
                <c:pt idx="2211">
                  <c:v>41820</c:v>
                </c:pt>
                <c:pt idx="2212">
                  <c:v>41821</c:v>
                </c:pt>
                <c:pt idx="2213">
                  <c:v>41822</c:v>
                </c:pt>
                <c:pt idx="2214">
                  <c:v>41823</c:v>
                </c:pt>
                <c:pt idx="2215">
                  <c:v>41827</c:v>
                </c:pt>
                <c:pt idx="2216">
                  <c:v>41828</c:v>
                </c:pt>
                <c:pt idx="2217">
                  <c:v>41829</c:v>
                </c:pt>
                <c:pt idx="2218">
                  <c:v>41830</c:v>
                </c:pt>
                <c:pt idx="2219">
                  <c:v>41831</c:v>
                </c:pt>
                <c:pt idx="2220">
                  <c:v>41834</c:v>
                </c:pt>
                <c:pt idx="2221">
                  <c:v>41835</c:v>
                </c:pt>
                <c:pt idx="2222">
                  <c:v>41836</c:v>
                </c:pt>
                <c:pt idx="2223">
                  <c:v>41837</c:v>
                </c:pt>
                <c:pt idx="2224">
                  <c:v>41838</c:v>
                </c:pt>
                <c:pt idx="2225">
                  <c:v>41841</c:v>
                </c:pt>
                <c:pt idx="2226">
                  <c:v>41842</c:v>
                </c:pt>
                <c:pt idx="2227">
                  <c:v>41843</c:v>
                </c:pt>
                <c:pt idx="2228">
                  <c:v>41844</c:v>
                </c:pt>
                <c:pt idx="2229">
                  <c:v>41845</c:v>
                </c:pt>
                <c:pt idx="2230">
                  <c:v>41848</c:v>
                </c:pt>
                <c:pt idx="2231">
                  <c:v>41849</c:v>
                </c:pt>
                <c:pt idx="2232">
                  <c:v>41850</c:v>
                </c:pt>
                <c:pt idx="2233">
                  <c:v>41851</c:v>
                </c:pt>
                <c:pt idx="2234">
                  <c:v>41852</c:v>
                </c:pt>
                <c:pt idx="2235">
                  <c:v>41855</c:v>
                </c:pt>
                <c:pt idx="2236">
                  <c:v>41856</c:v>
                </c:pt>
                <c:pt idx="2237">
                  <c:v>41857</c:v>
                </c:pt>
                <c:pt idx="2238">
                  <c:v>41858</c:v>
                </c:pt>
                <c:pt idx="2239">
                  <c:v>41859</c:v>
                </c:pt>
                <c:pt idx="2240">
                  <c:v>41862</c:v>
                </c:pt>
                <c:pt idx="2241">
                  <c:v>41863</c:v>
                </c:pt>
                <c:pt idx="2242">
                  <c:v>41864</c:v>
                </c:pt>
                <c:pt idx="2243">
                  <c:v>41865</c:v>
                </c:pt>
                <c:pt idx="2244">
                  <c:v>41866</c:v>
                </c:pt>
                <c:pt idx="2245">
                  <c:v>41869</c:v>
                </c:pt>
                <c:pt idx="2246">
                  <c:v>41870</c:v>
                </c:pt>
                <c:pt idx="2247">
                  <c:v>41871</c:v>
                </c:pt>
                <c:pt idx="2248">
                  <c:v>41872</c:v>
                </c:pt>
                <c:pt idx="2249">
                  <c:v>41873</c:v>
                </c:pt>
                <c:pt idx="2250">
                  <c:v>41876</c:v>
                </c:pt>
                <c:pt idx="2251">
                  <c:v>41877</c:v>
                </c:pt>
                <c:pt idx="2252">
                  <c:v>41878</c:v>
                </c:pt>
                <c:pt idx="2253">
                  <c:v>41879</c:v>
                </c:pt>
                <c:pt idx="2254">
                  <c:v>41880</c:v>
                </c:pt>
                <c:pt idx="2255">
                  <c:v>41884</c:v>
                </c:pt>
                <c:pt idx="2256">
                  <c:v>41885</c:v>
                </c:pt>
                <c:pt idx="2257">
                  <c:v>41886</c:v>
                </c:pt>
                <c:pt idx="2258">
                  <c:v>41887</c:v>
                </c:pt>
                <c:pt idx="2259">
                  <c:v>41890</c:v>
                </c:pt>
                <c:pt idx="2260">
                  <c:v>41891</c:v>
                </c:pt>
                <c:pt idx="2261">
                  <c:v>41892</c:v>
                </c:pt>
                <c:pt idx="2262">
                  <c:v>41893</c:v>
                </c:pt>
                <c:pt idx="2263">
                  <c:v>41894</c:v>
                </c:pt>
                <c:pt idx="2264">
                  <c:v>41897</c:v>
                </c:pt>
                <c:pt idx="2265">
                  <c:v>41898</c:v>
                </c:pt>
                <c:pt idx="2266">
                  <c:v>41899</c:v>
                </c:pt>
                <c:pt idx="2267">
                  <c:v>41900</c:v>
                </c:pt>
                <c:pt idx="2268">
                  <c:v>41901</c:v>
                </c:pt>
                <c:pt idx="2269">
                  <c:v>41904</c:v>
                </c:pt>
                <c:pt idx="2270">
                  <c:v>41905</c:v>
                </c:pt>
                <c:pt idx="2271">
                  <c:v>41906</c:v>
                </c:pt>
                <c:pt idx="2272">
                  <c:v>41907</c:v>
                </c:pt>
                <c:pt idx="2273">
                  <c:v>41908</c:v>
                </c:pt>
                <c:pt idx="2274">
                  <c:v>41911</c:v>
                </c:pt>
                <c:pt idx="2275">
                  <c:v>41912</c:v>
                </c:pt>
                <c:pt idx="2276">
                  <c:v>41913</c:v>
                </c:pt>
                <c:pt idx="2277">
                  <c:v>41914</c:v>
                </c:pt>
                <c:pt idx="2278">
                  <c:v>41915</c:v>
                </c:pt>
                <c:pt idx="2279">
                  <c:v>41918</c:v>
                </c:pt>
                <c:pt idx="2280">
                  <c:v>41919</c:v>
                </c:pt>
                <c:pt idx="2281">
                  <c:v>41920</c:v>
                </c:pt>
                <c:pt idx="2282">
                  <c:v>41921</c:v>
                </c:pt>
                <c:pt idx="2283">
                  <c:v>41922</c:v>
                </c:pt>
                <c:pt idx="2284">
                  <c:v>41925</c:v>
                </c:pt>
                <c:pt idx="2285">
                  <c:v>41926</c:v>
                </c:pt>
                <c:pt idx="2286">
                  <c:v>41927</c:v>
                </c:pt>
                <c:pt idx="2287">
                  <c:v>41928</c:v>
                </c:pt>
                <c:pt idx="2288">
                  <c:v>41929</c:v>
                </c:pt>
                <c:pt idx="2289">
                  <c:v>41932</c:v>
                </c:pt>
                <c:pt idx="2290">
                  <c:v>41933</c:v>
                </c:pt>
                <c:pt idx="2291">
                  <c:v>41934</c:v>
                </c:pt>
                <c:pt idx="2292">
                  <c:v>41935</c:v>
                </c:pt>
                <c:pt idx="2293">
                  <c:v>41936</c:v>
                </c:pt>
                <c:pt idx="2294">
                  <c:v>41939</c:v>
                </c:pt>
                <c:pt idx="2295">
                  <c:v>41940</c:v>
                </c:pt>
                <c:pt idx="2296">
                  <c:v>41941</c:v>
                </c:pt>
                <c:pt idx="2297">
                  <c:v>41942</c:v>
                </c:pt>
                <c:pt idx="2298">
                  <c:v>41943</c:v>
                </c:pt>
                <c:pt idx="2299">
                  <c:v>41946</c:v>
                </c:pt>
                <c:pt idx="2300">
                  <c:v>41947</c:v>
                </c:pt>
                <c:pt idx="2301">
                  <c:v>41948</c:v>
                </c:pt>
                <c:pt idx="2302">
                  <c:v>41949</c:v>
                </c:pt>
                <c:pt idx="2303">
                  <c:v>41950</c:v>
                </c:pt>
                <c:pt idx="2304">
                  <c:v>41953</c:v>
                </c:pt>
                <c:pt idx="2305">
                  <c:v>41954</c:v>
                </c:pt>
                <c:pt idx="2306">
                  <c:v>41955</c:v>
                </c:pt>
                <c:pt idx="2307">
                  <c:v>41956</c:v>
                </c:pt>
                <c:pt idx="2308">
                  <c:v>41957</c:v>
                </c:pt>
                <c:pt idx="2309">
                  <c:v>41960</c:v>
                </c:pt>
                <c:pt idx="2310">
                  <c:v>41961</c:v>
                </c:pt>
                <c:pt idx="2311">
                  <c:v>41962</c:v>
                </c:pt>
                <c:pt idx="2312">
                  <c:v>41963</c:v>
                </c:pt>
                <c:pt idx="2313">
                  <c:v>41964</c:v>
                </c:pt>
                <c:pt idx="2314">
                  <c:v>41967</c:v>
                </c:pt>
                <c:pt idx="2315">
                  <c:v>41968</c:v>
                </c:pt>
                <c:pt idx="2316">
                  <c:v>41969</c:v>
                </c:pt>
                <c:pt idx="2317">
                  <c:v>41971</c:v>
                </c:pt>
                <c:pt idx="2318">
                  <c:v>41974</c:v>
                </c:pt>
                <c:pt idx="2319">
                  <c:v>41975</c:v>
                </c:pt>
                <c:pt idx="2320">
                  <c:v>41976</c:v>
                </c:pt>
                <c:pt idx="2321">
                  <c:v>41977</c:v>
                </c:pt>
                <c:pt idx="2322">
                  <c:v>41978</c:v>
                </c:pt>
                <c:pt idx="2323">
                  <c:v>41981</c:v>
                </c:pt>
                <c:pt idx="2324">
                  <c:v>41982</c:v>
                </c:pt>
                <c:pt idx="2325">
                  <c:v>41983</c:v>
                </c:pt>
                <c:pt idx="2326">
                  <c:v>41984</c:v>
                </c:pt>
                <c:pt idx="2327">
                  <c:v>41985</c:v>
                </c:pt>
                <c:pt idx="2328">
                  <c:v>41988</c:v>
                </c:pt>
                <c:pt idx="2329">
                  <c:v>41989</c:v>
                </c:pt>
                <c:pt idx="2330">
                  <c:v>41990</c:v>
                </c:pt>
                <c:pt idx="2331">
                  <c:v>41991</c:v>
                </c:pt>
                <c:pt idx="2332">
                  <c:v>41992</c:v>
                </c:pt>
                <c:pt idx="2333">
                  <c:v>41995</c:v>
                </c:pt>
                <c:pt idx="2334">
                  <c:v>41996</c:v>
                </c:pt>
                <c:pt idx="2335">
                  <c:v>41997</c:v>
                </c:pt>
                <c:pt idx="2336">
                  <c:v>41999</c:v>
                </c:pt>
                <c:pt idx="2337">
                  <c:v>42002</c:v>
                </c:pt>
                <c:pt idx="2338">
                  <c:v>42003</c:v>
                </c:pt>
                <c:pt idx="2339">
                  <c:v>42004</c:v>
                </c:pt>
                <c:pt idx="2340">
                  <c:v>42006</c:v>
                </c:pt>
                <c:pt idx="2341">
                  <c:v>42009</c:v>
                </c:pt>
                <c:pt idx="2342">
                  <c:v>42010</c:v>
                </c:pt>
                <c:pt idx="2343">
                  <c:v>42011</c:v>
                </c:pt>
                <c:pt idx="2344">
                  <c:v>42012</c:v>
                </c:pt>
                <c:pt idx="2345">
                  <c:v>42013</c:v>
                </c:pt>
                <c:pt idx="2346">
                  <c:v>42016</c:v>
                </c:pt>
                <c:pt idx="2347">
                  <c:v>42017</c:v>
                </c:pt>
                <c:pt idx="2348">
                  <c:v>42018</c:v>
                </c:pt>
                <c:pt idx="2349">
                  <c:v>42019</c:v>
                </c:pt>
                <c:pt idx="2350">
                  <c:v>42020</c:v>
                </c:pt>
                <c:pt idx="2351">
                  <c:v>42024</c:v>
                </c:pt>
                <c:pt idx="2352">
                  <c:v>42025</c:v>
                </c:pt>
                <c:pt idx="2353">
                  <c:v>42026</c:v>
                </c:pt>
                <c:pt idx="2354">
                  <c:v>42027</c:v>
                </c:pt>
                <c:pt idx="2355">
                  <c:v>42030</c:v>
                </c:pt>
                <c:pt idx="2356">
                  <c:v>42031</c:v>
                </c:pt>
                <c:pt idx="2357">
                  <c:v>42032</c:v>
                </c:pt>
                <c:pt idx="2358">
                  <c:v>42033</c:v>
                </c:pt>
                <c:pt idx="2359">
                  <c:v>42034</c:v>
                </c:pt>
                <c:pt idx="2360">
                  <c:v>42037</c:v>
                </c:pt>
                <c:pt idx="2361">
                  <c:v>42038</c:v>
                </c:pt>
                <c:pt idx="2362">
                  <c:v>42039</c:v>
                </c:pt>
                <c:pt idx="2363">
                  <c:v>42040</c:v>
                </c:pt>
                <c:pt idx="2364">
                  <c:v>42041</c:v>
                </c:pt>
                <c:pt idx="2365">
                  <c:v>42044</c:v>
                </c:pt>
                <c:pt idx="2366">
                  <c:v>42045</c:v>
                </c:pt>
                <c:pt idx="2367">
                  <c:v>42046</c:v>
                </c:pt>
                <c:pt idx="2368">
                  <c:v>42047</c:v>
                </c:pt>
                <c:pt idx="2369">
                  <c:v>42048</c:v>
                </c:pt>
                <c:pt idx="2370">
                  <c:v>42052</c:v>
                </c:pt>
                <c:pt idx="2371">
                  <c:v>42053</c:v>
                </c:pt>
                <c:pt idx="2372">
                  <c:v>42054</c:v>
                </c:pt>
                <c:pt idx="2373">
                  <c:v>42055</c:v>
                </c:pt>
                <c:pt idx="2374">
                  <c:v>42058</c:v>
                </c:pt>
                <c:pt idx="2375">
                  <c:v>42059</c:v>
                </c:pt>
                <c:pt idx="2376">
                  <c:v>42060</c:v>
                </c:pt>
                <c:pt idx="2377">
                  <c:v>42061</c:v>
                </c:pt>
                <c:pt idx="2378">
                  <c:v>42062</c:v>
                </c:pt>
                <c:pt idx="2379">
                  <c:v>42065</c:v>
                </c:pt>
                <c:pt idx="2380">
                  <c:v>42066</c:v>
                </c:pt>
                <c:pt idx="2381">
                  <c:v>42067</c:v>
                </c:pt>
                <c:pt idx="2382">
                  <c:v>42068</c:v>
                </c:pt>
                <c:pt idx="2383">
                  <c:v>42069</c:v>
                </c:pt>
                <c:pt idx="2384">
                  <c:v>42072</c:v>
                </c:pt>
                <c:pt idx="2385">
                  <c:v>42073</c:v>
                </c:pt>
                <c:pt idx="2386">
                  <c:v>42074</c:v>
                </c:pt>
                <c:pt idx="2387">
                  <c:v>42075</c:v>
                </c:pt>
                <c:pt idx="2388">
                  <c:v>42076</c:v>
                </c:pt>
                <c:pt idx="2389">
                  <c:v>42079</c:v>
                </c:pt>
                <c:pt idx="2390">
                  <c:v>42080</c:v>
                </c:pt>
                <c:pt idx="2391">
                  <c:v>42081</c:v>
                </c:pt>
                <c:pt idx="2392">
                  <c:v>42082</c:v>
                </c:pt>
                <c:pt idx="2393">
                  <c:v>42083</c:v>
                </c:pt>
                <c:pt idx="2394">
                  <c:v>42086</c:v>
                </c:pt>
                <c:pt idx="2395">
                  <c:v>42087</c:v>
                </c:pt>
                <c:pt idx="2396">
                  <c:v>42088</c:v>
                </c:pt>
                <c:pt idx="2397">
                  <c:v>42089</c:v>
                </c:pt>
                <c:pt idx="2398">
                  <c:v>42090</c:v>
                </c:pt>
                <c:pt idx="2399">
                  <c:v>42093</c:v>
                </c:pt>
                <c:pt idx="2400">
                  <c:v>42094</c:v>
                </c:pt>
                <c:pt idx="2401">
                  <c:v>42095</c:v>
                </c:pt>
                <c:pt idx="2402">
                  <c:v>42096</c:v>
                </c:pt>
                <c:pt idx="2403">
                  <c:v>42100</c:v>
                </c:pt>
                <c:pt idx="2404">
                  <c:v>42101</c:v>
                </c:pt>
                <c:pt idx="2405">
                  <c:v>42102</c:v>
                </c:pt>
                <c:pt idx="2406">
                  <c:v>42103</c:v>
                </c:pt>
                <c:pt idx="2407">
                  <c:v>42104</c:v>
                </c:pt>
                <c:pt idx="2408">
                  <c:v>42107</c:v>
                </c:pt>
                <c:pt idx="2409">
                  <c:v>42108</c:v>
                </c:pt>
                <c:pt idx="2410">
                  <c:v>42109</c:v>
                </c:pt>
                <c:pt idx="2411">
                  <c:v>42110</c:v>
                </c:pt>
                <c:pt idx="2412">
                  <c:v>42111</c:v>
                </c:pt>
                <c:pt idx="2413">
                  <c:v>42114</c:v>
                </c:pt>
                <c:pt idx="2414">
                  <c:v>42115</c:v>
                </c:pt>
                <c:pt idx="2415">
                  <c:v>42116</c:v>
                </c:pt>
                <c:pt idx="2416">
                  <c:v>42117</c:v>
                </c:pt>
                <c:pt idx="2417">
                  <c:v>42118</c:v>
                </c:pt>
                <c:pt idx="2418">
                  <c:v>42121</c:v>
                </c:pt>
                <c:pt idx="2419">
                  <c:v>42122</c:v>
                </c:pt>
                <c:pt idx="2420">
                  <c:v>42123</c:v>
                </c:pt>
                <c:pt idx="2421">
                  <c:v>42124</c:v>
                </c:pt>
                <c:pt idx="2422">
                  <c:v>42125</c:v>
                </c:pt>
                <c:pt idx="2423">
                  <c:v>42128</c:v>
                </c:pt>
                <c:pt idx="2424">
                  <c:v>42129</c:v>
                </c:pt>
                <c:pt idx="2425">
                  <c:v>42130</c:v>
                </c:pt>
                <c:pt idx="2426">
                  <c:v>42131</c:v>
                </c:pt>
                <c:pt idx="2427">
                  <c:v>42132</c:v>
                </c:pt>
                <c:pt idx="2428">
                  <c:v>42135</c:v>
                </c:pt>
                <c:pt idx="2429">
                  <c:v>42136</c:v>
                </c:pt>
                <c:pt idx="2430">
                  <c:v>42137</c:v>
                </c:pt>
                <c:pt idx="2431">
                  <c:v>42138</c:v>
                </c:pt>
                <c:pt idx="2432">
                  <c:v>42139</c:v>
                </c:pt>
                <c:pt idx="2433">
                  <c:v>42142</c:v>
                </c:pt>
                <c:pt idx="2434">
                  <c:v>42143</c:v>
                </c:pt>
                <c:pt idx="2435">
                  <c:v>42144</c:v>
                </c:pt>
                <c:pt idx="2436">
                  <c:v>42145</c:v>
                </c:pt>
                <c:pt idx="2437">
                  <c:v>42146</c:v>
                </c:pt>
                <c:pt idx="2438">
                  <c:v>42150</c:v>
                </c:pt>
                <c:pt idx="2439">
                  <c:v>42151</c:v>
                </c:pt>
                <c:pt idx="2440">
                  <c:v>42152</c:v>
                </c:pt>
                <c:pt idx="2441">
                  <c:v>42153</c:v>
                </c:pt>
                <c:pt idx="2442">
                  <c:v>42156</c:v>
                </c:pt>
                <c:pt idx="2443">
                  <c:v>42157</c:v>
                </c:pt>
                <c:pt idx="2444">
                  <c:v>42158</c:v>
                </c:pt>
                <c:pt idx="2445">
                  <c:v>42159</c:v>
                </c:pt>
                <c:pt idx="2446">
                  <c:v>42160</c:v>
                </c:pt>
                <c:pt idx="2447">
                  <c:v>42163</c:v>
                </c:pt>
                <c:pt idx="2448">
                  <c:v>42164</c:v>
                </c:pt>
                <c:pt idx="2449">
                  <c:v>42165</c:v>
                </c:pt>
                <c:pt idx="2450">
                  <c:v>42166</c:v>
                </c:pt>
                <c:pt idx="2451">
                  <c:v>42167</c:v>
                </c:pt>
                <c:pt idx="2452">
                  <c:v>42170</c:v>
                </c:pt>
                <c:pt idx="2453">
                  <c:v>42171</c:v>
                </c:pt>
                <c:pt idx="2454">
                  <c:v>42172</c:v>
                </c:pt>
                <c:pt idx="2455">
                  <c:v>42173</c:v>
                </c:pt>
                <c:pt idx="2456">
                  <c:v>42174</c:v>
                </c:pt>
                <c:pt idx="2457">
                  <c:v>42177</c:v>
                </c:pt>
                <c:pt idx="2458">
                  <c:v>42178</c:v>
                </c:pt>
                <c:pt idx="2459">
                  <c:v>42179</c:v>
                </c:pt>
                <c:pt idx="2460">
                  <c:v>42180</c:v>
                </c:pt>
                <c:pt idx="2461">
                  <c:v>42181</c:v>
                </c:pt>
                <c:pt idx="2462">
                  <c:v>42184</c:v>
                </c:pt>
                <c:pt idx="2463">
                  <c:v>42185</c:v>
                </c:pt>
                <c:pt idx="2464">
                  <c:v>42186</c:v>
                </c:pt>
                <c:pt idx="2465">
                  <c:v>42187</c:v>
                </c:pt>
                <c:pt idx="2466">
                  <c:v>42191</c:v>
                </c:pt>
                <c:pt idx="2467">
                  <c:v>42192</c:v>
                </c:pt>
                <c:pt idx="2468">
                  <c:v>42193</c:v>
                </c:pt>
                <c:pt idx="2469">
                  <c:v>42194</c:v>
                </c:pt>
                <c:pt idx="2470">
                  <c:v>42195</c:v>
                </c:pt>
                <c:pt idx="2471">
                  <c:v>42198</c:v>
                </c:pt>
                <c:pt idx="2472">
                  <c:v>42199</c:v>
                </c:pt>
                <c:pt idx="2473">
                  <c:v>42200</c:v>
                </c:pt>
                <c:pt idx="2474">
                  <c:v>42201</c:v>
                </c:pt>
                <c:pt idx="2475">
                  <c:v>42202</c:v>
                </c:pt>
                <c:pt idx="2476">
                  <c:v>42205</c:v>
                </c:pt>
                <c:pt idx="2477">
                  <c:v>42206</c:v>
                </c:pt>
                <c:pt idx="2478">
                  <c:v>42207</c:v>
                </c:pt>
                <c:pt idx="2479">
                  <c:v>42208</c:v>
                </c:pt>
                <c:pt idx="2480">
                  <c:v>42209</c:v>
                </c:pt>
                <c:pt idx="2481">
                  <c:v>42212</c:v>
                </c:pt>
                <c:pt idx="2482">
                  <c:v>42213</c:v>
                </c:pt>
                <c:pt idx="2483">
                  <c:v>42214</c:v>
                </c:pt>
                <c:pt idx="2484">
                  <c:v>42215</c:v>
                </c:pt>
                <c:pt idx="2485">
                  <c:v>42216</c:v>
                </c:pt>
                <c:pt idx="2486">
                  <c:v>42219</c:v>
                </c:pt>
                <c:pt idx="2487">
                  <c:v>42220</c:v>
                </c:pt>
                <c:pt idx="2488">
                  <c:v>42221</c:v>
                </c:pt>
                <c:pt idx="2489">
                  <c:v>42222</c:v>
                </c:pt>
                <c:pt idx="2490">
                  <c:v>42223</c:v>
                </c:pt>
                <c:pt idx="2491">
                  <c:v>42226</c:v>
                </c:pt>
                <c:pt idx="2492">
                  <c:v>42227</c:v>
                </c:pt>
                <c:pt idx="2493">
                  <c:v>42228</c:v>
                </c:pt>
                <c:pt idx="2494">
                  <c:v>42229</c:v>
                </c:pt>
                <c:pt idx="2495">
                  <c:v>42230</c:v>
                </c:pt>
                <c:pt idx="2496">
                  <c:v>42233</c:v>
                </c:pt>
                <c:pt idx="2497">
                  <c:v>42234</c:v>
                </c:pt>
                <c:pt idx="2498">
                  <c:v>42235</c:v>
                </c:pt>
                <c:pt idx="2499">
                  <c:v>42236</c:v>
                </c:pt>
                <c:pt idx="2500">
                  <c:v>42237</c:v>
                </c:pt>
                <c:pt idx="2501">
                  <c:v>42240</c:v>
                </c:pt>
                <c:pt idx="2502">
                  <c:v>42241</c:v>
                </c:pt>
                <c:pt idx="2503">
                  <c:v>42242</c:v>
                </c:pt>
                <c:pt idx="2504">
                  <c:v>42243</c:v>
                </c:pt>
                <c:pt idx="2505">
                  <c:v>42244</c:v>
                </c:pt>
                <c:pt idx="2506">
                  <c:v>42247</c:v>
                </c:pt>
                <c:pt idx="2507">
                  <c:v>42248</c:v>
                </c:pt>
                <c:pt idx="2508">
                  <c:v>42249</c:v>
                </c:pt>
                <c:pt idx="2509">
                  <c:v>42250</c:v>
                </c:pt>
                <c:pt idx="2510">
                  <c:v>42251</c:v>
                </c:pt>
                <c:pt idx="2511">
                  <c:v>42255</c:v>
                </c:pt>
                <c:pt idx="2512">
                  <c:v>42256</c:v>
                </c:pt>
                <c:pt idx="2513">
                  <c:v>42257</c:v>
                </c:pt>
                <c:pt idx="2514">
                  <c:v>42258</c:v>
                </c:pt>
                <c:pt idx="2515">
                  <c:v>42261</c:v>
                </c:pt>
                <c:pt idx="2516">
                  <c:v>42262</c:v>
                </c:pt>
                <c:pt idx="2517">
                  <c:v>42263</c:v>
                </c:pt>
                <c:pt idx="2518">
                  <c:v>42264</c:v>
                </c:pt>
                <c:pt idx="2519">
                  <c:v>42265</c:v>
                </c:pt>
                <c:pt idx="2520">
                  <c:v>42268</c:v>
                </c:pt>
                <c:pt idx="2521">
                  <c:v>42269</c:v>
                </c:pt>
                <c:pt idx="2522">
                  <c:v>42270</c:v>
                </c:pt>
                <c:pt idx="2523">
                  <c:v>42271</c:v>
                </c:pt>
                <c:pt idx="2524">
                  <c:v>42272</c:v>
                </c:pt>
                <c:pt idx="2525">
                  <c:v>42275</c:v>
                </c:pt>
                <c:pt idx="2526">
                  <c:v>42276</c:v>
                </c:pt>
                <c:pt idx="2527">
                  <c:v>42277</c:v>
                </c:pt>
                <c:pt idx="2528">
                  <c:v>42278</c:v>
                </c:pt>
                <c:pt idx="2529">
                  <c:v>42279</c:v>
                </c:pt>
                <c:pt idx="2530">
                  <c:v>42282</c:v>
                </c:pt>
                <c:pt idx="2531">
                  <c:v>42283</c:v>
                </c:pt>
                <c:pt idx="2532">
                  <c:v>42284</c:v>
                </c:pt>
                <c:pt idx="2533">
                  <c:v>42285</c:v>
                </c:pt>
                <c:pt idx="2534">
                  <c:v>42286</c:v>
                </c:pt>
                <c:pt idx="2535">
                  <c:v>42289</c:v>
                </c:pt>
                <c:pt idx="2536">
                  <c:v>42290</c:v>
                </c:pt>
                <c:pt idx="2537">
                  <c:v>42291</c:v>
                </c:pt>
                <c:pt idx="2538">
                  <c:v>42292</c:v>
                </c:pt>
                <c:pt idx="2539">
                  <c:v>42293</c:v>
                </c:pt>
                <c:pt idx="2540">
                  <c:v>42296</c:v>
                </c:pt>
                <c:pt idx="2541">
                  <c:v>42297</c:v>
                </c:pt>
                <c:pt idx="2542">
                  <c:v>42298</c:v>
                </c:pt>
                <c:pt idx="2543">
                  <c:v>42299</c:v>
                </c:pt>
                <c:pt idx="2544">
                  <c:v>42300</c:v>
                </c:pt>
                <c:pt idx="2545">
                  <c:v>42303</c:v>
                </c:pt>
                <c:pt idx="2546">
                  <c:v>42304</c:v>
                </c:pt>
                <c:pt idx="2547">
                  <c:v>42305</c:v>
                </c:pt>
                <c:pt idx="2548">
                  <c:v>42306</c:v>
                </c:pt>
                <c:pt idx="2549">
                  <c:v>42307</c:v>
                </c:pt>
                <c:pt idx="2550">
                  <c:v>42310</c:v>
                </c:pt>
                <c:pt idx="2551">
                  <c:v>42311</c:v>
                </c:pt>
                <c:pt idx="2552">
                  <c:v>42312</c:v>
                </c:pt>
                <c:pt idx="2553">
                  <c:v>42313</c:v>
                </c:pt>
                <c:pt idx="2554">
                  <c:v>42314</c:v>
                </c:pt>
                <c:pt idx="2555">
                  <c:v>42317</c:v>
                </c:pt>
                <c:pt idx="2556">
                  <c:v>42318</c:v>
                </c:pt>
                <c:pt idx="2557">
                  <c:v>42319</c:v>
                </c:pt>
                <c:pt idx="2558">
                  <c:v>42320</c:v>
                </c:pt>
                <c:pt idx="2559">
                  <c:v>42321</c:v>
                </c:pt>
                <c:pt idx="2560">
                  <c:v>42324</c:v>
                </c:pt>
                <c:pt idx="2561">
                  <c:v>42325</c:v>
                </c:pt>
                <c:pt idx="2562">
                  <c:v>42326</c:v>
                </c:pt>
                <c:pt idx="2563">
                  <c:v>42327</c:v>
                </c:pt>
                <c:pt idx="2564">
                  <c:v>42328</c:v>
                </c:pt>
                <c:pt idx="2565">
                  <c:v>42331</c:v>
                </c:pt>
                <c:pt idx="2566">
                  <c:v>42332</c:v>
                </c:pt>
                <c:pt idx="2567">
                  <c:v>42333</c:v>
                </c:pt>
                <c:pt idx="2568">
                  <c:v>42335</c:v>
                </c:pt>
                <c:pt idx="2569">
                  <c:v>42338</c:v>
                </c:pt>
                <c:pt idx="2570">
                  <c:v>42339</c:v>
                </c:pt>
                <c:pt idx="2571">
                  <c:v>42340</c:v>
                </c:pt>
                <c:pt idx="2572">
                  <c:v>42341</c:v>
                </c:pt>
                <c:pt idx="2573">
                  <c:v>42342</c:v>
                </c:pt>
                <c:pt idx="2574">
                  <c:v>42345</c:v>
                </c:pt>
                <c:pt idx="2575">
                  <c:v>42346</c:v>
                </c:pt>
                <c:pt idx="2576">
                  <c:v>42347</c:v>
                </c:pt>
                <c:pt idx="2577">
                  <c:v>42348</c:v>
                </c:pt>
                <c:pt idx="2578">
                  <c:v>42349</c:v>
                </c:pt>
                <c:pt idx="2579">
                  <c:v>42352</c:v>
                </c:pt>
                <c:pt idx="2580">
                  <c:v>42353</c:v>
                </c:pt>
                <c:pt idx="2581">
                  <c:v>42354</c:v>
                </c:pt>
                <c:pt idx="2582">
                  <c:v>42355</c:v>
                </c:pt>
                <c:pt idx="2583">
                  <c:v>42356</c:v>
                </c:pt>
                <c:pt idx="2584">
                  <c:v>42359</c:v>
                </c:pt>
                <c:pt idx="2585">
                  <c:v>42360</c:v>
                </c:pt>
                <c:pt idx="2586">
                  <c:v>42361</c:v>
                </c:pt>
                <c:pt idx="2587">
                  <c:v>42362</c:v>
                </c:pt>
                <c:pt idx="2588">
                  <c:v>42366</c:v>
                </c:pt>
                <c:pt idx="2589">
                  <c:v>42367</c:v>
                </c:pt>
                <c:pt idx="2590">
                  <c:v>42368</c:v>
                </c:pt>
                <c:pt idx="2591">
                  <c:v>42369</c:v>
                </c:pt>
                <c:pt idx="2592">
                  <c:v>42373</c:v>
                </c:pt>
                <c:pt idx="2593">
                  <c:v>42374</c:v>
                </c:pt>
                <c:pt idx="2594">
                  <c:v>42375</c:v>
                </c:pt>
                <c:pt idx="2595">
                  <c:v>42376</c:v>
                </c:pt>
                <c:pt idx="2596">
                  <c:v>42377</c:v>
                </c:pt>
                <c:pt idx="2597">
                  <c:v>42380</c:v>
                </c:pt>
                <c:pt idx="2598">
                  <c:v>42381</c:v>
                </c:pt>
                <c:pt idx="2599">
                  <c:v>42382</c:v>
                </c:pt>
                <c:pt idx="2600">
                  <c:v>42383</c:v>
                </c:pt>
                <c:pt idx="2601">
                  <c:v>42384</c:v>
                </c:pt>
                <c:pt idx="2602">
                  <c:v>42388</c:v>
                </c:pt>
                <c:pt idx="2603">
                  <c:v>42389</c:v>
                </c:pt>
                <c:pt idx="2604">
                  <c:v>42390</c:v>
                </c:pt>
                <c:pt idx="2605">
                  <c:v>42391</c:v>
                </c:pt>
                <c:pt idx="2606">
                  <c:v>42394</c:v>
                </c:pt>
                <c:pt idx="2607">
                  <c:v>42395</c:v>
                </c:pt>
                <c:pt idx="2608">
                  <c:v>42396</c:v>
                </c:pt>
                <c:pt idx="2609">
                  <c:v>42397</c:v>
                </c:pt>
                <c:pt idx="2610">
                  <c:v>42398</c:v>
                </c:pt>
                <c:pt idx="2611">
                  <c:v>42401</c:v>
                </c:pt>
                <c:pt idx="2612">
                  <c:v>42402</c:v>
                </c:pt>
                <c:pt idx="2613">
                  <c:v>42403</c:v>
                </c:pt>
                <c:pt idx="2614">
                  <c:v>42404</c:v>
                </c:pt>
                <c:pt idx="2615">
                  <c:v>42405</c:v>
                </c:pt>
                <c:pt idx="2616">
                  <c:v>42408</c:v>
                </c:pt>
                <c:pt idx="2617">
                  <c:v>42409</c:v>
                </c:pt>
                <c:pt idx="2618">
                  <c:v>42410</c:v>
                </c:pt>
                <c:pt idx="2619">
                  <c:v>42411</c:v>
                </c:pt>
                <c:pt idx="2620">
                  <c:v>42412</c:v>
                </c:pt>
                <c:pt idx="2621">
                  <c:v>42416</c:v>
                </c:pt>
                <c:pt idx="2622">
                  <c:v>42417</c:v>
                </c:pt>
                <c:pt idx="2623">
                  <c:v>42418</c:v>
                </c:pt>
                <c:pt idx="2624">
                  <c:v>42419</c:v>
                </c:pt>
                <c:pt idx="2625">
                  <c:v>42422</c:v>
                </c:pt>
                <c:pt idx="2626">
                  <c:v>42423</c:v>
                </c:pt>
              </c:numCache>
            </c:numRef>
          </c:cat>
          <c:val>
            <c:numRef>
              <c:f>'6M'!$O$137:$O$2763</c:f>
              <c:numCache>
                <c:formatCode>General</c:formatCode>
                <c:ptCount val="2627"/>
                <c:pt idx="0">
                  <c:v>100</c:v>
                </c:pt>
                <c:pt idx="1">
                  <c:v>99.050825955983782</c:v>
                </c:pt>
                <c:pt idx="2">
                  <c:v>99.851080038486387</c:v>
                </c:pt>
                <c:pt idx="3">
                  <c:v>99.63049787270019</c:v>
                </c:pt>
                <c:pt idx="4">
                  <c:v>102.47451427968196</c:v>
                </c:pt>
                <c:pt idx="5">
                  <c:v>103.41624302766861</c:v>
                </c:pt>
                <c:pt idx="6">
                  <c:v>104.6365232160417</c:v>
                </c:pt>
                <c:pt idx="7">
                  <c:v>106.13295444184439</c:v>
                </c:pt>
                <c:pt idx="8">
                  <c:v>107.0558558129604</c:v>
                </c:pt>
                <c:pt idx="9">
                  <c:v>105.3369827679015</c:v>
                </c:pt>
                <c:pt idx="10">
                  <c:v>103.09684804519055</c:v>
                </c:pt>
                <c:pt idx="11">
                  <c:v>101.44570181301424</c:v>
                </c:pt>
                <c:pt idx="12">
                  <c:v>100.81497088740562</c:v>
                </c:pt>
                <c:pt idx="13">
                  <c:v>103.32221225521289</c:v>
                </c:pt>
                <c:pt idx="14">
                  <c:v>108.17693050180334</c:v>
                </c:pt>
                <c:pt idx="15">
                  <c:v>110.51740851544704</c:v>
                </c:pt>
                <c:pt idx="16">
                  <c:v>110.41775248663801</c:v>
                </c:pt>
                <c:pt idx="17">
                  <c:v>106.40883980036303</c:v>
                </c:pt>
                <c:pt idx="18">
                  <c:v>105.88876296309856</c:v>
                </c:pt>
                <c:pt idx="19">
                  <c:v>104.87435863075423</c:v>
                </c:pt>
                <c:pt idx="20">
                  <c:v>100.68284949611738</c:v>
                </c:pt>
                <c:pt idx="21">
                  <c:v>104.10037903163018</c:v>
                </c:pt>
                <c:pt idx="22">
                  <c:v>103.95153010022254</c:v>
                </c:pt>
                <c:pt idx="23">
                  <c:v>103.59955738125252</c:v>
                </c:pt>
                <c:pt idx="24">
                  <c:v>105.13566218345107</c:v>
                </c:pt>
                <c:pt idx="25">
                  <c:v>101.10239754275058</c:v>
                </c:pt>
                <c:pt idx="26">
                  <c:v>100.90490771066939</c:v>
                </c:pt>
                <c:pt idx="27">
                  <c:v>103.69991518098391</c:v>
                </c:pt>
                <c:pt idx="28">
                  <c:v>104.43429259287119</c:v>
                </c:pt>
                <c:pt idx="29">
                  <c:v>103.44883492650297</c:v>
                </c:pt>
                <c:pt idx="30">
                  <c:v>107.10213845617909</c:v>
                </c:pt>
                <c:pt idx="31">
                  <c:v>103.93365656076246</c:v>
                </c:pt>
                <c:pt idx="32">
                  <c:v>103.73868823010105</c:v>
                </c:pt>
                <c:pt idx="33">
                  <c:v>102.73184886263815</c:v>
                </c:pt>
                <c:pt idx="34">
                  <c:v>100.81462283879033</c:v>
                </c:pt>
                <c:pt idx="35">
                  <c:v>96.399811816536555</c:v>
                </c:pt>
                <c:pt idx="36">
                  <c:v>95.809392908479794</c:v>
                </c:pt>
                <c:pt idx="37">
                  <c:v>95.155365359592182</c:v>
                </c:pt>
                <c:pt idx="38">
                  <c:v>95.589105798032051</c:v>
                </c:pt>
                <c:pt idx="39">
                  <c:v>93.557416941163979</c:v>
                </c:pt>
                <c:pt idx="40">
                  <c:v>89.85426410337719</c:v>
                </c:pt>
                <c:pt idx="41">
                  <c:v>87.102807085583393</c:v>
                </c:pt>
                <c:pt idx="42">
                  <c:v>88.262896754315889</c:v>
                </c:pt>
                <c:pt idx="43">
                  <c:v>87.780237169045122</c:v>
                </c:pt>
                <c:pt idx="44">
                  <c:v>87.504872703201755</c:v>
                </c:pt>
                <c:pt idx="45">
                  <c:v>85.172635327976522</c:v>
                </c:pt>
                <c:pt idx="46">
                  <c:v>82.630295978790585</c:v>
                </c:pt>
                <c:pt idx="47">
                  <c:v>82.830600852115708</c:v>
                </c:pt>
                <c:pt idx="48">
                  <c:v>82.350165835169079</c:v>
                </c:pt>
                <c:pt idx="49">
                  <c:v>81.869142045806001</c:v>
                </c:pt>
                <c:pt idx="50">
                  <c:v>82.005223628310048</c:v>
                </c:pt>
                <c:pt idx="51">
                  <c:v>82.690584599795244</c:v>
                </c:pt>
                <c:pt idx="52">
                  <c:v>83.031893388425189</c:v>
                </c:pt>
                <c:pt idx="53">
                  <c:v>83.579655662718892</c:v>
                </c:pt>
                <c:pt idx="54">
                  <c:v>82.930996449922546</c:v>
                </c:pt>
                <c:pt idx="55">
                  <c:v>83.109030801896765</c:v>
                </c:pt>
                <c:pt idx="56">
                  <c:v>83.149402574507064</c:v>
                </c:pt>
                <c:pt idx="57">
                  <c:v>82.879576231229649</c:v>
                </c:pt>
                <c:pt idx="58">
                  <c:v>85.265302759068007</c:v>
                </c:pt>
                <c:pt idx="59">
                  <c:v>85.259902379696271</c:v>
                </c:pt>
                <c:pt idx="60">
                  <c:v>85.860001113570775</c:v>
                </c:pt>
                <c:pt idx="61">
                  <c:v>86.183178046939673</c:v>
                </c:pt>
                <c:pt idx="62">
                  <c:v>86.005597618841605</c:v>
                </c:pt>
                <c:pt idx="63">
                  <c:v>84.81543115390393</c:v>
                </c:pt>
                <c:pt idx="64">
                  <c:v>83.43410971042114</c:v>
                </c:pt>
                <c:pt idx="65">
                  <c:v>84.410628951028954</c:v>
                </c:pt>
                <c:pt idx="66">
                  <c:v>84.082034835401487</c:v>
                </c:pt>
                <c:pt idx="67">
                  <c:v>83.297943583020441</c:v>
                </c:pt>
                <c:pt idx="68">
                  <c:v>82.18646997936041</c:v>
                </c:pt>
                <c:pt idx="69">
                  <c:v>81.46599073085811</c:v>
                </c:pt>
                <c:pt idx="70">
                  <c:v>79.701936708346423</c:v>
                </c:pt>
                <c:pt idx="71">
                  <c:v>81.26476680003141</c:v>
                </c:pt>
                <c:pt idx="72">
                  <c:v>80.412703654780273</c:v>
                </c:pt>
                <c:pt idx="73">
                  <c:v>80.41085642052613</c:v>
                </c:pt>
                <c:pt idx="74">
                  <c:v>81.2593488388043</c:v>
                </c:pt>
                <c:pt idx="75">
                  <c:v>78.450912757401568</c:v>
                </c:pt>
                <c:pt idx="76">
                  <c:v>77.586216289236845</c:v>
                </c:pt>
                <c:pt idx="77">
                  <c:v>77.467107819782782</c:v>
                </c:pt>
                <c:pt idx="78">
                  <c:v>75.698903728351425</c:v>
                </c:pt>
                <c:pt idx="79">
                  <c:v>74.188985394128125</c:v>
                </c:pt>
                <c:pt idx="80">
                  <c:v>73.465452965581179</c:v>
                </c:pt>
                <c:pt idx="81">
                  <c:v>73.267455237684842</c:v>
                </c:pt>
                <c:pt idx="82">
                  <c:v>73.987256880562839</c:v>
                </c:pt>
                <c:pt idx="83">
                  <c:v>73.757832729532254</c:v>
                </c:pt>
                <c:pt idx="84">
                  <c:v>74.55471141872755</c:v>
                </c:pt>
                <c:pt idx="85">
                  <c:v>75.578138161769715</c:v>
                </c:pt>
                <c:pt idx="86">
                  <c:v>74.664591334924069</c:v>
                </c:pt>
                <c:pt idx="87">
                  <c:v>72.085468678669343</c:v>
                </c:pt>
                <c:pt idx="88">
                  <c:v>71.905199260466475</c:v>
                </c:pt>
                <c:pt idx="89">
                  <c:v>72.693261678005186</c:v>
                </c:pt>
                <c:pt idx="90">
                  <c:v>73.977777955173408</c:v>
                </c:pt>
                <c:pt idx="91">
                  <c:v>76.196452911709443</c:v>
                </c:pt>
                <c:pt idx="92">
                  <c:v>76.756884542021794</c:v>
                </c:pt>
                <c:pt idx="93">
                  <c:v>75.352267849126676</c:v>
                </c:pt>
                <c:pt idx="94">
                  <c:v>76.372126561181261</c:v>
                </c:pt>
                <c:pt idx="95">
                  <c:v>76.129303913981843</c:v>
                </c:pt>
                <c:pt idx="96">
                  <c:v>77.331455736194982</c:v>
                </c:pt>
                <c:pt idx="97">
                  <c:v>77.388896423410969</c:v>
                </c:pt>
                <c:pt idx="98">
                  <c:v>76.967847318868877</c:v>
                </c:pt>
                <c:pt idx="99">
                  <c:v>77.996608736353195</c:v>
                </c:pt>
                <c:pt idx="100">
                  <c:v>75.601796857664496</c:v>
                </c:pt>
                <c:pt idx="101">
                  <c:v>75.684228584385025</c:v>
                </c:pt>
                <c:pt idx="102">
                  <c:v>75.117160895981641</c:v>
                </c:pt>
                <c:pt idx="103">
                  <c:v>76.402699004278318</c:v>
                </c:pt>
                <c:pt idx="104">
                  <c:v>75.581432929906342</c:v>
                </c:pt>
                <c:pt idx="105">
                  <c:v>75.684815327661425</c:v>
                </c:pt>
                <c:pt idx="106">
                  <c:v>74.148389197131891</c:v>
                </c:pt>
                <c:pt idx="107">
                  <c:v>73.499381669064135</c:v>
                </c:pt>
                <c:pt idx="108">
                  <c:v>72.524360828807502</c:v>
                </c:pt>
                <c:pt idx="109">
                  <c:v>71.064851823100071</c:v>
                </c:pt>
                <c:pt idx="110">
                  <c:v>71.120006927265251</c:v>
                </c:pt>
                <c:pt idx="111">
                  <c:v>70.536927336811431</c:v>
                </c:pt>
                <c:pt idx="112">
                  <c:v>69.719525551712195</c:v>
                </c:pt>
                <c:pt idx="113">
                  <c:v>71.058512038102577</c:v>
                </c:pt>
                <c:pt idx="114">
                  <c:v>70.239410077460633</c:v>
                </c:pt>
                <c:pt idx="115">
                  <c:v>70.354214048791945</c:v>
                </c:pt>
                <c:pt idx="116">
                  <c:v>70.587111949238704</c:v>
                </c:pt>
                <c:pt idx="117">
                  <c:v>71.927230013033409</c:v>
                </c:pt>
                <c:pt idx="118">
                  <c:v>72.288119447219472</c:v>
                </c:pt>
                <c:pt idx="119">
                  <c:v>73.120213803666687</c:v>
                </c:pt>
                <c:pt idx="120">
                  <c:v>72.34178542271232</c:v>
                </c:pt>
                <c:pt idx="121">
                  <c:v>72.933142571747268</c:v>
                </c:pt>
                <c:pt idx="122">
                  <c:v>74.847134429229996</c:v>
                </c:pt>
                <c:pt idx="123">
                  <c:v>75.020105418384361</c:v>
                </c:pt>
                <c:pt idx="124">
                  <c:v>74.638182746277039</c:v>
                </c:pt>
                <c:pt idx="125">
                  <c:v>74.442704435290722</c:v>
                </c:pt>
                <c:pt idx="126">
                  <c:v>74.561861477109872</c:v>
                </c:pt>
                <c:pt idx="127">
                  <c:v>75.09973610446464</c:v>
                </c:pt>
                <c:pt idx="128">
                  <c:v>75.457299111857509</c:v>
                </c:pt>
                <c:pt idx="129">
                  <c:v>74.320465728213577</c:v>
                </c:pt>
                <c:pt idx="130">
                  <c:v>74.437583622626008</c:v>
                </c:pt>
                <c:pt idx="131">
                  <c:v>73.899217154458867</c:v>
                </c:pt>
                <c:pt idx="132">
                  <c:v>74.017621949565907</c:v>
                </c:pt>
                <c:pt idx="133">
                  <c:v>73.83799305209908</c:v>
                </c:pt>
                <c:pt idx="134">
                  <c:v>72.143842246126198</c:v>
                </c:pt>
                <c:pt idx="135">
                  <c:v>71.777314151317938</c:v>
                </c:pt>
                <c:pt idx="136">
                  <c:v>72.494300393075861</c:v>
                </c:pt>
                <c:pt idx="137">
                  <c:v>72.313266649456679</c:v>
                </c:pt>
                <c:pt idx="138">
                  <c:v>71.774559528498443</c:v>
                </c:pt>
                <c:pt idx="139">
                  <c:v>71.175263592060801</c:v>
                </c:pt>
                <c:pt idx="140">
                  <c:v>71.293578130272309</c:v>
                </c:pt>
                <c:pt idx="141">
                  <c:v>72.19046522554271</c:v>
                </c:pt>
                <c:pt idx="142">
                  <c:v>73.564094754455127</c:v>
                </c:pt>
                <c:pt idx="143">
                  <c:v>73.859131108724512</c:v>
                </c:pt>
                <c:pt idx="144">
                  <c:v>73.541484730786863</c:v>
                </c:pt>
                <c:pt idx="145">
                  <c:v>73.890597392237197</c:v>
                </c:pt>
                <c:pt idx="146">
                  <c:v>73.661595302117377</c:v>
                </c:pt>
                <c:pt idx="147">
                  <c:v>75.759229730133228</c:v>
                </c:pt>
                <c:pt idx="148">
                  <c:v>75.81451250821442</c:v>
                </c:pt>
                <c:pt idx="149">
                  <c:v>75.165674186438608</c:v>
                </c:pt>
                <c:pt idx="150">
                  <c:v>76.099340295667687</c:v>
                </c:pt>
                <c:pt idx="151">
                  <c:v>75.772370917115694</c:v>
                </c:pt>
                <c:pt idx="152">
                  <c:v>75.771711505127939</c:v>
                </c:pt>
                <c:pt idx="153">
                  <c:v>74.748580144358897</c:v>
                </c:pt>
                <c:pt idx="154">
                  <c:v>74.325073036122163</c:v>
                </c:pt>
                <c:pt idx="155">
                  <c:v>73.601967228891553</c:v>
                </c:pt>
                <c:pt idx="156">
                  <c:v>75.405837574135674</c:v>
                </c:pt>
                <c:pt idx="157">
                  <c:v>74.077801457359371</c:v>
                </c:pt>
                <c:pt idx="158">
                  <c:v>73.67867640812463</c:v>
                </c:pt>
                <c:pt idx="159">
                  <c:v>72.574954837774001</c:v>
                </c:pt>
                <c:pt idx="160">
                  <c:v>72.0976077207754</c:v>
                </c:pt>
                <c:pt idx="161">
                  <c:v>71.88336167209215</c:v>
                </c:pt>
                <c:pt idx="162">
                  <c:v>71.16902482277348</c:v>
                </c:pt>
                <c:pt idx="163">
                  <c:v>71.286484335318292</c:v>
                </c:pt>
                <c:pt idx="164">
                  <c:v>73.547392264806405</c:v>
                </c:pt>
                <c:pt idx="165">
                  <c:v>76.822540921898153</c:v>
                </c:pt>
                <c:pt idx="166">
                  <c:v>76.93734464527418</c:v>
                </c:pt>
                <c:pt idx="167">
                  <c:v>77.863979432315048</c:v>
                </c:pt>
                <c:pt idx="168">
                  <c:v>70.081461417933426</c:v>
                </c:pt>
                <c:pt idx="169">
                  <c:v>69.045448499413681</c:v>
                </c:pt>
                <c:pt idx="170">
                  <c:v>67.957763516521837</c:v>
                </c:pt>
                <c:pt idx="171">
                  <c:v>63.473681918337903</c:v>
                </c:pt>
                <c:pt idx="172">
                  <c:v>63.985400365982748</c:v>
                </c:pt>
                <c:pt idx="173">
                  <c:v>62.029254034669684</c:v>
                </c:pt>
                <c:pt idx="174">
                  <c:v>65.051833904687356</c:v>
                </c:pt>
                <c:pt idx="175">
                  <c:v>67.156923471136338</c:v>
                </c:pt>
                <c:pt idx="176">
                  <c:v>60.661795409711296</c:v>
                </c:pt>
                <c:pt idx="177">
                  <c:v>60.766160491119642</c:v>
                </c:pt>
                <c:pt idx="178">
                  <c:v>63.593696110864315</c:v>
                </c:pt>
                <c:pt idx="179">
                  <c:v>64.345037293496802</c:v>
                </c:pt>
                <c:pt idx="180">
                  <c:v>65.855622557181348</c:v>
                </c:pt>
                <c:pt idx="181">
                  <c:v>67.122558684183872</c:v>
                </c:pt>
                <c:pt idx="182">
                  <c:v>66.67633496913956</c:v>
                </c:pt>
                <c:pt idx="183">
                  <c:v>65.703195589990898</c:v>
                </c:pt>
                <c:pt idx="184">
                  <c:v>64.895644083909374</c:v>
                </c:pt>
                <c:pt idx="185">
                  <c:v>62.195482059566672</c:v>
                </c:pt>
                <c:pt idx="186">
                  <c:v>53.479304520431953</c:v>
                </c:pt>
                <c:pt idx="187">
                  <c:v>51.301891419404043</c:v>
                </c:pt>
                <c:pt idx="188">
                  <c:v>64.395683797264667</c:v>
                </c:pt>
                <c:pt idx="189">
                  <c:v>62.416535220709406</c:v>
                </c:pt>
                <c:pt idx="190">
                  <c:v>62.386413812132474</c:v>
                </c:pt>
                <c:pt idx="191">
                  <c:v>62.184622122479816</c:v>
                </c:pt>
                <c:pt idx="192">
                  <c:v>61.513784877010011</c:v>
                </c:pt>
                <c:pt idx="193">
                  <c:v>61.592836854207867</c:v>
                </c:pt>
                <c:pt idx="194">
                  <c:v>61.45301314639736</c:v>
                </c:pt>
                <c:pt idx="195">
                  <c:v>61.254896373871688</c:v>
                </c:pt>
                <c:pt idx="196">
                  <c:v>61.775581425648987</c:v>
                </c:pt>
                <c:pt idx="197">
                  <c:v>61.809383482594733</c:v>
                </c:pt>
                <c:pt idx="198">
                  <c:v>60.788971433484001</c:v>
                </c:pt>
                <c:pt idx="199">
                  <c:v>60.729649255872289</c:v>
                </c:pt>
                <c:pt idx="200">
                  <c:v>60.205269028240487</c:v>
                </c:pt>
                <c:pt idx="201">
                  <c:v>61.356662719598908</c:v>
                </c:pt>
                <c:pt idx="202">
                  <c:v>60.941650410585751</c:v>
                </c:pt>
                <c:pt idx="203">
                  <c:v>61.057455483016504</c:v>
                </c:pt>
                <c:pt idx="204">
                  <c:v>61.021281967016314</c:v>
                </c:pt>
                <c:pt idx="205">
                  <c:v>60.813878176485858</c:v>
                </c:pt>
                <c:pt idx="206">
                  <c:v>61.014918620576928</c:v>
                </c:pt>
                <c:pt idx="207">
                  <c:v>62.271826013893623</c:v>
                </c:pt>
                <c:pt idx="208">
                  <c:v>62.200554959353212</c:v>
                </c:pt>
                <c:pt idx="209">
                  <c:v>62.438734990078352</c:v>
                </c:pt>
                <c:pt idx="210">
                  <c:v>63.324940810380554</c:v>
                </c:pt>
                <c:pt idx="211">
                  <c:v>66.697604702352507</c:v>
                </c:pt>
                <c:pt idx="212">
                  <c:v>64.563943642714918</c:v>
                </c:pt>
                <c:pt idx="213">
                  <c:v>64.161977282516446</c:v>
                </c:pt>
                <c:pt idx="214">
                  <c:v>66.365068502298925</c:v>
                </c:pt>
                <c:pt idx="215">
                  <c:v>67.359599111466437</c:v>
                </c:pt>
                <c:pt idx="216">
                  <c:v>66.994963828211539</c:v>
                </c:pt>
                <c:pt idx="217">
                  <c:v>67.818403919130958</c:v>
                </c:pt>
                <c:pt idx="218">
                  <c:v>65.834260459438539</c:v>
                </c:pt>
                <c:pt idx="219">
                  <c:v>66.050648545791077</c:v>
                </c:pt>
                <c:pt idx="220">
                  <c:v>67.51820467928799</c:v>
                </c:pt>
                <c:pt idx="221">
                  <c:v>66.434094790818008</c:v>
                </c:pt>
                <c:pt idx="222">
                  <c:v>66.222478399275587</c:v>
                </c:pt>
                <c:pt idx="223">
                  <c:v>66.708841891881235</c:v>
                </c:pt>
                <c:pt idx="224">
                  <c:v>67.085226240910387</c:v>
                </c:pt>
                <c:pt idx="225">
                  <c:v>67.014591188606303</c:v>
                </c:pt>
                <c:pt idx="226">
                  <c:v>66.99776852529294</c:v>
                </c:pt>
                <c:pt idx="227">
                  <c:v>67.094033348926629</c:v>
                </c:pt>
                <c:pt idx="228">
                  <c:v>67.053089362879547</c:v>
                </c:pt>
                <c:pt idx="229">
                  <c:v>66.740433006187104</c:v>
                </c:pt>
                <c:pt idx="230">
                  <c:v>66.726129407404443</c:v>
                </c:pt>
                <c:pt idx="231">
                  <c:v>63.392474391136915</c:v>
                </c:pt>
                <c:pt idx="232">
                  <c:v>62.889499686088399</c:v>
                </c:pt>
                <c:pt idx="233">
                  <c:v>61.861111479830875</c:v>
                </c:pt>
                <c:pt idx="234">
                  <c:v>61.144244278283608</c:v>
                </c:pt>
                <c:pt idx="235">
                  <c:v>60.740722033472785</c:v>
                </c:pt>
                <c:pt idx="236">
                  <c:v>62.213700674278492</c:v>
                </c:pt>
                <c:pt idx="237">
                  <c:v>61.897749530821947</c:v>
                </c:pt>
                <c:pt idx="238">
                  <c:v>60.46796355388333</c:v>
                </c:pt>
                <c:pt idx="239">
                  <c:v>59.437745493016664</c:v>
                </c:pt>
                <c:pt idx="240">
                  <c:v>60.551936038057185</c:v>
                </c:pt>
                <c:pt idx="241">
                  <c:v>60.102885776036914</c:v>
                </c:pt>
                <c:pt idx="242">
                  <c:v>59.148233987311471</c:v>
                </c:pt>
                <c:pt idx="243">
                  <c:v>57.883989132201755</c:v>
                </c:pt>
                <c:pt idx="244">
                  <c:v>58.060084105942508</c:v>
                </c:pt>
                <c:pt idx="245">
                  <c:v>61.188408185708205</c:v>
                </c:pt>
                <c:pt idx="246">
                  <c:v>61.806898050551645</c:v>
                </c:pt>
                <c:pt idx="247">
                  <c:v>62.118856159208995</c:v>
                </c:pt>
                <c:pt idx="248">
                  <c:v>62.459127765746196</c:v>
                </c:pt>
                <c:pt idx="249">
                  <c:v>66.688668588027753</c:v>
                </c:pt>
                <c:pt idx="250">
                  <c:v>67.771015968773042</c:v>
                </c:pt>
                <c:pt idx="251">
                  <c:v>67.978495433250259</c:v>
                </c:pt>
                <c:pt idx="252">
                  <c:v>67.83267538892548</c:v>
                </c:pt>
                <c:pt idx="253">
                  <c:v>67.204722264178983</c:v>
                </c:pt>
                <c:pt idx="254">
                  <c:v>66.913683083661866</c:v>
                </c:pt>
                <c:pt idx="255">
                  <c:v>65.609528825825024</c:v>
                </c:pt>
                <c:pt idx="256">
                  <c:v>67.393002254477338</c:v>
                </c:pt>
                <c:pt idx="257">
                  <c:v>67.53378685890921</c:v>
                </c:pt>
                <c:pt idx="258">
                  <c:v>65.525602500235934</c:v>
                </c:pt>
                <c:pt idx="259">
                  <c:v>64.972985912764216</c:v>
                </c:pt>
                <c:pt idx="260">
                  <c:v>64.831129538351846</c:v>
                </c:pt>
                <c:pt idx="261">
                  <c:v>64.683787961087859</c:v>
                </c:pt>
                <c:pt idx="262">
                  <c:v>64.290845788778341</c:v>
                </c:pt>
                <c:pt idx="263">
                  <c:v>65.615064403720226</c:v>
                </c:pt>
                <c:pt idx="264">
                  <c:v>66.201004357327605</c:v>
                </c:pt>
                <c:pt idx="265">
                  <c:v>64.865210072420425</c:v>
                </c:pt>
                <c:pt idx="266">
                  <c:v>64.86932872981474</c:v>
                </c:pt>
                <c:pt idx="267">
                  <c:v>64.199064311843557</c:v>
                </c:pt>
                <c:pt idx="268">
                  <c:v>62.91190302881639</c:v>
                </c:pt>
                <c:pt idx="269">
                  <c:v>60.285654270461698</c:v>
                </c:pt>
                <c:pt idx="270">
                  <c:v>59.765740691730137</c:v>
                </c:pt>
                <c:pt idx="271">
                  <c:v>58.427349053399297</c:v>
                </c:pt>
                <c:pt idx="272">
                  <c:v>57.657473998274675</c:v>
                </c:pt>
                <c:pt idx="273">
                  <c:v>56.437691362885509</c:v>
                </c:pt>
                <c:pt idx="274">
                  <c:v>57.06666572117102</c:v>
                </c:pt>
                <c:pt idx="275">
                  <c:v>56.794589306146939</c:v>
                </c:pt>
                <c:pt idx="276">
                  <c:v>56.478218841718032</c:v>
                </c:pt>
                <c:pt idx="277">
                  <c:v>55.394880484232161</c:v>
                </c:pt>
                <c:pt idx="278">
                  <c:v>53.903918399818728</c:v>
                </c:pt>
                <c:pt idx="279">
                  <c:v>53.133898578685461</c:v>
                </c:pt>
                <c:pt idx="280">
                  <c:v>51.82418477552536</c:v>
                </c:pt>
                <c:pt idx="281">
                  <c:v>50.738887778261052</c:v>
                </c:pt>
                <c:pt idx="282">
                  <c:v>51.007163061650139</c:v>
                </c:pt>
                <c:pt idx="283">
                  <c:v>51.186961853406814</c:v>
                </c:pt>
                <c:pt idx="284">
                  <c:v>51.006168414960484</c:v>
                </c:pt>
                <c:pt idx="285">
                  <c:v>52.08813270467023</c:v>
                </c:pt>
                <c:pt idx="286">
                  <c:v>52.536680578619084</c:v>
                </c:pt>
                <c:pt idx="287">
                  <c:v>52.001902602585716</c:v>
                </c:pt>
                <c:pt idx="288">
                  <c:v>52.533526912349302</c:v>
                </c:pt>
                <c:pt idx="289">
                  <c:v>52.502996838448723</c:v>
                </c:pt>
                <c:pt idx="290">
                  <c:v>51.175048930769464</c:v>
                </c:pt>
                <c:pt idx="291">
                  <c:v>51.500479094926114</c:v>
                </c:pt>
                <c:pt idx="292">
                  <c:v>51.846850212373255</c:v>
                </c:pt>
                <c:pt idx="293">
                  <c:v>51.93285279206895</c:v>
                </c:pt>
                <c:pt idx="294">
                  <c:v>50.848015762203737</c:v>
                </c:pt>
                <c:pt idx="295">
                  <c:v>50.411822114150482</c:v>
                </c:pt>
                <c:pt idx="296">
                  <c:v>50.237344420481982</c:v>
                </c:pt>
                <c:pt idx="297">
                  <c:v>50.627406597275119</c:v>
                </c:pt>
                <c:pt idx="298">
                  <c:v>49.58536410714629</c:v>
                </c:pt>
                <c:pt idx="299">
                  <c:v>49.886791641979947</c:v>
                </c:pt>
                <c:pt idx="300">
                  <c:v>50.363295709529432</c:v>
                </c:pt>
                <c:pt idx="301">
                  <c:v>50.752650340097048</c:v>
                </c:pt>
                <c:pt idx="302">
                  <c:v>53.360137961953924</c:v>
                </c:pt>
                <c:pt idx="303">
                  <c:v>53.787375676474099</c:v>
                </c:pt>
                <c:pt idx="304">
                  <c:v>56.121895517402947</c:v>
                </c:pt>
                <c:pt idx="305">
                  <c:v>56.557088780768161</c:v>
                </c:pt>
                <c:pt idx="306">
                  <c:v>57.549557699215164</c:v>
                </c:pt>
                <c:pt idx="307">
                  <c:v>56.746703547697997</c:v>
                </c:pt>
                <c:pt idx="308">
                  <c:v>56.654079496933583</c:v>
                </c:pt>
                <c:pt idx="309">
                  <c:v>56.682386084177814</c:v>
                </c:pt>
                <c:pt idx="310">
                  <c:v>58.027882380537761</c:v>
                </c:pt>
                <c:pt idx="311">
                  <c:v>57.962739675986377</c:v>
                </c:pt>
                <c:pt idx="312">
                  <c:v>60.431292606081136</c:v>
                </c:pt>
                <c:pt idx="313">
                  <c:v>61.551618275010014</c:v>
                </c:pt>
                <c:pt idx="314">
                  <c:v>59.013065956929488</c:v>
                </c:pt>
                <c:pt idx="315">
                  <c:v>58.012530650205719</c:v>
                </c:pt>
                <c:pt idx="316">
                  <c:v>58.843849901109046</c:v>
                </c:pt>
                <c:pt idx="317">
                  <c:v>58.980883497383964</c:v>
                </c:pt>
                <c:pt idx="318">
                  <c:v>57.360223257803547</c:v>
                </c:pt>
                <c:pt idx="319">
                  <c:v>57.171572191660886</c:v>
                </c:pt>
                <c:pt idx="320">
                  <c:v>57.587801670779605</c:v>
                </c:pt>
                <c:pt idx="321">
                  <c:v>58.420141748169563</c:v>
                </c:pt>
                <c:pt idx="322">
                  <c:v>56.798072042878552</c:v>
                </c:pt>
                <c:pt idx="323">
                  <c:v>56.225281994449752</c:v>
                </c:pt>
                <c:pt idx="324">
                  <c:v>56.772249338726134</c:v>
                </c:pt>
                <c:pt idx="325">
                  <c:v>57.753186256813947</c:v>
                </c:pt>
                <c:pt idx="326">
                  <c:v>57.32839441975338</c:v>
                </c:pt>
                <c:pt idx="327">
                  <c:v>57.109882623352945</c:v>
                </c:pt>
                <c:pt idx="328">
                  <c:v>57.630968969026867</c:v>
                </c:pt>
                <c:pt idx="329">
                  <c:v>57.273830537231696</c:v>
                </c:pt>
                <c:pt idx="330">
                  <c:v>57.208778043080741</c:v>
                </c:pt>
                <c:pt idx="331">
                  <c:v>57.106356640222735</c:v>
                </c:pt>
                <c:pt idx="332">
                  <c:v>56.78910885962992</c:v>
                </c:pt>
                <c:pt idx="333">
                  <c:v>55.792282779613778</c:v>
                </c:pt>
                <c:pt idx="334">
                  <c:v>54.953783018872194</c:v>
                </c:pt>
                <c:pt idx="335">
                  <c:v>54.998159713347171</c:v>
                </c:pt>
                <c:pt idx="336">
                  <c:v>55.690730636762254</c:v>
                </c:pt>
                <c:pt idx="337">
                  <c:v>53.98060063761703</c:v>
                </c:pt>
                <c:pt idx="338">
                  <c:v>54.715783949191504</c:v>
                </c:pt>
                <c:pt idx="339">
                  <c:v>52.959535735889212</c:v>
                </c:pt>
                <c:pt idx="340">
                  <c:v>52.263215648285971</c:v>
                </c:pt>
                <c:pt idx="341">
                  <c:v>54.616330065086302</c:v>
                </c:pt>
                <c:pt idx="342">
                  <c:v>54.841755796602776</c:v>
                </c:pt>
                <c:pt idx="343">
                  <c:v>54.717369082479919</c:v>
                </c:pt>
                <c:pt idx="344">
                  <c:v>54.918893081379046</c:v>
                </c:pt>
                <c:pt idx="345">
                  <c:v>54.956485338528871</c:v>
                </c:pt>
                <c:pt idx="346">
                  <c:v>54.428166251507363</c:v>
                </c:pt>
                <c:pt idx="347">
                  <c:v>54.181636819037315</c:v>
                </c:pt>
                <c:pt idx="348">
                  <c:v>53.938195556758771</c:v>
                </c:pt>
                <c:pt idx="349">
                  <c:v>53.937771751229796</c:v>
                </c:pt>
                <c:pt idx="350">
                  <c:v>52.922815893171098</c:v>
                </c:pt>
                <c:pt idx="351">
                  <c:v>53.210612395198389</c:v>
                </c:pt>
                <c:pt idx="352">
                  <c:v>54.23239677700866</c:v>
                </c:pt>
                <c:pt idx="353">
                  <c:v>55.208064165410711</c:v>
                </c:pt>
                <c:pt idx="354">
                  <c:v>54.335294705852064</c:v>
                </c:pt>
                <c:pt idx="355">
                  <c:v>55.798878484724789</c:v>
                </c:pt>
                <c:pt idx="356">
                  <c:v>55.215970319227345</c:v>
                </c:pt>
                <c:pt idx="357">
                  <c:v>55.252758919151368</c:v>
                </c:pt>
                <c:pt idx="358">
                  <c:v>54.344520158426768</c:v>
                </c:pt>
                <c:pt idx="359">
                  <c:v>53.721203766791056</c:v>
                </c:pt>
                <c:pt idx="360">
                  <c:v>53.289699914518948</c:v>
                </c:pt>
                <c:pt idx="361">
                  <c:v>55.39167253604446</c:v>
                </c:pt>
                <c:pt idx="362">
                  <c:v>54.669976165089807</c:v>
                </c:pt>
                <c:pt idx="363">
                  <c:v>62.47559660742467</c:v>
                </c:pt>
                <c:pt idx="364">
                  <c:v>57.048287849163898</c:v>
                </c:pt>
                <c:pt idx="365">
                  <c:v>54.022365724483329</c:v>
                </c:pt>
                <c:pt idx="366">
                  <c:v>51.144624984335387</c:v>
                </c:pt>
                <c:pt idx="367">
                  <c:v>48.344029565467523</c:v>
                </c:pt>
                <c:pt idx="368">
                  <c:v>51.687951012423895</c:v>
                </c:pt>
                <c:pt idx="369">
                  <c:v>53.949797293328899</c:v>
                </c:pt>
                <c:pt idx="370">
                  <c:v>55.306108233540016</c:v>
                </c:pt>
                <c:pt idx="371">
                  <c:v>55.420135695979823</c:v>
                </c:pt>
                <c:pt idx="372">
                  <c:v>55.272050948243503</c:v>
                </c:pt>
                <c:pt idx="373">
                  <c:v>56.982700193380182</c:v>
                </c:pt>
                <c:pt idx="374">
                  <c:v>57.677491592376157</c:v>
                </c:pt>
                <c:pt idx="375">
                  <c:v>57.955682237181421</c:v>
                </c:pt>
                <c:pt idx="376">
                  <c:v>57.429236198518801</c:v>
                </c:pt>
                <c:pt idx="377">
                  <c:v>57.954879019811848</c:v>
                </c:pt>
                <c:pt idx="378">
                  <c:v>58.459477447556019</c:v>
                </c:pt>
                <c:pt idx="379">
                  <c:v>58.726491748413189</c:v>
                </c:pt>
                <c:pt idx="380">
                  <c:v>58.729702546891978</c:v>
                </c:pt>
                <c:pt idx="381">
                  <c:v>58.657824948466235</c:v>
                </c:pt>
                <c:pt idx="382">
                  <c:v>58.713542231375975</c:v>
                </c:pt>
                <c:pt idx="383">
                  <c:v>59.378171845548408</c:v>
                </c:pt>
                <c:pt idx="384">
                  <c:v>60.287591366223495</c:v>
                </c:pt>
                <c:pt idx="385">
                  <c:v>60.183434908634318</c:v>
                </c:pt>
                <c:pt idx="386">
                  <c:v>60.243592308873808</c:v>
                </c:pt>
                <c:pt idx="387">
                  <c:v>60.02633532142282</c:v>
                </c:pt>
                <c:pt idx="388">
                  <c:v>60.813613504466566</c:v>
                </c:pt>
                <c:pt idx="389">
                  <c:v>61.45373775953454</c:v>
                </c:pt>
                <c:pt idx="390">
                  <c:v>61.411396824371323</c:v>
                </c:pt>
                <c:pt idx="391">
                  <c:v>61.112397810513237</c:v>
                </c:pt>
                <c:pt idx="392">
                  <c:v>60.111077184845747</c:v>
                </c:pt>
                <c:pt idx="393">
                  <c:v>61.524489304683712</c:v>
                </c:pt>
                <c:pt idx="394">
                  <c:v>59.720930131796401</c:v>
                </c:pt>
                <c:pt idx="395">
                  <c:v>59.143384968537738</c:v>
                </c:pt>
                <c:pt idx="396">
                  <c:v>56.503009826786382</c:v>
                </c:pt>
                <c:pt idx="397">
                  <c:v>57.238109046542519</c:v>
                </c:pt>
                <c:pt idx="398">
                  <c:v>57.192896284348855</c:v>
                </c:pt>
                <c:pt idx="399">
                  <c:v>56.713654469269123</c:v>
                </c:pt>
                <c:pt idx="400">
                  <c:v>56.753205155866887</c:v>
                </c:pt>
                <c:pt idx="401">
                  <c:v>57.577112201412824</c:v>
                </c:pt>
                <c:pt idx="402">
                  <c:v>57.526827696798243</c:v>
                </c:pt>
                <c:pt idx="403">
                  <c:v>57.30625679163191</c:v>
                </c:pt>
                <c:pt idx="404">
                  <c:v>57.309830577926903</c:v>
                </c:pt>
                <c:pt idx="405">
                  <c:v>57.196043479030116</c:v>
                </c:pt>
                <c:pt idx="406">
                  <c:v>57.390151223047773</c:v>
                </c:pt>
                <c:pt idx="407">
                  <c:v>57.396567556544859</c:v>
                </c:pt>
                <c:pt idx="408">
                  <c:v>58.187269624746278</c:v>
                </c:pt>
                <c:pt idx="409">
                  <c:v>58.464680697189223</c:v>
                </c:pt>
                <c:pt idx="410">
                  <c:v>58.369476802180294</c:v>
                </c:pt>
                <c:pt idx="411">
                  <c:v>58.458450048742733</c:v>
                </c:pt>
                <c:pt idx="412">
                  <c:v>58.52308387103205</c:v>
                </c:pt>
                <c:pt idx="413">
                  <c:v>58.70406575170243</c:v>
                </c:pt>
                <c:pt idx="414">
                  <c:v>57.407522571387879</c:v>
                </c:pt>
                <c:pt idx="415">
                  <c:v>56.144111514182882</c:v>
                </c:pt>
                <c:pt idx="416">
                  <c:v>55.202245248668511</c:v>
                </c:pt>
                <c:pt idx="417">
                  <c:v>55.144736566480468</c:v>
                </c:pt>
                <c:pt idx="418">
                  <c:v>55.401903545792045</c:v>
                </c:pt>
                <c:pt idx="419">
                  <c:v>54.981604901878754</c:v>
                </c:pt>
                <c:pt idx="420">
                  <c:v>54.958304567587696</c:v>
                </c:pt>
                <c:pt idx="421">
                  <c:v>55.472267485221565</c:v>
                </c:pt>
                <c:pt idx="422">
                  <c:v>55.386324977548554</c:v>
                </c:pt>
                <c:pt idx="423">
                  <c:v>55.097273719956753</c:v>
                </c:pt>
                <c:pt idx="424">
                  <c:v>56.899929732144145</c:v>
                </c:pt>
                <c:pt idx="425">
                  <c:v>55.934144279441469</c:v>
                </c:pt>
                <c:pt idx="426">
                  <c:v>56.210990850649175</c:v>
                </c:pt>
                <c:pt idx="427">
                  <c:v>55.763387602232079</c:v>
                </c:pt>
                <c:pt idx="428">
                  <c:v>55.715066764961357</c:v>
                </c:pt>
                <c:pt idx="429">
                  <c:v>55.056410375944367</c:v>
                </c:pt>
                <c:pt idx="430">
                  <c:v>55.711882556753793</c:v>
                </c:pt>
                <c:pt idx="431">
                  <c:v>56.285194637764775</c:v>
                </c:pt>
                <c:pt idx="432">
                  <c:v>58.829271361919204</c:v>
                </c:pt>
                <c:pt idx="433">
                  <c:v>59.740319551407609</c:v>
                </c:pt>
                <c:pt idx="434">
                  <c:v>62.379013239966881</c:v>
                </c:pt>
                <c:pt idx="435">
                  <c:v>63.985845247812527</c:v>
                </c:pt>
                <c:pt idx="436">
                  <c:v>60.454051601173539</c:v>
                </c:pt>
                <c:pt idx="437">
                  <c:v>63.254907563555761</c:v>
                </c:pt>
                <c:pt idx="438">
                  <c:v>67.185827521687358</c:v>
                </c:pt>
                <c:pt idx="439">
                  <c:v>67.643322145094743</c:v>
                </c:pt>
                <c:pt idx="440">
                  <c:v>67.631911188207894</c:v>
                </c:pt>
                <c:pt idx="441">
                  <c:v>66.193806556490912</c:v>
                </c:pt>
                <c:pt idx="442">
                  <c:v>70.158681686362371</c:v>
                </c:pt>
                <c:pt idx="443">
                  <c:v>70.336144286222392</c:v>
                </c:pt>
                <c:pt idx="444">
                  <c:v>71.047580273572748</c:v>
                </c:pt>
                <c:pt idx="445">
                  <c:v>71.06109879502219</c:v>
                </c:pt>
                <c:pt idx="446">
                  <c:v>69.040775314938472</c:v>
                </c:pt>
                <c:pt idx="447">
                  <c:v>72.565333256095329</c:v>
                </c:pt>
                <c:pt idx="448">
                  <c:v>72.808875335785117</c:v>
                </c:pt>
                <c:pt idx="449">
                  <c:v>71.579323748956568</c:v>
                </c:pt>
                <c:pt idx="450">
                  <c:v>72.073414240060629</c:v>
                </c:pt>
                <c:pt idx="451">
                  <c:v>72.788235536955412</c:v>
                </c:pt>
                <c:pt idx="452">
                  <c:v>72.601525110236537</c:v>
                </c:pt>
                <c:pt idx="453">
                  <c:v>72.242332689255065</c:v>
                </c:pt>
                <c:pt idx="454">
                  <c:v>72.281082688524677</c:v>
                </c:pt>
                <c:pt idx="455">
                  <c:v>75.350088203536586</c:v>
                </c:pt>
                <c:pt idx="456">
                  <c:v>74.543213266865976</c:v>
                </c:pt>
                <c:pt idx="457">
                  <c:v>77.230511565955695</c:v>
                </c:pt>
                <c:pt idx="458">
                  <c:v>76.99808525412476</c:v>
                </c:pt>
                <c:pt idx="459">
                  <c:v>77.146663005456887</c:v>
                </c:pt>
                <c:pt idx="460">
                  <c:v>77.306050626104152</c:v>
                </c:pt>
                <c:pt idx="461">
                  <c:v>77.188262040543663</c:v>
                </c:pt>
                <c:pt idx="462">
                  <c:v>77.308711663600135</c:v>
                </c:pt>
                <c:pt idx="463">
                  <c:v>75.666202343247335</c:v>
                </c:pt>
                <c:pt idx="464">
                  <c:v>75.934344799249686</c:v>
                </c:pt>
                <c:pt idx="465">
                  <c:v>73.492076410639001</c:v>
                </c:pt>
                <c:pt idx="466">
                  <c:v>73.692688399955983</c:v>
                </c:pt>
                <c:pt idx="467">
                  <c:v>68.32089980997614</c:v>
                </c:pt>
                <c:pt idx="468">
                  <c:v>65.841084582962409</c:v>
                </c:pt>
                <c:pt idx="469">
                  <c:v>67.902607962817612</c:v>
                </c:pt>
                <c:pt idx="470">
                  <c:v>64.125553186863442</c:v>
                </c:pt>
                <c:pt idx="471">
                  <c:v>60.117683263456392</c:v>
                </c:pt>
                <c:pt idx="472">
                  <c:v>62.839548612673958</c:v>
                </c:pt>
                <c:pt idx="473">
                  <c:v>57.397841422722287</c:v>
                </c:pt>
                <c:pt idx="474">
                  <c:v>58.732380746283091</c:v>
                </c:pt>
                <c:pt idx="475">
                  <c:v>62.373529210970993</c:v>
                </c:pt>
                <c:pt idx="476">
                  <c:v>64.021479443981747</c:v>
                </c:pt>
                <c:pt idx="477">
                  <c:v>62.539690395037717</c:v>
                </c:pt>
                <c:pt idx="478">
                  <c:v>66.572628276910166</c:v>
                </c:pt>
                <c:pt idx="479">
                  <c:v>68.711024369991378</c:v>
                </c:pt>
                <c:pt idx="480">
                  <c:v>66.476565585601861</c:v>
                </c:pt>
                <c:pt idx="481">
                  <c:v>62.171743660605131</c:v>
                </c:pt>
                <c:pt idx="482">
                  <c:v>58.492177028359706</c:v>
                </c:pt>
                <c:pt idx="483">
                  <c:v>60.165854559065508</c:v>
                </c:pt>
                <c:pt idx="484">
                  <c:v>64.753487151675202</c:v>
                </c:pt>
                <c:pt idx="485">
                  <c:v>66.172255020802751</c:v>
                </c:pt>
                <c:pt idx="486">
                  <c:v>67.084927079689351</c:v>
                </c:pt>
                <c:pt idx="487">
                  <c:v>66.988999059386671</c:v>
                </c:pt>
                <c:pt idx="488">
                  <c:v>66.124844119182029</c:v>
                </c:pt>
                <c:pt idx="489">
                  <c:v>67.067787269117829</c:v>
                </c:pt>
                <c:pt idx="490">
                  <c:v>69.607215117521463</c:v>
                </c:pt>
                <c:pt idx="491">
                  <c:v>68.944517995691569</c:v>
                </c:pt>
                <c:pt idx="492">
                  <c:v>68.744978311107317</c:v>
                </c:pt>
                <c:pt idx="493">
                  <c:v>68.688691272666645</c:v>
                </c:pt>
                <c:pt idx="494">
                  <c:v>68.95501476265396</c:v>
                </c:pt>
                <c:pt idx="495">
                  <c:v>68.937060182044533</c:v>
                </c:pt>
                <c:pt idx="496">
                  <c:v>68.816611934623239</c:v>
                </c:pt>
                <c:pt idx="497">
                  <c:v>68.018238972846731</c:v>
                </c:pt>
                <c:pt idx="498">
                  <c:v>67.8443796923343</c:v>
                </c:pt>
                <c:pt idx="499">
                  <c:v>70.031515488479528</c:v>
                </c:pt>
                <c:pt idx="500">
                  <c:v>70.145826319248258</c:v>
                </c:pt>
                <c:pt idx="501">
                  <c:v>70.070699735524869</c:v>
                </c:pt>
                <c:pt idx="502">
                  <c:v>70.059416369553517</c:v>
                </c:pt>
                <c:pt idx="503">
                  <c:v>69.881650759536726</c:v>
                </c:pt>
                <c:pt idx="504">
                  <c:v>70.742907139680696</c:v>
                </c:pt>
                <c:pt idx="505">
                  <c:v>71.519356675055576</c:v>
                </c:pt>
                <c:pt idx="506">
                  <c:v>72.176656662835683</c:v>
                </c:pt>
                <c:pt idx="507">
                  <c:v>68.883094635492341</c:v>
                </c:pt>
                <c:pt idx="508">
                  <c:v>68.321505085439213</c:v>
                </c:pt>
                <c:pt idx="509">
                  <c:v>68.909571338239658</c:v>
                </c:pt>
                <c:pt idx="510">
                  <c:v>65.961934409280701</c:v>
                </c:pt>
                <c:pt idx="511">
                  <c:v>64.982176826658673</c:v>
                </c:pt>
                <c:pt idx="512">
                  <c:v>65.660702133327987</c:v>
                </c:pt>
                <c:pt idx="513">
                  <c:v>63.958644343406739</c:v>
                </c:pt>
                <c:pt idx="514">
                  <c:v>65.306885545091262</c:v>
                </c:pt>
                <c:pt idx="515">
                  <c:v>65.795129583720723</c:v>
                </c:pt>
                <c:pt idx="516">
                  <c:v>65.920578122685356</c:v>
                </c:pt>
                <c:pt idx="517">
                  <c:v>65.179394497568722</c:v>
                </c:pt>
                <c:pt idx="518">
                  <c:v>65.09544803452394</c:v>
                </c:pt>
                <c:pt idx="519">
                  <c:v>61.878392379816766</c:v>
                </c:pt>
                <c:pt idx="520">
                  <c:v>62.26827030455339</c:v>
                </c:pt>
                <c:pt idx="521">
                  <c:v>66.584813421660513</c:v>
                </c:pt>
                <c:pt idx="522">
                  <c:v>65.589490931296751</c:v>
                </c:pt>
                <c:pt idx="523">
                  <c:v>65.080251583784971</c:v>
                </c:pt>
                <c:pt idx="524">
                  <c:v>65.207217477812392</c:v>
                </c:pt>
                <c:pt idx="525">
                  <c:v>65.500291910267848</c:v>
                </c:pt>
                <c:pt idx="526">
                  <c:v>65.359755995284701</c:v>
                </c:pt>
                <c:pt idx="527">
                  <c:v>60.865940560839462</c:v>
                </c:pt>
                <c:pt idx="528">
                  <c:v>61.585830746657081</c:v>
                </c:pt>
                <c:pt idx="529">
                  <c:v>63.547656017470338</c:v>
                </c:pt>
                <c:pt idx="530">
                  <c:v>62.216830388028789</c:v>
                </c:pt>
                <c:pt idx="531">
                  <c:v>62.693191487500556</c:v>
                </c:pt>
                <c:pt idx="532">
                  <c:v>64.709105802236408</c:v>
                </c:pt>
                <c:pt idx="533">
                  <c:v>65.10846789352459</c:v>
                </c:pt>
                <c:pt idx="534">
                  <c:v>66.245694253178016</c:v>
                </c:pt>
                <c:pt idx="535">
                  <c:v>60.59414307063463</c:v>
                </c:pt>
                <c:pt idx="536">
                  <c:v>64.121815720676594</c:v>
                </c:pt>
                <c:pt idx="537">
                  <c:v>65.904404472788926</c:v>
                </c:pt>
                <c:pt idx="538">
                  <c:v>64.742424006756224</c:v>
                </c:pt>
                <c:pt idx="539">
                  <c:v>67.092575666981404</c:v>
                </c:pt>
                <c:pt idx="540">
                  <c:v>60.072350884722809</c:v>
                </c:pt>
                <c:pt idx="541">
                  <c:v>59.972927347820033</c:v>
                </c:pt>
                <c:pt idx="542">
                  <c:v>56.158614072974466</c:v>
                </c:pt>
                <c:pt idx="543">
                  <c:v>54.904751581599875</c:v>
                </c:pt>
                <c:pt idx="544">
                  <c:v>60.831915966795343</c:v>
                </c:pt>
                <c:pt idx="545">
                  <c:v>59.213352551944276</c:v>
                </c:pt>
                <c:pt idx="546">
                  <c:v>58.247514687790598</c:v>
                </c:pt>
                <c:pt idx="547">
                  <c:v>58.329998883169424</c:v>
                </c:pt>
                <c:pt idx="548">
                  <c:v>57.807862457166394</c:v>
                </c:pt>
                <c:pt idx="549">
                  <c:v>58.336362908569207</c:v>
                </c:pt>
                <c:pt idx="550">
                  <c:v>57.827053217361389</c:v>
                </c:pt>
                <c:pt idx="551">
                  <c:v>57.930843267096968</c:v>
                </c:pt>
                <c:pt idx="552">
                  <c:v>57.453862197319943</c:v>
                </c:pt>
                <c:pt idx="553">
                  <c:v>57.465404869465118</c:v>
                </c:pt>
                <c:pt idx="554">
                  <c:v>58.500308043363958</c:v>
                </c:pt>
                <c:pt idx="555">
                  <c:v>58.412541834547788</c:v>
                </c:pt>
                <c:pt idx="556">
                  <c:v>57.812700103670259</c:v>
                </c:pt>
                <c:pt idx="557">
                  <c:v>57.885971159409266</c:v>
                </c:pt>
                <c:pt idx="558">
                  <c:v>58.119906326372586</c:v>
                </c:pt>
                <c:pt idx="559">
                  <c:v>56.431721965662227</c:v>
                </c:pt>
                <c:pt idx="560">
                  <c:v>55.18667954643611</c:v>
                </c:pt>
                <c:pt idx="561">
                  <c:v>55.72680295680162</c:v>
                </c:pt>
                <c:pt idx="562">
                  <c:v>53.950509005063509</c:v>
                </c:pt>
                <c:pt idx="563">
                  <c:v>58.10461955823687</c:v>
                </c:pt>
                <c:pt idx="564">
                  <c:v>56.24414237048051</c:v>
                </c:pt>
                <c:pt idx="565">
                  <c:v>56.0820766627333</c:v>
                </c:pt>
                <c:pt idx="566">
                  <c:v>56.914487033138904</c:v>
                </c:pt>
                <c:pt idx="567">
                  <c:v>57.750310811431227</c:v>
                </c:pt>
                <c:pt idx="568">
                  <c:v>57.767136423862091</c:v>
                </c:pt>
                <c:pt idx="569">
                  <c:v>57.910329816698976</c:v>
                </c:pt>
                <c:pt idx="570">
                  <c:v>57.950955009493249</c:v>
                </c:pt>
                <c:pt idx="571">
                  <c:v>58.228929083029591</c:v>
                </c:pt>
                <c:pt idx="572">
                  <c:v>58.047971253147004</c:v>
                </c:pt>
                <c:pt idx="573">
                  <c:v>57.075334608803658</c:v>
                </c:pt>
                <c:pt idx="574">
                  <c:v>58.856238405039697</c:v>
                </c:pt>
                <c:pt idx="575">
                  <c:v>59.085267033964506</c:v>
                </c:pt>
                <c:pt idx="576">
                  <c:v>59.772237380429218</c:v>
                </c:pt>
                <c:pt idx="577">
                  <c:v>61.091350633172752</c:v>
                </c:pt>
                <c:pt idx="578">
                  <c:v>60.690658397130932</c:v>
                </c:pt>
                <c:pt idx="579">
                  <c:v>59.079733640581111</c:v>
                </c:pt>
                <c:pt idx="580">
                  <c:v>59.288406240448516</c:v>
                </c:pt>
                <c:pt idx="581">
                  <c:v>55.691104222928445</c:v>
                </c:pt>
                <c:pt idx="582">
                  <c:v>56.951283245105934</c:v>
                </c:pt>
                <c:pt idx="583">
                  <c:v>58.81246102285219</c:v>
                </c:pt>
                <c:pt idx="584">
                  <c:v>55.979545522699873</c:v>
                </c:pt>
                <c:pt idx="585">
                  <c:v>56.268027379338868</c:v>
                </c:pt>
                <c:pt idx="586">
                  <c:v>55.851319803482234</c:v>
                </c:pt>
                <c:pt idx="587">
                  <c:v>55.672279362190658</c:v>
                </c:pt>
                <c:pt idx="588">
                  <c:v>56.009134610550412</c:v>
                </c:pt>
                <c:pt idx="589">
                  <c:v>56.171953205910967</c:v>
                </c:pt>
                <c:pt idx="590">
                  <c:v>54.994391007593634</c:v>
                </c:pt>
                <c:pt idx="591">
                  <c:v>57.629882651713395</c:v>
                </c:pt>
                <c:pt idx="592">
                  <c:v>57.558312503588638</c:v>
                </c:pt>
                <c:pt idx="593">
                  <c:v>57.280267311461969</c:v>
                </c:pt>
                <c:pt idx="594">
                  <c:v>57.591089161306108</c:v>
                </c:pt>
                <c:pt idx="595">
                  <c:v>57.507142164945797</c:v>
                </c:pt>
                <c:pt idx="596">
                  <c:v>57.426065875383408</c:v>
                </c:pt>
                <c:pt idx="597">
                  <c:v>57.291315359288689</c:v>
                </c:pt>
                <c:pt idx="598">
                  <c:v>56.838437221280955</c:v>
                </c:pt>
                <c:pt idx="599">
                  <c:v>58.254793417435565</c:v>
                </c:pt>
                <c:pt idx="600">
                  <c:v>61.792706815675189</c:v>
                </c:pt>
                <c:pt idx="601">
                  <c:v>62.330843186930451</c:v>
                </c:pt>
                <c:pt idx="602">
                  <c:v>63.276264205828483</c:v>
                </c:pt>
                <c:pt idx="603">
                  <c:v>61.493853159110465</c:v>
                </c:pt>
                <c:pt idx="604">
                  <c:v>62.861367513642598</c:v>
                </c:pt>
                <c:pt idx="605">
                  <c:v>63.432546744799552</c:v>
                </c:pt>
                <c:pt idx="606">
                  <c:v>65.203197333312147</c:v>
                </c:pt>
                <c:pt idx="607">
                  <c:v>64.663248375090674</c:v>
                </c:pt>
                <c:pt idx="608">
                  <c:v>64.284697135061307</c:v>
                </c:pt>
                <c:pt idx="609">
                  <c:v>64.124885053415397</c:v>
                </c:pt>
                <c:pt idx="610">
                  <c:v>63.714209709006845</c:v>
                </c:pt>
                <c:pt idx="611">
                  <c:v>63.610268211448471</c:v>
                </c:pt>
                <c:pt idx="612">
                  <c:v>62.233800973040864</c:v>
                </c:pt>
                <c:pt idx="613">
                  <c:v>60.479181856374773</c:v>
                </c:pt>
                <c:pt idx="614">
                  <c:v>59.324402263914507</c:v>
                </c:pt>
                <c:pt idx="615">
                  <c:v>59.747273936551004</c:v>
                </c:pt>
                <c:pt idx="616">
                  <c:v>61.49771908451752</c:v>
                </c:pt>
                <c:pt idx="617">
                  <c:v>65.296703806854453</c:v>
                </c:pt>
                <c:pt idx="618">
                  <c:v>65.315827533159009</c:v>
                </c:pt>
                <c:pt idx="619">
                  <c:v>66.186556276117614</c:v>
                </c:pt>
                <c:pt idx="620">
                  <c:v>68.474388021519204</c:v>
                </c:pt>
                <c:pt idx="621">
                  <c:v>63.392449409058912</c:v>
                </c:pt>
                <c:pt idx="622">
                  <c:v>63.283242283728846</c:v>
                </c:pt>
                <c:pt idx="623">
                  <c:v>61.146403640458267</c:v>
                </c:pt>
                <c:pt idx="624">
                  <c:v>64.755899672808425</c:v>
                </c:pt>
                <c:pt idx="625">
                  <c:v>63.333813447951542</c:v>
                </c:pt>
                <c:pt idx="626">
                  <c:v>63.185112391937189</c:v>
                </c:pt>
                <c:pt idx="627">
                  <c:v>61.468015406430013</c:v>
                </c:pt>
                <c:pt idx="628">
                  <c:v>61.432985098780257</c:v>
                </c:pt>
                <c:pt idx="629">
                  <c:v>66.383864895396769</c:v>
                </c:pt>
                <c:pt idx="630">
                  <c:v>63.306073396104829</c:v>
                </c:pt>
                <c:pt idx="631">
                  <c:v>62.570022129412408</c:v>
                </c:pt>
                <c:pt idx="632">
                  <c:v>62.570219625999663</c:v>
                </c:pt>
                <c:pt idx="633">
                  <c:v>62.526080781439831</c:v>
                </c:pt>
                <c:pt idx="634">
                  <c:v>63.232382793462648</c:v>
                </c:pt>
                <c:pt idx="635">
                  <c:v>62.905497648091604</c:v>
                </c:pt>
                <c:pt idx="636">
                  <c:v>62.85028770957112</c:v>
                </c:pt>
                <c:pt idx="637">
                  <c:v>62.468884166962091</c:v>
                </c:pt>
                <c:pt idx="638">
                  <c:v>61.194329899739479</c:v>
                </c:pt>
                <c:pt idx="639">
                  <c:v>62.022207513656092</c:v>
                </c:pt>
                <c:pt idx="640">
                  <c:v>61.028816095343984</c:v>
                </c:pt>
                <c:pt idx="641">
                  <c:v>60.342823035500047</c:v>
                </c:pt>
                <c:pt idx="642">
                  <c:v>58.110786517811263</c:v>
                </c:pt>
                <c:pt idx="643">
                  <c:v>58.122182203208695</c:v>
                </c:pt>
                <c:pt idx="644">
                  <c:v>59.662286071370566</c:v>
                </c:pt>
                <c:pt idx="645">
                  <c:v>57.689425217422048</c:v>
                </c:pt>
                <c:pt idx="646">
                  <c:v>58.789798586619597</c:v>
                </c:pt>
                <c:pt idx="647">
                  <c:v>58.522478410299932</c:v>
                </c:pt>
                <c:pt idx="648">
                  <c:v>58.085689867438248</c:v>
                </c:pt>
                <c:pt idx="649">
                  <c:v>57.324052209707823</c:v>
                </c:pt>
                <c:pt idx="650">
                  <c:v>57.374553333548292</c:v>
                </c:pt>
                <c:pt idx="651">
                  <c:v>55.244884600310812</c:v>
                </c:pt>
                <c:pt idx="652">
                  <c:v>54.543719396513296</c:v>
                </c:pt>
                <c:pt idx="653">
                  <c:v>54.990102220170378</c:v>
                </c:pt>
                <c:pt idx="654">
                  <c:v>54.391932848276788</c:v>
                </c:pt>
                <c:pt idx="655">
                  <c:v>52.823067289282363</c:v>
                </c:pt>
                <c:pt idx="656">
                  <c:v>51.476128644547231</c:v>
                </c:pt>
                <c:pt idx="657">
                  <c:v>51.100053641347337</c:v>
                </c:pt>
                <c:pt idx="658">
                  <c:v>51.770950164299663</c:v>
                </c:pt>
                <c:pt idx="659">
                  <c:v>52.839203358709327</c:v>
                </c:pt>
                <c:pt idx="660">
                  <c:v>49.403748284215993</c:v>
                </c:pt>
                <c:pt idx="661">
                  <c:v>49.088729699806819</c:v>
                </c:pt>
                <c:pt idx="662">
                  <c:v>49.11431390452536</c:v>
                </c:pt>
                <c:pt idx="663">
                  <c:v>46.944037821838613</c:v>
                </c:pt>
                <c:pt idx="664">
                  <c:v>49.134522488277113</c:v>
                </c:pt>
                <c:pt idx="665">
                  <c:v>49.054641889273171</c:v>
                </c:pt>
                <c:pt idx="666">
                  <c:v>49.295484272580943</c:v>
                </c:pt>
                <c:pt idx="667">
                  <c:v>48.094202614995588</c:v>
                </c:pt>
                <c:pt idx="668">
                  <c:v>47.945856950687265</c:v>
                </c:pt>
                <c:pt idx="669">
                  <c:v>46.834381127332207</c:v>
                </c:pt>
                <c:pt idx="670">
                  <c:v>44.605627547558505</c:v>
                </c:pt>
                <c:pt idx="671">
                  <c:v>45.184334749577516</c:v>
                </c:pt>
                <c:pt idx="672">
                  <c:v>44.330502752429517</c:v>
                </c:pt>
                <c:pt idx="673">
                  <c:v>46.706714979510288</c:v>
                </c:pt>
                <c:pt idx="674">
                  <c:v>49.6624336954631</c:v>
                </c:pt>
                <c:pt idx="675">
                  <c:v>49.208865780534893</c:v>
                </c:pt>
                <c:pt idx="676">
                  <c:v>47.963106590165708</c:v>
                </c:pt>
                <c:pt idx="677">
                  <c:v>48.946830183475633</c:v>
                </c:pt>
                <c:pt idx="678">
                  <c:v>49.270020900829877</c:v>
                </c:pt>
                <c:pt idx="679">
                  <c:v>50.606163382474477</c:v>
                </c:pt>
                <c:pt idx="680">
                  <c:v>51.034006890817587</c:v>
                </c:pt>
                <c:pt idx="681">
                  <c:v>53.606201467868694</c:v>
                </c:pt>
                <c:pt idx="682">
                  <c:v>54.70710389489976</c:v>
                </c:pt>
                <c:pt idx="683">
                  <c:v>54.753993900857047</c:v>
                </c:pt>
                <c:pt idx="684">
                  <c:v>54.750127682455513</c:v>
                </c:pt>
                <c:pt idx="685">
                  <c:v>53.350758808963484</c:v>
                </c:pt>
                <c:pt idx="686">
                  <c:v>52.7188869373039</c:v>
                </c:pt>
                <c:pt idx="687">
                  <c:v>52.486676439695088</c:v>
                </c:pt>
                <c:pt idx="688">
                  <c:v>50.735007206000127</c:v>
                </c:pt>
                <c:pt idx="689">
                  <c:v>52.105080243203105</c:v>
                </c:pt>
                <c:pt idx="690">
                  <c:v>53.989461547838133</c:v>
                </c:pt>
                <c:pt idx="691">
                  <c:v>54.23856618937517</c:v>
                </c:pt>
                <c:pt idx="692">
                  <c:v>54.185062468936444</c:v>
                </c:pt>
                <c:pt idx="693">
                  <c:v>54.392342746623086</c:v>
                </c:pt>
                <c:pt idx="694">
                  <c:v>54.193072891538613</c:v>
                </c:pt>
                <c:pt idx="695">
                  <c:v>54.106630079126404</c:v>
                </c:pt>
                <c:pt idx="696">
                  <c:v>54.070435979218381</c:v>
                </c:pt>
                <c:pt idx="697">
                  <c:v>54.0246947492179</c:v>
                </c:pt>
                <c:pt idx="698">
                  <c:v>54.13499589798333</c:v>
                </c:pt>
                <c:pt idx="699">
                  <c:v>53.559078080910353</c:v>
                </c:pt>
                <c:pt idx="700">
                  <c:v>53.412967323431879</c:v>
                </c:pt>
                <c:pt idx="701">
                  <c:v>53.788259207811102</c:v>
                </c:pt>
                <c:pt idx="702">
                  <c:v>53.774400041019931</c:v>
                </c:pt>
                <c:pt idx="703">
                  <c:v>52.874453884850993</c:v>
                </c:pt>
                <c:pt idx="704">
                  <c:v>52.929744320290666</c:v>
                </c:pt>
                <c:pt idx="705">
                  <c:v>52.21876248603354</c:v>
                </c:pt>
                <c:pt idx="706">
                  <c:v>54.411263636968116</c:v>
                </c:pt>
                <c:pt idx="707">
                  <c:v>50.926585238928482</c:v>
                </c:pt>
                <c:pt idx="708">
                  <c:v>50.868965247938206</c:v>
                </c:pt>
                <c:pt idx="709">
                  <c:v>50.338587409499155</c:v>
                </c:pt>
                <c:pt idx="710">
                  <c:v>49.747285497774925</c:v>
                </c:pt>
                <c:pt idx="711">
                  <c:v>49.431930954326191</c:v>
                </c:pt>
                <c:pt idx="712">
                  <c:v>52.030203358115564</c:v>
                </c:pt>
                <c:pt idx="713">
                  <c:v>52.979890379459675</c:v>
                </c:pt>
                <c:pt idx="714">
                  <c:v>52.794782312752673</c:v>
                </c:pt>
                <c:pt idx="715">
                  <c:v>52.155485787947157</c:v>
                </c:pt>
                <c:pt idx="716">
                  <c:v>51.04901531502766</c:v>
                </c:pt>
                <c:pt idx="717">
                  <c:v>50.929067783380027</c:v>
                </c:pt>
                <c:pt idx="718">
                  <c:v>53.457408735399085</c:v>
                </c:pt>
                <c:pt idx="719">
                  <c:v>53.224544581250584</c:v>
                </c:pt>
                <c:pt idx="720">
                  <c:v>53.914587144782764</c:v>
                </c:pt>
                <c:pt idx="721">
                  <c:v>52.164680495625838</c:v>
                </c:pt>
                <c:pt idx="722">
                  <c:v>52.944632835098858</c:v>
                </c:pt>
                <c:pt idx="723">
                  <c:v>54.666260203449433</c:v>
                </c:pt>
                <c:pt idx="724">
                  <c:v>55.05710004118162</c:v>
                </c:pt>
                <c:pt idx="725">
                  <c:v>54.879922336854669</c:v>
                </c:pt>
                <c:pt idx="726">
                  <c:v>54.876023429314884</c:v>
                </c:pt>
                <c:pt idx="727">
                  <c:v>54.735491426984204</c:v>
                </c:pt>
                <c:pt idx="728">
                  <c:v>56.764962980924459</c:v>
                </c:pt>
                <c:pt idx="729">
                  <c:v>55.176674060664482</c:v>
                </c:pt>
                <c:pt idx="730">
                  <c:v>53.982206190179866</c:v>
                </c:pt>
                <c:pt idx="731">
                  <c:v>56.552727418011969</c:v>
                </c:pt>
                <c:pt idx="732">
                  <c:v>57.13269420629085</c:v>
                </c:pt>
                <c:pt idx="733">
                  <c:v>56.589025058659537</c:v>
                </c:pt>
                <c:pt idx="734">
                  <c:v>56.523804622230067</c:v>
                </c:pt>
                <c:pt idx="735">
                  <c:v>56.839796875701133</c:v>
                </c:pt>
                <c:pt idx="736">
                  <c:v>57.7279998068746</c:v>
                </c:pt>
                <c:pt idx="737">
                  <c:v>57.549250937330505</c:v>
                </c:pt>
                <c:pt idx="738">
                  <c:v>57.783220972940178</c:v>
                </c:pt>
                <c:pt idx="739">
                  <c:v>57.79836548763403</c:v>
                </c:pt>
                <c:pt idx="740">
                  <c:v>58.106699051092932</c:v>
                </c:pt>
                <c:pt idx="741">
                  <c:v>57.698311772363688</c:v>
                </c:pt>
                <c:pt idx="742">
                  <c:v>57.94408813511626</c:v>
                </c:pt>
                <c:pt idx="743">
                  <c:v>58.03917890367623</c:v>
                </c:pt>
                <c:pt idx="744">
                  <c:v>58.693471829353555</c:v>
                </c:pt>
                <c:pt idx="745">
                  <c:v>59.652072285165922</c:v>
                </c:pt>
                <c:pt idx="746">
                  <c:v>59.040508299884493</c:v>
                </c:pt>
                <c:pt idx="747">
                  <c:v>59.009130046941515</c:v>
                </c:pt>
                <c:pt idx="748">
                  <c:v>58.206668473668465</c:v>
                </c:pt>
                <c:pt idx="749">
                  <c:v>60.774077265251712</c:v>
                </c:pt>
                <c:pt idx="750">
                  <c:v>55.658123679201225</c:v>
                </c:pt>
                <c:pt idx="751">
                  <c:v>55.243794175312736</c:v>
                </c:pt>
                <c:pt idx="752">
                  <c:v>54.537393930831861</c:v>
                </c:pt>
                <c:pt idx="753">
                  <c:v>54.373751461688364</c:v>
                </c:pt>
                <c:pt idx="754">
                  <c:v>52.451504784657892</c:v>
                </c:pt>
                <c:pt idx="755">
                  <c:v>53.155271241241486</c:v>
                </c:pt>
                <c:pt idx="756">
                  <c:v>50.06954131346005</c:v>
                </c:pt>
                <c:pt idx="757">
                  <c:v>51.433174955940764</c:v>
                </c:pt>
                <c:pt idx="758">
                  <c:v>52.540651387524349</c:v>
                </c:pt>
                <c:pt idx="759">
                  <c:v>51.268971676775621</c:v>
                </c:pt>
                <c:pt idx="760">
                  <c:v>51.411134017590037</c:v>
                </c:pt>
                <c:pt idx="761">
                  <c:v>51.728046076936344</c:v>
                </c:pt>
                <c:pt idx="762">
                  <c:v>53.323902216929696</c:v>
                </c:pt>
                <c:pt idx="763">
                  <c:v>51.6575107337692</c:v>
                </c:pt>
                <c:pt idx="764">
                  <c:v>47.887868345802772</c:v>
                </c:pt>
                <c:pt idx="765">
                  <c:v>49.883972599089944</c:v>
                </c:pt>
                <c:pt idx="766">
                  <c:v>47.87498470073497</c:v>
                </c:pt>
                <c:pt idx="767">
                  <c:v>45.682382194665301</c:v>
                </c:pt>
                <c:pt idx="768">
                  <c:v>44.045493230134369</c:v>
                </c:pt>
                <c:pt idx="769">
                  <c:v>41.927887775763566</c:v>
                </c:pt>
                <c:pt idx="770">
                  <c:v>36.91951758034476</c:v>
                </c:pt>
                <c:pt idx="771">
                  <c:v>33.617694218663992</c:v>
                </c:pt>
                <c:pt idx="772">
                  <c:v>28.637807522570398</c:v>
                </c:pt>
                <c:pt idx="773">
                  <c:v>26.213712034362519</c:v>
                </c:pt>
                <c:pt idx="774">
                  <c:v>29.014654673885232</c:v>
                </c:pt>
                <c:pt idx="775">
                  <c:v>29.918827585699159</c:v>
                </c:pt>
                <c:pt idx="776">
                  <c:v>24.787151320176658</c:v>
                </c:pt>
                <c:pt idx="777">
                  <c:v>23.344260991025813</c:v>
                </c:pt>
                <c:pt idx="778">
                  <c:v>21.350517431631982</c:v>
                </c:pt>
                <c:pt idx="779">
                  <c:v>22.177997891548603</c:v>
                </c:pt>
                <c:pt idx="780">
                  <c:v>22.759556099902891</c:v>
                </c:pt>
                <c:pt idx="781">
                  <c:v>21.221994665830405</c:v>
                </c:pt>
                <c:pt idx="782">
                  <c:v>20.884895796780167</c:v>
                </c:pt>
                <c:pt idx="783">
                  <c:v>19.491374684667761</c:v>
                </c:pt>
                <c:pt idx="784">
                  <c:v>18.799297229346255</c:v>
                </c:pt>
                <c:pt idx="785">
                  <c:v>20.100875733232208</c:v>
                </c:pt>
                <c:pt idx="786">
                  <c:v>19.262605181861797</c:v>
                </c:pt>
                <c:pt idx="787">
                  <c:v>19.359768098433339</c:v>
                </c:pt>
                <c:pt idx="788">
                  <c:v>19.461903487244093</c:v>
                </c:pt>
                <c:pt idx="789">
                  <c:v>19.682736893546977</c:v>
                </c:pt>
                <c:pt idx="790">
                  <c:v>19.999401508294856</c:v>
                </c:pt>
                <c:pt idx="791">
                  <c:v>20.068273009304896</c:v>
                </c:pt>
                <c:pt idx="792">
                  <c:v>21.295504925666407</c:v>
                </c:pt>
                <c:pt idx="793">
                  <c:v>21.077671758466501</c:v>
                </c:pt>
                <c:pt idx="794">
                  <c:v>20.938624519006243</c:v>
                </c:pt>
                <c:pt idx="795">
                  <c:v>20.893923722861832</c:v>
                </c:pt>
                <c:pt idx="796">
                  <c:v>20.567903908200748</c:v>
                </c:pt>
                <c:pt idx="797">
                  <c:v>21.168350762507909</c:v>
                </c:pt>
                <c:pt idx="798">
                  <c:v>20.199892894360445</c:v>
                </c:pt>
                <c:pt idx="799">
                  <c:v>20.024008318034408</c:v>
                </c:pt>
                <c:pt idx="800">
                  <c:v>19.868240592326931</c:v>
                </c:pt>
                <c:pt idx="801">
                  <c:v>18.863898400629086</c:v>
                </c:pt>
                <c:pt idx="802">
                  <c:v>18.409874984017687</c:v>
                </c:pt>
                <c:pt idx="803">
                  <c:v>19.07419875089877</c:v>
                </c:pt>
                <c:pt idx="804">
                  <c:v>20.072264278240667</c:v>
                </c:pt>
                <c:pt idx="805">
                  <c:v>20.311140529011759</c:v>
                </c:pt>
                <c:pt idx="806">
                  <c:v>20.44494825202122</c:v>
                </c:pt>
                <c:pt idx="807">
                  <c:v>20.438393910738757</c:v>
                </c:pt>
                <c:pt idx="808">
                  <c:v>21.501852036929044</c:v>
                </c:pt>
                <c:pt idx="809">
                  <c:v>21.127579414234599</c:v>
                </c:pt>
                <c:pt idx="810">
                  <c:v>21.112340289326362</c:v>
                </c:pt>
                <c:pt idx="811">
                  <c:v>21.169973920952767</c:v>
                </c:pt>
                <c:pt idx="812">
                  <c:v>21.097330874165561</c:v>
                </c:pt>
                <c:pt idx="813">
                  <c:v>21.253468810748437</c:v>
                </c:pt>
                <c:pt idx="814">
                  <c:v>21.230529576403633</c:v>
                </c:pt>
                <c:pt idx="815">
                  <c:v>21.130897896387193</c:v>
                </c:pt>
                <c:pt idx="816">
                  <c:v>21.119758525897907</c:v>
                </c:pt>
                <c:pt idx="817">
                  <c:v>21.06094519276596</c:v>
                </c:pt>
                <c:pt idx="818">
                  <c:v>21.091592127884009</c:v>
                </c:pt>
                <c:pt idx="819">
                  <c:v>20.659353324144664</c:v>
                </c:pt>
                <c:pt idx="820">
                  <c:v>20.633050726357588</c:v>
                </c:pt>
                <c:pt idx="821">
                  <c:v>20.167867705446927</c:v>
                </c:pt>
                <c:pt idx="822">
                  <c:v>19.474600202320172</c:v>
                </c:pt>
                <c:pt idx="823">
                  <c:v>18.824195063381186</c:v>
                </c:pt>
                <c:pt idx="824">
                  <c:v>19.081050919053876</c:v>
                </c:pt>
                <c:pt idx="825">
                  <c:v>18.906807750035114</c:v>
                </c:pt>
                <c:pt idx="826">
                  <c:v>18.666632321199369</c:v>
                </c:pt>
                <c:pt idx="827">
                  <c:v>19.158099573911446</c:v>
                </c:pt>
                <c:pt idx="828">
                  <c:v>18.263991430187318</c:v>
                </c:pt>
                <c:pt idx="829">
                  <c:v>17.695051381212814</c:v>
                </c:pt>
                <c:pt idx="830">
                  <c:v>16.311260474191908</c:v>
                </c:pt>
                <c:pt idx="831">
                  <c:v>16.839551724905366</c:v>
                </c:pt>
                <c:pt idx="832">
                  <c:v>16.657139089429357</c:v>
                </c:pt>
                <c:pt idx="833">
                  <c:v>18.338050478203886</c:v>
                </c:pt>
                <c:pt idx="834">
                  <c:v>18.102224896018207</c:v>
                </c:pt>
                <c:pt idx="835">
                  <c:v>17.947414825248149</c:v>
                </c:pt>
                <c:pt idx="836">
                  <c:v>17.826517279829392</c:v>
                </c:pt>
                <c:pt idx="837">
                  <c:v>18.126359354987997</c:v>
                </c:pt>
                <c:pt idx="838">
                  <c:v>16.122369403364097</c:v>
                </c:pt>
                <c:pt idx="839">
                  <c:v>15.66086399834785</c:v>
                </c:pt>
                <c:pt idx="840">
                  <c:v>16.099005457268845</c:v>
                </c:pt>
                <c:pt idx="841">
                  <c:v>14.06448828178887</c:v>
                </c:pt>
                <c:pt idx="842">
                  <c:v>14.968878998649238</c:v>
                </c:pt>
                <c:pt idx="843">
                  <c:v>15.139481385900417</c:v>
                </c:pt>
                <c:pt idx="844">
                  <c:v>15.217918416668457</c:v>
                </c:pt>
                <c:pt idx="845">
                  <c:v>15.622956017446427</c:v>
                </c:pt>
                <c:pt idx="846">
                  <c:v>15.848534422131815</c:v>
                </c:pt>
                <c:pt idx="847">
                  <c:v>15.626445263739226</c:v>
                </c:pt>
                <c:pt idx="848">
                  <c:v>15.836760633177617</c:v>
                </c:pt>
                <c:pt idx="849">
                  <c:v>16.383249671886773</c:v>
                </c:pt>
                <c:pt idx="850">
                  <c:v>16.468870472907753</c:v>
                </c:pt>
                <c:pt idx="851">
                  <c:v>16.1291076992147</c:v>
                </c:pt>
                <c:pt idx="852">
                  <c:v>16.203345219848607</c:v>
                </c:pt>
                <c:pt idx="853">
                  <c:v>16.098775947027846</c:v>
                </c:pt>
                <c:pt idx="854">
                  <c:v>16.017075496290051</c:v>
                </c:pt>
                <c:pt idx="855">
                  <c:v>16.00426926421191</c:v>
                </c:pt>
                <c:pt idx="856">
                  <c:v>16.3665389298659</c:v>
                </c:pt>
                <c:pt idx="857">
                  <c:v>16.277723727676729</c:v>
                </c:pt>
                <c:pt idx="858">
                  <c:v>16.551985623454776</c:v>
                </c:pt>
                <c:pt idx="859">
                  <c:v>16.500081674132787</c:v>
                </c:pt>
                <c:pt idx="860">
                  <c:v>16.699118012395449</c:v>
                </c:pt>
                <c:pt idx="861">
                  <c:v>16.716170954943831</c:v>
                </c:pt>
                <c:pt idx="862">
                  <c:v>16.739652575591471</c:v>
                </c:pt>
                <c:pt idx="863">
                  <c:v>16.146856598628659</c:v>
                </c:pt>
                <c:pt idx="864">
                  <c:v>15.624325335517392</c:v>
                </c:pt>
                <c:pt idx="865">
                  <c:v>17.062341128361119</c:v>
                </c:pt>
                <c:pt idx="866">
                  <c:v>17.46145347179835</c:v>
                </c:pt>
                <c:pt idx="867">
                  <c:v>17.4261192820607</c:v>
                </c:pt>
                <c:pt idx="868">
                  <c:v>17.470248361284579</c:v>
                </c:pt>
                <c:pt idx="869">
                  <c:v>17.689597026423336</c:v>
                </c:pt>
                <c:pt idx="870">
                  <c:v>17.712166382519644</c:v>
                </c:pt>
                <c:pt idx="871">
                  <c:v>18.72968837372412</c:v>
                </c:pt>
                <c:pt idx="872">
                  <c:v>17.835782839082267</c:v>
                </c:pt>
                <c:pt idx="873">
                  <c:v>17.717664896358453</c:v>
                </c:pt>
                <c:pt idx="874">
                  <c:v>17.642436988916764</c:v>
                </c:pt>
                <c:pt idx="875">
                  <c:v>17.874001013796999</c:v>
                </c:pt>
                <c:pt idx="876">
                  <c:v>17.932576060264026</c:v>
                </c:pt>
                <c:pt idx="877">
                  <c:v>17.527697273018457</c:v>
                </c:pt>
                <c:pt idx="878">
                  <c:v>17.678185367805934</c:v>
                </c:pt>
                <c:pt idx="879">
                  <c:v>18.305885533770425</c:v>
                </c:pt>
                <c:pt idx="880">
                  <c:v>17.617456488862103</c:v>
                </c:pt>
                <c:pt idx="881">
                  <c:v>17.544392486519016</c:v>
                </c:pt>
                <c:pt idx="882">
                  <c:v>18.304555761130317</c:v>
                </c:pt>
                <c:pt idx="883">
                  <c:v>19.221498962899503</c:v>
                </c:pt>
                <c:pt idx="884">
                  <c:v>19.406351349660291</c:v>
                </c:pt>
                <c:pt idx="885">
                  <c:v>19.134805248230563</c:v>
                </c:pt>
                <c:pt idx="886">
                  <c:v>19.169396903933752</c:v>
                </c:pt>
                <c:pt idx="887">
                  <c:v>19.326118962064882</c:v>
                </c:pt>
                <c:pt idx="888">
                  <c:v>19.331488918571999</c:v>
                </c:pt>
                <c:pt idx="889">
                  <c:v>19.857247487063262</c:v>
                </c:pt>
                <c:pt idx="890">
                  <c:v>19.83116295094435</c:v>
                </c:pt>
                <c:pt idx="891">
                  <c:v>20.213890033659432</c:v>
                </c:pt>
                <c:pt idx="892">
                  <c:v>20.293738810611536</c:v>
                </c:pt>
                <c:pt idx="893">
                  <c:v>20.224474445748708</c:v>
                </c:pt>
                <c:pt idx="894">
                  <c:v>20.248757902990143</c:v>
                </c:pt>
                <c:pt idx="895">
                  <c:v>20.172411544929044</c:v>
                </c:pt>
                <c:pt idx="896">
                  <c:v>19.985506258558541</c:v>
                </c:pt>
                <c:pt idx="897">
                  <c:v>19.456762414590511</c:v>
                </c:pt>
                <c:pt idx="898">
                  <c:v>19.3712415602816</c:v>
                </c:pt>
                <c:pt idx="899">
                  <c:v>19.31131543710319</c:v>
                </c:pt>
                <c:pt idx="900">
                  <c:v>18.921081351249619</c:v>
                </c:pt>
                <c:pt idx="901">
                  <c:v>18.213137633318251</c:v>
                </c:pt>
                <c:pt idx="902">
                  <c:v>17.845914474843301</c:v>
                </c:pt>
                <c:pt idx="903">
                  <c:v>19.259147497110888</c:v>
                </c:pt>
                <c:pt idx="904">
                  <c:v>18.475671959624083</c:v>
                </c:pt>
                <c:pt idx="905">
                  <c:v>18.498821419684891</c:v>
                </c:pt>
                <c:pt idx="906">
                  <c:v>18.246785632338682</c:v>
                </c:pt>
                <c:pt idx="907">
                  <c:v>18.227802593611003</c:v>
                </c:pt>
                <c:pt idx="908">
                  <c:v>18.390635656861075</c:v>
                </c:pt>
                <c:pt idx="909">
                  <c:v>18.31493164952742</c:v>
                </c:pt>
                <c:pt idx="910">
                  <c:v>18.51360133837926</c:v>
                </c:pt>
                <c:pt idx="911">
                  <c:v>18.489838932397202</c:v>
                </c:pt>
                <c:pt idx="912">
                  <c:v>18.171095807103928</c:v>
                </c:pt>
                <c:pt idx="913">
                  <c:v>17.69731479372016</c:v>
                </c:pt>
                <c:pt idx="914">
                  <c:v>17.58000402054433</c:v>
                </c:pt>
                <c:pt idx="915">
                  <c:v>16.791923845094221</c:v>
                </c:pt>
                <c:pt idx="916">
                  <c:v>17.120519409456133</c:v>
                </c:pt>
                <c:pt idx="917">
                  <c:v>16.357737598590827</c:v>
                </c:pt>
                <c:pt idx="918">
                  <c:v>16.483137048226876</c:v>
                </c:pt>
                <c:pt idx="919">
                  <c:v>16.228876985406636</c:v>
                </c:pt>
                <c:pt idx="920">
                  <c:v>16.964848030390804</c:v>
                </c:pt>
                <c:pt idx="921">
                  <c:v>16.048881428842062</c:v>
                </c:pt>
                <c:pt idx="922">
                  <c:v>16.139015068127094</c:v>
                </c:pt>
                <c:pt idx="923">
                  <c:v>14.972899611698841</c:v>
                </c:pt>
                <c:pt idx="924">
                  <c:v>14.861926774013851</c:v>
                </c:pt>
                <c:pt idx="925">
                  <c:v>14.892079816980452</c:v>
                </c:pt>
                <c:pt idx="926">
                  <c:v>15.722022724244681</c:v>
                </c:pt>
                <c:pt idx="927">
                  <c:v>15.988638330351788</c:v>
                </c:pt>
                <c:pt idx="928">
                  <c:v>15.903001104261973</c:v>
                </c:pt>
                <c:pt idx="929">
                  <c:v>15.753413589108153</c:v>
                </c:pt>
                <c:pt idx="930">
                  <c:v>15.586960927595394</c:v>
                </c:pt>
                <c:pt idx="931">
                  <c:v>15.607115666087823</c:v>
                </c:pt>
                <c:pt idx="932">
                  <c:v>15.565771224825927</c:v>
                </c:pt>
                <c:pt idx="933">
                  <c:v>15.54627858339718</c:v>
                </c:pt>
                <c:pt idx="934">
                  <c:v>16.263344741694286</c:v>
                </c:pt>
                <c:pt idx="935">
                  <c:v>16.100582683478461</c:v>
                </c:pt>
                <c:pt idx="936">
                  <c:v>16.073582145272606</c:v>
                </c:pt>
                <c:pt idx="937">
                  <c:v>16.036463858979953</c:v>
                </c:pt>
                <c:pt idx="938">
                  <c:v>15.887207008708113</c:v>
                </c:pt>
                <c:pt idx="939">
                  <c:v>15.884800287581871</c:v>
                </c:pt>
                <c:pt idx="940">
                  <c:v>15.374522069134809</c:v>
                </c:pt>
                <c:pt idx="941">
                  <c:v>15.135807452190114</c:v>
                </c:pt>
                <c:pt idx="942">
                  <c:v>15.833340117413554</c:v>
                </c:pt>
                <c:pt idx="943">
                  <c:v>16.362014758449877</c:v>
                </c:pt>
                <c:pt idx="944">
                  <c:v>16.40413838948141</c:v>
                </c:pt>
                <c:pt idx="945">
                  <c:v>16.406954498776649</c:v>
                </c:pt>
                <c:pt idx="946">
                  <c:v>16.677841690164332</c:v>
                </c:pt>
                <c:pt idx="947">
                  <c:v>16.362061114355239</c:v>
                </c:pt>
                <c:pt idx="948">
                  <c:v>16.227080944879617</c:v>
                </c:pt>
                <c:pt idx="949">
                  <c:v>16.828365360910251</c:v>
                </c:pt>
                <c:pt idx="950">
                  <c:v>17.070811656650633</c:v>
                </c:pt>
                <c:pt idx="951">
                  <c:v>16.743827576841326</c:v>
                </c:pt>
                <c:pt idx="952">
                  <c:v>16.093540452954915</c:v>
                </c:pt>
                <c:pt idx="953">
                  <c:v>16.443948148334862</c:v>
                </c:pt>
                <c:pt idx="954">
                  <c:v>16.208662697866366</c:v>
                </c:pt>
                <c:pt idx="955">
                  <c:v>17.175397802334949</c:v>
                </c:pt>
                <c:pt idx="956">
                  <c:v>16.997286013668905</c:v>
                </c:pt>
                <c:pt idx="957">
                  <c:v>17.159446845851896</c:v>
                </c:pt>
                <c:pt idx="958">
                  <c:v>17.256161028214869</c:v>
                </c:pt>
                <c:pt idx="959">
                  <c:v>17.669030823454033</c:v>
                </c:pt>
                <c:pt idx="960">
                  <c:v>17.629464885473094</c:v>
                </c:pt>
                <c:pt idx="961">
                  <c:v>18.360805113942877</c:v>
                </c:pt>
                <c:pt idx="962">
                  <c:v>18.570607760085878</c:v>
                </c:pt>
                <c:pt idx="963">
                  <c:v>18.183554871041043</c:v>
                </c:pt>
                <c:pt idx="964">
                  <c:v>17.799464945523635</c:v>
                </c:pt>
                <c:pt idx="965">
                  <c:v>17.829393017266703</c:v>
                </c:pt>
                <c:pt idx="966">
                  <c:v>17.460441215389462</c:v>
                </c:pt>
                <c:pt idx="967">
                  <c:v>17.121503225974369</c:v>
                </c:pt>
                <c:pt idx="968">
                  <c:v>16.721169934136491</c:v>
                </c:pt>
                <c:pt idx="969">
                  <c:v>16.136300628142099</c:v>
                </c:pt>
                <c:pt idx="970">
                  <c:v>15.981381548407047</c:v>
                </c:pt>
                <c:pt idx="971">
                  <c:v>16.196179884840195</c:v>
                </c:pt>
                <c:pt idx="972">
                  <c:v>16.779623586832692</c:v>
                </c:pt>
                <c:pt idx="973">
                  <c:v>16.993416336938385</c:v>
                </c:pt>
                <c:pt idx="974">
                  <c:v>16.846953048747942</c:v>
                </c:pt>
                <c:pt idx="975">
                  <c:v>16.809123262746606</c:v>
                </c:pt>
                <c:pt idx="976">
                  <c:v>16.685907187728187</c:v>
                </c:pt>
                <c:pt idx="977">
                  <c:v>16.686386246512921</c:v>
                </c:pt>
                <c:pt idx="978">
                  <c:v>16.580094762688404</c:v>
                </c:pt>
                <c:pt idx="979">
                  <c:v>16.779799793256419</c:v>
                </c:pt>
                <c:pt idx="980">
                  <c:v>16.319254047967028</c:v>
                </c:pt>
                <c:pt idx="981">
                  <c:v>16.29351035151581</c:v>
                </c:pt>
                <c:pt idx="982">
                  <c:v>16.643936510130615</c:v>
                </c:pt>
                <c:pt idx="983">
                  <c:v>16.230156621381312</c:v>
                </c:pt>
                <c:pt idx="984">
                  <c:v>16.041808052737284</c:v>
                </c:pt>
                <c:pt idx="985">
                  <c:v>16.313881729748253</c:v>
                </c:pt>
                <c:pt idx="986">
                  <c:v>17.235576046642951</c:v>
                </c:pt>
                <c:pt idx="987">
                  <c:v>16.93954670230892</c:v>
                </c:pt>
                <c:pt idx="988">
                  <c:v>17.395787638305691</c:v>
                </c:pt>
                <c:pt idx="989">
                  <c:v>17.589972946177546</c:v>
                </c:pt>
                <c:pt idx="990">
                  <c:v>17.401581981480341</c:v>
                </c:pt>
                <c:pt idx="991">
                  <c:v>17.414330540906288</c:v>
                </c:pt>
                <c:pt idx="992">
                  <c:v>17.636706571667606</c:v>
                </c:pt>
                <c:pt idx="993">
                  <c:v>17.985766787880411</c:v>
                </c:pt>
                <c:pt idx="994">
                  <c:v>17.738582369569375</c:v>
                </c:pt>
                <c:pt idx="995">
                  <c:v>17.677815691616001</c:v>
                </c:pt>
                <c:pt idx="996">
                  <c:v>17.810740173812796</c:v>
                </c:pt>
                <c:pt idx="997">
                  <c:v>17.926920845791464</c:v>
                </c:pt>
                <c:pt idx="998">
                  <c:v>17.692062123112933</c:v>
                </c:pt>
                <c:pt idx="999">
                  <c:v>18.581627230755767</c:v>
                </c:pt>
                <c:pt idx="1000">
                  <c:v>19.44605075771452</c:v>
                </c:pt>
                <c:pt idx="1001">
                  <c:v>19.771558581016361</c:v>
                </c:pt>
                <c:pt idx="1002">
                  <c:v>19.198286253529009</c:v>
                </c:pt>
                <c:pt idx="1003">
                  <c:v>18.084056334913292</c:v>
                </c:pt>
                <c:pt idx="1004">
                  <c:v>18.313179755505917</c:v>
                </c:pt>
                <c:pt idx="1005">
                  <c:v>17.882932875237866</c:v>
                </c:pt>
                <c:pt idx="1006">
                  <c:v>17.94812049910081</c:v>
                </c:pt>
                <c:pt idx="1007">
                  <c:v>17.154686901999145</c:v>
                </c:pt>
                <c:pt idx="1008">
                  <c:v>17.252178632086757</c:v>
                </c:pt>
                <c:pt idx="1009">
                  <c:v>17.681612278933198</c:v>
                </c:pt>
                <c:pt idx="1010">
                  <c:v>17.647592737168114</c:v>
                </c:pt>
                <c:pt idx="1011">
                  <c:v>17.271489000560763</c:v>
                </c:pt>
                <c:pt idx="1012">
                  <c:v>17.363324447560284</c:v>
                </c:pt>
                <c:pt idx="1013">
                  <c:v>17.660725956101487</c:v>
                </c:pt>
                <c:pt idx="1014">
                  <c:v>17.664138023806434</c:v>
                </c:pt>
                <c:pt idx="1015">
                  <c:v>17.807574004056868</c:v>
                </c:pt>
                <c:pt idx="1016">
                  <c:v>17.787316381383334</c:v>
                </c:pt>
                <c:pt idx="1017">
                  <c:v>17.907112619224687</c:v>
                </c:pt>
                <c:pt idx="1018">
                  <c:v>18.328902894078507</c:v>
                </c:pt>
                <c:pt idx="1019">
                  <c:v>18.318086562201703</c:v>
                </c:pt>
                <c:pt idx="1020">
                  <c:v>18.964528442114293</c:v>
                </c:pt>
                <c:pt idx="1021">
                  <c:v>19.529060640372517</c:v>
                </c:pt>
                <c:pt idx="1022">
                  <c:v>19.552811268769823</c:v>
                </c:pt>
                <c:pt idx="1023">
                  <c:v>19.318283730225566</c:v>
                </c:pt>
                <c:pt idx="1024">
                  <c:v>18.920903326870874</c:v>
                </c:pt>
                <c:pt idx="1025">
                  <c:v>18.534718170776433</c:v>
                </c:pt>
                <c:pt idx="1026">
                  <c:v>18.148550671288763</c:v>
                </c:pt>
                <c:pt idx="1027">
                  <c:v>17.916529401947965</c:v>
                </c:pt>
                <c:pt idx="1028">
                  <c:v>17.222484177940142</c:v>
                </c:pt>
                <c:pt idx="1029">
                  <c:v>17.497683803229759</c:v>
                </c:pt>
                <c:pt idx="1030">
                  <c:v>17.0475203323412</c:v>
                </c:pt>
                <c:pt idx="1031">
                  <c:v>16.977398504473225</c:v>
                </c:pt>
                <c:pt idx="1032">
                  <c:v>16.977246982106763</c:v>
                </c:pt>
                <c:pt idx="1033">
                  <c:v>16.354863406331688</c:v>
                </c:pt>
                <c:pt idx="1034">
                  <c:v>16.630158725910491</c:v>
                </c:pt>
                <c:pt idx="1035">
                  <c:v>16.975281716343403</c:v>
                </c:pt>
                <c:pt idx="1036">
                  <c:v>17.043651024632656</c:v>
                </c:pt>
                <c:pt idx="1037">
                  <c:v>17.604106388749049</c:v>
                </c:pt>
                <c:pt idx="1038">
                  <c:v>17.557640923327437</c:v>
                </c:pt>
                <c:pt idx="1039">
                  <c:v>15.555455891859449</c:v>
                </c:pt>
                <c:pt idx="1040">
                  <c:v>15.502705307668553</c:v>
                </c:pt>
                <c:pt idx="1041">
                  <c:v>15.423406348334492</c:v>
                </c:pt>
                <c:pt idx="1042">
                  <c:v>15.69772291551438</c:v>
                </c:pt>
                <c:pt idx="1043">
                  <c:v>16.663996378096481</c:v>
                </c:pt>
                <c:pt idx="1044">
                  <c:v>17.176456130930568</c:v>
                </c:pt>
                <c:pt idx="1045">
                  <c:v>16.945785875639221</c:v>
                </c:pt>
                <c:pt idx="1046">
                  <c:v>16.925832388956678</c:v>
                </c:pt>
                <c:pt idx="1047">
                  <c:v>17.022535333801645</c:v>
                </c:pt>
                <c:pt idx="1048">
                  <c:v>17.850030261096194</c:v>
                </c:pt>
                <c:pt idx="1049">
                  <c:v>17.576119007302182</c:v>
                </c:pt>
                <c:pt idx="1050">
                  <c:v>17.424747449230445</c:v>
                </c:pt>
                <c:pt idx="1051">
                  <c:v>17.388067090867185</c:v>
                </c:pt>
                <c:pt idx="1052">
                  <c:v>17.044717430457759</c:v>
                </c:pt>
                <c:pt idx="1053">
                  <c:v>17.116119265214653</c:v>
                </c:pt>
                <c:pt idx="1054">
                  <c:v>16.895855066450416</c:v>
                </c:pt>
                <c:pt idx="1055">
                  <c:v>16.573791187429755</c:v>
                </c:pt>
                <c:pt idx="1056">
                  <c:v>16.515981354414961</c:v>
                </c:pt>
                <c:pt idx="1057">
                  <c:v>16.242194181756208</c:v>
                </c:pt>
                <c:pt idx="1058">
                  <c:v>17.477066934603751</c:v>
                </c:pt>
                <c:pt idx="1059">
                  <c:v>17.510477697924504</c:v>
                </c:pt>
                <c:pt idx="1060">
                  <c:v>17.425712212836945</c:v>
                </c:pt>
                <c:pt idx="1061">
                  <c:v>17.44712852804814</c:v>
                </c:pt>
                <c:pt idx="1062">
                  <c:v>17.683144648333471</c:v>
                </c:pt>
                <c:pt idx="1063">
                  <c:v>17.34631279951434</c:v>
                </c:pt>
                <c:pt idx="1064">
                  <c:v>17.317461772739449</c:v>
                </c:pt>
                <c:pt idx="1065">
                  <c:v>17.701088516875554</c:v>
                </c:pt>
                <c:pt idx="1066">
                  <c:v>17.535915697471932</c:v>
                </c:pt>
                <c:pt idx="1067">
                  <c:v>17.690484107434731</c:v>
                </c:pt>
                <c:pt idx="1068">
                  <c:v>17.66737362768259</c:v>
                </c:pt>
                <c:pt idx="1069">
                  <c:v>17.451275531301729</c:v>
                </c:pt>
                <c:pt idx="1070">
                  <c:v>17.322582140611271</c:v>
                </c:pt>
                <c:pt idx="1071">
                  <c:v>16.646517989991167</c:v>
                </c:pt>
                <c:pt idx="1072">
                  <c:v>16.881220092363069</c:v>
                </c:pt>
                <c:pt idx="1073">
                  <c:v>16.639028288277146</c:v>
                </c:pt>
                <c:pt idx="1074">
                  <c:v>16.05165015452755</c:v>
                </c:pt>
                <c:pt idx="1075">
                  <c:v>15.63616880461497</c:v>
                </c:pt>
                <c:pt idx="1076">
                  <c:v>15.497212775551047</c:v>
                </c:pt>
                <c:pt idx="1077">
                  <c:v>15.255308083913008</c:v>
                </c:pt>
                <c:pt idx="1078">
                  <c:v>15.0822134512847</c:v>
                </c:pt>
                <c:pt idx="1079">
                  <c:v>15.185377078656089</c:v>
                </c:pt>
                <c:pt idx="1080">
                  <c:v>15.461245301884746</c:v>
                </c:pt>
                <c:pt idx="1081">
                  <c:v>15.840255205839133</c:v>
                </c:pt>
                <c:pt idx="1082">
                  <c:v>15.252724338968239</c:v>
                </c:pt>
                <c:pt idx="1083">
                  <c:v>15.317197840741537</c:v>
                </c:pt>
                <c:pt idx="1084">
                  <c:v>14.809554060546548</c:v>
                </c:pt>
                <c:pt idx="1085">
                  <c:v>14.555429566184122</c:v>
                </c:pt>
                <c:pt idx="1086">
                  <c:v>14.163424839342889</c:v>
                </c:pt>
                <c:pt idx="1087">
                  <c:v>13.877895042645887</c:v>
                </c:pt>
                <c:pt idx="1088">
                  <c:v>14.41104670310219</c:v>
                </c:pt>
                <c:pt idx="1089">
                  <c:v>13.804919417583827</c:v>
                </c:pt>
                <c:pt idx="1090">
                  <c:v>13.483426741174627</c:v>
                </c:pt>
                <c:pt idx="1091">
                  <c:v>13.819823722575785</c:v>
                </c:pt>
                <c:pt idx="1092">
                  <c:v>13.20621088994408</c:v>
                </c:pt>
                <c:pt idx="1093">
                  <c:v>13.113000313719406</c:v>
                </c:pt>
                <c:pt idx="1094">
                  <c:v>13.878745569398879</c:v>
                </c:pt>
                <c:pt idx="1095">
                  <c:v>15.163733658583075</c:v>
                </c:pt>
                <c:pt idx="1096">
                  <c:v>15.152868994831852</c:v>
                </c:pt>
                <c:pt idx="1097">
                  <c:v>14.999038717861497</c:v>
                </c:pt>
                <c:pt idx="1098">
                  <c:v>15.487534382269363</c:v>
                </c:pt>
                <c:pt idx="1099">
                  <c:v>15.323397145923805</c:v>
                </c:pt>
                <c:pt idx="1100">
                  <c:v>15.046651180056834</c:v>
                </c:pt>
                <c:pt idx="1101">
                  <c:v>15.741821266493101</c:v>
                </c:pt>
                <c:pt idx="1102">
                  <c:v>16.374608122643018</c:v>
                </c:pt>
                <c:pt idx="1103">
                  <c:v>16.340601040702676</c:v>
                </c:pt>
                <c:pt idx="1104">
                  <c:v>18.837319008110519</c:v>
                </c:pt>
                <c:pt idx="1105">
                  <c:v>19.199206764741859</c:v>
                </c:pt>
                <c:pt idx="1106">
                  <c:v>18.975673787821371</c:v>
                </c:pt>
                <c:pt idx="1107">
                  <c:v>19.472885494141643</c:v>
                </c:pt>
                <c:pt idx="1108">
                  <c:v>19.502890458527951</c:v>
                </c:pt>
                <c:pt idx="1109">
                  <c:v>19.884830766293099</c:v>
                </c:pt>
                <c:pt idx="1110">
                  <c:v>19.899067453768001</c:v>
                </c:pt>
                <c:pt idx="1111">
                  <c:v>19.855208413084462</c:v>
                </c:pt>
                <c:pt idx="1112">
                  <c:v>19.830386620942669</c:v>
                </c:pt>
                <c:pt idx="1113">
                  <c:v>19.34559521064751</c:v>
                </c:pt>
                <c:pt idx="1114">
                  <c:v>18.95424400140681</c:v>
                </c:pt>
                <c:pt idx="1115">
                  <c:v>18.595698319019771</c:v>
                </c:pt>
                <c:pt idx="1116">
                  <c:v>19.216268504554893</c:v>
                </c:pt>
                <c:pt idx="1117">
                  <c:v>18.726683289297835</c:v>
                </c:pt>
                <c:pt idx="1118">
                  <c:v>18.605719144203032</c:v>
                </c:pt>
                <c:pt idx="1119">
                  <c:v>18.154774362693257</c:v>
                </c:pt>
                <c:pt idx="1120">
                  <c:v>17.875560883022285</c:v>
                </c:pt>
                <c:pt idx="1121">
                  <c:v>17.723198553983593</c:v>
                </c:pt>
                <c:pt idx="1122">
                  <c:v>17.576628733999634</c:v>
                </c:pt>
                <c:pt idx="1123">
                  <c:v>17.576287242471604</c:v>
                </c:pt>
                <c:pt idx="1124">
                  <c:v>16.830577559482993</c:v>
                </c:pt>
                <c:pt idx="1125">
                  <c:v>16.709984900550243</c:v>
                </c:pt>
                <c:pt idx="1126">
                  <c:v>16.833201579629364</c:v>
                </c:pt>
                <c:pt idx="1127">
                  <c:v>16.923888469333143</c:v>
                </c:pt>
                <c:pt idx="1128">
                  <c:v>16.923687213755287</c:v>
                </c:pt>
                <c:pt idx="1129">
                  <c:v>16.80616086992319</c:v>
                </c:pt>
                <c:pt idx="1130">
                  <c:v>16.844794025384569</c:v>
                </c:pt>
                <c:pt idx="1131">
                  <c:v>16.374402199990143</c:v>
                </c:pt>
                <c:pt idx="1132">
                  <c:v>15.955685614443661</c:v>
                </c:pt>
                <c:pt idx="1133">
                  <c:v>15.704364972464303</c:v>
                </c:pt>
                <c:pt idx="1134">
                  <c:v>16.021108334728289</c:v>
                </c:pt>
                <c:pt idx="1135">
                  <c:v>15.782459674151776</c:v>
                </c:pt>
                <c:pt idx="1136">
                  <c:v>15.425054116654417</c:v>
                </c:pt>
                <c:pt idx="1137">
                  <c:v>15.78116470321504</c:v>
                </c:pt>
                <c:pt idx="1138">
                  <c:v>15.938966759510794</c:v>
                </c:pt>
                <c:pt idx="1139">
                  <c:v>15.780017017600409</c:v>
                </c:pt>
                <c:pt idx="1140">
                  <c:v>15.58221388267717</c:v>
                </c:pt>
                <c:pt idx="1141">
                  <c:v>15.331251732101483</c:v>
                </c:pt>
                <c:pt idx="1142">
                  <c:v>15.202360448064809</c:v>
                </c:pt>
                <c:pt idx="1143">
                  <c:v>15.081762808235961</c:v>
                </c:pt>
                <c:pt idx="1144">
                  <c:v>14.439723702166637</c:v>
                </c:pt>
                <c:pt idx="1145">
                  <c:v>13.997157173607592</c:v>
                </c:pt>
                <c:pt idx="1146">
                  <c:v>14.357174565513597</c:v>
                </c:pt>
                <c:pt idx="1147">
                  <c:v>13.995425372698673</c:v>
                </c:pt>
                <c:pt idx="1148">
                  <c:v>13.794143254482984</c:v>
                </c:pt>
                <c:pt idx="1149">
                  <c:v>13.713511276724194</c:v>
                </c:pt>
                <c:pt idx="1150">
                  <c:v>13.753433749039738</c:v>
                </c:pt>
                <c:pt idx="1151">
                  <c:v>13.392466829699124</c:v>
                </c:pt>
                <c:pt idx="1152">
                  <c:v>13.391693734340656</c:v>
                </c:pt>
                <c:pt idx="1153">
                  <c:v>13.842709464535632</c:v>
                </c:pt>
                <c:pt idx="1154">
                  <c:v>13.529442990199186</c:v>
                </c:pt>
                <c:pt idx="1155">
                  <c:v>13.456945109719642</c:v>
                </c:pt>
                <c:pt idx="1156">
                  <c:v>13.49839939629247</c:v>
                </c:pt>
                <c:pt idx="1157">
                  <c:v>13.460129261609326</c:v>
                </c:pt>
                <c:pt idx="1158">
                  <c:v>13.351791563055921</c:v>
                </c:pt>
                <c:pt idx="1159">
                  <c:v>13.531985492788049</c:v>
                </c:pt>
                <c:pt idx="1160">
                  <c:v>15.191505768369526</c:v>
                </c:pt>
                <c:pt idx="1161">
                  <c:v>15.027041116568883</c:v>
                </c:pt>
                <c:pt idx="1162">
                  <c:v>15.796592953939882</c:v>
                </c:pt>
                <c:pt idx="1163">
                  <c:v>14.227070350556229</c:v>
                </c:pt>
                <c:pt idx="1164">
                  <c:v>14.365256415830642</c:v>
                </c:pt>
                <c:pt idx="1165">
                  <c:v>12.628184935599476</c:v>
                </c:pt>
                <c:pt idx="1166">
                  <c:v>12.235969022563406</c:v>
                </c:pt>
                <c:pt idx="1167">
                  <c:v>9.6673004174998045</c:v>
                </c:pt>
                <c:pt idx="1168">
                  <c:v>8.4213324567902088</c:v>
                </c:pt>
                <c:pt idx="1169">
                  <c:v>9.8246387565651947</c:v>
                </c:pt>
                <c:pt idx="1170">
                  <c:v>9.9462994885455025</c:v>
                </c:pt>
                <c:pt idx="1171">
                  <c:v>10.3340481340409</c:v>
                </c:pt>
                <c:pt idx="1172">
                  <c:v>10.20280959685144</c:v>
                </c:pt>
                <c:pt idx="1173">
                  <c:v>10.159035344192995</c:v>
                </c:pt>
                <c:pt idx="1174">
                  <c:v>10.154156875729878</c:v>
                </c:pt>
                <c:pt idx="1175">
                  <c:v>9.983572814892451</c:v>
                </c:pt>
                <c:pt idx="1176">
                  <c:v>9.943962875346136</c:v>
                </c:pt>
                <c:pt idx="1177">
                  <c:v>9.5551404074590511</c:v>
                </c:pt>
                <c:pt idx="1178">
                  <c:v>9.5688361944011628</c:v>
                </c:pt>
                <c:pt idx="1179">
                  <c:v>9.6612448164254161</c:v>
                </c:pt>
                <c:pt idx="1180">
                  <c:v>9.8586376455404956</c:v>
                </c:pt>
                <c:pt idx="1181">
                  <c:v>9.9710949027172777</c:v>
                </c:pt>
                <c:pt idx="1182">
                  <c:v>10.216576350885006</c:v>
                </c:pt>
                <c:pt idx="1183">
                  <c:v>10.189763967906194</c:v>
                </c:pt>
                <c:pt idx="1184">
                  <c:v>10.362024165223753</c:v>
                </c:pt>
                <c:pt idx="1185">
                  <c:v>10.186722693798359</c:v>
                </c:pt>
                <c:pt idx="1186">
                  <c:v>10.181150295293556</c:v>
                </c:pt>
                <c:pt idx="1187">
                  <c:v>10.5701414366323</c:v>
                </c:pt>
                <c:pt idx="1188">
                  <c:v>10.74963729486544</c:v>
                </c:pt>
                <c:pt idx="1189">
                  <c:v>10.831439163065708</c:v>
                </c:pt>
                <c:pt idx="1190">
                  <c:v>10.831803304606474</c:v>
                </c:pt>
                <c:pt idx="1191">
                  <c:v>11.046286973219337</c:v>
                </c:pt>
                <c:pt idx="1192">
                  <c:v>11.10106114708074</c:v>
                </c:pt>
                <c:pt idx="1193">
                  <c:v>11.045699765914501</c:v>
                </c:pt>
                <c:pt idx="1194">
                  <c:v>10.830165314966225</c:v>
                </c:pt>
                <c:pt idx="1195">
                  <c:v>10.694637505757369</c:v>
                </c:pt>
                <c:pt idx="1196">
                  <c:v>10.553971168763971</c:v>
                </c:pt>
                <c:pt idx="1197">
                  <c:v>10.405191675222598</c:v>
                </c:pt>
                <c:pt idx="1198">
                  <c:v>10.489248550696457</c:v>
                </c:pt>
                <c:pt idx="1199">
                  <c:v>10.98988493528063</c:v>
                </c:pt>
                <c:pt idx="1200">
                  <c:v>11.082697914360422</c:v>
                </c:pt>
                <c:pt idx="1201">
                  <c:v>11.228919801666295</c:v>
                </c:pt>
                <c:pt idx="1202">
                  <c:v>11.226621206994608</c:v>
                </c:pt>
                <c:pt idx="1203">
                  <c:v>11.138597946534301</c:v>
                </c:pt>
                <c:pt idx="1204">
                  <c:v>10.685000463911546</c:v>
                </c:pt>
                <c:pt idx="1205">
                  <c:v>10.620989033396366</c:v>
                </c:pt>
                <c:pt idx="1206">
                  <c:v>10.78144369228891</c:v>
                </c:pt>
                <c:pt idx="1207">
                  <c:v>11.201324795497142</c:v>
                </c:pt>
                <c:pt idx="1208">
                  <c:v>11.898038545650632</c:v>
                </c:pt>
                <c:pt idx="1209">
                  <c:v>12.345765510078568</c:v>
                </c:pt>
                <c:pt idx="1210">
                  <c:v>12.214494279107234</c:v>
                </c:pt>
                <c:pt idx="1211">
                  <c:v>11.973243278953907</c:v>
                </c:pt>
                <c:pt idx="1212">
                  <c:v>11.657076873136615</c:v>
                </c:pt>
                <c:pt idx="1213">
                  <c:v>11.633854078210748</c:v>
                </c:pt>
                <c:pt idx="1214">
                  <c:v>12.062182912179731</c:v>
                </c:pt>
                <c:pt idx="1215">
                  <c:v>11.948475142137315</c:v>
                </c:pt>
                <c:pt idx="1216">
                  <c:v>12.446141438727649</c:v>
                </c:pt>
                <c:pt idx="1217">
                  <c:v>12.348021238455276</c:v>
                </c:pt>
                <c:pt idx="1218">
                  <c:v>12.384598785992353</c:v>
                </c:pt>
                <c:pt idx="1219">
                  <c:v>12.358656860440655</c:v>
                </c:pt>
                <c:pt idx="1220">
                  <c:v>12.071497587831834</c:v>
                </c:pt>
                <c:pt idx="1221">
                  <c:v>12.001872691616468</c:v>
                </c:pt>
                <c:pt idx="1222">
                  <c:v>11.643457931955759</c:v>
                </c:pt>
                <c:pt idx="1223">
                  <c:v>11.590437701608092</c:v>
                </c:pt>
                <c:pt idx="1224">
                  <c:v>11.726867349663632</c:v>
                </c:pt>
                <c:pt idx="1225">
                  <c:v>11.726563234947815</c:v>
                </c:pt>
                <c:pt idx="1226">
                  <c:v>11.589943306372037</c:v>
                </c:pt>
                <c:pt idx="1227">
                  <c:v>10.861005518565724</c:v>
                </c:pt>
                <c:pt idx="1228">
                  <c:v>10.970934250238017</c:v>
                </c:pt>
                <c:pt idx="1229">
                  <c:v>10.811202941523494</c:v>
                </c:pt>
                <c:pt idx="1230">
                  <c:v>10.833617633600937</c:v>
                </c:pt>
                <c:pt idx="1231">
                  <c:v>10.788047853551433</c:v>
                </c:pt>
                <c:pt idx="1232">
                  <c:v>10.514834266733688</c:v>
                </c:pt>
                <c:pt idx="1233">
                  <c:v>10.582525829636293</c:v>
                </c:pt>
                <c:pt idx="1234">
                  <c:v>11.697522082805397</c:v>
                </c:pt>
                <c:pt idx="1235">
                  <c:v>11.899631197121431</c:v>
                </c:pt>
                <c:pt idx="1236">
                  <c:v>11.589418311404756</c:v>
                </c:pt>
                <c:pt idx="1237">
                  <c:v>11.720993726154971</c:v>
                </c:pt>
                <c:pt idx="1238">
                  <c:v>12.068273840044743</c:v>
                </c:pt>
                <c:pt idx="1239">
                  <c:v>12.25189101279916</c:v>
                </c:pt>
                <c:pt idx="1240">
                  <c:v>11.979131135336116</c:v>
                </c:pt>
                <c:pt idx="1241">
                  <c:v>11.996711271357082</c:v>
                </c:pt>
                <c:pt idx="1242">
                  <c:v>12.169883661777737</c:v>
                </c:pt>
                <c:pt idx="1243">
                  <c:v>12.039064389857032</c:v>
                </c:pt>
                <c:pt idx="1244">
                  <c:v>11.927783981567437</c:v>
                </c:pt>
                <c:pt idx="1245">
                  <c:v>11.908615543970006</c:v>
                </c:pt>
                <c:pt idx="1246">
                  <c:v>11.542879732899106</c:v>
                </c:pt>
                <c:pt idx="1247">
                  <c:v>11.562848694453406</c:v>
                </c:pt>
                <c:pt idx="1248">
                  <c:v>11.315856142794674</c:v>
                </c:pt>
                <c:pt idx="1249">
                  <c:v>10.862957540665761</c:v>
                </c:pt>
                <c:pt idx="1250">
                  <c:v>10.580547988928016</c:v>
                </c:pt>
                <c:pt idx="1251">
                  <c:v>9.9831350957979978</c:v>
                </c:pt>
                <c:pt idx="1252">
                  <c:v>10.341466204696351</c:v>
                </c:pt>
                <c:pt idx="1253">
                  <c:v>10.086868965517063</c:v>
                </c:pt>
                <c:pt idx="1254">
                  <c:v>10.044031828451908</c:v>
                </c:pt>
                <c:pt idx="1255">
                  <c:v>9.843423265905578</c:v>
                </c:pt>
                <c:pt idx="1256">
                  <c:v>9.3690474083595578</c:v>
                </c:pt>
                <c:pt idx="1257">
                  <c:v>9.3680549813870364</c:v>
                </c:pt>
                <c:pt idx="1258">
                  <c:v>9.185797543416836</c:v>
                </c:pt>
                <c:pt idx="1259">
                  <c:v>9.1489530674495541</c:v>
                </c:pt>
                <c:pt idx="1260">
                  <c:v>9.1306478814223375</c:v>
                </c:pt>
                <c:pt idx="1261">
                  <c:v>8.8754601181726986</c:v>
                </c:pt>
                <c:pt idx="1262">
                  <c:v>8.9113637422352596</c:v>
                </c:pt>
                <c:pt idx="1263">
                  <c:v>9.0935201468238596</c:v>
                </c:pt>
                <c:pt idx="1264">
                  <c:v>9.4029102500910895</c:v>
                </c:pt>
                <c:pt idx="1265">
                  <c:v>9.1421449416570919</c:v>
                </c:pt>
                <c:pt idx="1266">
                  <c:v>9.1059961383004797</c:v>
                </c:pt>
                <c:pt idx="1267">
                  <c:v>9.0763101807541222</c:v>
                </c:pt>
                <c:pt idx="1268">
                  <c:v>9.1428452856806963</c:v>
                </c:pt>
                <c:pt idx="1269">
                  <c:v>9.2544484838682433</c:v>
                </c:pt>
                <c:pt idx="1270">
                  <c:v>9.2417845816597275</c:v>
                </c:pt>
                <c:pt idx="1271">
                  <c:v>9.1105592011257546</c:v>
                </c:pt>
                <c:pt idx="1272">
                  <c:v>9.1109584969929909</c:v>
                </c:pt>
                <c:pt idx="1273">
                  <c:v>9.175283979952475</c:v>
                </c:pt>
                <c:pt idx="1274">
                  <c:v>9.0272649524718371</c:v>
                </c:pt>
                <c:pt idx="1275">
                  <c:v>8.6336628878296526</c:v>
                </c:pt>
                <c:pt idx="1276">
                  <c:v>8.3771691233869738</c:v>
                </c:pt>
                <c:pt idx="1277">
                  <c:v>8.1209824895260159</c:v>
                </c:pt>
                <c:pt idx="1278">
                  <c:v>8.1204372789487298</c:v>
                </c:pt>
                <c:pt idx="1279">
                  <c:v>8.4743539505715226</c:v>
                </c:pt>
                <c:pt idx="1280">
                  <c:v>8.4210140505900988</c:v>
                </c:pt>
                <c:pt idx="1281">
                  <c:v>8.1582897253517643</c:v>
                </c:pt>
                <c:pt idx="1282">
                  <c:v>8.3365271074920297</c:v>
                </c:pt>
                <c:pt idx="1283">
                  <c:v>7.8987062843818947</c:v>
                </c:pt>
                <c:pt idx="1284">
                  <c:v>7.8125957322136754</c:v>
                </c:pt>
                <c:pt idx="1285">
                  <c:v>7.4818603921141174</c:v>
                </c:pt>
                <c:pt idx="1286">
                  <c:v>7.4279990460584475</c:v>
                </c:pt>
                <c:pt idx="1287">
                  <c:v>7.5874333128885709</c:v>
                </c:pt>
                <c:pt idx="1288">
                  <c:v>7.7466237302618373</c:v>
                </c:pt>
                <c:pt idx="1289">
                  <c:v>7.7108114591444474</c:v>
                </c:pt>
                <c:pt idx="1290">
                  <c:v>7.7059104204347886</c:v>
                </c:pt>
                <c:pt idx="1291">
                  <c:v>7.6623696896622819</c:v>
                </c:pt>
                <c:pt idx="1292">
                  <c:v>7.5907710683850897</c:v>
                </c:pt>
                <c:pt idx="1293">
                  <c:v>7.4219456766319887</c:v>
                </c:pt>
                <c:pt idx="1294">
                  <c:v>6.9789846385014673</c:v>
                </c:pt>
                <c:pt idx="1295">
                  <c:v>6.9952805677906147</c:v>
                </c:pt>
                <c:pt idx="1296">
                  <c:v>7.0518049759913382</c:v>
                </c:pt>
                <c:pt idx="1297">
                  <c:v>7.1270993876668722</c:v>
                </c:pt>
                <c:pt idx="1298">
                  <c:v>7.0326582664987498</c:v>
                </c:pt>
                <c:pt idx="1299">
                  <c:v>7.1455802612240573</c:v>
                </c:pt>
                <c:pt idx="1300">
                  <c:v>7.5526757592807083</c:v>
                </c:pt>
                <c:pt idx="1301">
                  <c:v>7.456613623946823</c:v>
                </c:pt>
                <c:pt idx="1302">
                  <c:v>7.2271608106518723</c:v>
                </c:pt>
                <c:pt idx="1303">
                  <c:v>7.3224809767192216</c:v>
                </c:pt>
                <c:pt idx="1304">
                  <c:v>7.8249948211646858</c:v>
                </c:pt>
                <c:pt idx="1305">
                  <c:v>7.9180750749145856</c:v>
                </c:pt>
                <c:pt idx="1306">
                  <c:v>7.7117922493105961</c:v>
                </c:pt>
                <c:pt idx="1307">
                  <c:v>8.0654282124318364</c:v>
                </c:pt>
                <c:pt idx="1308">
                  <c:v>7.6958525900215662</c:v>
                </c:pt>
                <c:pt idx="1309">
                  <c:v>7.9650775765333792</c:v>
                </c:pt>
                <c:pt idx="1310">
                  <c:v>8.0317653116825394</c:v>
                </c:pt>
                <c:pt idx="1311">
                  <c:v>7.9847089832162776</c:v>
                </c:pt>
                <c:pt idx="1312">
                  <c:v>8.0911402271482338</c:v>
                </c:pt>
                <c:pt idx="1313">
                  <c:v>8.8348576569826047</c:v>
                </c:pt>
                <c:pt idx="1314">
                  <c:v>8.9764706160591956</c:v>
                </c:pt>
                <c:pt idx="1315">
                  <c:v>8.8435281220997872</c:v>
                </c:pt>
                <c:pt idx="1316">
                  <c:v>8.83548496877094</c:v>
                </c:pt>
                <c:pt idx="1317">
                  <c:v>8.6443002823499047</c:v>
                </c:pt>
                <c:pt idx="1318">
                  <c:v>8.5488986633874156</c:v>
                </c:pt>
                <c:pt idx="1319">
                  <c:v>8.5724382910534445</c:v>
                </c:pt>
                <c:pt idx="1320">
                  <c:v>8.6911174465850252</c:v>
                </c:pt>
                <c:pt idx="1321">
                  <c:v>8.8632997103745357</c:v>
                </c:pt>
                <c:pt idx="1322">
                  <c:v>8.9621688391280987</c:v>
                </c:pt>
                <c:pt idx="1323">
                  <c:v>8.914859474439254</c:v>
                </c:pt>
                <c:pt idx="1324">
                  <c:v>8.9363682780674267</c:v>
                </c:pt>
                <c:pt idx="1325">
                  <c:v>8.9144578819660278</c:v>
                </c:pt>
                <c:pt idx="1326">
                  <c:v>8.8814589796825416</c:v>
                </c:pt>
                <c:pt idx="1327">
                  <c:v>8.8750518538928915</c:v>
                </c:pt>
                <c:pt idx="1328">
                  <c:v>9.0605142448101148</c:v>
                </c:pt>
                <c:pt idx="1329">
                  <c:v>9.2386942506889884</c:v>
                </c:pt>
                <c:pt idx="1330">
                  <c:v>9.2383487612049358</c:v>
                </c:pt>
                <c:pt idx="1331">
                  <c:v>9.2628861371730391</c:v>
                </c:pt>
                <c:pt idx="1332">
                  <c:v>9.2834439117065202</c:v>
                </c:pt>
                <c:pt idx="1333">
                  <c:v>9.307455419374481</c:v>
                </c:pt>
                <c:pt idx="1334">
                  <c:v>9.3303628148667279</c:v>
                </c:pt>
                <c:pt idx="1335">
                  <c:v>9.2580276284530409</c:v>
                </c:pt>
                <c:pt idx="1336">
                  <c:v>9.0557861140576499</c:v>
                </c:pt>
                <c:pt idx="1337">
                  <c:v>9.0311559676873152</c:v>
                </c:pt>
                <c:pt idx="1338">
                  <c:v>9.0553146421370876</c:v>
                </c:pt>
                <c:pt idx="1339">
                  <c:v>9.0310495777467867</c:v>
                </c:pt>
                <c:pt idx="1340">
                  <c:v>8.6920303714037246</c:v>
                </c:pt>
                <c:pt idx="1341">
                  <c:v>8.2312885344592779</c:v>
                </c:pt>
                <c:pt idx="1342">
                  <c:v>8.2061208738636893</c:v>
                </c:pt>
                <c:pt idx="1343">
                  <c:v>7.8233989696582045</c:v>
                </c:pt>
                <c:pt idx="1344">
                  <c:v>7.5887441538207074</c:v>
                </c:pt>
                <c:pt idx="1345">
                  <c:v>7.9708708520280958</c:v>
                </c:pt>
                <c:pt idx="1346">
                  <c:v>7.9274755600637956</c:v>
                </c:pt>
                <c:pt idx="1347">
                  <c:v>8.0123953194836997</c:v>
                </c:pt>
                <c:pt idx="1348">
                  <c:v>7.8209297652858325</c:v>
                </c:pt>
                <c:pt idx="1349">
                  <c:v>7.7388500106246578</c:v>
                </c:pt>
                <c:pt idx="1350">
                  <c:v>7.4616513424568831</c:v>
                </c:pt>
                <c:pt idx="1351">
                  <c:v>7.3335143976971979</c:v>
                </c:pt>
                <c:pt idx="1352">
                  <c:v>8.2472718670898875</c:v>
                </c:pt>
                <c:pt idx="1353">
                  <c:v>8.1174758627188641</c:v>
                </c:pt>
                <c:pt idx="1354">
                  <c:v>8.5634102564606032</c:v>
                </c:pt>
                <c:pt idx="1355">
                  <c:v>8.5270384885142825</c:v>
                </c:pt>
                <c:pt idx="1356">
                  <c:v>8.4448292289762197</c:v>
                </c:pt>
                <c:pt idx="1357">
                  <c:v>8.3916229720447362</c:v>
                </c:pt>
                <c:pt idx="1358">
                  <c:v>8.3205551642531184</c:v>
                </c:pt>
                <c:pt idx="1359">
                  <c:v>8.2813660786298922</c:v>
                </c:pt>
                <c:pt idx="1360">
                  <c:v>8.2788649331952939</c:v>
                </c:pt>
                <c:pt idx="1361">
                  <c:v>8.2982473965041184</c:v>
                </c:pt>
                <c:pt idx="1362">
                  <c:v>8.2088095943970014</c:v>
                </c:pt>
                <c:pt idx="1363">
                  <c:v>8.1375499813840992</c:v>
                </c:pt>
                <c:pt idx="1364">
                  <c:v>8.2057695639456352</c:v>
                </c:pt>
                <c:pt idx="1365">
                  <c:v>8.290680296647027</c:v>
                </c:pt>
                <c:pt idx="1366">
                  <c:v>8.3125926229802456</c:v>
                </c:pt>
                <c:pt idx="1367">
                  <c:v>8.3070167937292556</c:v>
                </c:pt>
                <c:pt idx="1368">
                  <c:v>8.04069845686554</c:v>
                </c:pt>
                <c:pt idx="1369">
                  <c:v>7.8660194483920005</c:v>
                </c:pt>
                <c:pt idx="1370">
                  <c:v>7.9976153267054801</c:v>
                </c:pt>
                <c:pt idx="1371">
                  <c:v>8.6195391925228417</c:v>
                </c:pt>
                <c:pt idx="1372">
                  <c:v>9.0244439207071743</c:v>
                </c:pt>
                <c:pt idx="1373">
                  <c:v>8.6465792598031914</c:v>
                </c:pt>
                <c:pt idx="1374">
                  <c:v>8.6245953050785022</c:v>
                </c:pt>
                <c:pt idx="1375">
                  <c:v>9.0088764776018042</c:v>
                </c:pt>
                <c:pt idx="1376">
                  <c:v>8.9216901365767054</c:v>
                </c:pt>
                <c:pt idx="1377">
                  <c:v>9.0516216083324732</c:v>
                </c:pt>
                <c:pt idx="1378">
                  <c:v>8.9893901694899156</c:v>
                </c:pt>
                <c:pt idx="1379">
                  <c:v>8.9433355795591414</c:v>
                </c:pt>
                <c:pt idx="1380">
                  <c:v>8.9957004209873759</c:v>
                </c:pt>
                <c:pt idx="1381">
                  <c:v>9.0482853525005495</c:v>
                </c:pt>
                <c:pt idx="1382">
                  <c:v>8.964873688769126</c:v>
                </c:pt>
                <c:pt idx="1383">
                  <c:v>8.7846425292977166</c:v>
                </c:pt>
                <c:pt idx="1384">
                  <c:v>8.5885421844350702</c:v>
                </c:pt>
                <c:pt idx="1385">
                  <c:v>8.7670775189556949</c:v>
                </c:pt>
                <c:pt idx="1386">
                  <c:v>9.0515748932170279</c:v>
                </c:pt>
                <c:pt idx="1387">
                  <c:v>9.4752120165480012</c:v>
                </c:pt>
                <c:pt idx="1388">
                  <c:v>9.4789932979994198</c:v>
                </c:pt>
                <c:pt idx="1389">
                  <c:v>9.3142571039449891</c:v>
                </c:pt>
                <c:pt idx="1390">
                  <c:v>9.1760534620647736</c:v>
                </c:pt>
                <c:pt idx="1391">
                  <c:v>9.0789601293309694</c:v>
                </c:pt>
                <c:pt idx="1392">
                  <c:v>9.3307902421705151</c:v>
                </c:pt>
                <c:pt idx="1393">
                  <c:v>9.0084659146559218</c:v>
                </c:pt>
                <c:pt idx="1394">
                  <c:v>8.8673376792261713</c:v>
                </c:pt>
                <c:pt idx="1395">
                  <c:v>8.8874333420427618</c:v>
                </c:pt>
                <c:pt idx="1396">
                  <c:v>8.7722599069642317</c:v>
                </c:pt>
                <c:pt idx="1397">
                  <c:v>8.6108391430032221</c:v>
                </c:pt>
                <c:pt idx="1398">
                  <c:v>8.5480633712403336</c:v>
                </c:pt>
                <c:pt idx="1399">
                  <c:v>8.4535383805314801</c:v>
                </c:pt>
                <c:pt idx="1400">
                  <c:v>8.4738775562083877</c:v>
                </c:pt>
                <c:pt idx="1401">
                  <c:v>8.5832452597167848</c:v>
                </c:pt>
                <c:pt idx="1402">
                  <c:v>8.4833315923737391</c:v>
                </c:pt>
                <c:pt idx="1403">
                  <c:v>8.5359226658198786</c:v>
                </c:pt>
                <c:pt idx="1404">
                  <c:v>8.440004773891383</c:v>
                </c:pt>
                <c:pt idx="1405">
                  <c:v>8.4232867212716531</c:v>
                </c:pt>
                <c:pt idx="1406">
                  <c:v>8.2953666738045246</c:v>
                </c:pt>
                <c:pt idx="1407">
                  <c:v>8.5193723643499197</c:v>
                </c:pt>
                <c:pt idx="1408">
                  <c:v>8.0549212194376771</c:v>
                </c:pt>
                <c:pt idx="1409">
                  <c:v>7.68848856419973</c:v>
                </c:pt>
                <c:pt idx="1410">
                  <c:v>7.5803494622242082</c:v>
                </c:pt>
                <c:pt idx="1411">
                  <c:v>7.3895526993229144</c:v>
                </c:pt>
                <c:pt idx="1412">
                  <c:v>7.3256236273423285</c:v>
                </c:pt>
                <c:pt idx="1413">
                  <c:v>7.1984514248955547</c:v>
                </c:pt>
                <c:pt idx="1414">
                  <c:v>7.0923167761379267</c:v>
                </c:pt>
                <c:pt idx="1415">
                  <c:v>7.0709169420964484</c:v>
                </c:pt>
                <c:pt idx="1416">
                  <c:v>7.3037431572499942</c:v>
                </c:pt>
                <c:pt idx="1417">
                  <c:v>7.4937480529010561</c:v>
                </c:pt>
                <c:pt idx="1418">
                  <c:v>7.5991623182318895</c:v>
                </c:pt>
                <c:pt idx="1419">
                  <c:v>7.5145012927026515</c:v>
                </c:pt>
                <c:pt idx="1420">
                  <c:v>7.5664841756532013</c:v>
                </c:pt>
                <c:pt idx="1421">
                  <c:v>7.8581681068906297</c:v>
                </c:pt>
                <c:pt idx="1422">
                  <c:v>8.2177618876014407</c:v>
                </c:pt>
                <c:pt idx="1423">
                  <c:v>8.1989542996990892</c:v>
                </c:pt>
                <c:pt idx="1424">
                  <c:v>7.91862598258143</c:v>
                </c:pt>
                <c:pt idx="1425">
                  <c:v>7.9503282662164212</c:v>
                </c:pt>
                <c:pt idx="1426">
                  <c:v>8.109230263347337</c:v>
                </c:pt>
                <c:pt idx="1427">
                  <c:v>7.9863019411724014</c:v>
                </c:pt>
                <c:pt idx="1428">
                  <c:v>7.9169177714135266</c:v>
                </c:pt>
                <c:pt idx="1429">
                  <c:v>7.7983178758330398</c:v>
                </c:pt>
                <c:pt idx="1430">
                  <c:v>7.9685239342375151</c:v>
                </c:pt>
                <c:pt idx="1431">
                  <c:v>8.1888623043354194</c:v>
                </c:pt>
                <c:pt idx="1432">
                  <c:v>8.0860775781137981</c:v>
                </c:pt>
                <c:pt idx="1433">
                  <c:v>8.1026351746867658</c:v>
                </c:pt>
                <c:pt idx="1434">
                  <c:v>8.0372508018223261</c:v>
                </c:pt>
                <c:pt idx="1435">
                  <c:v>7.9064294079226398</c:v>
                </c:pt>
                <c:pt idx="1436">
                  <c:v>7.6476097694683345</c:v>
                </c:pt>
                <c:pt idx="1437">
                  <c:v>8.2939966784114763</c:v>
                </c:pt>
                <c:pt idx="1438">
                  <c:v>8.2231449001099257</c:v>
                </c:pt>
                <c:pt idx="1439">
                  <c:v>8.1819877510343417</c:v>
                </c:pt>
                <c:pt idx="1440">
                  <c:v>8.1676057388761478</c:v>
                </c:pt>
                <c:pt idx="1441">
                  <c:v>8.1765362180656194</c:v>
                </c:pt>
                <c:pt idx="1442">
                  <c:v>8.0665479703668161</c:v>
                </c:pt>
                <c:pt idx="1443">
                  <c:v>8.244161467765764</c:v>
                </c:pt>
                <c:pt idx="1444">
                  <c:v>7.9751754435941464</c:v>
                </c:pt>
                <c:pt idx="1445">
                  <c:v>7.951744942868733</c:v>
                </c:pt>
                <c:pt idx="1446">
                  <c:v>8.1846291577332941</c:v>
                </c:pt>
                <c:pt idx="1447">
                  <c:v>7.4339819172124733</c:v>
                </c:pt>
                <c:pt idx="1448">
                  <c:v>7.5032800157790831</c:v>
                </c:pt>
                <c:pt idx="1449">
                  <c:v>7.6532385974709332</c:v>
                </c:pt>
                <c:pt idx="1450">
                  <c:v>8.0096492473354584</c:v>
                </c:pt>
                <c:pt idx="1451">
                  <c:v>8.2046614964889368</c:v>
                </c:pt>
                <c:pt idx="1452">
                  <c:v>8.1564446935520998</c:v>
                </c:pt>
                <c:pt idx="1453">
                  <c:v>8.107754429319268</c:v>
                </c:pt>
                <c:pt idx="1454">
                  <c:v>8.0892510998784939</c:v>
                </c:pt>
                <c:pt idx="1455">
                  <c:v>8.0087190232575427</c:v>
                </c:pt>
                <c:pt idx="1456">
                  <c:v>8.1676037326739728</c:v>
                </c:pt>
                <c:pt idx="1457">
                  <c:v>8.1734814792859556</c:v>
                </c:pt>
                <c:pt idx="1458">
                  <c:v>7.8818945973219821</c:v>
                </c:pt>
                <c:pt idx="1459">
                  <c:v>7.5435759930020225</c:v>
                </c:pt>
                <c:pt idx="1460">
                  <c:v>7.5428727747503839</c:v>
                </c:pt>
                <c:pt idx="1461">
                  <c:v>7.6763751476557882</c:v>
                </c:pt>
                <c:pt idx="1462">
                  <c:v>7.4535739625079342</c:v>
                </c:pt>
                <c:pt idx="1463">
                  <c:v>7.6088447693555121</c:v>
                </c:pt>
                <c:pt idx="1464">
                  <c:v>8.3871768703299843</c:v>
                </c:pt>
                <c:pt idx="1465">
                  <c:v>8.6842172645519362</c:v>
                </c:pt>
                <c:pt idx="1466">
                  <c:v>8.5816983287008615</c:v>
                </c:pt>
                <c:pt idx="1467">
                  <c:v>8.2500574064409236</c:v>
                </c:pt>
                <c:pt idx="1468">
                  <c:v>8.4291558510884723</c:v>
                </c:pt>
                <c:pt idx="1469">
                  <c:v>8.0949225072119795</c:v>
                </c:pt>
                <c:pt idx="1470">
                  <c:v>8.5760581144566412</c:v>
                </c:pt>
                <c:pt idx="1471">
                  <c:v>8.748626798185331</c:v>
                </c:pt>
                <c:pt idx="1472">
                  <c:v>8.9627409003828813</c:v>
                </c:pt>
                <c:pt idx="1473">
                  <c:v>8.9575347076225498</c:v>
                </c:pt>
                <c:pt idx="1474">
                  <c:v>9.3415180231535775</c:v>
                </c:pt>
                <c:pt idx="1475">
                  <c:v>9.4701159803620616</c:v>
                </c:pt>
                <c:pt idx="1476">
                  <c:v>9.5985795047277627</c:v>
                </c:pt>
                <c:pt idx="1477">
                  <c:v>9.5937717258037498</c:v>
                </c:pt>
                <c:pt idx="1478">
                  <c:v>9.6755497786646849</c:v>
                </c:pt>
                <c:pt idx="1479">
                  <c:v>9.8477911545551944</c:v>
                </c:pt>
                <c:pt idx="1480">
                  <c:v>9.2522937850712452</c:v>
                </c:pt>
                <c:pt idx="1481">
                  <c:v>9.3169312491095191</c:v>
                </c:pt>
                <c:pt idx="1482">
                  <c:v>6.9997829932100357</c:v>
                </c:pt>
                <c:pt idx="1483">
                  <c:v>6.5953298595073369</c:v>
                </c:pt>
                <c:pt idx="1484">
                  <c:v>4.9207322836411898</c:v>
                </c:pt>
                <c:pt idx="1485">
                  <c:v>5.7324961509391725</c:v>
                </c:pt>
                <c:pt idx="1486">
                  <c:v>4.6966797474805322</c:v>
                </c:pt>
                <c:pt idx="1487">
                  <c:v>4.7579475404163647</c:v>
                </c:pt>
                <c:pt idx="1488">
                  <c:v>4.7281340172489008</c:v>
                </c:pt>
                <c:pt idx="1489">
                  <c:v>4.8473815108963372</c:v>
                </c:pt>
                <c:pt idx="1490">
                  <c:v>4.8279486893866164</c:v>
                </c:pt>
                <c:pt idx="1491">
                  <c:v>4.7727451599660826</c:v>
                </c:pt>
                <c:pt idx="1492">
                  <c:v>4.590258624865803</c:v>
                </c:pt>
                <c:pt idx="1493">
                  <c:v>4.544224316038207</c:v>
                </c:pt>
                <c:pt idx="1494">
                  <c:v>4.4789236742037195</c:v>
                </c:pt>
                <c:pt idx="1495">
                  <c:v>4.601926902157226</c:v>
                </c:pt>
                <c:pt idx="1496">
                  <c:v>4.6503909067351294</c:v>
                </c:pt>
                <c:pt idx="1497">
                  <c:v>4.6033589903114622</c:v>
                </c:pt>
                <c:pt idx="1498">
                  <c:v>4.6214218564230292</c:v>
                </c:pt>
                <c:pt idx="1499">
                  <c:v>4.6904078931881603</c:v>
                </c:pt>
                <c:pt idx="1500">
                  <c:v>4.6739349265727483</c:v>
                </c:pt>
                <c:pt idx="1501">
                  <c:v>4.6633966317783049</c:v>
                </c:pt>
                <c:pt idx="1502">
                  <c:v>4.6672681843074511</c:v>
                </c:pt>
                <c:pt idx="1503">
                  <c:v>4.7141652174770137</c:v>
                </c:pt>
                <c:pt idx="1504">
                  <c:v>4.735317926242578</c:v>
                </c:pt>
                <c:pt idx="1505">
                  <c:v>4.7568497294098586</c:v>
                </c:pt>
                <c:pt idx="1506">
                  <c:v>4.7152916618356366</c:v>
                </c:pt>
                <c:pt idx="1507">
                  <c:v>4.6982097595012151</c:v>
                </c:pt>
                <c:pt idx="1508">
                  <c:v>4.7034622834824384</c:v>
                </c:pt>
                <c:pt idx="1509">
                  <c:v>4.7433041822797808</c:v>
                </c:pt>
                <c:pt idx="1510">
                  <c:v>4.9300283197888888</c:v>
                </c:pt>
                <c:pt idx="1511">
                  <c:v>5.1171817331718259</c:v>
                </c:pt>
                <c:pt idx="1512">
                  <c:v>5.1235485207758558</c:v>
                </c:pt>
                <c:pt idx="1513">
                  <c:v>5.19322408971773</c:v>
                </c:pt>
                <c:pt idx="1514">
                  <c:v>5.1686081581302092</c:v>
                </c:pt>
                <c:pt idx="1515">
                  <c:v>5.3631946503616845</c:v>
                </c:pt>
                <c:pt idx="1516">
                  <c:v>5.5495311155994029</c:v>
                </c:pt>
                <c:pt idx="1517">
                  <c:v>5.5174392150603211</c:v>
                </c:pt>
                <c:pt idx="1518">
                  <c:v>5.6930710697583287</c:v>
                </c:pt>
                <c:pt idx="1519">
                  <c:v>5.7956525839496349</c:v>
                </c:pt>
                <c:pt idx="1520">
                  <c:v>5.5635693046126011</c:v>
                </c:pt>
                <c:pt idx="1521">
                  <c:v>5.6096375037292168</c:v>
                </c:pt>
                <c:pt idx="1522">
                  <c:v>5.1462885811596744</c:v>
                </c:pt>
                <c:pt idx="1523">
                  <c:v>4.9471021490338316</c:v>
                </c:pt>
                <c:pt idx="1524">
                  <c:v>5.3842399282779683</c:v>
                </c:pt>
                <c:pt idx="1525">
                  <c:v>5.6926537932009644</c:v>
                </c:pt>
                <c:pt idx="1526">
                  <c:v>5.7069927204174515</c:v>
                </c:pt>
                <c:pt idx="1527">
                  <c:v>5.7043053156278729</c:v>
                </c:pt>
                <c:pt idx="1528">
                  <c:v>5.5580309873275446</c:v>
                </c:pt>
                <c:pt idx="1529">
                  <c:v>5.5475936663488916</c:v>
                </c:pt>
                <c:pt idx="1530">
                  <c:v>5.2247503575666547</c:v>
                </c:pt>
                <c:pt idx="1531">
                  <c:v>5.2029636971784896</c:v>
                </c:pt>
                <c:pt idx="1532">
                  <c:v>4.8929292098992674</c:v>
                </c:pt>
                <c:pt idx="1533">
                  <c:v>5.4924460441635521</c:v>
                </c:pt>
                <c:pt idx="1534">
                  <c:v>5.1659179156438597</c:v>
                </c:pt>
                <c:pt idx="1535">
                  <c:v>5.2637621407885744</c:v>
                </c:pt>
                <c:pt idx="1536">
                  <c:v>5.27834636054952</c:v>
                </c:pt>
                <c:pt idx="1537">
                  <c:v>5.330998893320209</c:v>
                </c:pt>
                <c:pt idx="1538">
                  <c:v>5.4108669372290761</c:v>
                </c:pt>
                <c:pt idx="1539">
                  <c:v>5.4628674177006209</c:v>
                </c:pt>
                <c:pt idx="1540">
                  <c:v>5.334637061156168</c:v>
                </c:pt>
                <c:pt idx="1541">
                  <c:v>5.4142557061773369</c:v>
                </c:pt>
                <c:pt idx="1542">
                  <c:v>5.4127837245555064</c:v>
                </c:pt>
                <c:pt idx="1543">
                  <c:v>5.9685522090176519</c:v>
                </c:pt>
                <c:pt idx="1544">
                  <c:v>6.550451717058106</c:v>
                </c:pt>
                <c:pt idx="1545">
                  <c:v>6.523120547240274</c:v>
                </c:pt>
                <c:pt idx="1546">
                  <c:v>6.6530043924139592</c:v>
                </c:pt>
                <c:pt idx="1547">
                  <c:v>6.6260828108632239</c:v>
                </c:pt>
                <c:pt idx="1548">
                  <c:v>6.6284045671793033</c:v>
                </c:pt>
                <c:pt idx="1549">
                  <c:v>6.6922593742728962</c:v>
                </c:pt>
                <c:pt idx="1550">
                  <c:v>6.5357139720279465</c:v>
                </c:pt>
                <c:pt idx="1551">
                  <c:v>6.4453050850532971</c:v>
                </c:pt>
                <c:pt idx="1552">
                  <c:v>6.5663789538477602</c:v>
                </c:pt>
                <c:pt idx="1553">
                  <c:v>6.5416037059920287</c:v>
                </c:pt>
                <c:pt idx="1554">
                  <c:v>6.5391845269276692</c:v>
                </c:pt>
                <c:pt idx="1555">
                  <c:v>6.5256571612725436</c:v>
                </c:pt>
                <c:pt idx="1556">
                  <c:v>6.5168483389596883</c:v>
                </c:pt>
                <c:pt idx="1557">
                  <c:v>6.5719977769156888</c:v>
                </c:pt>
                <c:pt idx="1558">
                  <c:v>6.5383460614052247</c:v>
                </c:pt>
                <c:pt idx="1559">
                  <c:v>6.5506931619001358</c:v>
                </c:pt>
                <c:pt idx="1560">
                  <c:v>6.5141016882750558</c:v>
                </c:pt>
                <c:pt idx="1561">
                  <c:v>6.5090564928715899</c:v>
                </c:pt>
                <c:pt idx="1562">
                  <c:v>6.5833569643424132</c:v>
                </c:pt>
                <c:pt idx="1563">
                  <c:v>6.617017052845152</c:v>
                </c:pt>
                <c:pt idx="1564">
                  <c:v>6.571371170979444</c:v>
                </c:pt>
                <c:pt idx="1565">
                  <c:v>6.5511950506113514</c:v>
                </c:pt>
                <c:pt idx="1566">
                  <c:v>6.5297961514913627</c:v>
                </c:pt>
                <c:pt idx="1567">
                  <c:v>6.5296379730100966</c:v>
                </c:pt>
                <c:pt idx="1568">
                  <c:v>6.5697250381331749</c:v>
                </c:pt>
                <c:pt idx="1569">
                  <c:v>6.6277238108676446</c:v>
                </c:pt>
                <c:pt idx="1570">
                  <c:v>6.7594113274105041</c:v>
                </c:pt>
                <c:pt idx="1571">
                  <c:v>6.6012649865655249</c:v>
                </c:pt>
                <c:pt idx="1572">
                  <c:v>6.5720072389075854</c:v>
                </c:pt>
                <c:pt idx="1573">
                  <c:v>6.4777675485932011</c:v>
                </c:pt>
                <c:pt idx="1574">
                  <c:v>6.473392167395251</c:v>
                </c:pt>
                <c:pt idx="1575">
                  <c:v>6.4003384855702699</c:v>
                </c:pt>
                <c:pt idx="1576">
                  <c:v>6.3958598401932658</c:v>
                </c:pt>
                <c:pt idx="1577">
                  <c:v>6.3179392426980563</c:v>
                </c:pt>
                <c:pt idx="1578">
                  <c:v>6.0635447700473861</c:v>
                </c:pt>
                <c:pt idx="1579">
                  <c:v>5.6863621368772197</c:v>
                </c:pt>
                <c:pt idx="1580">
                  <c:v>5.8223430126837661</c:v>
                </c:pt>
                <c:pt idx="1581">
                  <c:v>5.9612084726789112</c:v>
                </c:pt>
                <c:pt idx="1582">
                  <c:v>5.9029067969579225</c:v>
                </c:pt>
                <c:pt idx="1583">
                  <c:v>6.1358079773280583</c:v>
                </c:pt>
                <c:pt idx="1584">
                  <c:v>5.9916662937784082</c:v>
                </c:pt>
                <c:pt idx="1585">
                  <c:v>5.9996013610800984</c:v>
                </c:pt>
                <c:pt idx="1586">
                  <c:v>5.842272407730186</c:v>
                </c:pt>
                <c:pt idx="1587">
                  <c:v>5.8634275648456846</c:v>
                </c:pt>
                <c:pt idx="1588">
                  <c:v>5.788994895943059</c:v>
                </c:pt>
                <c:pt idx="1589">
                  <c:v>5.6697108126154756</c:v>
                </c:pt>
                <c:pt idx="1590">
                  <c:v>5.6297984949228228</c:v>
                </c:pt>
                <c:pt idx="1591">
                  <c:v>5.5038335675720464</c:v>
                </c:pt>
                <c:pt idx="1592">
                  <c:v>5.6513232400734914</c:v>
                </c:pt>
                <c:pt idx="1593">
                  <c:v>5.4663053797521757</c:v>
                </c:pt>
                <c:pt idx="1594">
                  <c:v>5.5464683745085237</c:v>
                </c:pt>
                <c:pt idx="1595">
                  <c:v>5.5117674601348021</c:v>
                </c:pt>
                <c:pt idx="1596">
                  <c:v>5.3793226194383372</c:v>
                </c:pt>
                <c:pt idx="1597">
                  <c:v>5.2923142642965697</c:v>
                </c:pt>
                <c:pt idx="1598">
                  <c:v>5.1463221530113525</c:v>
                </c:pt>
                <c:pt idx="1599">
                  <c:v>5.0149607684377262</c:v>
                </c:pt>
                <c:pt idx="1600">
                  <c:v>4.9911389702269249</c:v>
                </c:pt>
                <c:pt idx="1601">
                  <c:v>4.8498285928045535</c:v>
                </c:pt>
                <c:pt idx="1602">
                  <c:v>4.8377553615193669</c:v>
                </c:pt>
                <c:pt idx="1603">
                  <c:v>4.7435642235785007</c:v>
                </c:pt>
                <c:pt idx="1604">
                  <c:v>4.8728383708696272</c:v>
                </c:pt>
                <c:pt idx="1605">
                  <c:v>4.9196256419432931</c:v>
                </c:pt>
                <c:pt idx="1606">
                  <c:v>4.6723630824312927</c:v>
                </c:pt>
                <c:pt idx="1607">
                  <c:v>4.5765841309005415</c:v>
                </c:pt>
                <c:pt idx="1608">
                  <c:v>4.2851401917551595</c:v>
                </c:pt>
                <c:pt idx="1609">
                  <c:v>4.320359019496455</c:v>
                </c:pt>
                <c:pt idx="1610">
                  <c:v>4.3918867165149571</c:v>
                </c:pt>
                <c:pt idx="1611">
                  <c:v>4.5826787992960343</c:v>
                </c:pt>
                <c:pt idx="1612">
                  <c:v>4.7731848935869268</c:v>
                </c:pt>
                <c:pt idx="1613">
                  <c:v>4.8942118227991811</c:v>
                </c:pt>
                <c:pt idx="1614">
                  <c:v>5.1396412335999155</c:v>
                </c:pt>
                <c:pt idx="1615">
                  <c:v>5.0071612266958887</c:v>
                </c:pt>
                <c:pt idx="1616">
                  <c:v>4.8294783485685224</c:v>
                </c:pt>
                <c:pt idx="1617">
                  <c:v>5.0765790390262859</c:v>
                </c:pt>
                <c:pt idx="1618">
                  <c:v>5.1190856383775127</c:v>
                </c:pt>
                <c:pt idx="1619">
                  <c:v>5.1222815056041417</c:v>
                </c:pt>
                <c:pt idx="1620">
                  <c:v>5.1784048508255909</c:v>
                </c:pt>
                <c:pt idx="1621">
                  <c:v>5.2316312073298787</c:v>
                </c:pt>
                <c:pt idx="1622">
                  <c:v>5.3250059869634114</c:v>
                </c:pt>
                <c:pt idx="1623">
                  <c:v>5.4061835096403188</c:v>
                </c:pt>
                <c:pt idx="1624">
                  <c:v>5.3006098626754943</c:v>
                </c:pt>
                <c:pt idx="1625">
                  <c:v>5.3085590147362689</c:v>
                </c:pt>
                <c:pt idx="1626">
                  <c:v>5.1609724657082401</c:v>
                </c:pt>
                <c:pt idx="1627">
                  <c:v>5.1996984554391537</c:v>
                </c:pt>
                <c:pt idx="1628">
                  <c:v>5.1478428719839613</c:v>
                </c:pt>
                <c:pt idx="1629">
                  <c:v>5.4138452279797038</c:v>
                </c:pt>
                <c:pt idx="1630">
                  <c:v>5.1874441280114265</c:v>
                </c:pt>
                <c:pt idx="1631">
                  <c:v>5.3376511562715203</c:v>
                </c:pt>
                <c:pt idx="1632">
                  <c:v>5.3148359585568734</c:v>
                </c:pt>
                <c:pt idx="1633">
                  <c:v>5.1465470309132089</c:v>
                </c:pt>
                <c:pt idx="1634">
                  <c:v>5.0026439815247423</c:v>
                </c:pt>
                <c:pt idx="1635">
                  <c:v>5.2339066981633788</c:v>
                </c:pt>
                <c:pt idx="1636">
                  <c:v>5.0128343801966055</c:v>
                </c:pt>
                <c:pt idx="1637">
                  <c:v>4.9840710488447124</c:v>
                </c:pt>
                <c:pt idx="1638">
                  <c:v>4.6123341249843515</c:v>
                </c:pt>
                <c:pt idx="1639">
                  <c:v>4.4040265149188285</c:v>
                </c:pt>
                <c:pt idx="1640">
                  <c:v>4.1730134625401751</c:v>
                </c:pt>
                <c:pt idx="1641">
                  <c:v>4.2301717966207155</c:v>
                </c:pt>
                <c:pt idx="1642">
                  <c:v>3.9188310598955698</c:v>
                </c:pt>
                <c:pt idx="1643">
                  <c:v>3.5954701948216266</c:v>
                </c:pt>
                <c:pt idx="1644">
                  <c:v>4.0557758804461299</c:v>
                </c:pt>
                <c:pt idx="1645">
                  <c:v>4.0661541727779094</c:v>
                </c:pt>
                <c:pt idx="1646">
                  <c:v>3.9979503276342383</c:v>
                </c:pt>
                <c:pt idx="1647">
                  <c:v>3.9736713267702664</c:v>
                </c:pt>
                <c:pt idx="1648">
                  <c:v>3.9911164686376059</c:v>
                </c:pt>
                <c:pt idx="1649">
                  <c:v>4.0101414755690223</c:v>
                </c:pt>
                <c:pt idx="1650">
                  <c:v>4.0331703737084847</c:v>
                </c:pt>
                <c:pt idx="1651">
                  <c:v>4.0306585198092177</c:v>
                </c:pt>
                <c:pt idx="1652">
                  <c:v>3.9388943531609928</c:v>
                </c:pt>
                <c:pt idx="1653">
                  <c:v>3.7513086801506503</c:v>
                </c:pt>
                <c:pt idx="1654">
                  <c:v>3.8248200217558059</c:v>
                </c:pt>
                <c:pt idx="1655">
                  <c:v>4.2861887190597345</c:v>
                </c:pt>
                <c:pt idx="1656">
                  <c:v>3.9207230589121607</c:v>
                </c:pt>
                <c:pt idx="1657">
                  <c:v>3.9071092357728268</c:v>
                </c:pt>
                <c:pt idx="1658">
                  <c:v>3.9969800947827783</c:v>
                </c:pt>
                <c:pt idx="1659">
                  <c:v>3.9748436387029051</c:v>
                </c:pt>
                <c:pt idx="1660">
                  <c:v>3.9620593493003287</c:v>
                </c:pt>
                <c:pt idx="1661">
                  <c:v>3.9386907300052356</c:v>
                </c:pt>
                <c:pt idx="1662">
                  <c:v>3.9814637038800234</c:v>
                </c:pt>
                <c:pt idx="1663">
                  <c:v>3.9057445064860485</c:v>
                </c:pt>
                <c:pt idx="1664">
                  <c:v>3.8717864305694869</c:v>
                </c:pt>
                <c:pt idx="1665">
                  <c:v>3.8307713070355609</c:v>
                </c:pt>
                <c:pt idx="1666">
                  <c:v>3.8353307692178684</c:v>
                </c:pt>
                <c:pt idx="1667">
                  <c:v>3.9157619011406801</c:v>
                </c:pt>
                <c:pt idx="1668">
                  <c:v>3.83900586004345</c:v>
                </c:pt>
                <c:pt idx="1669">
                  <c:v>3.8411008821404411</c:v>
                </c:pt>
                <c:pt idx="1670">
                  <c:v>3.9318685264750246</c:v>
                </c:pt>
                <c:pt idx="1671">
                  <c:v>4.0393560239113873</c:v>
                </c:pt>
                <c:pt idx="1672">
                  <c:v>4.0367115060396497</c:v>
                </c:pt>
                <c:pt idx="1673">
                  <c:v>4.0099630572137173</c:v>
                </c:pt>
                <c:pt idx="1674">
                  <c:v>3.9466710343121707</c:v>
                </c:pt>
                <c:pt idx="1675">
                  <c:v>4.0488897317914896</c:v>
                </c:pt>
                <c:pt idx="1676">
                  <c:v>3.9268853419116816</c:v>
                </c:pt>
                <c:pt idx="1677">
                  <c:v>3.8582338407503145</c:v>
                </c:pt>
                <c:pt idx="1678">
                  <c:v>3.7511895896359482</c:v>
                </c:pt>
                <c:pt idx="1679">
                  <c:v>3.6703378019215109</c:v>
                </c:pt>
                <c:pt idx="1680">
                  <c:v>3.3994055803867651</c:v>
                </c:pt>
                <c:pt idx="1681">
                  <c:v>3.1393572246762562</c:v>
                </c:pt>
                <c:pt idx="1682">
                  <c:v>3.5785630488828812</c:v>
                </c:pt>
                <c:pt idx="1683">
                  <c:v>3.4741618218002781</c:v>
                </c:pt>
                <c:pt idx="1684">
                  <c:v>3.4738181358276097</c:v>
                </c:pt>
                <c:pt idx="1685">
                  <c:v>3.500830947040543</c:v>
                </c:pt>
                <c:pt idx="1686">
                  <c:v>3.4897652984492495</c:v>
                </c:pt>
                <c:pt idx="1687">
                  <c:v>3.4678084565984384</c:v>
                </c:pt>
                <c:pt idx="1688">
                  <c:v>3.5053673227753785</c:v>
                </c:pt>
                <c:pt idx="1689">
                  <c:v>3.5265211480261511</c:v>
                </c:pt>
                <c:pt idx="1690">
                  <c:v>3.4758089323200614</c:v>
                </c:pt>
                <c:pt idx="1691">
                  <c:v>3.4979078698170758</c:v>
                </c:pt>
                <c:pt idx="1692">
                  <c:v>3.6000321318508117</c:v>
                </c:pt>
                <c:pt idx="1693">
                  <c:v>3.7408068964443557</c:v>
                </c:pt>
                <c:pt idx="1694">
                  <c:v>3.7419982158498142</c:v>
                </c:pt>
                <c:pt idx="1695">
                  <c:v>3.6431893108314668</c:v>
                </c:pt>
                <c:pt idx="1696">
                  <c:v>3.8772340945962762</c:v>
                </c:pt>
                <c:pt idx="1697">
                  <c:v>3.7382923243084965</c:v>
                </c:pt>
                <c:pt idx="1698">
                  <c:v>3.7399165474395781</c:v>
                </c:pt>
                <c:pt idx="1699">
                  <c:v>3.6527144616658962</c:v>
                </c:pt>
                <c:pt idx="1700">
                  <c:v>3.6621477906744615</c:v>
                </c:pt>
                <c:pt idx="1701">
                  <c:v>3.5769535449560896</c:v>
                </c:pt>
                <c:pt idx="1702">
                  <c:v>3.5829744328487623</c:v>
                </c:pt>
                <c:pt idx="1703">
                  <c:v>3.414639684800608</c:v>
                </c:pt>
                <c:pt idx="1704">
                  <c:v>3.7670931150045766</c:v>
                </c:pt>
                <c:pt idx="1705">
                  <c:v>3.5318416780018498</c:v>
                </c:pt>
                <c:pt idx="1706">
                  <c:v>3.5363081475453342</c:v>
                </c:pt>
                <c:pt idx="1707">
                  <c:v>3.4925572354944636</c:v>
                </c:pt>
                <c:pt idx="1708">
                  <c:v>3.4896855692256183</c:v>
                </c:pt>
                <c:pt idx="1709">
                  <c:v>3.4752975878018004</c:v>
                </c:pt>
                <c:pt idx="1710">
                  <c:v>3.4259907728948047</c:v>
                </c:pt>
                <c:pt idx="1711">
                  <c:v>3.3850287648100568</c:v>
                </c:pt>
                <c:pt idx="1712">
                  <c:v>3.3382711555407099</c:v>
                </c:pt>
                <c:pt idx="1713">
                  <c:v>3.4980044257171432</c:v>
                </c:pt>
                <c:pt idx="1714">
                  <c:v>3.4144217813977757</c:v>
                </c:pt>
                <c:pt idx="1715">
                  <c:v>3.4257957554421057</c:v>
                </c:pt>
                <c:pt idx="1716">
                  <c:v>3.5064148196581608</c:v>
                </c:pt>
                <c:pt idx="1717">
                  <c:v>3.4377449859830622</c:v>
                </c:pt>
                <c:pt idx="1718">
                  <c:v>3.4377885008030593</c:v>
                </c:pt>
                <c:pt idx="1719">
                  <c:v>3.3775714316937822</c:v>
                </c:pt>
                <c:pt idx="1720">
                  <c:v>3.3754675844315982</c:v>
                </c:pt>
                <c:pt idx="1721">
                  <c:v>3.318188481181358</c:v>
                </c:pt>
                <c:pt idx="1722">
                  <c:v>3.3245890742777897</c:v>
                </c:pt>
                <c:pt idx="1723">
                  <c:v>3.269440750551337</c:v>
                </c:pt>
                <c:pt idx="1724">
                  <c:v>3.3663026689462536</c:v>
                </c:pt>
                <c:pt idx="1725">
                  <c:v>3.5707661390725116</c:v>
                </c:pt>
                <c:pt idx="1726">
                  <c:v>3.6171651847268524</c:v>
                </c:pt>
                <c:pt idx="1727">
                  <c:v>3.6945217796029226</c:v>
                </c:pt>
                <c:pt idx="1728">
                  <c:v>4.0332131175751043</c:v>
                </c:pt>
                <c:pt idx="1729">
                  <c:v>4.119269260801123</c:v>
                </c:pt>
                <c:pt idx="1730">
                  <c:v>4.1510025133606145</c:v>
                </c:pt>
                <c:pt idx="1731">
                  <c:v>4.185412970192691</c:v>
                </c:pt>
                <c:pt idx="1732">
                  <c:v>4.1810593377799945</c:v>
                </c:pt>
                <c:pt idx="1733">
                  <c:v>4.2091765935697625</c:v>
                </c:pt>
                <c:pt idx="1734">
                  <c:v>4.1947440482626668</c:v>
                </c:pt>
                <c:pt idx="1735">
                  <c:v>4.130534648967978</c:v>
                </c:pt>
                <c:pt idx="1736">
                  <c:v>4.3236303991753742</c:v>
                </c:pt>
                <c:pt idx="1737">
                  <c:v>4.1149590868480521</c:v>
                </c:pt>
                <c:pt idx="1738">
                  <c:v>4.0732610403091165</c:v>
                </c:pt>
                <c:pt idx="1739">
                  <c:v>4.0262179929539368</c:v>
                </c:pt>
                <c:pt idx="1740">
                  <c:v>3.903300192861106</c:v>
                </c:pt>
                <c:pt idx="1741">
                  <c:v>4.0473194073518242</c:v>
                </c:pt>
                <c:pt idx="1742">
                  <c:v>3.9978321320881927</c:v>
                </c:pt>
                <c:pt idx="1743">
                  <c:v>3.9572217960043017</c:v>
                </c:pt>
                <c:pt idx="1744">
                  <c:v>3.9090290795993008</c:v>
                </c:pt>
                <c:pt idx="1745">
                  <c:v>3.9133897250742016</c:v>
                </c:pt>
                <c:pt idx="1746">
                  <c:v>3.9830959530800203</c:v>
                </c:pt>
                <c:pt idx="1747">
                  <c:v>4.0170579230260817</c:v>
                </c:pt>
                <c:pt idx="1748">
                  <c:v>4.0223644481433629</c:v>
                </c:pt>
                <c:pt idx="1749">
                  <c:v>4.0347704398616404</c:v>
                </c:pt>
                <c:pt idx="1750">
                  <c:v>4.0061296221813736</c:v>
                </c:pt>
                <c:pt idx="1751">
                  <c:v>4.0101955090602024</c:v>
                </c:pt>
                <c:pt idx="1752">
                  <c:v>4.0080677638296525</c:v>
                </c:pt>
                <c:pt idx="1753">
                  <c:v>3.98091589121832</c:v>
                </c:pt>
                <c:pt idx="1754">
                  <c:v>4.0586465116194805</c:v>
                </c:pt>
                <c:pt idx="1755">
                  <c:v>4.1185025031224756</c:v>
                </c:pt>
                <c:pt idx="1756">
                  <c:v>4.1093659394403597</c:v>
                </c:pt>
                <c:pt idx="1757">
                  <c:v>3.8247573776595623</c:v>
                </c:pt>
                <c:pt idx="1758">
                  <c:v>3.5832678627451524</c:v>
                </c:pt>
                <c:pt idx="1759">
                  <c:v>3.9150023937181988</c:v>
                </c:pt>
                <c:pt idx="1760">
                  <c:v>3.937932673920264</c:v>
                </c:pt>
                <c:pt idx="1761">
                  <c:v>3.7480984967281552</c:v>
                </c:pt>
                <c:pt idx="1762">
                  <c:v>3.5575849673235762</c:v>
                </c:pt>
                <c:pt idx="1763">
                  <c:v>3.7509647025396085</c:v>
                </c:pt>
                <c:pt idx="1764">
                  <c:v>3.6424162045620609</c:v>
                </c:pt>
                <c:pt idx="1765">
                  <c:v>3.5601721655617808</c:v>
                </c:pt>
                <c:pt idx="1766">
                  <c:v>3.5287337739446087</c:v>
                </c:pt>
                <c:pt idx="1767">
                  <c:v>3.590476125590583</c:v>
                </c:pt>
                <c:pt idx="1768">
                  <c:v>3.5346127614483565</c:v>
                </c:pt>
                <c:pt idx="1769">
                  <c:v>3.519411902480436</c:v>
                </c:pt>
                <c:pt idx="1770">
                  <c:v>3.678027793567046</c:v>
                </c:pt>
                <c:pt idx="1771">
                  <c:v>3.748394222180826</c:v>
                </c:pt>
                <c:pt idx="1772">
                  <c:v>3.8588922282624285</c:v>
                </c:pt>
                <c:pt idx="1773">
                  <c:v>3.8091327036665987</c:v>
                </c:pt>
                <c:pt idx="1774">
                  <c:v>3.8320505630958759</c:v>
                </c:pt>
                <c:pt idx="1775">
                  <c:v>3.8271050648688272</c:v>
                </c:pt>
                <c:pt idx="1776">
                  <c:v>3.830114012555327</c:v>
                </c:pt>
                <c:pt idx="1777">
                  <c:v>3.8345536263559863</c:v>
                </c:pt>
                <c:pt idx="1778">
                  <c:v>3.8335075591578902</c:v>
                </c:pt>
                <c:pt idx="1779">
                  <c:v>3.8470810792216548</c:v>
                </c:pt>
                <c:pt idx="1780">
                  <c:v>3.9503472751035908</c:v>
                </c:pt>
                <c:pt idx="1781">
                  <c:v>3.9562331356567815</c:v>
                </c:pt>
                <c:pt idx="1782">
                  <c:v>3.9781986025483489</c:v>
                </c:pt>
                <c:pt idx="1783">
                  <c:v>3.9396366199281014</c:v>
                </c:pt>
                <c:pt idx="1784">
                  <c:v>3.9079221709950995</c:v>
                </c:pt>
                <c:pt idx="1785">
                  <c:v>3.927624739380867</c:v>
                </c:pt>
                <c:pt idx="1786">
                  <c:v>3.89116372505026</c:v>
                </c:pt>
                <c:pt idx="1787">
                  <c:v>3.9312937446898766</c:v>
                </c:pt>
                <c:pt idx="1788">
                  <c:v>4.1161952654611049</c:v>
                </c:pt>
                <c:pt idx="1789">
                  <c:v>4.0785210536999426</c:v>
                </c:pt>
                <c:pt idx="1790">
                  <c:v>3.977630217278068</c:v>
                </c:pt>
                <c:pt idx="1791">
                  <c:v>3.973812464890746</c:v>
                </c:pt>
                <c:pt idx="1792">
                  <c:v>4.0602973607894999</c:v>
                </c:pt>
                <c:pt idx="1793">
                  <c:v>4.0700095128784515</c:v>
                </c:pt>
                <c:pt idx="1794">
                  <c:v>3.9567454795065125</c:v>
                </c:pt>
                <c:pt idx="1795">
                  <c:v>4.2326282252279146</c:v>
                </c:pt>
                <c:pt idx="1796">
                  <c:v>4.0032803205991287</c:v>
                </c:pt>
                <c:pt idx="1797">
                  <c:v>4.0324381690019129</c:v>
                </c:pt>
                <c:pt idx="1798">
                  <c:v>4.0030157037570433</c:v>
                </c:pt>
                <c:pt idx="1799">
                  <c:v>4.0041032191001102</c:v>
                </c:pt>
                <c:pt idx="1800">
                  <c:v>3.9518943620300693</c:v>
                </c:pt>
                <c:pt idx="1801">
                  <c:v>3.9370790498458748</c:v>
                </c:pt>
                <c:pt idx="1802">
                  <c:v>3.9953770131433508</c:v>
                </c:pt>
                <c:pt idx="1803">
                  <c:v>4.0033157643253245</c:v>
                </c:pt>
                <c:pt idx="1804">
                  <c:v>4.0879372704710875</c:v>
                </c:pt>
                <c:pt idx="1805">
                  <c:v>4.1081260460647417</c:v>
                </c:pt>
                <c:pt idx="1806">
                  <c:v>4.1126793680847928</c:v>
                </c:pt>
                <c:pt idx="1807">
                  <c:v>4.1422988882967617</c:v>
                </c:pt>
                <c:pt idx="1808">
                  <c:v>4.1237128447582041</c:v>
                </c:pt>
                <c:pt idx="1809">
                  <c:v>4.1292909172649912</c:v>
                </c:pt>
                <c:pt idx="1810">
                  <c:v>4.0526457315367139</c:v>
                </c:pt>
                <c:pt idx="1811">
                  <c:v>3.9629398489671788</c:v>
                </c:pt>
                <c:pt idx="1812">
                  <c:v>4.079440836443287</c:v>
                </c:pt>
                <c:pt idx="1813">
                  <c:v>3.9301702757215882</c:v>
                </c:pt>
                <c:pt idx="1814">
                  <c:v>3.8953168751720209</c:v>
                </c:pt>
                <c:pt idx="1815">
                  <c:v>3.947394495570562</c:v>
                </c:pt>
                <c:pt idx="1816">
                  <c:v>4.0919767327076153</c:v>
                </c:pt>
                <c:pt idx="1817">
                  <c:v>4.1000353030745682</c:v>
                </c:pt>
                <c:pt idx="1818">
                  <c:v>4.1211329954926894</c:v>
                </c:pt>
                <c:pt idx="1819">
                  <c:v>4.0933848576522784</c:v>
                </c:pt>
                <c:pt idx="1820">
                  <c:v>4.1019177318404765</c:v>
                </c:pt>
                <c:pt idx="1821">
                  <c:v>4.0989235665073531</c:v>
                </c:pt>
                <c:pt idx="1822">
                  <c:v>4.1023088786482242</c:v>
                </c:pt>
                <c:pt idx="1823">
                  <c:v>4.0991284303470845</c:v>
                </c:pt>
                <c:pt idx="1824">
                  <c:v>4.1533453311040844</c:v>
                </c:pt>
                <c:pt idx="1825">
                  <c:v>4.1527570053102263</c:v>
                </c:pt>
                <c:pt idx="1826">
                  <c:v>4.2490026535070804</c:v>
                </c:pt>
                <c:pt idx="1827">
                  <c:v>4.2741660761137519</c:v>
                </c:pt>
                <c:pt idx="1828">
                  <c:v>4.3851524963269268</c:v>
                </c:pt>
                <c:pt idx="1829">
                  <c:v>4.4828877791580135</c:v>
                </c:pt>
                <c:pt idx="1830">
                  <c:v>4.375235802568632</c:v>
                </c:pt>
                <c:pt idx="1831">
                  <c:v>4.2745643118077306</c:v>
                </c:pt>
                <c:pt idx="1832">
                  <c:v>4.0795405721880647</c:v>
                </c:pt>
                <c:pt idx="1833">
                  <c:v>4.1628133669962999</c:v>
                </c:pt>
                <c:pt idx="1834">
                  <c:v>3.4542919693818788</c:v>
                </c:pt>
                <c:pt idx="1835">
                  <c:v>4.1716773842316961</c:v>
                </c:pt>
                <c:pt idx="1836">
                  <c:v>4.664711526992785</c:v>
                </c:pt>
                <c:pt idx="1837">
                  <c:v>4.6666197991620608</c:v>
                </c:pt>
                <c:pt idx="1838">
                  <c:v>4.5483327190438096</c:v>
                </c:pt>
                <c:pt idx="1839">
                  <c:v>4.4574370752880075</c:v>
                </c:pt>
                <c:pt idx="1840">
                  <c:v>4.4360642381638806</c:v>
                </c:pt>
                <c:pt idx="1841">
                  <c:v>4.4464909988528207</c:v>
                </c:pt>
                <c:pt idx="1842">
                  <c:v>4.3430002030787476</c:v>
                </c:pt>
                <c:pt idx="1843">
                  <c:v>4.3268916883238768</c:v>
                </c:pt>
                <c:pt idx="1844">
                  <c:v>4.318988572582759</c:v>
                </c:pt>
                <c:pt idx="1845">
                  <c:v>4.2986786086228497</c:v>
                </c:pt>
                <c:pt idx="1846">
                  <c:v>4.2728870277958126</c:v>
                </c:pt>
                <c:pt idx="1847">
                  <c:v>4.2851909963600043</c:v>
                </c:pt>
                <c:pt idx="1848">
                  <c:v>4.2098956748155816</c:v>
                </c:pt>
                <c:pt idx="1849">
                  <c:v>4.1838497236157082</c:v>
                </c:pt>
                <c:pt idx="1850">
                  <c:v>4.14317164308709</c:v>
                </c:pt>
                <c:pt idx="1851">
                  <c:v>4.177729398689757</c:v>
                </c:pt>
                <c:pt idx="1852">
                  <c:v>4.2000254362683682</c:v>
                </c:pt>
                <c:pt idx="1853">
                  <c:v>4.2501237104140213</c:v>
                </c:pt>
                <c:pt idx="1854">
                  <c:v>4.2095568440270466</c:v>
                </c:pt>
                <c:pt idx="1855">
                  <c:v>4.2252521942916967</c:v>
                </c:pt>
                <c:pt idx="1856">
                  <c:v>4.2091972011369094</c:v>
                </c:pt>
                <c:pt idx="1857">
                  <c:v>4.2933276401379565</c:v>
                </c:pt>
                <c:pt idx="1858">
                  <c:v>4.0975379171767532</c:v>
                </c:pt>
                <c:pt idx="1859">
                  <c:v>4.0772400280851233</c:v>
                </c:pt>
                <c:pt idx="1860">
                  <c:v>4.1385822174155695</c:v>
                </c:pt>
                <c:pt idx="1861">
                  <c:v>4.1286265236791166</c:v>
                </c:pt>
                <c:pt idx="1862">
                  <c:v>4.0939850013783143</c:v>
                </c:pt>
                <c:pt idx="1863">
                  <c:v>4.0805046903005771</c:v>
                </c:pt>
                <c:pt idx="1864">
                  <c:v>4.0453415770150043</c:v>
                </c:pt>
                <c:pt idx="1865">
                  <c:v>4.0342971672678241</c:v>
                </c:pt>
                <c:pt idx="1866">
                  <c:v>3.9834066122090976</c:v>
                </c:pt>
                <c:pt idx="1867">
                  <c:v>3.9716907874809344</c:v>
                </c:pt>
                <c:pt idx="1868">
                  <c:v>3.8343061411933901</c:v>
                </c:pt>
                <c:pt idx="1869">
                  <c:v>4.154211563889521</c:v>
                </c:pt>
                <c:pt idx="1870">
                  <c:v>4.1798834113786176</c:v>
                </c:pt>
                <c:pt idx="1871">
                  <c:v>4.2563873403947445</c:v>
                </c:pt>
                <c:pt idx="1872">
                  <c:v>3.7642819405480235</c:v>
                </c:pt>
                <c:pt idx="1873">
                  <c:v>3.7623145062459309</c:v>
                </c:pt>
                <c:pt idx="1874">
                  <c:v>4.1183720003465609</c:v>
                </c:pt>
                <c:pt idx="1875">
                  <c:v>3.9508255600068356</c:v>
                </c:pt>
                <c:pt idx="1876">
                  <c:v>3.9413685147410962</c:v>
                </c:pt>
                <c:pt idx="1877">
                  <c:v>4.0408996755399516</c:v>
                </c:pt>
                <c:pt idx="1878">
                  <c:v>4.0800120884688997</c:v>
                </c:pt>
                <c:pt idx="1879">
                  <c:v>4.0866486287370805</c:v>
                </c:pt>
                <c:pt idx="1880">
                  <c:v>4.0102698046853344</c:v>
                </c:pt>
                <c:pt idx="1881">
                  <c:v>3.9580848385576819</c:v>
                </c:pt>
                <c:pt idx="1882">
                  <c:v>3.8119427887673405</c:v>
                </c:pt>
                <c:pt idx="1883">
                  <c:v>3.8667475906833917</c:v>
                </c:pt>
                <c:pt idx="1884">
                  <c:v>3.7846241042770239</c:v>
                </c:pt>
                <c:pt idx="1885">
                  <c:v>3.7084134081686106</c:v>
                </c:pt>
                <c:pt idx="1886">
                  <c:v>3.724880735610125</c:v>
                </c:pt>
                <c:pt idx="1887">
                  <c:v>3.8480547233967841</c:v>
                </c:pt>
                <c:pt idx="1888">
                  <c:v>3.846006597670065</c:v>
                </c:pt>
                <c:pt idx="1889">
                  <c:v>3.818785731421571</c:v>
                </c:pt>
                <c:pt idx="1890">
                  <c:v>3.8241946388164623</c:v>
                </c:pt>
                <c:pt idx="1891">
                  <c:v>3.8077719830389309</c:v>
                </c:pt>
                <c:pt idx="1892">
                  <c:v>3.8005630719296715</c:v>
                </c:pt>
                <c:pt idx="1893">
                  <c:v>3.7920804483777801</c:v>
                </c:pt>
                <c:pt idx="1894">
                  <c:v>3.8076650694730163</c:v>
                </c:pt>
                <c:pt idx="1895">
                  <c:v>3.7772516481606737</c:v>
                </c:pt>
                <c:pt idx="1896">
                  <c:v>3.798605916320918</c:v>
                </c:pt>
                <c:pt idx="1897">
                  <c:v>3.6906479871388136</c:v>
                </c:pt>
                <c:pt idx="1898">
                  <c:v>3.7706788610034856</c:v>
                </c:pt>
                <c:pt idx="1899">
                  <c:v>3.6626149463813218</c:v>
                </c:pt>
                <c:pt idx="1900">
                  <c:v>3.6439555173029317</c:v>
                </c:pt>
                <c:pt idx="1901">
                  <c:v>3.5945415161409557</c:v>
                </c:pt>
                <c:pt idx="1902">
                  <c:v>3.5925817996490892</c:v>
                </c:pt>
                <c:pt idx="1903">
                  <c:v>3.4668130425669723</c:v>
                </c:pt>
                <c:pt idx="1904">
                  <c:v>3.4789714153301907</c:v>
                </c:pt>
                <c:pt idx="1905">
                  <c:v>3.3949528221040466</c:v>
                </c:pt>
                <c:pt idx="1906">
                  <c:v>3.9945836072634626</c:v>
                </c:pt>
                <c:pt idx="1907">
                  <c:v>3.537197580215186</c:v>
                </c:pt>
                <c:pt idx="1908">
                  <c:v>3.1486293941286689</c:v>
                </c:pt>
                <c:pt idx="1909">
                  <c:v>3.1754922078937451</c:v>
                </c:pt>
                <c:pt idx="1910">
                  <c:v>3.2910277344057626</c:v>
                </c:pt>
                <c:pt idx="1911">
                  <c:v>3.3941310815498889</c:v>
                </c:pt>
                <c:pt idx="1912">
                  <c:v>3.4296317106540326</c:v>
                </c:pt>
                <c:pt idx="1913">
                  <c:v>3.4286466508700233</c:v>
                </c:pt>
                <c:pt idx="1914">
                  <c:v>3.4382355372923161</c:v>
                </c:pt>
                <c:pt idx="1915">
                  <c:v>3.437971079973968</c:v>
                </c:pt>
                <c:pt idx="1916">
                  <c:v>3.4346438335963074</c:v>
                </c:pt>
                <c:pt idx="1917">
                  <c:v>3.4146851512682757</c:v>
                </c:pt>
                <c:pt idx="1918">
                  <c:v>3.4520974314930881</c:v>
                </c:pt>
                <c:pt idx="1919">
                  <c:v>3.4032831153139131</c:v>
                </c:pt>
                <c:pt idx="1920">
                  <c:v>3.4010281545999996</c:v>
                </c:pt>
                <c:pt idx="1921">
                  <c:v>3.3875164521575329</c:v>
                </c:pt>
                <c:pt idx="1922">
                  <c:v>3.3844976568630369</c:v>
                </c:pt>
                <c:pt idx="1923">
                  <c:v>3.3952240725440808</c:v>
                </c:pt>
                <c:pt idx="1924">
                  <c:v>3.4099533497103898</c:v>
                </c:pt>
                <c:pt idx="1925">
                  <c:v>3.3916527526074298</c:v>
                </c:pt>
                <c:pt idx="1926">
                  <c:v>3.3865646198265056</c:v>
                </c:pt>
                <c:pt idx="1927">
                  <c:v>3.3804830963289878</c:v>
                </c:pt>
                <c:pt idx="1928">
                  <c:v>3.3940313171358332</c:v>
                </c:pt>
                <c:pt idx="1929">
                  <c:v>3.4300972572261132</c:v>
                </c:pt>
                <c:pt idx="1930">
                  <c:v>3.4035528923543694</c:v>
                </c:pt>
                <c:pt idx="1931">
                  <c:v>3.3992950486620135</c:v>
                </c:pt>
                <c:pt idx="1932">
                  <c:v>3.4184715509012205</c:v>
                </c:pt>
                <c:pt idx="1933">
                  <c:v>3.4110406265383642</c:v>
                </c:pt>
                <c:pt idx="1934">
                  <c:v>3.3715489145609188</c:v>
                </c:pt>
                <c:pt idx="1935">
                  <c:v>3.3688519923668774</c:v>
                </c:pt>
                <c:pt idx="1936">
                  <c:v>3.4292867047665654</c:v>
                </c:pt>
                <c:pt idx="1937">
                  <c:v>3.3840157410934335</c:v>
                </c:pt>
                <c:pt idx="1938">
                  <c:v>3.3752798741227523</c:v>
                </c:pt>
                <c:pt idx="1939">
                  <c:v>3.3112086174691342</c:v>
                </c:pt>
                <c:pt idx="1940">
                  <c:v>3.3151728495757</c:v>
                </c:pt>
                <c:pt idx="1941">
                  <c:v>3.2901088101237028</c:v>
                </c:pt>
                <c:pt idx="1942">
                  <c:v>3.0959269030103735</c:v>
                </c:pt>
                <c:pt idx="1943">
                  <c:v>3.1863177613726799</c:v>
                </c:pt>
                <c:pt idx="1944">
                  <c:v>3.3305049183349</c:v>
                </c:pt>
                <c:pt idx="1945">
                  <c:v>3.3723337066005543</c:v>
                </c:pt>
                <c:pt idx="1946">
                  <c:v>3.4376548922201096</c:v>
                </c:pt>
                <c:pt idx="1947">
                  <c:v>3.6778624657683134</c:v>
                </c:pt>
                <c:pt idx="1948">
                  <c:v>3.9541946349437729</c:v>
                </c:pt>
                <c:pt idx="1949">
                  <c:v>3.8194656371197153</c:v>
                </c:pt>
                <c:pt idx="1950">
                  <c:v>3.8446631354815484</c:v>
                </c:pt>
                <c:pt idx="1951">
                  <c:v>3.8638252438433702</c:v>
                </c:pt>
                <c:pt idx="1952">
                  <c:v>3.8630323723869155</c:v>
                </c:pt>
                <c:pt idx="1953">
                  <c:v>3.8739773028548505</c:v>
                </c:pt>
                <c:pt idx="1954">
                  <c:v>3.8632319730042721</c:v>
                </c:pt>
                <c:pt idx="1955">
                  <c:v>3.6202447979010737</c:v>
                </c:pt>
                <c:pt idx="1956">
                  <c:v>3.6831180632669982</c:v>
                </c:pt>
                <c:pt idx="1957">
                  <c:v>3.7802282808076506</c:v>
                </c:pt>
                <c:pt idx="1958">
                  <c:v>3.8324949805895776</c:v>
                </c:pt>
                <c:pt idx="1959">
                  <c:v>3.8344412621724886</c:v>
                </c:pt>
                <c:pt idx="1960">
                  <c:v>3.8121209695408567</c:v>
                </c:pt>
                <c:pt idx="1961">
                  <c:v>3.8081839284499033</c:v>
                </c:pt>
                <c:pt idx="1962">
                  <c:v>3.7679504985572496</c:v>
                </c:pt>
                <c:pt idx="1963">
                  <c:v>3.6161737403661269</c:v>
                </c:pt>
                <c:pt idx="1964">
                  <c:v>3.5112081436667593</c:v>
                </c:pt>
                <c:pt idx="1965">
                  <c:v>3.4519168005336209</c:v>
                </c:pt>
                <c:pt idx="1966">
                  <c:v>3.3946453255968287</c:v>
                </c:pt>
                <c:pt idx="1967">
                  <c:v>3.3145127522502751</c:v>
                </c:pt>
                <c:pt idx="1968">
                  <c:v>3.3453171217602402</c:v>
                </c:pt>
                <c:pt idx="1969">
                  <c:v>3.2523182235356347</c:v>
                </c:pt>
                <c:pt idx="1970">
                  <c:v>3.3450476127128272</c:v>
                </c:pt>
                <c:pt idx="1971">
                  <c:v>3.2209425639579021</c:v>
                </c:pt>
                <c:pt idx="1972">
                  <c:v>3.1968421279205979</c:v>
                </c:pt>
                <c:pt idx="1973">
                  <c:v>3.0914503834576057</c:v>
                </c:pt>
                <c:pt idx="1974">
                  <c:v>3.0594498892324484</c:v>
                </c:pt>
                <c:pt idx="1975">
                  <c:v>3.0472929494532468</c:v>
                </c:pt>
                <c:pt idx="1976">
                  <c:v>3.0784705713111071</c:v>
                </c:pt>
                <c:pt idx="1977">
                  <c:v>3.0159946168088898</c:v>
                </c:pt>
                <c:pt idx="1978">
                  <c:v>3.0054623626676151</c:v>
                </c:pt>
                <c:pt idx="1979">
                  <c:v>3.0470411566390263</c:v>
                </c:pt>
                <c:pt idx="1980">
                  <c:v>2.9741492472993087</c:v>
                </c:pt>
                <c:pt idx="1981">
                  <c:v>2.9137205665588319</c:v>
                </c:pt>
                <c:pt idx="1982">
                  <c:v>2.8488183497589654</c:v>
                </c:pt>
                <c:pt idx="1983">
                  <c:v>2.7544222356813757</c:v>
                </c:pt>
                <c:pt idx="1984">
                  <c:v>2.7332738140723181</c:v>
                </c:pt>
                <c:pt idx="1985">
                  <c:v>2.806537282971624</c:v>
                </c:pt>
                <c:pt idx="1986">
                  <c:v>2.8377876031608942</c:v>
                </c:pt>
                <c:pt idx="1987">
                  <c:v>2.7748832615679646</c:v>
                </c:pt>
                <c:pt idx="1988">
                  <c:v>2.8375809645417989</c:v>
                </c:pt>
                <c:pt idx="1989">
                  <c:v>2.7955530211822333</c:v>
                </c:pt>
                <c:pt idx="1990">
                  <c:v>2.7765730764877388</c:v>
                </c:pt>
                <c:pt idx="1991">
                  <c:v>2.8050461827335891</c:v>
                </c:pt>
                <c:pt idx="1992">
                  <c:v>2.9915773294409318</c:v>
                </c:pt>
                <c:pt idx="1993">
                  <c:v>2.9861163737186134</c:v>
                </c:pt>
                <c:pt idx="1994">
                  <c:v>2.9130105955255208</c:v>
                </c:pt>
                <c:pt idx="1995">
                  <c:v>2.9676580513576911</c:v>
                </c:pt>
                <c:pt idx="1996">
                  <c:v>2.8822046534625714</c:v>
                </c:pt>
                <c:pt idx="1997">
                  <c:v>2.9983840605260874</c:v>
                </c:pt>
                <c:pt idx="1998">
                  <c:v>3.0466394895654476</c:v>
                </c:pt>
                <c:pt idx="1999">
                  <c:v>3.0086289618814837</c:v>
                </c:pt>
                <c:pt idx="2000">
                  <c:v>3.0959324336358849</c:v>
                </c:pt>
                <c:pt idx="2001">
                  <c:v>3.0681745754245062</c:v>
                </c:pt>
                <c:pt idx="2002">
                  <c:v>3.0664830082733117</c:v>
                </c:pt>
                <c:pt idx="2003">
                  <c:v>3.0399740235706614</c:v>
                </c:pt>
                <c:pt idx="2004">
                  <c:v>3.1528290027501402</c:v>
                </c:pt>
                <c:pt idx="2005">
                  <c:v>3.1806355801765176</c:v>
                </c:pt>
                <c:pt idx="2006">
                  <c:v>3.2110128194655498</c:v>
                </c:pt>
                <c:pt idx="2007">
                  <c:v>3.2040412935782547</c:v>
                </c:pt>
                <c:pt idx="2008">
                  <c:v>3.1686938161423623</c:v>
                </c:pt>
                <c:pt idx="2009">
                  <c:v>3.1355253596745785</c:v>
                </c:pt>
                <c:pt idx="2010">
                  <c:v>3.0061186959367787</c:v>
                </c:pt>
                <c:pt idx="2011">
                  <c:v>3.0575128341614866</c:v>
                </c:pt>
                <c:pt idx="2012">
                  <c:v>3.0573972479185954</c:v>
                </c:pt>
                <c:pt idx="2013">
                  <c:v>3.0090184354603413</c:v>
                </c:pt>
                <c:pt idx="2014">
                  <c:v>2.9895621612413761</c:v>
                </c:pt>
                <c:pt idx="2015">
                  <c:v>2.8443953535400373</c:v>
                </c:pt>
                <c:pt idx="2016">
                  <c:v>2.8537668624875061</c:v>
                </c:pt>
                <c:pt idx="2017">
                  <c:v>2.9021167558556988</c:v>
                </c:pt>
                <c:pt idx="2018">
                  <c:v>2.9697209448681958</c:v>
                </c:pt>
                <c:pt idx="2019">
                  <c:v>2.9174267936037031</c:v>
                </c:pt>
                <c:pt idx="2020">
                  <c:v>2.9124014985430899</c:v>
                </c:pt>
                <c:pt idx="2021">
                  <c:v>2.8900193770224232</c:v>
                </c:pt>
                <c:pt idx="2022">
                  <c:v>2.9617117458937692</c:v>
                </c:pt>
                <c:pt idx="2023">
                  <c:v>3.0840866876493291</c:v>
                </c:pt>
                <c:pt idx="2024">
                  <c:v>3.1938619624768161</c:v>
                </c:pt>
                <c:pt idx="2025">
                  <c:v>3.0065188934946607</c:v>
                </c:pt>
                <c:pt idx="2026">
                  <c:v>2.9189253896798539</c:v>
                </c:pt>
                <c:pt idx="2027">
                  <c:v>2.992089914100073</c:v>
                </c:pt>
                <c:pt idx="2028">
                  <c:v>2.6891451209823463</c:v>
                </c:pt>
                <c:pt idx="2029">
                  <c:v>2.5577220744194462</c:v>
                </c:pt>
                <c:pt idx="2030">
                  <c:v>2.6299598402922477</c:v>
                </c:pt>
                <c:pt idx="2031">
                  <c:v>2.9716220586874278</c:v>
                </c:pt>
                <c:pt idx="2032">
                  <c:v>3.05013606166915</c:v>
                </c:pt>
                <c:pt idx="2033">
                  <c:v>3.0579055695484616</c:v>
                </c:pt>
                <c:pt idx="2034">
                  <c:v>3.1325314735296357</c:v>
                </c:pt>
                <c:pt idx="2035">
                  <c:v>2.9739496933338314</c:v>
                </c:pt>
                <c:pt idx="2036">
                  <c:v>2.9327583466570886</c:v>
                </c:pt>
                <c:pt idx="2037">
                  <c:v>2.8891379360332121</c:v>
                </c:pt>
                <c:pt idx="2038">
                  <c:v>2.9391309152144425</c:v>
                </c:pt>
                <c:pt idx="2039">
                  <c:v>2.939018263201655</c:v>
                </c:pt>
                <c:pt idx="2040">
                  <c:v>2.9561493534619365</c:v>
                </c:pt>
                <c:pt idx="2041">
                  <c:v>2.9214363211613077</c:v>
                </c:pt>
                <c:pt idx="2042">
                  <c:v>2.9239365501097119</c:v>
                </c:pt>
                <c:pt idx="2043">
                  <c:v>2.9280618607093793</c:v>
                </c:pt>
                <c:pt idx="2044">
                  <c:v>2.9211328776226733</c:v>
                </c:pt>
                <c:pt idx="2045">
                  <c:v>2.9240847477558116</c:v>
                </c:pt>
                <c:pt idx="2046">
                  <c:v>2.9225239758601611</c:v>
                </c:pt>
                <c:pt idx="2047">
                  <c:v>2.921925661096811</c:v>
                </c:pt>
                <c:pt idx="2048">
                  <c:v>2.9201598344534014</c:v>
                </c:pt>
                <c:pt idx="2049">
                  <c:v>2.9204781071888299</c:v>
                </c:pt>
                <c:pt idx="2050">
                  <c:v>2.8928651572768587</c:v>
                </c:pt>
                <c:pt idx="2051">
                  <c:v>2.931572632132053</c:v>
                </c:pt>
                <c:pt idx="2052">
                  <c:v>2.8620265807722634</c:v>
                </c:pt>
                <c:pt idx="2053">
                  <c:v>2.8558169889306244</c:v>
                </c:pt>
                <c:pt idx="2054">
                  <c:v>2.8599570504056162</c:v>
                </c:pt>
                <c:pt idx="2055">
                  <c:v>2.8376377718079731</c:v>
                </c:pt>
                <c:pt idx="2056">
                  <c:v>2.7973009138576179</c:v>
                </c:pt>
                <c:pt idx="2057">
                  <c:v>2.7489058343054156</c:v>
                </c:pt>
                <c:pt idx="2058">
                  <c:v>2.7392169997442264</c:v>
                </c:pt>
                <c:pt idx="2059">
                  <c:v>2.7775123220172255</c:v>
                </c:pt>
                <c:pt idx="2060">
                  <c:v>2.7103796072949242</c:v>
                </c:pt>
                <c:pt idx="2061">
                  <c:v>2.6240448028665266</c:v>
                </c:pt>
                <c:pt idx="2062">
                  <c:v>2.6047009623198014</c:v>
                </c:pt>
                <c:pt idx="2063">
                  <c:v>2.6142346831583967</c:v>
                </c:pt>
                <c:pt idx="2064">
                  <c:v>2.6333721435298805</c:v>
                </c:pt>
                <c:pt idx="2065">
                  <c:v>2.6524803511207669</c:v>
                </c:pt>
                <c:pt idx="2066">
                  <c:v>2.6715882724797373</c:v>
                </c:pt>
                <c:pt idx="2067">
                  <c:v>2.7208453854973138</c:v>
                </c:pt>
                <c:pt idx="2068">
                  <c:v>2.7238430609233641</c:v>
                </c:pt>
                <c:pt idx="2069">
                  <c:v>2.7915786314150153</c:v>
                </c:pt>
                <c:pt idx="2070">
                  <c:v>2.7326362522842147</c:v>
                </c:pt>
                <c:pt idx="2071">
                  <c:v>2.8418040529417201</c:v>
                </c:pt>
                <c:pt idx="2072">
                  <c:v>2.8821152471898328</c:v>
                </c:pt>
                <c:pt idx="2073">
                  <c:v>2.888025776764386</c:v>
                </c:pt>
                <c:pt idx="2074">
                  <c:v>3.080547846316648</c:v>
                </c:pt>
                <c:pt idx="2075">
                  <c:v>3.1463078887125371</c:v>
                </c:pt>
                <c:pt idx="2076">
                  <c:v>3.134644957935119</c:v>
                </c:pt>
                <c:pt idx="2077">
                  <c:v>3.0840834993091768</c:v>
                </c:pt>
                <c:pt idx="2078">
                  <c:v>3.1231406601978713</c:v>
                </c:pt>
                <c:pt idx="2079">
                  <c:v>3.333942061390204</c:v>
                </c:pt>
                <c:pt idx="2080">
                  <c:v>3.3449418778342923</c:v>
                </c:pt>
                <c:pt idx="2081">
                  <c:v>3.3331536145515663</c:v>
                </c:pt>
                <c:pt idx="2082">
                  <c:v>3.2453484923899509</c:v>
                </c:pt>
                <c:pt idx="2083">
                  <c:v>3.1483037362824793</c:v>
                </c:pt>
                <c:pt idx="2084">
                  <c:v>3.1468624020459464</c:v>
                </c:pt>
                <c:pt idx="2085">
                  <c:v>3.2173164095755977</c:v>
                </c:pt>
                <c:pt idx="2086">
                  <c:v>3.2641304814980159</c:v>
                </c:pt>
                <c:pt idx="2087">
                  <c:v>3.2757658015681668</c:v>
                </c:pt>
                <c:pt idx="2088">
                  <c:v>3.3132687996242507</c:v>
                </c:pt>
                <c:pt idx="2089">
                  <c:v>3.3001544263477509</c:v>
                </c:pt>
                <c:pt idx="2090">
                  <c:v>3.3096266183790126</c:v>
                </c:pt>
                <c:pt idx="2091">
                  <c:v>3.3216375807843539</c:v>
                </c:pt>
                <c:pt idx="2092">
                  <c:v>3.3198471035216173</c:v>
                </c:pt>
                <c:pt idx="2093">
                  <c:v>3.3129799441354786</c:v>
                </c:pt>
                <c:pt idx="2094">
                  <c:v>3.293802106395173</c:v>
                </c:pt>
                <c:pt idx="2095">
                  <c:v>3.3418293857337811</c:v>
                </c:pt>
                <c:pt idx="2096">
                  <c:v>3.1677260379273697</c:v>
                </c:pt>
                <c:pt idx="2097">
                  <c:v>3.1612570916261635</c:v>
                </c:pt>
                <c:pt idx="2098">
                  <c:v>3.2264678372627547</c:v>
                </c:pt>
                <c:pt idx="2099">
                  <c:v>3.2150293667061312</c:v>
                </c:pt>
                <c:pt idx="2100">
                  <c:v>3.2007109211370017</c:v>
                </c:pt>
                <c:pt idx="2101">
                  <c:v>3.1806429486615615</c:v>
                </c:pt>
                <c:pt idx="2102">
                  <c:v>3.2278768860590916</c:v>
                </c:pt>
                <c:pt idx="2103">
                  <c:v>3.6798623338717618</c:v>
                </c:pt>
                <c:pt idx="2104">
                  <c:v>3.6713266078025106</c:v>
                </c:pt>
                <c:pt idx="2105">
                  <c:v>3.8688652523462559</c:v>
                </c:pt>
                <c:pt idx="2106">
                  <c:v>3.5629500975189163</c:v>
                </c:pt>
                <c:pt idx="2107">
                  <c:v>3.5227326885670265</c:v>
                </c:pt>
                <c:pt idx="2108">
                  <c:v>3.3193569317332767</c:v>
                </c:pt>
                <c:pt idx="2109">
                  <c:v>3.0171782959437423</c:v>
                </c:pt>
                <c:pt idx="2110">
                  <c:v>3.1030084475283051</c:v>
                </c:pt>
                <c:pt idx="2111">
                  <c:v>3.0196216301965366</c:v>
                </c:pt>
                <c:pt idx="2112">
                  <c:v>3.358460365561609</c:v>
                </c:pt>
                <c:pt idx="2113">
                  <c:v>3.6539678492290113</c:v>
                </c:pt>
                <c:pt idx="2114">
                  <c:v>3.6487410166805603</c:v>
                </c:pt>
                <c:pt idx="2115">
                  <c:v>3.5489077224089991</c:v>
                </c:pt>
                <c:pt idx="2116">
                  <c:v>3.4778200810162665</c:v>
                </c:pt>
                <c:pt idx="2117">
                  <c:v>3.4859863223114833</c:v>
                </c:pt>
                <c:pt idx="2118">
                  <c:v>3.426710093837523</c:v>
                </c:pt>
                <c:pt idx="2119">
                  <c:v>3.3722363424445732</c:v>
                </c:pt>
                <c:pt idx="2120">
                  <c:v>3.5729256838224988</c:v>
                </c:pt>
                <c:pt idx="2121">
                  <c:v>3.4877908667242856</c:v>
                </c:pt>
                <c:pt idx="2122">
                  <c:v>3.4914917487023205</c:v>
                </c:pt>
                <c:pt idx="2123">
                  <c:v>3.4846869839173475</c:v>
                </c:pt>
                <c:pt idx="2124">
                  <c:v>3.48305297347502</c:v>
                </c:pt>
                <c:pt idx="2125">
                  <c:v>3.4876505957995154</c:v>
                </c:pt>
                <c:pt idx="2126">
                  <c:v>3.485442520791695</c:v>
                </c:pt>
                <c:pt idx="2127">
                  <c:v>3.4762765660361117</c:v>
                </c:pt>
                <c:pt idx="2128">
                  <c:v>3.4507599349281461</c:v>
                </c:pt>
                <c:pt idx="2129">
                  <c:v>3.5014472379796175</c:v>
                </c:pt>
                <c:pt idx="2130">
                  <c:v>3.4859527802049413</c:v>
                </c:pt>
                <c:pt idx="2131">
                  <c:v>3.4760806183575772</c:v>
                </c:pt>
                <c:pt idx="2132">
                  <c:v>3.4819070885010039</c:v>
                </c:pt>
                <c:pt idx="2133">
                  <c:v>3.4754465043125169</c:v>
                </c:pt>
                <c:pt idx="2134">
                  <c:v>3.4624622948627333</c:v>
                </c:pt>
                <c:pt idx="2135">
                  <c:v>3.4596580547125555</c:v>
                </c:pt>
                <c:pt idx="2136">
                  <c:v>3.4313971518035622</c:v>
                </c:pt>
                <c:pt idx="2137">
                  <c:v>3.4396321382834651</c:v>
                </c:pt>
                <c:pt idx="2138">
                  <c:v>3.5360946649451899</c:v>
                </c:pt>
                <c:pt idx="2139">
                  <c:v>3.6421363661958175</c:v>
                </c:pt>
                <c:pt idx="2140">
                  <c:v>3.6333744751878867</c:v>
                </c:pt>
                <c:pt idx="2141">
                  <c:v>3.6008682581713063</c:v>
                </c:pt>
                <c:pt idx="2142">
                  <c:v>3.6064710727393527</c:v>
                </c:pt>
                <c:pt idx="2143">
                  <c:v>3.5992950709210279</c:v>
                </c:pt>
                <c:pt idx="2144">
                  <c:v>3.5891523314008622</c:v>
                </c:pt>
                <c:pt idx="2145">
                  <c:v>3.6042374590908595</c:v>
                </c:pt>
                <c:pt idx="2146">
                  <c:v>3.5746247201652039</c:v>
                </c:pt>
                <c:pt idx="2147">
                  <c:v>3.5704346168543757</c:v>
                </c:pt>
                <c:pt idx="2148">
                  <c:v>3.5399974208459848</c:v>
                </c:pt>
                <c:pt idx="2149">
                  <c:v>3.4967293940446451</c:v>
                </c:pt>
                <c:pt idx="2150">
                  <c:v>3.5135544695466918</c:v>
                </c:pt>
                <c:pt idx="2151">
                  <c:v>3.4767017552104185</c:v>
                </c:pt>
                <c:pt idx="2152">
                  <c:v>3.5728680206533792</c:v>
                </c:pt>
                <c:pt idx="2153">
                  <c:v>3.7290406941622036</c:v>
                </c:pt>
                <c:pt idx="2154">
                  <c:v>3.6502547359936472</c:v>
                </c:pt>
                <c:pt idx="2155">
                  <c:v>3.7318108007933368</c:v>
                </c:pt>
                <c:pt idx="2156">
                  <c:v>3.7276549312290239</c:v>
                </c:pt>
                <c:pt idx="2157">
                  <c:v>3.8055823224046912</c:v>
                </c:pt>
                <c:pt idx="2158">
                  <c:v>3.7892104628636236</c:v>
                </c:pt>
                <c:pt idx="2159">
                  <c:v>3.8347232835982119</c:v>
                </c:pt>
                <c:pt idx="2160">
                  <c:v>3.9628281765878741</c:v>
                </c:pt>
                <c:pt idx="2161">
                  <c:v>4.037307491129031</c:v>
                </c:pt>
                <c:pt idx="2162">
                  <c:v>4.0371015906203214</c:v>
                </c:pt>
                <c:pt idx="2163">
                  <c:v>4.0142103181621582</c:v>
                </c:pt>
                <c:pt idx="2164">
                  <c:v>4.0424887823322262</c:v>
                </c:pt>
                <c:pt idx="2165">
                  <c:v>4.0657453086524828</c:v>
                </c:pt>
                <c:pt idx="2166">
                  <c:v>4.081138254729467</c:v>
                </c:pt>
                <c:pt idx="2167">
                  <c:v>4.0144377645662273</c:v>
                </c:pt>
                <c:pt idx="2168">
                  <c:v>3.9924495793043038</c:v>
                </c:pt>
                <c:pt idx="2169">
                  <c:v>3.9888430744459877</c:v>
                </c:pt>
                <c:pt idx="2170">
                  <c:v>3.9644934167980899</c:v>
                </c:pt>
                <c:pt idx="2171">
                  <c:v>3.9631320110815542</c:v>
                </c:pt>
                <c:pt idx="2172">
                  <c:v>3.9051523968473822</c:v>
                </c:pt>
                <c:pt idx="2173">
                  <c:v>3.928196403343303</c:v>
                </c:pt>
                <c:pt idx="2174">
                  <c:v>3.8315720034504648</c:v>
                </c:pt>
                <c:pt idx="2175">
                  <c:v>3.8392367948732495</c:v>
                </c:pt>
                <c:pt idx="2176">
                  <c:v>3.7307086021445945</c:v>
                </c:pt>
                <c:pt idx="2177">
                  <c:v>3.5844465262020284</c:v>
                </c:pt>
                <c:pt idx="2178">
                  <c:v>3.5841378451188239</c:v>
                </c:pt>
                <c:pt idx="2179">
                  <c:v>3.5177602411209001</c:v>
                </c:pt>
                <c:pt idx="2180">
                  <c:v>3.6370890189287763</c:v>
                </c:pt>
                <c:pt idx="2181">
                  <c:v>3.5758008051158172</c:v>
                </c:pt>
                <c:pt idx="2182">
                  <c:v>3.5024369520760268</c:v>
                </c:pt>
                <c:pt idx="2183">
                  <c:v>3.5144861067526345</c:v>
                </c:pt>
                <c:pt idx="2184">
                  <c:v>3.4412333274752243</c:v>
                </c:pt>
                <c:pt idx="2185">
                  <c:v>3.4288819086567033</c:v>
                </c:pt>
                <c:pt idx="2186">
                  <c:v>3.3922379163018834</c:v>
                </c:pt>
                <c:pt idx="2187">
                  <c:v>3.2823452029644868</c:v>
                </c:pt>
                <c:pt idx="2188">
                  <c:v>3.2821114406755925</c:v>
                </c:pt>
                <c:pt idx="2189">
                  <c:v>3.2455105974963301</c:v>
                </c:pt>
                <c:pt idx="2190">
                  <c:v>3.2454309735900644</c:v>
                </c:pt>
                <c:pt idx="2191">
                  <c:v>3.2210225876096104</c:v>
                </c:pt>
                <c:pt idx="2192">
                  <c:v>3.2453776789986639</c:v>
                </c:pt>
                <c:pt idx="2193">
                  <c:v>3.2209155893598194</c:v>
                </c:pt>
                <c:pt idx="2194">
                  <c:v>3.0866585330921761</c:v>
                </c:pt>
                <c:pt idx="2195">
                  <c:v>2.9277796245663765</c:v>
                </c:pt>
                <c:pt idx="2196">
                  <c:v>2.9762329996546133</c:v>
                </c:pt>
                <c:pt idx="2197">
                  <c:v>2.9395334057128331</c:v>
                </c:pt>
                <c:pt idx="2198">
                  <c:v>3.0492339319197841</c:v>
                </c:pt>
                <c:pt idx="2199">
                  <c:v>3.2197366634682161</c:v>
                </c:pt>
                <c:pt idx="2200">
                  <c:v>3.1447692861173975</c:v>
                </c:pt>
                <c:pt idx="2201">
                  <c:v>3.1315745410142868</c:v>
                </c:pt>
                <c:pt idx="2202">
                  <c:v>3.1667474272575182</c:v>
                </c:pt>
                <c:pt idx="2203">
                  <c:v>3.2710156530763075</c:v>
                </c:pt>
                <c:pt idx="2204">
                  <c:v>3.2700777653039688</c:v>
                </c:pt>
                <c:pt idx="2205">
                  <c:v>3.2896473596127094</c:v>
                </c:pt>
                <c:pt idx="2206">
                  <c:v>3.2130788277320228</c:v>
                </c:pt>
                <c:pt idx="2207">
                  <c:v>3.3294500361196508</c:v>
                </c:pt>
                <c:pt idx="2208">
                  <c:v>3.2147320199526748</c:v>
                </c:pt>
                <c:pt idx="2209">
                  <c:v>3.2193862167946716</c:v>
                </c:pt>
                <c:pt idx="2210">
                  <c:v>3.1895739307598965</c:v>
                </c:pt>
                <c:pt idx="2211">
                  <c:v>3.1554460888968534</c:v>
                </c:pt>
                <c:pt idx="2212">
                  <c:v>3.1019929773713044</c:v>
                </c:pt>
                <c:pt idx="2213">
                  <c:v>3.0722360628841496</c:v>
                </c:pt>
                <c:pt idx="2214">
                  <c:v>3.0318851584606534</c:v>
                </c:pt>
                <c:pt idx="2215">
                  <c:v>3.121726111637142</c:v>
                </c:pt>
                <c:pt idx="2216">
                  <c:v>3.1857627979388345</c:v>
                </c:pt>
                <c:pt idx="2217">
                  <c:v>3.1572223494266995</c:v>
                </c:pt>
                <c:pt idx="2218">
                  <c:v>3.1496026176716097</c:v>
                </c:pt>
                <c:pt idx="2219">
                  <c:v>3.1428908105530811</c:v>
                </c:pt>
                <c:pt idx="2220">
                  <c:v>3.2420602537972676</c:v>
                </c:pt>
                <c:pt idx="2221">
                  <c:v>3.1782384665124037</c:v>
                </c:pt>
                <c:pt idx="2222">
                  <c:v>3.1882193689541105</c:v>
                </c:pt>
                <c:pt idx="2223">
                  <c:v>2.9955553459126643</c:v>
                </c:pt>
                <c:pt idx="2224">
                  <c:v>2.9852677625364907</c:v>
                </c:pt>
                <c:pt idx="2225">
                  <c:v>2.8866561685544512</c:v>
                </c:pt>
                <c:pt idx="2226">
                  <c:v>2.8893471239982453</c:v>
                </c:pt>
                <c:pt idx="2227">
                  <c:v>2.8792893307160448</c:v>
                </c:pt>
                <c:pt idx="2228">
                  <c:v>2.8782683825370499</c:v>
                </c:pt>
                <c:pt idx="2229">
                  <c:v>2.8855126495710981</c:v>
                </c:pt>
                <c:pt idx="2230">
                  <c:v>2.8897884873913466</c:v>
                </c:pt>
                <c:pt idx="2231">
                  <c:v>2.8719547888585053</c:v>
                </c:pt>
                <c:pt idx="2232">
                  <c:v>2.8631532576601946</c:v>
                </c:pt>
                <c:pt idx="2233">
                  <c:v>2.723316615730226</c:v>
                </c:pt>
                <c:pt idx="2234">
                  <c:v>2.6563918478811726</c:v>
                </c:pt>
                <c:pt idx="2235">
                  <c:v>2.8353232743558183</c:v>
                </c:pt>
                <c:pt idx="2236">
                  <c:v>2.6073076210984216</c:v>
                </c:pt>
                <c:pt idx="2237">
                  <c:v>2.5990135657593698</c:v>
                </c:pt>
                <c:pt idx="2238">
                  <c:v>2.5262518843513373</c:v>
                </c:pt>
                <c:pt idx="2239">
                  <c:v>2.6247231326016465</c:v>
                </c:pt>
                <c:pt idx="2240">
                  <c:v>2.821345622547931</c:v>
                </c:pt>
                <c:pt idx="2241">
                  <c:v>2.8378538019442452</c:v>
                </c:pt>
                <c:pt idx="2242">
                  <c:v>2.7666506534610953</c:v>
                </c:pt>
                <c:pt idx="2243">
                  <c:v>2.7045411453397912</c:v>
                </c:pt>
                <c:pt idx="2244">
                  <c:v>2.7014138241156602</c:v>
                </c:pt>
                <c:pt idx="2245">
                  <c:v>2.604243059929773</c:v>
                </c:pt>
                <c:pt idx="2246">
                  <c:v>2.6234758823651996</c:v>
                </c:pt>
                <c:pt idx="2247">
                  <c:v>2.6234328009344794</c:v>
                </c:pt>
                <c:pt idx="2248">
                  <c:v>2.6039957384878805</c:v>
                </c:pt>
                <c:pt idx="2249">
                  <c:v>2.6233008966840572</c:v>
                </c:pt>
                <c:pt idx="2250">
                  <c:v>2.5994272507085525</c:v>
                </c:pt>
                <c:pt idx="2251">
                  <c:v>2.6064480891092696</c:v>
                </c:pt>
                <c:pt idx="2252">
                  <c:v>2.6135710483057868</c:v>
                </c:pt>
                <c:pt idx="2253">
                  <c:v>2.6135803533504163</c:v>
                </c:pt>
                <c:pt idx="2254">
                  <c:v>2.6125211625174387</c:v>
                </c:pt>
                <c:pt idx="2255">
                  <c:v>2.6128958728395189</c:v>
                </c:pt>
                <c:pt idx="2256">
                  <c:v>2.6279489908528393</c:v>
                </c:pt>
                <c:pt idx="2257">
                  <c:v>2.6247957934740098</c:v>
                </c:pt>
                <c:pt idx="2258">
                  <c:v>2.6177013001226634</c:v>
                </c:pt>
                <c:pt idx="2259">
                  <c:v>2.6169198778215264</c:v>
                </c:pt>
                <c:pt idx="2260">
                  <c:v>2.6731279960839625</c:v>
                </c:pt>
                <c:pt idx="2261">
                  <c:v>2.6619682321680513</c:v>
                </c:pt>
                <c:pt idx="2262">
                  <c:v>2.6786011371139464</c:v>
                </c:pt>
                <c:pt idx="2263">
                  <c:v>2.6582039089282148</c:v>
                </c:pt>
                <c:pt idx="2264">
                  <c:v>2.667779446853618</c:v>
                </c:pt>
                <c:pt idx="2265">
                  <c:v>2.8012788567385978</c:v>
                </c:pt>
                <c:pt idx="2266">
                  <c:v>2.8301304897571726</c:v>
                </c:pt>
                <c:pt idx="2267">
                  <c:v>2.7892828429619145</c:v>
                </c:pt>
                <c:pt idx="2268">
                  <c:v>2.8075724384102689</c:v>
                </c:pt>
                <c:pt idx="2269">
                  <c:v>2.9563318288509408</c:v>
                </c:pt>
                <c:pt idx="2270">
                  <c:v>3.0551965432428436</c:v>
                </c:pt>
                <c:pt idx="2271">
                  <c:v>3.1903254712019651</c:v>
                </c:pt>
                <c:pt idx="2272">
                  <c:v>2.9395448353061719</c:v>
                </c:pt>
                <c:pt idx="2273">
                  <c:v>2.9381535259943226</c:v>
                </c:pt>
                <c:pt idx="2274">
                  <c:v>2.7598074618991744</c:v>
                </c:pt>
                <c:pt idx="2275">
                  <c:v>2.7513100637254819</c:v>
                </c:pt>
                <c:pt idx="2276">
                  <c:v>2.6491722675653664</c:v>
                </c:pt>
                <c:pt idx="2277">
                  <c:v>2.703818094821445</c:v>
                </c:pt>
                <c:pt idx="2278">
                  <c:v>2.9242493102409726</c:v>
                </c:pt>
                <c:pt idx="2279">
                  <c:v>2.8179192185343576</c:v>
                </c:pt>
                <c:pt idx="2280">
                  <c:v>2.9310721433936093</c:v>
                </c:pt>
                <c:pt idx="2281">
                  <c:v>2.9125708349504484</c:v>
                </c:pt>
                <c:pt idx="2282">
                  <c:v>2.5846427546368438</c:v>
                </c:pt>
                <c:pt idx="2283">
                  <c:v>2.7599018437858973</c:v>
                </c:pt>
                <c:pt idx="2284">
                  <c:v>2.5677902640785515</c:v>
                </c:pt>
                <c:pt idx="2285">
                  <c:v>2.7736343593397308</c:v>
                </c:pt>
                <c:pt idx="2286">
                  <c:v>2.3683674403827002</c:v>
                </c:pt>
                <c:pt idx="2287">
                  <c:v>2.4914366283616354</c:v>
                </c:pt>
                <c:pt idx="2288">
                  <c:v>2.6200619506458285</c:v>
                </c:pt>
                <c:pt idx="2289">
                  <c:v>2.7547561570538672</c:v>
                </c:pt>
                <c:pt idx="2290">
                  <c:v>2.8156327202471219</c:v>
                </c:pt>
                <c:pt idx="2291">
                  <c:v>2.8271557943129575</c:v>
                </c:pt>
                <c:pt idx="2292">
                  <c:v>2.7829203797655828</c:v>
                </c:pt>
                <c:pt idx="2293">
                  <c:v>2.7710859249952242</c:v>
                </c:pt>
                <c:pt idx="2294">
                  <c:v>2.7699707598990613</c:v>
                </c:pt>
                <c:pt idx="2295">
                  <c:v>2.6855360465270501</c:v>
                </c:pt>
                <c:pt idx="2296">
                  <c:v>2.7201862556845171</c:v>
                </c:pt>
                <c:pt idx="2297">
                  <c:v>2.7066469178647048</c:v>
                </c:pt>
                <c:pt idx="2298">
                  <c:v>2.6893686369509897</c:v>
                </c:pt>
                <c:pt idx="2299">
                  <c:v>2.6945484351592741</c:v>
                </c:pt>
                <c:pt idx="2300">
                  <c:v>2.6908030456203451</c:v>
                </c:pt>
                <c:pt idx="2301">
                  <c:v>2.6772176022427789</c:v>
                </c:pt>
                <c:pt idx="2302">
                  <c:v>2.666911970806737</c:v>
                </c:pt>
                <c:pt idx="2303">
                  <c:v>2.662120977290638</c:v>
                </c:pt>
                <c:pt idx="2304">
                  <c:v>2.6152722702029982</c:v>
                </c:pt>
                <c:pt idx="2305">
                  <c:v>2.6216714442950151</c:v>
                </c:pt>
                <c:pt idx="2306">
                  <c:v>2.6590790969161904</c:v>
                </c:pt>
                <c:pt idx="2307">
                  <c:v>2.6945547745672647</c:v>
                </c:pt>
                <c:pt idx="2308">
                  <c:v>2.6587529604686018</c:v>
                </c:pt>
                <c:pt idx="2309">
                  <c:v>2.6589653718887596</c:v>
                </c:pt>
                <c:pt idx="2310">
                  <c:v>2.6538766471338957</c:v>
                </c:pt>
                <c:pt idx="2311">
                  <c:v>2.6646263108554975</c:v>
                </c:pt>
                <c:pt idx="2312">
                  <c:v>2.6479938867733819</c:v>
                </c:pt>
                <c:pt idx="2313">
                  <c:v>2.6512793503688279</c:v>
                </c:pt>
                <c:pt idx="2314">
                  <c:v>2.62209208994972</c:v>
                </c:pt>
                <c:pt idx="2315">
                  <c:v>2.6094805848083196</c:v>
                </c:pt>
                <c:pt idx="2316">
                  <c:v>2.5621149894992734</c:v>
                </c:pt>
                <c:pt idx="2317">
                  <c:v>2.679302917404514</c:v>
                </c:pt>
                <c:pt idx="2318">
                  <c:v>2.814347454260484</c:v>
                </c:pt>
                <c:pt idx="2319">
                  <c:v>2.7371303609059017</c:v>
                </c:pt>
                <c:pt idx="2320">
                  <c:v>2.7294699622730643</c:v>
                </c:pt>
                <c:pt idx="2321">
                  <c:v>2.6626008063571902</c:v>
                </c:pt>
                <c:pt idx="2322">
                  <c:v>2.6082756565828742</c:v>
                </c:pt>
                <c:pt idx="2323">
                  <c:v>2.8179883081980357</c:v>
                </c:pt>
                <c:pt idx="2324">
                  <c:v>2.8558198742241343</c:v>
                </c:pt>
                <c:pt idx="2325">
                  <c:v>2.6872604884494056</c:v>
                </c:pt>
                <c:pt idx="2326">
                  <c:v>2.5280012392796993</c:v>
                </c:pt>
                <c:pt idx="2327">
                  <c:v>2.4599346425789101</c:v>
                </c:pt>
                <c:pt idx="2328">
                  <c:v>2.5111773585851074</c:v>
                </c:pt>
                <c:pt idx="2329">
                  <c:v>2.3302523602366625</c:v>
                </c:pt>
                <c:pt idx="2330">
                  <c:v>2.6139238377832026</c:v>
                </c:pt>
                <c:pt idx="2331">
                  <c:v>2.6798622913759957</c:v>
                </c:pt>
                <c:pt idx="2332">
                  <c:v>2.7169756010749313</c:v>
                </c:pt>
                <c:pt idx="2333">
                  <c:v>2.7172621853719625</c:v>
                </c:pt>
                <c:pt idx="2334">
                  <c:v>2.6928858587987441</c:v>
                </c:pt>
                <c:pt idx="2335">
                  <c:v>2.7121499951408081</c:v>
                </c:pt>
                <c:pt idx="2336">
                  <c:v>2.668330055956424</c:v>
                </c:pt>
                <c:pt idx="2337">
                  <c:v>2.6883381313066721</c:v>
                </c:pt>
                <c:pt idx="2338">
                  <c:v>2.7197583959564096</c:v>
                </c:pt>
                <c:pt idx="2339">
                  <c:v>2.8113771085216528</c:v>
                </c:pt>
                <c:pt idx="2340">
                  <c:v>2.8054617901467096</c:v>
                </c:pt>
                <c:pt idx="2341">
                  <c:v>2.6978213195532237</c:v>
                </c:pt>
                <c:pt idx="2342">
                  <c:v>2.6516322629181062</c:v>
                </c:pt>
                <c:pt idx="2343">
                  <c:v>2.7534202083496266</c:v>
                </c:pt>
                <c:pt idx="2344">
                  <c:v>2.9013514468016384</c:v>
                </c:pt>
                <c:pt idx="2345">
                  <c:v>2.8215534854442761</c:v>
                </c:pt>
                <c:pt idx="2346">
                  <c:v>2.8122696247377665</c:v>
                </c:pt>
                <c:pt idx="2347">
                  <c:v>2.7794216646943464</c:v>
                </c:pt>
                <c:pt idx="2348">
                  <c:v>2.7421694906866181</c:v>
                </c:pt>
                <c:pt idx="2349">
                  <c:v>2.6570716240667087</c:v>
                </c:pt>
                <c:pt idx="2350">
                  <c:v>2.7285570873658496</c:v>
                </c:pt>
                <c:pt idx="2351">
                  <c:v>2.7267748030013799</c:v>
                </c:pt>
                <c:pt idx="2352">
                  <c:v>2.832927661147056</c:v>
                </c:pt>
                <c:pt idx="2353">
                  <c:v>2.9152726260060402</c:v>
                </c:pt>
                <c:pt idx="2354">
                  <c:v>2.9297958775940316</c:v>
                </c:pt>
                <c:pt idx="2355">
                  <c:v>2.7779303592927485</c:v>
                </c:pt>
                <c:pt idx="2356">
                  <c:v>2.8364436040244398</c:v>
                </c:pt>
                <c:pt idx="2357">
                  <c:v>3.2464642219926563</c:v>
                </c:pt>
                <c:pt idx="2358">
                  <c:v>3.0935888248814178</c:v>
                </c:pt>
                <c:pt idx="2359">
                  <c:v>2.9304931052258887</c:v>
                </c:pt>
                <c:pt idx="2360">
                  <c:v>2.927837578537297</c:v>
                </c:pt>
                <c:pt idx="2361">
                  <c:v>3.0311391052276631</c:v>
                </c:pt>
                <c:pt idx="2362">
                  <c:v>2.9839790879046055</c:v>
                </c:pt>
                <c:pt idx="2363">
                  <c:v>2.9784335684717678</c:v>
                </c:pt>
                <c:pt idx="2364">
                  <c:v>2.9558161799646001</c:v>
                </c:pt>
                <c:pt idx="2365">
                  <c:v>2.9635136399820152</c:v>
                </c:pt>
                <c:pt idx="2366">
                  <c:v>2.9620334072109191</c:v>
                </c:pt>
                <c:pt idx="2367">
                  <c:v>2.9632315157458984</c:v>
                </c:pt>
                <c:pt idx="2368">
                  <c:v>2.8729492028983117</c:v>
                </c:pt>
                <c:pt idx="2369">
                  <c:v>2.8512643204193968</c:v>
                </c:pt>
                <c:pt idx="2370">
                  <c:v>2.8608529999163816</c:v>
                </c:pt>
                <c:pt idx="2371">
                  <c:v>2.8138364619349723</c:v>
                </c:pt>
                <c:pt idx="2372">
                  <c:v>2.787268856680388</c:v>
                </c:pt>
                <c:pt idx="2373">
                  <c:v>2.710642773790005</c:v>
                </c:pt>
                <c:pt idx="2374">
                  <c:v>2.7214392846105753</c:v>
                </c:pt>
                <c:pt idx="2375">
                  <c:v>2.5983968660399031</c:v>
                </c:pt>
                <c:pt idx="2376">
                  <c:v>2.6293066647655112</c:v>
                </c:pt>
                <c:pt idx="2377">
                  <c:v>2.5732618178856042</c:v>
                </c:pt>
                <c:pt idx="2378">
                  <c:v>2.5535709259905488</c:v>
                </c:pt>
                <c:pt idx="2379">
                  <c:v>2.48734077316875</c:v>
                </c:pt>
                <c:pt idx="2380">
                  <c:v>2.5498001036690492</c:v>
                </c:pt>
                <c:pt idx="2381">
                  <c:v>2.5410898245502591</c:v>
                </c:pt>
                <c:pt idx="2382">
                  <c:v>2.4940227806661275</c:v>
                </c:pt>
                <c:pt idx="2383">
                  <c:v>2.5834694590220622</c:v>
                </c:pt>
                <c:pt idx="2384">
                  <c:v>2.5262996246375633</c:v>
                </c:pt>
                <c:pt idx="2385">
                  <c:v>2.466904624272527</c:v>
                </c:pt>
                <c:pt idx="2386">
                  <c:v>2.4666176203762622</c:v>
                </c:pt>
                <c:pt idx="2387">
                  <c:v>2.6542939305886621</c:v>
                </c:pt>
                <c:pt idx="2388">
                  <c:v>2.561878674495913</c:v>
                </c:pt>
                <c:pt idx="2389">
                  <c:v>2.5491510910139854</c:v>
                </c:pt>
                <c:pt idx="2390">
                  <c:v>2.5523150212567005</c:v>
                </c:pt>
                <c:pt idx="2391">
                  <c:v>2.5393385157956425</c:v>
                </c:pt>
                <c:pt idx="2392">
                  <c:v>2.538605505255247</c:v>
                </c:pt>
                <c:pt idx="2393">
                  <c:v>2.4813004796695073</c:v>
                </c:pt>
                <c:pt idx="2394">
                  <c:v>2.4662666948018153</c:v>
                </c:pt>
                <c:pt idx="2395">
                  <c:v>2.4354189428117179</c:v>
                </c:pt>
                <c:pt idx="2396">
                  <c:v>2.5427371768164533</c:v>
                </c:pt>
                <c:pt idx="2397">
                  <c:v>2.5271485739188457</c:v>
                </c:pt>
                <c:pt idx="2398">
                  <c:v>2.5146953894837885</c:v>
                </c:pt>
                <c:pt idx="2399">
                  <c:v>2.4977017230786438</c:v>
                </c:pt>
                <c:pt idx="2400">
                  <c:v>2.5245869658933229</c:v>
                </c:pt>
                <c:pt idx="2401">
                  <c:v>2.4957224824582913</c:v>
                </c:pt>
                <c:pt idx="2402">
                  <c:v>2.4937814278007422</c:v>
                </c:pt>
                <c:pt idx="2403">
                  <c:v>2.4810871880524257</c:v>
                </c:pt>
                <c:pt idx="2404">
                  <c:v>2.4790162798399482</c:v>
                </c:pt>
                <c:pt idx="2405">
                  <c:v>2.4036949457837515</c:v>
                </c:pt>
                <c:pt idx="2406">
                  <c:v>2.2904955432453633</c:v>
                </c:pt>
                <c:pt idx="2407">
                  <c:v>2.1841160872274172</c:v>
                </c:pt>
                <c:pt idx="2408">
                  <c:v>2.2759373040316611</c:v>
                </c:pt>
                <c:pt idx="2409">
                  <c:v>2.2120093969520154</c:v>
                </c:pt>
                <c:pt idx="2410">
                  <c:v>2.1694074299598332</c:v>
                </c:pt>
                <c:pt idx="2411">
                  <c:v>2.1410030209497131</c:v>
                </c:pt>
                <c:pt idx="2412">
                  <c:v>2.2187953142545163</c:v>
                </c:pt>
                <c:pt idx="2413">
                  <c:v>2.1478469579417507</c:v>
                </c:pt>
                <c:pt idx="2414">
                  <c:v>2.1412667167716979</c:v>
                </c:pt>
                <c:pt idx="2415">
                  <c:v>2.1122398659237978</c:v>
                </c:pt>
                <c:pt idx="2416">
                  <c:v>2.0838728966641882</c:v>
                </c:pt>
                <c:pt idx="2417">
                  <c:v>2.0696530045338188</c:v>
                </c:pt>
                <c:pt idx="2418">
                  <c:v>2.1403877960094047</c:v>
                </c:pt>
                <c:pt idx="2419">
                  <c:v>2.0482375648477702</c:v>
                </c:pt>
                <c:pt idx="2420">
                  <c:v>2.0468527598036381</c:v>
                </c:pt>
                <c:pt idx="2421">
                  <c:v>2.1036080552596443</c:v>
                </c:pt>
                <c:pt idx="2422">
                  <c:v>2.1168962543117025</c:v>
                </c:pt>
                <c:pt idx="2423">
                  <c:v>2.1136368295659715</c:v>
                </c:pt>
                <c:pt idx="2424">
                  <c:v>2.176879449838804</c:v>
                </c:pt>
                <c:pt idx="2425">
                  <c:v>2.2118657950397194</c:v>
                </c:pt>
                <c:pt idx="2426">
                  <c:v>2.2233122648274892</c:v>
                </c:pt>
                <c:pt idx="2427">
                  <c:v>2.3627808726067694</c:v>
                </c:pt>
                <c:pt idx="2428">
                  <c:v>2.30755228308321</c:v>
                </c:pt>
                <c:pt idx="2429">
                  <c:v>2.2640112923693168</c:v>
                </c:pt>
                <c:pt idx="2430">
                  <c:v>2.258423815378654</c:v>
                </c:pt>
                <c:pt idx="2431">
                  <c:v>2.2125742866051805</c:v>
                </c:pt>
                <c:pt idx="2432">
                  <c:v>2.2048112329074927</c:v>
                </c:pt>
                <c:pt idx="2433">
                  <c:v>2.1255557112196031</c:v>
                </c:pt>
                <c:pt idx="2434">
                  <c:v>2.1112035117853005</c:v>
                </c:pt>
                <c:pt idx="2435">
                  <c:v>2.1111725121780678</c:v>
                </c:pt>
                <c:pt idx="2436">
                  <c:v>2.0331051928436876</c:v>
                </c:pt>
                <c:pt idx="2437">
                  <c:v>2.0471389158092888</c:v>
                </c:pt>
                <c:pt idx="2438">
                  <c:v>2.1180555684783826</c:v>
                </c:pt>
                <c:pt idx="2439">
                  <c:v>2.061130865574643</c:v>
                </c:pt>
                <c:pt idx="2440">
                  <c:v>2.0557971356061904</c:v>
                </c:pt>
                <c:pt idx="2441">
                  <c:v>2.0681710627126053</c:v>
                </c:pt>
                <c:pt idx="2442">
                  <c:v>2.0639199086310627</c:v>
                </c:pt>
                <c:pt idx="2443">
                  <c:v>2.0701416562756423</c:v>
                </c:pt>
                <c:pt idx="2444">
                  <c:v>2.0592454638343831</c:v>
                </c:pt>
                <c:pt idx="2445">
                  <c:v>2.0218029461646663</c:v>
                </c:pt>
                <c:pt idx="2446">
                  <c:v>2.0030121385686406</c:v>
                </c:pt>
                <c:pt idx="2447">
                  <c:v>1.9520218417784925</c:v>
                </c:pt>
                <c:pt idx="2448">
                  <c:v>1.9569025703501512</c:v>
                </c:pt>
                <c:pt idx="2449">
                  <c:v>2.0785972550796727</c:v>
                </c:pt>
                <c:pt idx="2450">
                  <c:v>2.0895747334806138</c:v>
                </c:pt>
                <c:pt idx="2451">
                  <c:v>2.1880652475299431</c:v>
                </c:pt>
                <c:pt idx="2452">
                  <c:v>2.2803199721838077</c:v>
                </c:pt>
                <c:pt idx="2453">
                  <c:v>2.247005822993652</c:v>
                </c:pt>
                <c:pt idx="2454">
                  <c:v>2.2435860226986777</c:v>
                </c:pt>
                <c:pt idx="2455">
                  <c:v>2.2351972750551576</c:v>
                </c:pt>
                <c:pt idx="2456">
                  <c:v>2.2425738261937052</c:v>
                </c:pt>
                <c:pt idx="2457">
                  <c:v>2.1193564245003618</c:v>
                </c:pt>
                <c:pt idx="2458">
                  <c:v>2.1064646216761909</c:v>
                </c:pt>
                <c:pt idx="2459">
                  <c:v>2.1773126888338918</c:v>
                </c:pt>
                <c:pt idx="2460">
                  <c:v>2.1845989723731964</c:v>
                </c:pt>
                <c:pt idx="2461">
                  <c:v>2.172875757343312</c:v>
                </c:pt>
                <c:pt idx="2462">
                  <c:v>2.4328038307286546</c:v>
                </c:pt>
                <c:pt idx="2463">
                  <c:v>2.4278461777672247</c:v>
                </c:pt>
                <c:pt idx="2464">
                  <c:v>2.6152992914486455</c:v>
                </c:pt>
                <c:pt idx="2465">
                  <c:v>2.4506129588675307</c:v>
                </c:pt>
                <c:pt idx="2466">
                  <c:v>2.4329504113318161</c:v>
                </c:pt>
                <c:pt idx="2467">
                  <c:v>2.5162139695830779</c:v>
                </c:pt>
                <c:pt idx="2468">
                  <c:v>2.2831532221587154</c:v>
                </c:pt>
                <c:pt idx="2469">
                  <c:v>2.2692412796984129</c:v>
                </c:pt>
                <c:pt idx="2470">
                  <c:v>2.4517196030628954</c:v>
                </c:pt>
                <c:pt idx="2471">
                  <c:v>2.7073817006182375</c:v>
                </c:pt>
                <c:pt idx="2472">
                  <c:v>2.699575492691503</c:v>
                </c:pt>
                <c:pt idx="2473">
                  <c:v>2.6824247361075062</c:v>
                </c:pt>
                <c:pt idx="2474">
                  <c:v>2.534866204322161</c:v>
                </c:pt>
                <c:pt idx="2475">
                  <c:v>2.5348313083643563</c:v>
                </c:pt>
                <c:pt idx="2476">
                  <c:v>2.502839319548718</c:v>
                </c:pt>
                <c:pt idx="2477">
                  <c:v>2.5023425788432929</c:v>
                </c:pt>
                <c:pt idx="2478">
                  <c:v>2.4957569048887707</c:v>
                </c:pt>
                <c:pt idx="2479">
                  <c:v>2.5062307539197972</c:v>
                </c:pt>
                <c:pt idx="2480">
                  <c:v>2.5574472608059216</c:v>
                </c:pt>
                <c:pt idx="2481">
                  <c:v>2.596674842322293</c:v>
                </c:pt>
                <c:pt idx="2482">
                  <c:v>2.6022388795373979</c:v>
                </c:pt>
                <c:pt idx="2483">
                  <c:v>2.6165863143935275</c:v>
                </c:pt>
                <c:pt idx="2484">
                  <c:v>2.6116380942113793</c:v>
                </c:pt>
                <c:pt idx="2485">
                  <c:v>2.6127700934728186</c:v>
                </c:pt>
                <c:pt idx="2486">
                  <c:v>2.6084103530510476</c:v>
                </c:pt>
                <c:pt idx="2487">
                  <c:v>2.6168480240507606</c:v>
                </c:pt>
                <c:pt idx="2488">
                  <c:v>2.6087654032365313</c:v>
                </c:pt>
                <c:pt idx="2489">
                  <c:v>2.618286777454979</c:v>
                </c:pt>
                <c:pt idx="2490">
                  <c:v>2.6093695893220086</c:v>
                </c:pt>
                <c:pt idx="2491">
                  <c:v>2.6179647550999841</c:v>
                </c:pt>
                <c:pt idx="2492">
                  <c:v>2.6169682986938096</c:v>
                </c:pt>
                <c:pt idx="2493">
                  <c:v>2.5961352937666442</c:v>
                </c:pt>
                <c:pt idx="2494">
                  <c:v>2.6024087584263582</c:v>
                </c:pt>
                <c:pt idx="2495">
                  <c:v>2.5964931382495724</c:v>
                </c:pt>
                <c:pt idx="2496">
                  <c:v>2.5968558973702636</c:v>
                </c:pt>
                <c:pt idx="2497">
                  <c:v>2.5916268251695866</c:v>
                </c:pt>
                <c:pt idx="2498">
                  <c:v>2.5902920921999923</c:v>
                </c:pt>
                <c:pt idx="2499">
                  <c:v>2.5431680030417261</c:v>
                </c:pt>
                <c:pt idx="2500">
                  <c:v>2.2664575247617611</c:v>
                </c:pt>
                <c:pt idx="2501">
                  <c:v>1.6705206074151546</c:v>
                </c:pt>
                <c:pt idx="2502">
                  <c:v>1.6562628749902581</c:v>
                </c:pt>
                <c:pt idx="2503">
                  <c:v>1.7608770454840992</c:v>
                </c:pt>
                <c:pt idx="2504">
                  <c:v>1.7272267033772299</c:v>
                </c:pt>
                <c:pt idx="2505">
                  <c:v>1.7092905276801154</c:v>
                </c:pt>
                <c:pt idx="2506">
                  <c:v>1.5692971287578077</c:v>
                </c:pt>
                <c:pt idx="2507">
                  <c:v>1.3860290554185954</c:v>
                </c:pt>
                <c:pt idx="2508">
                  <c:v>1.5570105675928203</c:v>
                </c:pt>
                <c:pt idx="2509">
                  <c:v>1.5774954904209775</c:v>
                </c:pt>
                <c:pt idx="2510">
                  <c:v>1.5335552553914975</c:v>
                </c:pt>
                <c:pt idx="2511">
                  <c:v>1.5509296800123353</c:v>
                </c:pt>
                <c:pt idx="2512">
                  <c:v>1.5293681031062971</c:v>
                </c:pt>
                <c:pt idx="2513">
                  <c:v>1.5189155078623242</c:v>
                </c:pt>
                <c:pt idx="2514">
                  <c:v>1.5186553416508952</c:v>
                </c:pt>
                <c:pt idx="2515">
                  <c:v>1.517683706459813</c:v>
                </c:pt>
                <c:pt idx="2516">
                  <c:v>1.4766393683594752</c:v>
                </c:pt>
                <c:pt idx="2517">
                  <c:v>1.4505063131721903</c:v>
                </c:pt>
                <c:pt idx="2518">
                  <c:v>1.5033997027060613</c:v>
                </c:pt>
                <c:pt idx="2519">
                  <c:v>1.5484359809237829</c:v>
                </c:pt>
                <c:pt idx="2520">
                  <c:v>1.5079625893987003</c:v>
                </c:pt>
                <c:pt idx="2521">
                  <c:v>1.5278492563375898</c:v>
                </c:pt>
                <c:pt idx="2522">
                  <c:v>1.5133372226276116</c:v>
                </c:pt>
                <c:pt idx="2523">
                  <c:v>1.5110597119659621</c:v>
                </c:pt>
                <c:pt idx="2524">
                  <c:v>1.5119077488964434</c:v>
                </c:pt>
                <c:pt idx="2525">
                  <c:v>1.4943432023903953</c:v>
                </c:pt>
                <c:pt idx="2526">
                  <c:v>1.4970191239861079</c:v>
                </c:pt>
                <c:pt idx="2527">
                  <c:v>1.5228747777569607</c:v>
                </c:pt>
                <c:pt idx="2528">
                  <c:v>1.5454183330435236</c:v>
                </c:pt>
                <c:pt idx="2529">
                  <c:v>1.5627721304686775</c:v>
                </c:pt>
                <c:pt idx="2530">
                  <c:v>1.5645669703318406</c:v>
                </c:pt>
                <c:pt idx="2531">
                  <c:v>1.5723721462885243</c:v>
                </c:pt>
                <c:pt idx="2532">
                  <c:v>1.5319116244622373</c:v>
                </c:pt>
                <c:pt idx="2533">
                  <c:v>1.48762647395922</c:v>
                </c:pt>
                <c:pt idx="2534">
                  <c:v>1.4709428449385074</c:v>
                </c:pt>
                <c:pt idx="2535">
                  <c:v>1.3528497366459058</c:v>
                </c:pt>
                <c:pt idx="2536">
                  <c:v>1.4779923002484632</c:v>
                </c:pt>
                <c:pt idx="2537">
                  <c:v>1.4817313440103996</c:v>
                </c:pt>
                <c:pt idx="2538">
                  <c:v>1.4085885034063763</c:v>
                </c:pt>
                <c:pt idx="2539">
                  <c:v>1.393825039814401</c:v>
                </c:pt>
                <c:pt idx="2540">
                  <c:v>1.3164732936251533</c:v>
                </c:pt>
                <c:pt idx="2541">
                  <c:v>1.3929809763062231</c:v>
                </c:pt>
                <c:pt idx="2542">
                  <c:v>1.4909220975510165</c:v>
                </c:pt>
                <c:pt idx="2543">
                  <c:v>1.3805570252911925</c:v>
                </c:pt>
                <c:pt idx="2544">
                  <c:v>1.375733178369261</c:v>
                </c:pt>
                <c:pt idx="2545">
                  <c:v>1.3905931735375281</c:v>
                </c:pt>
                <c:pt idx="2546">
                  <c:v>1.3780076294640362</c:v>
                </c:pt>
                <c:pt idx="2547">
                  <c:v>1.370219045644542</c:v>
                </c:pt>
                <c:pt idx="2548">
                  <c:v>1.3742082164369913</c:v>
                </c:pt>
                <c:pt idx="2549">
                  <c:v>1.3862559911285877</c:v>
                </c:pt>
                <c:pt idx="2550">
                  <c:v>1.3741481952719301</c:v>
                </c:pt>
                <c:pt idx="2551">
                  <c:v>1.373225438871696</c:v>
                </c:pt>
                <c:pt idx="2552">
                  <c:v>1.3878652532335198</c:v>
                </c:pt>
                <c:pt idx="2553">
                  <c:v>1.3782013489693412</c:v>
                </c:pt>
                <c:pt idx="2554">
                  <c:v>1.3821202391704763</c:v>
                </c:pt>
                <c:pt idx="2555">
                  <c:v>1.3984596859892657</c:v>
                </c:pt>
                <c:pt idx="2556">
                  <c:v>1.3809013147823395</c:v>
                </c:pt>
                <c:pt idx="2557">
                  <c:v>1.3636983921936292</c:v>
                </c:pt>
                <c:pt idx="2558">
                  <c:v>1.3637301375147262</c:v>
                </c:pt>
                <c:pt idx="2559">
                  <c:v>1.3356877633472253</c:v>
                </c:pt>
                <c:pt idx="2560">
                  <c:v>1.4534863557703837</c:v>
                </c:pt>
                <c:pt idx="2561">
                  <c:v>1.3999999320647061</c:v>
                </c:pt>
                <c:pt idx="2562">
                  <c:v>1.4213959074085016</c:v>
                </c:pt>
                <c:pt idx="2563">
                  <c:v>1.4030839190671021</c:v>
                </c:pt>
                <c:pt idx="2564">
                  <c:v>1.4160349092240727</c:v>
                </c:pt>
                <c:pt idx="2565">
                  <c:v>1.4278991399163983</c:v>
                </c:pt>
                <c:pt idx="2566">
                  <c:v>1.429994677371238</c:v>
                </c:pt>
                <c:pt idx="2567">
                  <c:v>1.4117138936809168</c:v>
                </c:pt>
                <c:pt idx="2568">
                  <c:v>1.41841899188625</c:v>
                </c:pt>
                <c:pt idx="2569">
                  <c:v>1.4081373252839942</c:v>
                </c:pt>
                <c:pt idx="2570">
                  <c:v>1.3860921288857693</c:v>
                </c:pt>
                <c:pt idx="2571">
                  <c:v>1.4011054973154355</c:v>
                </c:pt>
                <c:pt idx="2572">
                  <c:v>1.4806597825670538</c:v>
                </c:pt>
                <c:pt idx="2573">
                  <c:v>1.4468179491049382</c:v>
                </c:pt>
                <c:pt idx="2574">
                  <c:v>1.4320119970925347</c:v>
                </c:pt>
                <c:pt idx="2575">
                  <c:v>1.4618836066854257</c:v>
                </c:pt>
                <c:pt idx="2576">
                  <c:v>1.4761767524125577</c:v>
                </c:pt>
                <c:pt idx="2577">
                  <c:v>1.4668994962056106</c:v>
                </c:pt>
                <c:pt idx="2578">
                  <c:v>1.2571567960108927</c:v>
                </c:pt>
                <c:pt idx="2579">
                  <c:v>1.3143187771096525</c:v>
                </c:pt>
                <c:pt idx="2580">
                  <c:v>1.412969974195059</c:v>
                </c:pt>
                <c:pt idx="2581">
                  <c:v>1.4592329175971357</c:v>
                </c:pt>
                <c:pt idx="2582">
                  <c:v>1.4233410164321447</c:v>
                </c:pt>
                <c:pt idx="2583">
                  <c:v>1.4139156552500396</c:v>
                </c:pt>
                <c:pt idx="2584">
                  <c:v>1.4498444147933469</c:v>
                </c:pt>
                <c:pt idx="2585">
                  <c:v>1.4838966210689164</c:v>
                </c:pt>
                <c:pt idx="2586">
                  <c:v>1.4825324937825874</c:v>
                </c:pt>
                <c:pt idx="2587">
                  <c:v>1.4901578316184367</c:v>
                </c:pt>
                <c:pt idx="2588">
                  <c:v>1.4806721742773004</c:v>
                </c:pt>
                <c:pt idx="2589">
                  <c:v>1.4742140288818275</c:v>
                </c:pt>
                <c:pt idx="2590">
                  <c:v>1.490499434903777</c:v>
                </c:pt>
                <c:pt idx="2591">
                  <c:v>1.4938737367688302</c:v>
                </c:pt>
                <c:pt idx="2592">
                  <c:v>1.4944814554282584</c:v>
                </c:pt>
                <c:pt idx="2593">
                  <c:v>1.4949555012595872</c:v>
                </c:pt>
                <c:pt idx="2594">
                  <c:v>1.4719479430573614</c:v>
                </c:pt>
                <c:pt idx="2595">
                  <c:v>1.4052030190112204</c:v>
                </c:pt>
                <c:pt idx="2596">
                  <c:v>1.3547405730002258</c:v>
                </c:pt>
                <c:pt idx="2597">
                  <c:v>1.4434846798377239</c:v>
                </c:pt>
                <c:pt idx="2598">
                  <c:v>1.5291476827866723</c:v>
                </c:pt>
                <c:pt idx="2599">
                  <c:v>1.4138459380065982</c:v>
                </c:pt>
                <c:pt idx="2600">
                  <c:v>1.4396908416219254</c:v>
                </c:pt>
                <c:pt idx="2601">
                  <c:v>1.2941161975350763</c:v>
                </c:pt>
                <c:pt idx="2602">
                  <c:v>1.3000153082300758</c:v>
                </c:pt>
                <c:pt idx="2603">
                  <c:v>1.2692588388926527</c:v>
                </c:pt>
                <c:pt idx="2604">
                  <c:v>1.2579738289208295</c:v>
                </c:pt>
                <c:pt idx="2605">
                  <c:v>1.3277122354086888</c:v>
                </c:pt>
                <c:pt idx="2606">
                  <c:v>1.2860498743156654</c:v>
                </c:pt>
                <c:pt idx="2607">
                  <c:v>1.2803123925073097</c:v>
                </c:pt>
                <c:pt idx="2608">
                  <c:v>1.2692961982181323</c:v>
                </c:pt>
                <c:pt idx="2609">
                  <c:v>1.2667380417050798</c:v>
                </c:pt>
                <c:pt idx="2610">
                  <c:v>1.2702138453161813</c:v>
                </c:pt>
                <c:pt idx="2611">
                  <c:v>1.2694088133786043</c:v>
                </c:pt>
                <c:pt idx="2612">
                  <c:v>1.3117339417996177</c:v>
                </c:pt>
                <c:pt idx="2613">
                  <c:v>1.3023082543625486</c:v>
                </c:pt>
                <c:pt idx="2614">
                  <c:v>1.3015196599729091</c:v>
                </c:pt>
                <c:pt idx="2615">
                  <c:v>1.3051629208282944</c:v>
                </c:pt>
                <c:pt idx="2616">
                  <c:v>1.30176643741247</c:v>
                </c:pt>
                <c:pt idx="2617">
                  <c:v>1.2902003048047308</c:v>
                </c:pt>
                <c:pt idx="2618">
                  <c:v>1.2847008266468933</c:v>
                </c:pt>
                <c:pt idx="2619">
                  <c:v>1.2149945785172707</c:v>
                </c:pt>
                <c:pt idx="2620">
                  <c:v>1.2569777374689801</c:v>
                </c:pt>
                <c:pt idx="2621">
                  <c:v>1.321309796324696</c:v>
                </c:pt>
                <c:pt idx="2622">
                  <c:v>1.3577609835700606</c:v>
                </c:pt>
                <c:pt idx="2623">
                  <c:v>1.3576264582862685</c:v>
                </c:pt>
                <c:pt idx="2624">
                  <c:v>1.3491543875589209</c:v>
                </c:pt>
                <c:pt idx="2625">
                  <c:v>1.3126047040976656</c:v>
                </c:pt>
                <c:pt idx="2626">
                  <c:v>1.3433929928849069</c:v>
                </c:pt>
              </c:numCache>
            </c:numRef>
          </c:val>
          <c:smooth val="0"/>
          <c:extLst xmlns:c16r2="http://schemas.microsoft.com/office/drawing/2015/06/chart">
            <c:ext xmlns:c16="http://schemas.microsoft.com/office/drawing/2014/chart" uri="{C3380CC4-5D6E-409C-BE32-E72D297353CC}">
              <c16:uniqueId val="{00000000-668D-4C79-B93F-5720935D3C33}"/>
            </c:ext>
          </c:extLst>
        </c:ser>
        <c:ser>
          <c:idx val="1"/>
          <c:order val="1"/>
          <c:tx>
            <c:strRef>
              <c:f>'6M'!$P$30</c:f>
              <c:strCache>
                <c:ptCount val="1"/>
                <c:pt idx="0">
                  <c:v>SPX Index</c:v>
                </c:pt>
              </c:strCache>
            </c:strRef>
          </c:tx>
          <c:spPr>
            <a:ln>
              <a:solidFill>
                <a:schemeClr val="tx1"/>
              </a:solidFill>
            </a:ln>
          </c:spPr>
          <c:marker>
            <c:symbol val="none"/>
          </c:marker>
          <c:cat>
            <c:numRef>
              <c:f>'6M'!$N$137:$N$2763</c:f>
              <c:numCache>
                <c:formatCode>m/d/yyyy</c:formatCode>
                <c:ptCount val="2627"/>
                <c:pt idx="0">
                  <c:v>38610</c:v>
                </c:pt>
                <c:pt idx="1">
                  <c:v>38611</c:v>
                </c:pt>
                <c:pt idx="2">
                  <c:v>38614</c:v>
                </c:pt>
                <c:pt idx="3">
                  <c:v>38615</c:v>
                </c:pt>
                <c:pt idx="4">
                  <c:v>38616</c:v>
                </c:pt>
                <c:pt idx="5">
                  <c:v>38617</c:v>
                </c:pt>
                <c:pt idx="6">
                  <c:v>38618</c:v>
                </c:pt>
                <c:pt idx="7">
                  <c:v>38621</c:v>
                </c:pt>
                <c:pt idx="8">
                  <c:v>38622</c:v>
                </c:pt>
                <c:pt idx="9">
                  <c:v>38623</c:v>
                </c:pt>
                <c:pt idx="10">
                  <c:v>38624</c:v>
                </c:pt>
                <c:pt idx="11">
                  <c:v>38625</c:v>
                </c:pt>
                <c:pt idx="12">
                  <c:v>38628</c:v>
                </c:pt>
                <c:pt idx="13">
                  <c:v>38629</c:v>
                </c:pt>
                <c:pt idx="14">
                  <c:v>38630</c:v>
                </c:pt>
                <c:pt idx="15">
                  <c:v>38631</c:v>
                </c:pt>
                <c:pt idx="16">
                  <c:v>38632</c:v>
                </c:pt>
                <c:pt idx="17">
                  <c:v>38635</c:v>
                </c:pt>
                <c:pt idx="18">
                  <c:v>38636</c:v>
                </c:pt>
                <c:pt idx="19">
                  <c:v>38637</c:v>
                </c:pt>
                <c:pt idx="20">
                  <c:v>38638</c:v>
                </c:pt>
                <c:pt idx="21">
                  <c:v>38639</c:v>
                </c:pt>
                <c:pt idx="22">
                  <c:v>38642</c:v>
                </c:pt>
                <c:pt idx="23">
                  <c:v>38643</c:v>
                </c:pt>
                <c:pt idx="24">
                  <c:v>38644</c:v>
                </c:pt>
                <c:pt idx="25">
                  <c:v>38645</c:v>
                </c:pt>
                <c:pt idx="26">
                  <c:v>38646</c:v>
                </c:pt>
                <c:pt idx="27">
                  <c:v>38649</c:v>
                </c:pt>
                <c:pt idx="28">
                  <c:v>38650</c:v>
                </c:pt>
                <c:pt idx="29">
                  <c:v>38651</c:v>
                </c:pt>
                <c:pt idx="30">
                  <c:v>38652</c:v>
                </c:pt>
                <c:pt idx="31">
                  <c:v>38653</c:v>
                </c:pt>
                <c:pt idx="32">
                  <c:v>38656</c:v>
                </c:pt>
                <c:pt idx="33">
                  <c:v>38657</c:v>
                </c:pt>
                <c:pt idx="34">
                  <c:v>38658</c:v>
                </c:pt>
                <c:pt idx="35">
                  <c:v>38659</c:v>
                </c:pt>
                <c:pt idx="36">
                  <c:v>38660</c:v>
                </c:pt>
                <c:pt idx="37">
                  <c:v>38663</c:v>
                </c:pt>
                <c:pt idx="38">
                  <c:v>38664</c:v>
                </c:pt>
                <c:pt idx="39">
                  <c:v>38665</c:v>
                </c:pt>
                <c:pt idx="40">
                  <c:v>38666</c:v>
                </c:pt>
                <c:pt idx="41">
                  <c:v>38667</c:v>
                </c:pt>
                <c:pt idx="42">
                  <c:v>38670</c:v>
                </c:pt>
                <c:pt idx="43">
                  <c:v>38671</c:v>
                </c:pt>
                <c:pt idx="44">
                  <c:v>38672</c:v>
                </c:pt>
                <c:pt idx="45">
                  <c:v>38673</c:v>
                </c:pt>
                <c:pt idx="46">
                  <c:v>38674</c:v>
                </c:pt>
                <c:pt idx="47">
                  <c:v>38677</c:v>
                </c:pt>
                <c:pt idx="48">
                  <c:v>38678</c:v>
                </c:pt>
                <c:pt idx="49">
                  <c:v>38679</c:v>
                </c:pt>
                <c:pt idx="50">
                  <c:v>38681</c:v>
                </c:pt>
                <c:pt idx="51">
                  <c:v>38684</c:v>
                </c:pt>
                <c:pt idx="52">
                  <c:v>38685</c:v>
                </c:pt>
                <c:pt idx="53">
                  <c:v>38686</c:v>
                </c:pt>
                <c:pt idx="54">
                  <c:v>38687</c:v>
                </c:pt>
                <c:pt idx="55">
                  <c:v>38688</c:v>
                </c:pt>
                <c:pt idx="56">
                  <c:v>38691</c:v>
                </c:pt>
                <c:pt idx="57">
                  <c:v>38692</c:v>
                </c:pt>
                <c:pt idx="58">
                  <c:v>38693</c:v>
                </c:pt>
                <c:pt idx="59">
                  <c:v>38694</c:v>
                </c:pt>
                <c:pt idx="60">
                  <c:v>38695</c:v>
                </c:pt>
                <c:pt idx="61">
                  <c:v>38698</c:v>
                </c:pt>
                <c:pt idx="62">
                  <c:v>38699</c:v>
                </c:pt>
                <c:pt idx="63">
                  <c:v>38700</c:v>
                </c:pt>
                <c:pt idx="64">
                  <c:v>38701</c:v>
                </c:pt>
                <c:pt idx="65">
                  <c:v>38702</c:v>
                </c:pt>
                <c:pt idx="66">
                  <c:v>38705</c:v>
                </c:pt>
                <c:pt idx="67">
                  <c:v>38706</c:v>
                </c:pt>
                <c:pt idx="68">
                  <c:v>38707</c:v>
                </c:pt>
                <c:pt idx="69">
                  <c:v>38708</c:v>
                </c:pt>
                <c:pt idx="70">
                  <c:v>38709</c:v>
                </c:pt>
                <c:pt idx="71">
                  <c:v>38713</c:v>
                </c:pt>
                <c:pt idx="72">
                  <c:v>38714</c:v>
                </c:pt>
                <c:pt idx="73">
                  <c:v>38715</c:v>
                </c:pt>
                <c:pt idx="74">
                  <c:v>38716</c:v>
                </c:pt>
                <c:pt idx="75">
                  <c:v>38720</c:v>
                </c:pt>
                <c:pt idx="76">
                  <c:v>38721</c:v>
                </c:pt>
                <c:pt idx="77">
                  <c:v>38722</c:v>
                </c:pt>
                <c:pt idx="78">
                  <c:v>38723</c:v>
                </c:pt>
                <c:pt idx="79">
                  <c:v>38726</c:v>
                </c:pt>
                <c:pt idx="80">
                  <c:v>38727</c:v>
                </c:pt>
                <c:pt idx="81">
                  <c:v>38728</c:v>
                </c:pt>
                <c:pt idx="82">
                  <c:v>38729</c:v>
                </c:pt>
                <c:pt idx="83">
                  <c:v>38730</c:v>
                </c:pt>
                <c:pt idx="84">
                  <c:v>38734</c:v>
                </c:pt>
                <c:pt idx="85">
                  <c:v>38735</c:v>
                </c:pt>
                <c:pt idx="86">
                  <c:v>38736</c:v>
                </c:pt>
                <c:pt idx="87">
                  <c:v>38737</c:v>
                </c:pt>
                <c:pt idx="88">
                  <c:v>38740</c:v>
                </c:pt>
                <c:pt idx="89">
                  <c:v>38741</c:v>
                </c:pt>
                <c:pt idx="90">
                  <c:v>38742</c:v>
                </c:pt>
                <c:pt idx="91">
                  <c:v>38743</c:v>
                </c:pt>
                <c:pt idx="92">
                  <c:v>38744</c:v>
                </c:pt>
                <c:pt idx="93">
                  <c:v>38747</c:v>
                </c:pt>
                <c:pt idx="94">
                  <c:v>38748</c:v>
                </c:pt>
                <c:pt idx="95">
                  <c:v>38749</c:v>
                </c:pt>
                <c:pt idx="96">
                  <c:v>38750</c:v>
                </c:pt>
                <c:pt idx="97">
                  <c:v>38751</c:v>
                </c:pt>
                <c:pt idx="98">
                  <c:v>38754</c:v>
                </c:pt>
                <c:pt idx="99">
                  <c:v>38755</c:v>
                </c:pt>
                <c:pt idx="100">
                  <c:v>38756</c:v>
                </c:pt>
                <c:pt idx="101">
                  <c:v>38757</c:v>
                </c:pt>
                <c:pt idx="102">
                  <c:v>38758</c:v>
                </c:pt>
                <c:pt idx="103">
                  <c:v>38761</c:v>
                </c:pt>
                <c:pt idx="104">
                  <c:v>38762</c:v>
                </c:pt>
                <c:pt idx="105">
                  <c:v>38763</c:v>
                </c:pt>
                <c:pt idx="106">
                  <c:v>38764</c:v>
                </c:pt>
                <c:pt idx="107">
                  <c:v>38765</c:v>
                </c:pt>
                <c:pt idx="108">
                  <c:v>38769</c:v>
                </c:pt>
                <c:pt idx="109">
                  <c:v>38770</c:v>
                </c:pt>
                <c:pt idx="110">
                  <c:v>38771</c:v>
                </c:pt>
                <c:pt idx="111">
                  <c:v>38772</c:v>
                </c:pt>
                <c:pt idx="112">
                  <c:v>38775</c:v>
                </c:pt>
                <c:pt idx="113">
                  <c:v>38776</c:v>
                </c:pt>
                <c:pt idx="114">
                  <c:v>38777</c:v>
                </c:pt>
                <c:pt idx="115">
                  <c:v>38778</c:v>
                </c:pt>
                <c:pt idx="116">
                  <c:v>38779</c:v>
                </c:pt>
                <c:pt idx="117">
                  <c:v>38782</c:v>
                </c:pt>
                <c:pt idx="118">
                  <c:v>38783</c:v>
                </c:pt>
                <c:pt idx="119">
                  <c:v>38784</c:v>
                </c:pt>
                <c:pt idx="120">
                  <c:v>38785</c:v>
                </c:pt>
                <c:pt idx="121">
                  <c:v>38786</c:v>
                </c:pt>
                <c:pt idx="122">
                  <c:v>38789</c:v>
                </c:pt>
                <c:pt idx="123">
                  <c:v>38790</c:v>
                </c:pt>
                <c:pt idx="124">
                  <c:v>38791</c:v>
                </c:pt>
                <c:pt idx="125">
                  <c:v>38792</c:v>
                </c:pt>
                <c:pt idx="126">
                  <c:v>38793</c:v>
                </c:pt>
                <c:pt idx="127">
                  <c:v>38796</c:v>
                </c:pt>
                <c:pt idx="128">
                  <c:v>38797</c:v>
                </c:pt>
                <c:pt idx="129">
                  <c:v>38798</c:v>
                </c:pt>
                <c:pt idx="130">
                  <c:v>38799</c:v>
                </c:pt>
                <c:pt idx="131">
                  <c:v>38800</c:v>
                </c:pt>
                <c:pt idx="132">
                  <c:v>38803</c:v>
                </c:pt>
                <c:pt idx="133">
                  <c:v>38804</c:v>
                </c:pt>
                <c:pt idx="134">
                  <c:v>38805</c:v>
                </c:pt>
                <c:pt idx="135">
                  <c:v>38806</c:v>
                </c:pt>
                <c:pt idx="136">
                  <c:v>38807</c:v>
                </c:pt>
                <c:pt idx="137">
                  <c:v>38810</c:v>
                </c:pt>
                <c:pt idx="138">
                  <c:v>38811</c:v>
                </c:pt>
                <c:pt idx="139">
                  <c:v>38812</c:v>
                </c:pt>
                <c:pt idx="140">
                  <c:v>38813</c:v>
                </c:pt>
                <c:pt idx="141">
                  <c:v>38814</c:v>
                </c:pt>
                <c:pt idx="142">
                  <c:v>38817</c:v>
                </c:pt>
                <c:pt idx="143">
                  <c:v>38818</c:v>
                </c:pt>
                <c:pt idx="144">
                  <c:v>38819</c:v>
                </c:pt>
                <c:pt idx="145">
                  <c:v>38820</c:v>
                </c:pt>
                <c:pt idx="146">
                  <c:v>38824</c:v>
                </c:pt>
                <c:pt idx="147">
                  <c:v>38825</c:v>
                </c:pt>
                <c:pt idx="148">
                  <c:v>38826</c:v>
                </c:pt>
                <c:pt idx="149">
                  <c:v>38827</c:v>
                </c:pt>
                <c:pt idx="150">
                  <c:v>38828</c:v>
                </c:pt>
                <c:pt idx="151">
                  <c:v>38831</c:v>
                </c:pt>
                <c:pt idx="152">
                  <c:v>38832</c:v>
                </c:pt>
                <c:pt idx="153">
                  <c:v>38833</c:v>
                </c:pt>
                <c:pt idx="154">
                  <c:v>38834</c:v>
                </c:pt>
                <c:pt idx="155">
                  <c:v>38835</c:v>
                </c:pt>
                <c:pt idx="156">
                  <c:v>38838</c:v>
                </c:pt>
                <c:pt idx="157">
                  <c:v>38839</c:v>
                </c:pt>
                <c:pt idx="158">
                  <c:v>38840</c:v>
                </c:pt>
                <c:pt idx="159">
                  <c:v>38841</c:v>
                </c:pt>
                <c:pt idx="160">
                  <c:v>38842</c:v>
                </c:pt>
                <c:pt idx="161">
                  <c:v>38845</c:v>
                </c:pt>
                <c:pt idx="162">
                  <c:v>38846</c:v>
                </c:pt>
                <c:pt idx="163">
                  <c:v>38847</c:v>
                </c:pt>
                <c:pt idx="164">
                  <c:v>38848</c:v>
                </c:pt>
                <c:pt idx="165">
                  <c:v>38849</c:v>
                </c:pt>
                <c:pt idx="166">
                  <c:v>38852</c:v>
                </c:pt>
                <c:pt idx="167">
                  <c:v>38853</c:v>
                </c:pt>
                <c:pt idx="168">
                  <c:v>38854</c:v>
                </c:pt>
                <c:pt idx="169">
                  <c:v>38855</c:v>
                </c:pt>
                <c:pt idx="170">
                  <c:v>38856</c:v>
                </c:pt>
                <c:pt idx="171">
                  <c:v>38859</c:v>
                </c:pt>
                <c:pt idx="172">
                  <c:v>38860</c:v>
                </c:pt>
                <c:pt idx="173">
                  <c:v>38861</c:v>
                </c:pt>
                <c:pt idx="174">
                  <c:v>38862</c:v>
                </c:pt>
                <c:pt idx="175">
                  <c:v>38863</c:v>
                </c:pt>
                <c:pt idx="176">
                  <c:v>38867</c:v>
                </c:pt>
                <c:pt idx="177">
                  <c:v>38868</c:v>
                </c:pt>
                <c:pt idx="178">
                  <c:v>38869</c:v>
                </c:pt>
                <c:pt idx="179">
                  <c:v>38870</c:v>
                </c:pt>
                <c:pt idx="180">
                  <c:v>38873</c:v>
                </c:pt>
                <c:pt idx="181">
                  <c:v>38874</c:v>
                </c:pt>
                <c:pt idx="182">
                  <c:v>38875</c:v>
                </c:pt>
                <c:pt idx="183">
                  <c:v>38876</c:v>
                </c:pt>
                <c:pt idx="184">
                  <c:v>38877</c:v>
                </c:pt>
                <c:pt idx="185">
                  <c:v>38880</c:v>
                </c:pt>
                <c:pt idx="186">
                  <c:v>38881</c:v>
                </c:pt>
                <c:pt idx="187">
                  <c:v>38882</c:v>
                </c:pt>
                <c:pt idx="188">
                  <c:v>38883</c:v>
                </c:pt>
                <c:pt idx="189">
                  <c:v>38884</c:v>
                </c:pt>
                <c:pt idx="190">
                  <c:v>38887</c:v>
                </c:pt>
                <c:pt idx="191">
                  <c:v>38888</c:v>
                </c:pt>
                <c:pt idx="192">
                  <c:v>38889</c:v>
                </c:pt>
                <c:pt idx="193">
                  <c:v>38890</c:v>
                </c:pt>
                <c:pt idx="194">
                  <c:v>38891</c:v>
                </c:pt>
                <c:pt idx="195">
                  <c:v>38894</c:v>
                </c:pt>
                <c:pt idx="196">
                  <c:v>38895</c:v>
                </c:pt>
                <c:pt idx="197">
                  <c:v>38896</c:v>
                </c:pt>
                <c:pt idx="198">
                  <c:v>38897</c:v>
                </c:pt>
                <c:pt idx="199">
                  <c:v>38898</c:v>
                </c:pt>
                <c:pt idx="200">
                  <c:v>38901</c:v>
                </c:pt>
                <c:pt idx="201">
                  <c:v>38903</c:v>
                </c:pt>
                <c:pt idx="202">
                  <c:v>38904</c:v>
                </c:pt>
                <c:pt idx="203">
                  <c:v>38905</c:v>
                </c:pt>
                <c:pt idx="204">
                  <c:v>38908</c:v>
                </c:pt>
                <c:pt idx="205">
                  <c:v>38909</c:v>
                </c:pt>
                <c:pt idx="206">
                  <c:v>38910</c:v>
                </c:pt>
                <c:pt idx="207">
                  <c:v>38911</c:v>
                </c:pt>
                <c:pt idx="208">
                  <c:v>38912</c:v>
                </c:pt>
                <c:pt idx="209">
                  <c:v>38915</c:v>
                </c:pt>
                <c:pt idx="210">
                  <c:v>38916</c:v>
                </c:pt>
                <c:pt idx="211">
                  <c:v>38917</c:v>
                </c:pt>
                <c:pt idx="212">
                  <c:v>38918</c:v>
                </c:pt>
                <c:pt idx="213">
                  <c:v>38919</c:v>
                </c:pt>
                <c:pt idx="214">
                  <c:v>38922</c:v>
                </c:pt>
                <c:pt idx="215">
                  <c:v>38923</c:v>
                </c:pt>
                <c:pt idx="216">
                  <c:v>38924</c:v>
                </c:pt>
                <c:pt idx="217">
                  <c:v>38925</c:v>
                </c:pt>
                <c:pt idx="218">
                  <c:v>38926</c:v>
                </c:pt>
                <c:pt idx="219">
                  <c:v>38929</c:v>
                </c:pt>
                <c:pt idx="220">
                  <c:v>38930</c:v>
                </c:pt>
                <c:pt idx="221">
                  <c:v>38931</c:v>
                </c:pt>
                <c:pt idx="222">
                  <c:v>38932</c:v>
                </c:pt>
                <c:pt idx="223">
                  <c:v>38933</c:v>
                </c:pt>
                <c:pt idx="224">
                  <c:v>38936</c:v>
                </c:pt>
                <c:pt idx="225">
                  <c:v>38937</c:v>
                </c:pt>
                <c:pt idx="226">
                  <c:v>38938</c:v>
                </c:pt>
                <c:pt idx="227">
                  <c:v>38939</c:v>
                </c:pt>
                <c:pt idx="228">
                  <c:v>38940</c:v>
                </c:pt>
                <c:pt idx="229">
                  <c:v>38943</c:v>
                </c:pt>
                <c:pt idx="230">
                  <c:v>38944</c:v>
                </c:pt>
                <c:pt idx="231">
                  <c:v>38945</c:v>
                </c:pt>
                <c:pt idx="232">
                  <c:v>38946</c:v>
                </c:pt>
                <c:pt idx="233">
                  <c:v>38947</c:v>
                </c:pt>
                <c:pt idx="234">
                  <c:v>38950</c:v>
                </c:pt>
                <c:pt idx="235">
                  <c:v>38951</c:v>
                </c:pt>
                <c:pt idx="236">
                  <c:v>38952</c:v>
                </c:pt>
                <c:pt idx="237">
                  <c:v>38953</c:v>
                </c:pt>
                <c:pt idx="238">
                  <c:v>38954</c:v>
                </c:pt>
                <c:pt idx="239">
                  <c:v>38957</c:v>
                </c:pt>
                <c:pt idx="240">
                  <c:v>38958</c:v>
                </c:pt>
                <c:pt idx="241">
                  <c:v>38959</c:v>
                </c:pt>
                <c:pt idx="242">
                  <c:v>38960</c:v>
                </c:pt>
                <c:pt idx="243">
                  <c:v>38961</c:v>
                </c:pt>
                <c:pt idx="244">
                  <c:v>38965</c:v>
                </c:pt>
                <c:pt idx="245">
                  <c:v>38966</c:v>
                </c:pt>
                <c:pt idx="246">
                  <c:v>38967</c:v>
                </c:pt>
                <c:pt idx="247">
                  <c:v>38968</c:v>
                </c:pt>
                <c:pt idx="248">
                  <c:v>38971</c:v>
                </c:pt>
                <c:pt idx="249">
                  <c:v>38972</c:v>
                </c:pt>
                <c:pt idx="250">
                  <c:v>38973</c:v>
                </c:pt>
                <c:pt idx="251">
                  <c:v>38974</c:v>
                </c:pt>
                <c:pt idx="252">
                  <c:v>38975</c:v>
                </c:pt>
                <c:pt idx="253">
                  <c:v>38978</c:v>
                </c:pt>
                <c:pt idx="254">
                  <c:v>38979</c:v>
                </c:pt>
                <c:pt idx="255">
                  <c:v>38980</c:v>
                </c:pt>
                <c:pt idx="256">
                  <c:v>38981</c:v>
                </c:pt>
                <c:pt idx="257">
                  <c:v>38982</c:v>
                </c:pt>
                <c:pt idx="258">
                  <c:v>38985</c:v>
                </c:pt>
                <c:pt idx="259">
                  <c:v>38986</c:v>
                </c:pt>
                <c:pt idx="260">
                  <c:v>38987</c:v>
                </c:pt>
                <c:pt idx="261">
                  <c:v>38988</c:v>
                </c:pt>
                <c:pt idx="262">
                  <c:v>38989</c:v>
                </c:pt>
                <c:pt idx="263">
                  <c:v>38992</c:v>
                </c:pt>
                <c:pt idx="264">
                  <c:v>38993</c:v>
                </c:pt>
                <c:pt idx="265">
                  <c:v>38994</c:v>
                </c:pt>
                <c:pt idx="266">
                  <c:v>38995</c:v>
                </c:pt>
                <c:pt idx="267">
                  <c:v>38996</c:v>
                </c:pt>
                <c:pt idx="268">
                  <c:v>38999</c:v>
                </c:pt>
                <c:pt idx="269">
                  <c:v>39000</c:v>
                </c:pt>
                <c:pt idx="270">
                  <c:v>39001</c:v>
                </c:pt>
                <c:pt idx="271">
                  <c:v>39002</c:v>
                </c:pt>
                <c:pt idx="272">
                  <c:v>39003</c:v>
                </c:pt>
                <c:pt idx="273">
                  <c:v>39006</c:v>
                </c:pt>
                <c:pt idx="274">
                  <c:v>39007</c:v>
                </c:pt>
                <c:pt idx="275">
                  <c:v>39008</c:v>
                </c:pt>
                <c:pt idx="276">
                  <c:v>39009</c:v>
                </c:pt>
                <c:pt idx="277">
                  <c:v>39010</c:v>
                </c:pt>
                <c:pt idx="278">
                  <c:v>39013</c:v>
                </c:pt>
                <c:pt idx="279">
                  <c:v>39014</c:v>
                </c:pt>
                <c:pt idx="280">
                  <c:v>39015</c:v>
                </c:pt>
                <c:pt idx="281">
                  <c:v>39016</c:v>
                </c:pt>
                <c:pt idx="282">
                  <c:v>39017</c:v>
                </c:pt>
                <c:pt idx="283">
                  <c:v>39020</c:v>
                </c:pt>
                <c:pt idx="284">
                  <c:v>39021</c:v>
                </c:pt>
                <c:pt idx="285">
                  <c:v>39022</c:v>
                </c:pt>
                <c:pt idx="286">
                  <c:v>39023</c:v>
                </c:pt>
                <c:pt idx="287">
                  <c:v>39024</c:v>
                </c:pt>
                <c:pt idx="288">
                  <c:v>39027</c:v>
                </c:pt>
                <c:pt idx="289">
                  <c:v>39028</c:v>
                </c:pt>
                <c:pt idx="290">
                  <c:v>39029</c:v>
                </c:pt>
                <c:pt idx="291">
                  <c:v>39030</c:v>
                </c:pt>
                <c:pt idx="292">
                  <c:v>39031</c:v>
                </c:pt>
                <c:pt idx="293">
                  <c:v>39034</c:v>
                </c:pt>
                <c:pt idx="294">
                  <c:v>39035</c:v>
                </c:pt>
                <c:pt idx="295">
                  <c:v>39036</c:v>
                </c:pt>
                <c:pt idx="296">
                  <c:v>39037</c:v>
                </c:pt>
                <c:pt idx="297">
                  <c:v>39038</c:v>
                </c:pt>
                <c:pt idx="298">
                  <c:v>39041</c:v>
                </c:pt>
                <c:pt idx="299">
                  <c:v>39042</c:v>
                </c:pt>
                <c:pt idx="300">
                  <c:v>39043</c:v>
                </c:pt>
                <c:pt idx="301">
                  <c:v>39045</c:v>
                </c:pt>
                <c:pt idx="302">
                  <c:v>39048</c:v>
                </c:pt>
                <c:pt idx="303">
                  <c:v>39049</c:v>
                </c:pt>
                <c:pt idx="304">
                  <c:v>39050</c:v>
                </c:pt>
                <c:pt idx="305">
                  <c:v>39051</c:v>
                </c:pt>
                <c:pt idx="306">
                  <c:v>39052</c:v>
                </c:pt>
                <c:pt idx="307">
                  <c:v>39055</c:v>
                </c:pt>
                <c:pt idx="308">
                  <c:v>39056</c:v>
                </c:pt>
                <c:pt idx="309">
                  <c:v>39057</c:v>
                </c:pt>
                <c:pt idx="310">
                  <c:v>39058</c:v>
                </c:pt>
                <c:pt idx="311">
                  <c:v>39059</c:v>
                </c:pt>
                <c:pt idx="312">
                  <c:v>39062</c:v>
                </c:pt>
                <c:pt idx="313">
                  <c:v>39063</c:v>
                </c:pt>
                <c:pt idx="314">
                  <c:v>39064</c:v>
                </c:pt>
                <c:pt idx="315">
                  <c:v>39065</c:v>
                </c:pt>
                <c:pt idx="316">
                  <c:v>39066</c:v>
                </c:pt>
                <c:pt idx="317">
                  <c:v>39069</c:v>
                </c:pt>
                <c:pt idx="318">
                  <c:v>39070</c:v>
                </c:pt>
                <c:pt idx="319">
                  <c:v>39071</c:v>
                </c:pt>
                <c:pt idx="320">
                  <c:v>39072</c:v>
                </c:pt>
                <c:pt idx="321">
                  <c:v>39073</c:v>
                </c:pt>
                <c:pt idx="322">
                  <c:v>39077</c:v>
                </c:pt>
                <c:pt idx="323">
                  <c:v>39078</c:v>
                </c:pt>
                <c:pt idx="324">
                  <c:v>39079</c:v>
                </c:pt>
                <c:pt idx="325">
                  <c:v>39080</c:v>
                </c:pt>
                <c:pt idx="326">
                  <c:v>39085</c:v>
                </c:pt>
                <c:pt idx="327">
                  <c:v>39086</c:v>
                </c:pt>
                <c:pt idx="328">
                  <c:v>39087</c:v>
                </c:pt>
                <c:pt idx="329">
                  <c:v>39090</c:v>
                </c:pt>
                <c:pt idx="330">
                  <c:v>39091</c:v>
                </c:pt>
                <c:pt idx="331">
                  <c:v>39092</c:v>
                </c:pt>
                <c:pt idx="332">
                  <c:v>39093</c:v>
                </c:pt>
                <c:pt idx="333">
                  <c:v>39094</c:v>
                </c:pt>
                <c:pt idx="334">
                  <c:v>39098</c:v>
                </c:pt>
                <c:pt idx="335">
                  <c:v>39099</c:v>
                </c:pt>
                <c:pt idx="336">
                  <c:v>39100</c:v>
                </c:pt>
                <c:pt idx="337">
                  <c:v>39101</c:v>
                </c:pt>
                <c:pt idx="338">
                  <c:v>39104</c:v>
                </c:pt>
                <c:pt idx="339">
                  <c:v>39105</c:v>
                </c:pt>
                <c:pt idx="340">
                  <c:v>39106</c:v>
                </c:pt>
                <c:pt idx="341">
                  <c:v>39107</c:v>
                </c:pt>
                <c:pt idx="342">
                  <c:v>39108</c:v>
                </c:pt>
                <c:pt idx="343">
                  <c:v>39111</c:v>
                </c:pt>
                <c:pt idx="344">
                  <c:v>39112</c:v>
                </c:pt>
                <c:pt idx="345">
                  <c:v>39113</c:v>
                </c:pt>
                <c:pt idx="346">
                  <c:v>39114</c:v>
                </c:pt>
                <c:pt idx="347">
                  <c:v>39115</c:v>
                </c:pt>
                <c:pt idx="348">
                  <c:v>39118</c:v>
                </c:pt>
                <c:pt idx="349">
                  <c:v>39119</c:v>
                </c:pt>
                <c:pt idx="350">
                  <c:v>39120</c:v>
                </c:pt>
                <c:pt idx="351">
                  <c:v>39121</c:v>
                </c:pt>
                <c:pt idx="352">
                  <c:v>39122</c:v>
                </c:pt>
                <c:pt idx="353">
                  <c:v>39125</c:v>
                </c:pt>
                <c:pt idx="354">
                  <c:v>39126</c:v>
                </c:pt>
                <c:pt idx="355">
                  <c:v>39127</c:v>
                </c:pt>
                <c:pt idx="356">
                  <c:v>39128</c:v>
                </c:pt>
                <c:pt idx="357">
                  <c:v>39129</c:v>
                </c:pt>
                <c:pt idx="358">
                  <c:v>39133</c:v>
                </c:pt>
                <c:pt idx="359">
                  <c:v>39134</c:v>
                </c:pt>
                <c:pt idx="360">
                  <c:v>39135</c:v>
                </c:pt>
                <c:pt idx="361">
                  <c:v>39136</c:v>
                </c:pt>
                <c:pt idx="362">
                  <c:v>39139</c:v>
                </c:pt>
                <c:pt idx="363">
                  <c:v>39140</c:v>
                </c:pt>
                <c:pt idx="364">
                  <c:v>39141</c:v>
                </c:pt>
                <c:pt idx="365">
                  <c:v>39142</c:v>
                </c:pt>
                <c:pt idx="366">
                  <c:v>39143</c:v>
                </c:pt>
                <c:pt idx="367">
                  <c:v>39146</c:v>
                </c:pt>
                <c:pt idx="368">
                  <c:v>39147</c:v>
                </c:pt>
                <c:pt idx="369">
                  <c:v>39148</c:v>
                </c:pt>
                <c:pt idx="370">
                  <c:v>39149</c:v>
                </c:pt>
                <c:pt idx="371">
                  <c:v>39150</c:v>
                </c:pt>
                <c:pt idx="372">
                  <c:v>39153</c:v>
                </c:pt>
                <c:pt idx="373">
                  <c:v>39154</c:v>
                </c:pt>
                <c:pt idx="374">
                  <c:v>39155</c:v>
                </c:pt>
                <c:pt idx="375">
                  <c:v>39156</c:v>
                </c:pt>
                <c:pt idx="376">
                  <c:v>39157</c:v>
                </c:pt>
                <c:pt idx="377">
                  <c:v>39160</c:v>
                </c:pt>
                <c:pt idx="378">
                  <c:v>39161</c:v>
                </c:pt>
                <c:pt idx="379">
                  <c:v>39162</c:v>
                </c:pt>
                <c:pt idx="380">
                  <c:v>39163</c:v>
                </c:pt>
                <c:pt idx="381">
                  <c:v>39164</c:v>
                </c:pt>
                <c:pt idx="382">
                  <c:v>39167</c:v>
                </c:pt>
                <c:pt idx="383">
                  <c:v>39168</c:v>
                </c:pt>
                <c:pt idx="384">
                  <c:v>39169</c:v>
                </c:pt>
                <c:pt idx="385">
                  <c:v>39170</c:v>
                </c:pt>
                <c:pt idx="386">
                  <c:v>39171</c:v>
                </c:pt>
                <c:pt idx="387">
                  <c:v>39174</c:v>
                </c:pt>
                <c:pt idx="388">
                  <c:v>39175</c:v>
                </c:pt>
                <c:pt idx="389">
                  <c:v>39176</c:v>
                </c:pt>
                <c:pt idx="390">
                  <c:v>39177</c:v>
                </c:pt>
                <c:pt idx="391">
                  <c:v>39181</c:v>
                </c:pt>
                <c:pt idx="392">
                  <c:v>39182</c:v>
                </c:pt>
                <c:pt idx="393">
                  <c:v>39183</c:v>
                </c:pt>
                <c:pt idx="394">
                  <c:v>39184</c:v>
                </c:pt>
                <c:pt idx="395">
                  <c:v>39185</c:v>
                </c:pt>
                <c:pt idx="396">
                  <c:v>39188</c:v>
                </c:pt>
                <c:pt idx="397">
                  <c:v>39189</c:v>
                </c:pt>
                <c:pt idx="398">
                  <c:v>39190</c:v>
                </c:pt>
                <c:pt idx="399">
                  <c:v>39191</c:v>
                </c:pt>
                <c:pt idx="400">
                  <c:v>39192</c:v>
                </c:pt>
                <c:pt idx="401">
                  <c:v>39195</c:v>
                </c:pt>
                <c:pt idx="402">
                  <c:v>39196</c:v>
                </c:pt>
                <c:pt idx="403">
                  <c:v>39197</c:v>
                </c:pt>
                <c:pt idx="404">
                  <c:v>39198</c:v>
                </c:pt>
                <c:pt idx="405">
                  <c:v>39199</c:v>
                </c:pt>
                <c:pt idx="406">
                  <c:v>39202</c:v>
                </c:pt>
                <c:pt idx="407">
                  <c:v>39203</c:v>
                </c:pt>
                <c:pt idx="408">
                  <c:v>39204</c:v>
                </c:pt>
                <c:pt idx="409">
                  <c:v>39205</c:v>
                </c:pt>
                <c:pt idx="410">
                  <c:v>39206</c:v>
                </c:pt>
                <c:pt idx="411">
                  <c:v>39209</c:v>
                </c:pt>
                <c:pt idx="412">
                  <c:v>39210</c:v>
                </c:pt>
                <c:pt idx="413">
                  <c:v>39211</c:v>
                </c:pt>
                <c:pt idx="414">
                  <c:v>39212</c:v>
                </c:pt>
                <c:pt idx="415">
                  <c:v>39213</c:v>
                </c:pt>
                <c:pt idx="416">
                  <c:v>39216</c:v>
                </c:pt>
                <c:pt idx="417">
                  <c:v>39217</c:v>
                </c:pt>
                <c:pt idx="418">
                  <c:v>39218</c:v>
                </c:pt>
                <c:pt idx="419">
                  <c:v>39219</c:v>
                </c:pt>
                <c:pt idx="420">
                  <c:v>39220</c:v>
                </c:pt>
                <c:pt idx="421">
                  <c:v>39223</c:v>
                </c:pt>
                <c:pt idx="422">
                  <c:v>39224</c:v>
                </c:pt>
                <c:pt idx="423">
                  <c:v>39225</c:v>
                </c:pt>
                <c:pt idx="424">
                  <c:v>39226</c:v>
                </c:pt>
                <c:pt idx="425">
                  <c:v>39227</c:v>
                </c:pt>
                <c:pt idx="426">
                  <c:v>39231</c:v>
                </c:pt>
                <c:pt idx="427">
                  <c:v>39232</c:v>
                </c:pt>
                <c:pt idx="428">
                  <c:v>39233</c:v>
                </c:pt>
                <c:pt idx="429">
                  <c:v>39234</c:v>
                </c:pt>
                <c:pt idx="430">
                  <c:v>39237</c:v>
                </c:pt>
                <c:pt idx="431">
                  <c:v>39238</c:v>
                </c:pt>
                <c:pt idx="432">
                  <c:v>39239</c:v>
                </c:pt>
                <c:pt idx="433">
                  <c:v>39240</c:v>
                </c:pt>
                <c:pt idx="434">
                  <c:v>39241</c:v>
                </c:pt>
                <c:pt idx="435">
                  <c:v>39244</c:v>
                </c:pt>
                <c:pt idx="436">
                  <c:v>39245</c:v>
                </c:pt>
                <c:pt idx="437">
                  <c:v>39246</c:v>
                </c:pt>
                <c:pt idx="438">
                  <c:v>39247</c:v>
                </c:pt>
                <c:pt idx="439">
                  <c:v>39248</c:v>
                </c:pt>
                <c:pt idx="440">
                  <c:v>39251</c:v>
                </c:pt>
                <c:pt idx="441">
                  <c:v>39252</c:v>
                </c:pt>
                <c:pt idx="442">
                  <c:v>39253</c:v>
                </c:pt>
                <c:pt idx="443">
                  <c:v>39254</c:v>
                </c:pt>
                <c:pt idx="444">
                  <c:v>39255</c:v>
                </c:pt>
                <c:pt idx="445">
                  <c:v>39258</c:v>
                </c:pt>
                <c:pt idx="446">
                  <c:v>39259</c:v>
                </c:pt>
                <c:pt idx="447">
                  <c:v>39260</c:v>
                </c:pt>
                <c:pt idx="448">
                  <c:v>39261</c:v>
                </c:pt>
                <c:pt idx="449">
                  <c:v>39262</c:v>
                </c:pt>
                <c:pt idx="450">
                  <c:v>39265</c:v>
                </c:pt>
                <c:pt idx="451">
                  <c:v>39266</c:v>
                </c:pt>
                <c:pt idx="452">
                  <c:v>39268</c:v>
                </c:pt>
                <c:pt idx="453">
                  <c:v>39269</c:v>
                </c:pt>
                <c:pt idx="454">
                  <c:v>39272</c:v>
                </c:pt>
                <c:pt idx="455">
                  <c:v>39273</c:v>
                </c:pt>
                <c:pt idx="456">
                  <c:v>39274</c:v>
                </c:pt>
                <c:pt idx="457">
                  <c:v>39275</c:v>
                </c:pt>
                <c:pt idx="458">
                  <c:v>39276</c:v>
                </c:pt>
                <c:pt idx="459">
                  <c:v>39279</c:v>
                </c:pt>
                <c:pt idx="460">
                  <c:v>39280</c:v>
                </c:pt>
                <c:pt idx="461">
                  <c:v>39281</c:v>
                </c:pt>
                <c:pt idx="462">
                  <c:v>39282</c:v>
                </c:pt>
                <c:pt idx="463">
                  <c:v>39283</c:v>
                </c:pt>
                <c:pt idx="464">
                  <c:v>39286</c:v>
                </c:pt>
                <c:pt idx="465">
                  <c:v>39287</c:v>
                </c:pt>
                <c:pt idx="466">
                  <c:v>39288</c:v>
                </c:pt>
                <c:pt idx="467">
                  <c:v>39289</c:v>
                </c:pt>
                <c:pt idx="468">
                  <c:v>39290</c:v>
                </c:pt>
                <c:pt idx="469">
                  <c:v>39293</c:v>
                </c:pt>
                <c:pt idx="470">
                  <c:v>39294</c:v>
                </c:pt>
                <c:pt idx="471">
                  <c:v>39295</c:v>
                </c:pt>
                <c:pt idx="472">
                  <c:v>39296</c:v>
                </c:pt>
                <c:pt idx="473">
                  <c:v>39297</c:v>
                </c:pt>
                <c:pt idx="474">
                  <c:v>39300</c:v>
                </c:pt>
                <c:pt idx="475">
                  <c:v>39301</c:v>
                </c:pt>
                <c:pt idx="476">
                  <c:v>39302</c:v>
                </c:pt>
                <c:pt idx="477">
                  <c:v>39303</c:v>
                </c:pt>
                <c:pt idx="478">
                  <c:v>39304</c:v>
                </c:pt>
                <c:pt idx="479">
                  <c:v>39307</c:v>
                </c:pt>
                <c:pt idx="480">
                  <c:v>39308</c:v>
                </c:pt>
                <c:pt idx="481">
                  <c:v>39309</c:v>
                </c:pt>
                <c:pt idx="482">
                  <c:v>39310</c:v>
                </c:pt>
                <c:pt idx="483">
                  <c:v>39311</c:v>
                </c:pt>
                <c:pt idx="484">
                  <c:v>39314</c:v>
                </c:pt>
                <c:pt idx="485">
                  <c:v>39315</c:v>
                </c:pt>
                <c:pt idx="486">
                  <c:v>39316</c:v>
                </c:pt>
                <c:pt idx="487">
                  <c:v>39317</c:v>
                </c:pt>
                <c:pt idx="488">
                  <c:v>39318</c:v>
                </c:pt>
                <c:pt idx="489">
                  <c:v>39321</c:v>
                </c:pt>
                <c:pt idx="490">
                  <c:v>39322</c:v>
                </c:pt>
                <c:pt idx="491">
                  <c:v>39323</c:v>
                </c:pt>
                <c:pt idx="492">
                  <c:v>39324</c:v>
                </c:pt>
                <c:pt idx="493">
                  <c:v>39325</c:v>
                </c:pt>
                <c:pt idx="494">
                  <c:v>39329</c:v>
                </c:pt>
                <c:pt idx="495">
                  <c:v>39330</c:v>
                </c:pt>
                <c:pt idx="496">
                  <c:v>39331</c:v>
                </c:pt>
                <c:pt idx="497">
                  <c:v>39332</c:v>
                </c:pt>
                <c:pt idx="498">
                  <c:v>39335</c:v>
                </c:pt>
                <c:pt idx="499">
                  <c:v>39336</c:v>
                </c:pt>
                <c:pt idx="500">
                  <c:v>39337</c:v>
                </c:pt>
                <c:pt idx="501">
                  <c:v>39338</c:v>
                </c:pt>
                <c:pt idx="502">
                  <c:v>39339</c:v>
                </c:pt>
                <c:pt idx="503">
                  <c:v>39342</c:v>
                </c:pt>
                <c:pt idx="504">
                  <c:v>39343</c:v>
                </c:pt>
                <c:pt idx="505">
                  <c:v>39344</c:v>
                </c:pt>
                <c:pt idx="506">
                  <c:v>39345</c:v>
                </c:pt>
                <c:pt idx="507">
                  <c:v>39346</c:v>
                </c:pt>
                <c:pt idx="508">
                  <c:v>39349</c:v>
                </c:pt>
                <c:pt idx="509">
                  <c:v>39350</c:v>
                </c:pt>
                <c:pt idx="510">
                  <c:v>39351</c:v>
                </c:pt>
                <c:pt idx="511">
                  <c:v>39352</c:v>
                </c:pt>
                <c:pt idx="512">
                  <c:v>39353</c:v>
                </c:pt>
                <c:pt idx="513">
                  <c:v>39356</c:v>
                </c:pt>
                <c:pt idx="514">
                  <c:v>39357</c:v>
                </c:pt>
                <c:pt idx="515">
                  <c:v>39358</c:v>
                </c:pt>
                <c:pt idx="516">
                  <c:v>39359</c:v>
                </c:pt>
                <c:pt idx="517">
                  <c:v>39360</c:v>
                </c:pt>
                <c:pt idx="518">
                  <c:v>39363</c:v>
                </c:pt>
                <c:pt idx="519">
                  <c:v>39364</c:v>
                </c:pt>
                <c:pt idx="520">
                  <c:v>39365</c:v>
                </c:pt>
                <c:pt idx="521">
                  <c:v>39366</c:v>
                </c:pt>
                <c:pt idx="522">
                  <c:v>39367</c:v>
                </c:pt>
                <c:pt idx="523">
                  <c:v>39370</c:v>
                </c:pt>
                <c:pt idx="524">
                  <c:v>39371</c:v>
                </c:pt>
                <c:pt idx="525">
                  <c:v>39372</c:v>
                </c:pt>
                <c:pt idx="526">
                  <c:v>39373</c:v>
                </c:pt>
                <c:pt idx="527">
                  <c:v>39374</c:v>
                </c:pt>
                <c:pt idx="528">
                  <c:v>39377</c:v>
                </c:pt>
                <c:pt idx="529">
                  <c:v>39378</c:v>
                </c:pt>
                <c:pt idx="530">
                  <c:v>39379</c:v>
                </c:pt>
                <c:pt idx="531">
                  <c:v>39380</c:v>
                </c:pt>
                <c:pt idx="532">
                  <c:v>39381</c:v>
                </c:pt>
                <c:pt idx="533">
                  <c:v>39384</c:v>
                </c:pt>
                <c:pt idx="534">
                  <c:v>39385</c:v>
                </c:pt>
                <c:pt idx="535">
                  <c:v>39386</c:v>
                </c:pt>
                <c:pt idx="536">
                  <c:v>39387</c:v>
                </c:pt>
                <c:pt idx="537">
                  <c:v>39388</c:v>
                </c:pt>
                <c:pt idx="538">
                  <c:v>39391</c:v>
                </c:pt>
                <c:pt idx="539">
                  <c:v>39392</c:v>
                </c:pt>
                <c:pt idx="540">
                  <c:v>39393</c:v>
                </c:pt>
                <c:pt idx="541">
                  <c:v>39394</c:v>
                </c:pt>
                <c:pt idx="542">
                  <c:v>39395</c:v>
                </c:pt>
                <c:pt idx="543">
                  <c:v>39398</c:v>
                </c:pt>
                <c:pt idx="544">
                  <c:v>39399</c:v>
                </c:pt>
                <c:pt idx="545">
                  <c:v>39400</c:v>
                </c:pt>
                <c:pt idx="546">
                  <c:v>39401</c:v>
                </c:pt>
                <c:pt idx="547">
                  <c:v>39402</c:v>
                </c:pt>
                <c:pt idx="548">
                  <c:v>39405</c:v>
                </c:pt>
                <c:pt idx="549">
                  <c:v>39406</c:v>
                </c:pt>
                <c:pt idx="550">
                  <c:v>39407</c:v>
                </c:pt>
                <c:pt idx="551">
                  <c:v>39409</c:v>
                </c:pt>
                <c:pt idx="552">
                  <c:v>39412</c:v>
                </c:pt>
                <c:pt idx="553">
                  <c:v>39413</c:v>
                </c:pt>
                <c:pt idx="554">
                  <c:v>39414</c:v>
                </c:pt>
                <c:pt idx="555">
                  <c:v>39415</c:v>
                </c:pt>
                <c:pt idx="556">
                  <c:v>39416</c:v>
                </c:pt>
                <c:pt idx="557">
                  <c:v>39419</c:v>
                </c:pt>
                <c:pt idx="558">
                  <c:v>39420</c:v>
                </c:pt>
                <c:pt idx="559">
                  <c:v>39421</c:v>
                </c:pt>
                <c:pt idx="560">
                  <c:v>39422</c:v>
                </c:pt>
                <c:pt idx="561">
                  <c:v>39423</c:v>
                </c:pt>
                <c:pt idx="562">
                  <c:v>39426</c:v>
                </c:pt>
                <c:pt idx="563">
                  <c:v>39427</c:v>
                </c:pt>
                <c:pt idx="564">
                  <c:v>39428</c:v>
                </c:pt>
                <c:pt idx="565">
                  <c:v>39429</c:v>
                </c:pt>
                <c:pt idx="566">
                  <c:v>39430</c:v>
                </c:pt>
                <c:pt idx="567">
                  <c:v>39433</c:v>
                </c:pt>
                <c:pt idx="568">
                  <c:v>39434</c:v>
                </c:pt>
                <c:pt idx="569">
                  <c:v>39435</c:v>
                </c:pt>
                <c:pt idx="570">
                  <c:v>39436</c:v>
                </c:pt>
                <c:pt idx="571">
                  <c:v>39437</c:v>
                </c:pt>
                <c:pt idx="572">
                  <c:v>39440</c:v>
                </c:pt>
                <c:pt idx="573">
                  <c:v>39442</c:v>
                </c:pt>
                <c:pt idx="574">
                  <c:v>39443</c:v>
                </c:pt>
                <c:pt idx="575">
                  <c:v>39444</c:v>
                </c:pt>
                <c:pt idx="576">
                  <c:v>39447</c:v>
                </c:pt>
                <c:pt idx="577">
                  <c:v>39449</c:v>
                </c:pt>
                <c:pt idx="578">
                  <c:v>39450</c:v>
                </c:pt>
                <c:pt idx="579">
                  <c:v>39451</c:v>
                </c:pt>
                <c:pt idx="580">
                  <c:v>39454</c:v>
                </c:pt>
                <c:pt idx="581">
                  <c:v>39455</c:v>
                </c:pt>
                <c:pt idx="582">
                  <c:v>39456</c:v>
                </c:pt>
                <c:pt idx="583">
                  <c:v>39457</c:v>
                </c:pt>
                <c:pt idx="584">
                  <c:v>39458</c:v>
                </c:pt>
                <c:pt idx="585">
                  <c:v>39461</c:v>
                </c:pt>
                <c:pt idx="586">
                  <c:v>39462</c:v>
                </c:pt>
                <c:pt idx="587">
                  <c:v>39463</c:v>
                </c:pt>
                <c:pt idx="588">
                  <c:v>39464</c:v>
                </c:pt>
                <c:pt idx="589">
                  <c:v>39465</c:v>
                </c:pt>
                <c:pt idx="590">
                  <c:v>39469</c:v>
                </c:pt>
                <c:pt idx="591">
                  <c:v>39470</c:v>
                </c:pt>
                <c:pt idx="592">
                  <c:v>39471</c:v>
                </c:pt>
                <c:pt idx="593">
                  <c:v>39472</c:v>
                </c:pt>
                <c:pt idx="594">
                  <c:v>39475</c:v>
                </c:pt>
                <c:pt idx="595">
                  <c:v>39476</c:v>
                </c:pt>
                <c:pt idx="596">
                  <c:v>39477</c:v>
                </c:pt>
                <c:pt idx="597">
                  <c:v>39478</c:v>
                </c:pt>
                <c:pt idx="598">
                  <c:v>39479</c:v>
                </c:pt>
                <c:pt idx="599">
                  <c:v>39482</c:v>
                </c:pt>
                <c:pt idx="600">
                  <c:v>39483</c:v>
                </c:pt>
                <c:pt idx="601">
                  <c:v>39484</c:v>
                </c:pt>
                <c:pt idx="602">
                  <c:v>39485</c:v>
                </c:pt>
                <c:pt idx="603">
                  <c:v>39486</c:v>
                </c:pt>
                <c:pt idx="604">
                  <c:v>39489</c:v>
                </c:pt>
                <c:pt idx="605">
                  <c:v>39490</c:v>
                </c:pt>
                <c:pt idx="606">
                  <c:v>39491</c:v>
                </c:pt>
                <c:pt idx="607">
                  <c:v>39492</c:v>
                </c:pt>
                <c:pt idx="608">
                  <c:v>39493</c:v>
                </c:pt>
                <c:pt idx="609">
                  <c:v>39497</c:v>
                </c:pt>
                <c:pt idx="610">
                  <c:v>39498</c:v>
                </c:pt>
                <c:pt idx="611">
                  <c:v>39499</c:v>
                </c:pt>
                <c:pt idx="612">
                  <c:v>39500</c:v>
                </c:pt>
                <c:pt idx="613">
                  <c:v>39503</c:v>
                </c:pt>
                <c:pt idx="614">
                  <c:v>39504</c:v>
                </c:pt>
                <c:pt idx="615">
                  <c:v>39505</c:v>
                </c:pt>
                <c:pt idx="616">
                  <c:v>39506</c:v>
                </c:pt>
                <c:pt idx="617">
                  <c:v>39507</c:v>
                </c:pt>
                <c:pt idx="618">
                  <c:v>39510</c:v>
                </c:pt>
                <c:pt idx="619">
                  <c:v>39511</c:v>
                </c:pt>
                <c:pt idx="620">
                  <c:v>39512</c:v>
                </c:pt>
                <c:pt idx="621">
                  <c:v>39513</c:v>
                </c:pt>
                <c:pt idx="622">
                  <c:v>39514</c:v>
                </c:pt>
                <c:pt idx="623">
                  <c:v>39517</c:v>
                </c:pt>
                <c:pt idx="624">
                  <c:v>39518</c:v>
                </c:pt>
                <c:pt idx="625">
                  <c:v>39519</c:v>
                </c:pt>
                <c:pt idx="626">
                  <c:v>39520</c:v>
                </c:pt>
                <c:pt idx="627">
                  <c:v>39521</c:v>
                </c:pt>
                <c:pt idx="628">
                  <c:v>39524</c:v>
                </c:pt>
                <c:pt idx="629">
                  <c:v>39525</c:v>
                </c:pt>
                <c:pt idx="630">
                  <c:v>39526</c:v>
                </c:pt>
                <c:pt idx="631">
                  <c:v>39527</c:v>
                </c:pt>
                <c:pt idx="632">
                  <c:v>39531</c:v>
                </c:pt>
                <c:pt idx="633">
                  <c:v>39532</c:v>
                </c:pt>
                <c:pt idx="634">
                  <c:v>39533</c:v>
                </c:pt>
                <c:pt idx="635">
                  <c:v>39534</c:v>
                </c:pt>
                <c:pt idx="636">
                  <c:v>39535</c:v>
                </c:pt>
                <c:pt idx="637">
                  <c:v>39538</c:v>
                </c:pt>
                <c:pt idx="638">
                  <c:v>39539</c:v>
                </c:pt>
                <c:pt idx="639">
                  <c:v>39540</c:v>
                </c:pt>
                <c:pt idx="640">
                  <c:v>39541</c:v>
                </c:pt>
                <c:pt idx="641">
                  <c:v>39542</c:v>
                </c:pt>
                <c:pt idx="642">
                  <c:v>39545</c:v>
                </c:pt>
                <c:pt idx="643">
                  <c:v>39546</c:v>
                </c:pt>
                <c:pt idx="644">
                  <c:v>39547</c:v>
                </c:pt>
                <c:pt idx="645">
                  <c:v>39548</c:v>
                </c:pt>
                <c:pt idx="646">
                  <c:v>39549</c:v>
                </c:pt>
                <c:pt idx="647">
                  <c:v>39552</c:v>
                </c:pt>
                <c:pt idx="648">
                  <c:v>39553</c:v>
                </c:pt>
                <c:pt idx="649">
                  <c:v>39554</c:v>
                </c:pt>
                <c:pt idx="650">
                  <c:v>39555</c:v>
                </c:pt>
                <c:pt idx="651">
                  <c:v>39556</c:v>
                </c:pt>
                <c:pt idx="652">
                  <c:v>39559</c:v>
                </c:pt>
                <c:pt idx="653">
                  <c:v>39560</c:v>
                </c:pt>
                <c:pt idx="654">
                  <c:v>39561</c:v>
                </c:pt>
                <c:pt idx="655">
                  <c:v>39562</c:v>
                </c:pt>
                <c:pt idx="656">
                  <c:v>39563</c:v>
                </c:pt>
                <c:pt idx="657">
                  <c:v>39566</c:v>
                </c:pt>
                <c:pt idx="658">
                  <c:v>39567</c:v>
                </c:pt>
                <c:pt idx="659">
                  <c:v>39568</c:v>
                </c:pt>
                <c:pt idx="660">
                  <c:v>39569</c:v>
                </c:pt>
                <c:pt idx="661">
                  <c:v>39570</c:v>
                </c:pt>
                <c:pt idx="662">
                  <c:v>39573</c:v>
                </c:pt>
                <c:pt idx="663">
                  <c:v>39574</c:v>
                </c:pt>
                <c:pt idx="664">
                  <c:v>39575</c:v>
                </c:pt>
                <c:pt idx="665">
                  <c:v>39576</c:v>
                </c:pt>
                <c:pt idx="666">
                  <c:v>39577</c:v>
                </c:pt>
                <c:pt idx="667">
                  <c:v>39580</c:v>
                </c:pt>
                <c:pt idx="668">
                  <c:v>39581</c:v>
                </c:pt>
                <c:pt idx="669">
                  <c:v>39582</c:v>
                </c:pt>
                <c:pt idx="670">
                  <c:v>39583</c:v>
                </c:pt>
                <c:pt idx="671">
                  <c:v>39584</c:v>
                </c:pt>
                <c:pt idx="672">
                  <c:v>39587</c:v>
                </c:pt>
                <c:pt idx="673">
                  <c:v>39588</c:v>
                </c:pt>
                <c:pt idx="674">
                  <c:v>39589</c:v>
                </c:pt>
                <c:pt idx="675">
                  <c:v>39590</c:v>
                </c:pt>
                <c:pt idx="676">
                  <c:v>39591</c:v>
                </c:pt>
                <c:pt idx="677">
                  <c:v>39595</c:v>
                </c:pt>
                <c:pt idx="678">
                  <c:v>39596</c:v>
                </c:pt>
                <c:pt idx="679">
                  <c:v>39597</c:v>
                </c:pt>
                <c:pt idx="680">
                  <c:v>39598</c:v>
                </c:pt>
                <c:pt idx="681">
                  <c:v>39601</c:v>
                </c:pt>
                <c:pt idx="682">
                  <c:v>39602</c:v>
                </c:pt>
                <c:pt idx="683">
                  <c:v>39603</c:v>
                </c:pt>
                <c:pt idx="684">
                  <c:v>39604</c:v>
                </c:pt>
                <c:pt idx="685">
                  <c:v>39605</c:v>
                </c:pt>
                <c:pt idx="686">
                  <c:v>39608</c:v>
                </c:pt>
                <c:pt idx="687">
                  <c:v>39609</c:v>
                </c:pt>
                <c:pt idx="688">
                  <c:v>39610</c:v>
                </c:pt>
                <c:pt idx="689">
                  <c:v>39611</c:v>
                </c:pt>
                <c:pt idx="690">
                  <c:v>39612</c:v>
                </c:pt>
                <c:pt idx="691">
                  <c:v>39615</c:v>
                </c:pt>
                <c:pt idx="692">
                  <c:v>39616</c:v>
                </c:pt>
                <c:pt idx="693">
                  <c:v>39617</c:v>
                </c:pt>
                <c:pt idx="694">
                  <c:v>39618</c:v>
                </c:pt>
                <c:pt idx="695">
                  <c:v>39619</c:v>
                </c:pt>
                <c:pt idx="696">
                  <c:v>39622</c:v>
                </c:pt>
                <c:pt idx="697">
                  <c:v>39623</c:v>
                </c:pt>
                <c:pt idx="698">
                  <c:v>39624</c:v>
                </c:pt>
                <c:pt idx="699">
                  <c:v>39625</c:v>
                </c:pt>
                <c:pt idx="700">
                  <c:v>39626</c:v>
                </c:pt>
                <c:pt idx="701">
                  <c:v>39629</c:v>
                </c:pt>
                <c:pt idx="702">
                  <c:v>39630</c:v>
                </c:pt>
                <c:pt idx="703">
                  <c:v>39631</c:v>
                </c:pt>
                <c:pt idx="704">
                  <c:v>39632</c:v>
                </c:pt>
                <c:pt idx="705">
                  <c:v>39636</c:v>
                </c:pt>
                <c:pt idx="706">
                  <c:v>39637</c:v>
                </c:pt>
                <c:pt idx="707">
                  <c:v>39638</c:v>
                </c:pt>
                <c:pt idx="708">
                  <c:v>39639</c:v>
                </c:pt>
                <c:pt idx="709">
                  <c:v>39640</c:v>
                </c:pt>
                <c:pt idx="710">
                  <c:v>39643</c:v>
                </c:pt>
                <c:pt idx="711">
                  <c:v>39644</c:v>
                </c:pt>
                <c:pt idx="712">
                  <c:v>39645</c:v>
                </c:pt>
                <c:pt idx="713">
                  <c:v>39646</c:v>
                </c:pt>
                <c:pt idx="714">
                  <c:v>39647</c:v>
                </c:pt>
                <c:pt idx="715">
                  <c:v>39650</c:v>
                </c:pt>
                <c:pt idx="716">
                  <c:v>39651</c:v>
                </c:pt>
                <c:pt idx="717">
                  <c:v>39652</c:v>
                </c:pt>
                <c:pt idx="718">
                  <c:v>39653</c:v>
                </c:pt>
                <c:pt idx="719">
                  <c:v>39654</c:v>
                </c:pt>
                <c:pt idx="720">
                  <c:v>39657</c:v>
                </c:pt>
                <c:pt idx="721">
                  <c:v>39658</c:v>
                </c:pt>
                <c:pt idx="722">
                  <c:v>39659</c:v>
                </c:pt>
                <c:pt idx="723">
                  <c:v>39660</c:v>
                </c:pt>
                <c:pt idx="724">
                  <c:v>39661</c:v>
                </c:pt>
                <c:pt idx="725">
                  <c:v>39664</c:v>
                </c:pt>
                <c:pt idx="726">
                  <c:v>39665</c:v>
                </c:pt>
                <c:pt idx="727">
                  <c:v>39666</c:v>
                </c:pt>
                <c:pt idx="728">
                  <c:v>39667</c:v>
                </c:pt>
                <c:pt idx="729">
                  <c:v>39668</c:v>
                </c:pt>
                <c:pt idx="730">
                  <c:v>39671</c:v>
                </c:pt>
                <c:pt idx="731">
                  <c:v>39672</c:v>
                </c:pt>
                <c:pt idx="732">
                  <c:v>39673</c:v>
                </c:pt>
                <c:pt idx="733">
                  <c:v>39674</c:v>
                </c:pt>
                <c:pt idx="734">
                  <c:v>39675</c:v>
                </c:pt>
                <c:pt idx="735">
                  <c:v>39678</c:v>
                </c:pt>
                <c:pt idx="736">
                  <c:v>39679</c:v>
                </c:pt>
                <c:pt idx="737">
                  <c:v>39680</c:v>
                </c:pt>
                <c:pt idx="738">
                  <c:v>39681</c:v>
                </c:pt>
                <c:pt idx="739">
                  <c:v>39682</c:v>
                </c:pt>
                <c:pt idx="740">
                  <c:v>39685</c:v>
                </c:pt>
                <c:pt idx="741">
                  <c:v>39686</c:v>
                </c:pt>
                <c:pt idx="742">
                  <c:v>39687</c:v>
                </c:pt>
                <c:pt idx="743">
                  <c:v>39688</c:v>
                </c:pt>
                <c:pt idx="744">
                  <c:v>39689</c:v>
                </c:pt>
                <c:pt idx="745">
                  <c:v>39693</c:v>
                </c:pt>
                <c:pt idx="746">
                  <c:v>39694</c:v>
                </c:pt>
                <c:pt idx="747">
                  <c:v>39695</c:v>
                </c:pt>
                <c:pt idx="748">
                  <c:v>39696</c:v>
                </c:pt>
                <c:pt idx="749">
                  <c:v>39699</c:v>
                </c:pt>
                <c:pt idx="750">
                  <c:v>39700</c:v>
                </c:pt>
                <c:pt idx="751">
                  <c:v>39701</c:v>
                </c:pt>
                <c:pt idx="752">
                  <c:v>39702</c:v>
                </c:pt>
                <c:pt idx="753">
                  <c:v>39703</c:v>
                </c:pt>
                <c:pt idx="754">
                  <c:v>39706</c:v>
                </c:pt>
                <c:pt idx="755">
                  <c:v>39707</c:v>
                </c:pt>
                <c:pt idx="756">
                  <c:v>39708</c:v>
                </c:pt>
                <c:pt idx="757">
                  <c:v>39709</c:v>
                </c:pt>
                <c:pt idx="758">
                  <c:v>39710</c:v>
                </c:pt>
                <c:pt idx="759">
                  <c:v>39713</c:v>
                </c:pt>
                <c:pt idx="760">
                  <c:v>39714</c:v>
                </c:pt>
                <c:pt idx="761">
                  <c:v>39715</c:v>
                </c:pt>
                <c:pt idx="762">
                  <c:v>39716</c:v>
                </c:pt>
                <c:pt idx="763">
                  <c:v>39717</c:v>
                </c:pt>
                <c:pt idx="764">
                  <c:v>39720</c:v>
                </c:pt>
                <c:pt idx="765">
                  <c:v>39721</c:v>
                </c:pt>
                <c:pt idx="766">
                  <c:v>39722</c:v>
                </c:pt>
                <c:pt idx="767">
                  <c:v>39723</c:v>
                </c:pt>
                <c:pt idx="768">
                  <c:v>39724</c:v>
                </c:pt>
                <c:pt idx="769">
                  <c:v>39727</c:v>
                </c:pt>
                <c:pt idx="770">
                  <c:v>39728</c:v>
                </c:pt>
                <c:pt idx="771">
                  <c:v>39729</c:v>
                </c:pt>
                <c:pt idx="772">
                  <c:v>39730</c:v>
                </c:pt>
                <c:pt idx="773">
                  <c:v>39731</c:v>
                </c:pt>
                <c:pt idx="774">
                  <c:v>39734</c:v>
                </c:pt>
                <c:pt idx="775">
                  <c:v>39735</c:v>
                </c:pt>
                <c:pt idx="776">
                  <c:v>39736</c:v>
                </c:pt>
                <c:pt idx="777">
                  <c:v>39737</c:v>
                </c:pt>
                <c:pt idx="778">
                  <c:v>39738</c:v>
                </c:pt>
                <c:pt idx="779">
                  <c:v>39741</c:v>
                </c:pt>
                <c:pt idx="780">
                  <c:v>39742</c:v>
                </c:pt>
                <c:pt idx="781">
                  <c:v>39743</c:v>
                </c:pt>
                <c:pt idx="782">
                  <c:v>39744</c:v>
                </c:pt>
                <c:pt idx="783">
                  <c:v>39745</c:v>
                </c:pt>
                <c:pt idx="784">
                  <c:v>39748</c:v>
                </c:pt>
                <c:pt idx="785">
                  <c:v>39749</c:v>
                </c:pt>
                <c:pt idx="786">
                  <c:v>39750</c:v>
                </c:pt>
                <c:pt idx="787">
                  <c:v>39751</c:v>
                </c:pt>
                <c:pt idx="788">
                  <c:v>39752</c:v>
                </c:pt>
                <c:pt idx="789">
                  <c:v>39755</c:v>
                </c:pt>
                <c:pt idx="790">
                  <c:v>39756</c:v>
                </c:pt>
                <c:pt idx="791">
                  <c:v>39757</c:v>
                </c:pt>
                <c:pt idx="792">
                  <c:v>39758</c:v>
                </c:pt>
                <c:pt idx="793">
                  <c:v>39759</c:v>
                </c:pt>
                <c:pt idx="794">
                  <c:v>39762</c:v>
                </c:pt>
                <c:pt idx="795">
                  <c:v>39763</c:v>
                </c:pt>
                <c:pt idx="796">
                  <c:v>39764</c:v>
                </c:pt>
                <c:pt idx="797">
                  <c:v>39765</c:v>
                </c:pt>
                <c:pt idx="798">
                  <c:v>39766</c:v>
                </c:pt>
                <c:pt idx="799">
                  <c:v>39769</c:v>
                </c:pt>
                <c:pt idx="800">
                  <c:v>39770</c:v>
                </c:pt>
                <c:pt idx="801">
                  <c:v>39771</c:v>
                </c:pt>
                <c:pt idx="802">
                  <c:v>39772</c:v>
                </c:pt>
                <c:pt idx="803">
                  <c:v>39773</c:v>
                </c:pt>
                <c:pt idx="804">
                  <c:v>39776</c:v>
                </c:pt>
                <c:pt idx="805">
                  <c:v>39777</c:v>
                </c:pt>
                <c:pt idx="806">
                  <c:v>39778</c:v>
                </c:pt>
                <c:pt idx="807">
                  <c:v>39780</c:v>
                </c:pt>
                <c:pt idx="808">
                  <c:v>39783</c:v>
                </c:pt>
                <c:pt idx="809">
                  <c:v>39784</c:v>
                </c:pt>
                <c:pt idx="810">
                  <c:v>39785</c:v>
                </c:pt>
                <c:pt idx="811">
                  <c:v>39786</c:v>
                </c:pt>
                <c:pt idx="812">
                  <c:v>39787</c:v>
                </c:pt>
                <c:pt idx="813">
                  <c:v>39790</c:v>
                </c:pt>
                <c:pt idx="814">
                  <c:v>39791</c:v>
                </c:pt>
                <c:pt idx="815">
                  <c:v>39792</c:v>
                </c:pt>
                <c:pt idx="816">
                  <c:v>39793</c:v>
                </c:pt>
                <c:pt idx="817">
                  <c:v>39794</c:v>
                </c:pt>
                <c:pt idx="818">
                  <c:v>39797</c:v>
                </c:pt>
                <c:pt idx="819">
                  <c:v>39798</c:v>
                </c:pt>
                <c:pt idx="820">
                  <c:v>39799</c:v>
                </c:pt>
                <c:pt idx="821">
                  <c:v>39800</c:v>
                </c:pt>
                <c:pt idx="822">
                  <c:v>39801</c:v>
                </c:pt>
                <c:pt idx="823">
                  <c:v>39804</c:v>
                </c:pt>
                <c:pt idx="824">
                  <c:v>39805</c:v>
                </c:pt>
                <c:pt idx="825">
                  <c:v>39806</c:v>
                </c:pt>
                <c:pt idx="826">
                  <c:v>39808</c:v>
                </c:pt>
                <c:pt idx="827">
                  <c:v>39811</c:v>
                </c:pt>
                <c:pt idx="828">
                  <c:v>39812</c:v>
                </c:pt>
                <c:pt idx="829">
                  <c:v>39813</c:v>
                </c:pt>
                <c:pt idx="830">
                  <c:v>39815</c:v>
                </c:pt>
                <c:pt idx="831">
                  <c:v>39818</c:v>
                </c:pt>
                <c:pt idx="832">
                  <c:v>39819</c:v>
                </c:pt>
                <c:pt idx="833">
                  <c:v>39820</c:v>
                </c:pt>
                <c:pt idx="834">
                  <c:v>39821</c:v>
                </c:pt>
                <c:pt idx="835">
                  <c:v>39822</c:v>
                </c:pt>
                <c:pt idx="836">
                  <c:v>39825</c:v>
                </c:pt>
                <c:pt idx="837">
                  <c:v>39826</c:v>
                </c:pt>
                <c:pt idx="838">
                  <c:v>39827</c:v>
                </c:pt>
                <c:pt idx="839">
                  <c:v>39828</c:v>
                </c:pt>
                <c:pt idx="840">
                  <c:v>39829</c:v>
                </c:pt>
                <c:pt idx="841">
                  <c:v>39833</c:v>
                </c:pt>
                <c:pt idx="842">
                  <c:v>39834</c:v>
                </c:pt>
                <c:pt idx="843">
                  <c:v>39835</c:v>
                </c:pt>
                <c:pt idx="844">
                  <c:v>39836</c:v>
                </c:pt>
                <c:pt idx="845">
                  <c:v>39839</c:v>
                </c:pt>
                <c:pt idx="846">
                  <c:v>39840</c:v>
                </c:pt>
                <c:pt idx="847">
                  <c:v>39841</c:v>
                </c:pt>
                <c:pt idx="848">
                  <c:v>39842</c:v>
                </c:pt>
                <c:pt idx="849">
                  <c:v>39843</c:v>
                </c:pt>
                <c:pt idx="850">
                  <c:v>39846</c:v>
                </c:pt>
                <c:pt idx="851">
                  <c:v>39847</c:v>
                </c:pt>
                <c:pt idx="852">
                  <c:v>39848</c:v>
                </c:pt>
                <c:pt idx="853">
                  <c:v>39849</c:v>
                </c:pt>
                <c:pt idx="854">
                  <c:v>39850</c:v>
                </c:pt>
                <c:pt idx="855">
                  <c:v>39853</c:v>
                </c:pt>
                <c:pt idx="856">
                  <c:v>39854</c:v>
                </c:pt>
                <c:pt idx="857">
                  <c:v>39855</c:v>
                </c:pt>
                <c:pt idx="858">
                  <c:v>39856</c:v>
                </c:pt>
                <c:pt idx="859">
                  <c:v>39857</c:v>
                </c:pt>
                <c:pt idx="860">
                  <c:v>39861</c:v>
                </c:pt>
                <c:pt idx="861">
                  <c:v>39862</c:v>
                </c:pt>
                <c:pt idx="862">
                  <c:v>39863</c:v>
                </c:pt>
                <c:pt idx="863">
                  <c:v>39864</c:v>
                </c:pt>
                <c:pt idx="864">
                  <c:v>39867</c:v>
                </c:pt>
                <c:pt idx="865">
                  <c:v>39868</c:v>
                </c:pt>
                <c:pt idx="866">
                  <c:v>39869</c:v>
                </c:pt>
                <c:pt idx="867">
                  <c:v>39870</c:v>
                </c:pt>
                <c:pt idx="868">
                  <c:v>39871</c:v>
                </c:pt>
                <c:pt idx="869">
                  <c:v>39874</c:v>
                </c:pt>
                <c:pt idx="870">
                  <c:v>39875</c:v>
                </c:pt>
                <c:pt idx="871">
                  <c:v>39876</c:v>
                </c:pt>
                <c:pt idx="872">
                  <c:v>39877</c:v>
                </c:pt>
                <c:pt idx="873">
                  <c:v>39878</c:v>
                </c:pt>
                <c:pt idx="874">
                  <c:v>39881</c:v>
                </c:pt>
                <c:pt idx="875">
                  <c:v>39882</c:v>
                </c:pt>
                <c:pt idx="876">
                  <c:v>39883</c:v>
                </c:pt>
                <c:pt idx="877">
                  <c:v>39884</c:v>
                </c:pt>
                <c:pt idx="878">
                  <c:v>39885</c:v>
                </c:pt>
                <c:pt idx="879">
                  <c:v>39888</c:v>
                </c:pt>
                <c:pt idx="880">
                  <c:v>39889</c:v>
                </c:pt>
                <c:pt idx="881">
                  <c:v>39890</c:v>
                </c:pt>
                <c:pt idx="882">
                  <c:v>39891</c:v>
                </c:pt>
                <c:pt idx="883">
                  <c:v>39892</c:v>
                </c:pt>
                <c:pt idx="884">
                  <c:v>39895</c:v>
                </c:pt>
                <c:pt idx="885">
                  <c:v>39896</c:v>
                </c:pt>
                <c:pt idx="886">
                  <c:v>39897</c:v>
                </c:pt>
                <c:pt idx="887">
                  <c:v>39898</c:v>
                </c:pt>
                <c:pt idx="888">
                  <c:v>39899</c:v>
                </c:pt>
                <c:pt idx="889">
                  <c:v>39902</c:v>
                </c:pt>
                <c:pt idx="890">
                  <c:v>39903</c:v>
                </c:pt>
                <c:pt idx="891">
                  <c:v>39904</c:v>
                </c:pt>
                <c:pt idx="892">
                  <c:v>39905</c:v>
                </c:pt>
                <c:pt idx="893">
                  <c:v>39906</c:v>
                </c:pt>
                <c:pt idx="894">
                  <c:v>39909</c:v>
                </c:pt>
                <c:pt idx="895">
                  <c:v>39910</c:v>
                </c:pt>
                <c:pt idx="896">
                  <c:v>39911</c:v>
                </c:pt>
                <c:pt idx="897">
                  <c:v>39912</c:v>
                </c:pt>
                <c:pt idx="898">
                  <c:v>39916</c:v>
                </c:pt>
                <c:pt idx="899">
                  <c:v>39917</c:v>
                </c:pt>
                <c:pt idx="900">
                  <c:v>39918</c:v>
                </c:pt>
                <c:pt idx="901">
                  <c:v>39919</c:v>
                </c:pt>
                <c:pt idx="902">
                  <c:v>39920</c:v>
                </c:pt>
                <c:pt idx="903">
                  <c:v>39923</c:v>
                </c:pt>
                <c:pt idx="904">
                  <c:v>39924</c:v>
                </c:pt>
                <c:pt idx="905">
                  <c:v>39925</c:v>
                </c:pt>
                <c:pt idx="906">
                  <c:v>39926</c:v>
                </c:pt>
                <c:pt idx="907">
                  <c:v>39927</c:v>
                </c:pt>
                <c:pt idx="908">
                  <c:v>39930</c:v>
                </c:pt>
                <c:pt idx="909">
                  <c:v>39931</c:v>
                </c:pt>
                <c:pt idx="910">
                  <c:v>39932</c:v>
                </c:pt>
                <c:pt idx="911">
                  <c:v>39933</c:v>
                </c:pt>
                <c:pt idx="912">
                  <c:v>39934</c:v>
                </c:pt>
                <c:pt idx="913">
                  <c:v>39937</c:v>
                </c:pt>
                <c:pt idx="914">
                  <c:v>39938</c:v>
                </c:pt>
                <c:pt idx="915">
                  <c:v>39939</c:v>
                </c:pt>
                <c:pt idx="916">
                  <c:v>39940</c:v>
                </c:pt>
                <c:pt idx="917">
                  <c:v>39941</c:v>
                </c:pt>
                <c:pt idx="918">
                  <c:v>39944</c:v>
                </c:pt>
                <c:pt idx="919">
                  <c:v>39945</c:v>
                </c:pt>
                <c:pt idx="920">
                  <c:v>39946</c:v>
                </c:pt>
                <c:pt idx="921">
                  <c:v>39947</c:v>
                </c:pt>
                <c:pt idx="922">
                  <c:v>39948</c:v>
                </c:pt>
                <c:pt idx="923">
                  <c:v>39951</c:v>
                </c:pt>
                <c:pt idx="924">
                  <c:v>39952</c:v>
                </c:pt>
                <c:pt idx="925">
                  <c:v>39953</c:v>
                </c:pt>
                <c:pt idx="926">
                  <c:v>39954</c:v>
                </c:pt>
                <c:pt idx="927">
                  <c:v>39955</c:v>
                </c:pt>
                <c:pt idx="928">
                  <c:v>39959</c:v>
                </c:pt>
                <c:pt idx="929">
                  <c:v>39960</c:v>
                </c:pt>
                <c:pt idx="930">
                  <c:v>39961</c:v>
                </c:pt>
                <c:pt idx="931">
                  <c:v>39962</c:v>
                </c:pt>
                <c:pt idx="932">
                  <c:v>39965</c:v>
                </c:pt>
                <c:pt idx="933">
                  <c:v>39966</c:v>
                </c:pt>
                <c:pt idx="934">
                  <c:v>39967</c:v>
                </c:pt>
                <c:pt idx="935">
                  <c:v>39968</c:v>
                </c:pt>
                <c:pt idx="936">
                  <c:v>39969</c:v>
                </c:pt>
                <c:pt idx="937">
                  <c:v>39972</c:v>
                </c:pt>
                <c:pt idx="938">
                  <c:v>39973</c:v>
                </c:pt>
                <c:pt idx="939">
                  <c:v>39974</c:v>
                </c:pt>
                <c:pt idx="940">
                  <c:v>39975</c:v>
                </c:pt>
                <c:pt idx="941">
                  <c:v>39976</c:v>
                </c:pt>
                <c:pt idx="942">
                  <c:v>39979</c:v>
                </c:pt>
                <c:pt idx="943">
                  <c:v>39980</c:v>
                </c:pt>
                <c:pt idx="944">
                  <c:v>39981</c:v>
                </c:pt>
                <c:pt idx="945">
                  <c:v>39982</c:v>
                </c:pt>
                <c:pt idx="946">
                  <c:v>39983</c:v>
                </c:pt>
                <c:pt idx="947">
                  <c:v>39986</c:v>
                </c:pt>
                <c:pt idx="948">
                  <c:v>39987</c:v>
                </c:pt>
                <c:pt idx="949">
                  <c:v>39988</c:v>
                </c:pt>
                <c:pt idx="950">
                  <c:v>39989</c:v>
                </c:pt>
                <c:pt idx="951">
                  <c:v>39990</c:v>
                </c:pt>
                <c:pt idx="952">
                  <c:v>39993</c:v>
                </c:pt>
                <c:pt idx="953">
                  <c:v>39994</c:v>
                </c:pt>
                <c:pt idx="954">
                  <c:v>39995</c:v>
                </c:pt>
                <c:pt idx="955">
                  <c:v>39996</c:v>
                </c:pt>
                <c:pt idx="956">
                  <c:v>40000</c:v>
                </c:pt>
                <c:pt idx="957">
                  <c:v>40001</c:v>
                </c:pt>
                <c:pt idx="958">
                  <c:v>40002</c:v>
                </c:pt>
                <c:pt idx="959">
                  <c:v>40003</c:v>
                </c:pt>
                <c:pt idx="960">
                  <c:v>40004</c:v>
                </c:pt>
                <c:pt idx="961">
                  <c:v>40007</c:v>
                </c:pt>
                <c:pt idx="962">
                  <c:v>40008</c:v>
                </c:pt>
                <c:pt idx="963">
                  <c:v>40009</c:v>
                </c:pt>
                <c:pt idx="964">
                  <c:v>40010</c:v>
                </c:pt>
                <c:pt idx="965">
                  <c:v>40011</c:v>
                </c:pt>
                <c:pt idx="966">
                  <c:v>40014</c:v>
                </c:pt>
                <c:pt idx="967">
                  <c:v>40015</c:v>
                </c:pt>
                <c:pt idx="968">
                  <c:v>40016</c:v>
                </c:pt>
                <c:pt idx="969">
                  <c:v>40017</c:v>
                </c:pt>
                <c:pt idx="970">
                  <c:v>40018</c:v>
                </c:pt>
                <c:pt idx="971">
                  <c:v>40021</c:v>
                </c:pt>
                <c:pt idx="972">
                  <c:v>40022</c:v>
                </c:pt>
                <c:pt idx="973">
                  <c:v>40023</c:v>
                </c:pt>
                <c:pt idx="974">
                  <c:v>40024</c:v>
                </c:pt>
                <c:pt idx="975">
                  <c:v>40025</c:v>
                </c:pt>
                <c:pt idx="976">
                  <c:v>40028</c:v>
                </c:pt>
                <c:pt idx="977">
                  <c:v>40029</c:v>
                </c:pt>
                <c:pt idx="978">
                  <c:v>40030</c:v>
                </c:pt>
                <c:pt idx="979">
                  <c:v>40031</c:v>
                </c:pt>
                <c:pt idx="980">
                  <c:v>40032</c:v>
                </c:pt>
                <c:pt idx="981">
                  <c:v>40035</c:v>
                </c:pt>
                <c:pt idx="982">
                  <c:v>40036</c:v>
                </c:pt>
                <c:pt idx="983">
                  <c:v>40037</c:v>
                </c:pt>
                <c:pt idx="984">
                  <c:v>40038</c:v>
                </c:pt>
                <c:pt idx="985">
                  <c:v>40039</c:v>
                </c:pt>
                <c:pt idx="986">
                  <c:v>40042</c:v>
                </c:pt>
                <c:pt idx="987">
                  <c:v>40043</c:v>
                </c:pt>
                <c:pt idx="988">
                  <c:v>40044</c:v>
                </c:pt>
                <c:pt idx="989">
                  <c:v>40045</c:v>
                </c:pt>
                <c:pt idx="990">
                  <c:v>40046</c:v>
                </c:pt>
                <c:pt idx="991">
                  <c:v>40049</c:v>
                </c:pt>
                <c:pt idx="992">
                  <c:v>40050</c:v>
                </c:pt>
                <c:pt idx="993">
                  <c:v>40051</c:v>
                </c:pt>
                <c:pt idx="994">
                  <c:v>40052</c:v>
                </c:pt>
                <c:pt idx="995">
                  <c:v>40053</c:v>
                </c:pt>
                <c:pt idx="996">
                  <c:v>40056</c:v>
                </c:pt>
                <c:pt idx="997">
                  <c:v>40057</c:v>
                </c:pt>
                <c:pt idx="998">
                  <c:v>40058</c:v>
                </c:pt>
                <c:pt idx="999">
                  <c:v>40059</c:v>
                </c:pt>
                <c:pt idx="1000">
                  <c:v>40060</c:v>
                </c:pt>
                <c:pt idx="1001">
                  <c:v>40064</c:v>
                </c:pt>
                <c:pt idx="1002">
                  <c:v>40065</c:v>
                </c:pt>
                <c:pt idx="1003">
                  <c:v>40066</c:v>
                </c:pt>
                <c:pt idx="1004">
                  <c:v>40067</c:v>
                </c:pt>
                <c:pt idx="1005">
                  <c:v>40070</c:v>
                </c:pt>
                <c:pt idx="1006">
                  <c:v>40071</c:v>
                </c:pt>
                <c:pt idx="1007">
                  <c:v>40072</c:v>
                </c:pt>
                <c:pt idx="1008">
                  <c:v>40073</c:v>
                </c:pt>
                <c:pt idx="1009">
                  <c:v>40074</c:v>
                </c:pt>
                <c:pt idx="1010">
                  <c:v>40077</c:v>
                </c:pt>
                <c:pt idx="1011">
                  <c:v>40078</c:v>
                </c:pt>
                <c:pt idx="1012">
                  <c:v>40079</c:v>
                </c:pt>
                <c:pt idx="1013">
                  <c:v>40080</c:v>
                </c:pt>
                <c:pt idx="1014">
                  <c:v>40081</c:v>
                </c:pt>
                <c:pt idx="1015">
                  <c:v>40084</c:v>
                </c:pt>
                <c:pt idx="1016">
                  <c:v>40085</c:v>
                </c:pt>
                <c:pt idx="1017">
                  <c:v>40086</c:v>
                </c:pt>
                <c:pt idx="1018">
                  <c:v>40087</c:v>
                </c:pt>
                <c:pt idx="1019">
                  <c:v>40088</c:v>
                </c:pt>
                <c:pt idx="1020">
                  <c:v>40091</c:v>
                </c:pt>
                <c:pt idx="1021">
                  <c:v>40092</c:v>
                </c:pt>
                <c:pt idx="1022">
                  <c:v>40093</c:v>
                </c:pt>
                <c:pt idx="1023">
                  <c:v>40094</c:v>
                </c:pt>
                <c:pt idx="1024">
                  <c:v>40095</c:v>
                </c:pt>
                <c:pt idx="1025">
                  <c:v>40098</c:v>
                </c:pt>
                <c:pt idx="1026">
                  <c:v>40099</c:v>
                </c:pt>
                <c:pt idx="1027">
                  <c:v>40100</c:v>
                </c:pt>
                <c:pt idx="1028">
                  <c:v>40101</c:v>
                </c:pt>
                <c:pt idx="1029">
                  <c:v>40102</c:v>
                </c:pt>
                <c:pt idx="1030">
                  <c:v>40105</c:v>
                </c:pt>
                <c:pt idx="1031">
                  <c:v>40106</c:v>
                </c:pt>
                <c:pt idx="1032">
                  <c:v>40107</c:v>
                </c:pt>
                <c:pt idx="1033">
                  <c:v>40108</c:v>
                </c:pt>
                <c:pt idx="1034">
                  <c:v>40109</c:v>
                </c:pt>
                <c:pt idx="1035">
                  <c:v>40112</c:v>
                </c:pt>
                <c:pt idx="1036">
                  <c:v>40113</c:v>
                </c:pt>
                <c:pt idx="1037">
                  <c:v>40114</c:v>
                </c:pt>
                <c:pt idx="1038">
                  <c:v>40115</c:v>
                </c:pt>
                <c:pt idx="1039">
                  <c:v>40116</c:v>
                </c:pt>
                <c:pt idx="1040">
                  <c:v>40119</c:v>
                </c:pt>
                <c:pt idx="1041">
                  <c:v>40120</c:v>
                </c:pt>
                <c:pt idx="1042">
                  <c:v>40121</c:v>
                </c:pt>
                <c:pt idx="1043">
                  <c:v>40122</c:v>
                </c:pt>
                <c:pt idx="1044">
                  <c:v>40123</c:v>
                </c:pt>
                <c:pt idx="1045">
                  <c:v>40126</c:v>
                </c:pt>
                <c:pt idx="1046">
                  <c:v>40127</c:v>
                </c:pt>
                <c:pt idx="1047">
                  <c:v>40128</c:v>
                </c:pt>
                <c:pt idx="1048">
                  <c:v>40129</c:v>
                </c:pt>
                <c:pt idx="1049">
                  <c:v>40130</c:v>
                </c:pt>
                <c:pt idx="1050">
                  <c:v>40133</c:v>
                </c:pt>
                <c:pt idx="1051">
                  <c:v>40134</c:v>
                </c:pt>
                <c:pt idx="1052">
                  <c:v>40135</c:v>
                </c:pt>
                <c:pt idx="1053">
                  <c:v>40136</c:v>
                </c:pt>
                <c:pt idx="1054">
                  <c:v>40137</c:v>
                </c:pt>
                <c:pt idx="1055">
                  <c:v>40140</c:v>
                </c:pt>
                <c:pt idx="1056">
                  <c:v>40141</c:v>
                </c:pt>
                <c:pt idx="1057">
                  <c:v>40142</c:v>
                </c:pt>
                <c:pt idx="1058">
                  <c:v>40144</c:v>
                </c:pt>
                <c:pt idx="1059">
                  <c:v>40147</c:v>
                </c:pt>
                <c:pt idx="1060">
                  <c:v>40148</c:v>
                </c:pt>
                <c:pt idx="1061">
                  <c:v>40149</c:v>
                </c:pt>
                <c:pt idx="1062">
                  <c:v>40150</c:v>
                </c:pt>
                <c:pt idx="1063">
                  <c:v>40151</c:v>
                </c:pt>
                <c:pt idx="1064">
                  <c:v>40154</c:v>
                </c:pt>
                <c:pt idx="1065">
                  <c:v>40155</c:v>
                </c:pt>
                <c:pt idx="1066">
                  <c:v>40156</c:v>
                </c:pt>
                <c:pt idx="1067">
                  <c:v>40157</c:v>
                </c:pt>
                <c:pt idx="1068">
                  <c:v>40158</c:v>
                </c:pt>
                <c:pt idx="1069">
                  <c:v>40161</c:v>
                </c:pt>
                <c:pt idx="1070">
                  <c:v>40162</c:v>
                </c:pt>
                <c:pt idx="1071">
                  <c:v>40163</c:v>
                </c:pt>
                <c:pt idx="1072">
                  <c:v>40164</c:v>
                </c:pt>
                <c:pt idx="1073">
                  <c:v>40165</c:v>
                </c:pt>
                <c:pt idx="1074">
                  <c:v>40168</c:v>
                </c:pt>
                <c:pt idx="1075">
                  <c:v>40169</c:v>
                </c:pt>
                <c:pt idx="1076">
                  <c:v>40170</c:v>
                </c:pt>
                <c:pt idx="1077">
                  <c:v>40171</c:v>
                </c:pt>
                <c:pt idx="1078">
                  <c:v>40175</c:v>
                </c:pt>
                <c:pt idx="1079">
                  <c:v>40176</c:v>
                </c:pt>
                <c:pt idx="1080">
                  <c:v>40177</c:v>
                </c:pt>
                <c:pt idx="1081">
                  <c:v>40178</c:v>
                </c:pt>
                <c:pt idx="1082">
                  <c:v>40182</c:v>
                </c:pt>
                <c:pt idx="1083">
                  <c:v>40183</c:v>
                </c:pt>
                <c:pt idx="1084">
                  <c:v>40184</c:v>
                </c:pt>
                <c:pt idx="1085">
                  <c:v>40185</c:v>
                </c:pt>
                <c:pt idx="1086">
                  <c:v>40186</c:v>
                </c:pt>
                <c:pt idx="1087">
                  <c:v>40189</c:v>
                </c:pt>
                <c:pt idx="1088">
                  <c:v>40190</c:v>
                </c:pt>
                <c:pt idx="1089">
                  <c:v>40191</c:v>
                </c:pt>
                <c:pt idx="1090">
                  <c:v>40192</c:v>
                </c:pt>
                <c:pt idx="1091">
                  <c:v>40193</c:v>
                </c:pt>
                <c:pt idx="1092">
                  <c:v>40197</c:v>
                </c:pt>
                <c:pt idx="1093">
                  <c:v>40198</c:v>
                </c:pt>
                <c:pt idx="1094">
                  <c:v>40199</c:v>
                </c:pt>
                <c:pt idx="1095">
                  <c:v>40200</c:v>
                </c:pt>
                <c:pt idx="1096">
                  <c:v>40203</c:v>
                </c:pt>
                <c:pt idx="1097">
                  <c:v>40204</c:v>
                </c:pt>
                <c:pt idx="1098">
                  <c:v>40205</c:v>
                </c:pt>
                <c:pt idx="1099">
                  <c:v>40206</c:v>
                </c:pt>
                <c:pt idx="1100">
                  <c:v>40207</c:v>
                </c:pt>
                <c:pt idx="1101">
                  <c:v>40210</c:v>
                </c:pt>
                <c:pt idx="1102">
                  <c:v>40211</c:v>
                </c:pt>
                <c:pt idx="1103">
                  <c:v>40212</c:v>
                </c:pt>
                <c:pt idx="1104">
                  <c:v>40213</c:v>
                </c:pt>
                <c:pt idx="1105">
                  <c:v>40214</c:v>
                </c:pt>
                <c:pt idx="1106">
                  <c:v>40217</c:v>
                </c:pt>
                <c:pt idx="1107">
                  <c:v>40218</c:v>
                </c:pt>
                <c:pt idx="1108">
                  <c:v>40219</c:v>
                </c:pt>
                <c:pt idx="1109">
                  <c:v>40220</c:v>
                </c:pt>
                <c:pt idx="1110">
                  <c:v>40221</c:v>
                </c:pt>
                <c:pt idx="1111">
                  <c:v>40225</c:v>
                </c:pt>
                <c:pt idx="1112">
                  <c:v>40226</c:v>
                </c:pt>
                <c:pt idx="1113">
                  <c:v>40227</c:v>
                </c:pt>
                <c:pt idx="1114">
                  <c:v>40228</c:v>
                </c:pt>
                <c:pt idx="1115">
                  <c:v>40231</c:v>
                </c:pt>
                <c:pt idx="1116">
                  <c:v>40232</c:v>
                </c:pt>
                <c:pt idx="1117">
                  <c:v>40233</c:v>
                </c:pt>
                <c:pt idx="1118">
                  <c:v>40234</c:v>
                </c:pt>
                <c:pt idx="1119">
                  <c:v>40235</c:v>
                </c:pt>
                <c:pt idx="1120">
                  <c:v>40238</c:v>
                </c:pt>
                <c:pt idx="1121">
                  <c:v>40239</c:v>
                </c:pt>
                <c:pt idx="1122">
                  <c:v>40240</c:v>
                </c:pt>
                <c:pt idx="1123">
                  <c:v>40241</c:v>
                </c:pt>
                <c:pt idx="1124">
                  <c:v>40242</c:v>
                </c:pt>
                <c:pt idx="1125">
                  <c:v>40245</c:v>
                </c:pt>
                <c:pt idx="1126">
                  <c:v>40246</c:v>
                </c:pt>
                <c:pt idx="1127">
                  <c:v>40247</c:v>
                </c:pt>
                <c:pt idx="1128">
                  <c:v>40248</c:v>
                </c:pt>
                <c:pt idx="1129">
                  <c:v>40249</c:v>
                </c:pt>
                <c:pt idx="1130">
                  <c:v>40252</c:v>
                </c:pt>
                <c:pt idx="1131">
                  <c:v>40253</c:v>
                </c:pt>
                <c:pt idx="1132">
                  <c:v>40254</c:v>
                </c:pt>
                <c:pt idx="1133">
                  <c:v>40255</c:v>
                </c:pt>
                <c:pt idx="1134">
                  <c:v>40256</c:v>
                </c:pt>
                <c:pt idx="1135">
                  <c:v>40259</c:v>
                </c:pt>
                <c:pt idx="1136">
                  <c:v>40260</c:v>
                </c:pt>
                <c:pt idx="1137">
                  <c:v>40261</c:v>
                </c:pt>
                <c:pt idx="1138">
                  <c:v>40262</c:v>
                </c:pt>
                <c:pt idx="1139">
                  <c:v>40263</c:v>
                </c:pt>
                <c:pt idx="1140">
                  <c:v>40266</c:v>
                </c:pt>
                <c:pt idx="1141">
                  <c:v>40267</c:v>
                </c:pt>
                <c:pt idx="1142">
                  <c:v>40268</c:v>
                </c:pt>
                <c:pt idx="1143">
                  <c:v>40269</c:v>
                </c:pt>
                <c:pt idx="1144">
                  <c:v>40273</c:v>
                </c:pt>
                <c:pt idx="1145">
                  <c:v>40274</c:v>
                </c:pt>
                <c:pt idx="1146">
                  <c:v>40275</c:v>
                </c:pt>
                <c:pt idx="1147">
                  <c:v>40276</c:v>
                </c:pt>
                <c:pt idx="1148">
                  <c:v>40277</c:v>
                </c:pt>
                <c:pt idx="1149">
                  <c:v>40280</c:v>
                </c:pt>
                <c:pt idx="1150">
                  <c:v>40281</c:v>
                </c:pt>
                <c:pt idx="1151">
                  <c:v>40282</c:v>
                </c:pt>
                <c:pt idx="1152">
                  <c:v>40283</c:v>
                </c:pt>
                <c:pt idx="1153">
                  <c:v>40284</c:v>
                </c:pt>
                <c:pt idx="1154">
                  <c:v>40287</c:v>
                </c:pt>
                <c:pt idx="1155">
                  <c:v>40288</c:v>
                </c:pt>
                <c:pt idx="1156">
                  <c:v>40289</c:v>
                </c:pt>
                <c:pt idx="1157">
                  <c:v>40290</c:v>
                </c:pt>
                <c:pt idx="1158">
                  <c:v>40291</c:v>
                </c:pt>
                <c:pt idx="1159">
                  <c:v>40294</c:v>
                </c:pt>
                <c:pt idx="1160">
                  <c:v>40295</c:v>
                </c:pt>
                <c:pt idx="1161">
                  <c:v>40296</c:v>
                </c:pt>
                <c:pt idx="1162">
                  <c:v>40297</c:v>
                </c:pt>
                <c:pt idx="1163">
                  <c:v>40298</c:v>
                </c:pt>
                <c:pt idx="1164">
                  <c:v>40301</c:v>
                </c:pt>
                <c:pt idx="1165">
                  <c:v>40302</c:v>
                </c:pt>
                <c:pt idx="1166">
                  <c:v>40303</c:v>
                </c:pt>
                <c:pt idx="1167">
                  <c:v>40304</c:v>
                </c:pt>
                <c:pt idx="1168">
                  <c:v>40305</c:v>
                </c:pt>
                <c:pt idx="1169">
                  <c:v>40308</c:v>
                </c:pt>
                <c:pt idx="1170">
                  <c:v>40309</c:v>
                </c:pt>
                <c:pt idx="1171">
                  <c:v>40310</c:v>
                </c:pt>
                <c:pt idx="1172">
                  <c:v>40311</c:v>
                </c:pt>
                <c:pt idx="1173">
                  <c:v>40312</c:v>
                </c:pt>
                <c:pt idx="1174">
                  <c:v>40315</c:v>
                </c:pt>
                <c:pt idx="1175">
                  <c:v>40316</c:v>
                </c:pt>
                <c:pt idx="1176">
                  <c:v>40317</c:v>
                </c:pt>
                <c:pt idx="1177">
                  <c:v>40318</c:v>
                </c:pt>
                <c:pt idx="1178">
                  <c:v>40319</c:v>
                </c:pt>
                <c:pt idx="1179">
                  <c:v>40322</c:v>
                </c:pt>
                <c:pt idx="1180">
                  <c:v>40323</c:v>
                </c:pt>
                <c:pt idx="1181">
                  <c:v>40324</c:v>
                </c:pt>
                <c:pt idx="1182">
                  <c:v>40325</c:v>
                </c:pt>
                <c:pt idx="1183">
                  <c:v>40326</c:v>
                </c:pt>
                <c:pt idx="1184">
                  <c:v>40330</c:v>
                </c:pt>
                <c:pt idx="1185">
                  <c:v>40331</c:v>
                </c:pt>
                <c:pt idx="1186">
                  <c:v>40332</c:v>
                </c:pt>
                <c:pt idx="1187">
                  <c:v>40333</c:v>
                </c:pt>
                <c:pt idx="1188">
                  <c:v>40336</c:v>
                </c:pt>
                <c:pt idx="1189">
                  <c:v>40337</c:v>
                </c:pt>
                <c:pt idx="1190">
                  <c:v>40338</c:v>
                </c:pt>
                <c:pt idx="1191">
                  <c:v>40339</c:v>
                </c:pt>
                <c:pt idx="1192">
                  <c:v>40340</c:v>
                </c:pt>
                <c:pt idx="1193">
                  <c:v>40343</c:v>
                </c:pt>
                <c:pt idx="1194">
                  <c:v>40344</c:v>
                </c:pt>
                <c:pt idx="1195">
                  <c:v>40345</c:v>
                </c:pt>
                <c:pt idx="1196">
                  <c:v>40346</c:v>
                </c:pt>
                <c:pt idx="1197">
                  <c:v>40347</c:v>
                </c:pt>
                <c:pt idx="1198">
                  <c:v>40350</c:v>
                </c:pt>
                <c:pt idx="1199">
                  <c:v>40351</c:v>
                </c:pt>
                <c:pt idx="1200">
                  <c:v>40352</c:v>
                </c:pt>
                <c:pt idx="1201">
                  <c:v>40353</c:v>
                </c:pt>
                <c:pt idx="1202">
                  <c:v>40354</c:v>
                </c:pt>
                <c:pt idx="1203">
                  <c:v>40357</c:v>
                </c:pt>
                <c:pt idx="1204">
                  <c:v>40358</c:v>
                </c:pt>
                <c:pt idx="1205">
                  <c:v>40359</c:v>
                </c:pt>
                <c:pt idx="1206">
                  <c:v>40360</c:v>
                </c:pt>
                <c:pt idx="1207">
                  <c:v>40361</c:v>
                </c:pt>
                <c:pt idx="1208">
                  <c:v>40365</c:v>
                </c:pt>
                <c:pt idx="1209">
                  <c:v>40366</c:v>
                </c:pt>
                <c:pt idx="1210">
                  <c:v>40367</c:v>
                </c:pt>
                <c:pt idx="1211">
                  <c:v>40368</c:v>
                </c:pt>
                <c:pt idx="1212">
                  <c:v>40371</c:v>
                </c:pt>
                <c:pt idx="1213">
                  <c:v>40372</c:v>
                </c:pt>
                <c:pt idx="1214">
                  <c:v>40373</c:v>
                </c:pt>
                <c:pt idx="1215">
                  <c:v>40374</c:v>
                </c:pt>
                <c:pt idx="1216">
                  <c:v>40375</c:v>
                </c:pt>
                <c:pt idx="1217">
                  <c:v>40378</c:v>
                </c:pt>
                <c:pt idx="1218">
                  <c:v>40379</c:v>
                </c:pt>
                <c:pt idx="1219">
                  <c:v>40380</c:v>
                </c:pt>
                <c:pt idx="1220">
                  <c:v>40381</c:v>
                </c:pt>
                <c:pt idx="1221">
                  <c:v>40382</c:v>
                </c:pt>
                <c:pt idx="1222">
                  <c:v>40385</c:v>
                </c:pt>
                <c:pt idx="1223">
                  <c:v>40386</c:v>
                </c:pt>
                <c:pt idx="1224">
                  <c:v>40387</c:v>
                </c:pt>
                <c:pt idx="1225">
                  <c:v>40388</c:v>
                </c:pt>
                <c:pt idx="1226">
                  <c:v>40389</c:v>
                </c:pt>
                <c:pt idx="1227">
                  <c:v>40392</c:v>
                </c:pt>
                <c:pt idx="1228">
                  <c:v>40393</c:v>
                </c:pt>
                <c:pt idx="1229">
                  <c:v>40394</c:v>
                </c:pt>
                <c:pt idx="1230">
                  <c:v>40395</c:v>
                </c:pt>
                <c:pt idx="1231">
                  <c:v>40396</c:v>
                </c:pt>
                <c:pt idx="1232">
                  <c:v>40399</c:v>
                </c:pt>
                <c:pt idx="1233">
                  <c:v>40400</c:v>
                </c:pt>
                <c:pt idx="1234">
                  <c:v>40401</c:v>
                </c:pt>
                <c:pt idx="1235">
                  <c:v>40402</c:v>
                </c:pt>
                <c:pt idx="1236">
                  <c:v>40403</c:v>
                </c:pt>
                <c:pt idx="1237">
                  <c:v>40406</c:v>
                </c:pt>
                <c:pt idx="1238">
                  <c:v>40407</c:v>
                </c:pt>
                <c:pt idx="1239">
                  <c:v>40408</c:v>
                </c:pt>
                <c:pt idx="1240">
                  <c:v>40409</c:v>
                </c:pt>
                <c:pt idx="1241">
                  <c:v>40410</c:v>
                </c:pt>
                <c:pt idx="1242">
                  <c:v>40413</c:v>
                </c:pt>
                <c:pt idx="1243">
                  <c:v>40414</c:v>
                </c:pt>
                <c:pt idx="1244">
                  <c:v>40415</c:v>
                </c:pt>
                <c:pt idx="1245">
                  <c:v>40416</c:v>
                </c:pt>
                <c:pt idx="1246">
                  <c:v>40417</c:v>
                </c:pt>
                <c:pt idx="1247">
                  <c:v>40420</c:v>
                </c:pt>
                <c:pt idx="1248">
                  <c:v>40421</c:v>
                </c:pt>
                <c:pt idx="1249">
                  <c:v>40422</c:v>
                </c:pt>
                <c:pt idx="1250">
                  <c:v>40423</c:v>
                </c:pt>
                <c:pt idx="1251">
                  <c:v>40424</c:v>
                </c:pt>
                <c:pt idx="1252">
                  <c:v>40428</c:v>
                </c:pt>
                <c:pt idx="1253">
                  <c:v>40429</c:v>
                </c:pt>
                <c:pt idx="1254">
                  <c:v>40430</c:v>
                </c:pt>
                <c:pt idx="1255">
                  <c:v>40431</c:v>
                </c:pt>
                <c:pt idx="1256">
                  <c:v>40434</c:v>
                </c:pt>
                <c:pt idx="1257">
                  <c:v>40435</c:v>
                </c:pt>
                <c:pt idx="1258">
                  <c:v>40436</c:v>
                </c:pt>
                <c:pt idx="1259">
                  <c:v>40437</c:v>
                </c:pt>
                <c:pt idx="1260">
                  <c:v>40438</c:v>
                </c:pt>
                <c:pt idx="1261">
                  <c:v>40441</c:v>
                </c:pt>
                <c:pt idx="1262">
                  <c:v>40442</c:v>
                </c:pt>
                <c:pt idx="1263">
                  <c:v>40443</c:v>
                </c:pt>
                <c:pt idx="1264">
                  <c:v>40444</c:v>
                </c:pt>
                <c:pt idx="1265">
                  <c:v>40445</c:v>
                </c:pt>
                <c:pt idx="1266">
                  <c:v>40448</c:v>
                </c:pt>
                <c:pt idx="1267">
                  <c:v>40449</c:v>
                </c:pt>
                <c:pt idx="1268">
                  <c:v>40450</c:v>
                </c:pt>
                <c:pt idx="1269">
                  <c:v>40451</c:v>
                </c:pt>
                <c:pt idx="1270">
                  <c:v>40452</c:v>
                </c:pt>
                <c:pt idx="1271">
                  <c:v>40455</c:v>
                </c:pt>
                <c:pt idx="1272">
                  <c:v>40456</c:v>
                </c:pt>
                <c:pt idx="1273">
                  <c:v>40457</c:v>
                </c:pt>
                <c:pt idx="1274">
                  <c:v>40458</c:v>
                </c:pt>
                <c:pt idx="1275">
                  <c:v>40459</c:v>
                </c:pt>
                <c:pt idx="1276">
                  <c:v>40462</c:v>
                </c:pt>
                <c:pt idx="1277">
                  <c:v>40463</c:v>
                </c:pt>
                <c:pt idx="1278">
                  <c:v>40464</c:v>
                </c:pt>
                <c:pt idx="1279">
                  <c:v>40465</c:v>
                </c:pt>
                <c:pt idx="1280">
                  <c:v>40466</c:v>
                </c:pt>
                <c:pt idx="1281">
                  <c:v>40469</c:v>
                </c:pt>
                <c:pt idx="1282">
                  <c:v>40470</c:v>
                </c:pt>
                <c:pt idx="1283">
                  <c:v>40471</c:v>
                </c:pt>
                <c:pt idx="1284">
                  <c:v>40472</c:v>
                </c:pt>
                <c:pt idx="1285">
                  <c:v>40473</c:v>
                </c:pt>
                <c:pt idx="1286">
                  <c:v>40476</c:v>
                </c:pt>
                <c:pt idx="1287">
                  <c:v>40477</c:v>
                </c:pt>
                <c:pt idx="1288">
                  <c:v>40478</c:v>
                </c:pt>
                <c:pt idx="1289">
                  <c:v>40479</c:v>
                </c:pt>
                <c:pt idx="1290">
                  <c:v>40480</c:v>
                </c:pt>
                <c:pt idx="1291">
                  <c:v>40483</c:v>
                </c:pt>
                <c:pt idx="1292">
                  <c:v>40484</c:v>
                </c:pt>
                <c:pt idx="1293">
                  <c:v>40485</c:v>
                </c:pt>
                <c:pt idx="1294">
                  <c:v>40486</c:v>
                </c:pt>
                <c:pt idx="1295">
                  <c:v>40487</c:v>
                </c:pt>
                <c:pt idx="1296">
                  <c:v>40490</c:v>
                </c:pt>
                <c:pt idx="1297">
                  <c:v>40491</c:v>
                </c:pt>
                <c:pt idx="1298">
                  <c:v>40492</c:v>
                </c:pt>
                <c:pt idx="1299">
                  <c:v>40493</c:v>
                </c:pt>
                <c:pt idx="1300">
                  <c:v>40494</c:v>
                </c:pt>
                <c:pt idx="1301">
                  <c:v>40497</c:v>
                </c:pt>
                <c:pt idx="1302">
                  <c:v>40498</c:v>
                </c:pt>
                <c:pt idx="1303">
                  <c:v>40499</c:v>
                </c:pt>
                <c:pt idx="1304">
                  <c:v>40500</c:v>
                </c:pt>
                <c:pt idx="1305">
                  <c:v>40501</c:v>
                </c:pt>
                <c:pt idx="1306">
                  <c:v>40504</c:v>
                </c:pt>
                <c:pt idx="1307">
                  <c:v>40505</c:v>
                </c:pt>
                <c:pt idx="1308">
                  <c:v>40506</c:v>
                </c:pt>
                <c:pt idx="1309">
                  <c:v>40508</c:v>
                </c:pt>
                <c:pt idx="1310">
                  <c:v>40511</c:v>
                </c:pt>
                <c:pt idx="1311">
                  <c:v>40512</c:v>
                </c:pt>
                <c:pt idx="1312">
                  <c:v>40513</c:v>
                </c:pt>
                <c:pt idx="1313">
                  <c:v>40514</c:v>
                </c:pt>
                <c:pt idx="1314">
                  <c:v>40515</c:v>
                </c:pt>
                <c:pt idx="1315">
                  <c:v>40518</c:v>
                </c:pt>
                <c:pt idx="1316">
                  <c:v>40519</c:v>
                </c:pt>
                <c:pt idx="1317">
                  <c:v>40520</c:v>
                </c:pt>
                <c:pt idx="1318">
                  <c:v>40521</c:v>
                </c:pt>
                <c:pt idx="1319">
                  <c:v>40522</c:v>
                </c:pt>
                <c:pt idx="1320">
                  <c:v>40525</c:v>
                </c:pt>
                <c:pt idx="1321">
                  <c:v>40526</c:v>
                </c:pt>
                <c:pt idx="1322">
                  <c:v>40527</c:v>
                </c:pt>
                <c:pt idx="1323">
                  <c:v>40528</c:v>
                </c:pt>
                <c:pt idx="1324">
                  <c:v>40529</c:v>
                </c:pt>
                <c:pt idx="1325">
                  <c:v>40532</c:v>
                </c:pt>
                <c:pt idx="1326">
                  <c:v>40533</c:v>
                </c:pt>
                <c:pt idx="1327">
                  <c:v>40534</c:v>
                </c:pt>
                <c:pt idx="1328">
                  <c:v>40535</c:v>
                </c:pt>
                <c:pt idx="1329">
                  <c:v>40539</c:v>
                </c:pt>
                <c:pt idx="1330">
                  <c:v>40540</c:v>
                </c:pt>
                <c:pt idx="1331">
                  <c:v>40541</c:v>
                </c:pt>
                <c:pt idx="1332">
                  <c:v>40542</c:v>
                </c:pt>
                <c:pt idx="1333">
                  <c:v>40543</c:v>
                </c:pt>
                <c:pt idx="1334">
                  <c:v>40546</c:v>
                </c:pt>
                <c:pt idx="1335">
                  <c:v>40547</c:v>
                </c:pt>
                <c:pt idx="1336">
                  <c:v>40548</c:v>
                </c:pt>
                <c:pt idx="1337">
                  <c:v>40549</c:v>
                </c:pt>
                <c:pt idx="1338">
                  <c:v>40550</c:v>
                </c:pt>
                <c:pt idx="1339">
                  <c:v>40553</c:v>
                </c:pt>
                <c:pt idx="1340">
                  <c:v>40554</c:v>
                </c:pt>
                <c:pt idx="1341">
                  <c:v>40555</c:v>
                </c:pt>
                <c:pt idx="1342">
                  <c:v>40556</c:v>
                </c:pt>
                <c:pt idx="1343">
                  <c:v>40557</c:v>
                </c:pt>
                <c:pt idx="1344">
                  <c:v>40561</c:v>
                </c:pt>
                <c:pt idx="1345">
                  <c:v>40562</c:v>
                </c:pt>
                <c:pt idx="1346">
                  <c:v>40563</c:v>
                </c:pt>
                <c:pt idx="1347">
                  <c:v>40564</c:v>
                </c:pt>
                <c:pt idx="1348">
                  <c:v>40567</c:v>
                </c:pt>
                <c:pt idx="1349">
                  <c:v>40568</c:v>
                </c:pt>
                <c:pt idx="1350">
                  <c:v>40569</c:v>
                </c:pt>
                <c:pt idx="1351">
                  <c:v>40570</c:v>
                </c:pt>
                <c:pt idx="1352">
                  <c:v>40571</c:v>
                </c:pt>
                <c:pt idx="1353">
                  <c:v>40574</c:v>
                </c:pt>
                <c:pt idx="1354">
                  <c:v>40575</c:v>
                </c:pt>
                <c:pt idx="1355">
                  <c:v>40576</c:v>
                </c:pt>
                <c:pt idx="1356">
                  <c:v>40577</c:v>
                </c:pt>
                <c:pt idx="1357">
                  <c:v>40578</c:v>
                </c:pt>
                <c:pt idx="1358">
                  <c:v>40581</c:v>
                </c:pt>
                <c:pt idx="1359">
                  <c:v>40582</c:v>
                </c:pt>
                <c:pt idx="1360">
                  <c:v>40583</c:v>
                </c:pt>
                <c:pt idx="1361">
                  <c:v>40584</c:v>
                </c:pt>
                <c:pt idx="1362">
                  <c:v>40585</c:v>
                </c:pt>
                <c:pt idx="1363">
                  <c:v>40588</c:v>
                </c:pt>
                <c:pt idx="1364">
                  <c:v>40589</c:v>
                </c:pt>
                <c:pt idx="1365">
                  <c:v>40590</c:v>
                </c:pt>
                <c:pt idx="1366">
                  <c:v>40591</c:v>
                </c:pt>
                <c:pt idx="1367">
                  <c:v>40592</c:v>
                </c:pt>
                <c:pt idx="1368">
                  <c:v>40596</c:v>
                </c:pt>
                <c:pt idx="1369">
                  <c:v>40597</c:v>
                </c:pt>
                <c:pt idx="1370">
                  <c:v>40598</c:v>
                </c:pt>
                <c:pt idx="1371">
                  <c:v>40599</c:v>
                </c:pt>
                <c:pt idx="1372">
                  <c:v>40602</c:v>
                </c:pt>
                <c:pt idx="1373">
                  <c:v>40603</c:v>
                </c:pt>
                <c:pt idx="1374">
                  <c:v>40604</c:v>
                </c:pt>
                <c:pt idx="1375">
                  <c:v>40605</c:v>
                </c:pt>
                <c:pt idx="1376">
                  <c:v>40606</c:v>
                </c:pt>
                <c:pt idx="1377">
                  <c:v>40609</c:v>
                </c:pt>
                <c:pt idx="1378">
                  <c:v>40610</c:v>
                </c:pt>
                <c:pt idx="1379">
                  <c:v>40611</c:v>
                </c:pt>
                <c:pt idx="1380">
                  <c:v>40612</c:v>
                </c:pt>
                <c:pt idx="1381">
                  <c:v>40613</c:v>
                </c:pt>
                <c:pt idx="1382">
                  <c:v>40616</c:v>
                </c:pt>
                <c:pt idx="1383">
                  <c:v>40617</c:v>
                </c:pt>
                <c:pt idx="1384">
                  <c:v>40618</c:v>
                </c:pt>
                <c:pt idx="1385">
                  <c:v>40619</c:v>
                </c:pt>
                <c:pt idx="1386">
                  <c:v>40620</c:v>
                </c:pt>
                <c:pt idx="1387">
                  <c:v>40623</c:v>
                </c:pt>
                <c:pt idx="1388">
                  <c:v>40624</c:v>
                </c:pt>
                <c:pt idx="1389">
                  <c:v>40625</c:v>
                </c:pt>
                <c:pt idx="1390">
                  <c:v>40626</c:v>
                </c:pt>
                <c:pt idx="1391">
                  <c:v>40627</c:v>
                </c:pt>
                <c:pt idx="1392">
                  <c:v>40630</c:v>
                </c:pt>
                <c:pt idx="1393">
                  <c:v>40631</c:v>
                </c:pt>
                <c:pt idx="1394">
                  <c:v>40632</c:v>
                </c:pt>
                <c:pt idx="1395">
                  <c:v>40633</c:v>
                </c:pt>
                <c:pt idx="1396">
                  <c:v>40634</c:v>
                </c:pt>
                <c:pt idx="1397">
                  <c:v>40637</c:v>
                </c:pt>
                <c:pt idx="1398">
                  <c:v>40638</c:v>
                </c:pt>
                <c:pt idx="1399">
                  <c:v>40639</c:v>
                </c:pt>
                <c:pt idx="1400">
                  <c:v>40640</c:v>
                </c:pt>
                <c:pt idx="1401">
                  <c:v>40641</c:v>
                </c:pt>
                <c:pt idx="1402">
                  <c:v>40644</c:v>
                </c:pt>
                <c:pt idx="1403">
                  <c:v>40645</c:v>
                </c:pt>
                <c:pt idx="1404">
                  <c:v>40646</c:v>
                </c:pt>
                <c:pt idx="1405">
                  <c:v>40647</c:v>
                </c:pt>
                <c:pt idx="1406">
                  <c:v>40648</c:v>
                </c:pt>
                <c:pt idx="1407">
                  <c:v>40651</c:v>
                </c:pt>
                <c:pt idx="1408">
                  <c:v>40652</c:v>
                </c:pt>
                <c:pt idx="1409">
                  <c:v>40653</c:v>
                </c:pt>
                <c:pt idx="1410">
                  <c:v>40654</c:v>
                </c:pt>
                <c:pt idx="1411">
                  <c:v>40658</c:v>
                </c:pt>
                <c:pt idx="1412">
                  <c:v>40659</c:v>
                </c:pt>
                <c:pt idx="1413">
                  <c:v>40660</c:v>
                </c:pt>
                <c:pt idx="1414">
                  <c:v>40661</c:v>
                </c:pt>
                <c:pt idx="1415">
                  <c:v>40662</c:v>
                </c:pt>
                <c:pt idx="1416">
                  <c:v>40665</c:v>
                </c:pt>
                <c:pt idx="1417">
                  <c:v>40666</c:v>
                </c:pt>
                <c:pt idx="1418">
                  <c:v>40667</c:v>
                </c:pt>
                <c:pt idx="1419">
                  <c:v>40668</c:v>
                </c:pt>
                <c:pt idx="1420">
                  <c:v>40669</c:v>
                </c:pt>
                <c:pt idx="1421">
                  <c:v>40672</c:v>
                </c:pt>
                <c:pt idx="1422">
                  <c:v>40673</c:v>
                </c:pt>
                <c:pt idx="1423">
                  <c:v>40674</c:v>
                </c:pt>
                <c:pt idx="1424">
                  <c:v>40675</c:v>
                </c:pt>
                <c:pt idx="1425">
                  <c:v>40676</c:v>
                </c:pt>
                <c:pt idx="1426">
                  <c:v>40679</c:v>
                </c:pt>
                <c:pt idx="1427">
                  <c:v>40680</c:v>
                </c:pt>
                <c:pt idx="1428">
                  <c:v>40681</c:v>
                </c:pt>
                <c:pt idx="1429">
                  <c:v>40682</c:v>
                </c:pt>
                <c:pt idx="1430">
                  <c:v>40683</c:v>
                </c:pt>
                <c:pt idx="1431">
                  <c:v>40686</c:v>
                </c:pt>
                <c:pt idx="1432">
                  <c:v>40687</c:v>
                </c:pt>
                <c:pt idx="1433">
                  <c:v>40688</c:v>
                </c:pt>
                <c:pt idx="1434">
                  <c:v>40689</c:v>
                </c:pt>
                <c:pt idx="1435">
                  <c:v>40690</c:v>
                </c:pt>
                <c:pt idx="1436">
                  <c:v>40694</c:v>
                </c:pt>
                <c:pt idx="1437">
                  <c:v>40695</c:v>
                </c:pt>
                <c:pt idx="1438">
                  <c:v>40696</c:v>
                </c:pt>
                <c:pt idx="1439">
                  <c:v>40697</c:v>
                </c:pt>
                <c:pt idx="1440">
                  <c:v>40700</c:v>
                </c:pt>
                <c:pt idx="1441">
                  <c:v>40701</c:v>
                </c:pt>
                <c:pt idx="1442">
                  <c:v>40702</c:v>
                </c:pt>
                <c:pt idx="1443">
                  <c:v>40703</c:v>
                </c:pt>
                <c:pt idx="1444">
                  <c:v>40704</c:v>
                </c:pt>
                <c:pt idx="1445">
                  <c:v>40707</c:v>
                </c:pt>
                <c:pt idx="1446">
                  <c:v>40708</c:v>
                </c:pt>
                <c:pt idx="1447">
                  <c:v>40709</c:v>
                </c:pt>
                <c:pt idx="1448">
                  <c:v>40710</c:v>
                </c:pt>
                <c:pt idx="1449">
                  <c:v>40711</c:v>
                </c:pt>
                <c:pt idx="1450">
                  <c:v>40714</c:v>
                </c:pt>
                <c:pt idx="1451">
                  <c:v>40715</c:v>
                </c:pt>
                <c:pt idx="1452">
                  <c:v>40716</c:v>
                </c:pt>
                <c:pt idx="1453">
                  <c:v>40717</c:v>
                </c:pt>
                <c:pt idx="1454">
                  <c:v>40718</c:v>
                </c:pt>
                <c:pt idx="1455">
                  <c:v>40721</c:v>
                </c:pt>
                <c:pt idx="1456">
                  <c:v>40722</c:v>
                </c:pt>
                <c:pt idx="1457">
                  <c:v>40723</c:v>
                </c:pt>
                <c:pt idx="1458">
                  <c:v>40724</c:v>
                </c:pt>
                <c:pt idx="1459">
                  <c:v>40725</c:v>
                </c:pt>
                <c:pt idx="1460">
                  <c:v>40729</c:v>
                </c:pt>
                <c:pt idx="1461">
                  <c:v>40730</c:v>
                </c:pt>
                <c:pt idx="1462">
                  <c:v>40731</c:v>
                </c:pt>
                <c:pt idx="1463">
                  <c:v>40732</c:v>
                </c:pt>
                <c:pt idx="1464">
                  <c:v>40735</c:v>
                </c:pt>
                <c:pt idx="1465">
                  <c:v>40736</c:v>
                </c:pt>
                <c:pt idx="1466">
                  <c:v>40737</c:v>
                </c:pt>
                <c:pt idx="1467">
                  <c:v>40738</c:v>
                </c:pt>
                <c:pt idx="1468">
                  <c:v>40739</c:v>
                </c:pt>
                <c:pt idx="1469">
                  <c:v>40742</c:v>
                </c:pt>
                <c:pt idx="1470">
                  <c:v>40743</c:v>
                </c:pt>
                <c:pt idx="1471">
                  <c:v>40744</c:v>
                </c:pt>
                <c:pt idx="1472">
                  <c:v>40745</c:v>
                </c:pt>
                <c:pt idx="1473">
                  <c:v>40746</c:v>
                </c:pt>
                <c:pt idx="1474">
                  <c:v>40749</c:v>
                </c:pt>
                <c:pt idx="1475">
                  <c:v>40750</c:v>
                </c:pt>
                <c:pt idx="1476">
                  <c:v>40751</c:v>
                </c:pt>
                <c:pt idx="1477">
                  <c:v>40752</c:v>
                </c:pt>
                <c:pt idx="1478">
                  <c:v>40753</c:v>
                </c:pt>
                <c:pt idx="1479">
                  <c:v>40756</c:v>
                </c:pt>
                <c:pt idx="1480">
                  <c:v>40757</c:v>
                </c:pt>
                <c:pt idx="1481">
                  <c:v>40758</c:v>
                </c:pt>
                <c:pt idx="1482">
                  <c:v>40759</c:v>
                </c:pt>
                <c:pt idx="1483">
                  <c:v>40760</c:v>
                </c:pt>
                <c:pt idx="1484">
                  <c:v>40763</c:v>
                </c:pt>
                <c:pt idx="1485">
                  <c:v>40764</c:v>
                </c:pt>
                <c:pt idx="1486">
                  <c:v>40765</c:v>
                </c:pt>
                <c:pt idx="1487">
                  <c:v>40766</c:v>
                </c:pt>
                <c:pt idx="1488">
                  <c:v>40767</c:v>
                </c:pt>
                <c:pt idx="1489">
                  <c:v>40770</c:v>
                </c:pt>
                <c:pt idx="1490">
                  <c:v>40771</c:v>
                </c:pt>
                <c:pt idx="1491">
                  <c:v>40772</c:v>
                </c:pt>
                <c:pt idx="1492">
                  <c:v>40773</c:v>
                </c:pt>
                <c:pt idx="1493">
                  <c:v>40774</c:v>
                </c:pt>
                <c:pt idx="1494">
                  <c:v>40777</c:v>
                </c:pt>
                <c:pt idx="1495">
                  <c:v>40778</c:v>
                </c:pt>
                <c:pt idx="1496">
                  <c:v>40779</c:v>
                </c:pt>
                <c:pt idx="1497">
                  <c:v>40780</c:v>
                </c:pt>
                <c:pt idx="1498">
                  <c:v>40781</c:v>
                </c:pt>
                <c:pt idx="1499">
                  <c:v>40784</c:v>
                </c:pt>
                <c:pt idx="1500">
                  <c:v>40785</c:v>
                </c:pt>
                <c:pt idx="1501">
                  <c:v>40786</c:v>
                </c:pt>
                <c:pt idx="1502">
                  <c:v>40787</c:v>
                </c:pt>
                <c:pt idx="1503">
                  <c:v>40788</c:v>
                </c:pt>
                <c:pt idx="1504">
                  <c:v>40792</c:v>
                </c:pt>
                <c:pt idx="1505">
                  <c:v>40793</c:v>
                </c:pt>
                <c:pt idx="1506">
                  <c:v>40794</c:v>
                </c:pt>
                <c:pt idx="1507">
                  <c:v>40795</c:v>
                </c:pt>
                <c:pt idx="1508">
                  <c:v>40798</c:v>
                </c:pt>
                <c:pt idx="1509">
                  <c:v>40799</c:v>
                </c:pt>
                <c:pt idx="1510">
                  <c:v>40800</c:v>
                </c:pt>
                <c:pt idx="1511">
                  <c:v>40801</c:v>
                </c:pt>
                <c:pt idx="1512">
                  <c:v>40802</c:v>
                </c:pt>
                <c:pt idx="1513">
                  <c:v>40805</c:v>
                </c:pt>
                <c:pt idx="1514">
                  <c:v>40806</c:v>
                </c:pt>
                <c:pt idx="1515">
                  <c:v>40807</c:v>
                </c:pt>
                <c:pt idx="1516">
                  <c:v>40808</c:v>
                </c:pt>
                <c:pt idx="1517">
                  <c:v>40809</c:v>
                </c:pt>
                <c:pt idx="1518">
                  <c:v>40812</c:v>
                </c:pt>
                <c:pt idx="1519">
                  <c:v>40813</c:v>
                </c:pt>
                <c:pt idx="1520">
                  <c:v>40814</c:v>
                </c:pt>
                <c:pt idx="1521">
                  <c:v>40815</c:v>
                </c:pt>
                <c:pt idx="1522">
                  <c:v>40816</c:v>
                </c:pt>
                <c:pt idx="1523">
                  <c:v>40819</c:v>
                </c:pt>
                <c:pt idx="1524">
                  <c:v>40820</c:v>
                </c:pt>
                <c:pt idx="1525">
                  <c:v>40821</c:v>
                </c:pt>
                <c:pt idx="1526">
                  <c:v>40822</c:v>
                </c:pt>
                <c:pt idx="1527">
                  <c:v>40823</c:v>
                </c:pt>
                <c:pt idx="1528">
                  <c:v>40826</c:v>
                </c:pt>
                <c:pt idx="1529">
                  <c:v>40827</c:v>
                </c:pt>
                <c:pt idx="1530">
                  <c:v>40828</c:v>
                </c:pt>
                <c:pt idx="1531">
                  <c:v>40829</c:v>
                </c:pt>
                <c:pt idx="1532">
                  <c:v>40830</c:v>
                </c:pt>
                <c:pt idx="1533">
                  <c:v>40833</c:v>
                </c:pt>
                <c:pt idx="1534">
                  <c:v>40834</c:v>
                </c:pt>
                <c:pt idx="1535">
                  <c:v>40835</c:v>
                </c:pt>
                <c:pt idx="1536">
                  <c:v>40836</c:v>
                </c:pt>
                <c:pt idx="1537">
                  <c:v>40837</c:v>
                </c:pt>
                <c:pt idx="1538">
                  <c:v>40840</c:v>
                </c:pt>
                <c:pt idx="1539">
                  <c:v>40841</c:v>
                </c:pt>
                <c:pt idx="1540">
                  <c:v>40842</c:v>
                </c:pt>
                <c:pt idx="1541">
                  <c:v>40843</c:v>
                </c:pt>
                <c:pt idx="1542">
                  <c:v>40844</c:v>
                </c:pt>
                <c:pt idx="1543">
                  <c:v>40847</c:v>
                </c:pt>
                <c:pt idx="1544">
                  <c:v>40848</c:v>
                </c:pt>
                <c:pt idx="1545">
                  <c:v>40849</c:v>
                </c:pt>
                <c:pt idx="1546">
                  <c:v>40850</c:v>
                </c:pt>
                <c:pt idx="1547">
                  <c:v>40851</c:v>
                </c:pt>
                <c:pt idx="1548">
                  <c:v>40854</c:v>
                </c:pt>
                <c:pt idx="1549">
                  <c:v>40855</c:v>
                </c:pt>
                <c:pt idx="1550">
                  <c:v>40856</c:v>
                </c:pt>
                <c:pt idx="1551">
                  <c:v>40857</c:v>
                </c:pt>
                <c:pt idx="1552">
                  <c:v>40858</c:v>
                </c:pt>
                <c:pt idx="1553">
                  <c:v>40861</c:v>
                </c:pt>
                <c:pt idx="1554">
                  <c:v>40862</c:v>
                </c:pt>
                <c:pt idx="1555">
                  <c:v>40863</c:v>
                </c:pt>
                <c:pt idx="1556">
                  <c:v>40864</c:v>
                </c:pt>
                <c:pt idx="1557">
                  <c:v>40865</c:v>
                </c:pt>
                <c:pt idx="1558">
                  <c:v>40868</c:v>
                </c:pt>
                <c:pt idx="1559">
                  <c:v>40869</c:v>
                </c:pt>
                <c:pt idx="1560">
                  <c:v>40870</c:v>
                </c:pt>
                <c:pt idx="1561">
                  <c:v>40872</c:v>
                </c:pt>
                <c:pt idx="1562">
                  <c:v>40875</c:v>
                </c:pt>
                <c:pt idx="1563">
                  <c:v>40876</c:v>
                </c:pt>
                <c:pt idx="1564">
                  <c:v>40877</c:v>
                </c:pt>
                <c:pt idx="1565">
                  <c:v>40878</c:v>
                </c:pt>
                <c:pt idx="1566">
                  <c:v>40879</c:v>
                </c:pt>
                <c:pt idx="1567">
                  <c:v>40882</c:v>
                </c:pt>
                <c:pt idx="1568">
                  <c:v>40883</c:v>
                </c:pt>
                <c:pt idx="1569">
                  <c:v>40884</c:v>
                </c:pt>
                <c:pt idx="1570">
                  <c:v>40885</c:v>
                </c:pt>
                <c:pt idx="1571">
                  <c:v>40886</c:v>
                </c:pt>
                <c:pt idx="1572">
                  <c:v>40889</c:v>
                </c:pt>
                <c:pt idx="1573">
                  <c:v>40890</c:v>
                </c:pt>
                <c:pt idx="1574">
                  <c:v>40891</c:v>
                </c:pt>
                <c:pt idx="1575">
                  <c:v>40892</c:v>
                </c:pt>
                <c:pt idx="1576">
                  <c:v>40893</c:v>
                </c:pt>
                <c:pt idx="1577">
                  <c:v>40896</c:v>
                </c:pt>
                <c:pt idx="1578">
                  <c:v>40897</c:v>
                </c:pt>
                <c:pt idx="1579">
                  <c:v>40898</c:v>
                </c:pt>
                <c:pt idx="1580">
                  <c:v>40899</c:v>
                </c:pt>
                <c:pt idx="1581">
                  <c:v>40900</c:v>
                </c:pt>
                <c:pt idx="1582">
                  <c:v>40904</c:v>
                </c:pt>
                <c:pt idx="1583">
                  <c:v>40905</c:v>
                </c:pt>
                <c:pt idx="1584">
                  <c:v>40906</c:v>
                </c:pt>
                <c:pt idx="1585">
                  <c:v>40907</c:v>
                </c:pt>
                <c:pt idx="1586">
                  <c:v>40911</c:v>
                </c:pt>
                <c:pt idx="1587">
                  <c:v>40912</c:v>
                </c:pt>
                <c:pt idx="1588">
                  <c:v>40913</c:v>
                </c:pt>
                <c:pt idx="1589">
                  <c:v>40914</c:v>
                </c:pt>
                <c:pt idx="1590">
                  <c:v>40917</c:v>
                </c:pt>
                <c:pt idx="1591">
                  <c:v>40918</c:v>
                </c:pt>
                <c:pt idx="1592">
                  <c:v>40919</c:v>
                </c:pt>
                <c:pt idx="1593">
                  <c:v>40920</c:v>
                </c:pt>
                <c:pt idx="1594">
                  <c:v>40921</c:v>
                </c:pt>
                <c:pt idx="1595">
                  <c:v>40925</c:v>
                </c:pt>
                <c:pt idx="1596">
                  <c:v>40926</c:v>
                </c:pt>
                <c:pt idx="1597">
                  <c:v>40927</c:v>
                </c:pt>
                <c:pt idx="1598">
                  <c:v>40928</c:v>
                </c:pt>
                <c:pt idx="1599">
                  <c:v>40931</c:v>
                </c:pt>
                <c:pt idx="1600">
                  <c:v>40932</c:v>
                </c:pt>
                <c:pt idx="1601">
                  <c:v>40933</c:v>
                </c:pt>
                <c:pt idx="1602">
                  <c:v>40934</c:v>
                </c:pt>
                <c:pt idx="1603">
                  <c:v>40935</c:v>
                </c:pt>
                <c:pt idx="1604">
                  <c:v>40938</c:v>
                </c:pt>
                <c:pt idx="1605">
                  <c:v>40939</c:v>
                </c:pt>
                <c:pt idx="1606">
                  <c:v>40940</c:v>
                </c:pt>
                <c:pt idx="1607">
                  <c:v>40941</c:v>
                </c:pt>
                <c:pt idx="1608">
                  <c:v>40942</c:v>
                </c:pt>
                <c:pt idx="1609">
                  <c:v>40945</c:v>
                </c:pt>
                <c:pt idx="1610">
                  <c:v>40946</c:v>
                </c:pt>
                <c:pt idx="1611">
                  <c:v>40947</c:v>
                </c:pt>
                <c:pt idx="1612">
                  <c:v>40948</c:v>
                </c:pt>
                <c:pt idx="1613">
                  <c:v>40949</c:v>
                </c:pt>
                <c:pt idx="1614">
                  <c:v>40952</c:v>
                </c:pt>
                <c:pt idx="1615">
                  <c:v>40953</c:v>
                </c:pt>
                <c:pt idx="1616">
                  <c:v>40954</c:v>
                </c:pt>
                <c:pt idx="1617">
                  <c:v>40955</c:v>
                </c:pt>
                <c:pt idx="1618">
                  <c:v>40956</c:v>
                </c:pt>
                <c:pt idx="1619">
                  <c:v>40960</c:v>
                </c:pt>
                <c:pt idx="1620">
                  <c:v>40961</c:v>
                </c:pt>
                <c:pt idx="1621">
                  <c:v>40962</c:v>
                </c:pt>
                <c:pt idx="1622">
                  <c:v>40963</c:v>
                </c:pt>
                <c:pt idx="1623">
                  <c:v>40966</c:v>
                </c:pt>
                <c:pt idx="1624">
                  <c:v>40967</c:v>
                </c:pt>
                <c:pt idx="1625">
                  <c:v>40968</c:v>
                </c:pt>
                <c:pt idx="1626">
                  <c:v>40969</c:v>
                </c:pt>
                <c:pt idx="1627">
                  <c:v>40970</c:v>
                </c:pt>
                <c:pt idx="1628">
                  <c:v>40973</c:v>
                </c:pt>
                <c:pt idx="1629">
                  <c:v>40974</c:v>
                </c:pt>
                <c:pt idx="1630">
                  <c:v>40975</c:v>
                </c:pt>
                <c:pt idx="1631">
                  <c:v>40976</c:v>
                </c:pt>
                <c:pt idx="1632">
                  <c:v>40977</c:v>
                </c:pt>
                <c:pt idx="1633">
                  <c:v>40980</c:v>
                </c:pt>
                <c:pt idx="1634">
                  <c:v>40981</c:v>
                </c:pt>
                <c:pt idx="1635">
                  <c:v>40982</c:v>
                </c:pt>
                <c:pt idx="1636">
                  <c:v>40983</c:v>
                </c:pt>
                <c:pt idx="1637">
                  <c:v>40984</c:v>
                </c:pt>
                <c:pt idx="1638">
                  <c:v>40987</c:v>
                </c:pt>
                <c:pt idx="1639">
                  <c:v>40988</c:v>
                </c:pt>
                <c:pt idx="1640">
                  <c:v>40989</c:v>
                </c:pt>
                <c:pt idx="1641">
                  <c:v>40990</c:v>
                </c:pt>
                <c:pt idx="1642">
                  <c:v>40991</c:v>
                </c:pt>
                <c:pt idx="1643">
                  <c:v>40994</c:v>
                </c:pt>
                <c:pt idx="1644">
                  <c:v>40995</c:v>
                </c:pt>
                <c:pt idx="1645">
                  <c:v>40996</c:v>
                </c:pt>
                <c:pt idx="1646">
                  <c:v>40997</c:v>
                </c:pt>
                <c:pt idx="1647">
                  <c:v>40998</c:v>
                </c:pt>
                <c:pt idx="1648">
                  <c:v>41001</c:v>
                </c:pt>
                <c:pt idx="1649">
                  <c:v>41002</c:v>
                </c:pt>
                <c:pt idx="1650">
                  <c:v>41003</c:v>
                </c:pt>
                <c:pt idx="1651">
                  <c:v>41004</c:v>
                </c:pt>
                <c:pt idx="1652">
                  <c:v>41008</c:v>
                </c:pt>
                <c:pt idx="1653">
                  <c:v>41009</c:v>
                </c:pt>
                <c:pt idx="1654">
                  <c:v>41010</c:v>
                </c:pt>
                <c:pt idx="1655">
                  <c:v>41011</c:v>
                </c:pt>
                <c:pt idx="1656">
                  <c:v>41012</c:v>
                </c:pt>
                <c:pt idx="1657">
                  <c:v>41015</c:v>
                </c:pt>
                <c:pt idx="1658">
                  <c:v>41016</c:v>
                </c:pt>
                <c:pt idx="1659">
                  <c:v>41017</c:v>
                </c:pt>
                <c:pt idx="1660">
                  <c:v>41018</c:v>
                </c:pt>
                <c:pt idx="1661">
                  <c:v>41019</c:v>
                </c:pt>
                <c:pt idx="1662">
                  <c:v>41022</c:v>
                </c:pt>
                <c:pt idx="1663">
                  <c:v>41023</c:v>
                </c:pt>
                <c:pt idx="1664">
                  <c:v>41024</c:v>
                </c:pt>
                <c:pt idx="1665">
                  <c:v>41025</c:v>
                </c:pt>
                <c:pt idx="1666">
                  <c:v>41026</c:v>
                </c:pt>
                <c:pt idx="1667">
                  <c:v>41029</c:v>
                </c:pt>
                <c:pt idx="1668">
                  <c:v>41030</c:v>
                </c:pt>
                <c:pt idx="1669">
                  <c:v>41031</c:v>
                </c:pt>
                <c:pt idx="1670">
                  <c:v>41032</c:v>
                </c:pt>
                <c:pt idx="1671">
                  <c:v>41033</c:v>
                </c:pt>
                <c:pt idx="1672">
                  <c:v>41036</c:v>
                </c:pt>
                <c:pt idx="1673">
                  <c:v>41037</c:v>
                </c:pt>
                <c:pt idx="1674">
                  <c:v>41038</c:v>
                </c:pt>
                <c:pt idx="1675">
                  <c:v>41039</c:v>
                </c:pt>
                <c:pt idx="1676">
                  <c:v>41040</c:v>
                </c:pt>
                <c:pt idx="1677">
                  <c:v>41043</c:v>
                </c:pt>
                <c:pt idx="1678">
                  <c:v>41044</c:v>
                </c:pt>
                <c:pt idx="1679">
                  <c:v>41045</c:v>
                </c:pt>
                <c:pt idx="1680">
                  <c:v>41046</c:v>
                </c:pt>
                <c:pt idx="1681">
                  <c:v>41047</c:v>
                </c:pt>
                <c:pt idx="1682">
                  <c:v>41050</c:v>
                </c:pt>
                <c:pt idx="1683">
                  <c:v>41051</c:v>
                </c:pt>
                <c:pt idx="1684">
                  <c:v>41052</c:v>
                </c:pt>
                <c:pt idx="1685">
                  <c:v>41053</c:v>
                </c:pt>
                <c:pt idx="1686">
                  <c:v>41054</c:v>
                </c:pt>
                <c:pt idx="1687">
                  <c:v>41058</c:v>
                </c:pt>
                <c:pt idx="1688">
                  <c:v>41059</c:v>
                </c:pt>
                <c:pt idx="1689">
                  <c:v>41060</c:v>
                </c:pt>
                <c:pt idx="1690">
                  <c:v>41061</c:v>
                </c:pt>
                <c:pt idx="1691">
                  <c:v>41064</c:v>
                </c:pt>
                <c:pt idx="1692">
                  <c:v>41065</c:v>
                </c:pt>
                <c:pt idx="1693">
                  <c:v>41066</c:v>
                </c:pt>
                <c:pt idx="1694">
                  <c:v>41067</c:v>
                </c:pt>
                <c:pt idx="1695">
                  <c:v>41068</c:v>
                </c:pt>
                <c:pt idx="1696">
                  <c:v>41071</c:v>
                </c:pt>
                <c:pt idx="1697">
                  <c:v>41072</c:v>
                </c:pt>
                <c:pt idx="1698">
                  <c:v>41073</c:v>
                </c:pt>
                <c:pt idx="1699">
                  <c:v>41074</c:v>
                </c:pt>
                <c:pt idx="1700">
                  <c:v>41075</c:v>
                </c:pt>
                <c:pt idx="1701">
                  <c:v>41078</c:v>
                </c:pt>
                <c:pt idx="1702">
                  <c:v>41079</c:v>
                </c:pt>
                <c:pt idx="1703">
                  <c:v>41080</c:v>
                </c:pt>
                <c:pt idx="1704">
                  <c:v>41081</c:v>
                </c:pt>
                <c:pt idx="1705">
                  <c:v>41082</c:v>
                </c:pt>
                <c:pt idx="1706">
                  <c:v>41085</c:v>
                </c:pt>
                <c:pt idx="1707">
                  <c:v>41086</c:v>
                </c:pt>
                <c:pt idx="1708">
                  <c:v>41087</c:v>
                </c:pt>
                <c:pt idx="1709">
                  <c:v>41088</c:v>
                </c:pt>
                <c:pt idx="1710">
                  <c:v>41089</c:v>
                </c:pt>
                <c:pt idx="1711">
                  <c:v>41092</c:v>
                </c:pt>
                <c:pt idx="1712">
                  <c:v>41093</c:v>
                </c:pt>
                <c:pt idx="1713">
                  <c:v>41095</c:v>
                </c:pt>
                <c:pt idx="1714">
                  <c:v>41096</c:v>
                </c:pt>
                <c:pt idx="1715">
                  <c:v>41099</c:v>
                </c:pt>
                <c:pt idx="1716">
                  <c:v>41100</c:v>
                </c:pt>
                <c:pt idx="1717">
                  <c:v>41101</c:v>
                </c:pt>
                <c:pt idx="1718">
                  <c:v>41102</c:v>
                </c:pt>
                <c:pt idx="1719">
                  <c:v>41103</c:v>
                </c:pt>
                <c:pt idx="1720">
                  <c:v>41106</c:v>
                </c:pt>
                <c:pt idx="1721">
                  <c:v>41107</c:v>
                </c:pt>
                <c:pt idx="1722">
                  <c:v>41108</c:v>
                </c:pt>
                <c:pt idx="1723">
                  <c:v>41109</c:v>
                </c:pt>
                <c:pt idx="1724">
                  <c:v>41110</c:v>
                </c:pt>
                <c:pt idx="1725">
                  <c:v>41113</c:v>
                </c:pt>
                <c:pt idx="1726">
                  <c:v>41114</c:v>
                </c:pt>
                <c:pt idx="1727">
                  <c:v>41115</c:v>
                </c:pt>
                <c:pt idx="1728">
                  <c:v>41116</c:v>
                </c:pt>
                <c:pt idx="1729">
                  <c:v>41117</c:v>
                </c:pt>
                <c:pt idx="1730">
                  <c:v>41120</c:v>
                </c:pt>
                <c:pt idx="1731">
                  <c:v>41121</c:v>
                </c:pt>
                <c:pt idx="1732">
                  <c:v>41122</c:v>
                </c:pt>
                <c:pt idx="1733">
                  <c:v>41123</c:v>
                </c:pt>
                <c:pt idx="1734">
                  <c:v>41124</c:v>
                </c:pt>
                <c:pt idx="1735">
                  <c:v>41127</c:v>
                </c:pt>
                <c:pt idx="1736">
                  <c:v>41128</c:v>
                </c:pt>
                <c:pt idx="1737">
                  <c:v>41129</c:v>
                </c:pt>
                <c:pt idx="1738">
                  <c:v>41130</c:v>
                </c:pt>
                <c:pt idx="1739">
                  <c:v>41131</c:v>
                </c:pt>
                <c:pt idx="1740">
                  <c:v>41134</c:v>
                </c:pt>
                <c:pt idx="1741">
                  <c:v>41135</c:v>
                </c:pt>
                <c:pt idx="1742">
                  <c:v>41136</c:v>
                </c:pt>
                <c:pt idx="1743">
                  <c:v>41137</c:v>
                </c:pt>
                <c:pt idx="1744">
                  <c:v>41138</c:v>
                </c:pt>
                <c:pt idx="1745">
                  <c:v>41141</c:v>
                </c:pt>
                <c:pt idx="1746">
                  <c:v>41142</c:v>
                </c:pt>
                <c:pt idx="1747">
                  <c:v>41143</c:v>
                </c:pt>
                <c:pt idx="1748">
                  <c:v>41144</c:v>
                </c:pt>
                <c:pt idx="1749">
                  <c:v>41145</c:v>
                </c:pt>
                <c:pt idx="1750">
                  <c:v>41148</c:v>
                </c:pt>
                <c:pt idx="1751">
                  <c:v>41149</c:v>
                </c:pt>
                <c:pt idx="1752">
                  <c:v>41150</c:v>
                </c:pt>
                <c:pt idx="1753">
                  <c:v>41151</c:v>
                </c:pt>
                <c:pt idx="1754">
                  <c:v>41152</c:v>
                </c:pt>
                <c:pt idx="1755">
                  <c:v>41156</c:v>
                </c:pt>
                <c:pt idx="1756">
                  <c:v>41157</c:v>
                </c:pt>
                <c:pt idx="1757">
                  <c:v>41158</c:v>
                </c:pt>
                <c:pt idx="1758">
                  <c:v>41159</c:v>
                </c:pt>
                <c:pt idx="1759">
                  <c:v>41162</c:v>
                </c:pt>
                <c:pt idx="1760">
                  <c:v>41163</c:v>
                </c:pt>
                <c:pt idx="1761">
                  <c:v>41164</c:v>
                </c:pt>
                <c:pt idx="1762">
                  <c:v>41165</c:v>
                </c:pt>
                <c:pt idx="1763">
                  <c:v>41166</c:v>
                </c:pt>
                <c:pt idx="1764">
                  <c:v>41169</c:v>
                </c:pt>
                <c:pt idx="1765">
                  <c:v>41170</c:v>
                </c:pt>
                <c:pt idx="1766">
                  <c:v>41171</c:v>
                </c:pt>
                <c:pt idx="1767">
                  <c:v>41172</c:v>
                </c:pt>
                <c:pt idx="1768">
                  <c:v>41173</c:v>
                </c:pt>
                <c:pt idx="1769">
                  <c:v>41176</c:v>
                </c:pt>
                <c:pt idx="1770">
                  <c:v>41177</c:v>
                </c:pt>
                <c:pt idx="1771">
                  <c:v>41178</c:v>
                </c:pt>
                <c:pt idx="1772">
                  <c:v>41179</c:v>
                </c:pt>
                <c:pt idx="1773">
                  <c:v>41180</c:v>
                </c:pt>
                <c:pt idx="1774">
                  <c:v>41183</c:v>
                </c:pt>
                <c:pt idx="1775">
                  <c:v>41184</c:v>
                </c:pt>
                <c:pt idx="1776">
                  <c:v>41185</c:v>
                </c:pt>
                <c:pt idx="1777">
                  <c:v>41186</c:v>
                </c:pt>
                <c:pt idx="1778">
                  <c:v>41187</c:v>
                </c:pt>
                <c:pt idx="1779">
                  <c:v>41190</c:v>
                </c:pt>
                <c:pt idx="1780">
                  <c:v>41191</c:v>
                </c:pt>
                <c:pt idx="1781">
                  <c:v>41192</c:v>
                </c:pt>
                <c:pt idx="1782">
                  <c:v>41193</c:v>
                </c:pt>
                <c:pt idx="1783">
                  <c:v>41194</c:v>
                </c:pt>
                <c:pt idx="1784">
                  <c:v>41197</c:v>
                </c:pt>
                <c:pt idx="1785">
                  <c:v>41198</c:v>
                </c:pt>
                <c:pt idx="1786">
                  <c:v>41199</c:v>
                </c:pt>
                <c:pt idx="1787">
                  <c:v>41200</c:v>
                </c:pt>
                <c:pt idx="1788">
                  <c:v>41201</c:v>
                </c:pt>
                <c:pt idx="1789">
                  <c:v>41204</c:v>
                </c:pt>
                <c:pt idx="1790">
                  <c:v>41205</c:v>
                </c:pt>
                <c:pt idx="1791">
                  <c:v>41206</c:v>
                </c:pt>
                <c:pt idx="1792">
                  <c:v>41207</c:v>
                </c:pt>
                <c:pt idx="1793">
                  <c:v>41208</c:v>
                </c:pt>
                <c:pt idx="1794">
                  <c:v>41213</c:v>
                </c:pt>
                <c:pt idx="1795">
                  <c:v>41214</c:v>
                </c:pt>
                <c:pt idx="1796">
                  <c:v>41215</c:v>
                </c:pt>
                <c:pt idx="1797">
                  <c:v>41218</c:v>
                </c:pt>
                <c:pt idx="1798">
                  <c:v>41219</c:v>
                </c:pt>
                <c:pt idx="1799">
                  <c:v>41220</c:v>
                </c:pt>
                <c:pt idx="1800">
                  <c:v>41221</c:v>
                </c:pt>
                <c:pt idx="1801">
                  <c:v>41222</c:v>
                </c:pt>
                <c:pt idx="1802">
                  <c:v>41225</c:v>
                </c:pt>
                <c:pt idx="1803">
                  <c:v>41226</c:v>
                </c:pt>
                <c:pt idx="1804">
                  <c:v>41227</c:v>
                </c:pt>
                <c:pt idx="1805">
                  <c:v>41228</c:v>
                </c:pt>
                <c:pt idx="1806">
                  <c:v>41229</c:v>
                </c:pt>
                <c:pt idx="1807">
                  <c:v>41232</c:v>
                </c:pt>
                <c:pt idx="1808">
                  <c:v>41233</c:v>
                </c:pt>
                <c:pt idx="1809">
                  <c:v>41234</c:v>
                </c:pt>
                <c:pt idx="1810">
                  <c:v>41236</c:v>
                </c:pt>
                <c:pt idx="1811">
                  <c:v>41239</c:v>
                </c:pt>
                <c:pt idx="1812">
                  <c:v>41240</c:v>
                </c:pt>
                <c:pt idx="1813">
                  <c:v>41241</c:v>
                </c:pt>
                <c:pt idx="1814">
                  <c:v>41242</c:v>
                </c:pt>
                <c:pt idx="1815">
                  <c:v>41243</c:v>
                </c:pt>
                <c:pt idx="1816">
                  <c:v>41246</c:v>
                </c:pt>
                <c:pt idx="1817">
                  <c:v>41247</c:v>
                </c:pt>
                <c:pt idx="1818">
                  <c:v>41248</c:v>
                </c:pt>
                <c:pt idx="1819">
                  <c:v>41249</c:v>
                </c:pt>
                <c:pt idx="1820">
                  <c:v>41250</c:v>
                </c:pt>
                <c:pt idx="1821">
                  <c:v>41253</c:v>
                </c:pt>
                <c:pt idx="1822">
                  <c:v>41254</c:v>
                </c:pt>
                <c:pt idx="1823">
                  <c:v>41255</c:v>
                </c:pt>
                <c:pt idx="1824">
                  <c:v>41256</c:v>
                </c:pt>
                <c:pt idx="1825">
                  <c:v>41257</c:v>
                </c:pt>
                <c:pt idx="1826">
                  <c:v>41260</c:v>
                </c:pt>
                <c:pt idx="1827">
                  <c:v>41261</c:v>
                </c:pt>
                <c:pt idx="1828">
                  <c:v>41262</c:v>
                </c:pt>
                <c:pt idx="1829">
                  <c:v>41263</c:v>
                </c:pt>
                <c:pt idx="1830">
                  <c:v>41264</c:v>
                </c:pt>
                <c:pt idx="1831">
                  <c:v>41267</c:v>
                </c:pt>
                <c:pt idx="1832">
                  <c:v>41269</c:v>
                </c:pt>
                <c:pt idx="1833">
                  <c:v>41270</c:v>
                </c:pt>
                <c:pt idx="1834">
                  <c:v>41271</c:v>
                </c:pt>
                <c:pt idx="1835">
                  <c:v>41274</c:v>
                </c:pt>
                <c:pt idx="1836">
                  <c:v>41276</c:v>
                </c:pt>
                <c:pt idx="1837">
                  <c:v>41277</c:v>
                </c:pt>
                <c:pt idx="1838">
                  <c:v>41278</c:v>
                </c:pt>
                <c:pt idx="1839">
                  <c:v>41281</c:v>
                </c:pt>
                <c:pt idx="1840">
                  <c:v>41282</c:v>
                </c:pt>
                <c:pt idx="1841">
                  <c:v>41283</c:v>
                </c:pt>
                <c:pt idx="1842">
                  <c:v>41284</c:v>
                </c:pt>
                <c:pt idx="1843">
                  <c:v>41285</c:v>
                </c:pt>
                <c:pt idx="1844">
                  <c:v>41288</c:v>
                </c:pt>
                <c:pt idx="1845">
                  <c:v>41289</c:v>
                </c:pt>
                <c:pt idx="1846">
                  <c:v>41290</c:v>
                </c:pt>
                <c:pt idx="1847">
                  <c:v>41291</c:v>
                </c:pt>
                <c:pt idx="1848">
                  <c:v>41292</c:v>
                </c:pt>
                <c:pt idx="1849">
                  <c:v>41296</c:v>
                </c:pt>
                <c:pt idx="1850">
                  <c:v>41297</c:v>
                </c:pt>
                <c:pt idx="1851">
                  <c:v>41298</c:v>
                </c:pt>
                <c:pt idx="1852">
                  <c:v>41299</c:v>
                </c:pt>
                <c:pt idx="1853">
                  <c:v>41302</c:v>
                </c:pt>
                <c:pt idx="1854">
                  <c:v>41303</c:v>
                </c:pt>
                <c:pt idx="1855">
                  <c:v>41304</c:v>
                </c:pt>
                <c:pt idx="1856">
                  <c:v>41305</c:v>
                </c:pt>
                <c:pt idx="1857">
                  <c:v>41306</c:v>
                </c:pt>
                <c:pt idx="1858">
                  <c:v>41309</c:v>
                </c:pt>
                <c:pt idx="1859">
                  <c:v>41310</c:v>
                </c:pt>
                <c:pt idx="1860">
                  <c:v>41311</c:v>
                </c:pt>
                <c:pt idx="1861">
                  <c:v>41312</c:v>
                </c:pt>
                <c:pt idx="1862">
                  <c:v>41313</c:v>
                </c:pt>
                <c:pt idx="1863">
                  <c:v>41316</c:v>
                </c:pt>
                <c:pt idx="1864">
                  <c:v>41317</c:v>
                </c:pt>
                <c:pt idx="1865">
                  <c:v>41318</c:v>
                </c:pt>
                <c:pt idx="1866">
                  <c:v>41319</c:v>
                </c:pt>
                <c:pt idx="1867">
                  <c:v>41320</c:v>
                </c:pt>
                <c:pt idx="1868">
                  <c:v>41324</c:v>
                </c:pt>
                <c:pt idx="1869">
                  <c:v>41325</c:v>
                </c:pt>
                <c:pt idx="1870">
                  <c:v>41326</c:v>
                </c:pt>
                <c:pt idx="1871">
                  <c:v>41327</c:v>
                </c:pt>
                <c:pt idx="1872">
                  <c:v>41330</c:v>
                </c:pt>
                <c:pt idx="1873">
                  <c:v>41331</c:v>
                </c:pt>
                <c:pt idx="1874">
                  <c:v>41332</c:v>
                </c:pt>
                <c:pt idx="1875">
                  <c:v>41333</c:v>
                </c:pt>
                <c:pt idx="1876">
                  <c:v>41334</c:v>
                </c:pt>
                <c:pt idx="1877">
                  <c:v>41337</c:v>
                </c:pt>
                <c:pt idx="1878">
                  <c:v>41338</c:v>
                </c:pt>
                <c:pt idx="1879">
                  <c:v>41339</c:v>
                </c:pt>
                <c:pt idx="1880">
                  <c:v>41340</c:v>
                </c:pt>
                <c:pt idx="1881">
                  <c:v>41341</c:v>
                </c:pt>
                <c:pt idx="1882">
                  <c:v>41344</c:v>
                </c:pt>
                <c:pt idx="1883">
                  <c:v>41345</c:v>
                </c:pt>
                <c:pt idx="1884">
                  <c:v>41346</c:v>
                </c:pt>
                <c:pt idx="1885">
                  <c:v>41347</c:v>
                </c:pt>
                <c:pt idx="1886">
                  <c:v>41348</c:v>
                </c:pt>
                <c:pt idx="1887">
                  <c:v>41351</c:v>
                </c:pt>
                <c:pt idx="1888">
                  <c:v>41352</c:v>
                </c:pt>
                <c:pt idx="1889">
                  <c:v>41353</c:v>
                </c:pt>
                <c:pt idx="1890">
                  <c:v>41354</c:v>
                </c:pt>
                <c:pt idx="1891">
                  <c:v>41355</c:v>
                </c:pt>
                <c:pt idx="1892">
                  <c:v>41358</c:v>
                </c:pt>
                <c:pt idx="1893">
                  <c:v>41359</c:v>
                </c:pt>
                <c:pt idx="1894">
                  <c:v>41360</c:v>
                </c:pt>
                <c:pt idx="1895">
                  <c:v>41361</c:v>
                </c:pt>
                <c:pt idx="1896">
                  <c:v>41365</c:v>
                </c:pt>
                <c:pt idx="1897">
                  <c:v>41366</c:v>
                </c:pt>
                <c:pt idx="1898">
                  <c:v>41367</c:v>
                </c:pt>
                <c:pt idx="1899">
                  <c:v>41368</c:v>
                </c:pt>
                <c:pt idx="1900">
                  <c:v>41369</c:v>
                </c:pt>
                <c:pt idx="1901">
                  <c:v>41372</c:v>
                </c:pt>
                <c:pt idx="1902">
                  <c:v>41373</c:v>
                </c:pt>
                <c:pt idx="1903">
                  <c:v>41374</c:v>
                </c:pt>
                <c:pt idx="1904">
                  <c:v>41375</c:v>
                </c:pt>
                <c:pt idx="1905">
                  <c:v>41376</c:v>
                </c:pt>
                <c:pt idx="1906">
                  <c:v>41379</c:v>
                </c:pt>
                <c:pt idx="1907">
                  <c:v>41380</c:v>
                </c:pt>
                <c:pt idx="1908">
                  <c:v>41381</c:v>
                </c:pt>
                <c:pt idx="1909">
                  <c:v>41382</c:v>
                </c:pt>
                <c:pt idx="1910">
                  <c:v>41383</c:v>
                </c:pt>
                <c:pt idx="1911">
                  <c:v>41386</c:v>
                </c:pt>
                <c:pt idx="1912">
                  <c:v>41387</c:v>
                </c:pt>
                <c:pt idx="1913">
                  <c:v>41388</c:v>
                </c:pt>
                <c:pt idx="1914">
                  <c:v>41389</c:v>
                </c:pt>
                <c:pt idx="1915">
                  <c:v>41390</c:v>
                </c:pt>
                <c:pt idx="1916">
                  <c:v>41393</c:v>
                </c:pt>
                <c:pt idx="1917">
                  <c:v>41394</c:v>
                </c:pt>
                <c:pt idx="1918">
                  <c:v>41395</c:v>
                </c:pt>
                <c:pt idx="1919">
                  <c:v>41396</c:v>
                </c:pt>
                <c:pt idx="1920">
                  <c:v>41397</c:v>
                </c:pt>
                <c:pt idx="1921">
                  <c:v>41400</c:v>
                </c:pt>
                <c:pt idx="1922">
                  <c:v>41401</c:v>
                </c:pt>
                <c:pt idx="1923">
                  <c:v>41402</c:v>
                </c:pt>
                <c:pt idx="1924">
                  <c:v>41403</c:v>
                </c:pt>
                <c:pt idx="1925">
                  <c:v>41404</c:v>
                </c:pt>
                <c:pt idx="1926">
                  <c:v>41407</c:v>
                </c:pt>
                <c:pt idx="1927">
                  <c:v>41408</c:v>
                </c:pt>
                <c:pt idx="1928">
                  <c:v>41409</c:v>
                </c:pt>
                <c:pt idx="1929">
                  <c:v>41410</c:v>
                </c:pt>
                <c:pt idx="1930">
                  <c:v>41411</c:v>
                </c:pt>
                <c:pt idx="1931">
                  <c:v>41414</c:v>
                </c:pt>
                <c:pt idx="1932">
                  <c:v>41415</c:v>
                </c:pt>
                <c:pt idx="1933">
                  <c:v>41416</c:v>
                </c:pt>
                <c:pt idx="1934">
                  <c:v>41417</c:v>
                </c:pt>
                <c:pt idx="1935">
                  <c:v>41418</c:v>
                </c:pt>
                <c:pt idx="1936">
                  <c:v>41422</c:v>
                </c:pt>
                <c:pt idx="1937">
                  <c:v>41423</c:v>
                </c:pt>
                <c:pt idx="1938">
                  <c:v>41424</c:v>
                </c:pt>
                <c:pt idx="1939">
                  <c:v>41425</c:v>
                </c:pt>
                <c:pt idx="1940">
                  <c:v>41428</c:v>
                </c:pt>
                <c:pt idx="1941">
                  <c:v>41429</c:v>
                </c:pt>
                <c:pt idx="1942">
                  <c:v>41430</c:v>
                </c:pt>
                <c:pt idx="1943">
                  <c:v>41431</c:v>
                </c:pt>
                <c:pt idx="1944">
                  <c:v>41432</c:v>
                </c:pt>
                <c:pt idx="1945">
                  <c:v>41435</c:v>
                </c:pt>
                <c:pt idx="1946">
                  <c:v>41436</c:v>
                </c:pt>
                <c:pt idx="1947">
                  <c:v>41437</c:v>
                </c:pt>
                <c:pt idx="1948">
                  <c:v>41438</c:v>
                </c:pt>
                <c:pt idx="1949">
                  <c:v>41439</c:v>
                </c:pt>
                <c:pt idx="1950">
                  <c:v>41442</c:v>
                </c:pt>
                <c:pt idx="1951">
                  <c:v>41443</c:v>
                </c:pt>
                <c:pt idx="1952">
                  <c:v>41444</c:v>
                </c:pt>
                <c:pt idx="1953">
                  <c:v>41445</c:v>
                </c:pt>
                <c:pt idx="1954">
                  <c:v>41446</c:v>
                </c:pt>
                <c:pt idx="1955">
                  <c:v>41449</c:v>
                </c:pt>
                <c:pt idx="1956">
                  <c:v>41450</c:v>
                </c:pt>
                <c:pt idx="1957">
                  <c:v>41451</c:v>
                </c:pt>
                <c:pt idx="1958">
                  <c:v>41452</c:v>
                </c:pt>
                <c:pt idx="1959">
                  <c:v>41453</c:v>
                </c:pt>
                <c:pt idx="1960">
                  <c:v>41456</c:v>
                </c:pt>
                <c:pt idx="1961">
                  <c:v>41457</c:v>
                </c:pt>
                <c:pt idx="1962">
                  <c:v>41458</c:v>
                </c:pt>
                <c:pt idx="1963">
                  <c:v>41460</c:v>
                </c:pt>
                <c:pt idx="1964">
                  <c:v>41463</c:v>
                </c:pt>
                <c:pt idx="1965">
                  <c:v>41464</c:v>
                </c:pt>
                <c:pt idx="1966">
                  <c:v>41465</c:v>
                </c:pt>
                <c:pt idx="1967">
                  <c:v>41466</c:v>
                </c:pt>
                <c:pt idx="1968">
                  <c:v>41467</c:v>
                </c:pt>
                <c:pt idx="1969">
                  <c:v>41470</c:v>
                </c:pt>
                <c:pt idx="1970">
                  <c:v>41471</c:v>
                </c:pt>
                <c:pt idx="1971">
                  <c:v>41472</c:v>
                </c:pt>
                <c:pt idx="1972">
                  <c:v>41473</c:v>
                </c:pt>
                <c:pt idx="1973">
                  <c:v>41474</c:v>
                </c:pt>
                <c:pt idx="1974">
                  <c:v>41477</c:v>
                </c:pt>
                <c:pt idx="1975">
                  <c:v>41478</c:v>
                </c:pt>
                <c:pt idx="1976">
                  <c:v>41479</c:v>
                </c:pt>
                <c:pt idx="1977">
                  <c:v>41480</c:v>
                </c:pt>
                <c:pt idx="1978">
                  <c:v>41481</c:v>
                </c:pt>
                <c:pt idx="1979">
                  <c:v>41484</c:v>
                </c:pt>
                <c:pt idx="1980">
                  <c:v>41485</c:v>
                </c:pt>
                <c:pt idx="1981">
                  <c:v>41486</c:v>
                </c:pt>
                <c:pt idx="1982">
                  <c:v>41487</c:v>
                </c:pt>
                <c:pt idx="1983">
                  <c:v>41488</c:v>
                </c:pt>
                <c:pt idx="1984">
                  <c:v>41491</c:v>
                </c:pt>
                <c:pt idx="1985">
                  <c:v>41492</c:v>
                </c:pt>
                <c:pt idx="1986">
                  <c:v>41493</c:v>
                </c:pt>
                <c:pt idx="1987">
                  <c:v>41494</c:v>
                </c:pt>
                <c:pt idx="1988">
                  <c:v>41495</c:v>
                </c:pt>
                <c:pt idx="1989">
                  <c:v>41498</c:v>
                </c:pt>
                <c:pt idx="1990">
                  <c:v>41499</c:v>
                </c:pt>
                <c:pt idx="1991">
                  <c:v>41500</c:v>
                </c:pt>
                <c:pt idx="1992">
                  <c:v>41501</c:v>
                </c:pt>
                <c:pt idx="1993">
                  <c:v>41502</c:v>
                </c:pt>
                <c:pt idx="1994">
                  <c:v>41505</c:v>
                </c:pt>
                <c:pt idx="1995">
                  <c:v>41506</c:v>
                </c:pt>
                <c:pt idx="1996">
                  <c:v>41507</c:v>
                </c:pt>
                <c:pt idx="1997">
                  <c:v>41508</c:v>
                </c:pt>
                <c:pt idx="1998">
                  <c:v>41509</c:v>
                </c:pt>
                <c:pt idx="1999">
                  <c:v>41512</c:v>
                </c:pt>
                <c:pt idx="2000">
                  <c:v>41513</c:v>
                </c:pt>
                <c:pt idx="2001">
                  <c:v>41514</c:v>
                </c:pt>
                <c:pt idx="2002">
                  <c:v>41515</c:v>
                </c:pt>
                <c:pt idx="2003">
                  <c:v>41516</c:v>
                </c:pt>
                <c:pt idx="2004">
                  <c:v>41520</c:v>
                </c:pt>
                <c:pt idx="2005">
                  <c:v>41521</c:v>
                </c:pt>
                <c:pt idx="2006">
                  <c:v>41522</c:v>
                </c:pt>
                <c:pt idx="2007">
                  <c:v>41523</c:v>
                </c:pt>
                <c:pt idx="2008">
                  <c:v>41526</c:v>
                </c:pt>
                <c:pt idx="2009">
                  <c:v>41527</c:v>
                </c:pt>
                <c:pt idx="2010">
                  <c:v>41528</c:v>
                </c:pt>
                <c:pt idx="2011">
                  <c:v>41529</c:v>
                </c:pt>
                <c:pt idx="2012">
                  <c:v>41530</c:v>
                </c:pt>
                <c:pt idx="2013">
                  <c:v>41533</c:v>
                </c:pt>
                <c:pt idx="2014">
                  <c:v>41534</c:v>
                </c:pt>
                <c:pt idx="2015">
                  <c:v>41535</c:v>
                </c:pt>
                <c:pt idx="2016">
                  <c:v>41536</c:v>
                </c:pt>
                <c:pt idx="2017">
                  <c:v>41537</c:v>
                </c:pt>
                <c:pt idx="2018">
                  <c:v>41540</c:v>
                </c:pt>
                <c:pt idx="2019">
                  <c:v>41541</c:v>
                </c:pt>
                <c:pt idx="2020">
                  <c:v>41542</c:v>
                </c:pt>
                <c:pt idx="2021">
                  <c:v>41543</c:v>
                </c:pt>
                <c:pt idx="2022">
                  <c:v>41544</c:v>
                </c:pt>
                <c:pt idx="2023">
                  <c:v>41547</c:v>
                </c:pt>
                <c:pt idx="2024">
                  <c:v>41548</c:v>
                </c:pt>
                <c:pt idx="2025">
                  <c:v>41549</c:v>
                </c:pt>
                <c:pt idx="2026">
                  <c:v>41550</c:v>
                </c:pt>
                <c:pt idx="2027">
                  <c:v>41551</c:v>
                </c:pt>
                <c:pt idx="2028">
                  <c:v>41554</c:v>
                </c:pt>
                <c:pt idx="2029">
                  <c:v>41555</c:v>
                </c:pt>
                <c:pt idx="2030">
                  <c:v>41556</c:v>
                </c:pt>
                <c:pt idx="2031">
                  <c:v>41557</c:v>
                </c:pt>
                <c:pt idx="2032">
                  <c:v>41558</c:v>
                </c:pt>
                <c:pt idx="2033">
                  <c:v>41561</c:v>
                </c:pt>
                <c:pt idx="2034">
                  <c:v>41562</c:v>
                </c:pt>
                <c:pt idx="2035">
                  <c:v>41563</c:v>
                </c:pt>
                <c:pt idx="2036">
                  <c:v>41564</c:v>
                </c:pt>
                <c:pt idx="2037">
                  <c:v>41565</c:v>
                </c:pt>
                <c:pt idx="2038">
                  <c:v>41568</c:v>
                </c:pt>
                <c:pt idx="2039">
                  <c:v>41569</c:v>
                </c:pt>
                <c:pt idx="2040">
                  <c:v>41570</c:v>
                </c:pt>
                <c:pt idx="2041">
                  <c:v>41571</c:v>
                </c:pt>
                <c:pt idx="2042">
                  <c:v>41572</c:v>
                </c:pt>
                <c:pt idx="2043">
                  <c:v>41575</c:v>
                </c:pt>
                <c:pt idx="2044">
                  <c:v>41576</c:v>
                </c:pt>
                <c:pt idx="2045">
                  <c:v>41577</c:v>
                </c:pt>
                <c:pt idx="2046">
                  <c:v>41578</c:v>
                </c:pt>
                <c:pt idx="2047">
                  <c:v>41579</c:v>
                </c:pt>
                <c:pt idx="2048">
                  <c:v>41582</c:v>
                </c:pt>
                <c:pt idx="2049">
                  <c:v>41583</c:v>
                </c:pt>
                <c:pt idx="2050">
                  <c:v>41584</c:v>
                </c:pt>
                <c:pt idx="2051">
                  <c:v>41585</c:v>
                </c:pt>
                <c:pt idx="2052">
                  <c:v>41586</c:v>
                </c:pt>
                <c:pt idx="2053">
                  <c:v>41589</c:v>
                </c:pt>
                <c:pt idx="2054">
                  <c:v>41590</c:v>
                </c:pt>
                <c:pt idx="2055">
                  <c:v>41591</c:v>
                </c:pt>
                <c:pt idx="2056">
                  <c:v>41592</c:v>
                </c:pt>
                <c:pt idx="2057">
                  <c:v>41593</c:v>
                </c:pt>
                <c:pt idx="2058">
                  <c:v>41596</c:v>
                </c:pt>
                <c:pt idx="2059">
                  <c:v>41597</c:v>
                </c:pt>
                <c:pt idx="2060">
                  <c:v>41598</c:v>
                </c:pt>
                <c:pt idx="2061">
                  <c:v>41599</c:v>
                </c:pt>
                <c:pt idx="2062">
                  <c:v>41600</c:v>
                </c:pt>
                <c:pt idx="2063">
                  <c:v>41603</c:v>
                </c:pt>
                <c:pt idx="2064">
                  <c:v>41604</c:v>
                </c:pt>
                <c:pt idx="2065">
                  <c:v>41605</c:v>
                </c:pt>
                <c:pt idx="2066">
                  <c:v>41607</c:v>
                </c:pt>
                <c:pt idx="2067">
                  <c:v>41610</c:v>
                </c:pt>
                <c:pt idx="2068">
                  <c:v>41611</c:v>
                </c:pt>
                <c:pt idx="2069">
                  <c:v>41612</c:v>
                </c:pt>
                <c:pt idx="2070">
                  <c:v>41613</c:v>
                </c:pt>
                <c:pt idx="2071">
                  <c:v>41614</c:v>
                </c:pt>
                <c:pt idx="2072">
                  <c:v>41617</c:v>
                </c:pt>
                <c:pt idx="2073">
                  <c:v>41618</c:v>
                </c:pt>
                <c:pt idx="2074">
                  <c:v>41619</c:v>
                </c:pt>
                <c:pt idx="2075">
                  <c:v>41620</c:v>
                </c:pt>
                <c:pt idx="2076">
                  <c:v>41621</c:v>
                </c:pt>
                <c:pt idx="2077">
                  <c:v>41624</c:v>
                </c:pt>
                <c:pt idx="2078">
                  <c:v>41625</c:v>
                </c:pt>
                <c:pt idx="2079">
                  <c:v>41626</c:v>
                </c:pt>
                <c:pt idx="2080">
                  <c:v>41627</c:v>
                </c:pt>
                <c:pt idx="2081">
                  <c:v>41628</c:v>
                </c:pt>
                <c:pt idx="2082">
                  <c:v>41631</c:v>
                </c:pt>
                <c:pt idx="2083">
                  <c:v>41632</c:v>
                </c:pt>
                <c:pt idx="2084">
                  <c:v>41634</c:v>
                </c:pt>
                <c:pt idx="2085">
                  <c:v>41635</c:v>
                </c:pt>
                <c:pt idx="2086">
                  <c:v>41638</c:v>
                </c:pt>
                <c:pt idx="2087">
                  <c:v>41639</c:v>
                </c:pt>
                <c:pt idx="2088">
                  <c:v>41641</c:v>
                </c:pt>
                <c:pt idx="2089">
                  <c:v>41642</c:v>
                </c:pt>
                <c:pt idx="2090">
                  <c:v>41645</c:v>
                </c:pt>
                <c:pt idx="2091">
                  <c:v>41646</c:v>
                </c:pt>
                <c:pt idx="2092">
                  <c:v>41647</c:v>
                </c:pt>
                <c:pt idx="2093">
                  <c:v>41648</c:v>
                </c:pt>
                <c:pt idx="2094">
                  <c:v>41649</c:v>
                </c:pt>
                <c:pt idx="2095">
                  <c:v>41652</c:v>
                </c:pt>
                <c:pt idx="2096">
                  <c:v>41653</c:v>
                </c:pt>
                <c:pt idx="2097">
                  <c:v>41654</c:v>
                </c:pt>
                <c:pt idx="2098">
                  <c:v>41655</c:v>
                </c:pt>
                <c:pt idx="2099">
                  <c:v>41656</c:v>
                </c:pt>
                <c:pt idx="2100">
                  <c:v>41660</c:v>
                </c:pt>
                <c:pt idx="2101">
                  <c:v>41661</c:v>
                </c:pt>
                <c:pt idx="2102">
                  <c:v>41662</c:v>
                </c:pt>
                <c:pt idx="2103">
                  <c:v>41663</c:v>
                </c:pt>
                <c:pt idx="2104">
                  <c:v>41666</c:v>
                </c:pt>
                <c:pt idx="2105">
                  <c:v>41667</c:v>
                </c:pt>
                <c:pt idx="2106">
                  <c:v>41668</c:v>
                </c:pt>
                <c:pt idx="2107">
                  <c:v>41669</c:v>
                </c:pt>
                <c:pt idx="2108">
                  <c:v>41670</c:v>
                </c:pt>
                <c:pt idx="2109">
                  <c:v>41673</c:v>
                </c:pt>
                <c:pt idx="2110">
                  <c:v>41674</c:v>
                </c:pt>
                <c:pt idx="2111">
                  <c:v>41675</c:v>
                </c:pt>
                <c:pt idx="2112">
                  <c:v>41676</c:v>
                </c:pt>
                <c:pt idx="2113">
                  <c:v>41677</c:v>
                </c:pt>
                <c:pt idx="2114">
                  <c:v>41680</c:v>
                </c:pt>
                <c:pt idx="2115">
                  <c:v>41681</c:v>
                </c:pt>
                <c:pt idx="2116">
                  <c:v>41682</c:v>
                </c:pt>
                <c:pt idx="2117">
                  <c:v>41683</c:v>
                </c:pt>
                <c:pt idx="2118">
                  <c:v>41684</c:v>
                </c:pt>
                <c:pt idx="2119">
                  <c:v>41688</c:v>
                </c:pt>
                <c:pt idx="2120">
                  <c:v>41689</c:v>
                </c:pt>
                <c:pt idx="2121">
                  <c:v>41690</c:v>
                </c:pt>
                <c:pt idx="2122">
                  <c:v>41691</c:v>
                </c:pt>
                <c:pt idx="2123">
                  <c:v>41694</c:v>
                </c:pt>
                <c:pt idx="2124">
                  <c:v>41695</c:v>
                </c:pt>
                <c:pt idx="2125">
                  <c:v>41696</c:v>
                </c:pt>
                <c:pt idx="2126">
                  <c:v>41697</c:v>
                </c:pt>
                <c:pt idx="2127">
                  <c:v>41698</c:v>
                </c:pt>
                <c:pt idx="2128">
                  <c:v>41701</c:v>
                </c:pt>
                <c:pt idx="2129">
                  <c:v>41702</c:v>
                </c:pt>
                <c:pt idx="2130">
                  <c:v>41703</c:v>
                </c:pt>
                <c:pt idx="2131">
                  <c:v>41704</c:v>
                </c:pt>
                <c:pt idx="2132">
                  <c:v>41705</c:v>
                </c:pt>
                <c:pt idx="2133">
                  <c:v>41708</c:v>
                </c:pt>
                <c:pt idx="2134">
                  <c:v>41709</c:v>
                </c:pt>
                <c:pt idx="2135">
                  <c:v>41710</c:v>
                </c:pt>
                <c:pt idx="2136">
                  <c:v>41711</c:v>
                </c:pt>
                <c:pt idx="2137">
                  <c:v>41712</c:v>
                </c:pt>
                <c:pt idx="2138">
                  <c:v>41715</c:v>
                </c:pt>
                <c:pt idx="2139">
                  <c:v>41716</c:v>
                </c:pt>
                <c:pt idx="2140">
                  <c:v>41717</c:v>
                </c:pt>
                <c:pt idx="2141">
                  <c:v>41718</c:v>
                </c:pt>
                <c:pt idx="2142">
                  <c:v>41719</c:v>
                </c:pt>
                <c:pt idx="2143">
                  <c:v>41722</c:v>
                </c:pt>
                <c:pt idx="2144">
                  <c:v>41723</c:v>
                </c:pt>
                <c:pt idx="2145">
                  <c:v>41724</c:v>
                </c:pt>
                <c:pt idx="2146">
                  <c:v>41725</c:v>
                </c:pt>
                <c:pt idx="2147">
                  <c:v>41726</c:v>
                </c:pt>
                <c:pt idx="2148">
                  <c:v>41729</c:v>
                </c:pt>
                <c:pt idx="2149">
                  <c:v>41730</c:v>
                </c:pt>
                <c:pt idx="2150">
                  <c:v>41731</c:v>
                </c:pt>
                <c:pt idx="2151">
                  <c:v>41732</c:v>
                </c:pt>
                <c:pt idx="2152">
                  <c:v>41733</c:v>
                </c:pt>
                <c:pt idx="2153">
                  <c:v>41736</c:v>
                </c:pt>
                <c:pt idx="2154">
                  <c:v>41737</c:v>
                </c:pt>
                <c:pt idx="2155">
                  <c:v>41738</c:v>
                </c:pt>
                <c:pt idx="2156">
                  <c:v>41739</c:v>
                </c:pt>
                <c:pt idx="2157">
                  <c:v>41740</c:v>
                </c:pt>
                <c:pt idx="2158">
                  <c:v>41743</c:v>
                </c:pt>
                <c:pt idx="2159">
                  <c:v>41744</c:v>
                </c:pt>
                <c:pt idx="2160">
                  <c:v>41745</c:v>
                </c:pt>
                <c:pt idx="2161">
                  <c:v>41746</c:v>
                </c:pt>
                <c:pt idx="2162">
                  <c:v>41750</c:v>
                </c:pt>
                <c:pt idx="2163">
                  <c:v>41751</c:v>
                </c:pt>
                <c:pt idx="2164">
                  <c:v>41752</c:v>
                </c:pt>
                <c:pt idx="2165">
                  <c:v>41753</c:v>
                </c:pt>
                <c:pt idx="2166">
                  <c:v>41754</c:v>
                </c:pt>
                <c:pt idx="2167">
                  <c:v>41757</c:v>
                </c:pt>
                <c:pt idx="2168">
                  <c:v>41758</c:v>
                </c:pt>
                <c:pt idx="2169">
                  <c:v>41759</c:v>
                </c:pt>
                <c:pt idx="2170">
                  <c:v>41760</c:v>
                </c:pt>
                <c:pt idx="2171">
                  <c:v>41761</c:v>
                </c:pt>
                <c:pt idx="2172">
                  <c:v>41764</c:v>
                </c:pt>
                <c:pt idx="2173">
                  <c:v>41765</c:v>
                </c:pt>
                <c:pt idx="2174">
                  <c:v>41766</c:v>
                </c:pt>
                <c:pt idx="2175">
                  <c:v>41767</c:v>
                </c:pt>
                <c:pt idx="2176">
                  <c:v>41768</c:v>
                </c:pt>
                <c:pt idx="2177">
                  <c:v>41771</c:v>
                </c:pt>
                <c:pt idx="2178">
                  <c:v>41772</c:v>
                </c:pt>
                <c:pt idx="2179">
                  <c:v>41773</c:v>
                </c:pt>
                <c:pt idx="2180">
                  <c:v>41774</c:v>
                </c:pt>
                <c:pt idx="2181">
                  <c:v>41775</c:v>
                </c:pt>
                <c:pt idx="2182">
                  <c:v>41778</c:v>
                </c:pt>
                <c:pt idx="2183">
                  <c:v>41779</c:v>
                </c:pt>
                <c:pt idx="2184">
                  <c:v>41780</c:v>
                </c:pt>
                <c:pt idx="2185">
                  <c:v>41781</c:v>
                </c:pt>
                <c:pt idx="2186">
                  <c:v>41782</c:v>
                </c:pt>
                <c:pt idx="2187">
                  <c:v>41786</c:v>
                </c:pt>
                <c:pt idx="2188">
                  <c:v>41787</c:v>
                </c:pt>
                <c:pt idx="2189">
                  <c:v>41788</c:v>
                </c:pt>
                <c:pt idx="2190">
                  <c:v>41789</c:v>
                </c:pt>
                <c:pt idx="2191">
                  <c:v>41792</c:v>
                </c:pt>
                <c:pt idx="2192">
                  <c:v>41793</c:v>
                </c:pt>
                <c:pt idx="2193">
                  <c:v>41794</c:v>
                </c:pt>
                <c:pt idx="2194">
                  <c:v>41795</c:v>
                </c:pt>
                <c:pt idx="2195">
                  <c:v>41796</c:v>
                </c:pt>
                <c:pt idx="2196">
                  <c:v>41799</c:v>
                </c:pt>
                <c:pt idx="2197">
                  <c:v>41800</c:v>
                </c:pt>
                <c:pt idx="2198">
                  <c:v>41801</c:v>
                </c:pt>
                <c:pt idx="2199">
                  <c:v>41802</c:v>
                </c:pt>
                <c:pt idx="2200">
                  <c:v>41803</c:v>
                </c:pt>
                <c:pt idx="2201">
                  <c:v>41806</c:v>
                </c:pt>
                <c:pt idx="2202">
                  <c:v>41807</c:v>
                </c:pt>
                <c:pt idx="2203">
                  <c:v>41808</c:v>
                </c:pt>
                <c:pt idx="2204">
                  <c:v>41809</c:v>
                </c:pt>
                <c:pt idx="2205">
                  <c:v>41810</c:v>
                </c:pt>
                <c:pt idx="2206">
                  <c:v>41813</c:v>
                </c:pt>
                <c:pt idx="2207">
                  <c:v>41814</c:v>
                </c:pt>
                <c:pt idx="2208">
                  <c:v>41815</c:v>
                </c:pt>
                <c:pt idx="2209">
                  <c:v>41816</c:v>
                </c:pt>
                <c:pt idx="2210">
                  <c:v>41817</c:v>
                </c:pt>
                <c:pt idx="2211">
                  <c:v>41820</c:v>
                </c:pt>
                <c:pt idx="2212">
                  <c:v>41821</c:v>
                </c:pt>
                <c:pt idx="2213">
                  <c:v>41822</c:v>
                </c:pt>
                <c:pt idx="2214">
                  <c:v>41823</c:v>
                </c:pt>
                <c:pt idx="2215">
                  <c:v>41827</c:v>
                </c:pt>
                <c:pt idx="2216">
                  <c:v>41828</c:v>
                </c:pt>
                <c:pt idx="2217">
                  <c:v>41829</c:v>
                </c:pt>
                <c:pt idx="2218">
                  <c:v>41830</c:v>
                </c:pt>
                <c:pt idx="2219">
                  <c:v>41831</c:v>
                </c:pt>
                <c:pt idx="2220">
                  <c:v>41834</c:v>
                </c:pt>
                <c:pt idx="2221">
                  <c:v>41835</c:v>
                </c:pt>
                <c:pt idx="2222">
                  <c:v>41836</c:v>
                </c:pt>
                <c:pt idx="2223">
                  <c:v>41837</c:v>
                </c:pt>
                <c:pt idx="2224">
                  <c:v>41838</c:v>
                </c:pt>
                <c:pt idx="2225">
                  <c:v>41841</c:v>
                </c:pt>
                <c:pt idx="2226">
                  <c:v>41842</c:v>
                </c:pt>
                <c:pt idx="2227">
                  <c:v>41843</c:v>
                </c:pt>
                <c:pt idx="2228">
                  <c:v>41844</c:v>
                </c:pt>
                <c:pt idx="2229">
                  <c:v>41845</c:v>
                </c:pt>
                <c:pt idx="2230">
                  <c:v>41848</c:v>
                </c:pt>
                <c:pt idx="2231">
                  <c:v>41849</c:v>
                </c:pt>
                <c:pt idx="2232">
                  <c:v>41850</c:v>
                </c:pt>
                <c:pt idx="2233">
                  <c:v>41851</c:v>
                </c:pt>
                <c:pt idx="2234">
                  <c:v>41852</c:v>
                </c:pt>
                <c:pt idx="2235">
                  <c:v>41855</c:v>
                </c:pt>
                <c:pt idx="2236">
                  <c:v>41856</c:v>
                </c:pt>
                <c:pt idx="2237">
                  <c:v>41857</c:v>
                </c:pt>
                <c:pt idx="2238">
                  <c:v>41858</c:v>
                </c:pt>
                <c:pt idx="2239">
                  <c:v>41859</c:v>
                </c:pt>
                <c:pt idx="2240">
                  <c:v>41862</c:v>
                </c:pt>
                <c:pt idx="2241">
                  <c:v>41863</c:v>
                </c:pt>
                <c:pt idx="2242">
                  <c:v>41864</c:v>
                </c:pt>
                <c:pt idx="2243">
                  <c:v>41865</c:v>
                </c:pt>
                <c:pt idx="2244">
                  <c:v>41866</c:v>
                </c:pt>
                <c:pt idx="2245">
                  <c:v>41869</c:v>
                </c:pt>
                <c:pt idx="2246">
                  <c:v>41870</c:v>
                </c:pt>
                <c:pt idx="2247">
                  <c:v>41871</c:v>
                </c:pt>
                <c:pt idx="2248">
                  <c:v>41872</c:v>
                </c:pt>
                <c:pt idx="2249">
                  <c:v>41873</c:v>
                </c:pt>
                <c:pt idx="2250">
                  <c:v>41876</c:v>
                </c:pt>
                <c:pt idx="2251">
                  <c:v>41877</c:v>
                </c:pt>
                <c:pt idx="2252">
                  <c:v>41878</c:v>
                </c:pt>
                <c:pt idx="2253">
                  <c:v>41879</c:v>
                </c:pt>
                <c:pt idx="2254">
                  <c:v>41880</c:v>
                </c:pt>
                <c:pt idx="2255">
                  <c:v>41884</c:v>
                </c:pt>
                <c:pt idx="2256">
                  <c:v>41885</c:v>
                </c:pt>
                <c:pt idx="2257">
                  <c:v>41886</c:v>
                </c:pt>
                <c:pt idx="2258">
                  <c:v>41887</c:v>
                </c:pt>
                <c:pt idx="2259">
                  <c:v>41890</c:v>
                </c:pt>
                <c:pt idx="2260">
                  <c:v>41891</c:v>
                </c:pt>
                <c:pt idx="2261">
                  <c:v>41892</c:v>
                </c:pt>
                <c:pt idx="2262">
                  <c:v>41893</c:v>
                </c:pt>
                <c:pt idx="2263">
                  <c:v>41894</c:v>
                </c:pt>
                <c:pt idx="2264">
                  <c:v>41897</c:v>
                </c:pt>
                <c:pt idx="2265">
                  <c:v>41898</c:v>
                </c:pt>
                <c:pt idx="2266">
                  <c:v>41899</c:v>
                </c:pt>
                <c:pt idx="2267">
                  <c:v>41900</c:v>
                </c:pt>
                <c:pt idx="2268">
                  <c:v>41901</c:v>
                </c:pt>
                <c:pt idx="2269">
                  <c:v>41904</c:v>
                </c:pt>
                <c:pt idx="2270">
                  <c:v>41905</c:v>
                </c:pt>
                <c:pt idx="2271">
                  <c:v>41906</c:v>
                </c:pt>
                <c:pt idx="2272">
                  <c:v>41907</c:v>
                </c:pt>
                <c:pt idx="2273">
                  <c:v>41908</c:v>
                </c:pt>
                <c:pt idx="2274">
                  <c:v>41911</c:v>
                </c:pt>
                <c:pt idx="2275">
                  <c:v>41912</c:v>
                </c:pt>
                <c:pt idx="2276">
                  <c:v>41913</c:v>
                </c:pt>
                <c:pt idx="2277">
                  <c:v>41914</c:v>
                </c:pt>
                <c:pt idx="2278">
                  <c:v>41915</c:v>
                </c:pt>
                <c:pt idx="2279">
                  <c:v>41918</c:v>
                </c:pt>
                <c:pt idx="2280">
                  <c:v>41919</c:v>
                </c:pt>
                <c:pt idx="2281">
                  <c:v>41920</c:v>
                </c:pt>
                <c:pt idx="2282">
                  <c:v>41921</c:v>
                </c:pt>
                <c:pt idx="2283">
                  <c:v>41922</c:v>
                </c:pt>
                <c:pt idx="2284">
                  <c:v>41925</c:v>
                </c:pt>
                <c:pt idx="2285">
                  <c:v>41926</c:v>
                </c:pt>
                <c:pt idx="2286">
                  <c:v>41927</c:v>
                </c:pt>
                <c:pt idx="2287">
                  <c:v>41928</c:v>
                </c:pt>
                <c:pt idx="2288">
                  <c:v>41929</c:v>
                </c:pt>
                <c:pt idx="2289">
                  <c:v>41932</c:v>
                </c:pt>
                <c:pt idx="2290">
                  <c:v>41933</c:v>
                </c:pt>
                <c:pt idx="2291">
                  <c:v>41934</c:v>
                </c:pt>
                <c:pt idx="2292">
                  <c:v>41935</c:v>
                </c:pt>
                <c:pt idx="2293">
                  <c:v>41936</c:v>
                </c:pt>
                <c:pt idx="2294">
                  <c:v>41939</c:v>
                </c:pt>
                <c:pt idx="2295">
                  <c:v>41940</c:v>
                </c:pt>
                <c:pt idx="2296">
                  <c:v>41941</c:v>
                </c:pt>
                <c:pt idx="2297">
                  <c:v>41942</c:v>
                </c:pt>
                <c:pt idx="2298">
                  <c:v>41943</c:v>
                </c:pt>
                <c:pt idx="2299">
                  <c:v>41946</c:v>
                </c:pt>
                <c:pt idx="2300">
                  <c:v>41947</c:v>
                </c:pt>
                <c:pt idx="2301">
                  <c:v>41948</c:v>
                </c:pt>
                <c:pt idx="2302">
                  <c:v>41949</c:v>
                </c:pt>
                <c:pt idx="2303">
                  <c:v>41950</c:v>
                </c:pt>
                <c:pt idx="2304">
                  <c:v>41953</c:v>
                </c:pt>
                <c:pt idx="2305">
                  <c:v>41954</c:v>
                </c:pt>
                <c:pt idx="2306">
                  <c:v>41955</c:v>
                </c:pt>
                <c:pt idx="2307">
                  <c:v>41956</c:v>
                </c:pt>
                <c:pt idx="2308">
                  <c:v>41957</c:v>
                </c:pt>
                <c:pt idx="2309">
                  <c:v>41960</c:v>
                </c:pt>
                <c:pt idx="2310">
                  <c:v>41961</c:v>
                </c:pt>
                <c:pt idx="2311">
                  <c:v>41962</c:v>
                </c:pt>
                <c:pt idx="2312">
                  <c:v>41963</c:v>
                </c:pt>
                <c:pt idx="2313">
                  <c:v>41964</c:v>
                </c:pt>
                <c:pt idx="2314">
                  <c:v>41967</c:v>
                </c:pt>
                <c:pt idx="2315">
                  <c:v>41968</c:v>
                </c:pt>
                <c:pt idx="2316">
                  <c:v>41969</c:v>
                </c:pt>
                <c:pt idx="2317">
                  <c:v>41971</c:v>
                </c:pt>
                <c:pt idx="2318">
                  <c:v>41974</c:v>
                </c:pt>
                <c:pt idx="2319">
                  <c:v>41975</c:v>
                </c:pt>
                <c:pt idx="2320">
                  <c:v>41976</c:v>
                </c:pt>
                <c:pt idx="2321">
                  <c:v>41977</c:v>
                </c:pt>
                <c:pt idx="2322">
                  <c:v>41978</c:v>
                </c:pt>
                <c:pt idx="2323">
                  <c:v>41981</c:v>
                </c:pt>
                <c:pt idx="2324">
                  <c:v>41982</c:v>
                </c:pt>
                <c:pt idx="2325">
                  <c:v>41983</c:v>
                </c:pt>
                <c:pt idx="2326">
                  <c:v>41984</c:v>
                </c:pt>
                <c:pt idx="2327">
                  <c:v>41985</c:v>
                </c:pt>
                <c:pt idx="2328">
                  <c:v>41988</c:v>
                </c:pt>
                <c:pt idx="2329">
                  <c:v>41989</c:v>
                </c:pt>
                <c:pt idx="2330">
                  <c:v>41990</c:v>
                </c:pt>
                <c:pt idx="2331">
                  <c:v>41991</c:v>
                </c:pt>
                <c:pt idx="2332">
                  <c:v>41992</c:v>
                </c:pt>
                <c:pt idx="2333">
                  <c:v>41995</c:v>
                </c:pt>
                <c:pt idx="2334">
                  <c:v>41996</c:v>
                </c:pt>
                <c:pt idx="2335">
                  <c:v>41997</c:v>
                </c:pt>
                <c:pt idx="2336">
                  <c:v>41999</c:v>
                </c:pt>
                <c:pt idx="2337">
                  <c:v>42002</c:v>
                </c:pt>
                <c:pt idx="2338">
                  <c:v>42003</c:v>
                </c:pt>
                <c:pt idx="2339">
                  <c:v>42004</c:v>
                </c:pt>
                <c:pt idx="2340">
                  <c:v>42006</c:v>
                </c:pt>
                <c:pt idx="2341">
                  <c:v>42009</c:v>
                </c:pt>
                <c:pt idx="2342">
                  <c:v>42010</c:v>
                </c:pt>
                <c:pt idx="2343">
                  <c:v>42011</c:v>
                </c:pt>
                <c:pt idx="2344">
                  <c:v>42012</c:v>
                </c:pt>
                <c:pt idx="2345">
                  <c:v>42013</c:v>
                </c:pt>
                <c:pt idx="2346">
                  <c:v>42016</c:v>
                </c:pt>
                <c:pt idx="2347">
                  <c:v>42017</c:v>
                </c:pt>
                <c:pt idx="2348">
                  <c:v>42018</c:v>
                </c:pt>
                <c:pt idx="2349">
                  <c:v>42019</c:v>
                </c:pt>
                <c:pt idx="2350">
                  <c:v>42020</c:v>
                </c:pt>
                <c:pt idx="2351">
                  <c:v>42024</c:v>
                </c:pt>
                <c:pt idx="2352">
                  <c:v>42025</c:v>
                </c:pt>
                <c:pt idx="2353">
                  <c:v>42026</c:v>
                </c:pt>
                <c:pt idx="2354">
                  <c:v>42027</c:v>
                </c:pt>
                <c:pt idx="2355">
                  <c:v>42030</c:v>
                </c:pt>
                <c:pt idx="2356">
                  <c:v>42031</c:v>
                </c:pt>
                <c:pt idx="2357">
                  <c:v>42032</c:v>
                </c:pt>
                <c:pt idx="2358">
                  <c:v>42033</c:v>
                </c:pt>
                <c:pt idx="2359">
                  <c:v>42034</c:v>
                </c:pt>
                <c:pt idx="2360">
                  <c:v>42037</c:v>
                </c:pt>
                <c:pt idx="2361">
                  <c:v>42038</c:v>
                </c:pt>
                <c:pt idx="2362">
                  <c:v>42039</c:v>
                </c:pt>
                <c:pt idx="2363">
                  <c:v>42040</c:v>
                </c:pt>
                <c:pt idx="2364">
                  <c:v>42041</c:v>
                </c:pt>
                <c:pt idx="2365">
                  <c:v>42044</c:v>
                </c:pt>
                <c:pt idx="2366">
                  <c:v>42045</c:v>
                </c:pt>
                <c:pt idx="2367">
                  <c:v>42046</c:v>
                </c:pt>
                <c:pt idx="2368">
                  <c:v>42047</c:v>
                </c:pt>
                <c:pt idx="2369">
                  <c:v>42048</c:v>
                </c:pt>
                <c:pt idx="2370">
                  <c:v>42052</c:v>
                </c:pt>
                <c:pt idx="2371">
                  <c:v>42053</c:v>
                </c:pt>
                <c:pt idx="2372">
                  <c:v>42054</c:v>
                </c:pt>
                <c:pt idx="2373">
                  <c:v>42055</c:v>
                </c:pt>
                <c:pt idx="2374">
                  <c:v>42058</c:v>
                </c:pt>
                <c:pt idx="2375">
                  <c:v>42059</c:v>
                </c:pt>
                <c:pt idx="2376">
                  <c:v>42060</c:v>
                </c:pt>
                <c:pt idx="2377">
                  <c:v>42061</c:v>
                </c:pt>
                <c:pt idx="2378">
                  <c:v>42062</c:v>
                </c:pt>
                <c:pt idx="2379">
                  <c:v>42065</c:v>
                </c:pt>
                <c:pt idx="2380">
                  <c:v>42066</c:v>
                </c:pt>
                <c:pt idx="2381">
                  <c:v>42067</c:v>
                </c:pt>
                <c:pt idx="2382">
                  <c:v>42068</c:v>
                </c:pt>
                <c:pt idx="2383">
                  <c:v>42069</c:v>
                </c:pt>
                <c:pt idx="2384">
                  <c:v>42072</c:v>
                </c:pt>
                <c:pt idx="2385">
                  <c:v>42073</c:v>
                </c:pt>
                <c:pt idx="2386">
                  <c:v>42074</c:v>
                </c:pt>
                <c:pt idx="2387">
                  <c:v>42075</c:v>
                </c:pt>
                <c:pt idx="2388">
                  <c:v>42076</c:v>
                </c:pt>
                <c:pt idx="2389">
                  <c:v>42079</c:v>
                </c:pt>
                <c:pt idx="2390">
                  <c:v>42080</c:v>
                </c:pt>
                <c:pt idx="2391">
                  <c:v>42081</c:v>
                </c:pt>
                <c:pt idx="2392">
                  <c:v>42082</c:v>
                </c:pt>
                <c:pt idx="2393">
                  <c:v>42083</c:v>
                </c:pt>
                <c:pt idx="2394">
                  <c:v>42086</c:v>
                </c:pt>
                <c:pt idx="2395">
                  <c:v>42087</c:v>
                </c:pt>
                <c:pt idx="2396">
                  <c:v>42088</c:v>
                </c:pt>
                <c:pt idx="2397">
                  <c:v>42089</c:v>
                </c:pt>
                <c:pt idx="2398">
                  <c:v>42090</c:v>
                </c:pt>
                <c:pt idx="2399">
                  <c:v>42093</c:v>
                </c:pt>
                <c:pt idx="2400">
                  <c:v>42094</c:v>
                </c:pt>
                <c:pt idx="2401">
                  <c:v>42095</c:v>
                </c:pt>
                <c:pt idx="2402">
                  <c:v>42096</c:v>
                </c:pt>
                <c:pt idx="2403">
                  <c:v>42100</c:v>
                </c:pt>
                <c:pt idx="2404">
                  <c:v>42101</c:v>
                </c:pt>
                <c:pt idx="2405">
                  <c:v>42102</c:v>
                </c:pt>
                <c:pt idx="2406">
                  <c:v>42103</c:v>
                </c:pt>
                <c:pt idx="2407">
                  <c:v>42104</c:v>
                </c:pt>
                <c:pt idx="2408">
                  <c:v>42107</c:v>
                </c:pt>
                <c:pt idx="2409">
                  <c:v>42108</c:v>
                </c:pt>
                <c:pt idx="2410">
                  <c:v>42109</c:v>
                </c:pt>
                <c:pt idx="2411">
                  <c:v>42110</c:v>
                </c:pt>
                <c:pt idx="2412">
                  <c:v>42111</c:v>
                </c:pt>
                <c:pt idx="2413">
                  <c:v>42114</c:v>
                </c:pt>
                <c:pt idx="2414">
                  <c:v>42115</c:v>
                </c:pt>
                <c:pt idx="2415">
                  <c:v>42116</c:v>
                </c:pt>
                <c:pt idx="2416">
                  <c:v>42117</c:v>
                </c:pt>
                <c:pt idx="2417">
                  <c:v>42118</c:v>
                </c:pt>
                <c:pt idx="2418">
                  <c:v>42121</c:v>
                </c:pt>
                <c:pt idx="2419">
                  <c:v>42122</c:v>
                </c:pt>
                <c:pt idx="2420">
                  <c:v>42123</c:v>
                </c:pt>
                <c:pt idx="2421">
                  <c:v>42124</c:v>
                </c:pt>
                <c:pt idx="2422">
                  <c:v>42125</c:v>
                </c:pt>
                <c:pt idx="2423">
                  <c:v>42128</c:v>
                </c:pt>
                <c:pt idx="2424">
                  <c:v>42129</c:v>
                </c:pt>
                <c:pt idx="2425">
                  <c:v>42130</c:v>
                </c:pt>
                <c:pt idx="2426">
                  <c:v>42131</c:v>
                </c:pt>
                <c:pt idx="2427">
                  <c:v>42132</c:v>
                </c:pt>
                <c:pt idx="2428">
                  <c:v>42135</c:v>
                </c:pt>
                <c:pt idx="2429">
                  <c:v>42136</c:v>
                </c:pt>
                <c:pt idx="2430">
                  <c:v>42137</c:v>
                </c:pt>
                <c:pt idx="2431">
                  <c:v>42138</c:v>
                </c:pt>
                <c:pt idx="2432">
                  <c:v>42139</c:v>
                </c:pt>
                <c:pt idx="2433">
                  <c:v>42142</c:v>
                </c:pt>
                <c:pt idx="2434">
                  <c:v>42143</c:v>
                </c:pt>
                <c:pt idx="2435">
                  <c:v>42144</c:v>
                </c:pt>
                <c:pt idx="2436">
                  <c:v>42145</c:v>
                </c:pt>
                <c:pt idx="2437">
                  <c:v>42146</c:v>
                </c:pt>
                <c:pt idx="2438">
                  <c:v>42150</c:v>
                </c:pt>
                <c:pt idx="2439">
                  <c:v>42151</c:v>
                </c:pt>
                <c:pt idx="2440">
                  <c:v>42152</c:v>
                </c:pt>
                <c:pt idx="2441">
                  <c:v>42153</c:v>
                </c:pt>
                <c:pt idx="2442">
                  <c:v>42156</c:v>
                </c:pt>
                <c:pt idx="2443">
                  <c:v>42157</c:v>
                </c:pt>
                <c:pt idx="2444">
                  <c:v>42158</c:v>
                </c:pt>
                <c:pt idx="2445">
                  <c:v>42159</c:v>
                </c:pt>
                <c:pt idx="2446">
                  <c:v>42160</c:v>
                </c:pt>
                <c:pt idx="2447">
                  <c:v>42163</c:v>
                </c:pt>
                <c:pt idx="2448">
                  <c:v>42164</c:v>
                </c:pt>
                <c:pt idx="2449">
                  <c:v>42165</c:v>
                </c:pt>
                <c:pt idx="2450">
                  <c:v>42166</c:v>
                </c:pt>
                <c:pt idx="2451">
                  <c:v>42167</c:v>
                </c:pt>
                <c:pt idx="2452">
                  <c:v>42170</c:v>
                </c:pt>
                <c:pt idx="2453">
                  <c:v>42171</c:v>
                </c:pt>
                <c:pt idx="2454">
                  <c:v>42172</c:v>
                </c:pt>
                <c:pt idx="2455">
                  <c:v>42173</c:v>
                </c:pt>
                <c:pt idx="2456">
                  <c:v>42174</c:v>
                </c:pt>
                <c:pt idx="2457">
                  <c:v>42177</c:v>
                </c:pt>
                <c:pt idx="2458">
                  <c:v>42178</c:v>
                </c:pt>
                <c:pt idx="2459">
                  <c:v>42179</c:v>
                </c:pt>
                <c:pt idx="2460">
                  <c:v>42180</c:v>
                </c:pt>
                <c:pt idx="2461">
                  <c:v>42181</c:v>
                </c:pt>
                <c:pt idx="2462">
                  <c:v>42184</c:v>
                </c:pt>
                <c:pt idx="2463">
                  <c:v>42185</c:v>
                </c:pt>
                <c:pt idx="2464">
                  <c:v>42186</c:v>
                </c:pt>
                <c:pt idx="2465">
                  <c:v>42187</c:v>
                </c:pt>
                <c:pt idx="2466">
                  <c:v>42191</c:v>
                </c:pt>
                <c:pt idx="2467">
                  <c:v>42192</c:v>
                </c:pt>
                <c:pt idx="2468">
                  <c:v>42193</c:v>
                </c:pt>
                <c:pt idx="2469">
                  <c:v>42194</c:v>
                </c:pt>
                <c:pt idx="2470">
                  <c:v>42195</c:v>
                </c:pt>
                <c:pt idx="2471">
                  <c:v>42198</c:v>
                </c:pt>
                <c:pt idx="2472">
                  <c:v>42199</c:v>
                </c:pt>
                <c:pt idx="2473">
                  <c:v>42200</c:v>
                </c:pt>
                <c:pt idx="2474">
                  <c:v>42201</c:v>
                </c:pt>
                <c:pt idx="2475">
                  <c:v>42202</c:v>
                </c:pt>
                <c:pt idx="2476">
                  <c:v>42205</c:v>
                </c:pt>
                <c:pt idx="2477">
                  <c:v>42206</c:v>
                </c:pt>
                <c:pt idx="2478">
                  <c:v>42207</c:v>
                </c:pt>
                <c:pt idx="2479">
                  <c:v>42208</c:v>
                </c:pt>
                <c:pt idx="2480">
                  <c:v>42209</c:v>
                </c:pt>
                <c:pt idx="2481">
                  <c:v>42212</c:v>
                </c:pt>
                <c:pt idx="2482">
                  <c:v>42213</c:v>
                </c:pt>
                <c:pt idx="2483">
                  <c:v>42214</c:v>
                </c:pt>
                <c:pt idx="2484">
                  <c:v>42215</c:v>
                </c:pt>
                <c:pt idx="2485">
                  <c:v>42216</c:v>
                </c:pt>
                <c:pt idx="2486">
                  <c:v>42219</c:v>
                </c:pt>
                <c:pt idx="2487">
                  <c:v>42220</c:v>
                </c:pt>
                <c:pt idx="2488">
                  <c:v>42221</c:v>
                </c:pt>
                <c:pt idx="2489">
                  <c:v>42222</c:v>
                </c:pt>
                <c:pt idx="2490">
                  <c:v>42223</c:v>
                </c:pt>
                <c:pt idx="2491">
                  <c:v>42226</c:v>
                </c:pt>
                <c:pt idx="2492">
                  <c:v>42227</c:v>
                </c:pt>
                <c:pt idx="2493">
                  <c:v>42228</c:v>
                </c:pt>
                <c:pt idx="2494">
                  <c:v>42229</c:v>
                </c:pt>
                <c:pt idx="2495">
                  <c:v>42230</c:v>
                </c:pt>
                <c:pt idx="2496">
                  <c:v>42233</c:v>
                </c:pt>
                <c:pt idx="2497">
                  <c:v>42234</c:v>
                </c:pt>
                <c:pt idx="2498">
                  <c:v>42235</c:v>
                </c:pt>
                <c:pt idx="2499">
                  <c:v>42236</c:v>
                </c:pt>
                <c:pt idx="2500">
                  <c:v>42237</c:v>
                </c:pt>
                <c:pt idx="2501">
                  <c:v>42240</c:v>
                </c:pt>
                <c:pt idx="2502">
                  <c:v>42241</c:v>
                </c:pt>
                <c:pt idx="2503">
                  <c:v>42242</c:v>
                </c:pt>
                <c:pt idx="2504">
                  <c:v>42243</c:v>
                </c:pt>
                <c:pt idx="2505">
                  <c:v>42244</c:v>
                </c:pt>
                <c:pt idx="2506">
                  <c:v>42247</c:v>
                </c:pt>
                <c:pt idx="2507">
                  <c:v>42248</c:v>
                </c:pt>
                <c:pt idx="2508">
                  <c:v>42249</c:v>
                </c:pt>
                <c:pt idx="2509">
                  <c:v>42250</c:v>
                </c:pt>
                <c:pt idx="2510">
                  <c:v>42251</c:v>
                </c:pt>
                <c:pt idx="2511">
                  <c:v>42255</c:v>
                </c:pt>
                <c:pt idx="2512">
                  <c:v>42256</c:v>
                </c:pt>
                <c:pt idx="2513">
                  <c:v>42257</c:v>
                </c:pt>
                <c:pt idx="2514">
                  <c:v>42258</c:v>
                </c:pt>
                <c:pt idx="2515">
                  <c:v>42261</c:v>
                </c:pt>
                <c:pt idx="2516">
                  <c:v>42262</c:v>
                </c:pt>
                <c:pt idx="2517">
                  <c:v>42263</c:v>
                </c:pt>
                <c:pt idx="2518">
                  <c:v>42264</c:v>
                </c:pt>
                <c:pt idx="2519">
                  <c:v>42265</c:v>
                </c:pt>
                <c:pt idx="2520">
                  <c:v>42268</c:v>
                </c:pt>
                <c:pt idx="2521">
                  <c:v>42269</c:v>
                </c:pt>
                <c:pt idx="2522">
                  <c:v>42270</c:v>
                </c:pt>
                <c:pt idx="2523">
                  <c:v>42271</c:v>
                </c:pt>
                <c:pt idx="2524">
                  <c:v>42272</c:v>
                </c:pt>
                <c:pt idx="2525">
                  <c:v>42275</c:v>
                </c:pt>
                <c:pt idx="2526">
                  <c:v>42276</c:v>
                </c:pt>
                <c:pt idx="2527">
                  <c:v>42277</c:v>
                </c:pt>
                <c:pt idx="2528">
                  <c:v>42278</c:v>
                </c:pt>
                <c:pt idx="2529">
                  <c:v>42279</c:v>
                </c:pt>
                <c:pt idx="2530">
                  <c:v>42282</c:v>
                </c:pt>
                <c:pt idx="2531">
                  <c:v>42283</c:v>
                </c:pt>
                <c:pt idx="2532">
                  <c:v>42284</c:v>
                </c:pt>
                <c:pt idx="2533">
                  <c:v>42285</c:v>
                </c:pt>
                <c:pt idx="2534">
                  <c:v>42286</c:v>
                </c:pt>
                <c:pt idx="2535">
                  <c:v>42289</c:v>
                </c:pt>
                <c:pt idx="2536">
                  <c:v>42290</c:v>
                </c:pt>
                <c:pt idx="2537">
                  <c:v>42291</c:v>
                </c:pt>
                <c:pt idx="2538">
                  <c:v>42292</c:v>
                </c:pt>
                <c:pt idx="2539">
                  <c:v>42293</c:v>
                </c:pt>
                <c:pt idx="2540">
                  <c:v>42296</c:v>
                </c:pt>
                <c:pt idx="2541">
                  <c:v>42297</c:v>
                </c:pt>
                <c:pt idx="2542">
                  <c:v>42298</c:v>
                </c:pt>
                <c:pt idx="2543">
                  <c:v>42299</c:v>
                </c:pt>
                <c:pt idx="2544">
                  <c:v>42300</c:v>
                </c:pt>
                <c:pt idx="2545">
                  <c:v>42303</c:v>
                </c:pt>
                <c:pt idx="2546">
                  <c:v>42304</c:v>
                </c:pt>
                <c:pt idx="2547">
                  <c:v>42305</c:v>
                </c:pt>
                <c:pt idx="2548">
                  <c:v>42306</c:v>
                </c:pt>
                <c:pt idx="2549">
                  <c:v>42307</c:v>
                </c:pt>
                <c:pt idx="2550">
                  <c:v>42310</c:v>
                </c:pt>
                <c:pt idx="2551">
                  <c:v>42311</c:v>
                </c:pt>
                <c:pt idx="2552">
                  <c:v>42312</c:v>
                </c:pt>
                <c:pt idx="2553">
                  <c:v>42313</c:v>
                </c:pt>
                <c:pt idx="2554">
                  <c:v>42314</c:v>
                </c:pt>
                <c:pt idx="2555">
                  <c:v>42317</c:v>
                </c:pt>
                <c:pt idx="2556">
                  <c:v>42318</c:v>
                </c:pt>
                <c:pt idx="2557">
                  <c:v>42319</c:v>
                </c:pt>
                <c:pt idx="2558">
                  <c:v>42320</c:v>
                </c:pt>
                <c:pt idx="2559">
                  <c:v>42321</c:v>
                </c:pt>
                <c:pt idx="2560">
                  <c:v>42324</c:v>
                </c:pt>
                <c:pt idx="2561">
                  <c:v>42325</c:v>
                </c:pt>
                <c:pt idx="2562">
                  <c:v>42326</c:v>
                </c:pt>
                <c:pt idx="2563">
                  <c:v>42327</c:v>
                </c:pt>
                <c:pt idx="2564">
                  <c:v>42328</c:v>
                </c:pt>
                <c:pt idx="2565">
                  <c:v>42331</c:v>
                </c:pt>
                <c:pt idx="2566">
                  <c:v>42332</c:v>
                </c:pt>
                <c:pt idx="2567">
                  <c:v>42333</c:v>
                </c:pt>
                <c:pt idx="2568">
                  <c:v>42335</c:v>
                </c:pt>
                <c:pt idx="2569">
                  <c:v>42338</c:v>
                </c:pt>
                <c:pt idx="2570">
                  <c:v>42339</c:v>
                </c:pt>
                <c:pt idx="2571">
                  <c:v>42340</c:v>
                </c:pt>
                <c:pt idx="2572">
                  <c:v>42341</c:v>
                </c:pt>
                <c:pt idx="2573">
                  <c:v>42342</c:v>
                </c:pt>
                <c:pt idx="2574">
                  <c:v>42345</c:v>
                </c:pt>
                <c:pt idx="2575">
                  <c:v>42346</c:v>
                </c:pt>
                <c:pt idx="2576">
                  <c:v>42347</c:v>
                </c:pt>
                <c:pt idx="2577">
                  <c:v>42348</c:v>
                </c:pt>
                <c:pt idx="2578">
                  <c:v>42349</c:v>
                </c:pt>
                <c:pt idx="2579">
                  <c:v>42352</c:v>
                </c:pt>
                <c:pt idx="2580">
                  <c:v>42353</c:v>
                </c:pt>
                <c:pt idx="2581">
                  <c:v>42354</c:v>
                </c:pt>
                <c:pt idx="2582">
                  <c:v>42355</c:v>
                </c:pt>
                <c:pt idx="2583">
                  <c:v>42356</c:v>
                </c:pt>
                <c:pt idx="2584">
                  <c:v>42359</c:v>
                </c:pt>
                <c:pt idx="2585">
                  <c:v>42360</c:v>
                </c:pt>
                <c:pt idx="2586">
                  <c:v>42361</c:v>
                </c:pt>
                <c:pt idx="2587">
                  <c:v>42362</c:v>
                </c:pt>
                <c:pt idx="2588">
                  <c:v>42366</c:v>
                </c:pt>
                <c:pt idx="2589">
                  <c:v>42367</c:v>
                </c:pt>
                <c:pt idx="2590">
                  <c:v>42368</c:v>
                </c:pt>
                <c:pt idx="2591">
                  <c:v>42369</c:v>
                </c:pt>
                <c:pt idx="2592">
                  <c:v>42373</c:v>
                </c:pt>
                <c:pt idx="2593">
                  <c:v>42374</c:v>
                </c:pt>
                <c:pt idx="2594">
                  <c:v>42375</c:v>
                </c:pt>
                <c:pt idx="2595">
                  <c:v>42376</c:v>
                </c:pt>
                <c:pt idx="2596">
                  <c:v>42377</c:v>
                </c:pt>
                <c:pt idx="2597">
                  <c:v>42380</c:v>
                </c:pt>
                <c:pt idx="2598">
                  <c:v>42381</c:v>
                </c:pt>
                <c:pt idx="2599">
                  <c:v>42382</c:v>
                </c:pt>
                <c:pt idx="2600">
                  <c:v>42383</c:v>
                </c:pt>
                <c:pt idx="2601">
                  <c:v>42384</c:v>
                </c:pt>
                <c:pt idx="2602">
                  <c:v>42388</c:v>
                </c:pt>
                <c:pt idx="2603">
                  <c:v>42389</c:v>
                </c:pt>
                <c:pt idx="2604">
                  <c:v>42390</c:v>
                </c:pt>
                <c:pt idx="2605">
                  <c:v>42391</c:v>
                </c:pt>
                <c:pt idx="2606">
                  <c:v>42394</c:v>
                </c:pt>
                <c:pt idx="2607">
                  <c:v>42395</c:v>
                </c:pt>
                <c:pt idx="2608">
                  <c:v>42396</c:v>
                </c:pt>
                <c:pt idx="2609">
                  <c:v>42397</c:v>
                </c:pt>
                <c:pt idx="2610">
                  <c:v>42398</c:v>
                </c:pt>
                <c:pt idx="2611">
                  <c:v>42401</c:v>
                </c:pt>
                <c:pt idx="2612">
                  <c:v>42402</c:v>
                </c:pt>
                <c:pt idx="2613">
                  <c:v>42403</c:v>
                </c:pt>
                <c:pt idx="2614">
                  <c:v>42404</c:v>
                </c:pt>
                <c:pt idx="2615">
                  <c:v>42405</c:v>
                </c:pt>
                <c:pt idx="2616">
                  <c:v>42408</c:v>
                </c:pt>
                <c:pt idx="2617">
                  <c:v>42409</c:v>
                </c:pt>
                <c:pt idx="2618">
                  <c:v>42410</c:v>
                </c:pt>
                <c:pt idx="2619">
                  <c:v>42411</c:v>
                </c:pt>
                <c:pt idx="2620">
                  <c:v>42412</c:v>
                </c:pt>
                <c:pt idx="2621">
                  <c:v>42416</c:v>
                </c:pt>
                <c:pt idx="2622">
                  <c:v>42417</c:v>
                </c:pt>
                <c:pt idx="2623">
                  <c:v>42418</c:v>
                </c:pt>
                <c:pt idx="2624">
                  <c:v>42419</c:v>
                </c:pt>
                <c:pt idx="2625">
                  <c:v>42422</c:v>
                </c:pt>
                <c:pt idx="2626">
                  <c:v>42423</c:v>
                </c:pt>
              </c:numCache>
            </c:numRef>
          </c:cat>
          <c:val>
            <c:numRef>
              <c:f>'6M'!$P$137:$P$2763</c:f>
              <c:numCache>
                <c:formatCode>General</c:formatCode>
                <c:ptCount val="2627"/>
                <c:pt idx="0">
                  <c:v>100</c:v>
                </c:pt>
                <c:pt idx="1">
                  <c:v>100.82917253793589</c:v>
                </c:pt>
                <c:pt idx="2">
                  <c:v>100.26797422886141</c:v>
                </c:pt>
                <c:pt idx="3">
                  <c:v>99.479527257621783</c:v>
                </c:pt>
                <c:pt idx="4">
                  <c:v>98.5721616316291</c:v>
                </c:pt>
                <c:pt idx="5">
                  <c:v>98.932175641224035</c:v>
                </c:pt>
                <c:pt idx="6">
                  <c:v>98.986747900597024</c:v>
                </c:pt>
                <c:pt idx="7">
                  <c:v>99.014441285950483</c:v>
                </c:pt>
                <c:pt idx="8">
                  <c:v>99.016884819952239</c:v>
                </c:pt>
                <c:pt idx="9">
                  <c:v>99.11706971402505</c:v>
                </c:pt>
                <c:pt idx="10">
                  <c:v>99.995927443330331</c:v>
                </c:pt>
                <c:pt idx="11">
                  <c:v>100.08796722406386</c:v>
                </c:pt>
                <c:pt idx="12">
                  <c:v>99.916105332605653</c:v>
                </c:pt>
                <c:pt idx="13">
                  <c:v>98.919957971215112</c:v>
                </c:pt>
                <c:pt idx="14">
                  <c:v>97.447321479478347</c:v>
                </c:pt>
                <c:pt idx="15">
                  <c:v>97.048210925854974</c:v>
                </c:pt>
                <c:pt idx="16">
                  <c:v>97.407410424115994</c:v>
                </c:pt>
                <c:pt idx="17">
                  <c:v>96.709374210942087</c:v>
                </c:pt>
                <c:pt idx="18">
                  <c:v>96.50900442279648</c:v>
                </c:pt>
                <c:pt idx="19">
                  <c:v>95.923370773704264</c:v>
                </c:pt>
                <c:pt idx="20">
                  <c:v>95.854951821654524</c:v>
                </c:pt>
                <c:pt idx="21">
                  <c:v>96.647471349563759</c:v>
                </c:pt>
                <c:pt idx="22">
                  <c:v>96.934993850439355</c:v>
                </c:pt>
                <c:pt idx="23">
                  <c:v>95.960838295064818</c:v>
                </c:pt>
                <c:pt idx="24">
                  <c:v>97.396007265441028</c:v>
                </c:pt>
                <c:pt idx="25">
                  <c:v>95.933144909711345</c:v>
                </c:pt>
                <c:pt idx="26">
                  <c:v>96.078942438483949</c:v>
                </c:pt>
                <c:pt idx="27">
                  <c:v>97.690860368321964</c:v>
                </c:pt>
                <c:pt idx="28">
                  <c:v>97.459539149487185</c:v>
                </c:pt>
                <c:pt idx="29">
                  <c:v>97.039251301181793</c:v>
                </c:pt>
                <c:pt idx="30">
                  <c:v>96.022741156443132</c:v>
                </c:pt>
                <c:pt idx="31">
                  <c:v>97.611852768931229</c:v>
                </c:pt>
                <c:pt idx="32">
                  <c:v>98.312332516106906</c:v>
                </c:pt>
                <c:pt idx="33">
                  <c:v>97.966165199188694</c:v>
                </c:pt>
                <c:pt idx="34">
                  <c:v>98.943578799898944</c:v>
                </c:pt>
                <c:pt idx="35">
                  <c:v>99.365495670872207</c:v>
                </c:pt>
                <c:pt idx="36">
                  <c:v>99.381785897550728</c:v>
                </c:pt>
                <c:pt idx="37">
                  <c:v>99.599260423708742</c:v>
                </c:pt>
                <c:pt idx="38">
                  <c:v>99.255536640792315</c:v>
                </c:pt>
                <c:pt idx="39">
                  <c:v>99.423325975580923</c:v>
                </c:pt>
                <c:pt idx="40">
                  <c:v>100.26308716085781</c:v>
                </c:pt>
                <c:pt idx="41">
                  <c:v>100.56934342241368</c:v>
                </c:pt>
                <c:pt idx="42">
                  <c:v>100.49115033435686</c:v>
                </c:pt>
                <c:pt idx="43">
                  <c:v>100.10425745074238</c:v>
                </c:pt>
                <c:pt idx="44">
                  <c:v>100.28344994420594</c:v>
                </c:pt>
                <c:pt idx="45">
                  <c:v>101.22746858022526</c:v>
                </c:pt>
                <c:pt idx="46">
                  <c:v>101.67300627988236</c:v>
                </c:pt>
                <c:pt idx="47">
                  <c:v>102.20895473760513</c:v>
                </c:pt>
                <c:pt idx="48">
                  <c:v>102.72861296864943</c:v>
                </c:pt>
                <c:pt idx="49">
                  <c:v>103.08536893290868</c:v>
                </c:pt>
                <c:pt idx="50">
                  <c:v>103.30039992506495</c:v>
                </c:pt>
                <c:pt idx="51">
                  <c:v>102.42154219575966</c:v>
                </c:pt>
                <c:pt idx="52">
                  <c:v>102.42317121842748</c:v>
                </c:pt>
                <c:pt idx="53">
                  <c:v>101.7715621512873</c:v>
                </c:pt>
                <c:pt idx="54">
                  <c:v>103.0088048675197</c:v>
                </c:pt>
                <c:pt idx="55">
                  <c:v>103.0421998322106</c:v>
                </c:pt>
                <c:pt idx="56">
                  <c:v>102.79866094336697</c:v>
                </c:pt>
                <c:pt idx="57">
                  <c:v>102.92979726812894</c:v>
                </c:pt>
                <c:pt idx="58">
                  <c:v>102.41421159375425</c:v>
                </c:pt>
                <c:pt idx="59">
                  <c:v>102.2895913596637</c:v>
                </c:pt>
                <c:pt idx="60">
                  <c:v>102.57711386053931</c:v>
                </c:pt>
                <c:pt idx="61">
                  <c:v>102.6634520619354</c:v>
                </c:pt>
                <c:pt idx="62">
                  <c:v>103.23360999568305</c:v>
                </c:pt>
                <c:pt idx="63">
                  <c:v>103.66611551399733</c:v>
                </c:pt>
                <c:pt idx="64">
                  <c:v>103.51950347389081</c:v>
                </c:pt>
                <c:pt idx="65">
                  <c:v>103.22465037100986</c:v>
                </c:pt>
                <c:pt idx="66">
                  <c:v>102.62191198390521</c:v>
                </c:pt>
                <c:pt idx="67">
                  <c:v>102.59747664388743</c:v>
                </c:pt>
                <c:pt idx="68">
                  <c:v>102.85567673674173</c:v>
                </c:pt>
                <c:pt idx="69">
                  <c:v>103.28981127772387</c:v>
                </c:pt>
                <c:pt idx="70">
                  <c:v>103.33379488975584</c:v>
                </c:pt>
                <c:pt idx="71">
                  <c:v>102.34660715303848</c:v>
                </c:pt>
                <c:pt idx="72">
                  <c:v>102.4793725004683</c:v>
                </c:pt>
                <c:pt idx="73">
                  <c:v>102.17393075024636</c:v>
                </c:pt>
                <c:pt idx="74">
                  <c:v>101.67463530255019</c:v>
                </c:pt>
                <c:pt idx="75">
                  <c:v>103.34519804843077</c:v>
                </c:pt>
                <c:pt idx="76">
                  <c:v>103.72476033003994</c:v>
                </c:pt>
                <c:pt idx="77">
                  <c:v>103.72638935270778</c:v>
                </c:pt>
                <c:pt idx="78">
                  <c:v>104.70135941941625</c:v>
                </c:pt>
                <c:pt idx="79">
                  <c:v>105.08417974636109</c:v>
                </c:pt>
                <c:pt idx="80">
                  <c:v>105.04671222500052</c:v>
                </c:pt>
                <c:pt idx="81">
                  <c:v>105.41242781393295</c:v>
                </c:pt>
                <c:pt idx="82">
                  <c:v>104.75104461078566</c:v>
                </c:pt>
                <c:pt idx="83">
                  <c:v>104.87729386754405</c:v>
                </c:pt>
                <c:pt idx="84">
                  <c:v>104.49610256326707</c:v>
                </c:pt>
                <c:pt idx="85">
                  <c:v>104.08884689630446</c:v>
                </c:pt>
                <c:pt idx="86">
                  <c:v>104.66796445472528</c:v>
                </c:pt>
                <c:pt idx="87">
                  <c:v>102.74979026333142</c:v>
                </c:pt>
                <c:pt idx="88">
                  <c:v>102.93957140413599</c:v>
                </c:pt>
                <c:pt idx="89">
                  <c:v>103.18718284964925</c:v>
                </c:pt>
                <c:pt idx="90">
                  <c:v>103.00961937885356</c:v>
                </c:pt>
                <c:pt idx="91">
                  <c:v>103.75489724939511</c:v>
                </c:pt>
                <c:pt idx="92">
                  <c:v>104.56044895864716</c:v>
                </c:pt>
                <c:pt idx="93">
                  <c:v>104.68099663606809</c:v>
                </c:pt>
                <c:pt idx="94">
                  <c:v>104.26396683309837</c:v>
                </c:pt>
                <c:pt idx="95">
                  <c:v>104.45782053057258</c:v>
                </c:pt>
                <c:pt idx="96">
                  <c:v>103.51135836055148</c:v>
                </c:pt>
                <c:pt idx="97">
                  <c:v>102.95667614214842</c:v>
                </c:pt>
                <c:pt idx="98">
                  <c:v>103.03731276420704</c:v>
                </c:pt>
                <c:pt idx="99">
                  <c:v>102.20325315826763</c:v>
                </c:pt>
                <c:pt idx="100">
                  <c:v>103.08862697824436</c:v>
                </c:pt>
                <c:pt idx="101">
                  <c:v>102.93631335880035</c:v>
                </c:pt>
                <c:pt idx="102">
                  <c:v>103.19777149699036</c:v>
                </c:pt>
                <c:pt idx="103">
                  <c:v>102.86137831607924</c:v>
                </c:pt>
                <c:pt idx="104">
                  <c:v>103.89336417616248</c:v>
                </c:pt>
                <c:pt idx="105">
                  <c:v>104.25745074242704</c:v>
                </c:pt>
                <c:pt idx="106">
                  <c:v>105.0214623736489</c:v>
                </c:pt>
                <c:pt idx="107">
                  <c:v>104.84715694818891</c:v>
                </c:pt>
                <c:pt idx="108">
                  <c:v>104.5042476766064</c:v>
                </c:pt>
                <c:pt idx="109">
                  <c:v>105.28943660251031</c:v>
                </c:pt>
                <c:pt idx="110">
                  <c:v>104.8919550715548</c:v>
                </c:pt>
                <c:pt idx="111">
                  <c:v>105.02553493031856</c:v>
                </c:pt>
                <c:pt idx="112">
                  <c:v>105.40754074592948</c:v>
                </c:pt>
                <c:pt idx="113">
                  <c:v>104.31120849046616</c:v>
                </c:pt>
                <c:pt idx="114">
                  <c:v>105.17296148175903</c:v>
                </c:pt>
                <c:pt idx="115">
                  <c:v>105.00191410163474</c:v>
                </c:pt>
                <c:pt idx="116">
                  <c:v>104.84634243685502</c:v>
                </c:pt>
                <c:pt idx="117">
                  <c:v>104.11572577032412</c:v>
                </c:pt>
                <c:pt idx="118">
                  <c:v>103.92187207284992</c:v>
                </c:pt>
                <c:pt idx="119">
                  <c:v>104.13283050833654</c:v>
                </c:pt>
                <c:pt idx="120">
                  <c:v>103.6245754359672</c:v>
                </c:pt>
                <c:pt idx="121">
                  <c:v>104.38614353318727</c:v>
                </c:pt>
                <c:pt idx="122">
                  <c:v>104.59384392333821</c:v>
                </c:pt>
                <c:pt idx="123">
                  <c:v>105.68121655412837</c:v>
                </c:pt>
                <c:pt idx="124">
                  <c:v>106.13245583312293</c:v>
                </c:pt>
                <c:pt idx="125">
                  <c:v>106.32060795125965</c:v>
                </c:pt>
                <c:pt idx="126">
                  <c:v>106.4769941273733</c:v>
                </c:pt>
                <c:pt idx="127">
                  <c:v>106.30024516791153</c:v>
                </c:pt>
                <c:pt idx="128">
                  <c:v>105.66085377078025</c:v>
                </c:pt>
                <c:pt idx="129">
                  <c:v>106.29698712257586</c:v>
                </c:pt>
                <c:pt idx="130">
                  <c:v>106.02249680304305</c:v>
                </c:pt>
                <c:pt idx="131">
                  <c:v>106.12675425378548</c:v>
                </c:pt>
                <c:pt idx="132">
                  <c:v>106.0176097350395</c:v>
                </c:pt>
                <c:pt idx="133">
                  <c:v>105.3350492372102</c:v>
                </c:pt>
                <c:pt idx="134">
                  <c:v>106.12186718578197</c:v>
                </c:pt>
                <c:pt idx="135">
                  <c:v>105.90683619362569</c:v>
                </c:pt>
                <c:pt idx="136">
                  <c:v>105.46537105063823</c:v>
                </c:pt>
                <c:pt idx="137">
                  <c:v>105.70809542814793</c:v>
                </c:pt>
                <c:pt idx="138">
                  <c:v>106.36947863129522</c:v>
                </c:pt>
                <c:pt idx="139">
                  <c:v>106.8280485122951</c:v>
                </c:pt>
                <c:pt idx="140">
                  <c:v>106.62279165614594</c:v>
                </c:pt>
                <c:pt idx="141">
                  <c:v>105.51994331001119</c:v>
                </c:pt>
                <c:pt idx="142">
                  <c:v>105.60953955674296</c:v>
                </c:pt>
                <c:pt idx="143">
                  <c:v>104.79258468881596</c:v>
                </c:pt>
                <c:pt idx="144">
                  <c:v>104.91883394557438</c:v>
                </c:pt>
                <c:pt idx="145">
                  <c:v>105.00028507896691</c:v>
                </c:pt>
                <c:pt idx="146">
                  <c:v>104.69158528340927</c:v>
                </c:pt>
                <c:pt idx="147">
                  <c:v>106.50957458073036</c:v>
                </c:pt>
                <c:pt idx="148">
                  <c:v>106.6952831648653</c:v>
                </c:pt>
                <c:pt idx="149">
                  <c:v>106.81990339895586</c:v>
                </c:pt>
                <c:pt idx="150">
                  <c:v>106.80524219494519</c:v>
                </c:pt>
                <c:pt idx="151">
                  <c:v>106.54704210209091</c:v>
                </c:pt>
                <c:pt idx="152">
                  <c:v>106.02819838238057</c:v>
                </c:pt>
                <c:pt idx="153">
                  <c:v>106.3271240419311</c:v>
                </c:pt>
                <c:pt idx="154">
                  <c:v>106.67817842685287</c:v>
                </c:pt>
                <c:pt idx="155">
                  <c:v>106.7506699355722</c:v>
                </c:pt>
                <c:pt idx="156">
                  <c:v>106.30920479258477</c:v>
                </c:pt>
                <c:pt idx="157">
                  <c:v>106.96244288239279</c:v>
                </c:pt>
                <c:pt idx="158">
                  <c:v>106.52586480740887</c:v>
                </c:pt>
                <c:pt idx="159">
                  <c:v>106.88424979433597</c:v>
                </c:pt>
                <c:pt idx="160">
                  <c:v>107.98465460646892</c:v>
                </c:pt>
                <c:pt idx="161">
                  <c:v>107.89505835973715</c:v>
                </c:pt>
                <c:pt idx="162">
                  <c:v>107.93415490376555</c:v>
                </c:pt>
                <c:pt idx="163">
                  <c:v>107.74763180829666</c:v>
                </c:pt>
                <c:pt idx="164">
                  <c:v>106.3686641199613</c:v>
                </c:pt>
                <c:pt idx="165">
                  <c:v>105.17296148175909</c:v>
                </c:pt>
                <c:pt idx="166">
                  <c:v>105.43849217661871</c:v>
                </c:pt>
                <c:pt idx="167">
                  <c:v>105.2413804338088</c:v>
                </c:pt>
                <c:pt idx="168">
                  <c:v>103.46900377118753</c:v>
                </c:pt>
                <c:pt idx="169">
                  <c:v>102.77585462601718</c:v>
                </c:pt>
                <c:pt idx="170">
                  <c:v>103.20102954232614</c:v>
                </c:pt>
                <c:pt idx="171">
                  <c:v>102.79703192069924</c:v>
                </c:pt>
                <c:pt idx="172">
                  <c:v>102.34986519837429</c:v>
                </c:pt>
                <c:pt idx="173">
                  <c:v>102.51195295382543</c:v>
                </c:pt>
                <c:pt idx="174">
                  <c:v>103.67751867267241</c:v>
                </c:pt>
                <c:pt idx="175">
                  <c:v>104.27048292376993</c:v>
                </c:pt>
                <c:pt idx="176">
                  <c:v>102.61539589323387</c:v>
                </c:pt>
                <c:pt idx="177">
                  <c:v>103.45027001050723</c:v>
                </c:pt>
                <c:pt idx="178">
                  <c:v>104.72253671409844</c:v>
                </c:pt>
                <c:pt idx="179">
                  <c:v>104.92697905891367</c:v>
                </c:pt>
                <c:pt idx="180">
                  <c:v>103.05930457022316</c:v>
                </c:pt>
                <c:pt idx="181">
                  <c:v>102.94201493813793</c:v>
                </c:pt>
                <c:pt idx="182">
                  <c:v>102.31484121101555</c:v>
                </c:pt>
                <c:pt idx="183">
                  <c:v>102.45982422845422</c:v>
                </c:pt>
                <c:pt idx="184">
                  <c:v>102.00125434745431</c:v>
                </c:pt>
                <c:pt idx="185">
                  <c:v>100.70618132651323</c:v>
                </c:pt>
                <c:pt idx="186">
                  <c:v>99.670937421094294</c:v>
                </c:pt>
                <c:pt idx="187">
                  <c:v>100.1881521181368</c:v>
                </c:pt>
                <c:pt idx="188">
                  <c:v>102.31565572234948</c:v>
                </c:pt>
                <c:pt idx="189">
                  <c:v>101.93935148607603</c:v>
                </c:pt>
                <c:pt idx="190">
                  <c:v>101.01080856540131</c:v>
                </c:pt>
                <c:pt idx="191">
                  <c:v>101.00917954273345</c:v>
                </c:pt>
                <c:pt idx="192">
                  <c:v>101.99310923411511</c:v>
                </c:pt>
                <c:pt idx="193">
                  <c:v>101.45553175372444</c:v>
                </c:pt>
                <c:pt idx="194">
                  <c:v>101.36593550699268</c:v>
                </c:pt>
                <c:pt idx="195">
                  <c:v>101.85952937535136</c:v>
                </c:pt>
                <c:pt idx="196">
                  <c:v>100.93424450001231</c:v>
                </c:pt>
                <c:pt idx="197">
                  <c:v>101.48811220708146</c:v>
                </c:pt>
                <c:pt idx="198">
                  <c:v>103.67670416133848</c:v>
                </c:pt>
                <c:pt idx="199">
                  <c:v>103.45922963518046</c:v>
                </c:pt>
                <c:pt idx="200">
                  <c:v>104.27292645777175</c:v>
                </c:pt>
                <c:pt idx="201">
                  <c:v>103.51705993988914</c:v>
                </c:pt>
                <c:pt idx="202">
                  <c:v>103.7752600327434</c:v>
                </c:pt>
                <c:pt idx="203">
                  <c:v>103.07478028556771</c:v>
                </c:pt>
                <c:pt idx="204">
                  <c:v>103.22627939367777</c:v>
                </c:pt>
                <c:pt idx="205">
                  <c:v>103.64819626465102</c:v>
                </c:pt>
                <c:pt idx="206">
                  <c:v>102.51439648782711</c:v>
                </c:pt>
                <c:pt idx="207">
                  <c:v>101.1859285021951</c:v>
                </c:pt>
                <c:pt idx="208">
                  <c:v>100.68989109983465</c:v>
                </c:pt>
                <c:pt idx="209">
                  <c:v>100.55060966173345</c:v>
                </c:pt>
                <c:pt idx="210">
                  <c:v>100.74364884787371</c:v>
                </c:pt>
                <c:pt idx="211">
                  <c:v>102.6129523592321</c:v>
                </c:pt>
                <c:pt idx="212">
                  <c:v>101.7430542546</c:v>
                </c:pt>
                <c:pt idx="213">
                  <c:v>101.0230262354101</c:v>
                </c:pt>
                <c:pt idx="214">
                  <c:v>102.70254860596388</c:v>
                </c:pt>
                <c:pt idx="215">
                  <c:v>103.35171413910227</c:v>
                </c:pt>
                <c:pt idx="216">
                  <c:v>103.31261759507385</c:v>
                </c:pt>
                <c:pt idx="217">
                  <c:v>102.88907170143271</c:v>
                </c:pt>
                <c:pt idx="218">
                  <c:v>104.13934659900791</c:v>
                </c:pt>
                <c:pt idx="219">
                  <c:v>103.98540395689604</c:v>
                </c:pt>
                <c:pt idx="220">
                  <c:v>103.51787445122295</c:v>
                </c:pt>
                <c:pt idx="221">
                  <c:v>104.13934659900788</c:v>
                </c:pt>
                <c:pt idx="222">
                  <c:v>104.279442548443</c:v>
                </c:pt>
                <c:pt idx="223">
                  <c:v>104.20532201705581</c:v>
                </c:pt>
                <c:pt idx="224">
                  <c:v>103.91291244817667</c:v>
                </c:pt>
                <c:pt idx="225">
                  <c:v>103.56348708592276</c:v>
                </c:pt>
                <c:pt idx="226">
                  <c:v>103.11306231826212</c:v>
                </c:pt>
                <c:pt idx="227">
                  <c:v>103.5903659599423</c:v>
                </c:pt>
                <c:pt idx="228">
                  <c:v>103.17740871364224</c:v>
                </c:pt>
                <c:pt idx="229">
                  <c:v>103.29714187972924</c:v>
                </c:pt>
                <c:pt idx="230">
                  <c:v>104.71194806675732</c:v>
                </c:pt>
                <c:pt idx="231">
                  <c:v>105.51424173067366</c:v>
                </c:pt>
                <c:pt idx="232">
                  <c:v>105.68121655412831</c:v>
                </c:pt>
                <c:pt idx="233">
                  <c:v>106.07381101708026</c:v>
                </c:pt>
                <c:pt idx="234">
                  <c:v>105.684474599464</c:v>
                </c:pt>
                <c:pt idx="235">
                  <c:v>105.79036107287428</c:v>
                </c:pt>
                <c:pt idx="236">
                  <c:v>105.31550096519588</c:v>
                </c:pt>
                <c:pt idx="237">
                  <c:v>105.56555594471092</c:v>
                </c:pt>
                <c:pt idx="238">
                  <c:v>105.48654834532016</c:v>
                </c:pt>
                <c:pt idx="239">
                  <c:v>106.03145642771611</c:v>
                </c:pt>
                <c:pt idx="240">
                  <c:v>106.23508426119743</c:v>
                </c:pt>
                <c:pt idx="241">
                  <c:v>106.2342697498635</c:v>
                </c:pt>
                <c:pt idx="242">
                  <c:v>106.19761673983686</c:v>
                </c:pt>
                <c:pt idx="243">
                  <c:v>106.78325038892908</c:v>
                </c:pt>
                <c:pt idx="244">
                  <c:v>106.96570092772831</c:v>
                </c:pt>
                <c:pt idx="245">
                  <c:v>105.90765070495945</c:v>
                </c:pt>
                <c:pt idx="246">
                  <c:v>105.39939563259013</c:v>
                </c:pt>
                <c:pt idx="247">
                  <c:v>105.79850618621349</c:v>
                </c:pt>
                <c:pt idx="248">
                  <c:v>105.84900588891684</c:v>
                </c:pt>
                <c:pt idx="249">
                  <c:v>106.95429776905333</c:v>
                </c:pt>
                <c:pt idx="250">
                  <c:v>107.35829539068023</c:v>
                </c:pt>
                <c:pt idx="251">
                  <c:v>107.21249786190762</c:v>
                </c:pt>
                <c:pt idx="252">
                  <c:v>107.50490743078677</c:v>
                </c:pt>
                <c:pt idx="253">
                  <c:v>107.61160841553099</c:v>
                </c:pt>
                <c:pt idx="254">
                  <c:v>107.37784366269443</c:v>
                </c:pt>
                <c:pt idx="255">
                  <c:v>107.93741294910105</c:v>
                </c:pt>
                <c:pt idx="256">
                  <c:v>107.35503734534451</c:v>
                </c:pt>
                <c:pt idx="257">
                  <c:v>107.09032116181884</c:v>
                </c:pt>
                <c:pt idx="258">
                  <c:v>108.03433979783814</c:v>
                </c:pt>
                <c:pt idx="259">
                  <c:v>108.8464075977616</c:v>
                </c:pt>
                <c:pt idx="260">
                  <c:v>108.86677038110972</c:v>
                </c:pt>
                <c:pt idx="261">
                  <c:v>109.07528528259458</c:v>
                </c:pt>
                <c:pt idx="262">
                  <c:v>108.80649654239924</c:v>
                </c:pt>
                <c:pt idx="263">
                  <c:v>108.43752290813113</c:v>
                </c:pt>
                <c:pt idx="264">
                  <c:v>108.66477157029627</c:v>
                </c:pt>
                <c:pt idx="265">
                  <c:v>109.97694932924979</c:v>
                </c:pt>
                <c:pt idx="266">
                  <c:v>110.22130272942735</c:v>
                </c:pt>
                <c:pt idx="267">
                  <c:v>109.92482060387856</c:v>
                </c:pt>
                <c:pt idx="268">
                  <c:v>110.0127878279425</c:v>
                </c:pt>
                <c:pt idx="269">
                  <c:v>110.23759295610586</c:v>
                </c:pt>
                <c:pt idx="270">
                  <c:v>109.9549575232338</c:v>
                </c:pt>
                <c:pt idx="271">
                  <c:v>111.00404812132945</c:v>
                </c:pt>
                <c:pt idx="272">
                  <c:v>111.23129678349457</c:v>
                </c:pt>
                <c:pt idx="273">
                  <c:v>111.51067417103093</c:v>
                </c:pt>
                <c:pt idx="274">
                  <c:v>111.10341850406832</c:v>
                </c:pt>
                <c:pt idx="275">
                  <c:v>111.25899016884804</c:v>
                </c:pt>
                <c:pt idx="276">
                  <c:v>111.34044130224055</c:v>
                </c:pt>
                <c:pt idx="277">
                  <c:v>111.47402116100427</c:v>
                </c:pt>
                <c:pt idx="278">
                  <c:v>112.1598397041693</c:v>
                </c:pt>
                <c:pt idx="279">
                  <c:v>112.18916211219063</c:v>
                </c:pt>
                <c:pt idx="280">
                  <c:v>112.58338559781042</c:v>
                </c:pt>
                <c:pt idx="281">
                  <c:v>113.14214037288312</c:v>
                </c:pt>
                <c:pt idx="282">
                  <c:v>112.18590406685492</c:v>
                </c:pt>
                <c:pt idx="283">
                  <c:v>112.23396023555651</c:v>
                </c:pt>
                <c:pt idx="284">
                  <c:v>112.23477474689044</c:v>
                </c:pt>
                <c:pt idx="285">
                  <c:v>111.40967476562419</c:v>
                </c:pt>
                <c:pt idx="286">
                  <c:v>111.37139273292971</c:v>
                </c:pt>
                <c:pt idx="287">
                  <c:v>111.12378128741645</c:v>
                </c:pt>
                <c:pt idx="288">
                  <c:v>112.3846448323327</c:v>
                </c:pt>
                <c:pt idx="289">
                  <c:v>112.6338853005138</c:v>
                </c:pt>
                <c:pt idx="290">
                  <c:v>112.86846456468426</c:v>
                </c:pt>
                <c:pt idx="291">
                  <c:v>112.26654068891351</c:v>
                </c:pt>
                <c:pt idx="292">
                  <c:v>112.47587010173231</c:v>
                </c:pt>
                <c:pt idx="293">
                  <c:v>112.76257809127398</c:v>
                </c:pt>
                <c:pt idx="294">
                  <c:v>113.47934806512815</c:v>
                </c:pt>
                <c:pt idx="295">
                  <c:v>113.7522093619931</c:v>
                </c:pt>
                <c:pt idx="296">
                  <c:v>114.01203847751525</c:v>
                </c:pt>
                <c:pt idx="297">
                  <c:v>114.12932810960046</c:v>
                </c:pt>
                <c:pt idx="298">
                  <c:v>114.07231231622569</c:v>
                </c:pt>
                <c:pt idx="299">
                  <c:v>114.2604644343624</c:v>
                </c:pt>
                <c:pt idx="300">
                  <c:v>114.52762415188987</c:v>
                </c:pt>
                <c:pt idx="301">
                  <c:v>114.10896532625233</c:v>
                </c:pt>
                <c:pt idx="302">
                  <c:v>112.5573212351248</c:v>
                </c:pt>
                <c:pt idx="303">
                  <c:v>112.94991569807677</c:v>
                </c:pt>
                <c:pt idx="304">
                  <c:v>113.98923216016534</c:v>
                </c:pt>
                <c:pt idx="305">
                  <c:v>114.08290096356676</c:v>
                </c:pt>
                <c:pt idx="306">
                  <c:v>113.76361252066806</c:v>
                </c:pt>
                <c:pt idx="307">
                  <c:v>114.77442108606922</c:v>
                </c:pt>
                <c:pt idx="308">
                  <c:v>115.23380547840304</c:v>
                </c:pt>
                <c:pt idx="309">
                  <c:v>115.08230637029298</c:v>
                </c:pt>
                <c:pt idx="310">
                  <c:v>114.62536551196094</c:v>
                </c:pt>
                <c:pt idx="311">
                  <c:v>114.83306590211185</c:v>
                </c:pt>
                <c:pt idx="312">
                  <c:v>115.09370952896792</c:v>
                </c:pt>
                <c:pt idx="313">
                  <c:v>114.97316185154699</c:v>
                </c:pt>
                <c:pt idx="314">
                  <c:v>115.10755622164464</c:v>
                </c:pt>
                <c:pt idx="315">
                  <c:v>116.10777613970478</c:v>
                </c:pt>
                <c:pt idx="316">
                  <c:v>116.23809795313281</c:v>
                </c:pt>
                <c:pt idx="317">
                  <c:v>115.86260822819328</c:v>
                </c:pt>
                <c:pt idx="318">
                  <c:v>116.11266320770832</c:v>
                </c:pt>
                <c:pt idx="319">
                  <c:v>115.94813191825544</c:v>
                </c:pt>
                <c:pt idx="320">
                  <c:v>115.52214249061255</c:v>
                </c:pt>
                <c:pt idx="321">
                  <c:v>114.90800094483295</c:v>
                </c:pt>
                <c:pt idx="322">
                  <c:v>115.40811090386303</c:v>
                </c:pt>
                <c:pt idx="323">
                  <c:v>116.21773516978467</c:v>
                </c:pt>
                <c:pt idx="324">
                  <c:v>116.04587327832647</c:v>
                </c:pt>
                <c:pt idx="325">
                  <c:v>115.52214249061257</c:v>
                </c:pt>
                <c:pt idx="326">
                  <c:v>115.38367556384527</c:v>
                </c:pt>
                <c:pt idx="327">
                  <c:v>115.52540053594826</c:v>
                </c:pt>
                <c:pt idx="328">
                  <c:v>114.82247725477083</c:v>
                </c:pt>
                <c:pt idx="329">
                  <c:v>115.0774193022894</c:v>
                </c:pt>
                <c:pt idx="330">
                  <c:v>115.01795997491286</c:v>
                </c:pt>
                <c:pt idx="331">
                  <c:v>115.24113608040837</c:v>
                </c:pt>
                <c:pt idx="332">
                  <c:v>115.97175274693929</c:v>
                </c:pt>
                <c:pt idx="333">
                  <c:v>116.53458007868161</c:v>
                </c:pt>
                <c:pt idx="334">
                  <c:v>116.62987790475086</c:v>
                </c:pt>
                <c:pt idx="335">
                  <c:v>116.52562045400842</c:v>
                </c:pt>
                <c:pt idx="336">
                  <c:v>116.17945313709021</c:v>
                </c:pt>
                <c:pt idx="337">
                  <c:v>116.51584631800132</c:v>
                </c:pt>
                <c:pt idx="338">
                  <c:v>115.90089026088778</c:v>
                </c:pt>
                <c:pt idx="339">
                  <c:v>116.31140397318607</c:v>
                </c:pt>
                <c:pt idx="340">
                  <c:v>117.3002207325713</c:v>
                </c:pt>
                <c:pt idx="341">
                  <c:v>115.9782688376107</c:v>
                </c:pt>
                <c:pt idx="342">
                  <c:v>115.83817288817556</c:v>
                </c:pt>
                <c:pt idx="343">
                  <c:v>115.71110912008321</c:v>
                </c:pt>
                <c:pt idx="344">
                  <c:v>116.37900841390187</c:v>
                </c:pt>
                <c:pt idx="345">
                  <c:v>117.14627809045942</c:v>
                </c:pt>
                <c:pt idx="346">
                  <c:v>117.77345181758183</c:v>
                </c:pt>
                <c:pt idx="347">
                  <c:v>117.97300709439351</c:v>
                </c:pt>
                <c:pt idx="348">
                  <c:v>117.85897550764398</c:v>
                </c:pt>
                <c:pt idx="349">
                  <c:v>117.94124115237041</c:v>
                </c:pt>
                <c:pt idx="350">
                  <c:v>118.10577244182329</c:v>
                </c:pt>
                <c:pt idx="351">
                  <c:v>117.96649100372208</c:v>
                </c:pt>
                <c:pt idx="352">
                  <c:v>117.13161688644874</c:v>
                </c:pt>
                <c:pt idx="353">
                  <c:v>116.74961107083782</c:v>
                </c:pt>
                <c:pt idx="354">
                  <c:v>117.63661391348238</c:v>
                </c:pt>
                <c:pt idx="355">
                  <c:v>118.53583442613581</c:v>
                </c:pt>
                <c:pt idx="356">
                  <c:v>118.65882563755851</c:v>
                </c:pt>
                <c:pt idx="357">
                  <c:v>118.55538269815</c:v>
                </c:pt>
                <c:pt idx="358">
                  <c:v>118.89259039039503</c:v>
                </c:pt>
                <c:pt idx="359">
                  <c:v>118.72561556694036</c:v>
                </c:pt>
                <c:pt idx="360">
                  <c:v>118.62380165019971</c:v>
                </c:pt>
                <c:pt idx="361">
                  <c:v>118.20107026789252</c:v>
                </c:pt>
                <c:pt idx="362">
                  <c:v>118.05282920511812</c:v>
                </c:pt>
                <c:pt idx="363">
                  <c:v>113.95339366147256</c:v>
                </c:pt>
                <c:pt idx="364">
                  <c:v>114.58708347926638</c:v>
                </c:pt>
                <c:pt idx="365">
                  <c:v>114.28978684238369</c:v>
                </c:pt>
                <c:pt idx="366">
                  <c:v>112.98656870810336</c:v>
                </c:pt>
                <c:pt idx="367">
                  <c:v>111.92363141733094</c:v>
                </c:pt>
                <c:pt idx="368">
                  <c:v>113.65772604725773</c:v>
                </c:pt>
                <c:pt idx="369">
                  <c:v>113.37753414838745</c:v>
                </c:pt>
                <c:pt idx="370">
                  <c:v>114.18552939164128</c:v>
                </c:pt>
                <c:pt idx="371">
                  <c:v>114.2637224796981</c:v>
                </c:pt>
                <c:pt idx="372">
                  <c:v>114.56916422992003</c:v>
                </c:pt>
                <c:pt idx="373">
                  <c:v>112.23558925822432</c:v>
                </c:pt>
                <c:pt idx="374">
                  <c:v>112.98656870810336</c:v>
                </c:pt>
                <c:pt idx="375">
                  <c:v>113.40278399973914</c:v>
                </c:pt>
                <c:pt idx="376">
                  <c:v>112.96864945875703</c:v>
                </c:pt>
                <c:pt idx="377">
                  <c:v>114.199376084318</c:v>
                </c:pt>
                <c:pt idx="378">
                  <c:v>114.9226621488436</c:v>
                </c:pt>
                <c:pt idx="379">
                  <c:v>116.88563446360335</c:v>
                </c:pt>
                <c:pt idx="380">
                  <c:v>116.84490889690709</c:v>
                </c:pt>
                <c:pt idx="381">
                  <c:v>116.97278717633333</c:v>
                </c:pt>
                <c:pt idx="382">
                  <c:v>117.08600425174896</c:v>
                </c:pt>
                <c:pt idx="383">
                  <c:v>116.36190367588945</c:v>
                </c:pt>
                <c:pt idx="384">
                  <c:v>115.43498977788256</c:v>
                </c:pt>
                <c:pt idx="385">
                  <c:v>115.86668078486292</c:v>
                </c:pt>
                <c:pt idx="386">
                  <c:v>115.7306573920974</c:v>
                </c:pt>
                <c:pt idx="387">
                  <c:v>116.03121207431582</c:v>
                </c:pt>
                <c:pt idx="388">
                  <c:v>117.10799605776495</c:v>
                </c:pt>
                <c:pt idx="389">
                  <c:v>117.23831787119296</c:v>
                </c:pt>
                <c:pt idx="390">
                  <c:v>117.59588834678613</c:v>
                </c:pt>
                <c:pt idx="391">
                  <c:v>117.66512181016977</c:v>
                </c:pt>
                <c:pt idx="392">
                  <c:v>117.97300709439351</c:v>
                </c:pt>
                <c:pt idx="393">
                  <c:v>117.19759230449669</c:v>
                </c:pt>
                <c:pt idx="394">
                  <c:v>117.9249509256919</c:v>
                </c:pt>
                <c:pt idx="395">
                  <c:v>118.33627914932411</c:v>
                </c:pt>
                <c:pt idx="396">
                  <c:v>119.60854585291533</c:v>
                </c:pt>
                <c:pt idx="397">
                  <c:v>119.85371376442683</c:v>
                </c:pt>
                <c:pt idx="398">
                  <c:v>119.9367939204872</c:v>
                </c:pt>
                <c:pt idx="399">
                  <c:v>119.79262541438243</c:v>
                </c:pt>
                <c:pt idx="400">
                  <c:v>120.90198985118855</c:v>
                </c:pt>
                <c:pt idx="401">
                  <c:v>120.62342697498615</c:v>
                </c:pt>
                <c:pt idx="402">
                  <c:v>120.58107238562204</c:v>
                </c:pt>
                <c:pt idx="403">
                  <c:v>121.80365389784377</c:v>
                </c:pt>
                <c:pt idx="404">
                  <c:v>121.70835607177452</c:v>
                </c:pt>
                <c:pt idx="405">
                  <c:v>121.69369486776387</c:v>
                </c:pt>
                <c:pt idx="406">
                  <c:v>120.74071660707136</c:v>
                </c:pt>
                <c:pt idx="407">
                  <c:v>121.06081956130397</c:v>
                </c:pt>
                <c:pt idx="408">
                  <c:v>121.84437946454003</c:v>
                </c:pt>
                <c:pt idx="409">
                  <c:v>122.37136829758967</c:v>
                </c:pt>
                <c:pt idx="410">
                  <c:v>122.63445545844749</c:v>
                </c:pt>
                <c:pt idx="411">
                  <c:v>122.94885683334265</c:v>
                </c:pt>
                <c:pt idx="412">
                  <c:v>122.8055028385718</c:v>
                </c:pt>
                <c:pt idx="413">
                  <c:v>123.20135534685944</c:v>
                </c:pt>
                <c:pt idx="414">
                  <c:v>121.48192192094334</c:v>
                </c:pt>
                <c:pt idx="415">
                  <c:v>122.65318921912778</c:v>
                </c:pt>
                <c:pt idx="416">
                  <c:v>122.43327115896798</c:v>
                </c:pt>
                <c:pt idx="417">
                  <c:v>122.27362693751864</c:v>
                </c:pt>
                <c:pt idx="418">
                  <c:v>123.32841911495179</c:v>
                </c:pt>
                <c:pt idx="419">
                  <c:v>123.21520203953617</c:v>
                </c:pt>
                <c:pt idx="420">
                  <c:v>124.02971337346138</c:v>
                </c:pt>
                <c:pt idx="421">
                  <c:v>124.22112353693377</c:v>
                </c:pt>
                <c:pt idx="422">
                  <c:v>124.14130142620911</c:v>
                </c:pt>
                <c:pt idx="423">
                  <c:v>123.99143134076688</c:v>
                </c:pt>
                <c:pt idx="424">
                  <c:v>122.78839810055935</c:v>
                </c:pt>
                <c:pt idx="425">
                  <c:v>123.45792641704588</c:v>
                </c:pt>
                <c:pt idx="426">
                  <c:v>123.65178011452008</c:v>
                </c:pt>
                <c:pt idx="427">
                  <c:v>124.63896785123747</c:v>
                </c:pt>
                <c:pt idx="428">
                  <c:v>124.67073379326054</c:v>
                </c:pt>
                <c:pt idx="429">
                  <c:v>125.13663427626574</c:v>
                </c:pt>
                <c:pt idx="430">
                  <c:v>125.36795549510052</c:v>
                </c:pt>
                <c:pt idx="431">
                  <c:v>124.69761266728007</c:v>
                </c:pt>
                <c:pt idx="432">
                  <c:v>123.59232078714356</c:v>
                </c:pt>
                <c:pt idx="433">
                  <c:v>121.42083357089894</c:v>
                </c:pt>
                <c:pt idx="434">
                  <c:v>122.80143028190219</c:v>
                </c:pt>
                <c:pt idx="435">
                  <c:v>122.91953442532133</c:v>
                </c:pt>
                <c:pt idx="436">
                  <c:v>121.60654215503389</c:v>
                </c:pt>
                <c:pt idx="437">
                  <c:v>123.45303934904236</c:v>
                </c:pt>
                <c:pt idx="438">
                  <c:v>124.04763262280777</c:v>
                </c:pt>
                <c:pt idx="439">
                  <c:v>124.85725688872942</c:v>
                </c:pt>
                <c:pt idx="440">
                  <c:v>124.70575778061932</c:v>
                </c:pt>
                <c:pt idx="441">
                  <c:v>124.92160328410954</c:v>
                </c:pt>
                <c:pt idx="442">
                  <c:v>123.22253264154155</c:v>
                </c:pt>
                <c:pt idx="443">
                  <c:v>123.98410073876164</c:v>
                </c:pt>
                <c:pt idx="444">
                  <c:v>122.38521499026645</c:v>
                </c:pt>
                <c:pt idx="445">
                  <c:v>121.9926205273145</c:v>
                </c:pt>
                <c:pt idx="446">
                  <c:v>121.59758253036077</c:v>
                </c:pt>
                <c:pt idx="447">
                  <c:v>122.69310027449015</c:v>
                </c:pt>
                <c:pt idx="448">
                  <c:v>122.64178606045286</c:v>
                </c:pt>
                <c:pt idx="449">
                  <c:v>122.44956138564652</c:v>
                </c:pt>
                <c:pt idx="450">
                  <c:v>123.75929561059827</c:v>
                </c:pt>
                <c:pt idx="451">
                  <c:v>124.20238977625355</c:v>
                </c:pt>
                <c:pt idx="452">
                  <c:v>124.24555887695162</c:v>
                </c:pt>
                <c:pt idx="453">
                  <c:v>124.65607258924993</c:v>
                </c:pt>
                <c:pt idx="454">
                  <c:v>124.77091868733339</c:v>
                </c:pt>
                <c:pt idx="455">
                  <c:v>123.00098555871391</c:v>
                </c:pt>
                <c:pt idx="456">
                  <c:v>123.7047233512253</c:v>
                </c:pt>
                <c:pt idx="457">
                  <c:v>126.06191915160488</c:v>
                </c:pt>
                <c:pt idx="458">
                  <c:v>126.45288459188899</c:v>
                </c:pt>
                <c:pt idx="459">
                  <c:v>126.2101602143793</c:v>
                </c:pt>
                <c:pt idx="460">
                  <c:v>126.19794254437042</c:v>
                </c:pt>
                <c:pt idx="461">
                  <c:v>125.93729891751437</c:v>
                </c:pt>
                <c:pt idx="462">
                  <c:v>126.50012624925668</c:v>
                </c:pt>
                <c:pt idx="463">
                  <c:v>124.95418373746664</c:v>
                </c:pt>
                <c:pt idx="464">
                  <c:v>125.56262370390878</c:v>
                </c:pt>
                <c:pt idx="465">
                  <c:v>123.07592060143512</c:v>
                </c:pt>
                <c:pt idx="466">
                  <c:v>123.65015109185239</c:v>
                </c:pt>
                <c:pt idx="467">
                  <c:v>120.76433743575538</c:v>
                </c:pt>
                <c:pt idx="468">
                  <c:v>118.8331310630187</c:v>
                </c:pt>
                <c:pt idx="469">
                  <c:v>120.05164001857082</c:v>
                </c:pt>
                <c:pt idx="470">
                  <c:v>118.53339089213422</c:v>
                </c:pt>
                <c:pt idx="471">
                  <c:v>119.39188583809138</c:v>
                </c:pt>
                <c:pt idx="472">
                  <c:v>119.91235858046961</c:v>
                </c:pt>
                <c:pt idx="473">
                  <c:v>116.72436121948634</c:v>
                </c:pt>
                <c:pt idx="474">
                  <c:v>119.5433849462015</c:v>
                </c:pt>
                <c:pt idx="475">
                  <c:v>120.27970319206989</c:v>
                </c:pt>
                <c:pt idx="476">
                  <c:v>121.97225774396648</c:v>
                </c:pt>
                <c:pt idx="477">
                  <c:v>118.35582742133853</c:v>
                </c:pt>
                <c:pt idx="478">
                  <c:v>118.40062554470443</c:v>
                </c:pt>
                <c:pt idx="479">
                  <c:v>118.34198072866182</c:v>
                </c:pt>
                <c:pt idx="480">
                  <c:v>116.1932998297671</c:v>
                </c:pt>
                <c:pt idx="481">
                  <c:v>114.5773093432595</c:v>
                </c:pt>
                <c:pt idx="482">
                  <c:v>114.94954102286331</c:v>
                </c:pt>
                <c:pt idx="483">
                  <c:v>117.77345181758203</c:v>
                </c:pt>
                <c:pt idx="484">
                  <c:v>117.74168587555894</c:v>
                </c:pt>
                <c:pt idx="485">
                  <c:v>117.8695641549852</c:v>
                </c:pt>
                <c:pt idx="486">
                  <c:v>119.25016086598846</c:v>
                </c:pt>
                <c:pt idx="487">
                  <c:v>119.12228258656221</c:v>
                </c:pt>
                <c:pt idx="488">
                  <c:v>120.49636320689403</c:v>
                </c:pt>
                <c:pt idx="489">
                  <c:v>119.47170794881612</c:v>
                </c:pt>
                <c:pt idx="490">
                  <c:v>116.66734542611159</c:v>
                </c:pt>
                <c:pt idx="491">
                  <c:v>119.22491101463676</c:v>
                </c:pt>
                <c:pt idx="492">
                  <c:v>118.72643007827453</c:v>
                </c:pt>
                <c:pt idx="493">
                  <c:v>120.05815610924226</c:v>
                </c:pt>
                <c:pt idx="494">
                  <c:v>121.31494709748885</c:v>
                </c:pt>
                <c:pt idx="495">
                  <c:v>119.91968918247495</c:v>
                </c:pt>
                <c:pt idx="496">
                  <c:v>120.42957327751215</c:v>
                </c:pt>
                <c:pt idx="497">
                  <c:v>118.39329494269911</c:v>
                </c:pt>
                <c:pt idx="498">
                  <c:v>118.24261034592296</c:v>
                </c:pt>
                <c:pt idx="499">
                  <c:v>119.85452827576094</c:v>
                </c:pt>
                <c:pt idx="500">
                  <c:v>119.86022985509841</c:v>
                </c:pt>
                <c:pt idx="501">
                  <c:v>120.86940939783177</c:v>
                </c:pt>
                <c:pt idx="502">
                  <c:v>120.89384473784951</c:v>
                </c:pt>
                <c:pt idx="503">
                  <c:v>120.27481612406635</c:v>
                </c:pt>
                <c:pt idx="504">
                  <c:v>123.78780350728574</c:v>
                </c:pt>
                <c:pt idx="505">
                  <c:v>124.54122649116657</c:v>
                </c:pt>
                <c:pt idx="506">
                  <c:v>123.70390883989145</c:v>
                </c:pt>
                <c:pt idx="507">
                  <c:v>124.27406677363911</c:v>
                </c:pt>
                <c:pt idx="508">
                  <c:v>123.62082868383108</c:v>
                </c:pt>
                <c:pt idx="509">
                  <c:v>123.57847409446697</c:v>
                </c:pt>
                <c:pt idx="510">
                  <c:v>124.24718789961958</c:v>
                </c:pt>
                <c:pt idx="511">
                  <c:v>124.73263665463898</c:v>
                </c:pt>
                <c:pt idx="512">
                  <c:v>124.35551790703161</c:v>
                </c:pt>
                <c:pt idx="513">
                  <c:v>126.00816140356585</c:v>
                </c:pt>
                <c:pt idx="514">
                  <c:v>125.97476643887492</c:v>
                </c:pt>
                <c:pt idx="515">
                  <c:v>125.40135045979156</c:v>
                </c:pt>
                <c:pt idx="516">
                  <c:v>125.66606664331727</c:v>
                </c:pt>
                <c:pt idx="517">
                  <c:v>126.86747086085694</c:v>
                </c:pt>
                <c:pt idx="518">
                  <c:v>126.45940068256041</c:v>
                </c:pt>
                <c:pt idx="519">
                  <c:v>127.48324142930441</c:v>
                </c:pt>
                <c:pt idx="520">
                  <c:v>127.26495239181244</c:v>
                </c:pt>
                <c:pt idx="521">
                  <c:v>126.60845625666873</c:v>
                </c:pt>
                <c:pt idx="522">
                  <c:v>127.21038013243945</c:v>
                </c:pt>
                <c:pt idx="523">
                  <c:v>126.14418479633134</c:v>
                </c:pt>
                <c:pt idx="524">
                  <c:v>125.31501225839548</c:v>
                </c:pt>
                <c:pt idx="525">
                  <c:v>125.53574482988923</c:v>
                </c:pt>
                <c:pt idx="526">
                  <c:v>125.44126151515387</c:v>
                </c:pt>
                <c:pt idx="527">
                  <c:v>122.22801430281892</c:v>
                </c:pt>
                <c:pt idx="528">
                  <c:v>122.69228576315626</c:v>
                </c:pt>
                <c:pt idx="529">
                  <c:v>123.77232779194109</c:v>
                </c:pt>
                <c:pt idx="530">
                  <c:v>123.47014408705486</c:v>
                </c:pt>
                <c:pt idx="531">
                  <c:v>123.34959640963393</c:v>
                </c:pt>
                <c:pt idx="532">
                  <c:v>125.05029607486976</c:v>
                </c:pt>
                <c:pt idx="533">
                  <c:v>125.51456753520715</c:v>
                </c:pt>
                <c:pt idx="534">
                  <c:v>124.70331424661764</c:v>
                </c:pt>
                <c:pt idx="535">
                  <c:v>126.19875705570433</c:v>
                </c:pt>
                <c:pt idx="536">
                  <c:v>122.86414765461451</c:v>
                </c:pt>
                <c:pt idx="537">
                  <c:v>122.96270352601948</c:v>
                </c:pt>
                <c:pt idx="538">
                  <c:v>122.35344904824343</c:v>
                </c:pt>
                <c:pt idx="539">
                  <c:v>123.82771456264807</c:v>
                </c:pt>
                <c:pt idx="540">
                  <c:v>120.19092145667199</c:v>
                </c:pt>
                <c:pt idx="541">
                  <c:v>120.12168799328833</c:v>
                </c:pt>
                <c:pt idx="542">
                  <c:v>118.40551261270791</c:v>
                </c:pt>
                <c:pt idx="543">
                  <c:v>117.2228421558485</c:v>
                </c:pt>
                <c:pt idx="544">
                  <c:v>120.63320111099337</c:v>
                </c:pt>
                <c:pt idx="545">
                  <c:v>119.78040774437368</c:v>
                </c:pt>
                <c:pt idx="546">
                  <c:v>118.197812222557</c:v>
                </c:pt>
                <c:pt idx="547">
                  <c:v>118.81602632500625</c:v>
                </c:pt>
                <c:pt idx="548">
                  <c:v>116.74146595749875</c:v>
                </c:pt>
                <c:pt idx="549">
                  <c:v>117.26519674521266</c:v>
                </c:pt>
                <c:pt idx="550">
                  <c:v>115.39752225652215</c:v>
                </c:pt>
                <c:pt idx="551">
                  <c:v>117.34664787860517</c:v>
                </c:pt>
                <c:pt idx="552">
                  <c:v>114.61966393262355</c:v>
                </c:pt>
                <c:pt idx="553">
                  <c:v>116.33095224520042</c:v>
                </c:pt>
                <c:pt idx="554">
                  <c:v>119.65334397628136</c:v>
                </c:pt>
                <c:pt idx="555">
                  <c:v>119.71035976965614</c:v>
                </c:pt>
                <c:pt idx="556">
                  <c:v>120.64053171299872</c:v>
                </c:pt>
                <c:pt idx="557">
                  <c:v>119.93027782981594</c:v>
                </c:pt>
                <c:pt idx="558">
                  <c:v>119.14590341524595</c:v>
                </c:pt>
                <c:pt idx="559">
                  <c:v>120.95574759922776</c:v>
                </c:pt>
                <c:pt idx="560">
                  <c:v>122.77455140788274</c:v>
                </c:pt>
                <c:pt idx="561">
                  <c:v>122.5562623703908</c:v>
                </c:pt>
                <c:pt idx="562">
                  <c:v>123.47666017772627</c:v>
                </c:pt>
                <c:pt idx="563">
                  <c:v>120.3562672574588</c:v>
                </c:pt>
                <c:pt idx="564">
                  <c:v>121.08444038998792</c:v>
                </c:pt>
                <c:pt idx="565">
                  <c:v>121.23268145276231</c:v>
                </c:pt>
                <c:pt idx="566">
                  <c:v>119.5661912635513</c:v>
                </c:pt>
                <c:pt idx="567">
                  <c:v>117.7701937722462</c:v>
                </c:pt>
                <c:pt idx="568">
                  <c:v>118.50977006345028</c:v>
                </c:pt>
                <c:pt idx="569">
                  <c:v>118.34849681933308</c:v>
                </c:pt>
                <c:pt idx="570">
                  <c:v>118.92842888908783</c:v>
                </c:pt>
                <c:pt idx="571">
                  <c:v>120.9109494758618</c:v>
                </c:pt>
                <c:pt idx="572">
                  <c:v>121.88754856523811</c:v>
                </c:pt>
                <c:pt idx="573">
                  <c:v>121.98610443664306</c:v>
                </c:pt>
                <c:pt idx="574">
                  <c:v>120.25200980671626</c:v>
                </c:pt>
                <c:pt idx="575">
                  <c:v>120.42468620950841</c:v>
                </c:pt>
                <c:pt idx="576">
                  <c:v>119.59958622824216</c:v>
                </c:pt>
                <c:pt idx="577">
                  <c:v>117.87282220032074</c:v>
                </c:pt>
                <c:pt idx="578">
                  <c:v>117.87282220032074</c:v>
                </c:pt>
                <c:pt idx="579">
                  <c:v>114.97886343088446</c:v>
                </c:pt>
                <c:pt idx="580">
                  <c:v>115.3494660878204</c:v>
                </c:pt>
                <c:pt idx="581">
                  <c:v>113.23255113094878</c:v>
                </c:pt>
                <c:pt idx="582">
                  <c:v>114.77523559740314</c:v>
                </c:pt>
                <c:pt idx="583">
                  <c:v>115.68748829139935</c:v>
                </c:pt>
                <c:pt idx="584">
                  <c:v>114.11466690558977</c:v>
                </c:pt>
                <c:pt idx="585">
                  <c:v>115.35516766715789</c:v>
                </c:pt>
                <c:pt idx="586">
                  <c:v>112.47994265840191</c:v>
                </c:pt>
                <c:pt idx="587">
                  <c:v>111.84869637460987</c:v>
                </c:pt>
                <c:pt idx="588">
                  <c:v>108.59472359557867</c:v>
                </c:pt>
                <c:pt idx="589">
                  <c:v>107.93822746043494</c:v>
                </c:pt>
                <c:pt idx="590">
                  <c:v>106.74171031089881</c:v>
                </c:pt>
                <c:pt idx="591">
                  <c:v>109.03048715922864</c:v>
                </c:pt>
                <c:pt idx="592">
                  <c:v>110.12763392602591</c:v>
                </c:pt>
                <c:pt idx="593">
                  <c:v>108.37969260342238</c:v>
                </c:pt>
                <c:pt idx="594">
                  <c:v>110.28239107947168</c:v>
                </c:pt>
                <c:pt idx="595">
                  <c:v>110.96087902063138</c:v>
                </c:pt>
                <c:pt idx="596">
                  <c:v>110.43226116491394</c:v>
                </c:pt>
                <c:pt idx="597">
                  <c:v>112.28445993825987</c:v>
                </c:pt>
                <c:pt idx="598">
                  <c:v>113.65854055859172</c:v>
                </c:pt>
                <c:pt idx="599">
                  <c:v>112.46935401106091</c:v>
                </c:pt>
                <c:pt idx="600">
                  <c:v>108.87084293777934</c:v>
                </c:pt>
                <c:pt idx="601">
                  <c:v>108.04085588850955</c:v>
                </c:pt>
                <c:pt idx="602">
                  <c:v>108.89283474379533</c:v>
                </c:pt>
                <c:pt idx="603">
                  <c:v>108.43507937412936</c:v>
                </c:pt>
                <c:pt idx="604">
                  <c:v>109.07365625992674</c:v>
                </c:pt>
                <c:pt idx="605">
                  <c:v>109.86617578783596</c:v>
                </c:pt>
                <c:pt idx="606">
                  <c:v>111.36080408558873</c:v>
                </c:pt>
                <c:pt idx="607">
                  <c:v>109.86617578783594</c:v>
                </c:pt>
                <c:pt idx="608">
                  <c:v>109.9582155685695</c:v>
                </c:pt>
                <c:pt idx="609">
                  <c:v>109.85965969716455</c:v>
                </c:pt>
                <c:pt idx="610">
                  <c:v>110.77598494783041</c:v>
                </c:pt>
                <c:pt idx="611">
                  <c:v>109.35059011346128</c:v>
                </c:pt>
                <c:pt idx="612">
                  <c:v>110.21234310475414</c:v>
                </c:pt>
                <c:pt idx="613">
                  <c:v>111.73466478786037</c:v>
                </c:pt>
                <c:pt idx="614">
                  <c:v>112.50763604375538</c:v>
                </c:pt>
                <c:pt idx="615">
                  <c:v>112.40419310434689</c:v>
                </c:pt>
                <c:pt idx="616">
                  <c:v>111.39908611828318</c:v>
                </c:pt>
                <c:pt idx="617">
                  <c:v>108.38132162609028</c:v>
                </c:pt>
                <c:pt idx="618">
                  <c:v>108.43915193079896</c:v>
                </c:pt>
                <c:pt idx="619">
                  <c:v>108.0652912285273</c:v>
                </c:pt>
                <c:pt idx="620">
                  <c:v>108.63137660560533</c:v>
                </c:pt>
                <c:pt idx="621">
                  <c:v>106.2399713292009</c:v>
                </c:pt>
                <c:pt idx="622">
                  <c:v>105.34645239588494</c:v>
                </c:pt>
                <c:pt idx="623">
                  <c:v>103.7174297280345</c:v>
                </c:pt>
                <c:pt idx="624">
                  <c:v>107.56843931483291</c:v>
                </c:pt>
                <c:pt idx="625">
                  <c:v>106.60079985012975</c:v>
                </c:pt>
                <c:pt idx="626">
                  <c:v>107.14733695519355</c:v>
                </c:pt>
                <c:pt idx="627">
                  <c:v>104.92046296824203</c:v>
                </c:pt>
                <c:pt idx="628">
                  <c:v>103.98051688889232</c:v>
                </c:pt>
                <c:pt idx="629">
                  <c:v>108.39028125076342</c:v>
                </c:pt>
                <c:pt idx="630">
                  <c:v>105.75778061951715</c:v>
                </c:pt>
                <c:pt idx="631">
                  <c:v>108.29009635669063</c:v>
                </c:pt>
                <c:pt idx="632">
                  <c:v>109.94925594389628</c:v>
                </c:pt>
                <c:pt idx="633">
                  <c:v>110.20256896874703</c:v>
                </c:pt>
                <c:pt idx="634">
                  <c:v>109.23655852671175</c:v>
                </c:pt>
                <c:pt idx="635">
                  <c:v>107.98465460646869</c:v>
                </c:pt>
                <c:pt idx="636">
                  <c:v>107.12615966051153</c:v>
                </c:pt>
                <c:pt idx="637">
                  <c:v>107.7354141382876</c:v>
                </c:pt>
                <c:pt idx="638">
                  <c:v>111.60271395176449</c:v>
                </c:pt>
                <c:pt idx="639">
                  <c:v>111.3868684482743</c:v>
                </c:pt>
                <c:pt idx="640">
                  <c:v>111.531851465713</c:v>
                </c:pt>
                <c:pt idx="641">
                  <c:v>111.62063320111088</c:v>
                </c:pt>
                <c:pt idx="642">
                  <c:v>111.79493862657088</c:v>
                </c:pt>
                <c:pt idx="643">
                  <c:v>111.22478069282323</c:v>
                </c:pt>
                <c:pt idx="644">
                  <c:v>110.32474566883589</c:v>
                </c:pt>
                <c:pt idx="645">
                  <c:v>110.81833953719457</c:v>
                </c:pt>
                <c:pt idx="646">
                  <c:v>108.5605141195539</c:v>
                </c:pt>
                <c:pt idx="647">
                  <c:v>108.19316950795363</c:v>
                </c:pt>
                <c:pt idx="648">
                  <c:v>108.69083593298194</c:v>
                </c:pt>
                <c:pt idx="649">
                  <c:v>111.15717625210746</c:v>
                </c:pt>
                <c:pt idx="650">
                  <c:v>111.2264097154911</c:v>
                </c:pt>
                <c:pt idx="651">
                  <c:v>113.24395428962386</c:v>
                </c:pt>
                <c:pt idx="652">
                  <c:v>113.06801984149602</c:v>
                </c:pt>
                <c:pt idx="653">
                  <c:v>112.07187248010548</c:v>
                </c:pt>
                <c:pt idx="654">
                  <c:v>112.39686250234165</c:v>
                </c:pt>
                <c:pt idx="655">
                  <c:v>113.12096307820116</c:v>
                </c:pt>
                <c:pt idx="656">
                  <c:v>113.8556523014017</c:v>
                </c:pt>
                <c:pt idx="657">
                  <c:v>113.73591913531469</c:v>
                </c:pt>
                <c:pt idx="658">
                  <c:v>113.29363948099332</c:v>
                </c:pt>
                <c:pt idx="659">
                  <c:v>112.85787591734332</c:v>
                </c:pt>
                <c:pt idx="660">
                  <c:v>114.79234033541569</c:v>
                </c:pt>
                <c:pt idx="661">
                  <c:v>115.1637575036856</c:v>
                </c:pt>
                <c:pt idx="662">
                  <c:v>114.64165573863956</c:v>
                </c:pt>
                <c:pt idx="663">
                  <c:v>115.518884445277</c:v>
                </c:pt>
                <c:pt idx="664">
                  <c:v>113.42640482842313</c:v>
                </c:pt>
                <c:pt idx="665">
                  <c:v>113.84262012005892</c:v>
                </c:pt>
                <c:pt idx="666">
                  <c:v>113.07697946616923</c:v>
                </c:pt>
                <c:pt idx="667">
                  <c:v>114.32318180707479</c:v>
                </c:pt>
                <c:pt idx="668">
                  <c:v>114.27919819504284</c:v>
                </c:pt>
                <c:pt idx="669">
                  <c:v>114.73695356470881</c:v>
                </c:pt>
                <c:pt idx="670">
                  <c:v>115.9513899635913</c:v>
                </c:pt>
                <c:pt idx="671">
                  <c:v>116.09637298102997</c:v>
                </c:pt>
                <c:pt idx="672">
                  <c:v>116.20063043177242</c:v>
                </c:pt>
                <c:pt idx="673">
                  <c:v>115.12303193698936</c:v>
                </c:pt>
                <c:pt idx="674">
                  <c:v>113.27490572031306</c:v>
                </c:pt>
                <c:pt idx="675">
                  <c:v>113.57138784586184</c:v>
                </c:pt>
                <c:pt idx="676">
                  <c:v>112.0710579687716</c:v>
                </c:pt>
                <c:pt idx="677">
                  <c:v>112.83832764532914</c:v>
                </c:pt>
                <c:pt idx="678">
                  <c:v>113.28549436765408</c:v>
                </c:pt>
                <c:pt idx="679">
                  <c:v>113.88986177742657</c:v>
                </c:pt>
                <c:pt idx="680">
                  <c:v>114.06253818021874</c:v>
                </c:pt>
                <c:pt idx="681">
                  <c:v>112.86439200801473</c:v>
                </c:pt>
                <c:pt idx="682">
                  <c:v>112.2111539182067</c:v>
                </c:pt>
                <c:pt idx="683">
                  <c:v>112.17450090818005</c:v>
                </c:pt>
                <c:pt idx="684">
                  <c:v>114.36146383976924</c:v>
                </c:pt>
                <c:pt idx="685">
                  <c:v>110.8289281845356</c:v>
                </c:pt>
                <c:pt idx="686">
                  <c:v>110.91689540859953</c:v>
                </c:pt>
                <c:pt idx="687">
                  <c:v>110.64647764573635</c:v>
                </c:pt>
                <c:pt idx="688">
                  <c:v>108.777174134378</c:v>
                </c:pt>
                <c:pt idx="689">
                  <c:v>109.13393009863722</c:v>
                </c:pt>
                <c:pt idx="690">
                  <c:v>110.77598494783047</c:v>
                </c:pt>
                <c:pt idx="691">
                  <c:v>110.78494457250365</c:v>
                </c:pt>
                <c:pt idx="692">
                  <c:v>110.03477963395852</c:v>
                </c:pt>
                <c:pt idx="693">
                  <c:v>108.96614076384864</c:v>
                </c:pt>
                <c:pt idx="694">
                  <c:v>109.3750254534791</c:v>
                </c:pt>
                <c:pt idx="695">
                  <c:v>107.34689223200533</c:v>
                </c:pt>
                <c:pt idx="696">
                  <c:v>107.3525938113428</c:v>
                </c:pt>
                <c:pt idx="697">
                  <c:v>107.05041010645654</c:v>
                </c:pt>
                <c:pt idx="698">
                  <c:v>107.67595481091111</c:v>
                </c:pt>
                <c:pt idx="699">
                  <c:v>104.51402181261345</c:v>
                </c:pt>
                <c:pt idx="700">
                  <c:v>104.12549990633114</c:v>
                </c:pt>
                <c:pt idx="701">
                  <c:v>104.25745074242703</c:v>
                </c:pt>
                <c:pt idx="702">
                  <c:v>104.6573758073843</c:v>
                </c:pt>
                <c:pt idx="703">
                  <c:v>102.75223379733323</c:v>
                </c:pt>
                <c:pt idx="704">
                  <c:v>102.86463636141492</c:v>
                </c:pt>
                <c:pt idx="705">
                  <c:v>102.00206885878811</c:v>
                </c:pt>
                <c:pt idx="706">
                  <c:v>103.74430860205415</c:v>
                </c:pt>
                <c:pt idx="707">
                  <c:v>101.38141122233711</c:v>
                </c:pt>
                <c:pt idx="708">
                  <c:v>102.09003608285204</c:v>
                </c:pt>
                <c:pt idx="709">
                  <c:v>100.95786532869599</c:v>
                </c:pt>
                <c:pt idx="710">
                  <c:v>100.04642714603365</c:v>
                </c:pt>
                <c:pt idx="711">
                  <c:v>98.95579646990781</c:v>
                </c:pt>
                <c:pt idx="712">
                  <c:v>101.43598348171007</c:v>
                </c:pt>
                <c:pt idx="713">
                  <c:v>102.65449243726219</c:v>
                </c:pt>
                <c:pt idx="714">
                  <c:v>102.68381484528352</c:v>
                </c:pt>
                <c:pt idx="715">
                  <c:v>102.62842807457662</c:v>
                </c:pt>
                <c:pt idx="716">
                  <c:v>104.01309734224949</c:v>
                </c:pt>
                <c:pt idx="717">
                  <c:v>104.43582872455667</c:v>
                </c:pt>
                <c:pt idx="718">
                  <c:v>102.02080261946841</c:v>
                </c:pt>
                <c:pt idx="719">
                  <c:v>102.44597753577736</c:v>
                </c:pt>
                <c:pt idx="720">
                  <c:v>100.54083552572629</c:v>
                </c:pt>
                <c:pt idx="721">
                  <c:v>102.8890717014327</c:v>
                </c:pt>
                <c:pt idx="722">
                  <c:v>104.60443257067917</c:v>
                </c:pt>
                <c:pt idx="723">
                  <c:v>103.22953743901341</c:v>
                </c:pt>
                <c:pt idx="724">
                  <c:v>102.65367792592828</c:v>
                </c:pt>
                <c:pt idx="725">
                  <c:v>101.7332801185928</c:v>
                </c:pt>
                <c:pt idx="726">
                  <c:v>104.65493227338256</c:v>
                </c:pt>
                <c:pt idx="727">
                  <c:v>105.00598665830434</c:v>
                </c:pt>
                <c:pt idx="728">
                  <c:v>103.12283645426925</c:v>
                </c:pt>
                <c:pt idx="729">
                  <c:v>105.586733239393</c:v>
                </c:pt>
                <c:pt idx="730">
                  <c:v>106.31979343992568</c:v>
                </c:pt>
                <c:pt idx="731">
                  <c:v>105.03856711166131</c:v>
                </c:pt>
                <c:pt idx="732">
                  <c:v>104.73231085010543</c:v>
                </c:pt>
                <c:pt idx="733">
                  <c:v>105.31061389719235</c:v>
                </c:pt>
                <c:pt idx="734">
                  <c:v>105.73986137017096</c:v>
                </c:pt>
                <c:pt idx="735">
                  <c:v>104.14341915567753</c:v>
                </c:pt>
                <c:pt idx="736">
                  <c:v>103.17333615697261</c:v>
                </c:pt>
                <c:pt idx="737">
                  <c:v>103.8127275541039</c:v>
                </c:pt>
                <c:pt idx="738">
                  <c:v>104.07174215829212</c:v>
                </c:pt>
                <c:pt idx="739">
                  <c:v>105.25115456981584</c:v>
                </c:pt>
                <c:pt idx="740">
                  <c:v>103.1855538269815</c:v>
                </c:pt>
                <c:pt idx="741">
                  <c:v>103.56593061992459</c:v>
                </c:pt>
                <c:pt idx="742">
                  <c:v>104.39265962385868</c:v>
                </c:pt>
                <c:pt idx="743">
                  <c:v>105.94186018098445</c:v>
                </c:pt>
                <c:pt idx="744">
                  <c:v>104.48795744992793</c:v>
                </c:pt>
                <c:pt idx="745">
                  <c:v>104.06033899961722</c:v>
                </c:pt>
                <c:pt idx="746">
                  <c:v>103.84856605279667</c:v>
                </c:pt>
                <c:pt idx="747">
                  <c:v>100.74120531387199</c:v>
                </c:pt>
                <c:pt idx="748">
                  <c:v>101.18755752486301</c:v>
                </c:pt>
                <c:pt idx="749">
                  <c:v>103.26293240370445</c:v>
                </c:pt>
                <c:pt idx="750">
                  <c:v>99.737727350476149</c:v>
                </c:pt>
                <c:pt idx="751">
                  <c:v>100.35105438492185</c:v>
                </c:pt>
                <c:pt idx="752">
                  <c:v>101.73653816392863</c:v>
                </c:pt>
                <c:pt idx="753">
                  <c:v>101.9523836674188</c:v>
                </c:pt>
                <c:pt idx="754">
                  <c:v>97.146766797260042</c:v>
                </c:pt>
                <c:pt idx="755">
                  <c:v>98.848280973829816</c:v>
                </c:pt>
                <c:pt idx="756">
                  <c:v>94.189276143777604</c:v>
                </c:pt>
                <c:pt idx="757">
                  <c:v>98.271606949410753</c:v>
                </c:pt>
                <c:pt idx="758">
                  <c:v>102.2276884982855</c:v>
                </c:pt>
                <c:pt idx="759">
                  <c:v>98.318848606778403</c:v>
                </c:pt>
                <c:pt idx="760">
                  <c:v>96.781865719661525</c:v>
                </c:pt>
                <c:pt idx="761">
                  <c:v>96.590455556189085</c:v>
                </c:pt>
                <c:pt idx="762">
                  <c:v>98.489081475568753</c:v>
                </c:pt>
                <c:pt idx="763">
                  <c:v>98.801039316462109</c:v>
                </c:pt>
                <c:pt idx="764">
                  <c:v>90.116719474151509</c:v>
                </c:pt>
                <c:pt idx="765">
                  <c:v>95.001343943700988</c:v>
                </c:pt>
                <c:pt idx="766">
                  <c:v>94.56965293672063</c:v>
                </c:pt>
                <c:pt idx="767">
                  <c:v>90.759368916618499</c:v>
                </c:pt>
                <c:pt idx="768">
                  <c:v>89.533529359061063</c:v>
                </c:pt>
                <c:pt idx="769">
                  <c:v>86.084888371221723</c:v>
                </c:pt>
                <c:pt idx="770">
                  <c:v>81.14406261963137</c:v>
                </c:pt>
                <c:pt idx="771">
                  <c:v>80.224479323629808</c:v>
                </c:pt>
                <c:pt idx="772">
                  <c:v>74.114015296522851</c:v>
                </c:pt>
                <c:pt idx="773">
                  <c:v>73.242488169222881</c:v>
                </c:pt>
                <c:pt idx="774">
                  <c:v>81.723994689386117</c:v>
                </c:pt>
                <c:pt idx="775">
                  <c:v>81.28904563707006</c:v>
                </c:pt>
                <c:pt idx="776">
                  <c:v>73.944596939066429</c:v>
                </c:pt>
                <c:pt idx="777">
                  <c:v>77.08779617668381</c:v>
                </c:pt>
                <c:pt idx="778">
                  <c:v>76.608863512335788</c:v>
                </c:pt>
                <c:pt idx="779">
                  <c:v>80.261946844990362</c:v>
                </c:pt>
                <c:pt idx="780">
                  <c:v>77.789904946527344</c:v>
                </c:pt>
                <c:pt idx="781">
                  <c:v>73.043747403745144</c:v>
                </c:pt>
                <c:pt idx="782">
                  <c:v>73.966588745082404</c:v>
                </c:pt>
                <c:pt idx="783">
                  <c:v>71.41391022456078</c:v>
                </c:pt>
                <c:pt idx="784">
                  <c:v>69.145496159579068</c:v>
                </c:pt>
                <c:pt idx="785">
                  <c:v>76.605605467000075</c:v>
                </c:pt>
                <c:pt idx="786">
                  <c:v>75.756884657050009</c:v>
                </c:pt>
                <c:pt idx="787">
                  <c:v>77.711711858470508</c:v>
                </c:pt>
                <c:pt idx="788">
                  <c:v>78.905785474004873</c:v>
                </c:pt>
                <c:pt idx="789">
                  <c:v>78.706230197193193</c:v>
                </c:pt>
                <c:pt idx="790">
                  <c:v>81.919477409528156</c:v>
                </c:pt>
                <c:pt idx="791">
                  <c:v>77.604196362392372</c:v>
                </c:pt>
                <c:pt idx="792">
                  <c:v>73.70350158422454</c:v>
                </c:pt>
                <c:pt idx="793">
                  <c:v>75.830190677103275</c:v>
                </c:pt>
                <c:pt idx="794">
                  <c:v>74.870696325739374</c:v>
                </c:pt>
                <c:pt idx="795">
                  <c:v>73.220496363206891</c:v>
                </c:pt>
                <c:pt idx="796">
                  <c:v>69.42080099044577</c:v>
                </c:pt>
                <c:pt idx="797">
                  <c:v>74.225603349270585</c:v>
                </c:pt>
                <c:pt idx="798">
                  <c:v>71.130460280354797</c:v>
                </c:pt>
                <c:pt idx="799">
                  <c:v>69.294551733687371</c:v>
                </c:pt>
                <c:pt idx="800">
                  <c:v>69.976297720182771</c:v>
                </c:pt>
                <c:pt idx="801">
                  <c:v>65.696855171739713</c:v>
                </c:pt>
                <c:pt idx="802">
                  <c:v>61.287090809868623</c:v>
                </c:pt>
                <c:pt idx="803">
                  <c:v>65.163350248018688</c:v>
                </c:pt>
                <c:pt idx="804">
                  <c:v>69.380889935083431</c:v>
                </c:pt>
                <c:pt idx="805">
                  <c:v>69.835387259413707</c:v>
                </c:pt>
                <c:pt idx="806">
                  <c:v>72.302542089873171</c:v>
                </c:pt>
                <c:pt idx="807">
                  <c:v>72.99976379171315</c:v>
                </c:pt>
                <c:pt idx="808">
                  <c:v>66.481229586309695</c:v>
                </c:pt>
                <c:pt idx="809">
                  <c:v>69.136536534905858</c:v>
                </c:pt>
                <c:pt idx="810">
                  <c:v>70.922759890203849</c:v>
                </c:pt>
                <c:pt idx="811">
                  <c:v>68.844126966026721</c:v>
                </c:pt>
                <c:pt idx="812">
                  <c:v>71.356894431186006</c:v>
                </c:pt>
                <c:pt idx="813">
                  <c:v>74.096096047176488</c:v>
                </c:pt>
                <c:pt idx="814">
                  <c:v>72.383178711931762</c:v>
                </c:pt>
                <c:pt idx="815">
                  <c:v>73.244117191890709</c:v>
                </c:pt>
                <c:pt idx="816">
                  <c:v>71.154895620372542</c:v>
                </c:pt>
                <c:pt idx="817">
                  <c:v>71.655005579402626</c:v>
                </c:pt>
                <c:pt idx="818">
                  <c:v>70.746010930742088</c:v>
                </c:pt>
                <c:pt idx="819">
                  <c:v>74.379545991382457</c:v>
                </c:pt>
                <c:pt idx="820">
                  <c:v>73.666034062863972</c:v>
                </c:pt>
                <c:pt idx="821">
                  <c:v>72.107059369731118</c:v>
                </c:pt>
                <c:pt idx="822">
                  <c:v>72.318832316551664</c:v>
                </c:pt>
                <c:pt idx="823">
                  <c:v>70.995251398923202</c:v>
                </c:pt>
                <c:pt idx="824">
                  <c:v>70.305360299088534</c:v>
                </c:pt>
                <c:pt idx="825">
                  <c:v>70.711801454717218</c:v>
                </c:pt>
                <c:pt idx="826">
                  <c:v>71.090549224992429</c:v>
                </c:pt>
                <c:pt idx="827">
                  <c:v>70.815244394125699</c:v>
                </c:pt>
                <c:pt idx="828">
                  <c:v>72.543637444715003</c:v>
                </c:pt>
                <c:pt idx="829">
                  <c:v>73.570736236794701</c:v>
                </c:pt>
                <c:pt idx="830">
                  <c:v>75.896166095151173</c:v>
                </c:pt>
                <c:pt idx="831">
                  <c:v>75.541853664893708</c:v>
                </c:pt>
                <c:pt idx="832">
                  <c:v>76.132374381989479</c:v>
                </c:pt>
                <c:pt idx="833">
                  <c:v>73.84767009032926</c:v>
                </c:pt>
                <c:pt idx="834">
                  <c:v>74.09853958117823</c:v>
                </c:pt>
                <c:pt idx="835">
                  <c:v>72.520016616031185</c:v>
                </c:pt>
                <c:pt idx="836">
                  <c:v>70.883663346175425</c:v>
                </c:pt>
                <c:pt idx="837">
                  <c:v>71.008283580265982</c:v>
                </c:pt>
                <c:pt idx="838">
                  <c:v>68.632354019206133</c:v>
                </c:pt>
                <c:pt idx="839">
                  <c:v>68.723579288605748</c:v>
                </c:pt>
                <c:pt idx="840">
                  <c:v>69.243237519650037</c:v>
                </c:pt>
                <c:pt idx="841">
                  <c:v>65.58608163032585</c:v>
                </c:pt>
                <c:pt idx="842">
                  <c:v>68.438500321731937</c:v>
                </c:pt>
                <c:pt idx="843">
                  <c:v>67.400812882311214</c:v>
                </c:pt>
                <c:pt idx="844">
                  <c:v>67.763270425907947</c:v>
                </c:pt>
                <c:pt idx="845">
                  <c:v>68.139574662181403</c:v>
                </c:pt>
                <c:pt idx="846">
                  <c:v>68.88403802138906</c:v>
                </c:pt>
                <c:pt idx="847">
                  <c:v>71.195621187068809</c:v>
                </c:pt>
                <c:pt idx="848">
                  <c:v>68.837610875355324</c:v>
                </c:pt>
                <c:pt idx="849">
                  <c:v>67.268862046215375</c:v>
                </c:pt>
                <c:pt idx="850">
                  <c:v>67.233023547522663</c:v>
                </c:pt>
                <c:pt idx="851">
                  <c:v>68.297589860962916</c:v>
                </c:pt>
                <c:pt idx="852">
                  <c:v>67.786076743257894</c:v>
                </c:pt>
                <c:pt idx="853">
                  <c:v>68.89544118006404</c:v>
                </c:pt>
                <c:pt idx="854">
                  <c:v>70.748454464743915</c:v>
                </c:pt>
                <c:pt idx="855">
                  <c:v>70.853526426820267</c:v>
                </c:pt>
                <c:pt idx="856">
                  <c:v>67.373119496957827</c:v>
                </c:pt>
                <c:pt idx="857">
                  <c:v>67.909067954680623</c:v>
                </c:pt>
                <c:pt idx="858">
                  <c:v>68.027172098099783</c:v>
                </c:pt>
                <c:pt idx="859">
                  <c:v>67.347055134272239</c:v>
                </c:pt>
                <c:pt idx="860">
                  <c:v>64.278790939375952</c:v>
                </c:pt>
                <c:pt idx="861">
                  <c:v>64.217702589331566</c:v>
                </c:pt>
                <c:pt idx="862">
                  <c:v>63.445545844770471</c:v>
                </c:pt>
                <c:pt idx="863">
                  <c:v>62.721445268910948</c:v>
                </c:pt>
                <c:pt idx="864">
                  <c:v>60.545070984662786</c:v>
                </c:pt>
                <c:pt idx="865">
                  <c:v>62.973129271093832</c:v>
                </c:pt>
                <c:pt idx="866">
                  <c:v>62.301971931939455</c:v>
                </c:pt>
                <c:pt idx="867">
                  <c:v>61.31885675189173</c:v>
                </c:pt>
                <c:pt idx="868">
                  <c:v>59.873913645508409</c:v>
                </c:pt>
                <c:pt idx="869">
                  <c:v>57.082583304146709</c:v>
                </c:pt>
                <c:pt idx="870">
                  <c:v>56.716867715214292</c:v>
                </c:pt>
                <c:pt idx="871">
                  <c:v>58.064069461526593</c:v>
                </c:pt>
                <c:pt idx="872">
                  <c:v>55.594471097065352</c:v>
                </c:pt>
                <c:pt idx="873">
                  <c:v>55.662075537781149</c:v>
                </c:pt>
                <c:pt idx="874">
                  <c:v>55.104135274042378</c:v>
                </c:pt>
                <c:pt idx="875">
                  <c:v>58.612235589258269</c:v>
                </c:pt>
                <c:pt idx="876">
                  <c:v>58.755589584029103</c:v>
                </c:pt>
                <c:pt idx="877">
                  <c:v>61.148623883101372</c:v>
                </c:pt>
                <c:pt idx="878">
                  <c:v>61.621854968111926</c:v>
                </c:pt>
                <c:pt idx="879">
                  <c:v>61.405194953287818</c:v>
                </c:pt>
                <c:pt idx="880">
                  <c:v>63.378755915388609</c:v>
                </c:pt>
                <c:pt idx="881">
                  <c:v>64.700707810349229</c:v>
                </c:pt>
                <c:pt idx="882">
                  <c:v>63.860946625072337</c:v>
                </c:pt>
                <c:pt idx="883">
                  <c:v>62.598454057488247</c:v>
                </c:pt>
                <c:pt idx="884">
                  <c:v>67.027766691373557</c:v>
                </c:pt>
                <c:pt idx="885">
                  <c:v>65.659387650379216</c:v>
                </c:pt>
                <c:pt idx="886">
                  <c:v>66.291448445505196</c:v>
                </c:pt>
                <c:pt idx="887">
                  <c:v>67.83739095729527</c:v>
                </c:pt>
                <c:pt idx="888">
                  <c:v>66.459237780293819</c:v>
                </c:pt>
                <c:pt idx="889">
                  <c:v>64.145211080612285</c:v>
                </c:pt>
                <c:pt idx="890">
                  <c:v>64.987415799890954</c:v>
                </c:pt>
                <c:pt idx="891">
                  <c:v>66.063385272006158</c:v>
                </c:pt>
                <c:pt idx="892">
                  <c:v>67.961196680051899</c:v>
                </c:pt>
                <c:pt idx="893">
                  <c:v>68.622579883199165</c:v>
                </c:pt>
                <c:pt idx="894">
                  <c:v>68.050792926783672</c:v>
                </c:pt>
                <c:pt idx="895">
                  <c:v>66.427471838270719</c:v>
                </c:pt>
                <c:pt idx="896">
                  <c:v>67.210217230172859</c:v>
                </c:pt>
                <c:pt idx="897">
                  <c:v>69.767782818698024</c:v>
                </c:pt>
                <c:pt idx="898">
                  <c:v>69.944531778159799</c:v>
                </c:pt>
                <c:pt idx="899">
                  <c:v>68.54112874980666</c:v>
                </c:pt>
                <c:pt idx="900">
                  <c:v>69.401252718431678</c:v>
                </c:pt>
                <c:pt idx="901">
                  <c:v>70.479665724548653</c:v>
                </c:pt>
                <c:pt idx="902">
                  <c:v>70.829905598136492</c:v>
                </c:pt>
                <c:pt idx="903">
                  <c:v>67.799108924600773</c:v>
                </c:pt>
                <c:pt idx="904">
                  <c:v>69.239979474314481</c:v>
                </c:pt>
                <c:pt idx="905">
                  <c:v>68.708103573261312</c:v>
                </c:pt>
                <c:pt idx="906">
                  <c:v>69.389849559756712</c:v>
                </c:pt>
                <c:pt idx="907">
                  <c:v>70.555415278603689</c:v>
                </c:pt>
                <c:pt idx="908">
                  <c:v>69.845161395420902</c:v>
                </c:pt>
                <c:pt idx="909">
                  <c:v>69.653751231948476</c:v>
                </c:pt>
                <c:pt idx="910">
                  <c:v>71.158968177042269</c:v>
                </c:pt>
                <c:pt idx="911">
                  <c:v>71.091363736326485</c:v>
                </c:pt>
                <c:pt idx="912">
                  <c:v>71.474998574605252</c:v>
                </c:pt>
                <c:pt idx="913">
                  <c:v>73.895726259030994</c:v>
                </c:pt>
                <c:pt idx="914">
                  <c:v>73.615534360160723</c:v>
                </c:pt>
                <c:pt idx="915">
                  <c:v>74.89676068842509</c:v>
                </c:pt>
                <c:pt idx="916">
                  <c:v>73.907943929039888</c:v>
                </c:pt>
                <c:pt idx="917">
                  <c:v>75.686836682332554</c:v>
                </c:pt>
                <c:pt idx="918">
                  <c:v>74.058628525816047</c:v>
                </c:pt>
                <c:pt idx="919">
                  <c:v>73.986137017096695</c:v>
                </c:pt>
                <c:pt idx="920">
                  <c:v>71.996285828317397</c:v>
                </c:pt>
                <c:pt idx="921">
                  <c:v>72.741563698858982</c:v>
                </c:pt>
                <c:pt idx="922">
                  <c:v>71.911576649589193</c:v>
                </c:pt>
                <c:pt idx="923">
                  <c:v>74.09691055851053</c:v>
                </c:pt>
                <c:pt idx="924">
                  <c:v>73.968217767750332</c:v>
                </c:pt>
                <c:pt idx="925">
                  <c:v>73.588655486141178</c:v>
                </c:pt>
                <c:pt idx="926">
                  <c:v>72.355485326578403</c:v>
                </c:pt>
                <c:pt idx="927">
                  <c:v>72.247155319166353</c:v>
                </c:pt>
                <c:pt idx="928">
                  <c:v>74.147410261213878</c:v>
                </c:pt>
                <c:pt idx="929">
                  <c:v>72.74074918752504</c:v>
                </c:pt>
                <c:pt idx="930">
                  <c:v>73.862331294340066</c:v>
                </c:pt>
                <c:pt idx="931">
                  <c:v>74.864994746402004</c:v>
                </c:pt>
                <c:pt idx="932">
                  <c:v>76.797830141806543</c:v>
                </c:pt>
                <c:pt idx="933">
                  <c:v>76.950143761250544</c:v>
                </c:pt>
                <c:pt idx="934">
                  <c:v>75.892908049815617</c:v>
                </c:pt>
                <c:pt idx="935">
                  <c:v>76.764435177115587</c:v>
                </c:pt>
                <c:pt idx="936">
                  <c:v>76.571395990975319</c:v>
                </c:pt>
                <c:pt idx="937">
                  <c:v>76.494017414252426</c:v>
                </c:pt>
                <c:pt idx="938">
                  <c:v>76.761991643113817</c:v>
                </c:pt>
                <c:pt idx="939">
                  <c:v>76.494831925586354</c:v>
                </c:pt>
                <c:pt idx="940">
                  <c:v>76.96236143125941</c:v>
                </c:pt>
                <c:pt idx="941">
                  <c:v>77.069876927337546</c:v>
                </c:pt>
                <c:pt idx="942">
                  <c:v>75.238040937339733</c:v>
                </c:pt>
                <c:pt idx="943">
                  <c:v>74.280990119977602</c:v>
                </c:pt>
                <c:pt idx="944">
                  <c:v>74.178361691903035</c:v>
                </c:pt>
                <c:pt idx="945">
                  <c:v>74.802277373689748</c:v>
                </c:pt>
                <c:pt idx="946">
                  <c:v>75.035227615192369</c:v>
                </c:pt>
                <c:pt idx="947">
                  <c:v>72.739120164857198</c:v>
                </c:pt>
                <c:pt idx="948">
                  <c:v>72.906909499645806</c:v>
                </c:pt>
                <c:pt idx="949">
                  <c:v>73.382584118658116</c:v>
                </c:pt>
                <c:pt idx="950">
                  <c:v>74.956220015801634</c:v>
                </c:pt>
                <c:pt idx="951">
                  <c:v>74.845446474387799</c:v>
                </c:pt>
                <c:pt idx="952">
                  <c:v>75.523934415547501</c:v>
                </c:pt>
                <c:pt idx="953">
                  <c:v>74.879655950412669</c:v>
                </c:pt>
                <c:pt idx="954">
                  <c:v>75.206274995316676</c:v>
                </c:pt>
                <c:pt idx="955">
                  <c:v>73.014424995723914</c:v>
                </c:pt>
                <c:pt idx="956">
                  <c:v>73.201762602526699</c:v>
                </c:pt>
                <c:pt idx="957">
                  <c:v>71.760892052813006</c:v>
                </c:pt>
                <c:pt idx="958">
                  <c:v>71.641158886725989</c:v>
                </c:pt>
                <c:pt idx="959">
                  <c:v>71.895286422910658</c:v>
                </c:pt>
                <c:pt idx="960">
                  <c:v>71.606134899367206</c:v>
                </c:pt>
                <c:pt idx="961">
                  <c:v>73.391543743331269</c:v>
                </c:pt>
                <c:pt idx="962">
                  <c:v>73.781694672281446</c:v>
                </c:pt>
                <c:pt idx="963">
                  <c:v>75.967843092536711</c:v>
                </c:pt>
                <c:pt idx="964">
                  <c:v>76.624339227680437</c:v>
                </c:pt>
                <c:pt idx="965">
                  <c:v>76.595016819659136</c:v>
                </c:pt>
                <c:pt idx="966">
                  <c:v>77.470616503628747</c:v>
                </c:pt>
                <c:pt idx="967">
                  <c:v>77.751622913832946</c:v>
                </c:pt>
                <c:pt idx="968">
                  <c:v>77.710082835802766</c:v>
                </c:pt>
                <c:pt idx="969">
                  <c:v>79.519927019784575</c:v>
                </c:pt>
                <c:pt idx="970">
                  <c:v>79.761836885960363</c:v>
                </c:pt>
                <c:pt idx="971">
                  <c:v>79.999674195466525</c:v>
                </c:pt>
                <c:pt idx="972">
                  <c:v>79.791159293981664</c:v>
                </c:pt>
                <c:pt idx="973">
                  <c:v>79.427072727717089</c:v>
                </c:pt>
                <c:pt idx="974">
                  <c:v>80.37190587507034</c:v>
                </c:pt>
                <c:pt idx="975">
                  <c:v>80.431365202446884</c:v>
                </c:pt>
                <c:pt idx="976">
                  <c:v>81.665349873343587</c:v>
                </c:pt>
                <c:pt idx="977">
                  <c:v>81.911332296188988</c:v>
                </c:pt>
                <c:pt idx="978">
                  <c:v>81.672680475348898</c:v>
                </c:pt>
                <c:pt idx="979">
                  <c:v>81.213296083015081</c:v>
                </c:pt>
                <c:pt idx="980">
                  <c:v>82.304741270474864</c:v>
                </c:pt>
                <c:pt idx="981">
                  <c:v>82.029436439608133</c:v>
                </c:pt>
                <c:pt idx="982">
                  <c:v>80.990934488853497</c:v>
                </c:pt>
                <c:pt idx="983">
                  <c:v>81.924364477531796</c:v>
                </c:pt>
                <c:pt idx="984">
                  <c:v>82.488006320608037</c:v>
                </c:pt>
                <c:pt idx="985">
                  <c:v>81.784268528096646</c:v>
                </c:pt>
                <c:pt idx="986">
                  <c:v>79.800118918654832</c:v>
                </c:pt>
                <c:pt idx="987">
                  <c:v>80.609743184576502</c:v>
                </c:pt>
                <c:pt idx="988">
                  <c:v>81.162796380311718</c:v>
                </c:pt>
                <c:pt idx="989">
                  <c:v>82.051428245624123</c:v>
                </c:pt>
                <c:pt idx="990">
                  <c:v>83.579451508067834</c:v>
                </c:pt>
                <c:pt idx="991">
                  <c:v>83.533838873368012</c:v>
                </c:pt>
                <c:pt idx="992">
                  <c:v>83.731765127511849</c:v>
                </c:pt>
                <c:pt idx="993">
                  <c:v>83.741539263518931</c:v>
                </c:pt>
                <c:pt idx="994">
                  <c:v>83.974489505021552</c:v>
                </c:pt>
                <c:pt idx="995">
                  <c:v>83.807514681566886</c:v>
                </c:pt>
                <c:pt idx="996">
                  <c:v>83.130655763075026</c:v>
                </c:pt>
                <c:pt idx="997">
                  <c:v>81.291489171071888</c:v>
                </c:pt>
                <c:pt idx="998">
                  <c:v>81.023514942210483</c:v>
                </c:pt>
                <c:pt idx="999">
                  <c:v>81.715035064712993</c:v>
                </c:pt>
                <c:pt idx="1000">
                  <c:v>82.78693198015857</c:v>
                </c:pt>
                <c:pt idx="1001">
                  <c:v>83.519177669357347</c:v>
                </c:pt>
                <c:pt idx="1002">
                  <c:v>84.169157713829648</c:v>
                </c:pt>
                <c:pt idx="1003">
                  <c:v>85.046386420467115</c:v>
                </c:pt>
                <c:pt idx="1004">
                  <c:v>84.931540322383654</c:v>
                </c:pt>
                <c:pt idx="1005">
                  <c:v>85.469932314108192</c:v>
                </c:pt>
                <c:pt idx="1006">
                  <c:v>85.737906542969611</c:v>
                </c:pt>
                <c:pt idx="1007">
                  <c:v>87.051713324590978</c:v>
                </c:pt>
                <c:pt idx="1008">
                  <c:v>86.785368118397429</c:v>
                </c:pt>
                <c:pt idx="1009">
                  <c:v>87.014245803230409</c:v>
                </c:pt>
                <c:pt idx="1010">
                  <c:v>86.717763677681631</c:v>
                </c:pt>
                <c:pt idx="1011">
                  <c:v>87.287921611429283</c:v>
                </c:pt>
                <c:pt idx="1012">
                  <c:v>86.409063882123959</c:v>
                </c:pt>
                <c:pt idx="1013">
                  <c:v>85.587221946193438</c:v>
                </c:pt>
                <c:pt idx="1014">
                  <c:v>85.065934692481306</c:v>
                </c:pt>
                <c:pt idx="1015">
                  <c:v>86.580925773582194</c:v>
                </c:pt>
                <c:pt idx="1016">
                  <c:v>86.387886587441912</c:v>
                </c:pt>
                <c:pt idx="1017">
                  <c:v>86.100364086566316</c:v>
                </c:pt>
                <c:pt idx="1018">
                  <c:v>83.882449724287966</c:v>
                </c:pt>
                <c:pt idx="1019">
                  <c:v>83.504516465346668</c:v>
                </c:pt>
                <c:pt idx="1020">
                  <c:v>84.746646249582625</c:v>
                </c:pt>
                <c:pt idx="1021">
                  <c:v>85.908139411759961</c:v>
                </c:pt>
                <c:pt idx="1022">
                  <c:v>86.141089653262569</c:v>
                </c:pt>
                <c:pt idx="1023">
                  <c:v>86.784553607063486</c:v>
                </c:pt>
                <c:pt idx="1024">
                  <c:v>87.274074918752532</c:v>
                </c:pt>
                <c:pt idx="1025">
                  <c:v>87.656895245697399</c:v>
                </c:pt>
                <c:pt idx="1026">
                  <c:v>87.412541845519826</c:v>
                </c:pt>
                <c:pt idx="1027">
                  <c:v>88.946266687300991</c:v>
                </c:pt>
                <c:pt idx="1028">
                  <c:v>89.316054832903021</c:v>
                </c:pt>
                <c:pt idx="1029">
                  <c:v>88.592768768377439</c:v>
                </c:pt>
                <c:pt idx="1030">
                  <c:v>89.426013862982941</c:v>
                </c:pt>
                <c:pt idx="1031">
                  <c:v>88.868073599244156</c:v>
                </c:pt>
                <c:pt idx="1032">
                  <c:v>88.081255650672418</c:v>
                </c:pt>
                <c:pt idx="1033">
                  <c:v>89.018758196020343</c:v>
                </c:pt>
                <c:pt idx="1034">
                  <c:v>87.934643610565871</c:v>
                </c:pt>
                <c:pt idx="1035">
                  <c:v>86.904286773150488</c:v>
                </c:pt>
                <c:pt idx="1036">
                  <c:v>86.615949760940964</c:v>
                </c:pt>
                <c:pt idx="1037">
                  <c:v>84.923395209044386</c:v>
                </c:pt>
                <c:pt idx="1038">
                  <c:v>86.835867821100763</c:v>
                </c:pt>
                <c:pt idx="1039">
                  <c:v>84.398849909996542</c:v>
                </c:pt>
                <c:pt idx="1040">
                  <c:v>84.94375799239252</c:v>
                </c:pt>
                <c:pt idx="1041">
                  <c:v>85.149829359875596</c:v>
                </c:pt>
                <c:pt idx="1042">
                  <c:v>85.238611095273427</c:v>
                </c:pt>
                <c:pt idx="1043">
                  <c:v>86.878222410464886</c:v>
                </c:pt>
                <c:pt idx="1044">
                  <c:v>87.095696936622915</c:v>
                </c:pt>
                <c:pt idx="1045">
                  <c:v>89.032604888697051</c:v>
                </c:pt>
                <c:pt idx="1046">
                  <c:v>89.026903309359582</c:v>
                </c:pt>
                <c:pt idx="1047">
                  <c:v>89.474884543018447</c:v>
                </c:pt>
                <c:pt idx="1048">
                  <c:v>88.556930269684742</c:v>
                </c:pt>
                <c:pt idx="1049">
                  <c:v>89.065185342054079</c:v>
                </c:pt>
                <c:pt idx="1050">
                  <c:v>90.353742272323757</c:v>
                </c:pt>
                <c:pt idx="1051">
                  <c:v>90.436822428384133</c:v>
                </c:pt>
                <c:pt idx="1052">
                  <c:v>90.39446783902001</c:v>
                </c:pt>
                <c:pt idx="1053">
                  <c:v>89.180845951471454</c:v>
                </c:pt>
                <c:pt idx="1054">
                  <c:v>88.894137961929772</c:v>
                </c:pt>
                <c:pt idx="1055">
                  <c:v>90.104501804142629</c:v>
                </c:pt>
                <c:pt idx="1056">
                  <c:v>90.056445635441051</c:v>
                </c:pt>
                <c:pt idx="1057">
                  <c:v>90.462072279735821</c:v>
                </c:pt>
                <c:pt idx="1058">
                  <c:v>88.903097586602954</c:v>
                </c:pt>
                <c:pt idx="1059">
                  <c:v>89.240305278848012</c:v>
                </c:pt>
                <c:pt idx="1060">
                  <c:v>90.317903773631059</c:v>
                </c:pt>
                <c:pt idx="1061">
                  <c:v>90.348855204320216</c:v>
                </c:pt>
                <c:pt idx="1062">
                  <c:v>89.589730641101923</c:v>
                </c:pt>
                <c:pt idx="1063">
                  <c:v>90.083324509460596</c:v>
                </c:pt>
                <c:pt idx="1064">
                  <c:v>89.860962915299012</c:v>
                </c:pt>
                <c:pt idx="1065">
                  <c:v>88.939750596629608</c:v>
                </c:pt>
                <c:pt idx="1066">
                  <c:v>89.266369641533615</c:v>
                </c:pt>
                <c:pt idx="1067">
                  <c:v>89.787656895245746</c:v>
                </c:pt>
                <c:pt idx="1068">
                  <c:v>90.118348496819408</c:v>
                </c:pt>
                <c:pt idx="1069">
                  <c:v>90.745522223941791</c:v>
                </c:pt>
                <c:pt idx="1070">
                  <c:v>90.242154219576037</c:v>
                </c:pt>
                <c:pt idx="1071">
                  <c:v>90.343968136316661</c:v>
                </c:pt>
                <c:pt idx="1072">
                  <c:v>89.276958288874624</c:v>
                </c:pt>
                <c:pt idx="1073">
                  <c:v>89.797431031252842</c:v>
                </c:pt>
                <c:pt idx="1074">
                  <c:v>90.740635155938236</c:v>
                </c:pt>
                <c:pt idx="1075">
                  <c:v>91.06399615550653</c:v>
                </c:pt>
                <c:pt idx="1076">
                  <c:v>91.273325568325305</c:v>
                </c:pt>
                <c:pt idx="1077">
                  <c:v>91.75307274400727</c:v>
                </c:pt>
                <c:pt idx="1078">
                  <c:v>91.858959217417535</c:v>
                </c:pt>
                <c:pt idx="1079">
                  <c:v>91.730266426657366</c:v>
                </c:pt>
                <c:pt idx="1080">
                  <c:v>91.748185676003729</c:v>
                </c:pt>
                <c:pt idx="1081">
                  <c:v>90.826158846000368</c:v>
                </c:pt>
                <c:pt idx="1082">
                  <c:v>92.283319622392597</c:v>
                </c:pt>
                <c:pt idx="1083">
                  <c:v>92.570842123268179</c:v>
                </c:pt>
                <c:pt idx="1084">
                  <c:v>92.621341825971541</c:v>
                </c:pt>
                <c:pt idx="1085">
                  <c:v>92.991944482907513</c:v>
                </c:pt>
                <c:pt idx="1086">
                  <c:v>93.25991871176889</c:v>
                </c:pt>
                <c:pt idx="1087">
                  <c:v>93.422820978553929</c:v>
                </c:pt>
                <c:pt idx="1088">
                  <c:v>92.546406783250404</c:v>
                </c:pt>
                <c:pt idx="1089">
                  <c:v>93.316934505143635</c:v>
                </c:pt>
                <c:pt idx="1090">
                  <c:v>93.543368655974859</c:v>
                </c:pt>
                <c:pt idx="1091">
                  <c:v>92.530931067905811</c:v>
                </c:pt>
                <c:pt idx="1092">
                  <c:v>93.687537162079607</c:v>
                </c:pt>
                <c:pt idx="1093">
                  <c:v>92.694647846024765</c:v>
                </c:pt>
                <c:pt idx="1094">
                  <c:v>90.938561410082016</c:v>
                </c:pt>
                <c:pt idx="1095">
                  <c:v>88.925089392618872</c:v>
                </c:pt>
                <c:pt idx="1096">
                  <c:v>89.333974082249313</c:v>
                </c:pt>
                <c:pt idx="1097">
                  <c:v>88.9584843573098</c:v>
                </c:pt>
                <c:pt idx="1098">
                  <c:v>89.392618898291914</c:v>
                </c:pt>
                <c:pt idx="1099">
                  <c:v>88.336197698190915</c:v>
                </c:pt>
                <c:pt idx="1100">
                  <c:v>87.467928616226644</c:v>
                </c:pt>
                <c:pt idx="1101">
                  <c:v>88.715759979800069</c:v>
                </c:pt>
                <c:pt idx="1102">
                  <c:v>89.866664494636368</c:v>
                </c:pt>
                <c:pt idx="1103">
                  <c:v>89.374699648945551</c:v>
                </c:pt>
                <c:pt idx="1104">
                  <c:v>86.591514420923104</c:v>
                </c:pt>
                <c:pt idx="1105">
                  <c:v>86.84238391177206</c:v>
                </c:pt>
                <c:pt idx="1106">
                  <c:v>86.072670701212729</c:v>
                </c:pt>
                <c:pt idx="1107">
                  <c:v>87.195067319361684</c:v>
                </c:pt>
                <c:pt idx="1108">
                  <c:v>87.000399110553573</c:v>
                </c:pt>
                <c:pt idx="1109">
                  <c:v>87.842603829832228</c:v>
                </c:pt>
                <c:pt idx="1110">
                  <c:v>87.601508474990354</c:v>
                </c:pt>
                <c:pt idx="1111">
                  <c:v>89.178402417469556</c:v>
                </c:pt>
                <c:pt idx="1112">
                  <c:v>89.556335676410853</c:v>
                </c:pt>
                <c:pt idx="1113">
                  <c:v>90.14604188217271</c:v>
                </c:pt>
                <c:pt idx="1114">
                  <c:v>90.343153624982634</c:v>
                </c:pt>
                <c:pt idx="1115">
                  <c:v>90.24867031024732</c:v>
                </c:pt>
                <c:pt idx="1116">
                  <c:v>89.156410611453609</c:v>
                </c:pt>
                <c:pt idx="1117">
                  <c:v>90.023050670750052</c:v>
                </c:pt>
                <c:pt idx="1118">
                  <c:v>89.835713063947253</c:v>
                </c:pt>
                <c:pt idx="1119">
                  <c:v>89.961962320705666</c:v>
                </c:pt>
                <c:pt idx="1120">
                  <c:v>90.875844037369745</c:v>
                </c:pt>
                <c:pt idx="1121">
                  <c:v>91.087616984190291</c:v>
                </c:pt>
                <c:pt idx="1122">
                  <c:v>91.126713528218701</c:v>
                </c:pt>
                <c:pt idx="1123">
                  <c:v>91.467179265799444</c:v>
                </c:pt>
                <c:pt idx="1124">
                  <c:v>92.748405594063811</c:v>
                </c:pt>
                <c:pt idx="1125">
                  <c:v>92.732115367385305</c:v>
                </c:pt>
                <c:pt idx="1126">
                  <c:v>92.890945077500731</c:v>
                </c:pt>
                <c:pt idx="1127">
                  <c:v>93.311232925806124</c:v>
                </c:pt>
                <c:pt idx="1128">
                  <c:v>93.688351673413507</c:v>
                </c:pt>
                <c:pt idx="1129">
                  <c:v>93.667988890065388</c:v>
                </c:pt>
                <c:pt idx="1130">
                  <c:v>93.710343479429511</c:v>
                </c:pt>
                <c:pt idx="1131">
                  <c:v>94.439331123292575</c:v>
                </c:pt>
                <c:pt idx="1132">
                  <c:v>94.989126273692094</c:v>
                </c:pt>
                <c:pt idx="1133">
                  <c:v>94.958174843002922</c:v>
                </c:pt>
                <c:pt idx="1134">
                  <c:v>94.475169621985273</c:v>
                </c:pt>
                <c:pt idx="1135">
                  <c:v>94.956545820335052</c:v>
                </c:pt>
                <c:pt idx="1136">
                  <c:v>95.637477295496538</c:v>
                </c:pt>
                <c:pt idx="1137">
                  <c:v>95.11211748511478</c:v>
                </c:pt>
                <c:pt idx="1138">
                  <c:v>94.950029729663669</c:v>
                </c:pt>
                <c:pt idx="1139">
                  <c:v>95.020077704381222</c:v>
                </c:pt>
                <c:pt idx="1140">
                  <c:v>95.560098718773659</c:v>
                </c:pt>
                <c:pt idx="1141">
                  <c:v>95.564171275443272</c:v>
                </c:pt>
                <c:pt idx="1142">
                  <c:v>95.251398923215987</c:v>
                </c:pt>
                <c:pt idx="1143">
                  <c:v>95.957580249729133</c:v>
                </c:pt>
                <c:pt idx="1144">
                  <c:v>96.718333835615283</c:v>
                </c:pt>
                <c:pt idx="1145">
                  <c:v>96.881236102400337</c:v>
                </c:pt>
                <c:pt idx="1146">
                  <c:v>96.311892679986613</c:v>
                </c:pt>
                <c:pt idx="1147">
                  <c:v>96.636882702222778</c:v>
                </c:pt>
                <c:pt idx="1148">
                  <c:v>97.282790190025466</c:v>
                </c:pt>
                <c:pt idx="1149">
                  <c:v>97.454652081483687</c:v>
                </c:pt>
                <c:pt idx="1150">
                  <c:v>97.521442010865528</c:v>
                </c:pt>
                <c:pt idx="1151">
                  <c:v>98.608814641655684</c:v>
                </c:pt>
                <c:pt idx="1152">
                  <c:v>98.691894797716046</c:v>
                </c:pt>
                <c:pt idx="1153">
                  <c:v>97.100339651226193</c:v>
                </c:pt>
                <c:pt idx="1154">
                  <c:v>97.539361260211862</c:v>
                </c:pt>
                <c:pt idx="1155">
                  <c:v>98.3253646974497</c:v>
                </c:pt>
                <c:pt idx="1156">
                  <c:v>98.225179803376889</c:v>
                </c:pt>
                <c:pt idx="1157">
                  <c:v>98.447541397538473</c:v>
                </c:pt>
                <c:pt idx="1158">
                  <c:v>99.148835656048064</c:v>
                </c:pt>
                <c:pt idx="1159">
                  <c:v>98.722846228405189</c:v>
                </c:pt>
                <c:pt idx="1160">
                  <c:v>96.414521108061152</c:v>
                </c:pt>
                <c:pt idx="1161">
                  <c:v>97.037622278513936</c:v>
                </c:pt>
                <c:pt idx="1162">
                  <c:v>98.293598755426615</c:v>
                </c:pt>
                <c:pt idx="1163">
                  <c:v>96.657245485570883</c:v>
                </c:pt>
                <c:pt idx="1164">
                  <c:v>97.925439632492427</c:v>
                </c:pt>
                <c:pt idx="1165">
                  <c:v>95.59105014946276</c:v>
                </c:pt>
                <c:pt idx="1166">
                  <c:v>94.963876422340363</c:v>
                </c:pt>
                <c:pt idx="1167">
                  <c:v>91.889096136772679</c:v>
                </c:pt>
                <c:pt idx="1168">
                  <c:v>90.482435063083841</c:v>
                </c:pt>
                <c:pt idx="1169">
                  <c:v>94.461322929308494</c:v>
                </c:pt>
                <c:pt idx="1170">
                  <c:v>94.140405463741956</c:v>
                </c:pt>
                <c:pt idx="1171">
                  <c:v>95.433849462015189</c:v>
                </c:pt>
                <c:pt idx="1172">
                  <c:v>94.274799833839609</c:v>
                </c:pt>
                <c:pt idx="1173">
                  <c:v>92.502423171218339</c:v>
                </c:pt>
                <c:pt idx="1174">
                  <c:v>92.605051599292921</c:v>
                </c:pt>
                <c:pt idx="1175">
                  <c:v>91.290430306337626</c:v>
                </c:pt>
                <c:pt idx="1176">
                  <c:v>90.822086289330628</c:v>
                </c:pt>
                <c:pt idx="1177">
                  <c:v>87.282220032091658</c:v>
                </c:pt>
                <c:pt idx="1178">
                  <c:v>88.593583279711254</c:v>
                </c:pt>
                <c:pt idx="1179">
                  <c:v>87.450009366880252</c:v>
                </c:pt>
                <c:pt idx="1180">
                  <c:v>87.480960797569381</c:v>
                </c:pt>
                <c:pt idx="1181">
                  <c:v>86.985737906542866</c:v>
                </c:pt>
                <c:pt idx="1182">
                  <c:v>89.845487199954277</c:v>
                </c:pt>
                <c:pt idx="1183">
                  <c:v>88.733679229146375</c:v>
                </c:pt>
                <c:pt idx="1184">
                  <c:v>87.210543034706234</c:v>
                </c:pt>
                <c:pt idx="1185">
                  <c:v>89.464295895677282</c:v>
                </c:pt>
                <c:pt idx="1186">
                  <c:v>89.826753439273972</c:v>
                </c:pt>
                <c:pt idx="1187">
                  <c:v>86.73568292702781</c:v>
                </c:pt>
                <c:pt idx="1188">
                  <c:v>85.561972094841565</c:v>
                </c:pt>
                <c:pt idx="1189">
                  <c:v>86.501103662857332</c:v>
                </c:pt>
                <c:pt idx="1190">
                  <c:v>85.987147011150526</c:v>
                </c:pt>
                <c:pt idx="1191">
                  <c:v>88.524349816327529</c:v>
                </c:pt>
                <c:pt idx="1192">
                  <c:v>88.912057211275922</c:v>
                </c:pt>
                <c:pt idx="1193">
                  <c:v>88.751598478492667</c:v>
                </c:pt>
                <c:pt idx="1194">
                  <c:v>90.836747493341178</c:v>
                </c:pt>
                <c:pt idx="1195">
                  <c:v>90.786247790637816</c:v>
                </c:pt>
                <c:pt idx="1196">
                  <c:v>90.902722911389105</c:v>
                </c:pt>
                <c:pt idx="1197">
                  <c:v>91.022456077476107</c:v>
                </c:pt>
                <c:pt idx="1198">
                  <c:v>90.671401692554355</c:v>
                </c:pt>
                <c:pt idx="1199">
                  <c:v>89.21424091616214</c:v>
                </c:pt>
                <c:pt idx="1200">
                  <c:v>88.947895709968591</c:v>
                </c:pt>
                <c:pt idx="1201">
                  <c:v>87.453267412215837</c:v>
                </c:pt>
                <c:pt idx="1202">
                  <c:v>87.703322391730865</c:v>
                </c:pt>
                <c:pt idx="1203">
                  <c:v>87.524944409601247</c:v>
                </c:pt>
                <c:pt idx="1204">
                  <c:v>84.810178133628526</c:v>
                </c:pt>
                <c:pt idx="1205">
                  <c:v>83.952497699005278</c:v>
                </c:pt>
                <c:pt idx="1206">
                  <c:v>83.680450913474246</c:v>
                </c:pt>
                <c:pt idx="1207">
                  <c:v>83.290299984524083</c:v>
                </c:pt>
                <c:pt idx="1208">
                  <c:v>83.736652195515092</c:v>
                </c:pt>
                <c:pt idx="1209">
                  <c:v>86.360193202088183</c:v>
                </c:pt>
                <c:pt idx="1210">
                  <c:v>87.173075513345552</c:v>
                </c:pt>
                <c:pt idx="1211">
                  <c:v>87.801063751801877</c:v>
                </c:pt>
                <c:pt idx="1212">
                  <c:v>87.865410147181976</c:v>
                </c:pt>
                <c:pt idx="1213">
                  <c:v>89.216684450163896</c:v>
                </c:pt>
                <c:pt idx="1214">
                  <c:v>89.202837757487174</c:v>
                </c:pt>
                <c:pt idx="1215">
                  <c:v>89.309538742231382</c:v>
                </c:pt>
                <c:pt idx="1216">
                  <c:v>86.735682927027725</c:v>
                </c:pt>
                <c:pt idx="1217">
                  <c:v>87.254526646738071</c:v>
                </c:pt>
                <c:pt idx="1218">
                  <c:v>88.250674008128613</c:v>
                </c:pt>
                <c:pt idx="1219">
                  <c:v>87.119317765306491</c:v>
                </c:pt>
                <c:pt idx="1220">
                  <c:v>89.080661057398416</c:v>
                </c:pt>
                <c:pt idx="1221">
                  <c:v>89.812906746597179</c:v>
                </c:pt>
                <c:pt idx="1222">
                  <c:v>90.818828243994815</c:v>
                </c:pt>
                <c:pt idx="1223">
                  <c:v>90.723530417925559</c:v>
                </c:pt>
                <c:pt idx="1224">
                  <c:v>90.095542179469234</c:v>
                </c:pt>
                <c:pt idx="1225">
                  <c:v>89.720866965863621</c:v>
                </c:pt>
                <c:pt idx="1226">
                  <c:v>89.72656854520109</c:v>
                </c:pt>
                <c:pt idx="1227">
                  <c:v>91.702573041303651</c:v>
                </c:pt>
                <c:pt idx="1228">
                  <c:v>91.26273692098404</c:v>
                </c:pt>
                <c:pt idx="1229">
                  <c:v>91.814975605385328</c:v>
                </c:pt>
                <c:pt idx="1230">
                  <c:v>91.69850048463401</c:v>
                </c:pt>
                <c:pt idx="1231">
                  <c:v>91.35884925838721</c:v>
                </c:pt>
                <c:pt idx="1232">
                  <c:v>91.859773728751207</c:v>
                </c:pt>
                <c:pt idx="1233">
                  <c:v>91.311607601019531</c:v>
                </c:pt>
                <c:pt idx="1234">
                  <c:v>88.738566297149788</c:v>
                </c:pt>
                <c:pt idx="1235">
                  <c:v>88.261262655469608</c:v>
                </c:pt>
                <c:pt idx="1236">
                  <c:v>87.906135713878214</c:v>
                </c:pt>
                <c:pt idx="1237">
                  <c:v>87.916724361219252</c:v>
                </c:pt>
                <c:pt idx="1238">
                  <c:v>88.98862127666483</c:v>
                </c:pt>
                <c:pt idx="1239">
                  <c:v>89.120572112760726</c:v>
                </c:pt>
                <c:pt idx="1240">
                  <c:v>87.611282610997307</c:v>
                </c:pt>
                <c:pt idx="1241">
                  <c:v>87.290365145430769</c:v>
                </c:pt>
                <c:pt idx="1242">
                  <c:v>86.937681737841132</c:v>
                </c:pt>
                <c:pt idx="1243">
                  <c:v>85.676003681590998</c:v>
                </c:pt>
                <c:pt idx="1244">
                  <c:v>85.957824603129126</c:v>
                </c:pt>
                <c:pt idx="1245">
                  <c:v>85.297255911315801</c:v>
                </c:pt>
                <c:pt idx="1246">
                  <c:v>86.712062098343878</c:v>
                </c:pt>
                <c:pt idx="1247">
                  <c:v>85.435722838083095</c:v>
                </c:pt>
                <c:pt idx="1248">
                  <c:v>85.469117802774022</c:v>
                </c:pt>
                <c:pt idx="1249">
                  <c:v>87.990844892606475</c:v>
                </c:pt>
                <c:pt idx="1250">
                  <c:v>88.789880511187107</c:v>
                </c:pt>
                <c:pt idx="1251">
                  <c:v>89.963591343373338</c:v>
                </c:pt>
                <c:pt idx="1252">
                  <c:v>88.931605483290099</c:v>
                </c:pt>
                <c:pt idx="1253">
                  <c:v>89.504206951039521</c:v>
                </c:pt>
                <c:pt idx="1254">
                  <c:v>89.936712469353836</c:v>
                </c:pt>
                <c:pt idx="1255">
                  <c:v>90.374105055671677</c:v>
                </c:pt>
                <c:pt idx="1256">
                  <c:v>91.380026553069328</c:v>
                </c:pt>
                <c:pt idx="1257">
                  <c:v>91.314865646355287</c:v>
                </c:pt>
                <c:pt idx="1258">
                  <c:v>91.638226645923595</c:v>
                </c:pt>
                <c:pt idx="1259">
                  <c:v>91.604831681232682</c:v>
                </c:pt>
                <c:pt idx="1260">
                  <c:v>91.680581235287718</c:v>
                </c:pt>
                <c:pt idx="1261">
                  <c:v>93.07502463896769</c:v>
                </c:pt>
                <c:pt idx="1262">
                  <c:v>92.8363728181276</c:v>
                </c:pt>
                <c:pt idx="1263">
                  <c:v>92.388391584468735</c:v>
                </c:pt>
                <c:pt idx="1264">
                  <c:v>91.618678373909418</c:v>
                </c:pt>
                <c:pt idx="1265">
                  <c:v>93.560473393987138</c:v>
                </c:pt>
                <c:pt idx="1266">
                  <c:v>93.030226515601825</c:v>
                </c:pt>
                <c:pt idx="1267">
                  <c:v>93.481465794596375</c:v>
                </c:pt>
                <c:pt idx="1268">
                  <c:v>93.239555928420586</c:v>
                </c:pt>
                <c:pt idx="1269">
                  <c:v>92.95203342754499</c:v>
                </c:pt>
                <c:pt idx="1270">
                  <c:v>93.362547139843301</c:v>
                </c:pt>
                <c:pt idx="1271">
                  <c:v>92.612382201298189</c:v>
                </c:pt>
                <c:pt idx="1272">
                  <c:v>94.544403085368785</c:v>
                </c:pt>
                <c:pt idx="1273">
                  <c:v>94.480871201322628</c:v>
                </c:pt>
                <c:pt idx="1274">
                  <c:v>94.325299536542914</c:v>
                </c:pt>
                <c:pt idx="1275">
                  <c:v>94.902788072295905</c:v>
                </c:pt>
                <c:pt idx="1276">
                  <c:v>94.916634764972628</c:v>
                </c:pt>
                <c:pt idx="1277">
                  <c:v>95.279092308569346</c:v>
                </c:pt>
                <c:pt idx="1278">
                  <c:v>95.957580249729048</c:v>
                </c:pt>
                <c:pt idx="1279">
                  <c:v>95.608154887475138</c:v>
                </c:pt>
                <c:pt idx="1280">
                  <c:v>95.802008584949348</c:v>
                </c:pt>
                <c:pt idx="1281">
                  <c:v>96.495972241453629</c:v>
                </c:pt>
                <c:pt idx="1282">
                  <c:v>94.963876422340306</c:v>
                </c:pt>
                <c:pt idx="1283">
                  <c:v>95.963281829066545</c:v>
                </c:pt>
                <c:pt idx="1284">
                  <c:v>96.13351469785691</c:v>
                </c:pt>
                <c:pt idx="1285">
                  <c:v>96.363206894023818</c:v>
                </c:pt>
                <c:pt idx="1286">
                  <c:v>96.570092772840809</c:v>
                </c:pt>
                <c:pt idx="1287">
                  <c:v>96.571721795508665</c:v>
                </c:pt>
                <c:pt idx="1288">
                  <c:v>96.311892679986514</c:v>
                </c:pt>
                <c:pt idx="1289">
                  <c:v>96.42022268739855</c:v>
                </c:pt>
                <c:pt idx="1290">
                  <c:v>96.37786809803444</c:v>
                </c:pt>
                <c:pt idx="1291">
                  <c:v>96.469093367434084</c:v>
                </c:pt>
                <c:pt idx="1292">
                  <c:v>97.217629283311339</c:v>
                </c:pt>
                <c:pt idx="1293">
                  <c:v>97.575199758904503</c:v>
                </c:pt>
                <c:pt idx="1294">
                  <c:v>99.456720940271737</c:v>
                </c:pt>
                <c:pt idx="1295">
                  <c:v>99.846871869221914</c:v>
                </c:pt>
                <c:pt idx="1296">
                  <c:v>99.635098922401369</c:v>
                </c:pt>
                <c:pt idx="1297">
                  <c:v>98.832805258485038</c:v>
                </c:pt>
                <c:pt idx="1298">
                  <c:v>99.265310776799325</c:v>
                </c:pt>
                <c:pt idx="1299">
                  <c:v>98.844208417159976</c:v>
                </c:pt>
                <c:pt idx="1300">
                  <c:v>97.677013675645156</c:v>
                </c:pt>
                <c:pt idx="1301">
                  <c:v>97.558095020892068</c:v>
                </c:pt>
                <c:pt idx="1302">
                  <c:v>95.977128521743225</c:v>
                </c:pt>
                <c:pt idx="1303">
                  <c:v>95.997491305091359</c:v>
                </c:pt>
                <c:pt idx="1304">
                  <c:v>97.471756819495994</c:v>
                </c:pt>
                <c:pt idx="1305">
                  <c:v>97.719368265009251</c:v>
                </c:pt>
                <c:pt idx="1306">
                  <c:v>97.565425622897379</c:v>
                </c:pt>
                <c:pt idx="1307">
                  <c:v>96.17179673055135</c:v>
                </c:pt>
                <c:pt idx="1308">
                  <c:v>97.606965700927574</c:v>
                </c:pt>
                <c:pt idx="1309">
                  <c:v>96.877978057064539</c:v>
                </c:pt>
                <c:pt idx="1310">
                  <c:v>96.7443981983008</c:v>
                </c:pt>
                <c:pt idx="1311">
                  <c:v>96.157135526540713</c:v>
                </c:pt>
                <c:pt idx="1312">
                  <c:v>98.235768450717842</c:v>
                </c:pt>
                <c:pt idx="1313">
                  <c:v>99.495002972966233</c:v>
                </c:pt>
                <c:pt idx="1314">
                  <c:v>99.754017577154457</c:v>
                </c:pt>
                <c:pt idx="1315">
                  <c:v>99.624510275060331</c:v>
                </c:pt>
                <c:pt idx="1316">
                  <c:v>99.67582448909765</c:v>
                </c:pt>
                <c:pt idx="1317">
                  <c:v>100.04479812336577</c:v>
                </c:pt>
                <c:pt idx="1318">
                  <c:v>100.42924747297847</c:v>
                </c:pt>
                <c:pt idx="1319">
                  <c:v>101.03198586008314</c:v>
                </c:pt>
                <c:pt idx="1320">
                  <c:v>101.03687292808669</c:v>
                </c:pt>
                <c:pt idx="1321">
                  <c:v>101.12891270882024</c:v>
                </c:pt>
                <c:pt idx="1322">
                  <c:v>100.61088350044382</c:v>
                </c:pt>
                <c:pt idx="1323">
                  <c:v>101.23317015956268</c:v>
                </c:pt>
                <c:pt idx="1324">
                  <c:v>101.31787933829089</c:v>
                </c:pt>
                <c:pt idx="1325">
                  <c:v>101.57607943114519</c:v>
                </c:pt>
                <c:pt idx="1326">
                  <c:v>102.18859195425694</c:v>
                </c:pt>
                <c:pt idx="1327">
                  <c:v>102.53394475984122</c:v>
                </c:pt>
                <c:pt idx="1328">
                  <c:v>102.3653409137187</c:v>
                </c:pt>
                <c:pt idx="1329">
                  <c:v>102.42805828643093</c:v>
                </c:pt>
                <c:pt idx="1330">
                  <c:v>102.50706588582167</c:v>
                </c:pt>
                <c:pt idx="1331">
                  <c:v>102.61050882523018</c:v>
                </c:pt>
                <c:pt idx="1332">
                  <c:v>102.4557516717844</c:v>
                </c:pt>
                <c:pt idx="1333">
                  <c:v>102.43620339977016</c:v>
                </c:pt>
                <c:pt idx="1334">
                  <c:v>103.59525302794573</c:v>
                </c:pt>
                <c:pt idx="1335">
                  <c:v>103.45922963518022</c:v>
                </c:pt>
                <c:pt idx="1336">
                  <c:v>103.97725884355667</c:v>
                </c:pt>
                <c:pt idx="1337">
                  <c:v>103.75652627206296</c:v>
                </c:pt>
                <c:pt idx="1338">
                  <c:v>103.56511610859054</c:v>
                </c:pt>
                <c:pt idx="1339">
                  <c:v>103.42257662515364</c:v>
                </c:pt>
                <c:pt idx="1340">
                  <c:v>103.80784048610029</c:v>
                </c:pt>
                <c:pt idx="1341">
                  <c:v>104.74289949744643</c:v>
                </c:pt>
                <c:pt idx="1342">
                  <c:v>104.56370700398288</c:v>
                </c:pt>
                <c:pt idx="1343">
                  <c:v>105.33586374854399</c:v>
                </c:pt>
                <c:pt idx="1344">
                  <c:v>105.48084676598266</c:v>
                </c:pt>
                <c:pt idx="1345">
                  <c:v>104.41383691854064</c:v>
                </c:pt>
                <c:pt idx="1346">
                  <c:v>104.27862803710906</c:v>
                </c:pt>
                <c:pt idx="1347">
                  <c:v>104.53031203929193</c:v>
                </c:pt>
                <c:pt idx="1348">
                  <c:v>105.14038102840192</c:v>
                </c:pt>
                <c:pt idx="1349">
                  <c:v>105.16807441375538</c:v>
                </c:pt>
                <c:pt idx="1350">
                  <c:v>105.61198309074462</c:v>
                </c:pt>
                <c:pt idx="1351">
                  <c:v>105.84900588891685</c:v>
                </c:pt>
                <c:pt idx="1352">
                  <c:v>103.95933959421036</c:v>
                </c:pt>
                <c:pt idx="1353">
                  <c:v>104.75593167878921</c:v>
                </c:pt>
                <c:pt idx="1354">
                  <c:v>106.50468751272662</c:v>
                </c:pt>
                <c:pt idx="1355">
                  <c:v>106.21472147784925</c:v>
                </c:pt>
                <c:pt idx="1356">
                  <c:v>106.46477645736428</c:v>
                </c:pt>
                <c:pt idx="1357">
                  <c:v>106.77184723025407</c:v>
                </c:pt>
                <c:pt idx="1358">
                  <c:v>107.43811750140489</c:v>
                </c:pt>
                <c:pt idx="1359">
                  <c:v>107.88772775773161</c:v>
                </c:pt>
                <c:pt idx="1360">
                  <c:v>107.58717307551322</c:v>
                </c:pt>
                <c:pt idx="1361">
                  <c:v>107.6678096975718</c:v>
                </c:pt>
                <c:pt idx="1362">
                  <c:v>108.26077394866935</c:v>
                </c:pt>
                <c:pt idx="1363">
                  <c:v>108.51897404152362</c:v>
                </c:pt>
                <c:pt idx="1364">
                  <c:v>108.16791965660184</c:v>
                </c:pt>
                <c:pt idx="1365">
                  <c:v>108.84477857509367</c:v>
                </c:pt>
                <c:pt idx="1366">
                  <c:v>109.17954273333694</c:v>
                </c:pt>
                <c:pt idx="1367">
                  <c:v>109.38968665748963</c:v>
                </c:pt>
                <c:pt idx="1368">
                  <c:v>107.14407890985784</c:v>
                </c:pt>
                <c:pt idx="1369">
                  <c:v>106.48921179738198</c:v>
                </c:pt>
                <c:pt idx="1370">
                  <c:v>106.38332532397168</c:v>
                </c:pt>
                <c:pt idx="1371">
                  <c:v>107.50572194212063</c:v>
                </c:pt>
                <c:pt idx="1372">
                  <c:v>108.10357326122171</c:v>
                </c:pt>
                <c:pt idx="1373">
                  <c:v>106.40205908465194</c:v>
                </c:pt>
                <c:pt idx="1374">
                  <c:v>106.57392097611017</c:v>
                </c:pt>
                <c:pt idx="1375">
                  <c:v>108.40901501144367</c:v>
                </c:pt>
                <c:pt idx="1376">
                  <c:v>107.60916488152911</c:v>
                </c:pt>
                <c:pt idx="1377">
                  <c:v>106.71157339154355</c:v>
                </c:pt>
                <c:pt idx="1378">
                  <c:v>107.6637371409021</c:v>
                </c:pt>
                <c:pt idx="1379">
                  <c:v>107.51712510079555</c:v>
                </c:pt>
                <c:pt idx="1380">
                  <c:v>105.48817736798784</c:v>
                </c:pt>
                <c:pt idx="1381">
                  <c:v>106.23508426119729</c:v>
                </c:pt>
                <c:pt idx="1382">
                  <c:v>105.5924348187303</c:v>
                </c:pt>
                <c:pt idx="1383">
                  <c:v>104.40976436187087</c:v>
                </c:pt>
                <c:pt idx="1384">
                  <c:v>102.37430053839178</c:v>
                </c:pt>
                <c:pt idx="1385">
                  <c:v>103.74593762472183</c:v>
                </c:pt>
                <c:pt idx="1386">
                  <c:v>104.19228983571286</c:v>
                </c:pt>
                <c:pt idx="1387">
                  <c:v>105.75452257418141</c:v>
                </c:pt>
                <c:pt idx="1388">
                  <c:v>105.37903284924188</c:v>
                </c:pt>
                <c:pt idx="1389">
                  <c:v>105.68610362213168</c:v>
                </c:pt>
                <c:pt idx="1390">
                  <c:v>106.67329135884904</c:v>
                </c:pt>
                <c:pt idx="1391">
                  <c:v>107.01049905109409</c:v>
                </c:pt>
                <c:pt idx="1392">
                  <c:v>106.71646045954709</c:v>
                </c:pt>
                <c:pt idx="1393">
                  <c:v>107.4698834434279</c:v>
                </c:pt>
                <c:pt idx="1394">
                  <c:v>108.18828243994993</c:v>
                </c:pt>
                <c:pt idx="1395">
                  <c:v>107.99035618580609</c:v>
                </c:pt>
                <c:pt idx="1396">
                  <c:v>108.5263046435289</c:v>
                </c:pt>
                <c:pt idx="1397">
                  <c:v>108.56377216488944</c:v>
                </c:pt>
                <c:pt idx="1398">
                  <c:v>108.54422389287525</c:v>
                </c:pt>
                <c:pt idx="1399">
                  <c:v>108.78124669104749</c:v>
                </c:pt>
                <c:pt idx="1400">
                  <c:v>108.61590089026068</c:v>
                </c:pt>
                <c:pt idx="1401">
                  <c:v>108.18095183794462</c:v>
                </c:pt>
                <c:pt idx="1402">
                  <c:v>107.87876813305836</c:v>
                </c:pt>
                <c:pt idx="1403">
                  <c:v>107.03982145911539</c:v>
                </c:pt>
                <c:pt idx="1404">
                  <c:v>107.06018424246352</c:v>
                </c:pt>
                <c:pt idx="1405">
                  <c:v>107.06914386713669</c:v>
                </c:pt>
                <c:pt idx="1406">
                  <c:v>107.48943171544211</c:v>
                </c:pt>
                <c:pt idx="1407">
                  <c:v>106.30513223591485</c:v>
                </c:pt>
                <c:pt idx="1408">
                  <c:v>106.91438671369089</c:v>
                </c:pt>
                <c:pt idx="1409">
                  <c:v>108.35932982007421</c:v>
                </c:pt>
                <c:pt idx="1410">
                  <c:v>108.93111677648973</c:v>
                </c:pt>
                <c:pt idx="1411">
                  <c:v>108.75762586236364</c:v>
                </c:pt>
                <c:pt idx="1412">
                  <c:v>109.73422495173998</c:v>
                </c:pt>
                <c:pt idx="1413">
                  <c:v>110.420043494905</c:v>
                </c:pt>
                <c:pt idx="1414">
                  <c:v>110.81263795785694</c:v>
                </c:pt>
                <c:pt idx="1415">
                  <c:v>111.06758000537552</c:v>
                </c:pt>
                <c:pt idx="1416">
                  <c:v>110.87291179656741</c:v>
                </c:pt>
                <c:pt idx="1417">
                  <c:v>110.49823658296179</c:v>
                </c:pt>
                <c:pt idx="1418">
                  <c:v>109.74074104241134</c:v>
                </c:pt>
                <c:pt idx="1419">
                  <c:v>108.74540819235474</c:v>
                </c:pt>
                <c:pt idx="1420">
                  <c:v>109.16080897265664</c:v>
                </c:pt>
                <c:pt idx="1421">
                  <c:v>109.6568463750171</c:v>
                </c:pt>
                <c:pt idx="1422">
                  <c:v>110.54222019499382</c:v>
                </c:pt>
                <c:pt idx="1423">
                  <c:v>109.31393710343458</c:v>
                </c:pt>
                <c:pt idx="1424">
                  <c:v>109.84907104982348</c:v>
                </c:pt>
                <c:pt idx="1425">
                  <c:v>108.96288271851284</c:v>
                </c:pt>
                <c:pt idx="1426">
                  <c:v>108.28683831135491</c:v>
                </c:pt>
                <c:pt idx="1427">
                  <c:v>108.24692725599259</c:v>
                </c:pt>
                <c:pt idx="1428">
                  <c:v>109.19990551668508</c:v>
                </c:pt>
                <c:pt idx="1429">
                  <c:v>109.43774282619123</c:v>
                </c:pt>
                <c:pt idx="1430">
                  <c:v>108.59635261824648</c:v>
                </c:pt>
                <c:pt idx="1431">
                  <c:v>107.3012795973054</c:v>
                </c:pt>
                <c:pt idx="1432">
                  <c:v>107.21249786190755</c:v>
                </c:pt>
                <c:pt idx="1433">
                  <c:v>107.55377811082221</c:v>
                </c:pt>
                <c:pt idx="1434">
                  <c:v>107.97895302713117</c:v>
                </c:pt>
                <c:pt idx="1435">
                  <c:v>108.41960365878471</c:v>
                </c:pt>
                <c:pt idx="1436">
                  <c:v>109.56806463961927</c:v>
                </c:pt>
                <c:pt idx="1437">
                  <c:v>107.0715874011385</c:v>
                </c:pt>
                <c:pt idx="1438">
                  <c:v>106.94045107637655</c:v>
                </c:pt>
                <c:pt idx="1439">
                  <c:v>105.89950559162013</c:v>
                </c:pt>
                <c:pt idx="1440">
                  <c:v>104.76000423545877</c:v>
                </c:pt>
                <c:pt idx="1441">
                  <c:v>104.65981934138595</c:v>
                </c:pt>
                <c:pt idx="1442">
                  <c:v>104.22161224373417</c:v>
                </c:pt>
                <c:pt idx="1443">
                  <c:v>104.99051094295956</c:v>
                </c:pt>
                <c:pt idx="1444">
                  <c:v>103.52276151922634</c:v>
                </c:pt>
                <c:pt idx="1445">
                  <c:v>103.59199498260996</c:v>
                </c:pt>
                <c:pt idx="1446">
                  <c:v>104.89847116222602</c:v>
                </c:pt>
                <c:pt idx="1447">
                  <c:v>103.06989321756393</c:v>
                </c:pt>
                <c:pt idx="1448">
                  <c:v>103.25071473369532</c:v>
                </c:pt>
                <c:pt idx="1449">
                  <c:v>103.56511610859043</c:v>
                </c:pt>
                <c:pt idx="1450">
                  <c:v>104.12387088366313</c:v>
                </c:pt>
                <c:pt idx="1451">
                  <c:v>105.52157233267879</c:v>
                </c:pt>
                <c:pt idx="1452">
                  <c:v>104.83901183484947</c:v>
                </c:pt>
                <c:pt idx="1453">
                  <c:v>104.54252970930069</c:v>
                </c:pt>
                <c:pt idx="1454">
                  <c:v>103.31669015174326</c:v>
                </c:pt>
                <c:pt idx="1455">
                  <c:v>104.26559585576612</c:v>
                </c:pt>
                <c:pt idx="1456">
                  <c:v>105.61524113608023</c:v>
                </c:pt>
                <c:pt idx="1457">
                  <c:v>106.4900263087159</c:v>
                </c:pt>
                <c:pt idx="1458">
                  <c:v>107.56762480349894</c:v>
                </c:pt>
                <c:pt idx="1459">
                  <c:v>109.1176398719586</c:v>
                </c:pt>
                <c:pt idx="1460">
                  <c:v>108.971842343186</c:v>
                </c:pt>
                <c:pt idx="1461">
                  <c:v>109.08098686193196</c:v>
                </c:pt>
                <c:pt idx="1462">
                  <c:v>110.22130272942725</c:v>
                </c:pt>
                <c:pt idx="1463">
                  <c:v>109.45403305286969</c:v>
                </c:pt>
                <c:pt idx="1464">
                  <c:v>107.47395600009752</c:v>
                </c:pt>
                <c:pt idx="1465">
                  <c:v>106.99746686975129</c:v>
                </c:pt>
                <c:pt idx="1466">
                  <c:v>107.32978749399277</c:v>
                </c:pt>
                <c:pt idx="1467">
                  <c:v>106.60894496346896</c:v>
                </c:pt>
                <c:pt idx="1468">
                  <c:v>107.20109470323261</c:v>
                </c:pt>
                <c:pt idx="1469">
                  <c:v>106.32956757593266</c:v>
                </c:pt>
                <c:pt idx="1470">
                  <c:v>108.06366220585943</c:v>
                </c:pt>
                <c:pt idx="1471">
                  <c:v>107.99117069714008</c:v>
                </c:pt>
                <c:pt idx="1472">
                  <c:v>109.45403305286976</c:v>
                </c:pt>
                <c:pt idx="1473">
                  <c:v>109.55340343560863</c:v>
                </c:pt>
                <c:pt idx="1474">
                  <c:v>108.9351893331594</c:v>
                </c:pt>
                <c:pt idx="1475">
                  <c:v>108.48802261083446</c:v>
                </c:pt>
                <c:pt idx="1476">
                  <c:v>106.28476945256678</c:v>
                </c:pt>
                <c:pt idx="1477">
                  <c:v>105.94104566965034</c:v>
                </c:pt>
                <c:pt idx="1478">
                  <c:v>105.25767066048708</c:v>
                </c:pt>
                <c:pt idx="1479">
                  <c:v>104.82272160817102</c:v>
                </c:pt>
                <c:pt idx="1480">
                  <c:v>102.143793830891</c:v>
                </c:pt>
                <c:pt idx="1481">
                  <c:v>102.65612145992996</c:v>
                </c:pt>
                <c:pt idx="1482">
                  <c:v>97.74706165036271</c:v>
                </c:pt>
                <c:pt idx="1483">
                  <c:v>97.690860368321893</c:v>
                </c:pt>
                <c:pt idx="1484">
                  <c:v>91.181285787591605</c:v>
                </c:pt>
                <c:pt idx="1485">
                  <c:v>95.5038974367327</c:v>
                </c:pt>
                <c:pt idx="1486">
                  <c:v>91.287172261001885</c:v>
                </c:pt>
                <c:pt idx="1487">
                  <c:v>95.512857061405882</c:v>
                </c:pt>
                <c:pt idx="1488">
                  <c:v>96.015410554437722</c:v>
                </c:pt>
                <c:pt idx="1489">
                  <c:v>98.107075659957658</c:v>
                </c:pt>
                <c:pt idx="1490">
                  <c:v>97.151653865263384</c:v>
                </c:pt>
                <c:pt idx="1491">
                  <c:v>97.243693645996942</c:v>
                </c:pt>
                <c:pt idx="1492">
                  <c:v>92.907235304179125</c:v>
                </c:pt>
                <c:pt idx="1493">
                  <c:v>91.512791900499167</c:v>
                </c:pt>
                <c:pt idx="1494">
                  <c:v>91.536412729182985</c:v>
                </c:pt>
                <c:pt idx="1495">
                  <c:v>94.674724898796811</c:v>
                </c:pt>
                <c:pt idx="1496">
                  <c:v>95.916854683032753</c:v>
                </c:pt>
                <c:pt idx="1497">
                  <c:v>94.42385540794784</c:v>
                </c:pt>
                <c:pt idx="1498">
                  <c:v>95.851693776318726</c:v>
                </c:pt>
                <c:pt idx="1499">
                  <c:v>98.562387495621834</c:v>
                </c:pt>
                <c:pt idx="1500">
                  <c:v>98.793708714456628</c:v>
                </c:pt>
                <c:pt idx="1501">
                  <c:v>99.279971980809989</c:v>
                </c:pt>
                <c:pt idx="1502">
                  <c:v>98.101374080620218</c:v>
                </c:pt>
                <c:pt idx="1503">
                  <c:v>95.621187068817946</c:v>
                </c:pt>
                <c:pt idx="1504">
                  <c:v>94.910118674301231</c:v>
                </c:pt>
                <c:pt idx="1505">
                  <c:v>97.628957506943564</c:v>
                </c:pt>
                <c:pt idx="1506">
                  <c:v>96.592899090190713</c:v>
                </c:pt>
                <c:pt idx="1507">
                  <c:v>94.013341695649572</c:v>
                </c:pt>
                <c:pt idx="1508">
                  <c:v>94.668208808125456</c:v>
                </c:pt>
                <c:pt idx="1509">
                  <c:v>95.531590822086187</c:v>
                </c:pt>
                <c:pt idx="1510">
                  <c:v>96.819333241021965</c:v>
                </c:pt>
                <c:pt idx="1511">
                  <c:v>98.483379896231156</c:v>
                </c:pt>
                <c:pt idx="1512">
                  <c:v>99.045392716639554</c:v>
                </c:pt>
                <c:pt idx="1513">
                  <c:v>98.074495206600687</c:v>
                </c:pt>
                <c:pt idx="1514">
                  <c:v>97.911592939815634</c:v>
                </c:pt>
                <c:pt idx="1515">
                  <c:v>95.033924397057874</c:v>
                </c:pt>
                <c:pt idx="1516">
                  <c:v>92.003942234856098</c:v>
                </c:pt>
                <c:pt idx="1517">
                  <c:v>92.563511521262726</c:v>
                </c:pt>
                <c:pt idx="1518">
                  <c:v>94.723595578832374</c:v>
                </c:pt>
                <c:pt idx="1519">
                  <c:v>95.736033166901422</c:v>
                </c:pt>
                <c:pt idx="1520">
                  <c:v>93.755141602795291</c:v>
                </c:pt>
                <c:pt idx="1521">
                  <c:v>94.515895188681441</c:v>
                </c:pt>
                <c:pt idx="1522">
                  <c:v>92.155441342966185</c:v>
                </c:pt>
                <c:pt idx="1523">
                  <c:v>89.533529359060921</c:v>
                </c:pt>
                <c:pt idx="1524">
                  <c:v>91.547001376524037</c:v>
                </c:pt>
                <c:pt idx="1525">
                  <c:v>93.182540135045841</c:v>
                </c:pt>
                <c:pt idx="1526">
                  <c:v>94.888126868285241</c:v>
                </c:pt>
                <c:pt idx="1527">
                  <c:v>94.113526589722369</c:v>
                </c:pt>
                <c:pt idx="1528">
                  <c:v>97.32514477938949</c:v>
                </c:pt>
                <c:pt idx="1529">
                  <c:v>97.378088016094623</c:v>
                </c:pt>
                <c:pt idx="1530">
                  <c:v>98.331880788121055</c:v>
                </c:pt>
                <c:pt idx="1531">
                  <c:v>98.039471219241918</c:v>
                </c:pt>
                <c:pt idx="1532">
                  <c:v>99.743428929813433</c:v>
                </c:pt>
                <c:pt idx="1533">
                  <c:v>97.811408045742823</c:v>
                </c:pt>
                <c:pt idx="1534">
                  <c:v>99.808589836527446</c:v>
                </c:pt>
                <c:pt idx="1535">
                  <c:v>98.54609726894337</c:v>
                </c:pt>
                <c:pt idx="1536">
                  <c:v>98.994893013936149</c:v>
                </c:pt>
                <c:pt idx="1537">
                  <c:v>100.85686592328916</c:v>
                </c:pt>
                <c:pt idx="1538">
                  <c:v>102.15519698956597</c:v>
                </c:pt>
                <c:pt idx="1539">
                  <c:v>100.10751549607798</c:v>
                </c:pt>
                <c:pt idx="1540">
                  <c:v>101.16230767351112</c:v>
                </c:pt>
                <c:pt idx="1541">
                  <c:v>104.6313114446986</c:v>
                </c:pt>
                <c:pt idx="1542">
                  <c:v>104.67203701139485</c:v>
                </c:pt>
                <c:pt idx="1543">
                  <c:v>102.08270548084661</c:v>
                </c:pt>
                <c:pt idx="1544">
                  <c:v>99.230286789440527</c:v>
                </c:pt>
                <c:pt idx="1545">
                  <c:v>100.8283580266018</c:v>
                </c:pt>
                <c:pt idx="1546">
                  <c:v>102.72209687797793</c:v>
                </c:pt>
                <c:pt idx="1547">
                  <c:v>102.07700390150916</c:v>
                </c:pt>
                <c:pt idx="1548">
                  <c:v>102.71965334397616</c:v>
                </c:pt>
                <c:pt idx="1549">
                  <c:v>103.92513011818549</c:v>
                </c:pt>
                <c:pt idx="1550">
                  <c:v>100.11158805274765</c:v>
                </c:pt>
                <c:pt idx="1551">
                  <c:v>100.97415555537447</c:v>
                </c:pt>
                <c:pt idx="1552">
                  <c:v>102.94201493813776</c:v>
                </c:pt>
                <c:pt idx="1553">
                  <c:v>101.95889975809004</c:v>
                </c:pt>
                <c:pt idx="1554">
                  <c:v>102.45005009244696</c:v>
                </c:pt>
                <c:pt idx="1555">
                  <c:v>100.74772140454328</c:v>
                </c:pt>
                <c:pt idx="1556">
                  <c:v>99.055166852646707</c:v>
                </c:pt>
                <c:pt idx="1557">
                  <c:v>99.016070308618296</c:v>
                </c:pt>
                <c:pt idx="1558">
                  <c:v>97.169573114609861</c:v>
                </c:pt>
                <c:pt idx="1559">
                  <c:v>96.767204515650803</c:v>
                </c:pt>
                <c:pt idx="1560">
                  <c:v>94.629112264097131</c:v>
                </c:pt>
                <c:pt idx="1561">
                  <c:v>94.374984727912477</c:v>
                </c:pt>
                <c:pt idx="1562">
                  <c:v>97.134549127251091</c:v>
                </c:pt>
                <c:pt idx="1563">
                  <c:v>97.349580119407364</c:v>
                </c:pt>
                <c:pt idx="1564">
                  <c:v>101.56630529513819</c:v>
                </c:pt>
                <c:pt idx="1565">
                  <c:v>101.37245159766398</c:v>
                </c:pt>
                <c:pt idx="1566">
                  <c:v>101.34801625764622</c:v>
                </c:pt>
                <c:pt idx="1567">
                  <c:v>102.39059076507047</c:v>
                </c:pt>
                <c:pt idx="1568">
                  <c:v>102.50380784048608</c:v>
                </c:pt>
                <c:pt idx="1569">
                  <c:v>102.71069371930308</c:v>
                </c:pt>
                <c:pt idx="1570">
                  <c:v>100.53920650305845</c:v>
                </c:pt>
                <c:pt idx="1571">
                  <c:v>102.23664812295861</c:v>
                </c:pt>
                <c:pt idx="1572">
                  <c:v>100.71188290585063</c:v>
                </c:pt>
                <c:pt idx="1573">
                  <c:v>99.837097733214947</c:v>
                </c:pt>
                <c:pt idx="1574">
                  <c:v>98.704112467724968</c:v>
                </c:pt>
                <c:pt idx="1575">
                  <c:v>99.024215421957578</c:v>
                </c:pt>
                <c:pt idx="1576">
                  <c:v>99.34268935352236</c:v>
                </c:pt>
                <c:pt idx="1577">
                  <c:v>98.177123634675368</c:v>
                </c:pt>
                <c:pt idx="1578">
                  <c:v>101.10529188013652</c:v>
                </c:pt>
                <c:pt idx="1579">
                  <c:v>101.30240362294641</c:v>
                </c:pt>
                <c:pt idx="1580">
                  <c:v>102.13972127422153</c:v>
                </c:pt>
                <c:pt idx="1581">
                  <c:v>103.06256261555879</c:v>
                </c:pt>
                <c:pt idx="1582">
                  <c:v>103.07070772889806</c:v>
                </c:pt>
                <c:pt idx="1583">
                  <c:v>101.78459433263016</c:v>
                </c:pt>
                <c:pt idx="1584">
                  <c:v>102.8744104974221</c:v>
                </c:pt>
                <c:pt idx="1585">
                  <c:v>102.43294535443462</c:v>
                </c:pt>
                <c:pt idx="1586">
                  <c:v>104.01798441025309</c:v>
                </c:pt>
                <c:pt idx="1587">
                  <c:v>104.03753268226728</c:v>
                </c:pt>
                <c:pt idx="1588">
                  <c:v>104.34378894382316</c:v>
                </c:pt>
                <c:pt idx="1589">
                  <c:v>104.07907276029746</c:v>
                </c:pt>
                <c:pt idx="1590">
                  <c:v>104.31446653580184</c:v>
                </c:pt>
                <c:pt idx="1591">
                  <c:v>105.24138043380871</c:v>
                </c:pt>
                <c:pt idx="1592">
                  <c:v>105.27396088716573</c:v>
                </c:pt>
                <c:pt idx="1593">
                  <c:v>105.51994331001113</c:v>
                </c:pt>
                <c:pt idx="1594">
                  <c:v>104.99784154496506</c:v>
                </c:pt>
                <c:pt idx="1595">
                  <c:v>105.37088773590281</c:v>
                </c:pt>
                <c:pt idx="1596">
                  <c:v>106.54134052275333</c:v>
                </c:pt>
                <c:pt idx="1597">
                  <c:v>107.06751484446902</c:v>
                </c:pt>
                <c:pt idx="1598">
                  <c:v>107.13919184185445</c:v>
                </c:pt>
                <c:pt idx="1599">
                  <c:v>107.1896915445578</c:v>
                </c:pt>
                <c:pt idx="1600">
                  <c:v>107.0797325144779</c:v>
                </c:pt>
                <c:pt idx="1601">
                  <c:v>108.00827543515263</c:v>
                </c:pt>
                <c:pt idx="1602">
                  <c:v>107.38761779870161</c:v>
                </c:pt>
                <c:pt idx="1603">
                  <c:v>107.21657041857731</c:v>
                </c:pt>
                <c:pt idx="1604">
                  <c:v>106.94615265571414</c:v>
                </c:pt>
                <c:pt idx="1605">
                  <c:v>106.89728197567865</c:v>
                </c:pt>
                <c:pt idx="1606">
                  <c:v>107.8486312137033</c:v>
                </c:pt>
                <c:pt idx="1607">
                  <c:v>107.96673535712246</c:v>
                </c:pt>
                <c:pt idx="1608">
                  <c:v>109.54362929960169</c:v>
                </c:pt>
                <c:pt idx="1609">
                  <c:v>109.49720215356795</c:v>
                </c:pt>
                <c:pt idx="1610">
                  <c:v>109.71874923639562</c:v>
                </c:pt>
                <c:pt idx="1611">
                  <c:v>109.95577203456787</c:v>
                </c:pt>
                <c:pt idx="1612">
                  <c:v>110.11785979001898</c:v>
                </c:pt>
                <c:pt idx="1613">
                  <c:v>109.35954973813462</c:v>
                </c:pt>
                <c:pt idx="1614">
                  <c:v>110.10319858600832</c:v>
                </c:pt>
                <c:pt idx="1615">
                  <c:v>109.99975564659981</c:v>
                </c:pt>
                <c:pt idx="1616">
                  <c:v>109.40760590683618</c:v>
                </c:pt>
                <c:pt idx="1617">
                  <c:v>110.61389719237941</c:v>
                </c:pt>
                <c:pt idx="1618">
                  <c:v>110.87372630790155</c:v>
                </c:pt>
                <c:pt idx="1619">
                  <c:v>110.95354841862621</c:v>
                </c:pt>
                <c:pt idx="1620">
                  <c:v>110.58294576169024</c:v>
                </c:pt>
                <c:pt idx="1621">
                  <c:v>111.05536233536687</c:v>
                </c:pt>
                <c:pt idx="1622">
                  <c:v>111.24107091950179</c:v>
                </c:pt>
                <c:pt idx="1623">
                  <c:v>111.39175551627795</c:v>
                </c:pt>
                <c:pt idx="1624">
                  <c:v>111.76561621854964</c:v>
                </c:pt>
                <c:pt idx="1625">
                  <c:v>111.23618385149825</c:v>
                </c:pt>
                <c:pt idx="1626">
                  <c:v>111.92118788332932</c:v>
                </c:pt>
                <c:pt idx="1627">
                  <c:v>111.55791582839869</c:v>
                </c:pt>
                <c:pt idx="1628">
                  <c:v>111.12622482141832</c:v>
                </c:pt>
                <c:pt idx="1629">
                  <c:v>109.41819455417715</c:v>
                </c:pt>
                <c:pt idx="1630">
                  <c:v>110.17324656072581</c:v>
                </c:pt>
                <c:pt idx="1631">
                  <c:v>111.25491761217849</c:v>
                </c:pt>
                <c:pt idx="1632">
                  <c:v>111.65891523380539</c:v>
                </c:pt>
                <c:pt idx="1633">
                  <c:v>111.67683448315175</c:v>
                </c:pt>
                <c:pt idx="1634">
                  <c:v>113.70170965928983</c:v>
                </c:pt>
                <c:pt idx="1635">
                  <c:v>113.56568626652431</c:v>
                </c:pt>
                <c:pt idx="1636">
                  <c:v>114.24335969635007</c:v>
                </c:pt>
                <c:pt idx="1637">
                  <c:v>114.37123797577632</c:v>
                </c:pt>
                <c:pt idx="1638">
                  <c:v>114.8257353001066</c:v>
                </c:pt>
                <c:pt idx="1639">
                  <c:v>114.48119700585623</c:v>
                </c:pt>
                <c:pt idx="1640">
                  <c:v>114.26698052503393</c:v>
                </c:pt>
                <c:pt idx="1641">
                  <c:v>113.44350956643554</c:v>
                </c:pt>
                <c:pt idx="1642">
                  <c:v>113.79619297402515</c:v>
                </c:pt>
                <c:pt idx="1643">
                  <c:v>115.37634496184008</c:v>
                </c:pt>
                <c:pt idx="1644">
                  <c:v>115.05135493960391</c:v>
                </c:pt>
                <c:pt idx="1645">
                  <c:v>114.4828260285241</c:v>
                </c:pt>
                <c:pt idx="1646">
                  <c:v>114.298746467057</c:v>
                </c:pt>
                <c:pt idx="1647">
                  <c:v>114.72147784936421</c:v>
                </c:pt>
                <c:pt idx="1648">
                  <c:v>115.58241632932314</c:v>
                </c:pt>
                <c:pt idx="1649">
                  <c:v>115.12140291432146</c:v>
                </c:pt>
                <c:pt idx="1650">
                  <c:v>113.94687757080131</c:v>
                </c:pt>
                <c:pt idx="1651">
                  <c:v>113.87520057341587</c:v>
                </c:pt>
                <c:pt idx="1652">
                  <c:v>112.58175657514265</c:v>
                </c:pt>
                <c:pt idx="1653">
                  <c:v>110.65869531574522</c:v>
                </c:pt>
                <c:pt idx="1654">
                  <c:v>111.48298078567754</c:v>
                </c:pt>
                <c:pt idx="1655">
                  <c:v>113.01914916146048</c:v>
                </c:pt>
                <c:pt idx="1656">
                  <c:v>111.60923004243594</c:v>
                </c:pt>
                <c:pt idx="1657">
                  <c:v>111.55302876039509</c:v>
                </c:pt>
                <c:pt idx="1658">
                  <c:v>113.28060729965046</c:v>
                </c:pt>
                <c:pt idx="1659">
                  <c:v>112.82122290731665</c:v>
                </c:pt>
                <c:pt idx="1660">
                  <c:v>112.15169459083012</c:v>
                </c:pt>
                <c:pt idx="1661">
                  <c:v>112.28283091559207</c:v>
                </c:pt>
                <c:pt idx="1662">
                  <c:v>111.33881227957275</c:v>
                </c:pt>
                <c:pt idx="1663">
                  <c:v>111.74851148053712</c:v>
                </c:pt>
                <c:pt idx="1664">
                  <c:v>113.2732766976451</c:v>
                </c:pt>
                <c:pt idx="1665">
                  <c:v>114.02995772686162</c:v>
                </c:pt>
                <c:pt idx="1666">
                  <c:v>114.30526255772834</c:v>
                </c:pt>
                <c:pt idx="1667">
                  <c:v>113.86135388073912</c:v>
                </c:pt>
                <c:pt idx="1668">
                  <c:v>114.50563234587395</c:v>
                </c:pt>
                <c:pt idx="1669">
                  <c:v>114.21973886766619</c:v>
                </c:pt>
                <c:pt idx="1670">
                  <c:v>113.34495369503053</c:v>
                </c:pt>
                <c:pt idx="1671">
                  <c:v>111.51474672770058</c:v>
                </c:pt>
                <c:pt idx="1672">
                  <c:v>111.55384327172898</c:v>
                </c:pt>
                <c:pt idx="1673">
                  <c:v>111.07653963004881</c:v>
                </c:pt>
                <c:pt idx="1674">
                  <c:v>110.33207627084116</c:v>
                </c:pt>
                <c:pt idx="1675">
                  <c:v>110.60982463570967</c:v>
                </c:pt>
                <c:pt idx="1676">
                  <c:v>110.23514942210407</c:v>
                </c:pt>
                <c:pt idx="1677">
                  <c:v>109.01012437588054</c:v>
                </c:pt>
                <c:pt idx="1678">
                  <c:v>108.38376516009204</c:v>
                </c:pt>
                <c:pt idx="1679">
                  <c:v>107.90646151841187</c:v>
                </c:pt>
                <c:pt idx="1680">
                  <c:v>106.28232591856501</c:v>
                </c:pt>
                <c:pt idx="1681">
                  <c:v>105.49713699266111</c:v>
                </c:pt>
                <c:pt idx="1682">
                  <c:v>107.18887703322379</c:v>
                </c:pt>
                <c:pt idx="1683">
                  <c:v>107.24100575859501</c:v>
                </c:pt>
                <c:pt idx="1684">
                  <c:v>107.42264178606032</c:v>
                </c:pt>
                <c:pt idx="1685">
                  <c:v>107.57088284883473</c:v>
                </c:pt>
                <c:pt idx="1686">
                  <c:v>107.33793260733212</c:v>
                </c:pt>
                <c:pt idx="1687">
                  <c:v>108.52711915486294</c:v>
                </c:pt>
                <c:pt idx="1688">
                  <c:v>106.97140250706578</c:v>
                </c:pt>
                <c:pt idx="1689">
                  <c:v>106.72786361822213</c:v>
                </c:pt>
                <c:pt idx="1690">
                  <c:v>104.09780652097763</c:v>
                </c:pt>
                <c:pt idx="1691">
                  <c:v>104.10920967965258</c:v>
                </c:pt>
                <c:pt idx="1692">
                  <c:v>104.70543197608582</c:v>
                </c:pt>
                <c:pt idx="1693">
                  <c:v>107.11882905850621</c:v>
                </c:pt>
                <c:pt idx="1694">
                  <c:v>107.10742589983124</c:v>
                </c:pt>
                <c:pt idx="1695">
                  <c:v>107.97650949312946</c:v>
                </c:pt>
                <c:pt idx="1696">
                  <c:v>106.61383203147257</c:v>
                </c:pt>
                <c:pt idx="1697">
                  <c:v>107.85596181570851</c:v>
                </c:pt>
                <c:pt idx="1698">
                  <c:v>107.09846627515806</c:v>
                </c:pt>
                <c:pt idx="1699">
                  <c:v>108.25670139199968</c:v>
                </c:pt>
                <c:pt idx="1700">
                  <c:v>109.37583996481293</c:v>
                </c:pt>
                <c:pt idx="1701">
                  <c:v>109.5338551635944</c:v>
                </c:pt>
                <c:pt idx="1702">
                  <c:v>110.60901012437566</c:v>
                </c:pt>
                <c:pt idx="1703">
                  <c:v>110.42248702890677</c:v>
                </c:pt>
                <c:pt idx="1704">
                  <c:v>107.96429182312049</c:v>
                </c:pt>
                <c:pt idx="1705">
                  <c:v>108.73889210168338</c:v>
                </c:pt>
                <c:pt idx="1706">
                  <c:v>107.00398296042268</c:v>
                </c:pt>
                <c:pt idx="1707">
                  <c:v>107.51468156679378</c:v>
                </c:pt>
                <c:pt idx="1708">
                  <c:v>108.48069200882908</c:v>
                </c:pt>
                <c:pt idx="1709">
                  <c:v>108.25181432399609</c:v>
                </c:pt>
                <c:pt idx="1710">
                  <c:v>110.94947586195639</c:v>
                </c:pt>
                <c:pt idx="1711">
                  <c:v>111.22233715882132</c:v>
                </c:pt>
                <c:pt idx="1712">
                  <c:v>111.91548630399167</c:v>
                </c:pt>
                <c:pt idx="1713">
                  <c:v>111.39094100494384</c:v>
                </c:pt>
                <c:pt idx="1714">
                  <c:v>110.34022138418032</c:v>
                </c:pt>
                <c:pt idx="1715">
                  <c:v>110.15939986804891</c:v>
                </c:pt>
                <c:pt idx="1716">
                  <c:v>109.26425191206511</c:v>
                </c:pt>
                <c:pt idx="1717">
                  <c:v>109.26262288939724</c:v>
                </c:pt>
                <c:pt idx="1718">
                  <c:v>108.71771480700127</c:v>
                </c:pt>
                <c:pt idx="1719">
                  <c:v>110.51126876430459</c:v>
                </c:pt>
                <c:pt idx="1720">
                  <c:v>110.25551220545208</c:v>
                </c:pt>
                <c:pt idx="1721">
                  <c:v>111.07246707337907</c:v>
                </c:pt>
                <c:pt idx="1722">
                  <c:v>111.81448689858493</c:v>
                </c:pt>
                <c:pt idx="1723">
                  <c:v>112.11829962613902</c:v>
                </c:pt>
                <c:pt idx="1724">
                  <c:v>110.99020142865261</c:v>
                </c:pt>
                <c:pt idx="1725">
                  <c:v>110.00138466926742</c:v>
                </c:pt>
                <c:pt idx="1726">
                  <c:v>109.00686633054472</c:v>
                </c:pt>
                <c:pt idx="1727">
                  <c:v>108.97265685451987</c:v>
                </c:pt>
                <c:pt idx="1728">
                  <c:v>110.77517043649632</c:v>
                </c:pt>
                <c:pt idx="1729">
                  <c:v>112.88882734803227</c:v>
                </c:pt>
                <c:pt idx="1730">
                  <c:v>112.83425508865928</c:v>
                </c:pt>
                <c:pt idx="1731">
                  <c:v>112.347177310972</c:v>
                </c:pt>
                <c:pt idx="1732">
                  <c:v>112.00671157339127</c:v>
                </c:pt>
                <c:pt idx="1733">
                  <c:v>111.18079708079111</c:v>
                </c:pt>
                <c:pt idx="1734">
                  <c:v>113.29771203766271</c:v>
                </c:pt>
                <c:pt idx="1735">
                  <c:v>113.56161370985446</c:v>
                </c:pt>
                <c:pt idx="1736">
                  <c:v>114.1415457796092</c:v>
                </c:pt>
                <c:pt idx="1737">
                  <c:v>114.21240826566071</c:v>
                </c:pt>
                <c:pt idx="1738">
                  <c:v>114.25964992302838</c:v>
                </c:pt>
                <c:pt idx="1739">
                  <c:v>114.5097049025434</c:v>
                </c:pt>
                <c:pt idx="1740">
                  <c:v>114.36635090777257</c:v>
                </c:pt>
                <c:pt idx="1741">
                  <c:v>114.35168970376192</c:v>
                </c:pt>
                <c:pt idx="1742">
                  <c:v>114.48201151718995</c:v>
                </c:pt>
                <c:pt idx="1743">
                  <c:v>115.2948938284473</c:v>
                </c:pt>
                <c:pt idx="1744">
                  <c:v>115.51073933193751</c:v>
                </c:pt>
                <c:pt idx="1745">
                  <c:v>115.50829579793574</c:v>
                </c:pt>
                <c:pt idx="1746">
                  <c:v>115.10429817630884</c:v>
                </c:pt>
                <c:pt idx="1747">
                  <c:v>115.13036253899445</c:v>
                </c:pt>
                <c:pt idx="1748">
                  <c:v>114.20100510698578</c:v>
                </c:pt>
                <c:pt idx="1749">
                  <c:v>114.93813786418811</c:v>
                </c:pt>
                <c:pt idx="1750">
                  <c:v>114.88193658214726</c:v>
                </c:pt>
                <c:pt idx="1751">
                  <c:v>114.78908229007978</c:v>
                </c:pt>
                <c:pt idx="1752">
                  <c:v>114.88600913881687</c:v>
                </c:pt>
                <c:pt idx="1753">
                  <c:v>113.98923216016522</c:v>
                </c:pt>
                <c:pt idx="1754">
                  <c:v>114.56753520725211</c:v>
                </c:pt>
                <c:pt idx="1755">
                  <c:v>114.4339553484884</c:v>
                </c:pt>
                <c:pt idx="1756">
                  <c:v>114.3117786483996</c:v>
                </c:pt>
                <c:pt idx="1757">
                  <c:v>116.64779715409709</c:v>
                </c:pt>
                <c:pt idx="1758">
                  <c:v>117.12021372777373</c:v>
                </c:pt>
                <c:pt idx="1759">
                  <c:v>116.40018570858383</c:v>
                </c:pt>
                <c:pt idx="1760">
                  <c:v>116.76508678618234</c:v>
                </c:pt>
                <c:pt idx="1761">
                  <c:v>117.00944018635991</c:v>
                </c:pt>
                <c:pt idx="1762">
                  <c:v>118.91784024174667</c:v>
                </c:pt>
                <c:pt idx="1763">
                  <c:v>119.38862779275544</c:v>
                </c:pt>
                <c:pt idx="1764">
                  <c:v>119.01558160181771</c:v>
                </c:pt>
                <c:pt idx="1765">
                  <c:v>118.86326798237369</c:v>
                </c:pt>
                <c:pt idx="1766">
                  <c:v>119.00417844314273</c:v>
                </c:pt>
                <c:pt idx="1767">
                  <c:v>118.93983204776265</c:v>
                </c:pt>
                <c:pt idx="1768">
                  <c:v>118.93087242308947</c:v>
                </c:pt>
                <c:pt idx="1769">
                  <c:v>118.66534172822985</c:v>
                </c:pt>
                <c:pt idx="1770">
                  <c:v>117.41913938732426</c:v>
                </c:pt>
                <c:pt idx="1771">
                  <c:v>116.74553851416812</c:v>
                </c:pt>
                <c:pt idx="1772">
                  <c:v>117.87200768898668</c:v>
                </c:pt>
                <c:pt idx="1773">
                  <c:v>117.34420434460313</c:v>
                </c:pt>
                <c:pt idx="1774">
                  <c:v>117.65534767416254</c:v>
                </c:pt>
                <c:pt idx="1775">
                  <c:v>117.75797610223712</c:v>
                </c:pt>
                <c:pt idx="1776">
                  <c:v>118.18478004121393</c:v>
                </c:pt>
                <c:pt idx="1777">
                  <c:v>119.03268633983008</c:v>
                </c:pt>
                <c:pt idx="1778">
                  <c:v>118.9944043071356</c:v>
                </c:pt>
                <c:pt idx="1779">
                  <c:v>118.58307608350337</c:v>
                </c:pt>
                <c:pt idx="1780">
                  <c:v>117.41017976265107</c:v>
                </c:pt>
                <c:pt idx="1781">
                  <c:v>116.68363565278977</c:v>
                </c:pt>
                <c:pt idx="1782">
                  <c:v>116.70644197013968</c:v>
                </c:pt>
                <c:pt idx="1783">
                  <c:v>116.36027465322147</c:v>
                </c:pt>
                <c:pt idx="1784">
                  <c:v>117.30022073257119</c:v>
                </c:pt>
                <c:pt idx="1785">
                  <c:v>118.50488299544658</c:v>
                </c:pt>
                <c:pt idx="1786">
                  <c:v>118.9927752844678</c:v>
                </c:pt>
                <c:pt idx="1787">
                  <c:v>118.70199473825649</c:v>
                </c:pt>
                <c:pt idx="1788">
                  <c:v>116.73494986682712</c:v>
                </c:pt>
                <c:pt idx="1789">
                  <c:v>116.78626408086441</c:v>
                </c:pt>
                <c:pt idx="1790">
                  <c:v>115.09941110830529</c:v>
                </c:pt>
                <c:pt idx="1791">
                  <c:v>114.74428416671391</c:v>
                </c:pt>
                <c:pt idx="1792">
                  <c:v>115.08800794963034</c:v>
                </c:pt>
                <c:pt idx="1793">
                  <c:v>115.00411328223602</c:v>
                </c:pt>
                <c:pt idx="1794">
                  <c:v>115.02203253158237</c:v>
                </c:pt>
                <c:pt idx="1795">
                  <c:v>116.27882351982896</c:v>
                </c:pt>
                <c:pt idx="1796">
                  <c:v>115.18819284370311</c:v>
                </c:pt>
                <c:pt idx="1797">
                  <c:v>115.43743331188422</c:v>
                </c:pt>
                <c:pt idx="1798">
                  <c:v>116.343984426543</c:v>
                </c:pt>
                <c:pt idx="1799">
                  <c:v>113.58604904987223</c:v>
                </c:pt>
                <c:pt idx="1800">
                  <c:v>112.19975075953153</c:v>
                </c:pt>
                <c:pt idx="1801">
                  <c:v>112.39034641167002</c:v>
                </c:pt>
                <c:pt idx="1802">
                  <c:v>112.40500761568067</c:v>
                </c:pt>
                <c:pt idx="1803">
                  <c:v>111.95702638202182</c:v>
                </c:pt>
                <c:pt idx="1804">
                  <c:v>110.40619680222821</c:v>
                </c:pt>
                <c:pt idx="1805">
                  <c:v>110.23026235410036</c:v>
                </c:pt>
                <c:pt idx="1806">
                  <c:v>110.7637672778214</c:v>
                </c:pt>
                <c:pt idx="1807">
                  <c:v>112.96376239075337</c:v>
                </c:pt>
                <c:pt idx="1808">
                  <c:v>113.03869743347448</c:v>
                </c:pt>
                <c:pt idx="1809">
                  <c:v>113.30097008299842</c:v>
                </c:pt>
                <c:pt idx="1810">
                  <c:v>114.77686462007091</c:v>
                </c:pt>
                <c:pt idx="1811">
                  <c:v>114.54391437856829</c:v>
                </c:pt>
                <c:pt idx="1812">
                  <c:v>113.94524854813326</c:v>
                </c:pt>
                <c:pt idx="1813">
                  <c:v>114.84039650411705</c:v>
                </c:pt>
                <c:pt idx="1814">
                  <c:v>115.33073232714001</c:v>
                </c:pt>
                <c:pt idx="1815">
                  <c:v>115.34946608782029</c:v>
                </c:pt>
                <c:pt idx="1816">
                  <c:v>114.80211447142253</c:v>
                </c:pt>
                <c:pt idx="1817">
                  <c:v>114.60581723994655</c:v>
                </c:pt>
                <c:pt idx="1818">
                  <c:v>114.78745326741189</c:v>
                </c:pt>
                <c:pt idx="1819">
                  <c:v>115.16701554902103</c:v>
                </c:pt>
                <c:pt idx="1820">
                  <c:v>115.50340872993213</c:v>
                </c:pt>
                <c:pt idx="1821">
                  <c:v>115.54250527396054</c:v>
                </c:pt>
                <c:pt idx="1822">
                  <c:v>116.29918630317705</c:v>
                </c:pt>
                <c:pt idx="1823">
                  <c:v>116.35131502854829</c:v>
                </c:pt>
                <c:pt idx="1824">
                  <c:v>115.61581129401384</c:v>
                </c:pt>
                <c:pt idx="1825">
                  <c:v>115.13769314099972</c:v>
                </c:pt>
                <c:pt idx="1826">
                  <c:v>116.5044431593262</c:v>
                </c:pt>
                <c:pt idx="1827">
                  <c:v>117.84268528096533</c:v>
                </c:pt>
                <c:pt idx="1828">
                  <c:v>116.94835183631545</c:v>
                </c:pt>
                <c:pt idx="1829">
                  <c:v>117.59018676744853</c:v>
                </c:pt>
                <c:pt idx="1830">
                  <c:v>116.48733842131381</c:v>
                </c:pt>
                <c:pt idx="1831">
                  <c:v>116.20307396577391</c:v>
                </c:pt>
                <c:pt idx="1832">
                  <c:v>115.64676272470297</c:v>
                </c:pt>
                <c:pt idx="1833">
                  <c:v>115.5058522639339</c:v>
                </c:pt>
                <c:pt idx="1834">
                  <c:v>114.22951300367312</c:v>
                </c:pt>
                <c:pt idx="1835">
                  <c:v>116.16479193307941</c:v>
                </c:pt>
                <c:pt idx="1836">
                  <c:v>119.11576649589044</c:v>
                </c:pt>
                <c:pt idx="1837">
                  <c:v>118.86734053904323</c:v>
                </c:pt>
                <c:pt idx="1838">
                  <c:v>119.44564358613015</c:v>
                </c:pt>
                <c:pt idx="1839">
                  <c:v>119.07259739519239</c:v>
                </c:pt>
                <c:pt idx="1840">
                  <c:v>118.68651902291185</c:v>
                </c:pt>
                <c:pt idx="1841">
                  <c:v>119.00173490914089</c:v>
                </c:pt>
                <c:pt idx="1842">
                  <c:v>119.90584248979786</c:v>
                </c:pt>
                <c:pt idx="1843">
                  <c:v>119.90014091046039</c:v>
                </c:pt>
                <c:pt idx="1844">
                  <c:v>119.78855285771265</c:v>
                </c:pt>
                <c:pt idx="1845">
                  <c:v>119.92376173914421</c:v>
                </c:pt>
                <c:pt idx="1846">
                  <c:v>119.94738256782804</c:v>
                </c:pt>
                <c:pt idx="1847">
                  <c:v>120.6242414863199</c:v>
                </c:pt>
                <c:pt idx="1848">
                  <c:v>121.0347551986182</c:v>
                </c:pt>
                <c:pt idx="1849">
                  <c:v>121.57070365634098</c:v>
                </c:pt>
                <c:pt idx="1850">
                  <c:v>121.75396870647417</c:v>
                </c:pt>
                <c:pt idx="1851">
                  <c:v>121.75478321780811</c:v>
                </c:pt>
                <c:pt idx="1852">
                  <c:v>122.41779544362325</c:v>
                </c:pt>
                <c:pt idx="1853">
                  <c:v>122.19136129279202</c:v>
                </c:pt>
                <c:pt idx="1854">
                  <c:v>122.81527697457872</c:v>
                </c:pt>
                <c:pt idx="1855">
                  <c:v>122.33634431023071</c:v>
                </c:pt>
                <c:pt idx="1856">
                  <c:v>122.0227574466695</c:v>
                </c:pt>
                <c:pt idx="1857">
                  <c:v>123.24941151556088</c:v>
                </c:pt>
                <c:pt idx="1858">
                  <c:v>121.82727472652746</c:v>
                </c:pt>
                <c:pt idx="1859">
                  <c:v>123.09628338478291</c:v>
                </c:pt>
                <c:pt idx="1860">
                  <c:v>123.16388782549868</c:v>
                </c:pt>
                <c:pt idx="1861">
                  <c:v>122.94152623133711</c:v>
                </c:pt>
                <c:pt idx="1862">
                  <c:v>123.63711891050923</c:v>
                </c:pt>
                <c:pt idx="1863">
                  <c:v>123.56218386778811</c:v>
                </c:pt>
                <c:pt idx="1864">
                  <c:v>123.759295610598</c:v>
                </c:pt>
                <c:pt idx="1865">
                  <c:v>123.83260163065124</c:v>
                </c:pt>
                <c:pt idx="1866">
                  <c:v>123.91812532071341</c:v>
                </c:pt>
                <c:pt idx="1867">
                  <c:v>123.7886180186193</c:v>
                </c:pt>
                <c:pt idx="1868">
                  <c:v>124.69679815594593</c:v>
                </c:pt>
                <c:pt idx="1869">
                  <c:v>123.15004113282195</c:v>
                </c:pt>
                <c:pt idx="1870">
                  <c:v>122.37381183159124</c:v>
                </c:pt>
                <c:pt idx="1871">
                  <c:v>123.44733776970466</c:v>
                </c:pt>
                <c:pt idx="1872">
                  <c:v>121.1870688180622</c:v>
                </c:pt>
                <c:pt idx="1873">
                  <c:v>121.92745962060023</c:v>
                </c:pt>
                <c:pt idx="1874">
                  <c:v>123.47910371172776</c:v>
                </c:pt>
                <c:pt idx="1875">
                  <c:v>123.37240272698357</c:v>
                </c:pt>
                <c:pt idx="1876">
                  <c:v>123.65911071652523</c:v>
                </c:pt>
                <c:pt idx="1877">
                  <c:v>124.22926865027289</c:v>
                </c:pt>
                <c:pt idx="1878">
                  <c:v>125.41764068646977</c:v>
                </c:pt>
                <c:pt idx="1879">
                  <c:v>125.55366407923529</c:v>
                </c:pt>
                <c:pt idx="1880">
                  <c:v>125.78172725273434</c:v>
                </c:pt>
                <c:pt idx="1881">
                  <c:v>126.3453690958106</c:v>
                </c:pt>
                <c:pt idx="1882">
                  <c:v>126.75588280810889</c:v>
                </c:pt>
                <c:pt idx="1883">
                  <c:v>126.45125556922086</c:v>
                </c:pt>
                <c:pt idx="1884">
                  <c:v>126.61741588134163</c:v>
                </c:pt>
                <c:pt idx="1885">
                  <c:v>127.32685525319049</c:v>
                </c:pt>
                <c:pt idx="1886">
                  <c:v>127.12078388570741</c:v>
                </c:pt>
                <c:pt idx="1887">
                  <c:v>126.42030413853172</c:v>
                </c:pt>
                <c:pt idx="1888">
                  <c:v>126.11404787697585</c:v>
                </c:pt>
                <c:pt idx="1889">
                  <c:v>126.95869613025633</c:v>
                </c:pt>
                <c:pt idx="1890">
                  <c:v>125.90716199815888</c:v>
                </c:pt>
                <c:pt idx="1891">
                  <c:v>126.81045506748195</c:v>
                </c:pt>
                <c:pt idx="1892">
                  <c:v>126.38690917384085</c:v>
                </c:pt>
                <c:pt idx="1893">
                  <c:v>127.37083886522248</c:v>
                </c:pt>
                <c:pt idx="1894">
                  <c:v>127.29590382250134</c:v>
                </c:pt>
                <c:pt idx="1895">
                  <c:v>127.81230400820994</c:v>
                </c:pt>
                <c:pt idx="1896">
                  <c:v>127.24051705179446</c:v>
                </c:pt>
                <c:pt idx="1897">
                  <c:v>127.89864220960601</c:v>
                </c:pt>
                <c:pt idx="1898">
                  <c:v>126.54981144062587</c:v>
                </c:pt>
                <c:pt idx="1899">
                  <c:v>127.06213906966484</c:v>
                </c:pt>
                <c:pt idx="1900">
                  <c:v>126.51641647593495</c:v>
                </c:pt>
                <c:pt idx="1901">
                  <c:v>127.31382307184771</c:v>
                </c:pt>
                <c:pt idx="1902">
                  <c:v>127.76506235084226</c:v>
                </c:pt>
                <c:pt idx="1903">
                  <c:v>129.32240802130727</c:v>
                </c:pt>
                <c:pt idx="1904">
                  <c:v>129.78179241364109</c:v>
                </c:pt>
                <c:pt idx="1905">
                  <c:v>129.41363329070688</c:v>
                </c:pt>
                <c:pt idx="1906">
                  <c:v>126.4414814332138</c:v>
                </c:pt>
                <c:pt idx="1907">
                  <c:v>128.2505111058617</c:v>
                </c:pt>
                <c:pt idx="1908">
                  <c:v>126.41297353652644</c:v>
                </c:pt>
                <c:pt idx="1909">
                  <c:v>125.56588174924421</c:v>
                </c:pt>
                <c:pt idx="1910">
                  <c:v>126.67687520871819</c:v>
                </c:pt>
                <c:pt idx="1911">
                  <c:v>127.26739592581396</c:v>
                </c:pt>
                <c:pt idx="1912">
                  <c:v>128.5934203774442</c:v>
                </c:pt>
                <c:pt idx="1913">
                  <c:v>128.59423488877812</c:v>
                </c:pt>
                <c:pt idx="1914">
                  <c:v>129.11307860848848</c:v>
                </c:pt>
                <c:pt idx="1915">
                  <c:v>128.8752412989823</c:v>
                </c:pt>
                <c:pt idx="1916">
                  <c:v>129.80134068565525</c:v>
                </c:pt>
                <c:pt idx="1917">
                  <c:v>130.12388717388964</c:v>
                </c:pt>
                <c:pt idx="1918">
                  <c:v>128.91270882034286</c:v>
                </c:pt>
                <c:pt idx="1919">
                  <c:v>130.12551619655747</c:v>
                </c:pt>
                <c:pt idx="1920">
                  <c:v>131.49633877155361</c:v>
                </c:pt>
                <c:pt idx="1921">
                  <c:v>131.74720826240258</c:v>
                </c:pt>
                <c:pt idx="1922">
                  <c:v>132.43628485090329</c:v>
                </c:pt>
                <c:pt idx="1923">
                  <c:v>132.98445097863498</c:v>
                </c:pt>
                <c:pt idx="1924">
                  <c:v>132.49411515561201</c:v>
                </c:pt>
                <c:pt idx="1925">
                  <c:v>133.06671662336143</c:v>
                </c:pt>
                <c:pt idx="1926">
                  <c:v>133.07241820269888</c:v>
                </c:pt>
                <c:pt idx="1927">
                  <c:v>134.42206348301292</c:v>
                </c:pt>
                <c:pt idx="1928">
                  <c:v>135.1095110488458</c:v>
                </c:pt>
                <c:pt idx="1929">
                  <c:v>134.43265213035397</c:v>
                </c:pt>
                <c:pt idx="1930">
                  <c:v>135.81732139802682</c:v>
                </c:pt>
                <c:pt idx="1931">
                  <c:v>135.72120906062364</c:v>
                </c:pt>
                <c:pt idx="1932">
                  <c:v>135.95497381346019</c:v>
                </c:pt>
                <c:pt idx="1933">
                  <c:v>134.83013366130947</c:v>
                </c:pt>
                <c:pt idx="1934">
                  <c:v>134.43591017568968</c:v>
                </c:pt>
                <c:pt idx="1935">
                  <c:v>134.36178964430246</c:v>
                </c:pt>
                <c:pt idx="1936">
                  <c:v>135.21376849958821</c:v>
                </c:pt>
                <c:pt idx="1937">
                  <c:v>134.26079023889574</c:v>
                </c:pt>
                <c:pt idx="1938">
                  <c:v>134.75356959592048</c:v>
                </c:pt>
                <c:pt idx="1939">
                  <c:v>132.82562126851948</c:v>
                </c:pt>
                <c:pt idx="1940">
                  <c:v>133.61406823975909</c:v>
                </c:pt>
                <c:pt idx="1941">
                  <c:v>132.87774999389072</c:v>
                </c:pt>
                <c:pt idx="1942">
                  <c:v>131.04672851522685</c:v>
                </c:pt>
                <c:pt idx="1943">
                  <c:v>132.15935099736868</c:v>
                </c:pt>
                <c:pt idx="1944">
                  <c:v>133.85516359460095</c:v>
                </c:pt>
                <c:pt idx="1945">
                  <c:v>133.8087364485672</c:v>
                </c:pt>
                <c:pt idx="1946">
                  <c:v>132.45013154357997</c:v>
                </c:pt>
                <c:pt idx="1947">
                  <c:v>131.34158161810774</c:v>
                </c:pt>
                <c:pt idx="1948">
                  <c:v>133.28337663818544</c:v>
                </c:pt>
                <c:pt idx="1949">
                  <c:v>132.49900222361549</c:v>
                </c:pt>
                <c:pt idx="1950">
                  <c:v>133.50166567567743</c:v>
                </c:pt>
                <c:pt idx="1951">
                  <c:v>134.54179664909992</c:v>
                </c:pt>
                <c:pt idx="1952">
                  <c:v>132.67819471707904</c:v>
                </c:pt>
                <c:pt idx="1953">
                  <c:v>129.35987554266774</c:v>
                </c:pt>
                <c:pt idx="1954">
                  <c:v>129.70522834825201</c:v>
                </c:pt>
                <c:pt idx="1955">
                  <c:v>128.12996342844065</c:v>
                </c:pt>
                <c:pt idx="1956">
                  <c:v>129.34684336132489</c:v>
                </c:pt>
                <c:pt idx="1957">
                  <c:v>130.587344122893</c:v>
                </c:pt>
                <c:pt idx="1958">
                  <c:v>131.39696838881468</c:v>
                </c:pt>
                <c:pt idx="1959">
                  <c:v>130.83332654573843</c:v>
                </c:pt>
                <c:pt idx="1960">
                  <c:v>131.5403223835855</c:v>
                </c:pt>
                <c:pt idx="1961">
                  <c:v>131.46864538620008</c:v>
                </c:pt>
                <c:pt idx="1962">
                  <c:v>131.57697539361214</c:v>
                </c:pt>
                <c:pt idx="1963">
                  <c:v>132.9192900719209</c:v>
                </c:pt>
                <c:pt idx="1964">
                  <c:v>133.6173262850948</c:v>
                </c:pt>
                <c:pt idx="1965">
                  <c:v>134.5833367271301</c:v>
                </c:pt>
                <c:pt idx="1966">
                  <c:v>134.60777206714786</c:v>
                </c:pt>
                <c:pt idx="1967">
                  <c:v>136.43227745514037</c:v>
                </c:pt>
                <c:pt idx="1968">
                  <c:v>136.85337981477969</c:v>
                </c:pt>
                <c:pt idx="1969">
                  <c:v>137.04153193291637</c:v>
                </c:pt>
                <c:pt idx="1970">
                  <c:v>136.53327686054703</c:v>
                </c:pt>
                <c:pt idx="1971">
                  <c:v>136.91202463082223</c:v>
                </c:pt>
                <c:pt idx="1972">
                  <c:v>137.60110121932294</c:v>
                </c:pt>
                <c:pt idx="1973">
                  <c:v>137.82264830215061</c:v>
                </c:pt>
                <c:pt idx="1974">
                  <c:v>138.10284020102088</c:v>
                </c:pt>
                <c:pt idx="1975">
                  <c:v>137.84708364216837</c:v>
                </c:pt>
                <c:pt idx="1976">
                  <c:v>137.32172383178661</c:v>
                </c:pt>
                <c:pt idx="1977">
                  <c:v>137.67277821670837</c:v>
                </c:pt>
                <c:pt idx="1978">
                  <c:v>137.78680980345791</c:v>
                </c:pt>
                <c:pt idx="1979">
                  <c:v>137.27203864041718</c:v>
                </c:pt>
                <c:pt idx="1980">
                  <c:v>137.3233528544545</c:v>
                </c:pt>
                <c:pt idx="1981">
                  <c:v>137.30461909377422</c:v>
                </c:pt>
                <c:pt idx="1982">
                  <c:v>139.02649605369209</c:v>
                </c:pt>
                <c:pt idx="1983">
                  <c:v>139.25455922719112</c:v>
                </c:pt>
                <c:pt idx="1984">
                  <c:v>139.04848785970805</c:v>
                </c:pt>
                <c:pt idx="1985">
                  <c:v>138.2527102864631</c:v>
                </c:pt>
                <c:pt idx="1986">
                  <c:v>137.72653596474743</c:v>
                </c:pt>
                <c:pt idx="1987">
                  <c:v>138.26166991113627</c:v>
                </c:pt>
                <c:pt idx="1988">
                  <c:v>137.76807604277758</c:v>
                </c:pt>
                <c:pt idx="1989">
                  <c:v>137.60924633266217</c:v>
                </c:pt>
                <c:pt idx="1990">
                  <c:v>137.99125214827308</c:v>
                </c:pt>
                <c:pt idx="1991">
                  <c:v>137.27692570842066</c:v>
                </c:pt>
                <c:pt idx="1992">
                  <c:v>135.31639692766268</c:v>
                </c:pt>
                <c:pt idx="1993">
                  <c:v>134.86923020533774</c:v>
                </c:pt>
                <c:pt idx="1994">
                  <c:v>134.07345263209282</c:v>
                </c:pt>
                <c:pt idx="1995">
                  <c:v>134.58578026113179</c:v>
                </c:pt>
                <c:pt idx="1996">
                  <c:v>133.80792193723323</c:v>
                </c:pt>
                <c:pt idx="1997">
                  <c:v>134.96126998607133</c:v>
                </c:pt>
                <c:pt idx="1998">
                  <c:v>135.49396039845843</c:v>
                </c:pt>
                <c:pt idx="1999">
                  <c:v>134.94660878206071</c:v>
                </c:pt>
                <c:pt idx="2000">
                  <c:v>132.80444397383744</c:v>
                </c:pt>
                <c:pt idx="2001">
                  <c:v>133.16934505143593</c:v>
                </c:pt>
                <c:pt idx="2002">
                  <c:v>133.43080318962592</c:v>
                </c:pt>
                <c:pt idx="2003">
                  <c:v>133.0072572959848</c:v>
                </c:pt>
                <c:pt idx="2004">
                  <c:v>133.56112500305392</c:v>
                </c:pt>
                <c:pt idx="2005">
                  <c:v>134.64523958850836</c:v>
                </c:pt>
                <c:pt idx="2006">
                  <c:v>134.8081418552934</c:v>
                </c:pt>
                <c:pt idx="2007">
                  <c:v>134.81547245729874</c:v>
                </c:pt>
                <c:pt idx="2008">
                  <c:v>136.162674203611</c:v>
                </c:pt>
                <c:pt idx="2009">
                  <c:v>137.16289412167114</c:v>
                </c:pt>
                <c:pt idx="2010">
                  <c:v>137.58155294730872</c:v>
                </c:pt>
                <c:pt idx="2011">
                  <c:v>137.11646697563742</c:v>
                </c:pt>
                <c:pt idx="2012">
                  <c:v>137.48869865524125</c:v>
                </c:pt>
                <c:pt idx="2013">
                  <c:v>138.27144404714338</c:v>
                </c:pt>
                <c:pt idx="2014">
                  <c:v>138.85463416223385</c:v>
                </c:pt>
                <c:pt idx="2015">
                  <c:v>140.54555969146259</c:v>
                </c:pt>
                <c:pt idx="2016">
                  <c:v>140.28654508727436</c:v>
                </c:pt>
                <c:pt idx="2017">
                  <c:v>139.27410749920531</c:v>
                </c:pt>
                <c:pt idx="2018">
                  <c:v>138.61679685272767</c:v>
                </c:pt>
                <c:pt idx="2019">
                  <c:v>138.25678284313273</c:v>
                </c:pt>
                <c:pt idx="2020">
                  <c:v>137.87803507285747</c:v>
                </c:pt>
                <c:pt idx="2021">
                  <c:v>138.35859675987336</c:v>
                </c:pt>
                <c:pt idx="2022">
                  <c:v>137.79495491679711</c:v>
                </c:pt>
                <c:pt idx="2023">
                  <c:v>136.96415335619338</c:v>
                </c:pt>
                <c:pt idx="2024">
                  <c:v>138.05967110032279</c:v>
                </c:pt>
                <c:pt idx="2025">
                  <c:v>137.96763131958923</c:v>
                </c:pt>
                <c:pt idx="2026">
                  <c:v>136.728759580689</c:v>
                </c:pt>
                <c:pt idx="2027">
                  <c:v>137.69314100005644</c:v>
                </c:pt>
                <c:pt idx="2028">
                  <c:v>136.52187370187198</c:v>
                </c:pt>
                <c:pt idx="2029">
                  <c:v>134.83827877464859</c:v>
                </c:pt>
                <c:pt idx="2030">
                  <c:v>134.91565735137149</c:v>
                </c:pt>
                <c:pt idx="2031">
                  <c:v>137.86093033484502</c:v>
                </c:pt>
                <c:pt idx="2032">
                  <c:v>138.72757039414142</c:v>
                </c:pt>
                <c:pt idx="2033">
                  <c:v>139.29284125988551</c:v>
                </c:pt>
                <c:pt idx="2034">
                  <c:v>138.30891156850385</c:v>
                </c:pt>
                <c:pt idx="2035">
                  <c:v>140.22138418056025</c:v>
                </c:pt>
                <c:pt idx="2036">
                  <c:v>141.16703183924741</c:v>
                </c:pt>
                <c:pt idx="2037">
                  <c:v>142.0915022032525</c:v>
                </c:pt>
                <c:pt idx="2038">
                  <c:v>142.1045343845953</c:v>
                </c:pt>
                <c:pt idx="2039">
                  <c:v>142.91986022985441</c:v>
                </c:pt>
                <c:pt idx="2040">
                  <c:v>142.24463033403043</c:v>
                </c:pt>
                <c:pt idx="2041">
                  <c:v>142.70808728303385</c:v>
                </c:pt>
                <c:pt idx="2042">
                  <c:v>143.33526101015627</c:v>
                </c:pt>
                <c:pt idx="2043">
                  <c:v>143.52585666229476</c:v>
                </c:pt>
                <c:pt idx="2044">
                  <c:v>144.32733581487716</c:v>
                </c:pt>
                <c:pt idx="2045">
                  <c:v>143.62359802236577</c:v>
                </c:pt>
                <c:pt idx="2046">
                  <c:v>143.07217384929839</c:v>
                </c:pt>
                <c:pt idx="2047">
                  <c:v>143.48757462960023</c:v>
                </c:pt>
                <c:pt idx="2048">
                  <c:v>143.9999022586392</c:v>
                </c:pt>
                <c:pt idx="2049">
                  <c:v>143.59590463701227</c:v>
                </c:pt>
                <c:pt idx="2050">
                  <c:v>144.20841716012401</c:v>
                </c:pt>
                <c:pt idx="2051">
                  <c:v>142.3073477067426</c:v>
                </c:pt>
                <c:pt idx="2052">
                  <c:v>144.2181912961311</c:v>
                </c:pt>
                <c:pt idx="2053">
                  <c:v>144.32244874687356</c:v>
                </c:pt>
                <c:pt idx="2054">
                  <c:v>143.98035398662495</c:v>
                </c:pt>
                <c:pt idx="2055">
                  <c:v>145.14591970547193</c:v>
                </c:pt>
                <c:pt idx="2056">
                  <c:v>145.84802847531543</c:v>
                </c:pt>
                <c:pt idx="2057">
                  <c:v>146.46379904376292</c:v>
                </c:pt>
                <c:pt idx="2058">
                  <c:v>145.92214900670268</c:v>
                </c:pt>
                <c:pt idx="2059">
                  <c:v>145.62403785848605</c:v>
                </c:pt>
                <c:pt idx="2060">
                  <c:v>145.09460549143466</c:v>
                </c:pt>
                <c:pt idx="2061">
                  <c:v>146.27401790295838</c:v>
                </c:pt>
                <c:pt idx="2062">
                  <c:v>146.99974750148573</c:v>
                </c:pt>
                <c:pt idx="2063">
                  <c:v>146.81403891735081</c:v>
                </c:pt>
                <c:pt idx="2064">
                  <c:v>146.83603072336678</c:v>
                </c:pt>
                <c:pt idx="2065">
                  <c:v>147.20093180096526</c:v>
                </c:pt>
                <c:pt idx="2066">
                  <c:v>147.08527119154789</c:v>
                </c:pt>
                <c:pt idx="2067">
                  <c:v>146.68534612659064</c:v>
                </c:pt>
                <c:pt idx="2068">
                  <c:v>146.21700210958363</c:v>
                </c:pt>
                <c:pt idx="2069">
                  <c:v>146.02640645744512</c:v>
                </c:pt>
                <c:pt idx="2070">
                  <c:v>145.3927166396513</c:v>
                </c:pt>
                <c:pt idx="2071">
                  <c:v>147.02662637550523</c:v>
                </c:pt>
                <c:pt idx="2072">
                  <c:v>147.29378609303268</c:v>
                </c:pt>
                <c:pt idx="2073">
                  <c:v>146.82544207602567</c:v>
                </c:pt>
                <c:pt idx="2074">
                  <c:v>145.16383895481826</c:v>
                </c:pt>
                <c:pt idx="2075">
                  <c:v>144.61648733842051</c:v>
                </c:pt>
                <c:pt idx="2076">
                  <c:v>144.60182613440983</c:v>
                </c:pt>
                <c:pt idx="2077">
                  <c:v>145.5157078510739</c:v>
                </c:pt>
                <c:pt idx="2078">
                  <c:v>145.06446857207933</c:v>
                </c:pt>
                <c:pt idx="2079">
                  <c:v>147.47949467716762</c:v>
                </c:pt>
                <c:pt idx="2080">
                  <c:v>147.39397098710543</c:v>
                </c:pt>
                <c:pt idx="2081">
                  <c:v>148.10422487028822</c:v>
                </c:pt>
                <c:pt idx="2082">
                  <c:v>148.89185733019389</c:v>
                </c:pt>
                <c:pt idx="2083">
                  <c:v>149.325991871176</c:v>
                </c:pt>
                <c:pt idx="2084">
                  <c:v>150.03461673169096</c:v>
                </c:pt>
                <c:pt idx="2085">
                  <c:v>149.98411702898761</c:v>
                </c:pt>
                <c:pt idx="2086">
                  <c:v>149.95723815496808</c:v>
                </c:pt>
                <c:pt idx="2087">
                  <c:v>150.55101691739952</c:v>
                </c:pt>
                <c:pt idx="2088">
                  <c:v>149.21684735243005</c:v>
                </c:pt>
                <c:pt idx="2089">
                  <c:v>149.16716216106059</c:v>
                </c:pt>
                <c:pt idx="2090">
                  <c:v>148.79248694745499</c:v>
                </c:pt>
                <c:pt idx="2091">
                  <c:v>149.69740903944592</c:v>
                </c:pt>
                <c:pt idx="2092">
                  <c:v>149.66564309742282</c:v>
                </c:pt>
                <c:pt idx="2093">
                  <c:v>149.71777182279408</c:v>
                </c:pt>
                <c:pt idx="2094">
                  <c:v>150.06312462837835</c:v>
                </c:pt>
                <c:pt idx="2095">
                  <c:v>148.17590186767364</c:v>
                </c:pt>
                <c:pt idx="2096">
                  <c:v>149.77886017283848</c:v>
                </c:pt>
                <c:pt idx="2097">
                  <c:v>150.55264594006741</c:v>
                </c:pt>
                <c:pt idx="2098">
                  <c:v>150.34983261792001</c:v>
                </c:pt>
                <c:pt idx="2099">
                  <c:v>149.7641989688278</c:v>
                </c:pt>
                <c:pt idx="2100">
                  <c:v>150.17959974912964</c:v>
                </c:pt>
                <c:pt idx="2101">
                  <c:v>150.26593795052568</c:v>
                </c:pt>
                <c:pt idx="2102">
                  <c:v>148.93013936288838</c:v>
                </c:pt>
                <c:pt idx="2103">
                  <c:v>145.82114960129584</c:v>
                </c:pt>
                <c:pt idx="2104">
                  <c:v>145.11008120677914</c:v>
                </c:pt>
                <c:pt idx="2105">
                  <c:v>146.0011566060933</c:v>
                </c:pt>
                <c:pt idx="2106">
                  <c:v>144.51060086501019</c:v>
                </c:pt>
                <c:pt idx="2107">
                  <c:v>146.1388090215267</c:v>
                </c:pt>
                <c:pt idx="2108">
                  <c:v>145.19397587417342</c:v>
                </c:pt>
                <c:pt idx="2109">
                  <c:v>141.87891474509783</c:v>
                </c:pt>
                <c:pt idx="2110">
                  <c:v>142.96302933055225</c:v>
                </c:pt>
                <c:pt idx="2111">
                  <c:v>142.67306329567487</c:v>
                </c:pt>
                <c:pt idx="2112">
                  <c:v>144.44788349229788</c:v>
                </c:pt>
                <c:pt idx="2113">
                  <c:v>146.36931572902745</c:v>
                </c:pt>
                <c:pt idx="2114">
                  <c:v>146.59900792519437</c:v>
                </c:pt>
                <c:pt idx="2115">
                  <c:v>148.22069999103945</c:v>
                </c:pt>
                <c:pt idx="2116">
                  <c:v>148.1807889356771</c:v>
                </c:pt>
                <c:pt idx="2117">
                  <c:v>149.04172741563607</c:v>
                </c:pt>
                <c:pt idx="2118">
                  <c:v>149.75849738949029</c:v>
                </c:pt>
                <c:pt idx="2119">
                  <c:v>149.93198830361635</c:v>
                </c:pt>
                <c:pt idx="2120">
                  <c:v>148.9537601915722</c:v>
                </c:pt>
                <c:pt idx="2121">
                  <c:v>149.8521661928917</c:v>
                </c:pt>
                <c:pt idx="2122">
                  <c:v>149.56464369201612</c:v>
                </c:pt>
                <c:pt idx="2123">
                  <c:v>150.48992856735512</c:v>
                </c:pt>
                <c:pt idx="2124">
                  <c:v>150.28711524520773</c:v>
                </c:pt>
                <c:pt idx="2125">
                  <c:v>150.29037329054344</c:v>
                </c:pt>
                <c:pt idx="2126">
                  <c:v>151.03402213841713</c:v>
                </c:pt>
                <c:pt idx="2127">
                  <c:v>151.45430998672254</c:v>
                </c:pt>
                <c:pt idx="2128">
                  <c:v>150.33680043657714</c:v>
                </c:pt>
                <c:pt idx="2129">
                  <c:v>152.63209337557836</c:v>
                </c:pt>
                <c:pt idx="2130">
                  <c:v>152.62394826223911</c:v>
                </c:pt>
                <c:pt idx="2131">
                  <c:v>152.88622091176305</c:v>
                </c:pt>
                <c:pt idx="2132">
                  <c:v>152.96848655648949</c:v>
                </c:pt>
                <c:pt idx="2133">
                  <c:v>152.89762407043801</c:v>
                </c:pt>
                <c:pt idx="2134">
                  <c:v>152.12058025787337</c:v>
                </c:pt>
                <c:pt idx="2135">
                  <c:v>152.16700740390709</c:v>
                </c:pt>
                <c:pt idx="2136">
                  <c:v>150.3864856279466</c:v>
                </c:pt>
                <c:pt idx="2137">
                  <c:v>149.96212522297159</c:v>
                </c:pt>
                <c:pt idx="2138">
                  <c:v>151.40381028401919</c:v>
                </c:pt>
                <c:pt idx="2139">
                  <c:v>152.4968844941468</c:v>
                </c:pt>
                <c:pt idx="2140">
                  <c:v>151.56182548280066</c:v>
                </c:pt>
                <c:pt idx="2141">
                  <c:v>152.47733622213258</c:v>
                </c:pt>
                <c:pt idx="2142">
                  <c:v>152.03016949980764</c:v>
                </c:pt>
                <c:pt idx="2143">
                  <c:v>151.29059320860355</c:v>
                </c:pt>
                <c:pt idx="2144">
                  <c:v>151.95686347975433</c:v>
                </c:pt>
                <c:pt idx="2145">
                  <c:v>150.89311167764802</c:v>
                </c:pt>
                <c:pt idx="2146">
                  <c:v>150.60640368810635</c:v>
                </c:pt>
                <c:pt idx="2147">
                  <c:v>151.30525441261418</c:v>
                </c:pt>
                <c:pt idx="2148">
                  <c:v>152.50421509615208</c:v>
                </c:pt>
                <c:pt idx="2149">
                  <c:v>153.5777410342655</c:v>
                </c:pt>
                <c:pt idx="2150">
                  <c:v>154.01594813191727</c:v>
                </c:pt>
                <c:pt idx="2151">
                  <c:v>153.84245721779121</c:v>
                </c:pt>
                <c:pt idx="2152">
                  <c:v>151.91369437905632</c:v>
                </c:pt>
                <c:pt idx="2153">
                  <c:v>150.28059915453628</c:v>
                </c:pt>
                <c:pt idx="2154">
                  <c:v>150.8442409976125</c:v>
                </c:pt>
                <c:pt idx="2155">
                  <c:v>152.49118291480929</c:v>
                </c:pt>
                <c:pt idx="2156">
                  <c:v>149.3064435991617</c:v>
                </c:pt>
                <c:pt idx="2157">
                  <c:v>147.89000838946578</c:v>
                </c:pt>
                <c:pt idx="2158">
                  <c:v>149.10525929968219</c:v>
                </c:pt>
                <c:pt idx="2159">
                  <c:v>150.11280981974767</c:v>
                </c:pt>
                <c:pt idx="2160">
                  <c:v>151.68726022822509</c:v>
                </c:pt>
                <c:pt idx="2161">
                  <c:v>151.8941461070421</c:v>
                </c:pt>
                <c:pt idx="2162">
                  <c:v>152.4675620861255</c:v>
                </c:pt>
                <c:pt idx="2163">
                  <c:v>153.09147776791221</c:v>
                </c:pt>
                <c:pt idx="2164">
                  <c:v>152.75264105299934</c:v>
                </c:pt>
                <c:pt idx="2165">
                  <c:v>153.01491370252322</c:v>
                </c:pt>
                <c:pt idx="2166">
                  <c:v>151.77604196362302</c:v>
                </c:pt>
                <c:pt idx="2167">
                  <c:v>152.2671922979799</c:v>
                </c:pt>
                <c:pt idx="2168">
                  <c:v>152.99210738517334</c:v>
                </c:pt>
                <c:pt idx="2169">
                  <c:v>153.44986275483936</c:v>
                </c:pt>
                <c:pt idx="2170">
                  <c:v>153.42787094882337</c:v>
                </c:pt>
                <c:pt idx="2171">
                  <c:v>153.22098507000638</c:v>
                </c:pt>
                <c:pt idx="2172">
                  <c:v>153.50769305954805</c:v>
                </c:pt>
                <c:pt idx="2173">
                  <c:v>152.12791085987874</c:v>
                </c:pt>
                <c:pt idx="2174">
                  <c:v>152.98233324916629</c:v>
                </c:pt>
                <c:pt idx="2175">
                  <c:v>152.77218932501358</c:v>
                </c:pt>
                <c:pt idx="2176">
                  <c:v>153.00432505518225</c:v>
                </c:pt>
                <c:pt idx="2177">
                  <c:v>154.48429214892434</c:v>
                </c:pt>
                <c:pt idx="2178">
                  <c:v>154.54945305563837</c:v>
                </c:pt>
                <c:pt idx="2179">
                  <c:v>153.8229089457771</c:v>
                </c:pt>
                <c:pt idx="2180">
                  <c:v>152.38285290739734</c:v>
                </c:pt>
                <c:pt idx="2181">
                  <c:v>152.9538253524789</c:v>
                </c:pt>
                <c:pt idx="2182">
                  <c:v>153.54190253557289</c:v>
                </c:pt>
                <c:pt idx="2183">
                  <c:v>152.54412615151452</c:v>
                </c:pt>
                <c:pt idx="2184">
                  <c:v>153.78218337908083</c:v>
                </c:pt>
                <c:pt idx="2185">
                  <c:v>154.14545543401147</c:v>
                </c:pt>
                <c:pt idx="2186">
                  <c:v>154.80032254648731</c:v>
                </c:pt>
                <c:pt idx="2187">
                  <c:v>155.7272364444942</c:v>
                </c:pt>
                <c:pt idx="2188">
                  <c:v>155.55374553036813</c:v>
                </c:pt>
                <c:pt idx="2189">
                  <c:v>156.38861964764143</c:v>
                </c:pt>
                <c:pt idx="2190">
                  <c:v>156.67695665985099</c:v>
                </c:pt>
                <c:pt idx="2191">
                  <c:v>156.79098824660053</c:v>
                </c:pt>
                <c:pt idx="2192">
                  <c:v>156.73152891922399</c:v>
                </c:pt>
                <c:pt idx="2193">
                  <c:v>157.0280110447728</c:v>
                </c:pt>
                <c:pt idx="2194">
                  <c:v>158.05266630285072</c:v>
                </c:pt>
                <c:pt idx="2195">
                  <c:v>158.78409748071556</c:v>
                </c:pt>
                <c:pt idx="2196">
                  <c:v>158.93315305482386</c:v>
                </c:pt>
                <c:pt idx="2197">
                  <c:v>158.89405651079545</c:v>
                </c:pt>
                <c:pt idx="2198">
                  <c:v>158.33204369038705</c:v>
                </c:pt>
                <c:pt idx="2199">
                  <c:v>157.20964707223808</c:v>
                </c:pt>
                <c:pt idx="2200">
                  <c:v>157.70242642926289</c:v>
                </c:pt>
                <c:pt idx="2201">
                  <c:v>157.83437726535877</c:v>
                </c:pt>
                <c:pt idx="2202">
                  <c:v>158.17728653694127</c:v>
                </c:pt>
                <c:pt idx="2203">
                  <c:v>159.39823902649513</c:v>
                </c:pt>
                <c:pt idx="2204">
                  <c:v>159.60186685997644</c:v>
                </c:pt>
                <c:pt idx="2205">
                  <c:v>159.87798620217708</c:v>
                </c:pt>
                <c:pt idx="2206">
                  <c:v>159.85680890749504</c:v>
                </c:pt>
                <c:pt idx="2207">
                  <c:v>158.82808109274751</c:v>
                </c:pt>
                <c:pt idx="2208">
                  <c:v>159.60593941664609</c:v>
                </c:pt>
                <c:pt idx="2209">
                  <c:v>159.41778729850935</c:v>
                </c:pt>
                <c:pt idx="2210">
                  <c:v>159.72241453739736</c:v>
                </c:pt>
                <c:pt idx="2211">
                  <c:v>159.66295521002078</c:v>
                </c:pt>
                <c:pt idx="2212">
                  <c:v>160.72915054612886</c:v>
                </c:pt>
                <c:pt idx="2213">
                  <c:v>160.83503701953913</c:v>
                </c:pt>
                <c:pt idx="2214">
                  <c:v>161.71633828284621</c:v>
                </c:pt>
                <c:pt idx="2215">
                  <c:v>161.08183395371847</c:v>
                </c:pt>
                <c:pt idx="2216">
                  <c:v>159.94640515422671</c:v>
                </c:pt>
                <c:pt idx="2217">
                  <c:v>160.68923949076645</c:v>
                </c:pt>
                <c:pt idx="2218">
                  <c:v>160.02541275361742</c:v>
                </c:pt>
                <c:pt idx="2219">
                  <c:v>160.26080652912179</c:v>
                </c:pt>
                <c:pt idx="2220">
                  <c:v>161.03703583035252</c:v>
                </c:pt>
                <c:pt idx="2221">
                  <c:v>160.72589250079309</c:v>
                </c:pt>
                <c:pt idx="2222">
                  <c:v>161.40112239661707</c:v>
                </c:pt>
                <c:pt idx="2223">
                  <c:v>159.49109331856243</c:v>
                </c:pt>
                <c:pt idx="2224">
                  <c:v>161.12826109975211</c:v>
                </c:pt>
                <c:pt idx="2225">
                  <c:v>160.75440039748045</c:v>
                </c:pt>
                <c:pt idx="2226">
                  <c:v>161.5607666180664</c:v>
                </c:pt>
                <c:pt idx="2227">
                  <c:v>161.84421656227238</c:v>
                </c:pt>
                <c:pt idx="2228">
                  <c:v>161.92322416166311</c:v>
                </c:pt>
                <c:pt idx="2229">
                  <c:v>161.13803523575919</c:v>
                </c:pt>
                <c:pt idx="2230">
                  <c:v>161.18446238179294</c:v>
                </c:pt>
                <c:pt idx="2231">
                  <c:v>160.45466022659593</c:v>
                </c:pt>
                <c:pt idx="2232">
                  <c:v>160.46443436260304</c:v>
                </c:pt>
                <c:pt idx="2233">
                  <c:v>157.25525970693775</c:v>
                </c:pt>
                <c:pt idx="2234">
                  <c:v>156.80564945061104</c:v>
                </c:pt>
                <c:pt idx="2235">
                  <c:v>157.93293313676352</c:v>
                </c:pt>
                <c:pt idx="2236">
                  <c:v>156.40328085165197</c:v>
                </c:pt>
                <c:pt idx="2237">
                  <c:v>156.40572438565374</c:v>
                </c:pt>
                <c:pt idx="2238">
                  <c:v>155.53664079235554</c:v>
                </c:pt>
                <c:pt idx="2239">
                  <c:v>157.33019474965889</c:v>
                </c:pt>
                <c:pt idx="2240">
                  <c:v>157.76432929064106</c:v>
                </c:pt>
                <c:pt idx="2241">
                  <c:v>157.50612919778675</c:v>
                </c:pt>
                <c:pt idx="2242">
                  <c:v>158.56255039788775</c:v>
                </c:pt>
                <c:pt idx="2243">
                  <c:v>159.25162698638849</c:v>
                </c:pt>
                <c:pt idx="2244">
                  <c:v>159.24185285038138</c:v>
                </c:pt>
                <c:pt idx="2245">
                  <c:v>160.60045775536858</c:v>
                </c:pt>
                <c:pt idx="2246">
                  <c:v>161.40356593061881</c:v>
                </c:pt>
                <c:pt idx="2247">
                  <c:v>161.80349099557606</c:v>
                </c:pt>
                <c:pt idx="2248">
                  <c:v>162.28079463725624</c:v>
                </c:pt>
                <c:pt idx="2249">
                  <c:v>161.95743363768793</c:v>
                </c:pt>
                <c:pt idx="2250">
                  <c:v>162.73284842758471</c:v>
                </c:pt>
                <c:pt idx="2251">
                  <c:v>162.90389580770901</c:v>
                </c:pt>
                <c:pt idx="2252">
                  <c:v>162.91204092104826</c:v>
                </c:pt>
                <c:pt idx="2253">
                  <c:v>162.63673609018156</c:v>
                </c:pt>
                <c:pt idx="2254">
                  <c:v>163.17675710457394</c:v>
                </c:pt>
                <c:pt idx="2255">
                  <c:v>163.08797536917609</c:v>
                </c:pt>
                <c:pt idx="2256">
                  <c:v>162.96091160108375</c:v>
                </c:pt>
                <c:pt idx="2257">
                  <c:v>162.71085662156875</c:v>
                </c:pt>
                <c:pt idx="2258">
                  <c:v>163.53025502349752</c:v>
                </c:pt>
                <c:pt idx="2259">
                  <c:v>163.02770153046566</c:v>
                </c:pt>
                <c:pt idx="2260">
                  <c:v>161.96069168302367</c:v>
                </c:pt>
                <c:pt idx="2261">
                  <c:v>162.55121240011945</c:v>
                </c:pt>
                <c:pt idx="2262">
                  <c:v>162.6945663948903</c:v>
                </c:pt>
                <c:pt idx="2263">
                  <c:v>161.72448339618538</c:v>
                </c:pt>
                <c:pt idx="2264">
                  <c:v>161.60963729810194</c:v>
                </c:pt>
                <c:pt idx="2265">
                  <c:v>162.81918662898087</c:v>
                </c:pt>
                <c:pt idx="2266">
                  <c:v>163.03014506446749</c:v>
                </c:pt>
                <c:pt idx="2267">
                  <c:v>163.82755166038027</c:v>
                </c:pt>
                <c:pt idx="2268">
                  <c:v>163.74935857232347</c:v>
                </c:pt>
                <c:pt idx="2269">
                  <c:v>162.43718081336999</c:v>
                </c:pt>
                <c:pt idx="2270">
                  <c:v>161.49886375668814</c:v>
                </c:pt>
                <c:pt idx="2271">
                  <c:v>162.76379985827396</c:v>
                </c:pt>
                <c:pt idx="2272">
                  <c:v>160.13211373836162</c:v>
                </c:pt>
                <c:pt idx="2273">
                  <c:v>161.50537984735951</c:v>
                </c:pt>
                <c:pt idx="2274">
                  <c:v>161.09405162372727</c:v>
                </c:pt>
                <c:pt idx="2275">
                  <c:v>160.64525587873447</c:v>
                </c:pt>
                <c:pt idx="2276">
                  <c:v>158.51693776318794</c:v>
                </c:pt>
                <c:pt idx="2277">
                  <c:v>158.51775227452185</c:v>
                </c:pt>
                <c:pt idx="2278">
                  <c:v>160.28768540314135</c:v>
                </c:pt>
                <c:pt idx="2279">
                  <c:v>160.03681591229241</c:v>
                </c:pt>
                <c:pt idx="2280">
                  <c:v>157.6160882278667</c:v>
                </c:pt>
                <c:pt idx="2281">
                  <c:v>160.3683220252</c:v>
                </c:pt>
                <c:pt idx="2282">
                  <c:v>157.05488991879224</c:v>
                </c:pt>
                <c:pt idx="2283">
                  <c:v>155.25644889348541</c:v>
                </c:pt>
                <c:pt idx="2284">
                  <c:v>152.69969781629416</c:v>
                </c:pt>
                <c:pt idx="2285">
                  <c:v>152.94079317113602</c:v>
                </c:pt>
                <c:pt idx="2286">
                  <c:v>151.70192143223576</c:v>
                </c:pt>
                <c:pt idx="2287">
                  <c:v>151.72391323825178</c:v>
                </c:pt>
                <c:pt idx="2288">
                  <c:v>153.67874043967228</c:v>
                </c:pt>
                <c:pt idx="2289">
                  <c:v>155.08377249069326</c:v>
                </c:pt>
                <c:pt idx="2290">
                  <c:v>158.11945623223249</c:v>
                </c:pt>
                <c:pt idx="2291">
                  <c:v>156.96529367206045</c:v>
                </c:pt>
                <c:pt idx="2292">
                  <c:v>158.89650004479711</c:v>
                </c:pt>
                <c:pt idx="2293">
                  <c:v>160.01726764027819</c:v>
                </c:pt>
                <c:pt idx="2294">
                  <c:v>159.77698679677025</c:v>
                </c:pt>
                <c:pt idx="2295">
                  <c:v>161.68457234082305</c:v>
                </c:pt>
                <c:pt idx="2296">
                  <c:v>161.46058172399364</c:v>
                </c:pt>
                <c:pt idx="2297">
                  <c:v>162.46650322139126</c:v>
                </c:pt>
                <c:pt idx="2298">
                  <c:v>164.37245974277624</c:v>
                </c:pt>
                <c:pt idx="2299">
                  <c:v>164.35291147076205</c:v>
                </c:pt>
                <c:pt idx="2300">
                  <c:v>163.88782549909075</c:v>
                </c:pt>
                <c:pt idx="2301">
                  <c:v>164.82206999910295</c:v>
                </c:pt>
                <c:pt idx="2302">
                  <c:v>165.44435665822184</c:v>
                </c:pt>
                <c:pt idx="2303">
                  <c:v>165.50218696293055</c:v>
                </c:pt>
                <c:pt idx="2304">
                  <c:v>166.01858714863911</c:v>
                </c:pt>
                <c:pt idx="2305">
                  <c:v>166.13424775805652</c:v>
                </c:pt>
                <c:pt idx="2306">
                  <c:v>166.0177726373052</c:v>
                </c:pt>
                <c:pt idx="2307">
                  <c:v>166.10573986136907</c:v>
                </c:pt>
                <c:pt idx="2308">
                  <c:v>166.14565091673143</c:v>
                </c:pt>
                <c:pt idx="2309">
                  <c:v>166.26782761682023</c:v>
                </c:pt>
                <c:pt idx="2310">
                  <c:v>167.12143549477386</c:v>
                </c:pt>
                <c:pt idx="2311">
                  <c:v>166.87056600392486</c:v>
                </c:pt>
                <c:pt idx="2312">
                  <c:v>167.19881407149674</c:v>
                </c:pt>
                <c:pt idx="2313">
                  <c:v>168.07441375546631</c:v>
                </c:pt>
                <c:pt idx="2314">
                  <c:v>168.55578995381606</c:v>
                </c:pt>
                <c:pt idx="2315">
                  <c:v>168.36193625634186</c:v>
                </c:pt>
                <c:pt idx="2316">
                  <c:v>168.83435283001845</c:v>
                </c:pt>
                <c:pt idx="2317">
                  <c:v>168.40510535703987</c:v>
                </c:pt>
                <c:pt idx="2318">
                  <c:v>167.25501535353749</c:v>
                </c:pt>
                <c:pt idx="2319">
                  <c:v>168.32283971231345</c:v>
                </c:pt>
                <c:pt idx="2320">
                  <c:v>168.95652953010725</c:v>
                </c:pt>
                <c:pt idx="2321">
                  <c:v>168.76023229863128</c:v>
                </c:pt>
                <c:pt idx="2322">
                  <c:v>169.04123870883546</c:v>
                </c:pt>
                <c:pt idx="2323">
                  <c:v>167.81458463994412</c:v>
                </c:pt>
                <c:pt idx="2324">
                  <c:v>167.77467358458182</c:v>
                </c:pt>
                <c:pt idx="2325">
                  <c:v>165.03139941192171</c:v>
                </c:pt>
                <c:pt idx="2326">
                  <c:v>165.77993532779897</c:v>
                </c:pt>
                <c:pt idx="2327">
                  <c:v>163.0920479258458</c:v>
                </c:pt>
                <c:pt idx="2328">
                  <c:v>162.0576185317608</c:v>
                </c:pt>
                <c:pt idx="2329">
                  <c:v>160.68190888876114</c:v>
                </c:pt>
                <c:pt idx="2330">
                  <c:v>163.95217189447084</c:v>
                </c:pt>
                <c:pt idx="2331">
                  <c:v>167.88951968266528</c:v>
                </c:pt>
                <c:pt idx="2332">
                  <c:v>168.65678935922278</c:v>
                </c:pt>
                <c:pt idx="2333">
                  <c:v>169.29943880168975</c:v>
                </c:pt>
                <c:pt idx="2334">
                  <c:v>169.59510641590464</c:v>
                </c:pt>
                <c:pt idx="2335">
                  <c:v>169.57148558722082</c:v>
                </c:pt>
                <c:pt idx="2336">
                  <c:v>170.13268389629528</c:v>
                </c:pt>
                <c:pt idx="2337">
                  <c:v>170.27929593640181</c:v>
                </c:pt>
                <c:pt idx="2338">
                  <c:v>169.44686535313022</c:v>
                </c:pt>
                <c:pt idx="2339">
                  <c:v>167.69973854186068</c:v>
                </c:pt>
                <c:pt idx="2340">
                  <c:v>167.64272274848588</c:v>
                </c:pt>
                <c:pt idx="2341">
                  <c:v>164.57853111025926</c:v>
                </c:pt>
                <c:pt idx="2342">
                  <c:v>163.11485424319565</c:v>
                </c:pt>
                <c:pt idx="2343">
                  <c:v>165.01185113990746</c:v>
                </c:pt>
                <c:pt idx="2344">
                  <c:v>167.96364021405239</c:v>
                </c:pt>
                <c:pt idx="2345">
                  <c:v>166.55209207236001</c:v>
                </c:pt>
                <c:pt idx="2346">
                  <c:v>165.2040758147138</c:v>
                </c:pt>
                <c:pt idx="2347">
                  <c:v>164.77808638707091</c:v>
                </c:pt>
                <c:pt idx="2348">
                  <c:v>163.82022105837487</c:v>
                </c:pt>
                <c:pt idx="2349">
                  <c:v>162.305229977274</c:v>
                </c:pt>
                <c:pt idx="2350">
                  <c:v>164.48404779552391</c:v>
                </c:pt>
                <c:pt idx="2351">
                  <c:v>164.73898984304248</c:v>
                </c:pt>
                <c:pt idx="2352">
                  <c:v>165.51847718960892</c:v>
                </c:pt>
                <c:pt idx="2353">
                  <c:v>168.04590585877884</c:v>
                </c:pt>
                <c:pt idx="2354">
                  <c:v>167.12306451744161</c:v>
                </c:pt>
                <c:pt idx="2355">
                  <c:v>167.55231199042015</c:v>
                </c:pt>
                <c:pt idx="2356">
                  <c:v>165.3091477767901</c:v>
                </c:pt>
                <c:pt idx="2357">
                  <c:v>163.07820123316898</c:v>
                </c:pt>
                <c:pt idx="2358">
                  <c:v>164.63310336963218</c:v>
                </c:pt>
                <c:pt idx="2359">
                  <c:v>162.49419660674459</c:v>
                </c:pt>
                <c:pt idx="2360">
                  <c:v>164.60052291627517</c:v>
                </c:pt>
                <c:pt idx="2361">
                  <c:v>166.97726698866896</c:v>
                </c:pt>
                <c:pt idx="2362">
                  <c:v>166.28330333216468</c:v>
                </c:pt>
                <c:pt idx="2363">
                  <c:v>167.99459164474152</c:v>
                </c:pt>
                <c:pt idx="2364">
                  <c:v>167.42036115432424</c:v>
                </c:pt>
                <c:pt idx="2365">
                  <c:v>166.70929275980757</c:v>
                </c:pt>
                <c:pt idx="2366">
                  <c:v>168.48900002443415</c:v>
                </c:pt>
                <c:pt idx="2367">
                  <c:v>168.48411295643061</c:v>
                </c:pt>
                <c:pt idx="2368">
                  <c:v>170.10906306761137</c:v>
                </c:pt>
                <c:pt idx="2369">
                  <c:v>170.80221221278174</c:v>
                </c:pt>
                <c:pt idx="2370">
                  <c:v>171.07507350964673</c:v>
                </c:pt>
                <c:pt idx="2371">
                  <c:v>171.02131576160764</c:v>
                </c:pt>
                <c:pt idx="2372">
                  <c:v>170.83967973414232</c:v>
                </c:pt>
                <c:pt idx="2373">
                  <c:v>171.88632679823621</c:v>
                </c:pt>
                <c:pt idx="2374">
                  <c:v>171.83419807286498</c:v>
                </c:pt>
                <c:pt idx="2375">
                  <c:v>172.30824366920947</c:v>
                </c:pt>
                <c:pt idx="2376">
                  <c:v>172.17629283311359</c:v>
                </c:pt>
                <c:pt idx="2377">
                  <c:v>171.92216529692891</c:v>
                </c:pt>
                <c:pt idx="2378">
                  <c:v>171.4139102245596</c:v>
                </c:pt>
                <c:pt idx="2379">
                  <c:v>172.46381533398917</c:v>
                </c:pt>
                <c:pt idx="2380">
                  <c:v>171.68106994208708</c:v>
                </c:pt>
                <c:pt idx="2381">
                  <c:v>170.92764695820628</c:v>
                </c:pt>
                <c:pt idx="2382">
                  <c:v>171.1320893030215</c:v>
                </c:pt>
                <c:pt idx="2383">
                  <c:v>168.70647455059225</c:v>
                </c:pt>
                <c:pt idx="2384">
                  <c:v>169.37193031040908</c:v>
                </c:pt>
                <c:pt idx="2385">
                  <c:v>166.49914883565492</c:v>
                </c:pt>
                <c:pt idx="2386">
                  <c:v>166.17986039275621</c:v>
                </c:pt>
                <c:pt idx="2387">
                  <c:v>168.2739690322779</c:v>
                </c:pt>
                <c:pt idx="2388">
                  <c:v>167.2517573082018</c:v>
                </c:pt>
                <c:pt idx="2389">
                  <c:v>169.51528430517993</c:v>
                </c:pt>
                <c:pt idx="2390">
                  <c:v>168.95245697343762</c:v>
                </c:pt>
                <c:pt idx="2391">
                  <c:v>171.00665455759699</c:v>
                </c:pt>
                <c:pt idx="2392">
                  <c:v>170.17340946299149</c:v>
                </c:pt>
                <c:pt idx="2393">
                  <c:v>171.70713430477264</c:v>
                </c:pt>
                <c:pt idx="2394">
                  <c:v>171.40739413388818</c:v>
                </c:pt>
                <c:pt idx="2395">
                  <c:v>170.3550454904568</c:v>
                </c:pt>
                <c:pt idx="2396">
                  <c:v>167.8748584786546</c:v>
                </c:pt>
                <c:pt idx="2397">
                  <c:v>167.47574792503124</c:v>
                </c:pt>
                <c:pt idx="2398">
                  <c:v>167.87241494465277</c:v>
                </c:pt>
                <c:pt idx="2399">
                  <c:v>169.92661252881211</c:v>
                </c:pt>
                <c:pt idx="2400">
                  <c:v>168.43198423105937</c:v>
                </c:pt>
                <c:pt idx="2401">
                  <c:v>167.76408493724071</c:v>
                </c:pt>
                <c:pt idx="2402">
                  <c:v>168.35623467700432</c:v>
                </c:pt>
                <c:pt idx="2403">
                  <c:v>169.46885715914615</c:v>
                </c:pt>
                <c:pt idx="2404">
                  <c:v>169.11943179689226</c:v>
                </c:pt>
                <c:pt idx="2405">
                  <c:v>169.57311460988859</c:v>
                </c:pt>
                <c:pt idx="2406">
                  <c:v>170.32898112777113</c:v>
                </c:pt>
                <c:pt idx="2407">
                  <c:v>171.21516945908175</c:v>
                </c:pt>
                <c:pt idx="2408">
                  <c:v>170.4307950445118</c:v>
                </c:pt>
                <c:pt idx="2409">
                  <c:v>170.70854340938033</c:v>
                </c:pt>
                <c:pt idx="2410">
                  <c:v>171.58740113868561</c:v>
                </c:pt>
                <c:pt idx="2411">
                  <c:v>171.45382127992187</c:v>
                </c:pt>
                <c:pt idx="2412">
                  <c:v>169.51446979384596</c:v>
                </c:pt>
                <c:pt idx="2413">
                  <c:v>171.07996057765024</c:v>
                </c:pt>
                <c:pt idx="2414">
                  <c:v>170.82664755279947</c:v>
                </c:pt>
                <c:pt idx="2415">
                  <c:v>171.69573114609767</c:v>
                </c:pt>
                <c:pt idx="2416">
                  <c:v>172.10054327905848</c:v>
                </c:pt>
                <c:pt idx="2417">
                  <c:v>172.48825067400691</c:v>
                </c:pt>
                <c:pt idx="2418">
                  <c:v>171.77392423415449</c:v>
                </c:pt>
                <c:pt idx="2419">
                  <c:v>172.24959885316682</c:v>
                </c:pt>
                <c:pt idx="2420">
                  <c:v>171.60532038803197</c:v>
                </c:pt>
                <c:pt idx="2421">
                  <c:v>169.8671532014356</c:v>
                </c:pt>
                <c:pt idx="2422">
                  <c:v>171.72261002011717</c:v>
                </c:pt>
                <c:pt idx="2423">
                  <c:v>172.2276070471508</c:v>
                </c:pt>
                <c:pt idx="2424">
                  <c:v>170.18888517833602</c:v>
                </c:pt>
                <c:pt idx="2425">
                  <c:v>169.43057512645166</c:v>
                </c:pt>
                <c:pt idx="2426">
                  <c:v>170.06996652358293</c:v>
                </c:pt>
                <c:pt idx="2427">
                  <c:v>172.35874337191274</c:v>
                </c:pt>
                <c:pt idx="2428">
                  <c:v>171.48151466527528</c:v>
                </c:pt>
                <c:pt idx="2429">
                  <c:v>170.97570312690775</c:v>
                </c:pt>
                <c:pt idx="2430">
                  <c:v>170.92357440153654</c:v>
                </c:pt>
                <c:pt idx="2431">
                  <c:v>172.76599903887532</c:v>
                </c:pt>
                <c:pt idx="2432">
                  <c:v>172.89876438630512</c:v>
                </c:pt>
                <c:pt idx="2433">
                  <c:v>173.42575321935476</c:v>
                </c:pt>
                <c:pt idx="2434">
                  <c:v>173.31416516660704</c:v>
                </c:pt>
                <c:pt idx="2435">
                  <c:v>173.15289192248986</c:v>
                </c:pt>
                <c:pt idx="2436">
                  <c:v>173.55770405545067</c:v>
                </c:pt>
                <c:pt idx="2437">
                  <c:v>173.16999666050225</c:v>
                </c:pt>
                <c:pt idx="2438">
                  <c:v>171.38947488454176</c:v>
                </c:pt>
                <c:pt idx="2439">
                  <c:v>172.95985273634955</c:v>
                </c:pt>
                <c:pt idx="2440">
                  <c:v>172.74074918752368</c:v>
                </c:pt>
                <c:pt idx="2441">
                  <c:v>171.64930400006389</c:v>
                </c:pt>
                <c:pt idx="2442">
                  <c:v>172.00280191898742</c:v>
                </c:pt>
                <c:pt idx="2443">
                  <c:v>171.82931100486132</c:v>
                </c:pt>
                <c:pt idx="2444">
                  <c:v>172.1933975711259</c:v>
                </c:pt>
                <c:pt idx="2445">
                  <c:v>170.70854340938024</c:v>
                </c:pt>
                <c:pt idx="2446">
                  <c:v>170.46337549786875</c:v>
                </c:pt>
                <c:pt idx="2447">
                  <c:v>169.35971264040012</c:v>
                </c:pt>
                <c:pt idx="2448">
                  <c:v>169.43057512645157</c:v>
                </c:pt>
                <c:pt idx="2449">
                  <c:v>171.4709260179342</c:v>
                </c:pt>
                <c:pt idx="2450">
                  <c:v>171.76903716615087</c:v>
                </c:pt>
                <c:pt idx="2451">
                  <c:v>170.56763294861116</c:v>
                </c:pt>
                <c:pt idx="2452">
                  <c:v>169.77918597737153</c:v>
                </c:pt>
                <c:pt idx="2453">
                  <c:v>170.74519641940685</c:v>
                </c:pt>
                <c:pt idx="2454">
                  <c:v>171.08321862298581</c:v>
                </c:pt>
                <c:pt idx="2455">
                  <c:v>172.7774021975502</c:v>
                </c:pt>
                <c:pt idx="2456">
                  <c:v>171.86107694688437</c:v>
                </c:pt>
                <c:pt idx="2457">
                  <c:v>172.9085385223122</c:v>
                </c:pt>
                <c:pt idx="2458">
                  <c:v>173.01849755239209</c:v>
                </c:pt>
                <c:pt idx="2459">
                  <c:v>171.74623084880096</c:v>
                </c:pt>
                <c:pt idx="2460">
                  <c:v>171.23553224242985</c:v>
                </c:pt>
                <c:pt idx="2461">
                  <c:v>171.168742313048</c:v>
                </c:pt>
                <c:pt idx="2462">
                  <c:v>167.59711011378599</c:v>
                </c:pt>
                <c:pt idx="2463">
                  <c:v>168.0426478134431</c:v>
                </c:pt>
                <c:pt idx="2464">
                  <c:v>169.20821353229007</c:v>
                </c:pt>
                <c:pt idx="2465">
                  <c:v>169.15608480691884</c:v>
                </c:pt>
                <c:pt idx="2466">
                  <c:v>168.50284671711083</c:v>
                </c:pt>
                <c:pt idx="2467">
                  <c:v>169.52750197518873</c:v>
                </c:pt>
                <c:pt idx="2468">
                  <c:v>166.70440569180397</c:v>
                </c:pt>
                <c:pt idx="2469">
                  <c:v>167.08152443941134</c:v>
                </c:pt>
                <c:pt idx="2470">
                  <c:v>169.14305262557605</c:v>
                </c:pt>
                <c:pt idx="2471">
                  <c:v>171.01479967093616</c:v>
                </c:pt>
                <c:pt idx="2472">
                  <c:v>171.77636776815623</c:v>
                </c:pt>
                <c:pt idx="2473">
                  <c:v>171.65011851139786</c:v>
                </c:pt>
                <c:pt idx="2474">
                  <c:v>173.02582815439752</c:v>
                </c:pt>
                <c:pt idx="2475">
                  <c:v>173.21723831786994</c:v>
                </c:pt>
                <c:pt idx="2476">
                  <c:v>173.35081817663371</c:v>
                </c:pt>
                <c:pt idx="2477">
                  <c:v>172.61205639676356</c:v>
                </c:pt>
                <c:pt idx="2478">
                  <c:v>172.19991366179741</c:v>
                </c:pt>
                <c:pt idx="2479">
                  <c:v>171.22250006108715</c:v>
                </c:pt>
                <c:pt idx="2480">
                  <c:v>169.38984955975542</c:v>
                </c:pt>
                <c:pt idx="2481">
                  <c:v>168.41162144771121</c:v>
                </c:pt>
                <c:pt idx="2482">
                  <c:v>170.49758497389365</c:v>
                </c:pt>
                <c:pt idx="2483">
                  <c:v>171.74541633746708</c:v>
                </c:pt>
                <c:pt idx="2484">
                  <c:v>171.75030340547062</c:v>
                </c:pt>
                <c:pt idx="2485">
                  <c:v>171.36015247652045</c:v>
                </c:pt>
                <c:pt idx="2486">
                  <c:v>170.88773590284384</c:v>
                </c:pt>
                <c:pt idx="2487">
                  <c:v>170.50328655323116</c:v>
                </c:pt>
                <c:pt idx="2488">
                  <c:v>171.0343479429504</c:v>
                </c:pt>
                <c:pt idx="2489">
                  <c:v>169.70832349132016</c:v>
                </c:pt>
                <c:pt idx="2490">
                  <c:v>169.22043120229898</c:v>
                </c:pt>
                <c:pt idx="2491">
                  <c:v>171.38784586187393</c:v>
                </c:pt>
                <c:pt idx="2492">
                  <c:v>169.74986356935037</c:v>
                </c:pt>
                <c:pt idx="2493">
                  <c:v>169.91113681346755</c:v>
                </c:pt>
                <c:pt idx="2494">
                  <c:v>169.69447679864342</c:v>
                </c:pt>
                <c:pt idx="2495">
                  <c:v>170.35830353579246</c:v>
                </c:pt>
                <c:pt idx="2496">
                  <c:v>171.24612088977096</c:v>
                </c:pt>
                <c:pt idx="2497">
                  <c:v>170.79651063344423</c:v>
                </c:pt>
                <c:pt idx="2498">
                  <c:v>169.38659151441968</c:v>
                </c:pt>
                <c:pt idx="2499">
                  <c:v>165.81251578115584</c:v>
                </c:pt>
                <c:pt idx="2500">
                  <c:v>160.53122429198484</c:v>
                </c:pt>
                <c:pt idx="2501">
                  <c:v>154.20410025005384</c:v>
                </c:pt>
                <c:pt idx="2502">
                  <c:v>152.11895123520532</c:v>
                </c:pt>
                <c:pt idx="2503">
                  <c:v>158.05673885952007</c:v>
                </c:pt>
                <c:pt idx="2504">
                  <c:v>161.89715979897741</c:v>
                </c:pt>
                <c:pt idx="2505">
                  <c:v>161.99571567038234</c:v>
                </c:pt>
                <c:pt idx="2506">
                  <c:v>160.63629625406119</c:v>
                </c:pt>
                <c:pt idx="2507">
                  <c:v>155.88525164327544</c:v>
                </c:pt>
                <c:pt idx="2508">
                  <c:v>158.73685582334758</c:v>
                </c:pt>
                <c:pt idx="2509">
                  <c:v>158.92174989614864</c:v>
                </c:pt>
                <c:pt idx="2510">
                  <c:v>156.48554649637836</c:v>
                </c:pt>
                <c:pt idx="2511">
                  <c:v>160.41067661456393</c:v>
                </c:pt>
                <c:pt idx="2512">
                  <c:v>158.18135909361064</c:v>
                </c:pt>
                <c:pt idx="2513">
                  <c:v>159.016233210884</c:v>
                </c:pt>
                <c:pt idx="2514">
                  <c:v>159.7297451394025</c:v>
                </c:pt>
                <c:pt idx="2515">
                  <c:v>159.07650704959448</c:v>
                </c:pt>
                <c:pt idx="2516">
                  <c:v>161.11767245241103</c:v>
                </c:pt>
                <c:pt idx="2517">
                  <c:v>162.52026096943021</c:v>
                </c:pt>
                <c:pt idx="2518">
                  <c:v>162.10404567779443</c:v>
                </c:pt>
                <c:pt idx="2519">
                  <c:v>159.48376271655704</c:v>
                </c:pt>
                <c:pt idx="2520">
                  <c:v>160.21193584908619</c:v>
                </c:pt>
                <c:pt idx="2521">
                  <c:v>158.23837488698541</c:v>
                </c:pt>
                <c:pt idx="2522">
                  <c:v>157.91419937608316</c:v>
                </c:pt>
                <c:pt idx="2523">
                  <c:v>157.38313798636392</c:v>
                </c:pt>
                <c:pt idx="2524">
                  <c:v>157.30983196631064</c:v>
                </c:pt>
                <c:pt idx="2525">
                  <c:v>153.27229928404338</c:v>
                </c:pt>
                <c:pt idx="2526">
                  <c:v>153.46126591351401</c:v>
                </c:pt>
                <c:pt idx="2527">
                  <c:v>156.38861964764118</c:v>
                </c:pt>
                <c:pt idx="2528">
                  <c:v>156.69731944319881</c:v>
                </c:pt>
                <c:pt idx="2529">
                  <c:v>158.94048365682883</c:v>
                </c:pt>
                <c:pt idx="2530">
                  <c:v>161.84747460760792</c:v>
                </c:pt>
                <c:pt idx="2531">
                  <c:v>161.26672802651925</c:v>
                </c:pt>
                <c:pt idx="2532">
                  <c:v>162.56261555879425</c:v>
                </c:pt>
                <c:pt idx="2533">
                  <c:v>163.99615550650262</c:v>
                </c:pt>
                <c:pt idx="2534">
                  <c:v>164.11507416125571</c:v>
                </c:pt>
                <c:pt idx="2535">
                  <c:v>164.32440357407447</c:v>
                </c:pt>
                <c:pt idx="2536">
                  <c:v>163.20282146725947</c:v>
                </c:pt>
                <c:pt idx="2537">
                  <c:v>162.43310825670017</c:v>
                </c:pt>
                <c:pt idx="2538">
                  <c:v>164.8456908277866</c:v>
                </c:pt>
                <c:pt idx="2539">
                  <c:v>165.59911381166739</c:v>
                </c:pt>
                <c:pt idx="2540">
                  <c:v>165.64391193503329</c:v>
                </c:pt>
                <c:pt idx="2541">
                  <c:v>165.40851815952888</c:v>
                </c:pt>
                <c:pt idx="2542">
                  <c:v>164.44495125149535</c:v>
                </c:pt>
                <c:pt idx="2543">
                  <c:v>167.17926579948227</c:v>
                </c:pt>
                <c:pt idx="2544">
                  <c:v>169.0233194594889</c:v>
                </c:pt>
                <c:pt idx="2545">
                  <c:v>168.69995845992057</c:v>
                </c:pt>
                <c:pt idx="2546">
                  <c:v>168.26908196427414</c:v>
                </c:pt>
                <c:pt idx="2547">
                  <c:v>170.26137668705522</c:v>
                </c:pt>
                <c:pt idx="2548">
                  <c:v>170.18481262166623</c:v>
                </c:pt>
                <c:pt idx="2549">
                  <c:v>169.3662287310714</c:v>
                </c:pt>
                <c:pt idx="2550">
                  <c:v>171.37725721453273</c:v>
                </c:pt>
                <c:pt idx="2551">
                  <c:v>171.8447867202058</c:v>
                </c:pt>
                <c:pt idx="2552">
                  <c:v>171.23553224242974</c:v>
                </c:pt>
                <c:pt idx="2553">
                  <c:v>171.04167854495554</c:v>
                </c:pt>
                <c:pt idx="2554">
                  <c:v>170.982219217579</c:v>
                </c:pt>
                <c:pt idx="2555">
                  <c:v>169.30269684702523</c:v>
                </c:pt>
                <c:pt idx="2556">
                  <c:v>169.55845340587771</c:v>
                </c:pt>
                <c:pt idx="2557">
                  <c:v>169.01110178947999</c:v>
                </c:pt>
                <c:pt idx="2558">
                  <c:v>166.64657538709511</c:v>
                </c:pt>
                <c:pt idx="2559">
                  <c:v>164.77890089840463</c:v>
                </c:pt>
                <c:pt idx="2560">
                  <c:v>167.23465257018913</c:v>
                </c:pt>
                <c:pt idx="2561">
                  <c:v>167.01066195335969</c:v>
                </c:pt>
                <c:pt idx="2562">
                  <c:v>169.70995251398782</c:v>
                </c:pt>
                <c:pt idx="2563">
                  <c:v>169.5193568618493</c:v>
                </c:pt>
                <c:pt idx="2564">
                  <c:v>170.16526434965198</c:v>
                </c:pt>
                <c:pt idx="2565">
                  <c:v>169.95512042549927</c:v>
                </c:pt>
                <c:pt idx="2566">
                  <c:v>170.16282081565021</c:v>
                </c:pt>
                <c:pt idx="2567">
                  <c:v>170.14082900963422</c:v>
                </c:pt>
                <c:pt idx="2568">
                  <c:v>170.24182841504097</c:v>
                </c:pt>
                <c:pt idx="2569">
                  <c:v>169.45175242113348</c:v>
                </c:pt>
                <c:pt idx="2570">
                  <c:v>171.2615966051153</c:v>
                </c:pt>
                <c:pt idx="2571">
                  <c:v>169.37844640108023</c:v>
                </c:pt>
                <c:pt idx="2572">
                  <c:v>166.94387202397775</c:v>
                </c:pt>
                <c:pt idx="2573">
                  <c:v>170.37052120580111</c:v>
                </c:pt>
                <c:pt idx="2574">
                  <c:v>169.17970563560246</c:v>
                </c:pt>
                <c:pt idx="2575">
                  <c:v>168.08174435747128</c:v>
                </c:pt>
                <c:pt idx="2576">
                  <c:v>166.78096975719271</c:v>
                </c:pt>
                <c:pt idx="2577">
                  <c:v>167.15645948213228</c:v>
                </c:pt>
                <c:pt idx="2578">
                  <c:v>163.90981730510643</c:v>
                </c:pt>
                <c:pt idx="2579">
                  <c:v>164.68930465167287</c:v>
                </c:pt>
                <c:pt idx="2580">
                  <c:v>166.43806048561032</c:v>
                </c:pt>
                <c:pt idx="2581">
                  <c:v>168.85390110203247</c:v>
                </c:pt>
                <c:pt idx="2582">
                  <c:v>166.31425476285366</c:v>
                </c:pt>
                <c:pt idx="2583">
                  <c:v>163.35432057536946</c:v>
                </c:pt>
                <c:pt idx="2584">
                  <c:v>164.62495825629281</c:v>
                </c:pt>
                <c:pt idx="2585">
                  <c:v>166.07641745334755</c:v>
                </c:pt>
                <c:pt idx="2586">
                  <c:v>168.13876015084617</c:v>
                </c:pt>
                <c:pt idx="2587">
                  <c:v>167.86997141065086</c:v>
                </c:pt>
                <c:pt idx="2588">
                  <c:v>167.50425582171846</c:v>
                </c:pt>
                <c:pt idx="2589">
                  <c:v>169.28477759767895</c:v>
                </c:pt>
                <c:pt idx="2590">
                  <c:v>168.06301059679112</c:v>
                </c:pt>
                <c:pt idx="2591">
                  <c:v>166.48122958630836</c:v>
                </c:pt>
                <c:pt idx="2592">
                  <c:v>163.93343813379033</c:v>
                </c:pt>
                <c:pt idx="2593">
                  <c:v>164.26331522403004</c:v>
                </c:pt>
                <c:pt idx="2594">
                  <c:v>162.10893274579789</c:v>
                </c:pt>
                <c:pt idx="2595">
                  <c:v>158.26688278367268</c:v>
                </c:pt>
                <c:pt idx="2596">
                  <c:v>156.55152191442619</c:v>
                </c:pt>
                <c:pt idx="2597">
                  <c:v>156.68510177318993</c:v>
                </c:pt>
                <c:pt idx="2598">
                  <c:v>157.90768328541168</c:v>
                </c:pt>
                <c:pt idx="2599">
                  <c:v>153.96544842921367</c:v>
                </c:pt>
                <c:pt idx="2600">
                  <c:v>156.5360461990816</c:v>
                </c:pt>
                <c:pt idx="2601">
                  <c:v>153.15500965195807</c:v>
                </c:pt>
                <c:pt idx="2602">
                  <c:v>153.2364607853506</c:v>
                </c:pt>
                <c:pt idx="2603">
                  <c:v>151.44453585071517</c:v>
                </c:pt>
                <c:pt idx="2604">
                  <c:v>152.23135379928695</c:v>
                </c:pt>
                <c:pt idx="2605">
                  <c:v>155.31916626619741</c:v>
                </c:pt>
                <c:pt idx="2606">
                  <c:v>152.89029346843247</c:v>
                </c:pt>
                <c:pt idx="2607">
                  <c:v>155.05282106000391</c:v>
                </c:pt>
                <c:pt idx="2608">
                  <c:v>153.3684116214466</c:v>
                </c:pt>
                <c:pt idx="2609">
                  <c:v>154.21631792006275</c:v>
                </c:pt>
                <c:pt idx="2610">
                  <c:v>158.03474705350413</c:v>
                </c:pt>
                <c:pt idx="2611">
                  <c:v>157.96469907878659</c:v>
                </c:pt>
                <c:pt idx="2612">
                  <c:v>155.00395037996847</c:v>
                </c:pt>
                <c:pt idx="2613">
                  <c:v>155.77773614719743</c:v>
                </c:pt>
                <c:pt idx="2614">
                  <c:v>156.01557345670358</c:v>
                </c:pt>
                <c:pt idx="2615">
                  <c:v>153.13220333460833</c:v>
                </c:pt>
                <c:pt idx="2616">
                  <c:v>150.96478867503336</c:v>
                </c:pt>
                <c:pt idx="2617">
                  <c:v>150.86460378096055</c:v>
                </c:pt>
                <c:pt idx="2618">
                  <c:v>150.83609588427313</c:v>
                </c:pt>
                <c:pt idx="2619">
                  <c:v>148.9806390655915</c:v>
                </c:pt>
                <c:pt idx="2620">
                  <c:v>151.88844452770451</c:v>
                </c:pt>
                <c:pt idx="2621">
                  <c:v>154.39713943619412</c:v>
                </c:pt>
                <c:pt idx="2622">
                  <c:v>156.94167284337644</c:v>
                </c:pt>
                <c:pt idx="2623">
                  <c:v>156.20942715417769</c:v>
                </c:pt>
                <c:pt idx="2624">
                  <c:v>156.20535459750806</c:v>
                </c:pt>
                <c:pt idx="2625">
                  <c:v>158.46318001514871</c:v>
                </c:pt>
                <c:pt idx="2626">
                  <c:v>156.48961905304793</c:v>
                </c:pt>
              </c:numCache>
            </c:numRef>
          </c:val>
          <c:smooth val="0"/>
          <c:extLst xmlns:c16r2="http://schemas.microsoft.com/office/drawing/2015/06/chart">
            <c:ext xmlns:c16="http://schemas.microsoft.com/office/drawing/2014/chart" uri="{C3380CC4-5D6E-409C-BE32-E72D297353CC}">
              <c16:uniqueId val="{00000001-668D-4C79-B93F-5720935D3C33}"/>
            </c:ext>
          </c:extLst>
        </c:ser>
        <c:ser>
          <c:idx val="3"/>
          <c:order val="2"/>
          <c:tx>
            <c:strRef>
              <c:f>'6M'!$R$30</c:f>
              <c:strCache>
                <c:ptCount val="1"/>
                <c:pt idx="0">
                  <c:v>MR 0-0.1</c:v>
                </c:pt>
              </c:strCache>
            </c:strRef>
          </c:tx>
          <c:spPr>
            <a:ln>
              <a:solidFill>
                <a:srgbClr val="FF0000"/>
              </a:solidFill>
            </a:ln>
          </c:spPr>
          <c:marker>
            <c:symbol val="none"/>
          </c:marker>
          <c:cat>
            <c:numRef>
              <c:f>'6M'!$N$137:$N$2763</c:f>
              <c:numCache>
                <c:formatCode>m/d/yyyy</c:formatCode>
                <c:ptCount val="2627"/>
                <c:pt idx="0">
                  <c:v>38610</c:v>
                </c:pt>
                <c:pt idx="1">
                  <c:v>38611</c:v>
                </c:pt>
                <c:pt idx="2">
                  <c:v>38614</c:v>
                </c:pt>
                <c:pt idx="3">
                  <c:v>38615</c:v>
                </c:pt>
                <c:pt idx="4">
                  <c:v>38616</c:v>
                </c:pt>
                <c:pt idx="5">
                  <c:v>38617</c:v>
                </c:pt>
                <c:pt idx="6">
                  <c:v>38618</c:v>
                </c:pt>
                <c:pt idx="7">
                  <c:v>38621</c:v>
                </c:pt>
                <c:pt idx="8">
                  <c:v>38622</c:v>
                </c:pt>
                <c:pt idx="9">
                  <c:v>38623</c:v>
                </c:pt>
                <c:pt idx="10">
                  <c:v>38624</c:v>
                </c:pt>
                <c:pt idx="11">
                  <c:v>38625</c:v>
                </c:pt>
                <c:pt idx="12">
                  <c:v>38628</c:v>
                </c:pt>
                <c:pt idx="13">
                  <c:v>38629</c:v>
                </c:pt>
                <c:pt idx="14">
                  <c:v>38630</c:v>
                </c:pt>
                <c:pt idx="15">
                  <c:v>38631</c:v>
                </c:pt>
                <c:pt idx="16">
                  <c:v>38632</c:v>
                </c:pt>
                <c:pt idx="17">
                  <c:v>38635</c:v>
                </c:pt>
                <c:pt idx="18">
                  <c:v>38636</c:v>
                </c:pt>
                <c:pt idx="19">
                  <c:v>38637</c:v>
                </c:pt>
                <c:pt idx="20">
                  <c:v>38638</c:v>
                </c:pt>
                <c:pt idx="21">
                  <c:v>38639</c:v>
                </c:pt>
                <c:pt idx="22">
                  <c:v>38642</c:v>
                </c:pt>
                <c:pt idx="23">
                  <c:v>38643</c:v>
                </c:pt>
                <c:pt idx="24">
                  <c:v>38644</c:v>
                </c:pt>
                <c:pt idx="25">
                  <c:v>38645</c:v>
                </c:pt>
                <c:pt idx="26">
                  <c:v>38646</c:v>
                </c:pt>
                <c:pt idx="27">
                  <c:v>38649</c:v>
                </c:pt>
                <c:pt idx="28">
                  <c:v>38650</c:v>
                </c:pt>
                <c:pt idx="29">
                  <c:v>38651</c:v>
                </c:pt>
                <c:pt idx="30">
                  <c:v>38652</c:v>
                </c:pt>
                <c:pt idx="31">
                  <c:v>38653</c:v>
                </c:pt>
                <c:pt idx="32">
                  <c:v>38656</c:v>
                </c:pt>
                <c:pt idx="33">
                  <c:v>38657</c:v>
                </c:pt>
                <c:pt idx="34">
                  <c:v>38658</c:v>
                </c:pt>
                <c:pt idx="35">
                  <c:v>38659</c:v>
                </c:pt>
                <c:pt idx="36">
                  <c:v>38660</c:v>
                </c:pt>
                <c:pt idx="37">
                  <c:v>38663</c:v>
                </c:pt>
                <c:pt idx="38">
                  <c:v>38664</c:v>
                </c:pt>
                <c:pt idx="39">
                  <c:v>38665</c:v>
                </c:pt>
                <c:pt idx="40">
                  <c:v>38666</c:v>
                </c:pt>
                <c:pt idx="41">
                  <c:v>38667</c:v>
                </c:pt>
                <c:pt idx="42">
                  <c:v>38670</c:v>
                </c:pt>
                <c:pt idx="43">
                  <c:v>38671</c:v>
                </c:pt>
                <c:pt idx="44">
                  <c:v>38672</c:v>
                </c:pt>
                <c:pt idx="45">
                  <c:v>38673</c:v>
                </c:pt>
                <c:pt idx="46">
                  <c:v>38674</c:v>
                </c:pt>
                <c:pt idx="47">
                  <c:v>38677</c:v>
                </c:pt>
                <c:pt idx="48">
                  <c:v>38678</c:v>
                </c:pt>
                <c:pt idx="49">
                  <c:v>38679</c:v>
                </c:pt>
                <c:pt idx="50">
                  <c:v>38681</c:v>
                </c:pt>
                <c:pt idx="51">
                  <c:v>38684</c:v>
                </c:pt>
                <c:pt idx="52">
                  <c:v>38685</c:v>
                </c:pt>
                <c:pt idx="53">
                  <c:v>38686</c:v>
                </c:pt>
                <c:pt idx="54">
                  <c:v>38687</c:v>
                </c:pt>
                <c:pt idx="55">
                  <c:v>38688</c:v>
                </c:pt>
                <c:pt idx="56">
                  <c:v>38691</c:v>
                </c:pt>
                <c:pt idx="57">
                  <c:v>38692</c:v>
                </c:pt>
                <c:pt idx="58">
                  <c:v>38693</c:v>
                </c:pt>
                <c:pt idx="59">
                  <c:v>38694</c:v>
                </c:pt>
                <c:pt idx="60">
                  <c:v>38695</c:v>
                </c:pt>
                <c:pt idx="61">
                  <c:v>38698</c:v>
                </c:pt>
                <c:pt idx="62">
                  <c:v>38699</c:v>
                </c:pt>
                <c:pt idx="63">
                  <c:v>38700</c:v>
                </c:pt>
                <c:pt idx="64">
                  <c:v>38701</c:v>
                </c:pt>
                <c:pt idx="65">
                  <c:v>38702</c:v>
                </c:pt>
                <c:pt idx="66">
                  <c:v>38705</c:v>
                </c:pt>
                <c:pt idx="67">
                  <c:v>38706</c:v>
                </c:pt>
                <c:pt idx="68">
                  <c:v>38707</c:v>
                </c:pt>
                <c:pt idx="69">
                  <c:v>38708</c:v>
                </c:pt>
                <c:pt idx="70">
                  <c:v>38709</c:v>
                </c:pt>
                <c:pt idx="71">
                  <c:v>38713</c:v>
                </c:pt>
                <c:pt idx="72">
                  <c:v>38714</c:v>
                </c:pt>
                <c:pt idx="73">
                  <c:v>38715</c:v>
                </c:pt>
                <c:pt idx="74">
                  <c:v>38716</c:v>
                </c:pt>
                <c:pt idx="75">
                  <c:v>38720</c:v>
                </c:pt>
                <c:pt idx="76">
                  <c:v>38721</c:v>
                </c:pt>
                <c:pt idx="77">
                  <c:v>38722</c:v>
                </c:pt>
                <c:pt idx="78">
                  <c:v>38723</c:v>
                </c:pt>
                <c:pt idx="79">
                  <c:v>38726</c:v>
                </c:pt>
                <c:pt idx="80">
                  <c:v>38727</c:v>
                </c:pt>
                <c:pt idx="81">
                  <c:v>38728</c:v>
                </c:pt>
                <c:pt idx="82">
                  <c:v>38729</c:v>
                </c:pt>
                <c:pt idx="83">
                  <c:v>38730</c:v>
                </c:pt>
                <c:pt idx="84">
                  <c:v>38734</c:v>
                </c:pt>
                <c:pt idx="85">
                  <c:v>38735</c:v>
                </c:pt>
                <c:pt idx="86">
                  <c:v>38736</c:v>
                </c:pt>
                <c:pt idx="87">
                  <c:v>38737</c:v>
                </c:pt>
                <c:pt idx="88">
                  <c:v>38740</c:v>
                </c:pt>
                <c:pt idx="89">
                  <c:v>38741</c:v>
                </c:pt>
                <c:pt idx="90">
                  <c:v>38742</c:v>
                </c:pt>
                <c:pt idx="91">
                  <c:v>38743</c:v>
                </c:pt>
                <c:pt idx="92">
                  <c:v>38744</c:v>
                </c:pt>
                <c:pt idx="93">
                  <c:v>38747</c:v>
                </c:pt>
                <c:pt idx="94">
                  <c:v>38748</c:v>
                </c:pt>
                <c:pt idx="95">
                  <c:v>38749</c:v>
                </c:pt>
                <c:pt idx="96">
                  <c:v>38750</c:v>
                </c:pt>
                <c:pt idx="97">
                  <c:v>38751</c:v>
                </c:pt>
                <c:pt idx="98">
                  <c:v>38754</c:v>
                </c:pt>
                <c:pt idx="99">
                  <c:v>38755</c:v>
                </c:pt>
                <c:pt idx="100">
                  <c:v>38756</c:v>
                </c:pt>
                <c:pt idx="101">
                  <c:v>38757</c:v>
                </c:pt>
                <c:pt idx="102">
                  <c:v>38758</c:v>
                </c:pt>
                <c:pt idx="103">
                  <c:v>38761</c:v>
                </c:pt>
                <c:pt idx="104">
                  <c:v>38762</c:v>
                </c:pt>
                <c:pt idx="105">
                  <c:v>38763</c:v>
                </c:pt>
                <c:pt idx="106">
                  <c:v>38764</c:v>
                </c:pt>
                <c:pt idx="107">
                  <c:v>38765</c:v>
                </c:pt>
                <c:pt idx="108">
                  <c:v>38769</c:v>
                </c:pt>
                <c:pt idx="109">
                  <c:v>38770</c:v>
                </c:pt>
                <c:pt idx="110">
                  <c:v>38771</c:v>
                </c:pt>
                <c:pt idx="111">
                  <c:v>38772</c:v>
                </c:pt>
                <c:pt idx="112">
                  <c:v>38775</c:v>
                </c:pt>
                <c:pt idx="113">
                  <c:v>38776</c:v>
                </c:pt>
                <c:pt idx="114">
                  <c:v>38777</c:v>
                </c:pt>
                <c:pt idx="115">
                  <c:v>38778</c:v>
                </c:pt>
                <c:pt idx="116">
                  <c:v>38779</c:v>
                </c:pt>
                <c:pt idx="117">
                  <c:v>38782</c:v>
                </c:pt>
                <c:pt idx="118">
                  <c:v>38783</c:v>
                </c:pt>
                <c:pt idx="119">
                  <c:v>38784</c:v>
                </c:pt>
                <c:pt idx="120">
                  <c:v>38785</c:v>
                </c:pt>
                <c:pt idx="121">
                  <c:v>38786</c:v>
                </c:pt>
                <c:pt idx="122">
                  <c:v>38789</c:v>
                </c:pt>
                <c:pt idx="123">
                  <c:v>38790</c:v>
                </c:pt>
                <c:pt idx="124">
                  <c:v>38791</c:v>
                </c:pt>
                <c:pt idx="125">
                  <c:v>38792</c:v>
                </c:pt>
                <c:pt idx="126">
                  <c:v>38793</c:v>
                </c:pt>
                <c:pt idx="127">
                  <c:v>38796</c:v>
                </c:pt>
                <c:pt idx="128">
                  <c:v>38797</c:v>
                </c:pt>
                <c:pt idx="129">
                  <c:v>38798</c:v>
                </c:pt>
                <c:pt idx="130">
                  <c:v>38799</c:v>
                </c:pt>
                <c:pt idx="131">
                  <c:v>38800</c:v>
                </c:pt>
                <c:pt idx="132">
                  <c:v>38803</c:v>
                </c:pt>
                <c:pt idx="133">
                  <c:v>38804</c:v>
                </c:pt>
                <c:pt idx="134">
                  <c:v>38805</c:v>
                </c:pt>
                <c:pt idx="135">
                  <c:v>38806</c:v>
                </c:pt>
                <c:pt idx="136">
                  <c:v>38807</c:v>
                </c:pt>
                <c:pt idx="137">
                  <c:v>38810</c:v>
                </c:pt>
                <c:pt idx="138">
                  <c:v>38811</c:v>
                </c:pt>
                <c:pt idx="139">
                  <c:v>38812</c:v>
                </c:pt>
                <c:pt idx="140">
                  <c:v>38813</c:v>
                </c:pt>
                <c:pt idx="141">
                  <c:v>38814</c:v>
                </c:pt>
                <c:pt idx="142">
                  <c:v>38817</c:v>
                </c:pt>
                <c:pt idx="143">
                  <c:v>38818</c:v>
                </c:pt>
                <c:pt idx="144">
                  <c:v>38819</c:v>
                </c:pt>
                <c:pt idx="145">
                  <c:v>38820</c:v>
                </c:pt>
                <c:pt idx="146">
                  <c:v>38824</c:v>
                </c:pt>
                <c:pt idx="147">
                  <c:v>38825</c:v>
                </c:pt>
                <c:pt idx="148">
                  <c:v>38826</c:v>
                </c:pt>
                <c:pt idx="149">
                  <c:v>38827</c:v>
                </c:pt>
                <c:pt idx="150">
                  <c:v>38828</c:v>
                </c:pt>
                <c:pt idx="151">
                  <c:v>38831</c:v>
                </c:pt>
                <c:pt idx="152">
                  <c:v>38832</c:v>
                </c:pt>
                <c:pt idx="153">
                  <c:v>38833</c:v>
                </c:pt>
                <c:pt idx="154">
                  <c:v>38834</c:v>
                </c:pt>
                <c:pt idx="155">
                  <c:v>38835</c:v>
                </c:pt>
                <c:pt idx="156">
                  <c:v>38838</c:v>
                </c:pt>
                <c:pt idx="157">
                  <c:v>38839</c:v>
                </c:pt>
                <c:pt idx="158">
                  <c:v>38840</c:v>
                </c:pt>
                <c:pt idx="159">
                  <c:v>38841</c:v>
                </c:pt>
                <c:pt idx="160">
                  <c:v>38842</c:v>
                </c:pt>
                <c:pt idx="161">
                  <c:v>38845</c:v>
                </c:pt>
                <c:pt idx="162">
                  <c:v>38846</c:v>
                </c:pt>
                <c:pt idx="163">
                  <c:v>38847</c:v>
                </c:pt>
                <c:pt idx="164">
                  <c:v>38848</c:v>
                </c:pt>
                <c:pt idx="165">
                  <c:v>38849</c:v>
                </c:pt>
                <c:pt idx="166">
                  <c:v>38852</c:v>
                </c:pt>
                <c:pt idx="167">
                  <c:v>38853</c:v>
                </c:pt>
                <c:pt idx="168">
                  <c:v>38854</c:v>
                </c:pt>
                <c:pt idx="169">
                  <c:v>38855</c:v>
                </c:pt>
                <c:pt idx="170">
                  <c:v>38856</c:v>
                </c:pt>
                <c:pt idx="171">
                  <c:v>38859</c:v>
                </c:pt>
                <c:pt idx="172">
                  <c:v>38860</c:v>
                </c:pt>
                <c:pt idx="173">
                  <c:v>38861</c:v>
                </c:pt>
                <c:pt idx="174">
                  <c:v>38862</c:v>
                </c:pt>
                <c:pt idx="175">
                  <c:v>38863</c:v>
                </c:pt>
                <c:pt idx="176">
                  <c:v>38867</c:v>
                </c:pt>
                <c:pt idx="177">
                  <c:v>38868</c:v>
                </c:pt>
                <c:pt idx="178">
                  <c:v>38869</c:v>
                </c:pt>
                <c:pt idx="179">
                  <c:v>38870</c:v>
                </c:pt>
                <c:pt idx="180">
                  <c:v>38873</c:v>
                </c:pt>
                <c:pt idx="181">
                  <c:v>38874</c:v>
                </c:pt>
                <c:pt idx="182">
                  <c:v>38875</c:v>
                </c:pt>
                <c:pt idx="183">
                  <c:v>38876</c:v>
                </c:pt>
                <c:pt idx="184">
                  <c:v>38877</c:v>
                </c:pt>
                <c:pt idx="185">
                  <c:v>38880</c:v>
                </c:pt>
                <c:pt idx="186">
                  <c:v>38881</c:v>
                </c:pt>
                <c:pt idx="187">
                  <c:v>38882</c:v>
                </c:pt>
                <c:pt idx="188">
                  <c:v>38883</c:v>
                </c:pt>
                <c:pt idx="189">
                  <c:v>38884</c:v>
                </c:pt>
                <c:pt idx="190">
                  <c:v>38887</c:v>
                </c:pt>
                <c:pt idx="191">
                  <c:v>38888</c:v>
                </c:pt>
                <c:pt idx="192">
                  <c:v>38889</c:v>
                </c:pt>
                <c:pt idx="193">
                  <c:v>38890</c:v>
                </c:pt>
                <c:pt idx="194">
                  <c:v>38891</c:v>
                </c:pt>
                <c:pt idx="195">
                  <c:v>38894</c:v>
                </c:pt>
                <c:pt idx="196">
                  <c:v>38895</c:v>
                </c:pt>
                <c:pt idx="197">
                  <c:v>38896</c:v>
                </c:pt>
                <c:pt idx="198">
                  <c:v>38897</c:v>
                </c:pt>
                <c:pt idx="199">
                  <c:v>38898</c:v>
                </c:pt>
                <c:pt idx="200">
                  <c:v>38901</c:v>
                </c:pt>
                <c:pt idx="201">
                  <c:v>38903</c:v>
                </c:pt>
                <c:pt idx="202">
                  <c:v>38904</c:v>
                </c:pt>
                <c:pt idx="203">
                  <c:v>38905</c:v>
                </c:pt>
                <c:pt idx="204">
                  <c:v>38908</c:v>
                </c:pt>
                <c:pt idx="205">
                  <c:v>38909</c:v>
                </c:pt>
                <c:pt idx="206">
                  <c:v>38910</c:v>
                </c:pt>
                <c:pt idx="207">
                  <c:v>38911</c:v>
                </c:pt>
                <c:pt idx="208">
                  <c:v>38912</c:v>
                </c:pt>
                <c:pt idx="209">
                  <c:v>38915</c:v>
                </c:pt>
                <c:pt idx="210">
                  <c:v>38916</c:v>
                </c:pt>
                <c:pt idx="211">
                  <c:v>38917</c:v>
                </c:pt>
                <c:pt idx="212">
                  <c:v>38918</c:v>
                </c:pt>
                <c:pt idx="213">
                  <c:v>38919</c:v>
                </c:pt>
                <c:pt idx="214">
                  <c:v>38922</c:v>
                </c:pt>
                <c:pt idx="215">
                  <c:v>38923</c:v>
                </c:pt>
                <c:pt idx="216">
                  <c:v>38924</c:v>
                </c:pt>
                <c:pt idx="217">
                  <c:v>38925</c:v>
                </c:pt>
                <c:pt idx="218">
                  <c:v>38926</c:v>
                </c:pt>
                <c:pt idx="219">
                  <c:v>38929</c:v>
                </c:pt>
                <c:pt idx="220">
                  <c:v>38930</c:v>
                </c:pt>
                <c:pt idx="221">
                  <c:v>38931</c:v>
                </c:pt>
                <c:pt idx="222">
                  <c:v>38932</c:v>
                </c:pt>
                <c:pt idx="223">
                  <c:v>38933</c:v>
                </c:pt>
                <c:pt idx="224">
                  <c:v>38936</c:v>
                </c:pt>
                <c:pt idx="225">
                  <c:v>38937</c:v>
                </c:pt>
                <c:pt idx="226">
                  <c:v>38938</c:v>
                </c:pt>
                <c:pt idx="227">
                  <c:v>38939</c:v>
                </c:pt>
                <c:pt idx="228">
                  <c:v>38940</c:v>
                </c:pt>
                <c:pt idx="229">
                  <c:v>38943</c:v>
                </c:pt>
                <c:pt idx="230">
                  <c:v>38944</c:v>
                </c:pt>
                <c:pt idx="231">
                  <c:v>38945</c:v>
                </c:pt>
                <c:pt idx="232">
                  <c:v>38946</c:v>
                </c:pt>
                <c:pt idx="233">
                  <c:v>38947</c:v>
                </c:pt>
                <c:pt idx="234">
                  <c:v>38950</c:v>
                </c:pt>
                <c:pt idx="235">
                  <c:v>38951</c:v>
                </c:pt>
                <c:pt idx="236">
                  <c:v>38952</c:v>
                </c:pt>
                <c:pt idx="237">
                  <c:v>38953</c:v>
                </c:pt>
                <c:pt idx="238">
                  <c:v>38954</c:v>
                </c:pt>
                <c:pt idx="239">
                  <c:v>38957</c:v>
                </c:pt>
                <c:pt idx="240">
                  <c:v>38958</c:v>
                </c:pt>
                <c:pt idx="241">
                  <c:v>38959</c:v>
                </c:pt>
                <c:pt idx="242">
                  <c:v>38960</c:v>
                </c:pt>
                <c:pt idx="243">
                  <c:v>38961</c:v>
                </c:pt>
                <c:pt idx="244">
                  <c:v>38965</c:v>
                </c:pt>
                <c:pt idx="245">
                  <c:v>38966</c:v>
                </c:pt>
                <c:pt idx="246">
                  <c:v>38967</c:v>
                </c:pt>
                <c:pt idx="247">
                  <c:v>38968</c:v>
                </c:pt>
                <c:pt idx="248">
                  <c:v>38971</c:v>
                </c:pt>
                <c:pt idx="249">
                  <c:v>38972</c:v>
                </c:pt>
                <c:pt idx="250">
                  <c:v>38973</c:v>
                </c:pt>
                <c:pt idx="251">
                  <c:v>38974</c:v>
                </c:pt>
                <c:pt idx="252">
                  <c:v>38975</c:v>
                </c:pt>
                <c:pt idx="253">
                  <c:v>38978</c:v>
                </c:pt>
                <c:pt idx="254">
                  <c:v>38979</c:v>
                </c:pt>
                <c:pt idx="255">
                  <c:v>38980</c:v>
                </c:pt>
                <c:pt idx="256">
                  <c:v>38981</c:v>
                </c:pt>
                <c:pt idx="257">
                  <c:v>38982</c:v>
                </c:pt>
                <c:pt idx="258">
                  <c:v>38985</c:v>
                </c:pt>
                <c:pt idx="259">
                  <c:v>38986</c:v>
                </c:pt>
                <c:pt idx="260">
                  <c:v>38987</c:v>
                </c:pt>
                <c:pt idx="261">
                  <c:v>38988</c:v>
                </c:pt>
                <c:pt idx="262">
                  <c:v>38989</c:v>
                </c:pt>
                <c:pt idx="263">
                  <c:v>38992</c:v>
                </c:pt>
                <c:pt idx="264">
                  <c:v>38993</c:v>
                </c:pt>
                <c:pt idx="265">
                  <c:v>38994</c:v>
                </c:pt>
                <c:pt idx="266">
                  <c:v>38995</c:v>
                </c:pt>
                <c:pt idx="267">
                  <c:v>38996</c:v>
                </c:pt>
                <c:pt idx="268">
                  <c:v>38999</c:v>
                </c:pt>
                <c:pt idx="269">
                  <c:v>39000</c:v>
                </c:pt>
                <c:pt idx="270">
                  <c:v>39001</c:v>
                </c:pt>
                <c:pt idx="271">
                  <c:v>39002</c:v>
                </c:pt>
                <c:pt idx="272">
                  <c:v>39003</c:v>
                </c:pt>
                <c:pt idx="273">
                  <c:v>39006</c:v>
                </c:pt>
                <c:pt idx="274">
                  <c:v>39007</c:v>
                </c:pt>
                <c:pt idx="275">
                  <c:v>39008</c:v>
                </c:pt>
                <c:pt idx="276">
                  <c:v>39009</c:v>
                </c:pt>
                <c:pt idx="277">
                  <c:v>39010</c:v>
                </c:pt>
                <c:pt idx="278">
                  <c:v>39013</c:v>
                </c:pt>
                <c:pt idx="279">
                  <c:v>39014</c:v>
                </c:pt>
                <c:pt idx="280">
                  <c:v>39015</c:v>
                </c:pt>
                <c:pt idx="281">
                  <c:v>39016</c:v>
                </c:pt>
                <c:pt idx="282">
                  <c:v>39017</c:v>
                </c:pt>
                <c:pt idx="283">
                  <c:v>39020</c:v>
                </c:pt>
                <c:pt idx="284">
                  <c:v>39021</c:v>
                </c:pt>
                <c:pt idx="285">
                  <c:v>39022</c:v>
                </c:pt>
                <c:pt idx="286">
                  <c:v>39023</c:v>
                </c:pt>
                <c:pt idx="287">
                  <c:v>39024</c:v>
                </c:pt>
                <c:pt idx="288">
                  <c:v>39027</c:v>
                </c:pt>
                <c:pt idx="289">
                  <c:v>39028</c:v>
                </c:pt>
                <c:pt idx="290">
                  <c:v>39029</c:v>
                </c:pt>
                <c:pt idx="291">
                  <c:v>39030</c:v>
                </c:pt>
                <c:pt idx="292">
                  <c:v>39031</c:v>
                </c:pt>
                <c:pt idx="293">
                  <c:v>39034</c:v>
                </c:pt>
                <c:pt idx="294">
                  <c:v>39035</c:v>
                </c:pt>
                <c:pt idx="295">
                  <c:v>39036</c:v>
                </c:pt>
                <c:pt idx="296">
                  <c:v>39037</c:v>
                </c:pt>
                <c:pt idx="297">
                  <c:v>39038</c:v>
                </c:pt>
                <c:pt idx="298">
                  <c:v>39041</c:v>
                </c:pt>
                <c:pt idx="299">
                  <c:v>39042</c:v>
                </c:pt>
                <c:pt idx="300">
                  <c:v>39043</c:v>
                </c:pt>
                <c:pt idx="301">
                  <c:v>39045</c:v>
                </c:pt>
                <c:pt idx="302">
                  <c:v>39048</c:v>
                </c:pt>
                <c:pt idx="303">
                  <c:v>39049</c:v>
                </c:pt>
                <c:pt idx="304">
                  <c:v>39050</c:v>
                </c:pt>
                <c:pt idx="305">
                  <c:v>39051</c:v>
                </c:pt>
                <c:pt idx="306">
                  <c:v>39052</c:v>
                </c:pt>
                <c:pt idx="307">
                  <c:v>39055</c:v>
                </c:pt>
                <c:pt idx="308">
                  <c:v>39056</c:v>
                </c:pt>
                <c:pt idx="309">
                  <c:v>39057</c:v>
                </c:pt>
                <c:pt idx="310">
                  <c:v>39058</c:v>
                </c:pt>
                <c:pt idx="311">
                  <c:v>39059</c:v>
                </c:pt>
                <c:pt idx="312">
                  <c:v>39062</c:v>
                </c:pt>
                <c:pt idx="313">
                  <c:v>39063</c:v>
                </c:pt>
                <c:pt idx="314">
                  <c:v>39064</c:v>
                </c:pt>
                <c:pt idx="315">
                  <c:v>39065</c:v>
                </c:pt>
                <c:pt idx="316">
                  <c:v>39066</c:v>
                </c:pt>
                <c:pt idx="317">
                  <c:v>39069</c:v>
                </c:pt>
                <c:pt idx="318">
                  <c:v>39070</c:v>
                </c:pt>
                <c:pt idx="319">
                  <c:v>39071</c:v>
                </c:pt>
                <c:pt idx="320">
                  <c:v>39072</c:v>
                </c:pt>
                <c:pt idx="321">
                  <c:v>39073</c:v>
                </c:pt>
                <c:pt idx="322">
                  <c:v>39077</c:v>
                </c:pt>
                <c:pt idx="323">
                  <c:v>39078</c:v>
                </c:pt>
                <c:pt idx="324">
                  <c:v>39079</c:v>
                </c:pt>
                <c:pt idx="325">
                  <c:v>39080</c:v>
                </c:pt>
                <c:pt idx="326">
                  <c:v>39085</c:v>
                </c:pt>
                <c:pt idx="327">
                  <c:v>39086</c:v>
                </c:pt>
                <c:pt idx="328">
                  <c:v>39087</c:v>
                </c:pt>
                <c:pt idx="329">
                  <c:v>39090</c:v>
                </c:pt>
                <c:pt idx="330">
                  <c:v>39091</c:v>
                </c:pt>
                <c:pt idx="331">
                  <c:v>39092</c:v>
                </c:pt>
                <c:pt idx="332">
                  <c:v>39093</c:v>
                </c:pt>
                <c:pt idx="333">
                  <c:v>39094</c:v>
                </c:pt>
                <c:pt idx="334">
                  <c:v>39098</c:v>
                </c:pt>
                <c:pt idx="335">
                  <c:v>39099</c:v>
                </c:pt>
                <c:pt idx="336">
                  <c:v>39100</c:v>
                </c:pt>
                <c:pt idx="337">
                  <c:v>39101</c:v>
                </c:pt>
                <c:pt idx="338">
                  <c:v>39104</c:v>
                </c:pt>
                <c:pt idx="339">
                  <c:v>39105</c:v>
                </c:pt>
                <c:pt idx="340">
                  <c:v>39106</c:v>
                </c:pt>
                <c:pt idx="341">
                  <c:v>39107</c:v>
                </c:pt>
                <c:pt idx="342">
                  <c:v>39108</c:v>
                </c:pt>
                <c:pt idx="343">
                  <c:v>39111</c:v>
                </c:pt>
                <c:pt idx="344">
                  <c:v>39112</c:v>
                </c:pt>
                <c:pt idx="345">
                  <c:v>39113</c:v>
                </c:pt>
                <c:pt idx="346">
                  <c:v>39114</c:v>
                </c:pt>
                <c:pt idx="347">
                  <c:v>39115</c:v>
                </c:pt>
                <c:pt idx="348">
                  <c:v>39118</c:v>
                </c:pt>
                <c:pt idx="349">
                  <c:v>39119</c:v>
                </c:pt>
                <c:pt idx="350">
                  <c:v>39120</c:v>
                </c:pt>
                <c:pt idx="351">
                  <c:v>39121</c:v>
                </c:pt>
                <c:pt idx="352">
                  <c:v>39122</c:v>
                </c:pt>
                <c:pt idx="353">
                  <c:v>39125</c:v>
                </c:pt>
                <c:pt idx="354">
                  <c:v>39126</c:v>
                </c:pt>
                <c:pt idx="355">
                  <c:v>39127</c:v>
                </c:pt>
                <c:pt idx="356">
                  <c:v>39128</c:v>
                </c:pt>
                <c:pt idx="357">
                  <c:v>39129</c:v>
                </c:pt>
                <c:pt idx="358">
                  <c:v>39133</c:v>
                </c:pt>
                <c:pt idx="359">
                  <c:v>39134</c:v>
                </c:pt>
                <c:pt idx="360">
                  <c:v>39135</c:v>
                </c:pt>
                <c:pt idx="361">
                  <c:v>39136</c:v>
                </c:pt>
                <c:pt idx="362">
                  <c:v>39139</c:v>
                </c:pt>
                <c:pt idx="363">
                  <c:v>39140</c:v>
                </c:pt>
                <c:pt idx="364">
                  <c:v>39141</c:v>
                </c:pt>
                <c:pt idx="365">
                  <c:v>39142</c:v>
                </c:pt>
                <c:pt idx="366">
                  <c:v>39143</c:v>
                </c:pt>
                <c:pt idx="367">
                  <c:v>39146</c:v>
                </c:pt>
                <c:pt idx="368">
                  <c:v>39147</c:v>
                </c:pt>
                <c:pt idx="369">
                  <c:v>39148</c:v>
                </c:pt>
                <c:pt idx="370">
                  <c:v>39149</c:v>
                </c:pt>
                <c:pt idx="371">
                  <c:v>39150</c:v>
                </c:pt>
                <c:pt idx="372">
                  <c:v>39153</c:v>
                </c:pt>
                <c:pt idx="373">
                  <c:v>39154</c:v>
                </c:pt>
                <c:pt idx="374">
                  <c:v>39155</c:v>
                </c:pt>
                <c:pt idx="375">
                  <c:v>39156</c:v>
                </c:pt>
                <c:pt idx="376">
                  <c:v>39157</c:v>
                </c:pt>
                <c:pt idx="377">
                  <c:v>39160</c:v>
                </c:pt>
                <c:pt idx="378">
                  <c:v>39161</c:v>
                </c:pt>
                <c:pt idx="379">
                  <c:v>39162</c:v>
                </c:pt>
                <c:pt idx="380">
                  <c:v>39163</c:v>
                </c:pt>
                <c:pt idx="381">
                  <c:v>39164</c:v>
                </c:pt>
                <c:pt idx="382">
                  <c:v>39167</c:v>
                </c:pt>
                <c:pt idx="383">
                  <c:v>39168</c:v>
                </c:pt>
                <c:pt idx="384">
                  <c:v>39169</c:v>
                </c:pt>
                <c:pt idx="385">
                  <c:v>39170</c:v>
                </c:pt>
                <c:pt idx="386">
                  <c:v>39171</c:v>
                </c:pt>
                <c:pt idx="387">
                  <c:v>39174</c:v>
                </c:pt>
                <c:pt idx="388">
                  <c:v>39175</c:v>
                </c:pt>
                <c:pt idx="389">
                  <c:v>39176</c:v>
                </c:pt>
                <c:pt idx="390">
                  <c:v>39177</c:v>
                </c:pt>
                <c:pt idx="391">
                  <c:v>39181</c:v>
                </c:pt>
                <c:pt idx="392">
                  <c:v>39182</c:v>
                </c:pt>
                <c:pt idx="393">
                  <c:v>39183</c:v>
                </c:pt>
                <c:pt idx="394">
                  <c:v>39184</c:v>
                </c:pt>
                <c:pt idx="395">
                  <c:v>39185</c:v>
                </c:pt>
                <c:pt idx="396">
                  <c:v>39188</c:v>
                </c:pt>
                <c:pt idx="397">
                  <c:v>39189</c:v>
                </c:pt>
                <c:pt idx="398">
                  <c:v>39190</c:v>
                </c:pt>
                <c:pt idx="399">
                  <c:v>39191</c:v>
                </c:pt>
                <c:pt idx="400">
                  <c:v>39192</c:v>
                </c:pt>
                <c:pt idx="401">
                  <c:v>39195</c:v>
                </c:pt>
                <c:pt idx="402">
                  <c:v>39196</c:v>
                </c:pt>
                <c:pt idx="403">
                  <c:v>39197</c:v>
                </c:pt>
                <c:pt idx="404">
                  <c:v>39198</c:v>
                </c:pt>
                <c:pt idx="405">
                  <c:v>39199</c:v>
                </c:pt>
                <c:pt idx="406">
                  <c:v>39202</c:v>
                </c:pt>
                <c:pt idx="407">
                  <c:v>39203</c:v>
                </c:pt>
                <c:pt idx="408">
                  <c:v>39204</c:v>
                </c:pt>
                <c:pt idx="409">
                  <c:v>39205</c:v>
                </c:pt>
                <c:pt idx="410">
                  <c:v>39206</c:v>
                </c:pt>
                <c:pt idx="411">
                  <c:v>39209</c:v>
                </c:pt>
                <c:pt idx="412">
                  <c:v>39210</c:v>
                </c:pt>
                <c:pt idx="413">
                  <c:v>39211</c:v>
                </c:pt>
                <c:pt idx="414">
                  <c:v>39212</c:v>
                </c:pt>
                <c:pt idx="415">
                  <c:v>39213</c:v>
                </c:pt>
                <c:pt idx="416">
                  <c:v>39216</c:v>
                </c:pt>
                <c:pt idx="417">
                  <c:v>39217</c:v>
                </c:pt>
                <c:pt idx="418">
                  <c:v>39218</c:v>
                </c:pt>
                <c:pt idx="419">
                  <c:v>39219</c:v>
                </c:pt>
                <c:pt idx="420">
                  <c:v>39220</c:v>
                </c:pt>
                <c:pt idx="421">
                  <c:v>39223</c:v>
                </c:pt>
                <c:pt idx="422">
                  <c:v>39224</c:v>
                </c:pt>
                <c:pt idx="423">
                  <c:v>39225</c:v>
                </c:pt>
                <c:pt idx="424">
                  <c:v>39226</c:v>
                </c:pt>
                <c:pt idx="425">
                  <c:v>39227</c:v>
                </c:pt>
                <c:pt idx="426">
                  <c:v>39231</c:v>
                </c:pt>
                <c:pt idx="427">
                  <c:v>39232</c:v>
                </c:pt>
                <c:pt idx="428">
                  <c:v>39233</c:v>
                </c:pt>
                <c:pt idx="429">
                  <c:v>39234</c:v>
                </c:pt>
                <c:pt idx="430">
                  <c:v>39237</c:v>
                </c:pt>
                <c:pt idx="431">
                  <c:v>39238</c:v>
                </c:pt>
                <c:pt idx="432">
                  <c:v>39239</c:v>
                </c:pt>
                <c:pt idx="433">
                  <c:v>39240</c:v>
                </c:pt>
                <c:pt idx="434">
                  <c:v>39241</c:v>
                </c:pt>
                <c:pt idx="435">
                  <c:v>39244</c:v>
                </c:pt>
                <c:pt idx="436">
                  <c:v>39245</c:v>
                </c:pt>
                <c:pt idx="437">
                  <c:v>39246</c:v>
                </c:pt>
                <c:pt idx="438">
                  <c:v>39247</c:v>
                </c:pt>
                <c:pt idx="439">
                  <c:v>39248</c:v>
                </c:pt>
                <c:pt idx="440">
                  <c:v>39251</c:v>
                </c:pt>
                <c:pt idx="441">
                  <c:v>39252</c:v>
                </c:pt>
                <c:pt idx="442">
                  <c:v>39253</c:v>
                </c:pt>
                <c:pt idx="443">
                  <c:v>39254</c:v>
                </c:pt>
                <c:pt idx="444">
                  <c:v>39255</c:v>
                </c:pt>
                <c:pt idx="445">
                  <c:v>39258</c:v>
                </c:pt>
                <c:pt idx="446">
                  <c:v>39259</c:v>
                </c:pt>
                <c:pt idx="447">
                  <c:v>39260</c:v>
                </c:pt>
                <c:pt idx="448">
                  <c:v>39261</c:v>
                </c:pt>
                <c:pt idx="449">
                  <c:v>39262</c:v>
                </c:pt>
                <c:pt idx="450">
                  <c:v>39265</c:v>
                </c:pt>
                <c:pt idx="451">
                  <c:v>39266</c:v>
                </c:pt>
                <c:pt idx="452">
                  <c:v>39268</c:v>
                </c:pt>
                <c:pt idx="453">
                  <c:v>39269</c:v>
                </c:pt>
                <c:pt idx="454">
                  <c:v>39272</c:v>
                </c:pt>
                <c:pt idx="455">
                  <c:v>39273</c:v>
                </c:pt>
                <c:pt idx="456">
                  <c:v>39274</c:v>
                </c:pt>
                <c:pt idx="457">
                  <c:v>39275</c:v>
                </c:pt>
                <c:pt idx="458">
                  <c:v>39276</c:v>
                </c:pt>
                <c:pt idx="459">
                  <c:v>39279</c:v>
                </c:pt>
                <c:pt idx="460">
                  <c:v>39280</c:v>
                </c:pt>
                <c:pt idx="461">
                  <c:v>39281</c:v>
                </c:pt>
                <c:pt idx="462">
                  <c:v>39282</c:v>
                </c:pt>
                <c:pt idx="463">
                  <c:v>39283</c:v>
                </c:pt>
                <c:pt idx="464">
                  <c:v>39286</c:v>
                </c:pt>
                <c:pt idx="465">
                  <c:v>39287</c:v>
                </c:pt>
                <c:pt idx="466">
                  <c:v>39288</c:v>
                </c:pt>
                <c:pt idx="467">
                  <c:v>39289</c:v>
                </c:pt>
                <c:pt idx="468">
                  <c:v>39290</c:v>
                </c:pt>
                <c:pt idx="469">
                  <c:v>39293</c:v>
                </c:pt>
                <c:pt idx="470">
                  <c:v>39294</c:v>
                </c:pt>
                <c:pt idx="471">
                  <c:v>39295</c:v>
                </c:pt>
                <c:pt idx="472">
                  <c:v>39296</c:v>
                </c:pt>
                <c:pt idx="473">
                  <c:v>39297</c:v>
                </c:pt>
                <c:pt idx="474">
                  <c:v>39300</c:v>
                </c:pt>
                <c:pt idx="475">
                  <c:v>39301</c:v>
                </c:pt>
                <c:pt idx="476">
                  <c:v>39302</c:v>
                </c:pt>
                <c:pt idx="477">
                  <c:v>39303</c:v>
                </c:pt>
                <c:pt idx="478">
                  <c:v>39304</c:v>
                </c:pt>
                <c:pt idx="479">
                  <c:v>39307</c:v>
                </c:pt>
                <c:pt idx="480">
                  <c:v>39308</c:v>
                </c:pt>
                <c:pt idx="481">
                  <c:v>39309</c:v>
                </c:pt>
                <c:pt idx="482">
                  <c:v>39310</c:v>
                </c:pt>
                <c:pt idx="483">
                  <c:v>39311</c:v>
                </c:pt>
                <c:pt idx="484">
                  <c:v>39314</c:v>
                </c:pt>
                <c:pt idx="485">
                  <c:v>39315</c:v>
                </c:pt>
                <c:pt idx="486">
                  <c:v>39316</c:v>
                </c:pt>
                <c:pt idx="487">
                  <c:v>39317</c:v>
                </c:pt>
                <c:pt idx="488">
                  <c:v>39318</c:v>
                </c:pt>
                <c:pt idx="489">
                  <c:v>39321</c:v>
                </c:pt>
                <c:pt idx="490">
                  <c:v>39322</c:v>
                </c:pt>
                <c:pt idx="491">
                  <c:v>39323</c:v>
                </c:pt>
                <c:pt idx="492">
                  <c:v>39324</c:v>
                </c:pt>
                <c:pt idx="493">
                  <c:v>39325</c:v>
                </c:pt>
                <c:pt idx="494">
                  <c:v>39329</c:v>
                </c:pt>
                <c:pt idx="495">
                  <c:v>39330</c:v>
                </c:pt>
                <c:pt idx="496">
                  <c:v>39331</c:v>
                </c:pt>
                <c:pt idx="497">
                  <c:v>39332</c:v>
                </c:pt>
                <c:pt idx="498">
                  <c:v>39335</c:v>
                </c:pt>
                <c:pt idx="499">
                  <c:v>39336</c:v>
                </c:pt>
                <c:pt idx="500">
                  <c:v>39337</c:v>
                </c:pt>
                <c:pt idx="501">
                  <c:v>39338</c:v>
                </c:pt>
                <c:pt idx="502">
                  <c:v>39339</c:v>
                </c:pt>
                <c:pt idx="503">
                  <c:v>39342</c:v>
                </c:pt>
                <c:pt idx="504">
                  <c:v>39343</c:v>
                </c:pt>
                <c:pt idx="505">
                  <c:v>39344</c:v>
                </c:pt>
                <c:pt idx="506">
                  <c:v>39345</c:v>
                </c:pt>
                <c:pt idx="507">
                  <c:v>39346</c:v>
                </c:pt>
                <c:pt idx="508">
                  <c:v>39349</c:v>
                </c:pt>
                <c:pt idx="509">
                  <c:v>39350</c:v>
                </c:pt>
                <c:pt idx="510">
                  <c:v>39351</c:v>
                </c:pt>
                <c:pt idx="511">
                  <c:v>39352</c:v>
                </c:pt>
                <c:pt idx="512">
                  <c:v>39353</c:v>
                </c:pt>
                <c:pt idx="513">
                  <c:v>39356</c:v>
                </c:pt>
                <c:pt idx="514">
                  <c:v>39357</c:v>
                </c:pt>
                <c:pt idx="515">
                  <c:v>39358</c:v>
                </c:pt>
                <c:pt idx="516">
                  <c:v>39359</c:v>
                </c:pt>
                <c:pt idx="517">
                  <c:v>39360</c:v>
                </c:pt>
                <c:pt idx="518">
                  <c:v>39363</c:v>
                </c:pt>
                <c:pt idx="519">
                  <c:v>39364</c:v>
                </c:pt>
                <c:pt idx="520">
                  <c:v>39365</c:v>
                </c:pt>
                <c:pt idx="521">
                  <c:v>39366</c:v>
                </c:pt>
                <c:pt idx="522">
                  <c:v>39367</c:v>
                </c:pt>
                <c:pt idx="523">
                  <c:v>39370</c:v>
                </c:pt>
                <c:pt idx="524">
                  <c:v>39371</c:v>
                </c:pt>
                <c:pt idx="525">
                  <c:v>39372</c:v>
                </c:pt>
                <c:pt idx="526">
                  <c:v>39373</c:v>
                </c:pt>
                <c:pt idx="527">
                  <c:v>39374</c:v>
                </c:pt>
                <c:pt idx="528">
                  <c:v>39377</c:v>
                </c:pt>
                <c:pt idx="529">
                  <c:v>39378</c:v>
                </c:pt>
                <c:pt idx="530">
                  <c:v>39379</c:v>
                </c:pt>
                <c:pt idx="531">
                  <c:v>39380</c:v>
                </c:pt>
                <c:pt idx="532">
                  <c:v>39381</c:v>
                </c:pt>
                <c:pt idx="533">
                  <c:v>39384</c:v>
                </c:pt>
                <c:pt idx="534">
                  <c:v>39385</c:v>
                </c:pt>
                <c:pt idx="535">
                  <c:v>39386</c:v>
                </c:pt>
                <c:pt idx="536">
                  <c:v>39387</c:v>
                </c:pt>
                <c:pt idx="537">
                  <c:v>39388</c:v>
                </c:pt>
                <c:pt idx="538">
                  <c:v>39391</c:v>
                </c:pt>
                <c:pt idx="539">
                  <c:v>39392</c:v>
                </c:pt>
                <c:pt idx="540">
                  <c:v>39393</c:v>
                </c:pt>
                <c:pt idx="541">
                  <c:v>39394</c:v>
                </c:pt>
                <c:pt idx="542">
                  <c:v>39395</c:v>
                </c:pt>
                <c:pt idx="543">
                  <c:v>39398</c:v>
                </c:pt>
                <c:pt idx="544">
                  <c:v>39399</c:v>
                </c:pt>
                <c:pt idx="545">
                  <c:v>39400</c:v>
                </c:pt>
                <c:pt idx="546">
                  <c:v>39401</c:v>
                </c:pt>
                <c:pt idx="547">
                  <c:v>39402</c:v>
                </c:pt>
                <c:pt idx="548">
                  <c:v>39405</c:v>
                </c:pt>
                <c:pt idx="549">
                  <c:v>39406</c:v>
                </c:pt>
                <c:pt idx="550">
                  <c:v>39407</c:v>
                </c:pt>
                <c:pt idx="551">
                  <c:v>39409</c:v>
                </c:pt>
                <c:pt idx="552">
                  <c:v>39412</c:v>
                </c:pt>
                <c:pt idx="553">
                  <c:v>39413</c:v>
                </c:pt>
                <c:pt idx="554">
                  <c:v>39414</c:v>
                </c:pt>
                <c:pt idx="555">
                  <c:v>39415</c:v>
                </c:pt>
                <c:pt idx="556">
                  <c:v>39416</c:v>
                </c:pt>
                <c:pt idx="557">
                  <c:v>39419</c:v>
                </c:pt>
                <c:pt idx="558">
                  <c:v>39420</c:v>
                </c:pt>
                <c:pt idx="559">
                  <c:v>39421</c:v>
                </c:pt>
                <c:pt idx="560">
                  <c:v>39422</c:v>
                </c:pt>
                <c:pt idx="561">
                  <c:v>39423</c:v>
                </c:pt>
                <c:pt idx="562">
                  <c:v>39426</c:v>
                </c:pt>
                <c:pt idx="563">
                  <c:v>39427</c:v>
                </c:pt>
                <c:pt idx="564">
                  <c:v>39428</c:v>
                </c:pt>
                <c:pt idx="565">
                  <c:v>39429</c:v>
                </c:pt>
                <c:pt idx="566">
                  <c:v>39430</c:v>
                </c:pt>
                <c:pt idx="567">
                  <c:v>39433</c:v>
                </c:pt>
                <c:pt idx="568">
                  <c:v>39434</c:v>
                </c:pt>
                <c:pt idx="569">
                  <c:v>39435</c:v>
                </c:pt>
                <c:pt idx="570">
                  <c:v>39436</c:v>
                </c:pt>
                <c:pt idx="571">
                  <c:v>39437</c:v>
                </c:pt>
                <c:pt idx="572">
                  <c:v>39440</c:v>
                </c:pt>
                <c:pt idx="573">
                  <c:v>39442</c:v>
                </c:pt>
                <c:pt idx="574">
                  <c:v>39443</c:v>
                </c:pt>
                <c:pt idx="575">
                  <c:v>39444</c:v>
                </c:pt>
                <c:pt idx="576">
                  <c:v>39447</c:v>
                </c:pt>
                <c:pt idx="577">
                  <c:v>39449</c:v>
                </c:pt>
                <c:pt idx="578">
                  <c:v>39450</c:v>
                </c:pt>
                <c:pt idx="579">
                  <c:v>39451</c:v>
                </c:pt>
                <c:pt idx="580">
                  <c:v>39454</c:v>
                </c:pt>
                <c:pt idx="581">
                  <c:v>39455</c:v>
                </c:pt>
                <c:pt idx="582">
                  <c:v>39456</c:v>
                </c:pt>
                <c:pt idx="583">
                  <c:v>39457</c:v>
                </c:pt>
                <c:pt idx="584">
                  <c:v>39458</c:v>
                </c:pt>
                <c:pt idx="585">
                  <c:v>39461</c:v>
                </c:pt>
                <c:pt idx="586">
                  <c:v>39462</c:v>
                </c:pt>
                <c:pt idx="587">
                  <c:v>39463</c:v>
                </c:pt>
                <c:pt idx="588">
                  <c:v>39464</c:v>
                </c:pt>
                <c:pt idx="589">
                  <c:v>39465</c:v>
                </c:pt>
                <c:pt idx="590">
                  <c:v>39469</c:v>
                </c:pt>
                <c:pt idx="591">
                  <c:v>39470</c:v>
                </c:pt>
                <c:pt idx="592">
                  <c:v>39471</c:v>
                </c:pt>
                <c:pt idx="593">
                  <c:v>39472</c:v>
                </c:pt>
                <c:pt idx="594">
                  <c:v>39475</c:v>
                </c:pt>
                <c:pt idx="595">
                  <c:v>39476</c:v>
                </c:pt>
                <c:pt idx="596">
                  <c:v>39477</c:v>
                </c:pt>
                <c:pt idx="597">
                  <c:v>39478</c:v>
                </c:pt>
                <c:pt idx="598">
                  <c:v>39479</c:v>
                </c:pt>
                <c:pt idx="599">
                  <c:v>39482</c:v>
                </c:pt>
                <c:pt idx="600">
                  <c:v>39483</c:v>
                </c:pt>
                <c:pt idx="601">
                  <c:v>39484</c:v>
                </c:pt>
                <c:pt idx="602">
                  <c:v>39485</c:v>
                </c:pt>
                <c:pt idx="603">
                  <c:v>39486</c:v>
                </c:pt>
                <c:pt idx="604">
                  <c:v>39489</c:v>
                </c:pt>
                <c:pt idx="605">
                  <c:v>39490</c:v>
                </c:pt>
                <c:pt idx="606">
                  <c:v>39491</c:v>
                </c:pt>
                <c:pt idx="607">
                  <c:v>39492</c:v>
                </c:pt>
                <c:pt idx="608">
                  <c:v>39493</c:v>
                </c:pt>
                <c:pt idx="609">
                  <c:v>39497</c:v>
                </c:pt>
                <c:pt idx="610">
                  <c:v>39498</c:v>
                </c:pt>
                <c:pt idx="611">
                  <c:v>39499</c:v>
                </c:pt>
                <c:pt idx="612">
                  <c:v>39500</c:v>
                </c:pt>
                <c:pt idx="613">
                  <c:v>39503</c:v>
                </c:pt>
                <c:pt idx="614">
                  <c:v>39504</c:v>
                </c:pt>
                <c:pt idx="615">
                  <c:v>39505</c:v>
                </c:pt>
                <c:pt idx="616">
                  <c:v>39506</c:v>
                </c:pt>
                <c:pt idx="617">
                  <c:v>39507</c:v>
                </c:pt>
                <c:pt idx="618">
                  <c:v>39510</c:v>
                </c:pt>
                <c:pt idx="619">
                  <c:v>39511</c:v>
                </c:pt>
                <c:pt idx="620">
                  <c:v>39512</c:v>
                </c:pt>
                <c:pt idx="621">
                  <c:v>39513</c:v>
                </c:pt>
                <c:pt idx="622">
                  <c:v>39514</c:v>
                </c:pt>
                <c:pt idx="623">
                  <c:v>39517</c:v>
                </c:pt>
                <c:pt idx="624">
                  <c:v>39518</c:v>
                </c:pt>
                <c:pt idx="625">
                  <c:v>39519</c:v>
                </c:pt>
                <c:pt idx="626">
                  <c:v>39520</c:v>
                </c:pt>
                <c:pt idx="627">
                  <c:v>39521</c:v>
                </c:pt>
                <c:pt idx="628">
                  <c:v>39524</c:v>
                </c:pt>
                <c:pt idx="629">
                  <c:v>39525</c:v>
                </c:pt>
                <c:pt idx="630">
                  <c:v>39526</c:v>
                </c:pt>
                <c:pt idx="631">
                  <c:v>39527</c:v>
                </c:pt>
                <c:pt idx="632">
                  <c:v>39531</c:v>
                </c:pt>
                <c:pt idx="633">
                  <c:v>39532</c:v>
                </c:pt>
                <c:pt idx="634">
                  <c:v>39533</c:v>
                </c:pt>
                <c:pt idx="635">
                  <c:v>39534</c:v>
                </c:pt>
                <c:pt idx="636">
                  <c:v>39535</c:v>
                </c:pt>
                <c:pt idx="637">
                  <c:v>39538</c:v>
                </c:pt>
                <c:pt idx="638">
                  <c:v>39539</c:v>
                </c:pt>
                <c:pt idx="639">
                  <c:v>39540</c:v>
                </c:pt>
                <c:pt idx="640">
                  <c:v>39541</c:v>
                </c:pt>
                <c:pt idx="641">
                  <c:v>39542</c:v>
                </c:pt>
                <c:pt idx="642">
                  <c:v>39545</c:v>
                </c:pt>
                <c:pt idx="643">
                  <c:v>39546</c:v>
                </c:pt>
                <c:pt idx="644">
                  <c:v>39547</c:v>
                </c:pt>
                <c:pt idx="645">
                  <c:v>39548</c:v>
                </c:pt>
                <c:pt idx="646">
                  <c:v>39549</c:v>
                </c:pt>
                <c:pt idx="647">
                  <c:v>39552</c:v>
                </c:pt>
                <c:pt idx="648">
                  <c:v>39553</c:v>
                </c:pt>
                <c:pt idx="649">
                  <c:v>39554</c:v>
                </c:pt>
                <c:pt idx="650">
                  <c:v>39555</c:v>
                </c:pt>
                <c:pt idx="651">
                  <c:v>39556</c:v>
                </c:pt>
                <c:pt idx="652">
                  <c:v>39559</c:v>
                </c:pt>
                <c:pt idx="653">
                  <c:v>39560</c:v>
                </c:pt>
                <c:pt idx="654">
                  <c:v>39561</c:v>
                </c:pt>
                <c:pt idx="655">
                  <c:v>39562</c:v>
                </c:pt>
                <c:pt idx="656">
                  <c:v>39563</c:v>
                </c:pt>
                <c:pt idx="657">
                  <c:v>39566</c:v>
                </c:pt>
                <c:pt idx="658">
                  <c:v>39567</c:v>
                </c:pt>
                <c:pt idx="659">
                  <c:v>39568</c:v>
                </c:pt>
                <c:pt idx="660">
                  <c:v>39569</c:v>
                </c:pt>
                <c:pt idx="661">
                  <c:v>39570</c:v>
                </c:pt>
                <c:pt idx="662">
                  <c:v>39573</c:v>
                </c:pt>
                <c:pt idx="663">
                  <c:v>39574</c:v>
                </c:pt>
                <c:pt idx="664">
                  <c:v>39575</c:v>
                </c:pt>
                <c:pt idx="665">
                  <c:v>39576</c:v>
                </c:pt>
                <c:pt idx="666">
                  <c:v>39577</c:v>
                </c:pt>
                <c:pt idx="667">
                  <c:v>39580</c:v>
                </c:pt>
                <c:pt idx="668">
                  <c:v>39581</c:v>
                </c:pt>
                <c:pt idx="669">
                  <c:v>39582</c:v>
                </c:pt>
                <c:pt idx="670">
                  <c:v>39583</c:v>
                </c:pt>
                <c:pt idx="671">
                  <c:v>39584</c:v>
                </c:pt>
                <c:pt idx="672">
                  <c:v>39587</c:v>
                </c:pt>
                <c:pt idx="673">
                  <c:v>39588</c:v>
                </c:pt>
                <c:pt idx="674">
                  <c:v>39589</c:v>
                </c:pt>
                <c:pt idx="675">
                  <c:v>39590</c:v>
                </c:pt>
                <c:pt idx="676">
                  <c:v>39591</c:v>
                </c:pt>
                <c:pt idx="677">
                  <c:v>39595</c:v>
                </c:pt>
                <c:pt idx="678">
                  <c:v>39596</c:v>
                </c:pt>
                <c:pt idx="679">
                  <c:v>39597</c:v>
                </c:pt>
                <c:pt idx="680">
                  <c:v>39598</c:v>
                </c:pt>
                <c:pt idx="681">
                  <c:v>39601</c:v>
                </c:pt>
                <c:pt idx="682">
                  <c:v>39602</c:v>
                </c:pt>
                <c:pt idx="683">
                  <c:v>39603</c:v>
                </c:pt>
                <c:pt idx="684">
                  <c:v>39604</c:v>
                </c:pt>
                <c:pt idx="685">
                  <c:v>39605</c:v>
                </c:pt>
                <c:pt idx="686">
                  <c:v>39608</c:v>
                </c:pt>
                <c:pt idx="687">
                  <c:v>39609</c:v>
                </c:pt>
                <c:pt idx="688">
                  <c:v>39610</c:v>
                </c:pt>
                <c:pt idx="689">
                  <c:v>39611</c:v>
                </c:pt>
                <c:pt idx="690">
                  <c:v>39612</c:v>
                </c:pt>
                <c:pt idx="691">
                  <c:v>39615</c:v>
                </c:pt>
                <c:pt idx="692">
                  <c:v>39616</c:v>
                </c:pt>
                <c:pt idx="693">
                  <c:v>39617</c:v>
                </c:pt>
                <c:pt idx="694">
                  <c:v>39618</c:v>
                </c:pt>
                <c:pt idx="695">
                  <c:v>39619</c:v>
                </c:pt>
                <c:pt idx="696">
                  <c:v>39622</c:v>
                </c:pt>
                <c:pt idx="697">
                  <c:v>39623</c:v>
                </c:pt>
                <c:pt idx="698">
                  <c:v>39624</c:v>
                </c:pt>
                <c:pt idx="699">
                  <c:v>39625</c:v>
                </c:pt>
                <c:pt idx="700">
                  <c:v>39626</c:v>
                </c:pt>
                <c:pt idx="701">
                  <c:v>39629</c:v>
                </c:pt>
                <c:pt idx="702">
                  <c:v>39630</c:v>
                </c:pt>
                <c:pt idx="703">
                  <c:v>39631</c:v>
                </c:pt>
                <c:pt idx="704">
                  <c:v>39632</c:v>
                </c:pt>
                <c:pt idx="705">
                  <c:v>39636</c:v>
                </c:pt>
                <c:pt idx="706">
                  <c:v>39637</c:v>
                </c:pt>
                <c:pt idx="707">
                  <c:v>39638</c:v>
                </c:pt>
                <c:pt idx="708">
                  <c:v>39639</c:v>
                </c:pt>
                <c:pt idx="709">
                  <c:v>39640</c:v>
                </c:pt>
                <c:pt idx="710">
                  <c:v>39643</c:v>
                </c:pt>
                <c:pt idx="711">
                  <c:v>39644</c:v>
                </c:pt>
                <c:pt idx="712">
                  <c:v>39645</c:v>
                </c:pt>
                <c:pt idx="713">
                  <c:v>39646</c:v>
                </c:pt>
                <c:pt idx="714">
                  <c:v>39647</c:v>
                </c:pt>
                <c:pt idx="715">
                  <c:v>39650</c:v>
                </c:pt>
                <c:pt idx="716">
                  <c:v>39651</c:v>
                </c:pt>
                <c:pt idx="717">
                  <c:v>39652</c:v>
                </c:pt>
                <c:pt idx="718">
                  <c:v>39653</c:v>
                </c:pt>
                <c:pt idx="719">
                  <c:v>39654</c:v>
                </c:pt>
                <c:pt idx="720">
                  <c:v>39657</c:v>
                </c:pt>
                <c:pt idx="721">
                  <c:v>39658</c:v>
                </c:pt>
                <c:pt idx="722">
                  <c:v>39659</c:v>
                </c:pt>
                <c:pt idx="723">
                  <c:v>39660</c:v>
                </c:pt>
                <c:pt idx="724">
                  <c:v>39661</c:v>
                </c:pt>
                <c:pt idx="725">
                  <c:v>39664</c:v>
                </c:pt>
                <c:pt idx="726">
                  <c:v>39665</c:v>
                </c:pt>
                <c:pt idx="727">
                  <c:v>39666</c:v>
                </c:pt>
                <c:pt idx="728">
                  <c:v>39667</c:v>
                </c:pt>
                <c:pt idx="729">
                  <c:v>39668</c:v>
                </c:pt>
                <c:pt idx="730">
                  <c:v>39671</c:v>
                </c:pt>
                <c:pt idx="731">
                  <c:v>39672</c:v>
                </c:pt>
                <c:pt idx="732">
                  <c:v>39673</c:v>
                </c:pt>
                <c:pt idx="733">
                  <c:v>39674</c:v>
                </c:pt>
                <c:pt idx="734">
                  <c:v>39675</c:v>
                </c:pt>
                <c:pt idx="735">
                  <c:v>39678</c:v>
                </c:pt>
                <c:pt idx="736">
                  <c:v>39679</c:v>
                </c:pt>
                <c:pt idx="737">
                  <c:v>39680</c:v>
                </c:pt>
                <c:pt idx="738">
                  <c:v>39681</c:v>
                </c:pt>
                <c:pt idx="739">
                  <c:v>39682</c:v>
                </c:pt>
                <c:pt idx="740">
                  <c:v>39685</c:v>
                </c:pt>
                <c:pt idx="741">
                  <c:v>39686</c:v>
                </c:pt>
                <c:pt idx="742">
                  <c:v>39687</c:v>
                </c:pt>
                <c:pt idx="743">
                  <c:v>39688</c:v>
                </c:pt>
                <c:pt idx="744">
                  <c:v>39689</c:v>
                </c:pt>
                <c:pt idx="745">
                  <c:v>39693</c:v>
                </c:pt>
                <c:pt idx="746">
                  <c:v>39694</c:v>
                </c:pt>
                <c:pt idx="747">
                  <c:v>39695</c:v>
                </c:pt>
                <c:pt idx="748">
                  <c:v>39696</c:v>
                </c:pt>
                <c:pt idx="749">
                  <c:v>39699</c:v>
                </c:pt>
                <c:pt idx="750">
                  <c:v>39700</c:v>
                </c:pt>
                <c:pt idx="751">
                  <c:v>39701</c:v>
                </c:pt>
                <c:pt idx="752">
                  <c:v>39702</c:v>
                </c:pt>
                <c:pt idx="753">
                  <c:v>39703</c:v>
                </c:pt>
                <c:pt idx="754">
                  <c:v>39706</c:v>
                </c:pt>
                <c:pt idx="755">
                  <c:v>39707</c:v>
                </c:pt>
                <c:pt idx="756">
                  <c:v>39708</c:v>
                </c:pt>
                <c:pt idx="757">
                  <c:v>39709</c:v>
                </c:pt>
                <c:pt idx="758">
                  <c:v>39710</c:v>
                </c:pt>
                <c:pt idx="759">
                  <c:v>39713</c:v>
                </c:pt>
                <c:pt idx="760">
                  <c:v>39714</c:v>
                </c:pt>
                <c:pt idx="761">
                  <c:v>39715</c:v>
                </c:pt>
                <c:pt idx="762">
                  <c:v>39716</c:v>
                </c:pt>
                <c:pt idx="763">
                  <c:v>39717</c:v>
                </c:pt>
                <c:pt idx="764">
                  <c:v>39720</c:v>
                </c:pt>
                <c:pt idx="765">
                  <c:v>39721</c:v>
                </c:pt>
                <c:pt idx="766">
                  <c:v>39722</c:v>
                </c:pt>
                <c:pt idx="767">
                  <c:v>39723</c:v>
                </c:pt>
                <c:pt idx="768">
                  <c:v>39724</c:v>
                </c:pt>
                <c:pt idx="769">
                  <c:v>39727</c:v>
                </c:pt>
                <c:pt idx="770">
                  <c:v>39728</c:v>
                </c:pt>
                <c:pt idx="771">
                  <c:v>39729</c:v>
                </c:pt>
                <c:pt idx="772">
                  <c:v>39730</c:v>
                </c:pt>
                <c:pt idx="773">
                  <c:v>39731</c:v>
                </c:pt>
                <c:pt idx="774">
                  <c:v>39734</c:v>
                </c:pt>
                <c:pt idx="775">
                  <c:v>39735</c:v>
                </c:pt>
                <c:pt idx="776">
                  <c:v>39736</c:v>
                </c:pt>
                <c:pt idx="777">
                  <c:v>39737</c:v>
                </c:pt>
                <c:pt idx="778">
                  <c:v>39738</c:v>
                </c:pt>
                <c:pt idx="779">
                  <c:v>39741</c:v>
                </c:pt>
                <c:pt idx="780">
                  <c:v>39742</c:v>
                </c:pt>
                <c:pt idx="781">
                  <c:v>39743</c:v>
                </c:pt>
                <c:pt idx="782">
                  <c:v>39744</c:v>
                </c:pt>
                <c:pt idx="783">
                  <c:v>39745</c:v>
                </c:pt>
                <c:pt idx="784">
                  <c:v>39748</c:v>
                </c:pt>
                <c:pt idx="785">
                  <c:v>39749</c:v>
                </c:pt>
                <c:pt idx="786">
                  <c:v>39750</c:v>
                </c:pt>
                <c:pt idx="787">
                  <c:v>39751</c:v>
                </c:pt>
                <c:pt idx="788">
                  <c:v>39752</c:v>
                </c:pt>
                <c:pt idx="789">
                  <c:v>39755</c:v>
                </c:pt>
                <c:pt idx="790">
                  <c:v>39756</c:v>
                </c:pt>
                <c:pt idx="791">
                  <c:v>39757</c:v>
                </c:pt>
                <c:pt idx="792">
                  <c:v>39758</c:v>
                </c:pt>
                <c:pt idx="793">
                  <c:v>39759</c:v>
                </c:pt>
                <c:pt idx="794">
                  <c:v>39762</c:v>
                </c:pt>
                <c:pt idx="795">
                  <c:v>39763</c:v>
                </c:pt>
                <c:pt idx="796">
                  <c:v>39764</c:v>
                </c:pt>
                <c:pt idx="797">
                  <c:v>39765</c:v>
                </c:pt>
                <c:pt idx="798">
                  <c:v>39766</c:v>
                </c:pt>
                <c:pt idx="799">
                  <c:v>39769</c:v>
                </c:pt>
                <c:pt idx="800">
                  <c:v>39770</c:v>
                </c:pt>
                <c:pt idx="801">
                  <c:v>39771</c:v>
                </c:pt>
                <c:pt idx="802">
                  <c:v>39772</c:v>
                </c:pt>
                <c:pt idx="803">
                  <c:v>39773</c:v>
                </c:pt>
                <c:pt idx="804">
                  <c:v>39776</c:v>
                </c:pt>
                <c:pt idx="805">
                  <c:v>39777</c:v>
                </c:pt>
                <c:pt idx="806">
                  <c:v>39778</c:v>
                </c:pt>
                <c:pt idx="807">
                  <c:v>39780</c:v>
                </c:pt>
                <c:pt idx="808">
                  <c:v>39783</c:v>
                </c:pt>
                <c:pt idx="809">
                  <c:v>39784</c:v>
                </c:pt>
                <c:pt idx="810">
                  <c:v>39785</c:v>
                </c:pt>
                <c:pt idx="811">
                  <c:v>39786</c:v>
                </c:pt>
                <c:pt idx="812">
                  <c:v>39787</c:v>
                </c:pt>
                <c:pt idx="813">
                  <c:v>39790</c:v>
                </c:pt>
                <c:pt idx="814">
                  <c:v>39791</c:v>
                </c:pt>
                <c:pt idx="815">
                  <c:v>39792</c:v>
                </c:pt>
                <c:pt idx="816">
                  <c:v>39793</c:v>
                </c:pt>
                <c:pt idx="817">
                  <c:v>39794</c:v>
                </c:pt>
                <c:pt idx="818">
                  <c:v>39797</c:v>
                </c:pt>
                <c:pt idx="819">
                  <c:v>39798</c:v>
                </c:pt>
                <c:pt idx="820">
                  <c:v>39799</c:v>
                </c:pt>
                <c:pt idx="821">
                  <c:v>39800</c:v>
                </c:pt>
                <c:pt idx="822">
                  <c:v>39801</c:v>
                </c:pt>
                <c:pt idx="823">
                  <c:v>39804</c:v>
                </c:pt>
                <c:pt idx="824">
                  <c:v>39805</c:v>
                </c:pt>
                <c:pt idx="825">
                  <c:v>39806</c:v>
                </c:pt>
                <c:pt idx="826">
                  <c:v>39808</c:v>
                </c:pt>
                <c:pt idx="827">
                  <c:v>39811</c:v>
                </c:pt>
                <c:pt idx="828">
                  <c:v>39812</c:v>
                </c:pt>
                <c:pt idx="829">
                  <c:v>39813</c:v>
                </c:pt>
                <c:pt idx="830">
                  <c:v>39815</c:v>
                </c:pt>
                <c:pt idx="831">
                  <c:v>39818</c:v>
                </c:pt>
                <c:pt idx="832">
                  <c:v>39819</c:v>
                </c:pt>
                <c:pt idx="833">
                  <c:v>39820</c:v>
                </c:pt>
                <c:pt idx="834">
                  <c:v>39821</c:v>
                </c:pt>
                <c:pt idx="835">
                  <c:v>39822</c:v>
                </c:pt>
                <c:pt idx="836">
                  <c:v>39825</c:v>
                </c:pt>
                <c:pt idx="837">
                  <c:v>39826</c:v>
                </c:pt>
                <c:pt idx="838">
                  <c:v>39827</c:v>
                </c:pt>
                <c:pt idx="839">
                  <c:v>39828</c:v>
                </c:pt>
                <c:pt idx="840">
                  <c:v>39829</c:v>
                </c:pt>
                <c:pt idx="841">
                  <c:v>39833</c:v>
                </c:pt>
                <c:pt idx="842">
                  <c:v>39834</c:v>
                </c:pt>
                <c:pt idx="843">
                  <c:v>39835</c:v>
                </c:pt>
                <c:pt idx="844">
                  <c:v>39836</c:v>
                </c:pt>
                <c:pt idx="845">
                  <c:v>39839</c:v>
                </c:pt>
                <c:pt idx="846">
                  <c:v>39840</c:v>
                </c:pt>
                <c:pt idx="847">
                  <c:v>39841</c:v>
                </c:pt>
                <c:pt idx="848">
                  <c:v>39842</c:v>
                </c:pt>
                <c:pt idx="849">
                  <c:v>39843</c:v>
                </c:pt>
                <c:pt idx="850">
                  <c:v>39846</c:v>
                </c:pt>
                <c:pt idx="851">
                  <c:v>39847</c:v>
                </c:pt>
                <c:pt idx="852">
                  <c:v>39848</c:v>
                </c:pt>
                <c:pt idx="853">
                  <c:v>39849</c:v>
                </c:pt>
                <c:pt idx="854">
                  <c:v>39850</c:v>
                </c:pt>
                <c:pt idx="855">
                  <c:v>39853</c:v>
                </c:pt>
                <c:pt idx="856">
                  <c:v>39854</c:v>
                </c:pt>
                <c:pt idx="857">
                  <c:v>39855</c:v>
                </c:pt>
                <c:pt idx="858">
                  <c:v>39856</c:v>
                </c:pt>
                <c:pt idx="859">
                  <c:v>39857</c:v>
                </c:pt>
                <c:pt idx="860">
                  <c:v>39861</c:v>
                </c:pt>
                <c:pt idx="861">
                  <c:v>39862</c:v>
                </c:pt>
                <c:pt idx="862">
                  <c:v>39863</c:v>
                </c:pt>
                <c:pt idx="863">
                  <c:v>39864</c:v>
                </c:pt>
                <c:pt idx="864">
                  <c:v>39867</c:v>
                </c:pt>
                <c:pt idx="865">
                  <c:v>39868</c:v>
                </c:pt>
                <c:pt idx="866">
                  <c:v>39869</c:v>
                </c:pt>
                <c:pt idx="867">
                  <c:v>39870</c:v>
                </c:pt>
                <c:pt idx="868">
                  <c:v>39871</c:v>
                </c:pt>
                <c:pt idx="869">
                  <c:v>39874</c:v>
                </c:pt>
                <c:pt idx="870">
                  <c:v>39875</c:v>
                </c:pt>
                <c:pt idx="871">
                  <c:v>39876</c:v>
                </c:pt>
                <c:pt idx="872">
                  <c:v>39877</c:v>
                </c:pt>
                <c:pt idx="873">
                  <c:v>39878</c:v>
                </c:pt>
                <c:pt idx="874">
                  <c:v>39881</c:v>
                </c:pt>
                <c:pt idx="875">
                  <c:v>39882</c:v>
                </c:pt>
                <c:pt idx="876">
                  <c:v>39883</c:v>
                </c:pt>
                <c:pt idx="877">
                  <c:v>39884</c:v>
                </c:pt>
                <c:pt idx="878">
                  <c:v>39885</c:v>
                </c:pt>
                <c:pt idx="879">
                  <c:v>39888</c:v>
                </c:pt>
                <c:pt idx="880">
                  <c:v>39889</c:v>
                </c:pt>
                <c:pt idx="881">
                  <c:v>39890</c:v>
                </c:pt>
                <c:pt idx="882">
                  <c:v>39891</c:v>
                </c:pt>
                <c:pt idx="883">
                  <c:v>39892</c:v>
                </c:pt>
                <c:pt idx="884">
                  <c:v>39895</c:v>
                </c:pt>
                <c:pt idx="885">
                  <c:v>39896</c:v>
                </c:pt>
                <c:pt idx="886">
                  <c:v>39897</c:v>
                </c:pt>
                <c:pt idx="887">
                  <c:v>39898</c:v>
                </c:pt>
                <c:pt idx="888">
                  <c:v>39899</c:v>
                </c:pt>
                <c:pt idx="889">
                  <c:v>39902</c:v>
                </c:pt>
                <c:pt idx="890">
                  <c:v>39903</c:v>
                </c:pt>
                <c:pt idx="891">
                  <c:v>39904</c:v>
                </c:pt>
                <c:pt idx="892">
                  <c:v>39905</c:v>
                </c:pt>
                <c:pt idx="893">
                  <c:v>39906</c:v>
                </c:pt>
                <c:pt idx="894">
                  <c:v>39909</c:v>
                </c:pt>
                <c:pt idx="895">
                  <c:v>39910</c:v>
                </c:pt>
                <c:pt idx="896">
                  <c:v>39911</c:v>
                </c:pt>
                <c:pt idx="897">
                  <c:v>39912</c:v>
                </c:pt>
                <c:pt idx="898">
                  <c:v>39916</c:v>
                </c:pt>
                <c:pt idx="899">
                  <c:v>39917</c:v>
                </c:pt>
                <c:pt idx="900">
                  <c:v>39918</c:v>
                </c:pt>
                <c:pt idx="901">
                  <c:v>39919</c:v>
                </c:pt>
                <c:pt idx="902">
                  <c:v>39920</c:v>
                </c:pt>
                <c:pt idx="903">
                  <c:v>39923</c:v>
                </c:pt>
                <c:pt idx="904">
                  <c:v>39924</c:v>
                </c:pt>
                <c:pt idx="905">
                  <c:v>39925</c:v>
                </c:pt>
                <c:pt idx="906">
                  <c:v>39926</c:v>
                </c:pt>
                <c:pt idx="907">
                  <c:v>39927</c:v>
                </c:pt>
                <c:pt idx="908">
                  <c:v>39930</c:v>
                </c:pt>
                <c:pt idx="909">
                  <c:v>39931</c:v>
                </c:pt>
                <c:pt idx="910">
                  <c:v>39932</c:v>
                </c:pt>
                <c:pt idx="911">
                  <c:v>39933</c:v>
                </c:pt>
                <c:pt idx="912">
                  <c:v>39934</c:v>
                </c:pt>
                <c:pt idx="913">
                  <c:v>39937</c:v>
                </c:pt>
                <c:pt idx="914">
                  <c:v>39938</c:v>
                </c:pt>
                <c:pt idx="915">
                  <c:v>39939</c:v>
                </c:pt>
                <c:pt idx="916">
                  <c:v>39940</c:v>
                </c:pt>
                <c:pt idx="917">
                  <c:v>39941</c:v>
                </c:pt>
                <c:pt idx="918">
                  <c:v>39944</c:v>
                </c:pt>
                <c:pt idx="919">
                  <c:v>39945</c:v>
                </c:pt>
                <c:pt idx="920">
                  <c:v>39946</c:v>
                </c:pt>
                <c:pt idx="921">
                  <c:v>39947</c:v>
                </c:pt>
                <c:pt idx="922">
                  <c:v>39948</c:v>
                </c:pt>
                <c:pt idx="923">
                  <c:v>39951</c:v>
                </c:pt>
                <c:pt idx="924">
                  <c:v>39952</c:v>
                </c:pt>
                <c:pt idx="925">
                  <c:v>39953</c:v>
                </c:pt>
                <c:pt idx="926">
                  <c:v>39954</c:v>
                </c:pt>
                <c:pt idx="927">
                  <c:v>39955</c:v>
                </c:pt>
                <c:pt idx="928">
                  <c:v>39959</c:v>
                </c:pt>
                <c:pt idx="929">
                  <c:v>39960</c:v>
                </c:pt>
                <c:pt idx="930">
                  <c:v>39961</c:v>
                </c:pt>
                <c:pt idx="931">
                  <c:v>39962</c:v>
                </c:pt>
                <c:pt idx="932">
                  <c:v>39965</c:v>
                </c:pt>
                <c:pt idx="933">
                  <c:v>39966</c:v>
                </c:pt>
                <c:pt idx="934">
                  <c:v>39967</c:v>
                </c:pt>
                <c:pt idx="935">
                  <c:v>39968</c:v>
                </c:pt>
                <c:pt idx="936">
                  <c:v>39969</c:v>
                </c:pt>
                <c:pt idx="937">
                  <c:v>39972</c:v>
                </c:pt>
                <c:pt idx="938">
                  <c:v>39973</c:v>
                </c:pt>
                <c:pt idx="939">
                  <c:v>39974</c:v>
                </c:pt>
                <c:pt idx="940">
                  <c:v>39975</c:v>
                </c:pt>
                <c:pt idx="941">
                  <c:v>39976</c:v>
                </c:pt>
                <c:pt idx="942">
                  <c:v>39979</c:v>
                </c:pt>
                <c:pt idx="943">
                  <c:v>39980</c:v>
                </c:pt>
                <c:pt idx="944">
                  <c:v>39981</c:v>
                </c:pt>
                <c:pt idx="945">
                  <c:v>39982</c:v>
                </c:pt>
                <c:pt idx="946">
                  <c:v>39983</c:v>
                </c:pt>
                <c:pt idx="947">
                  <c:v>39986</c:v>
                </c:pt>
                <c:pt idx="948">
                  <c:v>39987</c:v>
                </c:pt>
                <c:pt idx="949">
                  <c:v>39988</c:v>
                </c:pt>
                <c:pt idx="950">
                  <c:v>39989</c:v>
                </c:pt>
                <c:pt idx="951">
                  <c:v>39990</c:v>
                </c:pt>
                <c:pt idx="952">
                  <c:v>39993</c:v>
                </c:pt>
                <c:pt idx="953">
                  <c:v>39994</c:v>
                </c:pt>
                <c:pt idx="954">
                  <c:v>39995</c:v>
                </c:pt>
                <c:pt idx="955">
                  <c:v>39996</c:v>
                </c:pt>
                <c:pt idx="956">
                  <c:v>40000</c:v>
                </c:pt>
                <c:pt idx="957">
                  <c:v>40001</c:v>
                </c:pt>
                <c:pt idx="958">
                  <c:v>40002</c:v>
                </c:pt>
                <c:pt idx="959">
                  <c:v>40003</c:v>
                </c:pt>
                <c:pt idx="960">
                  <c:v>40004</c:v>
                </c:pt>
                <c:pt idx="961">
                  <c:v>40007</c:v>
                </c:pt>
                <c:pt idx="962">
                  <c:v>40008</c:v>
                </c:pt>
                <c:pt idx="963">
                  <c:v>40009</c:v>
                </c:pt>
                <c:pt idx="964">
                  <c:v>40010</c:v>
                </c:pt>
                <c:pt idx="965">
                  <c:v>40011</c:v>
                </c:pt>
                <c:pt idx="966">
                  <c:v>40014</c:v>
                </c:pt>
                <c:pt idx="967">
                  <c:v>40015</c:v>
                </c:pt>
                <c:pt idx="968">
                  <c:v>40016</c:v>
                </c:pt>
                <c:pt idx="969">
                  <c:v>40017</c:v>
                </c:pt>
                <c:pt idx="970">
                  <c:v>40018</c:v>
                </c:pt>
                <c:pt idx="971">
                  <c:v>40021</c:v>
                </c:pt>
                <c:pt idx="972">
                  <c:v>40022</c:v>
                </c:pt>
                <c:pt idx="973">
                  <c:v>40023</c:v>
                </c:pt>
                <c:pt idx="974">
                  <c:v>40024</c:v>
                </c:pt>
                <c:pt idx="975">
                  <c:v>40025</c:v>
                </c:pt>
                <c:pt idx="976">
                  <c:v>40028</c:v>
                </c:pt>
                <c:pt idx="977">
                  <c:v>40029</c:v>
                </c:pt>
                <c:pt idx="978">
                  <c:v>40030</c:v>
                </c:pt>
                <c:pt idx="979">
                  <c:v>40031</c:v>
                </c:pt>
                <c:pt idx="980">
                  <c:v>40032</c:v>
                </c:pt>
                <c:pt idx="981">
                  <c:v>40035</c:v>
                </c:pt>
                <c:pt idx="982">
                  <c:v>40036</c:v>
                </c:pt>
                <c:pt idx="983">
                  <c:v>40037</c:v>
                </c:pt>
                <c:pt idx="984">
                  <c:v>40038</c:v>
                </c:pt>
                <c:pt idx="985">
                  <c:v>40039</c:v>
                </c:pt>
                <c:pt idx="986">
                  <c:v>40042</c:v>
                </c:pt>
                <c:pt idx="987">
                  <c:v>40043</c:v>
                </c:pt>
                <c:pt idx="988">
                  <c:v>40044</c:v>
                </c:pt>
                <c:pt idx="989">
                  <c:v>40045</c:v>
                </c:pt>
                <c:pt idx="990">
                  <c:v>40046</c:v>
                </c:pt>
                <c:pt idx="991">
                  <c:v>40049</c:v>
                </c:pt>
                <c:pt idx="992">
                  <c:v>40050</c:v>
                </c:pt>
                <c:pt idx="993">
                  <c:v>40051</c:v>
                </c:pt>
                <c:pt idx="994">
                  <c:v>40052</c:v>
                </c:pt>
                <c:pt idx="995">
                  <c:v>40053</c:v>
                </c:pt>
                <c:pt idx="996">
                  <c:v>40056</c:v>
                </c:pt>
                <c:pt idx="997">
                  <c:v>40057</c:v>
                </c:pt>
                <c:pt idx="998">
                  <c:v>40058</c:v>
                </c:pt>
                <c:pt idx="999">
                  <c:v>40059</c:v>
                </c:pt>
                <c:pt idx="1000">
                  <c:v>40060</c:v>
                </c:pt>
                <c:pt idx="1001">
                  <c:v>40064</c:v>
                </c:pt>
                <c:pt idx="1002">
                  <c:v>40065</c:v>
                </c:pt>
                <c:pt idx="1003">
                  <c:v>40066</c:v>
                </c:pt>
                <c:pt idx="1004">
                  <c:v>40067</c:v>
                </c:pt>
                <c:pt idx="1005">
                  <c:v>40070</c:v>
                </c:pt>
                <c:pt idx="1006">
                  <c:v>40071</c:v>
                </c:pt>
                <c:pt idx="1007">
                  <c:v>40072</c:v>
                </c:pt>
                <c:pt idx="1008">
                  <c:v>40073</c:v>
                </c:pt>
                <c:pt idx="1009">
                  <c:v>40074</c:v>
                </c:pt>
                <c:pt idx="1010">
                  <c:v>40077</c:v>
                </c:pt>
                <c:pt idx="1011">
                  <c:v>40078</c:v>
                </c:pt>
                <c:pt idx="1012">
                  <c:v>40079</c:v>
                </c:pt>
                <c:pt idx="1013">
                  <c:v>40080</c:v>
                </c:pt>
                <c:pt idx="1014">
                  <c:v>40081</c:v>
                </c:pt>
                <c:pt idx="1015">
                  <c:v>40084</c:v>
                </c:pt>
                <c:pt idx="1016">
                  <c:v>40085</c:v>
                </c:pt>
                <c:pt idx="1017">
                  <c:v>40086</c:v>
                </c:pt>
                <c:pt idx="1018">
                  <c:v>40087</c:v>
                </c:pt>
                <c:pt idx="1019">
                  <c:v>40088</c:v>
                </c:pt>
                <c:pt idx="1020">
                  <c:v>40091</c:v>
                </c:pt>
                <c:pt idx="1021">
                  <c:v>40092</c:v>
                </c:pt>
                <c:pt idx="1022">
                  <c:v>40093</c:v>
                </c:pt>
                <c:pt idx="1023">
                  <c:v>40094</c:v>
                </c:pt>
                <c:pt idx="1024">
                  <c:v>40095</c:v>
                </c:pt>
                <c:pt idx="1025">
                  <c:v>40098</c:v>
                </c:pt>
                <c:pt idx="1026">
                  <c:v>40099</c:v>
                </c:pt>
                <c:pt idx="1027">
                  <c:v>40100</c:v>
                </c:pt>
                <c:pt idx="1028">
                  <c:v>40101</c:v>
                </c:pt>
                <c:pt idx="1029">
                  <c:v>40102</c:v>
                </c:pt>
                <c:pt idx="1030">
                  <c:v>40105</c:v>
                </c:pt>
                <c:pt idx="1031">
                  <c:v>40106</c:v>
                </c:pt>
                <c:pt idx="1032">
                  <c:v>40107</c:v>
                </c:pt>
                <c:pt idx="1033">
                  <c:v>40108</c:v>
                </c:pt>
                <c:pt idx="1034">
                  <c:v>40109</c:v>
                </c:pt>
                <c:pt idx="1035">
                  <c:v>40112</c:v>
                </c:pt>
                <c:pt idx="1036">
                  <c:v>40113</c:v>
                </c:pt>
                <c:pt idx="1037">
                  <c:v>40114</c:v>
                </c:pt>
                <c:pt idx="1038">
                  <c:v>40115</c:v>
                </c:pt>
                <c:pt idx="1039">
                  <c:v>40116</c:v>
                </c:pt>
                <c:pt idx="1040">
                  <c:v>40119</c:v>
                </c:pt>
                <c:pt idx="1041">
                  <c:v>40120</c:v>
                </c:pt>
                <c:pt idx="1042">
                  <c:v>40121</c:v>
                </c:pt>
                <c:pt idx="1043">
                  <c:v>40122</c:v>
                </c:pt>
                <c:pt idx="1044">
                  <c:v>40123</c:v>
                </c:pt>
                <c:pt idx="1045">
                  <c:v>40126</c:v>
                </c:pt>
                <c:pt idx="1046">
                  <c:v>40127</c:v>
                </c:pt>
                <c:pt idx="1047">
                  <c:v>40128</c:v>
                </c:pt>
                <c:pt idx="1048">
                  <c:v>40129</c:v>
                </c:pt>
                <c:pt idx="1049">
                  <c:v>40130</c:v>
                </c:pt>
                <c:pt idx="1050">
                  <c:v>40133</c:v>
                </c:pt>
                <c:pt idx="1051">
                  <c:v>40134</c:v>
                </c:pt>
                <c:pt idx="1052">
                  <c:v>40135</c:v>
                </c:pt>
                <c:pt idx="1053">
                  <c:v>40136</c:v>
                </c:pt>
                <c:pt idx="1054">
                  <c:v>40137</c:v>
                </c:pt>
                <c:pt idx="1055">
                  <c:v>40140</c:v>
                </c:pt>
                <c:pt idx="1056">
                  <c:v>40141</c:v>
                </c:pt>
                <c:pt idx="1057">
                  <c:v>40142</c:v>
                </c:pt>
                <c:pt idx="1058">
                  <c:v>40144</c:v>
                </c:pt>
                <c:pt idx="1059">
                  <c:v>40147</c:v>
                </c:pt>
                <c:pt idx="1060">
                  <c:v>40148</c:v>
                </c:pt>
                <c:pt idx="1061">
                  <c:v>40149</c:v>
                </c:pt>
                <c:pt idx="1062">
                  <c:v>40150</c:v>
                </c:pt>
                <c:pt idx="1063">
                  <c:v>40151</c:v>
                </c:pt>
                <c:pt idx="1064">
                  <c:v>40154</c:v>
                </c:pt>
                <c:pt idx="1065">
                  <c:v>40155</c:v>
                </c:pt>
                <c:pt idx="1066">
                  <c:v>40156</c:v>
                </c:pt>
                <c:pt idx="1067">
                  <c:v>40157</c:v>
                </c:pt>
                <c:pt idx="1068">
                  <c:v>40158</c:v>
                </c:pt>
                <c:pt idx="1069">
                  <c:v>40161</c:v>
                </c:pt>
                <c:pt idx="1070">
                  <c:v>40162</c:v>
                </c:pt>
                <c:pt idx="1071">
                  <c:v>40163</c:v>
                </c:pt>
                <c:pt idx="1072">
                  <c:v>40164</c:v>
                </c:pt>
                <c:pt idx="1073">
                  <c:v>40165</c:v>
                </c:pt>
                <c:pt idx="1074">
                  <c:v>40168</c:v>
                </c:pt>
                <c:pt idx="1075">
                  <c:v>40169</c:v>
                </c:pt>
                <c:pt idx="1076">
                  <c:v>40170</c:v>
                </c:pt>
                <c:pt idx="1077">
                  <c:v>40171</c:v>
                </c:pt>
                <c:pt idx="1078">
                  <c:v>40175</c:v>
                </c:pt>
                <c:pt idx="1079">
                  <c:v>40176</c:v>
                </c:pt>
                <c:pt idx="1080">
                  <c:v>40177</c:v>
                </c:pt>
                <c:pt idx="1081">
                  <c:v>40178</c:v>
                </c:pt>
                <c:pt idx="1082">
                  <c:v>40182</c:v>
                </c:pt>
                <c:pt idx="1083">
                  <c:v>40183</c:v>
                </c:pt>
                <c:pt idx="1084">
                  <c:v>40184</c:v>
                </c:pt>
                <c:pt idx="1085">
                  <c:v>40185</c:v>
                </c:pt>
                <c:pt idx="1086">
                  <c:v>40186</c:v>
                </c:pt>
                <c:pt idx="1087">
                  <c:v>40189</c:v>
                </c:pt>
                <c:pt idx="1088">
                  <c:v>40190</c:v>
                </c:pt>
                <c:pt idx="1089">
                  <c:v>40191</c:v>
                </c:pt>
                <c:pt idx="1090">
                  <c:v>40192</c:v>
                </c:pt>
                <c:pt idx="1091">
                  <c:v>40193</c:v>
                </c:pt>
                <c:pt idx="1092">
                  <c:v>40197</c:v>
                </c:pt>
                <c:pt idx="1093">
                  <c:v>40198</c:v>
                </c:pt>
                <c:pt idx="1094">
                  <c:v>40199</c:v>
                </c:pt>
                <c:pt idx="1095">
                  <c:v>40200</c:v>
                </c:pt>
                <c:pt idx="1096">
                  <c:v>40203</c:v>
                </c:pt>
                <c:pt idx="1097">
                  <c:v>40204</c:v>
                </c:pt>
                <c:pt idx="1098">
                  <c:v>40205</c:v>
                </c:pt>
                <c:pt idx="1099">
                  <c:v>40206</c:v>
                </c:pt>
                <c:pt idx="1100">
                  <c:v>40207</c:v>
                </c:pt>
                <c:pt idx="1101">
                  <c:v>40210</c:v>
                </c:pt>
                <c:pt idx="1102">
                  <c:v>40211</c:v>
                </c:pt>
                <c:pt idx="1103">
                  <c:v>40212</c:v>
                </c:pt>
                <c:pt idx="1104">
                  <c:v>40213</c:v>
                </c:pt>
                <c:pt idx="1105">
                  <c:v>40214</c:v>
                </c:pt>
                <c:pt idx="1106">
                  <c:v>40217</c:v>
                </c:pt>
                <c:pt idx="1107">
                  <c:v>40218</c:v>
                </c:pt>
                <c:pt idx="1108">
                  <c:v>40219</c:v>
                </c:pt>
                <c:pt idx="1109">
                  <c:v>40220</c:v>
                </c:pt>
                <c:pt idx="1110">
                  <c:v>40221</c:v>
                </c:pt>
                <c:pt idx="1111">
                  <c:v>40225</c:v>
                </c:pt>
                <c:pt idx="1112">
                  <c:v>40226</c:v>
                </c:pt>
                <c:pt idx="1113">
                  <c:v>40227</c:v>
                </c:pt>
                <c:pt idx="1114">
                  <c:v>40228</c:v>
                </c:pt>
                <c:pt idx="1115">
                  <c:v>40231</c:v>
                </c:pt>
                <c:pt idx="1116">
                  <c:v>40232</c:v>
                </c:pt>
                <c:pt idx="1117">
                  <c:v>40233</c:v>
                </c:pt>
                <c:pt idx="1118">
                  <c:v>40234</c:v>
                </c:pt>
                <c:pt idx="1119">
                  <c:v>40235</c:v>
                </c:pt>
                <c:pt idx="1120">
                  <c:v>40238</c:v>
                </c:pt>
                <c:pt idx="1121">
                  <c:v>40239</c:v>
                </c:pt>
                <c:pt idx="1122">
                  <c:v>40240</c:v>
                </c:pt>
                <c:pt idx="1123">
                  <c:v>40241</c:v>
                </c:pt>
                <c:pt idx="1124">
                  <c:v>40242</c:v>
                </c:pt>
                <c:pt idx="1125">
                  <c:v>40245</c:v>
                </c:pt>
                <c:pt idx="1126">
                  <c:v>40246</c:v>
                </c:pt>
                <c:pt idx="1127">
                  <c:v>40247</c:v>
                </c:pt>
                <c:pt idx="1128">
                  <c:v>40248</c:v>
                </c:pt>
                <c:pt idx="1129">
                  <c:v>40249</c:v>
                </c:pt>
                <c:pt idx="1130">
                  <c:v>40252</c:v>
                </c:pt>
                <c:pt idx="1131">
                  <c:v>40253</c:v>
                </c:pt>
                <c:pt idx="1132">
                  <c:v>40254</c:v>
                </c:pt>
                <c:pt idx="1133">
                  <c:v>40255</c:v>
                </c:pt>
                <c:pt idx="1134">
                  <c:v>40256</c:v>
                </c:pt>
                <c:pt idx="1135">
                  <c:v>40259</c:v>
                </c:pt>
                <c:pt idx="1136">
                  <c:v>40260</c:v>
                </c:pt>
                <c:pt idx="1137">
                  <c:v>40261</c:v>
                </c:pt>
                <c:pt idx="1138">
                  <c:v>40262</c:v>
                </c:pt>
                <c:pt idx="1139">
                  <c:v>40263</c:v>
                </c:pt>
                <c:pt idx="1140">
                  <c:v>40266</c:v>
                </c:pt>
                <c:pt idx="1141">
                  <c:v>40267</c:v>
                </c:pt>
                <c:pt idx="1142">
                  <c:v>40268</c:v>
                </c:pt>
                <c:pt idx="1143">
                  <c:v>40269</c:v>
                </c:pt>
                <c:pt idx="1144">
                  <c:v>40273</c:v>
                </c:pt>
                <c:pt idx="1145">
                  <c:v>40274</c:v>
                </c:pt>
                <c:pt idx="1146">
                  <c:v>40275</c:v>
                </c:pt>
                <c:pt idx="1147">
                  <c:v>40276</c:v>
                </c:pt>
                <c:pt idx="1148">
                  <c:v>40277</c:v>
                </c:pt>
                <c:pt idx="1149">
                  <c:v>40280</c:v>
                </c:pt>
                <c:pt idx="1150">
                  <c:v>40281</c:v>
                </c:pt>
                <c:pt idx="1151">
                  <c:v>40282</c:v>
                </c:pt>
                <c:pt idx="1152">
                  <c:v>40283</c:v>
                </c:pt>
                <c:pt idx="1153">
                  <c:v>40284</c:v>
                </c:pt>
                <c:pt idx="1154">
                  <c:v>40287</c:v>
                </c:pt>
                <c:pt idx="1155">
                  <c:v>40288</c:v>
                </c:pt>
                <c:pt idx="1156">
                  <c:v>40289</c:v>
                </c:pt>
                <c:pt idx="1157">
                  <c:v>40290</c:v>
                </c:pt>
                <c:pt idx="1158">
                  <c:v>40291</c:v>
                </c:pt>
                <c:pt idx="1159">
                  <c:v>40294</c:v>
                </c:pt>
                <c:pt idx="1160">
                  <c:v>40295</c:v>
                </c:pt>
                <c:pt idx="1161">
                  <c:v>40296</c:v>
                </c:pt>
                <c:pt idx="1162">
                  <c:v>40297</c:v>
                </c:pt>
                <c:pt idx="1163">
                  <c:v>40298</c:v>
                </c:pt>
                <c:pt idx="1164">
                  <c:v>40301</c:v>
                </c:pt>
                <c:pt idx="1165">
                  <c:v>40302</c:v>
                </c:pt>
                <c:pt idx="1166">
                  <c:v>40303</c:v>
                </c:pt>
                <c:pt idx="1167">
                  <c:v>40304</c:v>
                </c:pt>
                <c:pt idx="1168">
                  <c:v>40305</c:v>
                </c:pt>
                <c:pt idx="1169">
                  <c:v>40308</c:v>
                </c:pt>
                <c:pt idx="1170">
                  <c:v>40309</c:v>
                </c:pt>
                <c:pt idx="1171">
                  <c:v>40310</c:v>
                </c:pt>
                <c:pt idx="1172">
                  <c:v>40311</c:v>
                </c:pt>
                <c:pt idx="1173">
                  <c:v>40312</c:v>
                </c:pt>
                <c:pt idx="1174">
                  <c:v>40315</c:v>
                </c:pt>
                <c:pt idx="1175">
                  <c:v>40316</c:v>
                </c:pt>
                <c:pt idx="1176">
                  <c:v>40317</c:v>
                </c:pt>
                <c:pt idx="1177">
                  <c:v>40318</c:v>
                </c:pt>
                <c:pt idx="1178">
                  <c:v>40319</c:v>
                </c:pt>
                <c:pt idx="1179">
                  <c:v>40322</c:v>
                </c:pt>
                <c:pt idx="1180">
                  <c:v>40323</c:v>
                </c:pt>
                <c:pt idx="1181">
                  <c:v>40324</c:v>
                </c:pt>
                <c:pt idx="1182">
                  <c:v>40325</c:v>
                </c:pt>
                <c:pt idx="1183">
                  <c:v>40326</c:v>
                </c:pt>
                <c:pt idx="1184">
                  <c:v>40330</c:v>
                </c:pt>
                <c:pt idx="1185">
                  <c:v>40331</c:v>
                </c:pt>
                <c:pt idx="1186">
                  <c:v>40332</c:v>
                </c:pt>
                <c:pt idx="1187">
                  <c:v>40333</c:v>
                </c:pt>
                <c:pt idx="1188">
                  <c:v>40336</c:v>
                </c:pt>
                <c:pt idx="1189">
                  <c:v>40337</c:v>
                </c:pt>
                <c:pt idx="1190">
                  <c:v>40338</c:v>
                </c:pt>
                <c:pt idx="1191">
                  <c:v>40339</c:v>
                </c:pt>
                <c:pt idx="1192">
                  <c:v>40340</c:v>
                </c:pt>
                <c:pt idx="1193">
                  <c:v>40343</c:v>
                </c:pt>
                <c:pt idx="1194">
                  <c:v>40344</c:v>
                </c:pt>
                <c:pt idx="1195">
                  <c:v>40345</c:v>
                </c:pt>
                <c:pt idx="1196">
                  <c:v>40346</c:v>
                </c:pt>
                <c:pt idx="1197">
                  <c:v>40347</c:v>
                </c:pt>
                <c:pt idx="1198">
                  <c:v>40350</c:v>
                </c:pt>
                <c:pt idx="1199">
                  <c:v>40351</c:v>
                </c:pt>
                <c:pt idx="1200">
                  <c:v>40352</c:v>
                </c:pt>
                <c:pt idx="1201">
                  <c:v>40353</c:v>
                </c:pt>
                <c:pt idx="1202">
                  <c:v>40354</c:v>
                </c:pt>
                <c:pt idx="1203">
                  <c:v>40357</c:v>
                </c:pt>
                <c:pt idx="1204">
                  <c:v>40358</c:v>
                </c:pt>
                <c:pt idx="1205">
                  <c:v>40359</c:v>
                </c:pt>
                <c:pt idx="1206">
                  <c:v>40360</c:v>
                </c:pt>
                <c:pt idx="1207">
                  <c:v>40361</c:v>
                </c:pt>
                <c:pt idx="1208">
                  <c:v>40365</c:v>
                </c:pt>
                <c:pt idx="1209">
                  <c:v>40366</c:v>
                </c:pt>
                <c:pt idx="1210">
                  <c:v>40367</c:v>
                </c:pt>
                <c:pt idx="1211">
                  <c:v>40368</c:v>
                </c:pt>
                <c:pt idx="1212">
                  <c:v>40371</c:v>
                </c:pt>
                <c:pt idx="1213">
                  <c:v>40372</c:v>
                </c:pt>
                <c:pt idx="1214">
                  <c:v>40373</c:v>
                </c:pt>
                <c:pt idx="1215">
                  <c:v>40374</c:v>
                </c:pt>
                <c:pt idx="1216">
                  <c:v>40375</c:v>
                </c:pt>
                <c:pt idx="1217">
                  <c:v>40378</c:v>
                </c:pt>
                <c:pt idx="1218">
                  <c:v>40379</c:v>
                </c:pt>
                <c:pt idx="1219">
                  <c:v>40380</c:v>
                </c:pt>
                <c:pt idx="1220">
                  <c:v>40381</c:v>
                </c:pt>
                <c:pt idx="1221">
                  <c:v>40382</c:v>
                </c:pt>
                <c:pt idx="1222">
                  <c:v>40385</c:v>
                </c:pt>
                <c:pt idx="1223">
                  <c:v>40386</c:v>
                </c:pt>
                <c:pt idx="1224">
                  <c:v>40387</c:v>
                </c:pt>
                <c:pt idx="1225">
                  <c:v>40388</c:v>
                </c:pt>
                <c:pt idx="1226">
                  <c:v>40389</c:v>
                </c:pt>
                <c:pt idx="1227">
                  <c:v>40392</c:v>
                </c:pt>
                <c:pt idx="1228">
                  <c:v>40393</c:v>
                </c:pt>
                <c:pt idx="1229">
                  <c:v>40394</c:v>
                </c:pt>
                <c:pt idx="1230">
                  <c:v>40395</c:v>
                </c:pt>
                <c:pt idx="1231">
                  <c:v>40396</c:v>
                </c:pt>
                <c:pt idx="1232">
                  <c:v>40399</c:v>
                </c:pt>
                <c:pt idx="1233">
                  <c:v>40400</c:v>
                </c:pt>
                <c:pt idx="1234">
                  <c:v>40401</c:v>
                </c:pt>
                <c:pt idx="1235">
                  <c:v>40402</c:v>
                </c:pt>
                <c:pt idx="1236">
                  <c:v>40403</c:v>
                </c:pt>
                <c:pt idx="1237">
                  <c:v>40406</c:v>
                </c:pt>
                <c:pt idx="1238">
                  <c:v>40407</c:v>
                </c:pt>
                <c:pt idx="1239">
                  <c:v>40408</c:v>
                </c:pt>
                <c:pt idx="1240">
                  <c:v>40409</c:v>
                </c:pt>
                <c:pt idx="1241">
                  <c:v>40410</c:v>
                </c:pt>
                <c:pt idx="1242">
                  <c:v>40413</c:v>
                </c:pt>
                <c:pt idx="1243">
                  <c:v>40414</c:v>
                </c:pt>
                <c:pt idx="1244">
                  <c:v>40415</c:v>
                </c:pt>
                <c:pt idx="1245">
                  <c:v>40416</c:v>
                </c:pt>
                <c:pt idx="1246">
                  <c:v>40417</c:v>
                </c:pt>
                <c:pt idx="1247">
                  <c:v>40420</c:v>
                </c:pt>
                <c:pt idx="1248">
                  <c:v>40421</c:v>
                </c:pt>
                <c:pt idx="1249">
                  <c:v>40422</c:v>
                </c:pt>
                <c:pt idx="1250">
                  <c:v>40423</c:v>
                </c:pt>
                <c:pt idx="1251">
                  <c:v>40424</c:v>
                </c:pt>
                <c:pt idx="1252">
                  <c:v>40428</c:v>
                </c:pt>
                <c:pt idx="1253">
                  <c:v>40429</c:v>
                </c:pt>
                <c:pt idx="1254">
                  <c:v>40430</c:v>
                </c:pt>
                <c:pt idx="1255">
                  <c:v>40431</c:v>
                </c:pt>
                <c:pt idx="1256">
                  <c:v>40434</c:v>
                </c:pt>
                <c:pt idx="1257">
                  <c:v>40435</c:v>
                </c:pt>
                <c:pt idx="1258">
                  <c:v>40436</c:v>
                </c:pt>
                <c:pt idx="1259">
                  <c:v>40437</c:v>
                </c:pt>
                <c:pt idx="1260">
                  <c:v>40438</c:v>
                </c:pt>
                <c:pt idx="1261">
                  <c:v>40441</c:v>
                </c:pt>
                <c:pt idx="1262">
                  <c:v>40442</c:v>
                </c:pt>
                <c:pt idx="1263">
                  <c:v>40443</c:v>
                </c:pt>
                <c:pt idx="1264">
                  <c:v>40444</c:v>
                </c:pt>
                <c:pt idx="1265">
                  <c:v>40445</c:v>
                </c:pt>
                <c:pt idx="1266">
                  <c:v>40448</c:v>
                </c:pt>
                <c:pt idx="1267">
                  <c:v>40449</c:v>
                </c:pt>
                <c:pt idx="1268">
                  <c:v>40450</c:v>
                </c:pt>
                <c:pt idx="1269">
                  <c:v>40451</c:v>
                </c:pt>
                <c:pt idx="1270">
                  <c:v>40452</c:v>
                </c:pt>
                <c:pt idx="1271">
                  <c:v>40455</c:v>
                </c:pt>
                <c:pt idx="1272">
                  <c:v>40456</c:v>
                </c:pt>
                <c:pt idx="1273">
                  <c:v>40457</c:v>
                </c:pt>
                <c:pt idx="1274">
                  <c:v>40458</c:v>
                </c:pt>
                <c:pt idx="1275">
                  <c:v>40459</c:v>
                </c:pt>
                <c:pt idx="1276">
                  <c:v>40462</c:v>
                </c:pt>
                <c:pt idx="1277">
                  <c:v>40463</c:v>
                </c:pt>
                <c:pt idx="1278">
                  <c:v>40464</c:v>
                </c:pt>
                <c:pt idx="1279">
                  <c:v>40465</c:v>
                </c:pt>
                <c:pt idx="1280">
                  <c:v>40466</c:v>
                </c:pt>
                <c:pt idx="1281">
                  <c:v>40469</c:v>
                </c:pt>
                <c:pt idx="1282">
                  <c:v>40470</c:v>
                </c:pt>
                <c:pt idx="1283">
                  <c:v>40471</c:v>
                </c:pt>
                <c:pt idx="1284">
                  <c:v>40472</c:v>
                </c:pt>
                <c:pt idx="1285">
                  <c:v>40473</c:v>
                </c:pt>
                <c:pt idx="1286">
                  <c:v>40476</c:v>
                </c:pt>
                <c:pt idx="1287">
                  <c:v>40477</c:v>
                </c:pt>
                <c:pt idx="1288">
                  <c:v>40478</c:v>
                </c:pt>
                <c:pt idx="1289">
                  <c:v>40479</c:v>
                </c:pt>
                <c:pt idx="1290">
                  <c:v>40480</c:v>
                </c:pt>
                <c:pt idx="1291">
                  <c:v>40483</c:v>
                </c:pt>
                <c:pt idx="1292">
                  <c:v>40484</c:v>
                </c:pt>
                <c:pt idx="1293">
                  <c:v>40485</c:v>
                </c:pt>
                <c:pt idx="1294">
                  <c:v>40486</c:v>
                </c:pt>
                <c:pt idx="1295">
                  <c:v>40487</c:v>
                </c:pt>
                <c:pt idx="1296">
                  <c:v>40490</c:v>
                </c:pt>
                <c:pt idx="1297">
                  <c:v>40491</c:v>
                </c:pt>
                <c:pt idx="1298">
                  <c:v>40492</c:v>
                </c:pt>
                <c:pt idx="1299">
                  <c:v>40493</c:v>
                </c:pt>
                <c:pt idx="1300">
                  <c:v>40494</c:v>
                </c:pt>
                <c:pt idx="1301">
                  <c:v>40497</c:v>
                </c:pt>
                <c:pt idx="1302">
                  <c:v>40498</c:v>
                </c:pt>
                <c:pt idx="1303">
                  <c:v>40499</c:v>
                </c:pt>
                <c:pt idx="1304">
                  <c:v>40500</c:v>
                </c:pt>
                <c:pt idx="1305">
                  <c:v>40501</c:v>
                </c:pt>
                <c:pt idx="1306">
                  <c:v>40504</c:v>
                </c:pt>
                <c:pt idx="1307">
                  <c:v>40505</c:v>
                </c:pt>
                <c:pt idx="1308">
                  <c:v>40506</c:v>
                </c:pt>
                <c:pt idx="1309">
                  <c:v>40508</c:v>
                </c:pt>
                <c:pt idx="1310">
                  <c:v>40511</c:v>
                </c:pt>
                <c:pt idx="1311">
                  <c:v>40512</c:v>
                </c:pt>
                <c:pt idx="1312">
                  <c:v>40513</c:v>
                </c:pt>
                <c:pt idx="1313">
                  <c:v>40514</c:v>
                </c:pt>
                <c:pt idx="1314">
                  <c:v>40515</c:v>
                </c:pt>
                <c:pt idx="1315">
                  <c:v>40518</c:v>
                </c:pt>
                <c:pt idx="1316">
                  <c:v>40519</c:v>
                </c:pt>
                <c:pt idx="1317">
                  <c:v>40520</c:v>
                </c:pt>
                <c:pt idx="1318">
                  <c:v>40521</c:v>
                </c:pt>
                <c:pt idx="1319">
                  <c:v>40522</c:v>
                </c:pt>
                <c:pt idx="1320">
                  <c:v>40525</c:v>
                </c:pt>
                <c:pt idx="1321">
                  <c:v>40526</c:v>
                </c:pt>
                <c:pt idx="1322">
                  <c:v>40527</c:v>
                </c:pt>
                <c:pt idx="1323">
                  <c:v>40528</c:v>
                </c:pt>
                <c:pt idx="1324">
                  <c:v>40529</c:v>
                </c:pt>
                <c:pt idx="1325">
                  <c:v>40532</c:v>
                </c:pt>
                <c:pt idx="1326">
                  <c:v>40533</c:v>
                </c:pt>
                <c:pt idx="1327">
                  <c:v>40534</c:v>
                </c:pt>
                <c:pt idx="1328">
                  <c:v>40535</c:v>
                </c:pt>
                <c:pt idx="1329">
                  <c:v>40539</c:v>
                </c:pt>
                <c:pt idx="1330">
                  <c:v>40540</c:v>
                </c:pt>
                <c:pt idx="1331">
                  <c:v>40541</c:v>
                </c:pt>
                <c:pt idx="1332">
                  <c:v>40542</c:v>
                </c:pt>
                <c:pt idx="1333">
                  <c:v>40543</c:v>
                </c:pt>
                <c:pt idx="1334">
                  <c:v>40546</c:v>
                </c:pt>
                <c:pt idx="1335">
                  <c:v>40547</c:v>
                </c:pt>
                <c:pt idx="1336">
                  <c:v>40548</c:v>
                </c:pt>
                <c:pt idx="1337">
                  <c:v>40549</c:v>
                </c:pt>
                <c:pt idx="1338">
                  <c:v>40550</c:v>
                </c:pt>
                <c:pt idx="1339">
                  <c:v>40553</c:v>
                </c:pt>
                <c:pt idx="1340">
                  <c:v>40554</c:v>
                </c:pt>
                <c:pt idx="1341">
                  <c:v>40555</c:v>
                </c:pt>
                <c:pt idx="1342">
                  <c:v>40556</c:v>
                </c:pt>
                <c:pt idx="1343">
                  <c:v>40557</c:v>
                </c:pt>
                <c:pt idx="1344">
                  <c:v>40561</c:v>
                </c:pt>
                <c:pt idx="1345">
                  <c:v>40562</c:v>
                </c:pt>
                <c:pt idx="1346">
                  <c:v>40563</c:v>
                </c:pt>
                <c:pt idx="1347">
                  <c:v>40564</c:v>
                </c:pt>
                <c:pt idx="1348">
                  <c:v>40567</c:v>
                </c:pt>
                <c:pt idx="1349">
                  <c:v>40568</c:v>
                </c:pt>
                <c:pt idx="1350">
                  <c:v>40569</c:v>
                </c:pt>
                <c:pt idx="1351">
                  <c:v>40570</c:v>
                </c:pt>
                <c:pt idx="1352">
                  <c:v>40571</c:v>
                </c:pt>
                <c:pt idx="1353">
                  <c:v>40574</c:v>
                </c:pt>
                <c:pt idx="1354">
                  <c:v>40575</c:v>
                </c:pt>
                <c:pt idx="1355">
                  <c:v>40576</c:v>
                </c:pt>
                <c:pt idx="1356">
                  <c:v>40577</c:v>
                </c:pt>
                <c:pt idx="1357">
                  <c:v>40578</c:v>
                </c:pt>
                <c:pt idx="1358">
                  <c:v>40581</c:v>
                </c:pt>
                <c:pt idx="1359">
                  <c:v>40582</c:v>
                </c:pt>
                <c:pt idx="1360">
                  <c:v>40583</c:v>
                </c:pt>
                <c:pt idx="1361">
                  <c:v>40584</c:v>
                </c:pt>
                <c:pt idx="1362">
                  <c:v>40585</c:v>
                </c:pt>
                <c:pt idx="1363">
                  <c:v>40588</c:v>
                </c:pt>
                <c:pt idx="1364">
                  <c:v>40589</c:v>
                </c:pt>
                <c:pt idx="1365">
                  <c:v>40590</c:v>
                </c:pt>
                <c:pt idx="1366">
                  <c:v>40591</c:v>
                </c:pt>
                <c:pt idx="1367">
                  <c:v>40592</c:v>
                </c:pt>
                <c:pt idx="1368">
                  <c:v>40596</c:v>
                </c:pt>
                <c:pt idx="1369">
                  <c:v>40597</c:v>
                </c:pt>
                <c:pt idx="1370">
                  <c:v>40598</c:v>
                </c:pt>
                <c:pt idx="1371">
                  <c:v>40599</c:v>
                </c:pt>
                <c:pt idx="1372">
                  <c:v>40602</c:v>
                </c:pt>
                <c:pt idx="1373">
                  <c:v>40603</c:v>
                </c:pt>
                <c:pt idx="1374">
                  <c:v>40604</c:v>
                </c:pt>
                <c:pt idx="1375">
                  <c:v>40605</c:v>
                </c:pt>
                <c:pt idx="1376">
                  <c:v>40606</c:v>
                </c:pt>
                <c:pt idx="1377">
                  <c:v>40609</c:v>
                </c:pt>
                <c:pt idx="1378">
                  <c:v>40610</c:v>
                </c:pt>
                <c:pt idx="1379">
                  <c:v>40611</c:v>
                </c:pt>
                <c:pt idx="1380">
                  <c:v>40612</c:v>
                </c:pt>
                <c:pt idx="1381">
                  <c:v>40613</c:v>
                </c:pt>
                <c:pt idx="1382">
                  <c:v>40616</c:v>
                </c:pt>
                <c:pt idx="1383">
                  <c:v>40617</c:v>
                </c:pt>
                <c:pt idx="1384">
                  <c:v>40618</c:v>
                </c:pt>
                <c:pt idx="1385">
                  <c:v>40619</c:v>
                </c:pt>
                <c:pt idx="1386">
                  <c:v>40620</c:v>
                </c:pt>
                <c:pt idx="1387">
                  <c:v>40623</c:v>
                </c:pt>
                <c:pt idx="1388">
                  <c:v>40624</c:v>
                </c:pt>
                <c:pt idx="1389">
                  <c:v>40625</c:v>
                </c:pt>
                <c:pt idx="1390">
                  <c:v>40626</c:v>
                </c:pt>
                <c:pt idx="1391">
                  <c:v>40627</c:v>
                </c:pt>
                <c:pt idx="1392">
                  <c:v>40630</c:v>
                </c:pt>
                <c:pt idx="1393">
                  <c:v>40631</c:v>
                </c:pt>
                <c:pt idx="1394">
                  <c:v>40632</c:v>
                </c:pt>
                <c:pt idx="1395">
                  <c:v>40633</c:v>
                </c:pt>
                <c:pt idx="1396">
                  <c:v>40634</c:v>
                </c:pt>
                <c:pt idx="1397">
                  <c:v>40637</c:v>
                </c:pt>
                <c:pt idx="1398">
                  <c:v>40638</c:v>
                </c:pt>
                <c:pt idx="1399">
                  <c:v>40639</c:v>
                </c:pt>
                <c:pt idx="1400">
                  <c:v>40640</c:v>
                </c:pt>
                <c:pt idx="1401">
                  <c:v>40641</c:v>
                </c:pt>
                <c:pt idx="1402">
                  <c:v>40644</c:v>
                </c:pt>
                <c:pt idx="1403">
                  <c:v>40645</c:v>
                </c:pt>
                <c:pt idx="1404">
                  <c:v>40646</c:v>
                </c:pt>
                <c:pt idx="1405">
                  <c:v>40647</c:v>
                </c:pt>
                <c:pt idx="1406">
                  <c:v>40648</c:v>
                </c:pt>
                <c:pt idx="1407">
                  <c:v>40651</c:v>
                </c:pt>
                <c:pt idx="1408">
                  <c:v>40652</c:v>
                </c:pt>
                <c:pt idx="1409">
                  <c:v>40653</c:v>
                </c:pt>
                <c:pt idx="1410">
                  <c:v>40654</c:v>
                </c:pt>
                <c:pt idx="1411">
                  <c:v>40658</c:v>
                </c:pt>
                <c:pt idx="1412">
                  <c:v>40659</c:v>
                </c:pt>
                <c:pt idx="1413">
                  <c:v>40660</c:v>
                </c:pt>
                <c:pt idx="1414">
                  <c:v>40661</c:v>
                </c:pt>
                <c:pt idx="1415">
                  <c:v>40662</c:v>
                </c:pt>
                <c:pt idx="1416">
                  <c:v>40665</c:v>
                </c:pt>
                <c:pt idx="1417">
                  <c:v>40666</c:v>
                </c:pt>
                <c:pt idx="1418">
                  <c:v>40667</c:v>
                </c:pt>
                <c:pt idx="1419">
                  <c:v>40668</c:v>
                </c:pt>
                <c:pt idx="1420">
                  <c:v>40669</c:v>
                </c:pt>
                <c:pt idx="1421">
                  <c:v>40672</c:v>
                </c:pt>
                <c:pt idx="1422">
                  <c:v>40673</c:v>
                </c:pt>
                <c:pt idx="1423">
                  <c:v>40674</c:v>
                </c:pt>
                <c:pt idx="1424">
                  <c:v>40675</c:v>
                </c:pt>
                <c:pt idx="1425">
                  <c:v>40676</c:v>
                </c:pt>
                <c:pt idx="1426">
                  <c:v>40679</c:v>
                </c:pt>
                <c:pt idx="1427">
                  <c:v>40680</c:v>
                </c:pt>
                <c:pt idx="1428">
                  <c:v>40681</c:v>
                </c:pt>
                <c:pt idx="1429">
                  <c:v>40682</c:v>
                </c:pt>
                <c:pt idx="1430">
                  <c:v>40683</c:v>
                </c:pt>
                <c:pt idx="1431">
                  <c:v>40686</c:v>
                </c:pt>
                <c:pt idx="1432">
                  <c:v>40687</c:v>
                </c:pt>
                <c:pt idx="1433">
                  <c:v>40688</c:v>
                </c:pt>
                <c:pt idx="1434">
                  <c:v>40689</c:v>
                </c:pt>
                <c:pt idx="1435">
                  <c:v>40690</c:v>
                </c:pt>
                <c:pt idx="1436">
                  <c:v>40694</c:v>
                </c:pt>
                <c:pt idx="1437">
                  <c:v>40695</c:v>
                </c:pt>
                <c:pt idx="1438">
                  <c:v>40696</c:v>
                </c:pt>
                <c:pt idx="1439">
                  <c:v>40697</c:v>
                </c:pt>
                <c:pt idx="1440">
                  <c:v>40700</c:v>
                </c:pt>
                <c:pt idx="1441">
                  <c:v>40701</c:v>
                </c:pt>
                <c:pt idx="1442">
                  <c:v>40702</c:v>
                </c:pt>
                <c:pt idx="1443">
                  <c:v>40703</c:v>
                </c:pt>
                <c:pt idx="1444">
                  <c:v>40704</c:v>
                </c:pt>
                <c:pt idx="1445">
                  <c:v>40707</c:v>
                </c:pt>
                <c:pt idx="1446">
                  <c:v>40708</c:v>
                </c:pt>
                <c:pt idx="1447">
                  <c:v>40709</c:v>
                </c:pt>
                <c:pt idx="1448">
                  <c:v>40710</c:v>
                </c:pt>
                <c:pt idx="1449">
                  <c:v>40711</c:v>
                </c:pt>
                <c:pt idx="1450">
                  <c:v>40714</c:v>
                </c:pt>
                <c:pt idx="1451">
                  <c:v>40715</c:v>
                </c:pt>
                <c:pt idx="1452">
                  <c:v>40716</c:v>
                </c:pt>
                <c:pt idx="1453">
                  <c:v>40717</c:v>
                </c:pt>
                <c:pt idx="1454">
                  <c:v>40718</c:v>
                </c:pt>
                <c:pt idx="1455">
                  <c:v>40721</c:v>
                </c:pt>
                <c:pt idx="1456">
                  <c:v>40722</c:v>
                </c:pt>
                <c:pt idx="1457">
                  <c:v>40723</c:v>
                </c:pt>
                <c:pt idx="1458">
                  <c:v>40724</c:v>
                </c:pt>
                <c:pt idx="1459">
                  <c:v>40725</c:v>
                </c:pt>
                <c:pt idx="1460">
                  <c:v>40729</c:v>
                </c:pt>
                <c:pt idx="1461">
                  <c:v>40730</c:v>
                </c:pt>
                <c:pt idx="1462">
                  <c:v>40731</c:v>
                </c:pt>
                <c:pt idx="1463">
                  <c:v>40732</c:v>
                </c:pt>
                <c:pt idx="1464">
                  <c:v>40735</c:v>
                </c:pt>
                <c:pt idx="1465">
                  <c:v>40736</c:v>
                </c:pt>
                <c:pt idx="1466">
                  <c:v>40737</c:v>
                </c:pt>
                <c:pt idx="1467">
                  <c:v>40738</c:v>
                </c:pt>
                <c:pt idx="1468">
                  <c:v>40739</c:v>
                </c:pt>
                <c:pt idx="1469">
                  <c:v>40742</c:v>
                </c:pt>
                <c:pt idx="1470">
                  <c:v>40743</c:v>
                </c:pt>
                <c:pt idx="1471">
                  <c:v>40744</c:v>
                </c:pt>
                <c:pt idx="1472">
                  <c:v>40745</c:v>
                </c:pt>
                <c:pt idx="1473">
                  <c:v>40746</c:v>
                </c:pt>
                <c:pt idx="1474">
                  <c:v>40749</c:v>
                </c:pt>
                <c:pt idx="1475">
                  <c:v>40750</c:v>
                </c:pt>
                <c:pt idx="1476">
                  <c:v>40751</c:v>
                </c:pt>
                <c:pt idx="1477">
                  <c:v>40752</c:v>
                </c:pt>
                <c:pt idx="1478">
                  <c:v>40753</c:v>
                </c:pt>
                <c:pt idx="1479">
                  <c:v>40756</c:v>
                </c:pt>
                <c:pt idx="1480">
                  <c:v>40757</c:v>
                </c:pt>
                <c:pt idx="1481">
                  <c:v>40758</c:v>
                </c:pt>
                <c:pt idx="1482">
                  <c:v>40759</c:v>
                </c:pt>
                <c:pt idx="1483">
                  <c:v>40760</c:v>
                </c:pt>
                <c:pt idx="1484">
                  <c:v>40763</c:v>
                </c:pt>
                <c:pt idx="1485">
                  <c:v>40764</c:v>
                </c:pt>
                <c:pt idx="1486">
                  <c:v>40765</c:v>
                </c:pt>
                <c:pt idx="1487">
                  <c:v>40766</c:v>
                </c:pt>
                <c:pt idx="1488">
                  <c:v>40767</c:v>
                </c:pt>
                <c:pt idx="1489">
                  <c:v>40770</c:v>
                </c:pt>
                <c:pt idx="1490">
                  <c:v>40771</c:v>
                </c:pt>
                <c:pt idx="1491">
                  <c:v>40772</c:v>
                </c:pt>
                <c:pt idx="1492">
                  <c:v>40773</c:v>
                </c:pt>
                <c:pt idx="1493">
                  <c:v>40774</c:v>
                </c:pt>
                <c:pt idx="1494">
                  <c:v>40777</c:v>
                </c:pt>
                <c:pt idx="1495">
                  <c:v>40778</c:v>
                </c:pt>
                <c:pt idx="1496">
                  <c:v>40779</c:v>
                </c:pt>
                <c:pt idx="1497">
                  <c:v>40780</c:v>
                </c:pt>
                <c:pt idx="1498">
                  <c:v>40781</c:v>
                </c:pt>
                <c:pt idx="1499">
                  <c:v>40784</c:v>
                </c:pt>
                <c:pt idx="1500">
                  <c:v>40785</c:v>
                </c:pt>
                <c:pt idx="1501">
                  <c:v>40786</c:v>
                </c:pt>
                <c:pt idx="1502">
                  <c:v>40787</c:v>
                </c:pt>
                <c:pt idx="1503">
                  <c:v>40788</c:v>
                </c:pt>
                <c:pt idx="1504">
                  <c:v>40792</c:v>
                </c:pt>
                <c:pt idx="1505">
                  <c:v>40793</c:v>
                </c:pt>
                <c:pt idx="1506">
                  <c:v>40794</c:v>
                </c:pt>
                <c:pt idx="1507">
                  <c:v>40795</c:v>
                </c:pt>
                <c:pt idx="1508">
                  <c:v>40798</c:v>
                </c:pt>
                <c:pt idx="1509">
                  <c:v>40799</c:v>
                </c:pt>
                <c:pt idx="1510">
                  <c:v>40800</c:v>
                </c:pt>
                <c:pt idx="1511">
                  <c:v>40801</c:v>
                </c:pt>
                <c:pt idx="1512">
                  <c:v>40802</c:v>
                </c:pt>
                <c:pt idx="1513">
                  <c:v>40805</c:v>
                </c:pt>
                <c:pt idx="1514">
                  <c:v>40806</c:v>
                </c:pt>
                <c:pt idx="1515">
                  <c:v>40807</c:v>
                </c:pt>
                <c:pt idx="1516">
                  <c:v>40808</c:v>
                </c:pt>
                <c:pt idx="1517">
                  <c:v>40809</c:v>
                </c:pt>
                <c:pt idx="1518">
                  <c:v>40812</c:v>
                </c:pt>
                <c:pt idx="1519">
                  <c:v>40813</c:v>
                </c:pt>
                <c:pt idx="1520">
                  <c:v>40814</c:v>
                </c:pt>
                <c:pt idx="1521">
                  <c:v>40815</c:v>
                </c:pt>
                <c:pt idx="1522">
                  <c:v>40816</c:v>
                </c:pt>
                <c:pt idx="1523">
                  <c:v>40819</c:v>
                </c:pt>
                <c:pt idx="1524">
                  <c:v>40820</c:v>
                </c:pt>
                <c:pt idx="1525">
                  <c:v>40821</c:v>
                </c:pt>
                <c:pt idx="1526">
                  <c:v>40822</c:v>
                </c:pt>
                <c:pt idx="1527">
                  <c:v>40823</c:v>
                </c:pt>
                <c:pt idx="1528">
                  <c:v>40826</c:v>
                </c:pt>
                <c:pt idx="1529">
                  <c:v>40827</c:v>
                </c:pt>
                <c:pt idx="1530">
                  <c:v>40828</c:v>
                </c:pt>
                <c:pt idx="1531">
                  <c:v>40829</c:v>
                </c:pt>
                <c:pt idx="1532">
                  <c:v>40830</c:v>
                </c:pt>
                <c:pt idx="1533">
                  <c:v>40833</c:v>
                </c:pt>
                <c:pt idx="1534">
                  <c:v>40834</c:v>
                </c:pt>
                <c:pt idx="1535">
                  <c:v>40835</c:v>
                </c:pt>
                <c:pt idx="1536">
                  <c:v>40836</c:v>
                </c:pt>
                <c:pt idx="1537">
                  <c:v>40837</c:v>
                </c:pt>
                <c:pt idx="1538">
                  <c:v>40840</c:v>
                </c:pt>
                <c:pt idx="1539">
                  <c:v>40841</c:v>
                </c:pt>
                <c:pt idx="1540">
                  <c:v>40842</c:v>
                </c:pt>
                <c:pt idx="1541">
                  <c:v>40843</c:v>
                </c:pt>
                <c:pt idx="1542">
                  <c:v>40844</c:v>
                </c:pt>
                <c:pt idx="1543">
                  <c:v>40847</c:v>
                </c:pt>
                <c:pt idx="1544">
                  <c:v>40848</c:v>
                </c:pt>
                <c:pt idx="1545">
                  <c:v>40849</c:v>
                </c:pt>
                <c:pt idx="1546">
                  <c:v>40850</c:v>
                </c:pt>
                <c:pt idx="1547">
                  <c:v>40851</c:v>
                </c:pt>
                <c:pt idx="1548">
                  <c:v>40854</c:v>
                </c:pt>
                <c:pt idx="1549">
                  <c:v>40855</c:v>
                </c:pt>
                <c:pt idx="1550">
                  <c:v>40856</c:v>
                </c:pt>
                <c:pt idx="1551">
                  <c:v>40857</c:v>
                </c:pt>
                <c:pt idx="1552">
                  <c:v>40858</c:v>
                </c:pt>
                <c:pt idx="1553">
                  <c:v>40861</c:v>
                </c:pt>
                <c:pt idx="1554">
                  <c:v>40862</c:v>
                </c:pt>
                <c:pt idx="1555">
                  <c:v>40863</c:v>
                </c:pt>
                <c:pt idx="1556">
                  <c:v>40864</c:v>
                </c:pt>
                <c:pt idx="1557">
                  <c:v>40865</c:v>
                </c:pt>
                <c:pt idx="1558">
                  <c:v>40868</c:v>
                </c:pt>
                <c:pt idx="1559">
                  <c:v>40869</c:v>
                </c:pt>
                <c:pt idx="1560">
                  <c:v>40870</c:v>
                </c:pt>
                <c:pt idx="1561">
                  <c:v>40872</c:v>
                </c:pt>
                <c:pt idx="1562">
                  <c:v>40875</c:v>
                </c:pt>
                <c:pt idx="1563">
                  <c:v>40876</c:v>
                </c:pt>
                <c:pt idx="1564">
                  <c:v>40877</c:v>
                </c:pt>
                <c:pt idx="1565">
                  <c:v>40878</c:v>
                </c:pt>
                <c:pt idx="1566">
                  <c:v>40879</c:v>
                </c:pt>
                <c:pt idx="1567">
                  <c:v>40882</c:v>
                </c:pt>
                <c:pt idx="1568">
                  <c:v>40883</c:v>
                </c:pt>
                <c:pt idx="1569">
                  <c:v>40884</c:v>
                </c:pt>
                <c:pt idx="1570">
                  <c:v>40885</c:v>
                </c:pt>
                <c:pt idx="1571">
                  <c:v>40886</c:v>
                </c:pt>
                <c:pt idx="1572">
                  <c:v>40889</c:v>
                </c:pt>
                <c:pt idx="1573">
                  <c:v>40890</c:v>
                </c:pt>
                <c:pt idx="1574">
                  <c:v>40891</c:v>
                </c:pt>
                <c:pt idx="1575">
                  <c:v>40892</c:v>
                </c:pt>
                <c:pt idx="1576">
                  <c:v>40893</c:v>
                </c:pt>
                <c:pt idx="1577">
                  <c:v>40896</c:v>
                </c:pt>
                <c:pt idx="1578">
                  <c:v>40897</c:v>
                </c:pt>
                <c:pt idx="1579">
                  <c:v>40898</c:v>
                </c:pt>
                <c:pt idx="1580">
                  <c:v>40899</c:v>
                </c:pt>
                <c:pt idx="1581">
                  <c:v>40900</c:v>
                </c:pt>
                <c:pt idx="1582">
                  <c:v>40904</c:v>
                </c:pt>
                <c:pt idx="1583">
                  <c:v>40905</c:v>
                </c:pt>
                <c:pt idx="1584">
                  <c:v>40906</c:v>
                </c:pt>
                <c:pt idx="1585">
                  <c:v>40907</c:v>
                </c:pt>
                <c:pt idx="1586">
                  <c:v>40911</c:v>
                </c:pt>
                <c:pt idx="1587">
                  <c:v>40912</c:v>
                </c:pt>
                <c:pt idx="1588">
                  <c:v>40913</c:v>
                </c:pt>
                <c:pt idx="1589">
                  <c:v>40914</c:v>
                </c:pt>
                <c:pt idx="1590">
                  <c:v>40917</c:v>
                </c:pt>
                <c:pt idx="1591">
                  <c:v>40918</c:v>
                </c:pt>
                <c:pt idx="1592">
                  <c:v>40919</c:v>
                </c:pt>
                <c:pt idx="1593">
                  <c:v>40920</c:v>
                </c:pt>
                <c:pt idx="1594">
                  <c:v>40921</c:v>
                </c:pt>
                <c:pt idx="1595">
                  <c:v>40925</c:v>
                </c:pt>
                <c:pt idx="1596">
                  <c:v>40926</c:v>
                </c:pt>
                <c:pt idx="1597">
                  <c:v>40927</c:v>
                </c:pt>
                <c:pt idx="1598">
                  <c:v>40928</c:v>
                </c:pt>
                <c:pt idx="1599">
                  <c:v>40931</c:v>
                </c:pt>
                <c:pt idx="1600">
                  <c:v>40932</c:v>
                </c:pt>
                <c:pt idx="1601">
                  <c:v>40933</c:v>
                </c:pt>
                <c:pt idx="1602">
                  <c:v>40934</c:v>
                </c:pt>
                <c:pt idx="1603">
                  <c:v>40935</c:v>
                </c:pt>
                <c:pt idx="1604">
                  <c:v>40938</c:v>
                </c:pt>
                <c:pt idx="1605">
                  <c:v>40939</c:v>
                </c:pt>
                <c:pt idx="1606">
                  <c:v>40940</c:v>
                </c:pt>
                <c:pt idx="1607">
                  <c:v>40941</c:v>
                </c:pt>
                <c:pt idx="1608">
                  <c:v>40942</c:v>
                </c:pt>
                <c:pt idx="1609">
                  <c:v>40945</c:v>
                </c:pt>
                <c:pt idx="1610">
                  <c:v>40946</c:v>
                </c:pt>
                <c:pt idx="1611">
                  <c:v>40947</c:v>
                </c:pt>
                <c:pt idx="1612">
                  <c:v>40948</c:v>
                </c:pt>
                <c:pt idx="1613">
                  <c:v>40949</c:v>
                </c:pt>
                <c:pt idx="1614">
                  <c:v>40952</c:v>
                </c:pt>
                <c:pt idx="1615">
                  <c:v>40953</c:v>
                </c:pt>
                <c:pt idx="1616">
                  <c:v>40954</c:v>
                </c:pt>
                <c:pt idx="1617">
                  <c:v>40955</c:v>
                </c:pt>
                <c:pt idx="1618">
                  <c:v>40956</c:v>
                </c:pt>
                <c:pt idx="1619">
                  <c:v>40960</c:v>
                </c:pt>
                <c:pt idx="1620">
                  <c:v>40961</c:v>
                </c:pt>
                <c:pt idx="1621">
                  <c:v>40962</c:v>
                </c:pt>
                <c:pt idx="1622">
                  <c:v>40963</c:v>
                </c:pt>
                <c:pt idx="1623">
                  <c:v>40966</c:v>
                </c:pt>
                <c:pt idx="1624">
                  <c:v>40967</c:v>
                </c:pt>
                <c:pt idx="1625">
                  <c:v>40968</c:v>
                </c:pt>
                <c:pt idx="1626">
                  <c:v>40969</c:v>
                </c:pt>
                <c:pt idx="1627">
                  <c:v>40970</c:v>
                </c:pt>
                <c:pt idx="1628">
                  <c:v>40973</c:v>
                </c:pt>
                <c:pt idx="1629">
                  <c:v>40974</c:v>
                </c:pt>
                <c:pt idx="1630">
                  <c:v>40975</c:v>
                </c:pt>
                <c:pt idx="1631">
                  <c:v>40976</c:v>
                </c:pt>
                <c:pt idx="1632">
                  <c:v>40977</c:v>
                </c:pt>
                <c:pt idx="1633">
                  <c:v>40980</c:v>
                </c:pt>
                <c:pt idx="1634">
                  <c:v>40981</c:v>
                </c:pt>
                <c:pt idx="1635">
                  <c:v>40982</c:v>
                </c:pt>
                <c:pt idx="1636">
                  <c:v>40983</c:v>
                </c:pt>
                <c:pt idx="1637">
                  <c:v>40984</c:v>
                </c:pt>
                <c:pt idx="1638">
                  <c:v>40987</c:v>
                </c:pt>
                <c:pt idx="1639">
                  <c:v>40988</c:v>
                </c:pt>
                <c:pt idx="1640">
                  <c:v>40989</c:v>
                </c:pt>
                <c:pt idx="1641">
                  <c:v>40990</c:v>
                </c:pt>
                <c:pt idx="1642">
                  <c:v>40991</c:v>
                </c:pt>
                <c:pt idx="1643">
                  <c:v>40994</c:v>
                </c:pt>
                <c:pt idx="1644">
                  <c:v>40995</c:v>
                </c:pt>
                <c:pt idx="1645">
                  <c:v>40996</c:v>
                </c:pt>
                <c:pt idx="1646">
                  <c:v>40997</c:v>
                </c:pt>
                <c:pt idx="1647">
                  <c:v>40998</c:v>
                </c:pt>
                <c:pt idx="1648">
                  <c:v>41001</c:v>
                </c:pt>
                <c:pt idx="1649">
                  <c:v>41002</c:v>
                </c:pt>
                <c:pt idx="1650">
                  <c:v>41003</c:v>
                </c:pt>
                <c:pt idx="1651">
                  <c:v>41004</c:v>
                </c:pt>
                <c:pt idx="1652">
                  <c:v>41008</c:v>
                </c:pt>
                <c:pt idx="1653">
                  <c:v>41009</c:v>
                </c:pt>
                <c:pt idx="1654">
                  <c:v>41010</c:v>
                </c:pt>
                <c:pt idx="1655">
                  <c:v>41011</c:v>
                </c:pt>
                <c:pt idx="1656">
                  <c:v>41012</c:v>
                </c:pt>
                <c:pt idx="1657">
                  <c:v>41015</c:v>
                </c:pt>
                <c:pt idx="1658">
                  <c:v>41016</c:v>
                </c:pt>
                <c:pt idx="1659">
                  <c:v>41017</c:v>
                </c:pt>
                <c:pt idx="1660">
                  <c:v>41018</c:v>
                </c:pt>
                <c:pt idx="1661">
                  <c:v>41019</c:v>
                </c:pt>
                <c:pt idx="1662">
                  <c:v>41022</c:v>
                </c:pt>
                <c:pt idx="1663">
                  <c:v>41023</c:v>
                </c:pt>
                <c:pt idx="1664">
                  <c:v>41024</c:v>
                </c:pt>
                <c:pt idx="1665">
                  <c:v>41025</c:v>
                </c:pt>
                <c:pt idx="1666">
                  <c:v>41026</c:v>
                </c:pt>
                <c:pt idx="1667">
                  <c:v>41029</c:v>
                </c:pt>
                <c:pt idx="1668">
                  <c:v>41030</c:v>
                </c:pt>
                <c:pt idx="1669">
                  <c:v>41031</c:v>
                </c:pt>
                <c:pt idx="1670">
                  <c:v>41032</c:v>
                </c:pt>
                <c:pt idx="1671">
                  <c:v>41033</c:v>
                </c:pt>
                <c:pt idx="1672">
                  <c:v>41036</c:v>
                </c:pt>
                <c:pt idx="1673">
                  <c:v>41037</c:v>
                </c:pt>
                <c:pt idx="1674">
                  <c:v>41038</c:v>
                </c:pt>
                <c:pt idx="1675">
                  <c:v>41039</c:v>
                </c:pt>
                <c:pt idx="1676">
                  <c:v>41040</c:v>
                </c:pt>
                <c:pt idx="1677">
                  <c:v>41043</c:v>
                </c:pt>
                <c:pt idx="1678">
                  <c:v>41044</c:v>
                </c:pt>
                <c:pt idx="1679">
                  <c:v>41045</c:v>
                </c:pt>
                <c:pt idx="1680">
                  <c:v>41046</c:v>
                </c:pt>
                <c:pt idx="1681">
                  <c:v>41047</c:v>
                </c:pt>
                <c:pt idx="1682">
                  <c:v>41050</c:v>
                </c:pt>
                <c:pt idx="1683">
                  <c:v>41051</c:v>
                </c:pt>
                <c:pt idx="1684">
                  <c:v>41052</c:v>
                </c:pt>
                <c:pt idx="1685">
                  <c:v>41053</c:v>
                </c:pt>
                <c:pt idx="1686">
                  <c:v>41054</c:v>
                </c:pt>
                <c:pt idx="1687">
                  <c:v>41058</c:v>
                </c:pt>
                <c:pt idx="1688">
                  <c:v>41059</c:v>
                </c:pt>
                <c:pt idx="1689">
                  <c:v>41060</c:v>
                </c:pt>
                <c:pt idx="1690">
                  <c:v>41061</c:v>
                </c:pt>
                <c:pt idx="1691">
                  <c:v>41064</c:v>
                </c:pt>
                <c:pt idx="1692">
                  <c:v>41065</c:v>
                </c:pt>
                <c:pt idx="1693">
                  <c:v>41066</c:v>
                </c:pt>
                <c:pt idx="1694">
                  <c:v>41067</c:v>
                </c:pt>
                <c:pt idx="1695">
                  <c:v>41068</c:v>
                </c:pt>
                <c:pt idx="1696">
                  <c:v>41071</c:v>
                </c:pt>
                <c:pt idx="1697">
                  <c:v>41072</c:v>
                </c:pt>
                <c:pt idx="1698">
                  <c:v>41073</c:v>
                </c:pt>
                <c:pt idx="1699">
                  <c:v>41074</c:v>
                </c:pt>
                <c:pt idx="1700">
                  <c:v>41075</c:v>
                </c:pt>
                <c:pt idx="1701">
                  <c:v>41078</c:v>
                </c:pt>
                <c:pt idx="1702">
                  <c:v>41079</c:v>
                </c:pt>
                <c:pt idx="1703">
                  <c:v>41080</c:v>
                </c:pt>
                <c:pt idx="1704">
                  <c:v>41081</c:v>
                </c:pt>
                <c:pt idx="1705">
                  <c:v>41082</c:v>
                </c:pt>
                <c:pt idx="1706">
                  <c:v>41085</c:v>
                </c:pt>
                <c:pt idx="1707">
                  <c:v>41086</c:v>
                </c:pt>
                <c:pt idx="1708">
                  <c:v>41087</c:v>
                </c:pt>
                <c:pt idx="1709">
                  <c:v>41088</c:v>
                </c:pt>
                <c:pt idx="1710">
                  <c:v>41089</c:v>
                </c:pt>
                <c:pt idx="1711">
                  <c:v>41092</c:v>
                </c:pt>
                <c:pt idx="1712">
                  <c:v>41093</c:v>
                </c:pt>
                <c:pt idx="1713">
                  <c:v>41095</c:v>
                </c:pt>
                <c:pt idx="1714">
                  <c:v>41096</c:v>
                </c:pt>
                <c:pt idx="1715">
                  <c:v>41099</c:v>
                </c:pt>
                <c:pt idx="1716">
                  <c:v>41100</c:v>
                </c:pt>
                <c:pt idx="1717">
                  <c:v>41101</c:v>
                </c:pt>
                <c:pt idx="1718">
                  <c:v>41102</c:v>
                </c:pt>
                <c:pt idx="1719">
                  <c:v>41103</c:v>
                </c:pt>
                <c:pt idx="1720">
                  <c:v>41106</c:v>
                </c:pt>
                <c:pt idx="1721">
                  <c:v>41107</c:v>
                </c:pt>
                <c:pt idx="1722">
                  <c:v>41108</c:v>
                </c:pt>
                <c:pt idx="1723">
                  <c:v>41109</c:v>
                </c:pt>
                <c:pt idx="1724">
                  <c:v>41110</c:v>
                </c:pt>
                <c:pt idx="1725">
                  <c:v>41113</c:v>
                </c:pt>
                <c:pt idx="1726">
                  <c:v>41114</c:v>
                </c:pt>
                <c:pt idx="1727">
                  <c:v>41115</c:v>
                </c:pt>
                <c:pt idx="1728">
                  <c:v>41116</c:v>
                </c:pt>
                <c:pt idx="1729">
                  <c:v>41117</c:v>
                </c:pt>
                <c:pt idx="1730">
                  <c:v>41120</c:v>
                </c:pt>
                <c:pt idx="1731">
                  <c:v>41121</c:v>
                </c:pt>
                <c:pt idx="1732">
                  <c:v>41122</c:v>
                </c:pt>
                <c:pt idx="1733">
                  <c:v>41123</c:v>
                </c:pt>
                <c:pt idx="1734">
                  <c:v>41124</c:v>
                </c:pt>
                <c:pt idx="1735">
                  <c:v>41127</c:v>
                </c:pt>
                <c:pt idx="1736">
                  <c:v>41128</c:v>
                </c:pt>
                <c:pt idx="1737">
                  <c:v>41129</c:v>
                </c:pt>
                <c:pt idx="1738">
                  <c:v>41130</c:v>
                </c:pt>
                <c:pt idx="1739">
                  <c:v>41131</c:v>
                </c:pt>
                <c:pt idx="1740">
                  <c:v>41134</c:v>
                </c:pt>
                <c:pt idx="1741">
                  <c:v>41135</c:v>
                </c:pt>
                <c:pt idx="1742">
                  <c:v>41136</c:v>
                </c:pt>
                <c:pt idx="1743">
                  <c:v>41137</c:v>
                </c:pt>
                <c:pt idx="1744">
                  <c:v>41138</c:v>
                </c:pt>
                <c:pt idx="1745">
                  <c:v>41141</c:v>
                </c:pt>
                <c:pt idx="1746">
                  <c:v>41142</c:v>
                </c:pt>
                <c:pt idx="1747">
                  <c:v>41143</c:v>
                </c:pt>
                <c:pt idx="1748">
                  <c:v>41144</c:v>
                </c:pt>
                <c:pt idx="1749">
                  <c:v>41145</c:v>
                </c:pt>
                <c:pt idx="1750">
                  <c:v>41148</c:v>
                </c:pt>
                <c:pt idx="1751">
                  <c:v>41149</c:v>
                </c:pt>
                <c:pt idx="1752">
                  <c:v>41150</c:v>
                </c:pt>
                <c:pt idx="1753">
                  <c:v>41151</c:v>
                </c:pt>
                <c:pt idx="1754">
                  <c:v>41152</c:v>
                </c:pt>
                <c:pt idx="1755">
                  <c:v>41156</c:v>
                </c:pt>
                <c:pt idx="1756">
                  <c:v>41157</c:v>
                </c:pt>
                <c:pt idx="1757">
                  <c:v>41158</c:v>
                </c:pt>
                <c:pt idx="1758">
                  <c:v>41159</c:v>
                </c:pt>
                <c:pt idx="1759">
                  <c:v>41162</c:v>
                </c:pt>
                <c:pt idx="1760">
                  <c:v>41163</c:v>
                </c:pt>
                <c:pt idx="1761">
                  <c:v>41164</c:v>
                </c:pt>
                <c:pt idx="1762">
                  <c:v>41165</c:v>
                </c:pt>
                <c:pt idx="1763">
                  <c:v>41166</c:v>
                </c:pt>
                <c:pt idx="1764">
                  <c:v>41169</c:v>
                </c:pt>
                <c:pt idx="1765">
                  <c:v>41170</c:v>
                </c:pt>
                <c:pt idx="1766">
                  <c:v>41171</c:v>
                </c:pt>
                <c:pt idx="1767">
                  <c:v>41172</c:v>
                </c:pt>
                <c:pt idx="1768">
                  <c:v>41173</c:v>
                </c:pt>
                <c:pt idx="1769">
                  <c:v>41176</c:v>
                </c:pt>
                <c:pt idx="1770">
                  <c:v>41177</c:v>
                </c:pt>
                <c:pt idx="1771">
                  <c:v>41178</c:v>
                </c:pt>
                <c:pt idx="1772">
                  <c:v>41179</c:v>
                </c:pt>
                <c:pt idx="1773">
                  <c:v>41180</c:v>
                </c:pt>
                <c:pt idx="1774">
                  <c:v>41183</c:v>
                </c:pt>
                <c:pt idx="1775">
                  <c:v>41184</c:v>
                </c:pt>
                <c:pt idx="1776">
                  <c:v>41185</c:v>
                </c:pt>
                <c:pt idx="1777">
                  <c:v>41186</c:v>
                </c:pt>
                <c:pt idx="1778">
                  <c:v>41187</c:v>
                </c:pt>
                <c:pt idx="1779">
                  <c:v>41190</c:v>
                </c:pt>
                <c:pt idx="1780">
                  <c:v>41191</c:v>
                </c:pt>
                <c:pt idx="1781">
                  <c:v>41192</c:v>
                </c:pt>
                <c:pt idx="1782">
                  <c:v>41193</c:v>
                </c:pt>
                <c:pt idx="1783">
                  <c:v>41194</c:v>
                </c:pt>
                <c:pt idx="1784">
                  <c:v>41197</c:v>
                </c:pt>
                <c:pt idx="1785">
                  <c:v>41198</c:v>
                </c:pt>
                <c:pt idx="1786">
                  <c:v>41199</c:v>
                </c:pt>
                <c:pt idx="1787">
                  <c:v>41200</c:v>
                </c:pt>
                <c:pt idx="1788">
                  <c:v>41201</c:v>
                </c:pt>
                <c:pt idx="1789">
                  <c:v>41204</c:v>
                </c:pt>
                <c:pt idx="1790">
                  <c:v>41205</c:v>
                </c:pt>
                <c:pt idx="1791">
                  <c:v>41206</c:v>
                </c:pt>
                <c:pt idx="1792">
                  <c:v>41207</c:v>
                </c:pt>
                <c:pt idx="1793">
                  <c:v>41208</c:v>
                </c:pt>
                <c:pt idx="1794">
                  <c:v>41213</c:v>
                </c:pt>
                <c:pt idx="1795">
                  <c:v>41214</c:v>
                </c:pt>
                <c:pt idx="1796">
                  <c:v>41215</c:v>
                </c:pt>
                <c:pt idx="1797">
                  <c:v>41218</c:v>
                </c:pt>
                <c:pt idx="1798">
                  <c:v>41219</c:v>
                </c:pt>
                <c:pt idx="1799">
                  <c:v>41220</c:v>
                </c:pt>
                <c:pt idx="1800">
                  <c:v>41221</c:v>
                </c:pt>
                <c:pt idx="1801">
                  <c:v>41222</c:v>
                </c:pt>
                <c:pt idx="1802">
                  <c:v>41225</c:v>
                </c:pt>
                <c:pt idx="1803">
                  <c:v>41226</c:v>
                </c:pt>
                <c:pt idx="1804">
                  <c:v>41227</c:v>
                </c:pt>
                <c:pt idx="1805">
                  <c:v>41228</c:v>
                </c:pt>
                <c:pt idx="1806">
                  <c:v>41229</c:v>
                </c:pt>
                <c:pt idx="1807">
                  <c:v>41232</c:v>
                </c:pt>
                <c:pt idx="1808">
                  <c:v>41233</c:v>
                </c:pt>
                <c:pt idx="1809">
                  <c:v>41234</c:v>
                </c:pt>
                <c:pt idx="1810">
                  <c:v>41236</c:v>
                </c:pt>
                <c:pt idx="1811">
                  <c:v>41239</c:v>
                </c:pt>
                <c:pt idx="1812">
                  <c:v>41240</c:v>
                </c:pt>
                <c:pt idx="1813">
                  <c:v>41241</c:v>
                </c:pt>
                <c:pt idx="1814">
                  <c:v>41242</c:v>
                </c:pt>
                <c:pt idx="1815">
                  <c:v>41243</c:v>
                </c:pt>
                <c:pt idx="1816">
                  <c:v>41246</c:v>
                </c:pt>
                <c:pt idx="1817">
                  <c:v>41247</c:v>
                </c:pt>
                <c:pt idx="1818">
                  <c:v>41248</c:v>
                </c:pt>
                <c:pt idx="1819">
                  <c:v>41249</c:v>
                </c:pt>
                <c:pt idx="1820">
                  <c:v>41250</c:v>
                </c:pt>
                <c:pt idx="1821">
                  <c:v>41253</c:v>
                </c:pt>
                <c:pt idx="1822">
                  <c:v>41254</c:v>
                </c:pt>
                <c:pt idx="1823">
                  <c:v>41255</c:v>
                </c:pt>
                <c:pt idx="1824">
                  <c:v>41256</c:v>
                </c:pt>
                <c:pt idx="1825">
                  <c:v>41257</c:v>
                </c:pt>
                <c:pt idx="1826">
                  <c:v>41260</c:v>
                </c:pt>
                <c:pt idx="1827">
                  <c:v>41261</c:v>
                </c:pt>
                <c:pt idx="1828">
                  <c:v>41262</c:v>
                </c:pt>
                <c:pt idx="1829">
                  <c:v>41263</c:v>
                </c:pt>
                <c:pt idx="1830">
                  <c:v>41264</c:v>
                </c:pt>
                <c:pt idx="1831">
                  <c:v>41267</c:v>
                </c:pt>
                <c:pt idx="1832">
                  <c:v>41269</c:v>
                </c:pt>
                <c:pt idx="1833">
                  <c:v>41270</c:v>
                </c:pt>
                <c:pt idx="1834">
                  <c:v>41271</c:v>
                </c:pt>
                <c:pt idx="1835">
                  <c:v>41274</c:v>
                </c:pt>
                <c:pt idx="1836">
                  <c:v>41276</c:v>
                </c:pt>
                <c:pt idx="1837">
                  <c:v>41277</c:v>
                </c:pt>
                <c:pt idx="1838">
                  <c:v>41278</c:v>
                </c:pt>
                <c:pt idx="1839">
                  <c:v>41281</c:v>
                </c:pt>
                <c:pt idx="1840">
                  <c:v>41282</c:v>
                </c:pt>
                <c:pt idx="1841">
                  <c:v>41283</c:v>
                </c:pt>
                <c:pt idx="1842">
                  <c:v>41284</c:v>
                </c:pt>
                <c:pt idx="1843">
                  <c:v>41285</c:v>
                </c:pt>
                <c:pt idx="1844">
                  <c:v>41288</c:v>
                </c:pt>
                <c:pt idx="1845">
                  <c:v>41289</c:v>
                </c:pt>
                <c:pt idx="1846">
                  <c:v>41290</c:v>
                </c:pt>
                <c:pt idx="1847">
                  <c:v>41291</c:v>
                </c:pt>
                <c:pt idx="1848">
                  <c:v>41292</c:v>
                </c:pt>
                <c:pt idx="1849">
                  <c:v>41296</c:v>
                </c:pt>
                <c:pt idx="1850">
                  <c:v>41297</c:v>
                </c:pt>
                <c:pt idx="1851">
                  <c:v>41298</c:v>
                </c:pt>
                <c:pt idx="1852">
                  <c:v>41299</c:v>
                </c:pt>
                <c:pt idx="1853">
                  <c:v>41302</c:v>
                </c:pt>
                <c:pt idx="1854">
                  <c:v>41303</c:v>
                </c:pt>
                <c:pt idx="1855">
                  <c:v>41304</c:v>
                </c:pt>
                <c:pt idx="1856">
                  <c:v>41305</c:v>
                </c:pt>
                <c:pt idx="1857">
                  <c:v>41306</c:v>
                </c:pt>
                <c:pt idx="1858">
                  <c:v>41309</c:v>
                </c:pt>
                <c:pt idx="1859">
                  <c:v>41310</c:v>
                </c:pt>
                <c:pt idx="1860">
                  <c:v>41311</c:v>
                </c:pt>
                <c:pt idx="1861">
                  <c:v>41312</c:v>
                </c:pt>
                <c:pt idx="1862">
                  <c:v>41313</c:v>
                </c:pt>
                <c:pt idx="1863">
                  <c:v>41316</c:v>
                </c:pt>
                <c:pt idx="1864">
                  <c:v>41317</c:v>
                </c:pt>
                <c:pt idx="1865">
                  <c:v>41318</c:v>
                </c:pt>
                <c:pt idx="1866">
                  <c:v>41319</c:v>
                </c:pt>
                <c:pt idx="1867">
                  <c:v>41320</c:v>
                </c:pt>
                <c:pt idx="1868">
                  <c:v>41324</c:v>
                </c:pt>
                <c:pt idx="1869">
                  <c:v>41325</c:v>
                </c:pt>
                <c:pt idx="1870">
                  <c:v>41326</c:v>
                </c:pt>
                <c:pt idx="1871">
                  <c:v>41327</c:v>
                </c:pt>
                <c:pt idx="1872">
                  <c:v>41330</c:v>
                </c:pt>
                <c:pt idx="1873">
                  <c:v>41331</c:v>
                </c:pt>
                <c:pt idx="1874">
                  <c:v>41332</c:v>
                </c:pt>
                <c:pt idx="1875">
                  <c:v>41333</c:v>
                </c:pt>
                <c:pt idx="1876">
                  <c:v>41334</c:v>
                </c:pt>
                <c:pt idx="1877">
                  <c:v>41337</c:v>
                </c:pt>
                <c:pt idx="1878">
                  <c:v>41338</c:v>
                </c:pt>
                <c:pt idx="1879">
                  <c:v>41339</c:v>
                </c:pt>
                <c:pt idx="1880">
                  <c:v>41340</c:v>
                </c:pt>
                <c:pt idx="1881">
                  <c:v>41341</c:v>
                </c:pt>
                <c:pt idx="1882">
                  <c:v>41344</c:v>
                </c:pt>
                <c:pt idx="1883">
                  <c:v>41345</c:v>
                </c:pt>
                <c:pt idx="1884">
                  <c:v>41346</c:v>
                </c:pt>
                <c:pt idx="1885">
                  <c:v>41347</c:v>
                </c:pt>
                <c:pt idx="1886">
                  <c:v>41348</c:v>
                </c:pt>
                <c:pt idx="1887">
                  <c:v>41351</c:v>
                </c:pt>
                <c:pt idx="1888">
                  <c:v>41352</c:v>
                </c:pt>
                <c:pt idx="1889">
                  <c:v>41353</c:v>
                </c:pt>
                <c:pt idx="1890">
                  <c:v>41354</c:v>
                </c:pt>
                <c:pt idx="1891">
                  <c:v>41355</c:v>
                </c:pt>
                <c:pt idx="1892">
                  <c:v>41358</c:v>
                </c:pt>
                <c:pt idx="1893">
                  <c:v>41359</c:v>
                </c:pt>
                <c:pt idx="1894">
                  <c:v>41360</c:v>
                </c:pt>
                <c:pt idx="1895">
                  <c:v>41361</c:v>
                </c:pt>
                <c:pt idx="1896">
                  <c:v>41365</c:v>
                </c:pt>
                <c:pt idx="1897">
                  <c:v>41366</c:v>
                </c:pt>
                <c:pt idx="1898">
                  <c:v>41367</c:v>
                </c:pt>
                <c:pt idx="1899">
                  <c:v>41368</c:v>
                </c:pt>
                <c:pt idx="1900">
                  <c:v>41369</c:v>
                </c:pt>
                <c:pt idx="1901">
                  <c:v>41372</c:v>
                </c:pt>
                <c:pt idx="1902">
                  <c:v>41373</c:v>
                </c:pt>
                <c:pt idx="1903">
                  <c:v>41374</c:v>
                </c:pt>
                <c:pt idx="1904">
                  <c:v>41375</c:v>
                </c:pt>
                <c:pt idx="1905">
                  <c:v>41376</c:v>
                </c:pt>
                <c:pt idx="1906">
                  <c:v>41379</c:v>
                </c:pt>
                <c:pt idx="1907">
                  <c:v>41380</c:v>
                </c:pt>
                <c:pt idx="1908">
                  <c:v>41381</c:v>
                </c:pt>
                <c:pt idx="1909">
                  <c:v>41382</c:v>
                </c:pt>
                <c:pt idx="1910">
                  <c:v>41383</c:v>
                </c:pt>
                <c:pt idx="1911">
                  <c:v>41386</c:v>
                </c:pt>
                <c:pt idx="1912">
                  <c:v>41387</c:v>
                </c:pt>
                <c:pt idx="1913">
                  <c:v>41388</c:v>
                </c:pt>
                <c:pt idx="1914">
                  <c:v>41389</c:v>
                </c:pt>
                <c:pt idx="1915">
                  <c:v>41390</c:v>
                </c:pt>
                <c:pt idx="1916">
                  <c:v>41393</c:v>
                </c:pt>
                <c:pt idx="1917">
                  <c:v>41394</c:v>
                </c:pt>
                <c:pt idx="1918">
                  <c:v>41395</c:v>
                </c:pt>
                <c:pt idx="1919">
                  <c:v>41396</c:v>
                </c:pt>
                <c:pt idx="1920">
                  <c:v>41397</c:v>
                </c:pt>
                <c:pt idx="1921">
                  <c:v>41400</c:v>
                </c:pt>
                <c:pt idx="1922">
                  <c:v>41401</c:v>
                </c:pt>
                <c:pt idx="1923">
                  <c:v>41402</c:v>
                </c:pt>
                <c:pt idx="1924">
                  <c:v>41403</c:v>
                </c:pt>
                <c:pt idx="1925">
                  <c:v>41404</c:v>
                </c:pt>
                <c:pt idx="1926">
                  <c:v>41407</c:v>
                </c:pt>
                <c:pt idx="1927">
                  <c:v>41408</c:v>
                </c:pt>
                <c:pt idx="1928">
                  <c:v>41409</c:v>
                </c:pt>
                <c:pt idx="1929">
                  <c:v>41410</c:v>
                </c:pt>
                <c:pt idx="1930">
                  <c:v>41411</c:v>
                </c:pt>
                <c:pt idx="1931">
                  <c:v>41414</c:v>
                </c:pt>
                <c:pt idx="1932">
                  <c:v>41415</c:v>
                </c:pt>
                <c:pt idx="1933">
                  <c:v>41416</c:v>
                </c:pt>
                <c:pt idx="1934">
                  <c:v>41417</c:v>
                </c:pt>
                <c:pt idx="1935">
                  <c:v>41418</c:v>
                </c:pt>
                <c:pt idx="1936">
                  <c:v>41422</c:v>
                </c:pt>
                <c:pt idx="1937">
                  <c:v>41423</c:v>
                </c:pt>
                <c:pt idx="1938">
                  <c:v>41424</c:v>
                </c:pt>
                <c:pt idx="1939">
                  <c:v>41425</c:v>
                </c:pt>
                <c:pt idx="1940">
                  <c:v>41428</c:v>
                </c:pt>
                <c:pt idx="1941">
                  <c:v>41429</c:v>
                </c:pt>
                <c:pt idx="1942">
                  <c:v>41430</c:v>
                </c:pt>
                <c:pt idx="1943">
                  <c:v>41431</c:v>
                </c:pt>
                <c:pt idx="1944">
                  <c:v>41432</c:v>
                </c:pt>
                <c:pt idx="1945">
                  <c:v>41435</c:v>
                </c:pt>
                <c:pt idx="1946">
                  <c:v>41436</c:v>
                </c:pt>
                <c:pt idx="1947">
                  <c:v>41437</c:v>
                </c:pt>
                <c:pt idx="1948">
                  <c:v>41438</c:v>
                </c:pt>
                <c:pt idx="1949">
                  <c:v>41439</c:v>
                </c:pt>
                <c:pt idx="1950">
                  <c:v>41442</c:v>
                </c:pt>
                <c:pt idx="1951">
                  <c:v>41443</c:v>
                </c:pt>
                <c:pt idx="1952">
                  <c:v>41444</c:v>
                </c:pt>
                <c:pt idx="1953">
                  <c:v>41445</c:v>
                </c:pt>
                <c:pt idx="1954">
                  <c:v>41446</c:v>
                </c:pt>
                <c:pt idx="1955">
                  <c:v>41449</c:v>
                </c:pt>
                <c:pt idx="1956">
                  <c:v>41450</c:v>
                </c:pt>
                <c:pt idx="1957">
                  <c:v>41451</c:v>
                </c:pt>
                <c:pt idx="1958">
                  <c:v>41452</c:v>
                </c:pt>
                <c:pt idx="1959">
                  <c:v>41453</c:v>
                </c:pt>
                <c:pt idx="1960">
                  <c:v>41456</c:v>
                </c:pt>
                <c:pt idx="1961">
                  <c:v>41457</c:v>
                </c:pt>
                <c:pt idx="1962">
                  <c:v>41458</c:v>
                </c:pt>
                <c:pt idx="1963">
                  <c:v>41460</c:v>
                </c:pt>
                <c:pt idx="1964">
                  <c:v>41463</c:v>
                </c:pt>
                <c:pt idx="1965">
                  <c:v>41464</c:v>
                </c:pt>
                <c:pt idx="1966">
                  <c:v>41465</c:v>
                </c:pt>
                <c:pt idx="1967">
                  <c:v>41466</c:v>
                </c:pt>
                <c:pt idx="1968">
                  <c:v>41467</c:v>
                </c:pt>
                <c:pt idx="1969">
                  <c:v>41470</c:v>
                </c:pt>
                <c:pt idx="1970">
                  <c:v>41471</c:v>
                </c:pt>
                <c:pt idx="1971">
                  <c:v>41472</c:v>
                </c:pt>
                <c:pt idx="1972">
                  <c:v>41473</c:v>
                </c:pt>
                <c:pt idx="1973">
                  <c:v>41474</c:v>
                </c:pt>
                <c:pt idx="1974">
                  <c:v>41477</c:v>
                </c:pt>
                <c:pt idx="1975">
                  <c:v>41478</c:v>
                </c:pt>
                <c:pt idx="1976">
                  <c:v>41479</c:v>
                </c:pt>
                <c:pt idx="1977">
                  <c:v>41480</c:v>
                </c:pt>
                <c:pt idx="1978">
                  <c:v>41481</c:v>
                </c:pt>
                <c:pt idx="1979">
                  <c:v>41484</c:v>
                </c:pt>
                <c:pt idx="1980">
                  <c:v>41485</c:v>
                </c:pt>
                <c:pt idx="1981">
                  <c:v>41486</c:v>
                </c:pt>
                <c:pt idx="1982">
                  <c:v>41487</c:v>
                </c:pt>
                <c:pt idx="1983">
                  <c:v>41488</c:v>
                </c:pt>
                <c:pt idx="1984">
                  <c:v>41491</c:v>
                </c:pt>
                <c:pt idx="1985">
                  <c:v>41492</c:v>
                </c:pt>
                <c:pt idx="1986">
                  <c:v>41493</c:v>
                </c:pt>
                <c:pt idx="1987">
                  <c:v>41494</c:v>
                </c:pt>
                <c:pt idx="1988">
                  <c:v>41495</c:v>
                </c:pt>
                <c:pt idx="1989">
                  <c:v>41498</c:v>
                </c:pt>
                <c:pt idx="1990">
                  <c:v>41499</c:v>
                </c:pt>
                <c:pt idx="1991">
                  <c:v>41500</c:v>
                </c:pt>
                <c:pt idx="1992">
                  <c:v>41501</c:v>
                </c:pt>
                <c:pt idx="1993">
                  <c:v>41502</c:v>
                </c:pt>
                <c:pt idx="1994">
                  <c:v>41505</c:v>
                </c:pt>
                <c:pt idx="1995">
                  <c:v>41506</c:v>
                </c:pt>
                <c:pt idx="1996">
                  <c:v>41507</c:v>
                </c:pt>
                <c:pt idx="1997">
                  <c:v>41508</c:v>
                </c:pt>
                <c:pt idx="1998">
                  <c:v>41509</c:v>
                </c:pt>
                <c:pt idx="1999">
                  <c:v>41512</c:v>
                </c:pt>
                <c:pt idx="2000">
                  <c:v>41513</c:v>
                </c:pt>
                <c:pt idx="2001">
                  <c:v>41514</c:v>
                </c:pt>
                <c:pt idx="2002">
                  <c:v>41515</c:v>
                </c:pt>
                <c:pt idx="2003">
                  <c:v>41516</c:v>
                </c:pt>
                <c:pt idx="2004">
                  <c:v>41520</c:v>
                </c:pt>
                <c:pt idx="2005">
                  <c:v>41521</c:v>
                </c:pt>
                <c:pt idx="2006">
                  <c:v>41522</c:v>
                </c:pt>
                <c:pt idx="2007">
                  <c:v>41523</c:v>
                </c:pt>
                <c:pt idx="2008">
                  <c:v>41526</c:v>
                </c:pt>
                <c:pt idx="2009">
                  <c:v>41527</c:v>
                </c:pt>
                <c:pt idx="2010">
                  <c:v>41528</c:v>
                </c:pt>
                <c:pt idx="2011">
                  <c:v>41529</c:v>
                </c:pt>
                <c:pt idx="2012">
                  <c:v>41530</c:v>
                </c:pt>
                <c:pt idx="2013">
                  <c:v>41533</c:v>
                </c:pt>
                <c:pt idx="2014">
                  <c:v>41534</c:v>
                </c:pt>
                <c:pt idx="2015">
                  <c:v>41535</c:v>
                </c:pt>
                <c:pt idx="2016">
                  <c:v>41536</c:v>
                </c:pt>
                <c:pt idx="2017">
                  <c:v>41537</c:v>
                </c:pt>
                <c:pt idx="2018">
                  <c:v>41540</c:v>
                </c:pt>
                <c:pt idx="2019">
                  <c:v>41541</c:v>
                </c:pt>
                <c:pt idx="2020">
                  <c:v>41542</c:v>
                </c:pt>
                <c:pt idx="2021">
                  <c:v>41543</c:v>
                </c:pt>
                <c:pt idx="2022">
                  <c:v>41544</c:v>
                </c:pt>
                <c:pt idx="2023">
                  <c:v>41547</c:v>
                </c:pt>
                <c:pt idx="2024">
                  <c:v>41548</c:v>
                </c:pt>
                <c:pt idx="2025">
                  <c:v>41549</c:v>
                </c:pt>
                <c:pt idx="2026">
                  <c:v>41550</c:v>
                </c:pt>
                <c:pt idx="2027">
                  <c:v>41551</c:v>
                </c:pt>
                <c:pt idx="2028">
                  <c:v>41554</c:v>
                </c:pt>
                <c:pt idx="2029">
                  <c:v>41555</c:v>
                </c:pt>
                <c:pt idx="2030">
                  <c:v>41556</c:v>
                </c:pt>
                <c:pt idx="2031">
                  <c:v>41557</c:v>
                </c:pt>
                <c:pt idx="2032">
                  <c:v>41558</c:v>
                </c:pt>
                <c:pt idx="2033">
                  <c:v>41561</c:v>
                </c:pt>
                <c:pt idx="2034">
                  <c:v>41562</c:v>
                </c:pt>
                <c:pt idx="2035">
                  <c:v>41563</c:v>
                </c:pt>
                <c:pt idx="2036">
                  <c:v>41564</c:v>
                </c:pt>
                <c:pt idx="2037">
                  <c:v>41565</c:v>
                </c:pt>
                <c:pt idx="2038">
                  <c:v>41568</c:v>
                </c:pt>
                <c:pt idx="2039">
                  <c:v>41569</c:v>
                </c:pt>
                <c:pt idx="2040">
                  <c:v>41570</c:v>
                </c:pt>
                <c:pt idx="2041">
                  <c:v>41571</c:v>
                </c:pt>
                <c:pt idx="2042">
                  <c:v>41572</c:v>
                </c:pt>
                <c:pt idx="2043">
                  <c:v>41575</c:v>
                </c:pt>
                <c:pt idx="2044">
                  <c:v>41576</c:v>
                </c:pt>
                <c:pt idx="2045">
                  <c:v>41577</c:v>
                </c:pt>
                <c:pt idx="2046">
                  <c:v>41578</c:v>
                </c:pt>
                <c:pt idx="2047">
                  <c:v>41579</c:v>
                </c:pt>
                <c:pt idx="2048">
                  <c:v>41582</c:v>
                </c:pt>
                <c:pt idx="2049">
                  <c:v>41583</c:v>
                </c:pt>
                <c:pt idx="2050">
                  <c:v>41584</c:v>
                </c:pt>
                <c:pt idx="2051">
                  <c:v>41585</c:v>
                </c:pt>
                <c:pt idx="2052">
                  <c:v>41586</c:v>
                </c:pt>
                <c:pt idx="2053">
                  <c:v>41589</c:v>
                </c:pt>
                <c:pt idx="2054">
                  <c:v>41590</c:v>
                </c:pt>
                <c:pt idx="2055">
                  <c:v>41591</c:v>
                </c:pt>
                <c:pt idx="2056">
                  <c:v>41592</c:v>
                </c:pt>
                <c:pt idx="2057">
                  <c:v>41593</c:v>
                </c:pt>
                <c:pt idx="2058">
                  <c:v>41596</c:v>
                </c:pt>
                <c:pt idx="2059">
                  <c:v>41597</c:v>
                </c:pt>
                <c:pt idx="2060">
                  <c:v>41598</c:v>
                </c:pt>
                <c:pt idx="2061">
                  <c:v>41599</c:v>
                </c:pt>
                <c:pt idx="2062">
                  <c:v>41600</c:v>
                </c:pt>
                <c:pt idx="2063">
                  <c:v>41603</c:v>
                </c:pt>
                <c:pt idx="2064">
                  <c:v>41604</c:v>
                </c:pt>
                <c:pt idx="2065">
                  <c:v>41605</c:v>
                </c:pt>
                <c:pt idx="2066">
                  <c:v>41607</c:v>
                </c:pt>
                <c:pt idx="2067">
                  <c:v>41610</c:v>
                </c:pt>
                <c:pt idx="2068">
                  <c:v>41611</c:v>
                </c:pt>
                <c:pt idx="2069">
                  <c:v>41612</c:v>
                </c:pt>
                <c:pt idx="2070">
                  <c:v>41613</c:v>
                </c:pt>
                <c:pt idx="2071">
                  <c:v>41614</c:v>
                </c:pt>
                <c:pt idx="2072">
                  <c:v>41617</c:v>
                </c:pt>
                <c:pt idx="2073">
                  <c:v>41618</c:v>
                </c:pt>
                <c:pt idx="2074">
                  <c:v>41619</c:v>
                </c:pt>
                <c:pt idx="2075">
                  <c:v>41620</c:v>
                </c:pt>
                <c:pt idx="2076">
                  <c:v>41621</c:v>
                </c:pt>
                <c:pt idx="2077">
                  <c:v>41624</c:v>
                </c:pt>
                <c:pt idx="2078">
                  <c:v>41625</c:v>
                </c:pt>
                <c:pt idx="2079">
                  <c:v>41626</c:v>
                </c:pt>
                <c:pt idx="2080">
                  <c:v>41627</c:v>
                </c:pt>
                <c:pt idx="2081">
                  <c:v>41628</c:v>
                </c:pt>
                <c:pt idx="2082">
                  <c:v>41631</c:v>
                </c:pt>
                <c:pt idx="2083">
                  <c:v>41632</c:v>
                </c:pt>
                <c:pt idx="2084">
                  <c:v>41634</c:v>
                </c:pt>
                <c:pt idx="2085">
                  <c:v>41635</c:v>
                </c:pt>
                <c:pt idx="2086">
                  <c:v>41638</c:v>
                </c:pt>
                <c:pt idx="2087">
                  <c:v>41639</c:v>
                </c:pt>
                <c:pt idx="2088">
                  <c:v>41641</c:v>
                </c:pt>
                <c:pt idx="2089">
                  <c:v>41642</c:v>
                </c:pt>
                <c:pt idx="2090">
                  <c:v>41645</c:v>
                </c:pt>
                <c:pt idx="2091">
                  <c:v>41646</c:v>
                </c:pt>
                <c:pt idx="2092">
                  <c:v>41647</c:v>
                </c:pt>
                <c:pt idx="2093">
                  <c:v>41648</c:v>
                </c:pt>
                <c:pt idx="2094">
                  <c:v>41649</c:v>
                </c:pt>
                <c:pt idx="2095">
                  <c:v>41652</c:v>
                </c:pt>
                <c:pt idx="2096">
                  <c:v>41653</c:v>
                </c:pt>
                <c:pt idx="2097">
                  <c:v>41654</c:v>
                </c:pt>
                <c:pt idx="2098">
                  <c:v>41655</c:v>
                </c:pt>
                <c:pt idx="2099">
                  <c:v>41656</c:v>
                </c:pt>
                <c:pt idx="2100">
                  <c:v>41660</c:v>
                </c:pt>
                <c:pt idx="2101">
                  <c:v>41661</c:v>
                </c:pt>
                <c:pt idx="2102">
                  <c:v>41662</c:v>
                </c:pt>
                <c:pt idx="2103">
                  <c:v>41663</c:v>
                </c:pt>
                <c:pt idx="2104">
                  <c:v>41666</c:v>
                </c:pt>
                <c:pt idx="2105">
                  <c:v>41667</c:v>
                </c:pt>
                <c:pt idx="2106">
                  <c:v>41668</c:v>
                </c:pt>
                <c:pt idx="2107">
                  <c:v>41669</c:v>
                </c:pt>
                <c:pt idx="2108">
                  <c:v>41670</c:v>
                </c:pt>
                <c:pt idx="2109">
                  <c:v>41673</c:v>
                </c:pt>
                <c:pt idx="2110">
                  <c:v>41674</c:v>
                </c:pt>
                <c:pt idx="2111">
                  <c:v>41675</c:v>
                </c:pt>
                <c:pt idx="2112">
                  <c:v>41676</c:v>
                </c:pt>
                <c:pt idx="2113">
                  <c:v>41677</c:v>
                </c:pt>
                <c:pt idx="2114">
                  <c:v>41680</c:v>
                </c:pt>
                <c:pt idx="2115">
                  <c:v>41681</c:v>
                </c:pt>
                <c:pt idx="2116">
                  <c:v>41682</c:v>
                </c:pt>
                <c:pt idx="2117">
                  <c:v>41683</c:v>
                </c:pt>
                <c:pt idx="2118">
                  <c:v>41684</c:v>
                </c:pt>
                <c:pt idx="2119">
                  <c:v>41688</c:v>
                </c:pt>
                <c:pt idx="2120">
                  <c:v>41689</c:v>
                </c:pt>
                <c:pt idx="2121">
                  <c:v>41690</c:v>
                </c:pt>
                <c:pt idx="2122">
                  <c:v>41691</c:v>
                </c:pt>
                <c:pt idx="2123">
                  <c:v>41694</c:v>
                </c:pt>
                <c:pt idx="2124">
                  <c:v>41695</c:v>
                </c:pt>
                <c:pt idx="2125">
                  <c:v>41696</c:v>
                </c:pt>
                <c:pt idx="2126">
                  <c:v>41697</c:v>
                </c:pt>
                <c:pt idx="2127">
                  <c:v>41698</c:v>
                </c:pt>
                <c:pt idx="2128">
                  <c:v>41701</c:v>
                </c:pt>
                <c:pt idx="2129">
                  <c:v>41702</c:v>
                </c:pt>
                <c:pt idx="2130">
                  <c:v>41703</c:v>
                </c:pt>
                <c:pt idx="2131">
                  <c:v>41704</c:v>
                </c:pt>
                <c:pt idx="2132">
                  <c:v>41705</c:v>
                </c:pt>
                <c:pt idx="2133">
                  <c:v>41708</c:v>
                </c:pt>
                <c:pt idx="2134">
                  <c:v>41709</c:v>
                </c:pt>
                <c:pt idx="2135">
                  <c:v>41710</c:v>
                </c:pt>
                <c:pt idx="2136">
                  <c:v>41711</c:v>
                </c:pt>
                <c:pt idx="2137">
                  <c:v>41712</c:v>
                </c:pt>
                <c:pt idx="2138">
                  <c:v>41715</c:v>
                </c:pt>
                <c:pt idx="2139">
                  <c:v>41716</c:v>
                </c:pt>
                <c:pt idx="2140">
                  <c:v>41717</c:v>
                </c:pt>
                <c:pt idx="2141">
                  <c:v>41718</c:v>
                </c:pt>
                <c:pt idx="2142">
                  <c:v>41719</c:v>
                </c:pt>
                <c:pt idx="2143">
                  <c:v>41722</c:v>
                </c:pt>
                <c:pt idx="2144">
                  <c:v>41723</c:v>
                </c:pt>
                <c:pt idx="2145">
                  <c:v>41724</c:v>
                </c:pt>
                <c:pt idx="2146">
                  <c:v>41725</c:v>
                </c:pt>
                <c:pt idx="2147">
                  <c:v>41726</c:v>
                </c:pt>
                <c:pt idx="2148">
                  <c:v>41729</c:v>
                </c:pt>
                <c:pt idx="2149">
                  <c:v>41730</c:v>
                </c:pt>
                <c:pt idx="2150">
                  <c:v>41731</c:v>
                </c:pt>
                <c:pt idx="2151">
                  <c:v>41732</c:v>
                </c:pt>
                <c:pt idx="2152">
                  <c:v>41733</c:v>
                </c:pt>
                <c:pt idx="2153">
                  <c:v>41736</c:v>
                </c:pt>
                <c:pt idx="2154">
                  <c:v>41737</c:v>
                </c:pt>
                <c:pt idx="2155">
                  <c:v>41738</c:v>
                </c:pt>
                <c:pt idx="2156">
                  <c:v>41739</c:v>
                </c:pt>
                <c:pt idx="2157">
                  <c:v>41740</c:v>
                </c:pt>
                <c:pt idx="2158">
                  <c:v>41743</c:v>
                </c:pt>
                <c:pt idx="2159">
                  <c:v>41744</c:v>
                </c:pt>
                <c:pt idx="2160">
                  <c:v>41745</c:v>
                </c:pt>
                <c:pt idx="2161">
                  <c:v>41746</c:v>
                </c:pt>
                <c:pt idx="2162">
                  <c:v>41750</c:v>
                </c:pt>
                <c:pt idx="2163">
                  <c:v>41751</c:v>
                </c:pt>
                <c:pt idx="2164">
                  <c:v>41752</c:v>
                </c:pt>
                <c:pt idx="2165">
                  <c:v>41753</c:v>
                </c:pt>
                <c:pt idx="2166">
                  <c:v>41754</c:v>
                </c:pt>
                <c:pt idx="2167">
                  <c:v>41757</c:v>
                </c:pt>
                <c:pt idx="2168">
                  <c:v>41758</c:v>
                </c:pt>
                <c:pt idx="2169">
                  <c:v>41759</c:v>
                </c:pt>
                <c:pt idx="2170">
                  <c:v>41760</c:v>
                </c:pt>
                <c:pt idx="2171">
                  <c:v>41761</c:v>
                </c:pt>
                <c:pt idx="2172">
                  <c:v>41764</c:v>
                </c:pt>
                <c:pt idx="2173">
                  <c:v>41765</c:v>
                </c:pt>
                <c:pt idx="2174">
                  <c:v>41766</c:v>
                </c:pt>
                <c:pt idx="2175">
                  <c:v>41767</c:v>
                </c:pt>
                <c:pt idx="2176">
                  <c:v>41768</c:v>
                </c:pt>
                <c:pt idx="2177">
                  <c:v>41771</c:v>
                </c:pt>
                <c:pt idx="2178">
                  <c:v>41772</c:v>
                </c:pt>
                <c:pt idx="2179">
                  <c:v>41773</c:v>
                </c:pt>
                <c:pt idx="2180">
                  <c:v>41774</c:v>
                </c:pt>
                <c:pt idx="2181">
                  <c:v>41775</c:v>
                </c:pt>
                <c:pt idx="2182">
                  <c:v>41778</c:v>
                </c:pt>
                <c:pt idx="2183">
                  <c:v>41779</c:v>
                </c:pt>
                <c:pt idx="2184">
                  <c:v>41780</c:v>
                </c:pt>
                <c:pt idx="2185">
                  <c:v>41781</c:v>
                </c:pt>
                <c:pt idx="2186">
                  <c:v>41782</c:v>
                </c:pt>
                <c:pt idx="2187">
                  <c:v>41786</c:v>
                </c:pt>
                <c:pt idx="2188">
                  <c:v>41787</c:v>
                </c:pt>
                <c:pt idx="2189">
                  <c:v>41788</c:v>
                </c:pt>
                <c:pt idx="2190">
                  <c:v>41789</c:v>
                </c:pt>
                <c:pt idx="2191">
                  <c:v>41792</c:v>
                </c:pt>
                <c:pt idx="2192">
                  <c:v>41793</c:v>
                </c:pt>
                <c:pt idx="2193">
                  <c:v>41794</c:v>
                </c:pt>
                <c:pt idx="2194">
                  <c:v>41795</c:v>
                </c:pt>
                <c:pt idx="2195">
                  <c:v>41796</c:v>
                </c:pt>
                <c:pt idx="2196">
                  <c:v>41799</c:v>
                </c:pt>
                <c:pt idx="2197">
                  <c:v>41800</c:v>
                </c:pt>
                <c:pt idx="2198">
                  <c:v>41801</c:v>
                </c:pt>
                <c:pt idx="2199">
                  <c:v>41802</c:v>
                </c:pt>
                <c:pt idx="2200">
                  <c:v>41803</c:v>
                </c:pt>
                <c:pt idx="2201">
                  <c:v>41806</c:v>
                </c:pt>
                <c:pt idx="2202">
                  <c:v>41807</c:v>
                </c:pt>
                <c:pt idx="2203">
                  <c:v>41808</c:v>
                </c:pt>
                <c:pt idx="2204">
                  <c:v>41809</c:v>
                </c:pt>
                <c:pt idx="2205">
                  <c:v>41810</c:v>
                </c:pt>
                <c:pt idx="2206">
                  <c:v>41813</c:v>
                </c:pt>
                <c:pt idx="2207">
                  <c:v>41814</c:v>
                </c:pt>
                <c:pt idx="2208">
                  <c:v>41815</c:v>
                </c:pt>
                <c:pt idx="2209">
                  <c:v>41816</c:v>
                </c:pt>
                <c:pt idx="2210">
                  <c:v>41817</c:v>
                </c:pt>
                <c:pt idx="2211">
                  <c:v>41820</c:v>
                </c:pt>
                <c:pt idx="2212">
                  <c:v>41821</c:v>
                </c:pt>
                <c:pt idx="2213">
                  <c:v>41822</c:v>
                </c:pt>
                <c:pt idx="2214">
                  <c:v>41823</c:v>
                </c:pt>
                <c:pt idx="2215">
                  <c:v>41827</c:v>
                </c:pt>
                <c:pt idx="2216">
                  <c:v>41828</c:v>
                </c:pt>
                <c:pt idx="2217">
                  <c:v>41829</c:v>
                </c:pt>
                <c:pt idx="2218">
                  <c:v>41830</c:v>
                </c:pt>
                <c:pt idx="2219">
                  <c:v>41831</c:v>
                </c:pt>
                <c:pt idx="2220">
                  <c:v>41834</c:v>
                </c:pt>
                <c:pt idx="2221">
                  <c:v>41835</c:v>
                </c:pt>
                <c:pt idx="2222">
                  <c:v>41836</c:v>
                </c:pt>
                <c:pt idx="2223">
                  <c:v>41837</c:v>
                </c:pt>
                <c:pt idx="2224">
                  <c:v>41838</c:v>
                </c:pt>
                <c:pt idx="2225">
                  <c:v>41841</c:v>
                </c:pt>
                <c:pt idx="2226">
                  <c:v>41842</c:v>
                </c:pt>
                <c:pt idx="2227">
                  <c:v>41843</c:v>
                </c:pt>
                <c:pt idx="2228">
                  <c:v>41844</c:v>
                </c:pt>
                <c:pt idx="2229">
                  <c:v>41845</c:v>
                </c:pt>
                <c:pt idx="2230">
                  <c:v>41848</c:v>
                </c:pt>
                <c:pt idx="2231">
                  <c:v>41849</c:v>
                </c:pt>
                <c:pt idx="2232">
                  <c:v>41850</c:v>
                </c:pt>
                <c:pt idx="2233">
                  <c:v>41851</c:v>
                </c:pt>
                <c:pt idx="2234">
                  <c:v>41852</c:v>
                </c:pt>
                <c:pt idx="2235">
                  <c:v>41855</c:v>
                </c:pt>
                <c:pt idx="2236">
                  <c:v>41856</c:v>
                </c:pt>
                <c:pt idx="2237">
                  <c:v>41857</c:v>
                </c:pt>
                <c:pt idx="2238">
                  <c:v>41858</c:v>
                </c:pt>
                <c:pt idx="2239">
                  <c:v>41859</c:v>
                </c:pt>
                <c:pt idx="2240">
                  <c:v>41862</c:v>
                </c:pt>
                <c:pt idx="2241">
                  <c:v>41863</c:v>
                </c:pt>
                <c:pt idx="2242">
                  <c:v>41864</c:v>
                </c:pt>
                <c:pt idx="2243">
                  <c:v>41865</c:v>
                </c:pt>
                <c:pt idx="2244">
                  <c:v>41866</c:v>
                </c:pt>
                <c:pt idx="2245">
                  <c:v>41869</c:v>
                </c:pt>
                <c:pt idx="2246">
                  <c:v>41870</c:v>
                </c:pt>
                <c:pt idx="2247">
                  <c:v>41871</c:v>
                </c:pt>
                <c:pt idx="2248">
                  <c:v>41872</c:v>
                </c:pt>
                <c:pt idx="2249">
                  <c:v>41873</c:v>
                </c:pt>
                <c:pt idx="2250">
                  <c:v>41876</c:v>
                </c:pt>
                <c:pt idx="2251">
                  <c:v>41877</c:v>
                </c:pt>
                <c:pt idx="2252">
                  <c:v>41878</c:v>
                </c:pt>
                <c:pt idx="2253">
                  <c:v>41879</c:v>
                </c:pt>
                <c:pt idx="2254">
                  <c:v>41880</c:v>
                </c:pt>
                <c:pt idx="2255">
                  <c:v>41884</c:v>
                </c:pt>
                <c:pt idx="2256">
                  <c:v>41885</c:v>
                </c:pt>
                <c:pt idx="2257">
                  <c:v>41886</c:v>
                </c:pt>
                <c:pt idx="2258">
                  <c:v>41887</c:v>
                </c:pt>
                <c:pt idx="2259">
                  <c:v>41890</c:v>
                </c:pt>
                <c:pt idx="2260">
                  <c:v>41891</c:v>
                </c:pt>
                <c:pt idx="2261">
                  <c:v>41892</c:v>
                </c:pt>
                <c:pt idx="2262">
                  <c:v>41893</c:v>
                </c:pt>
                <c:pt idx="2263">
                  <c:v>41894</c:v>
                </c:pt>
                <c:pt idx="2264">
                  <c:v>41897</c:v>
                </c:pt>
                <c:pt idx="2265">
                  <c:v>41898</c:v>
                </c:pt>
                <c:pt idx="2266">
                  <c:v>41899</c:v>
                </c:pt>
                <c:pt idx="2267">
                  <c:v>41900</c:v>
                </c:pt>
                <c:pt idx="2268">
                  <c:v>41901</c:v>
                </c:pt>
                <c:pt idx="2269">
                  <c:v>41904</c:v>
                </c:pt>
                <c:pt idx="2270">
                  <c:v>41905</c:v>
                </c:pt>
                <c:pt idx="2271">
                  <c:v>41906</c:v>
                </c:pt>
                <c:pt idx="2272">
                  <c:v>41907</c:v>
                </c:pt>
                <c:pt idx="2273">
                  <c:v>41908</c:v>
                </c:pt>
                <c:pt idx="2274">
                  <c:v>41911</c:v>
                </c:pt>
                <c:pt idx="2275">
                  <c:v>41912</c:v>
                </c:pt>
                <c:pt idx="2276">
                  <c:v>41913</c:v>
                </c:pt>
                <c:pt idx="2277">
                  <c:v>41914</c:v>
                </c:pt>
                <c:pt idx="2278">
                  <c:v>41915</c:v>
                </c:pt>
                <c:pt idx="2279">
                  <c:v>41918</c:v>
                </c:pt>
                <c:pt idx="2280">
                  <c:v>41919</c:v>
                </c:pt>
                <c:pt idx="2281">
                  <c:v>41920</c:v>
                </c:pt>
                <c:pt idx="2282">
                  <c:v>41921</c:v>
                </c:pt>
                <c:pt idx="2283">
                  <c:v>41922</c:v>
                </c:pt>
                <c:pt idx="2284">
                  <c:v>41925</c:v>
                </c:pt>
                <c:pt idx="2285">
                  <c:v>41926</c:v>
                </c:pt>
                <c:pt idx="2286">
                  <c:v>41927</c:v>
                </c:pt>
                <c:pt idx="2287">
                  <c:v>41928</c:v>
                </c:pt>
                <c:pt idx="2288">
                  <c:v>41929</c:v>
                </c:pt>
                <c:pt idx="2289">
                  <c:v>41932</c:v>
                </c:pt>
                <c:pt idx="2290">
                  <c:v>41933</c:v>
                </c:pt>
                <c:pt idx="2291">
                  <c:v>41934</c:v>
                </c:pt>
                <c:pt idx="2292">
                  <c:v>41935</c:v>
                </c:pt>
                <c:pt idx="2293">
                  <c:v>41936</c:v>
                </c:pt>
                <c:pt idx="2294">
                  <c:v>41939</c:v>
                </c:pt>
                <c:pt idx="2295">
                  <c:v>41940</c:v>
                </c:pt>
                <c:pt idx="2296">
                  <c:v>41941</c:v>
                </c:pt>
                <c:pt idx="2297">
                  <c:v>41942</c:v>
                </c:pt>
                <c:pt idx="2298">
                  <c:v>41943</c:v>
                </c:pt>
                <c:pt idx="2299">
                  <c:v>41946</c:v>
                </c:pt>
                <c:pt idx="2300">
                  <c:v>41947</c:v>
                </c:pt>
                <c:pt idx="2301">
                  <c:v>41948</c:v>
                </c:pt>
                <c:pt idx="2302">
                  <c:v>41949</c:v>
                </c:pt>
                <c:pt idx="2303">
                  <c:v>41950</c:v>
                </c:pt>
                <c:pt idx="2304">
                  <c:v>41953</c:v>
                </c:pt>
                <c:pt idx="2305">
                  <c:v>41954</c:v>
                </c:pt>
                <c:pt idx="2306">
                  <c:v>41955</c:v>
                </c:pt>
                <c:pt idx="2307">
                  <c:v>41956</c:v>
                </c:pt>
                <c:pt idx="2308">
                  <c:v>41957</c:v>
                </c:pt>
                <c:pt idx="2309">
                  <c:v>41960</c:v>
                </c:pt>
                <c:pt idx="2310">
                  <c:v>41961</c:v>
                </c:pt>
                <c:pt idx="2311">
                  <c:v>41962</c:v>
                </c:pt>
                <c:pt idx="2312">
                  <c:v>41963</c:v>
                </c:pt>
                <c:pt idx="2313">
                  <c:v>41964</c:v>
                </c:pt>
                <c:pt idx="2314">
                  <c:v>41967</c:v>
                </c:pt>
                <c:pt idx="2315">
                  <c:v>41968</c:v>
                </c:pt>
                <c:pt idx="2316">
                  <c:v>41969</c:v>
                </c:pt>
                <c:pt idx="2317">
                  <c:v>41971</c:v>
                </c:pt>
                <c:pt idx="2318">
                  <c:v>41974</c:v>
                </c:pt>
                <c:pt idx="2319">
                  <c:v>41975</c:v>
                </c:pt>
                <c:pt idx="2320">
                  <c:v>41976</c:v>
                </c:pt>
                <c:pt idx="2321">
                  <c:v>41977</c:v>
                </c:pt>
                <c:pt idx="2322">
                  <c:v>41978</c:v>
                </c:pt>
                <c:pt idx="2323">
                  <c:v>41981</c:v>
                </c:pt>
                <c:pt idx="2324">
                  <c:v>41982</c:v>
                </c:pt>
                <c:pt idx="2325">
                  <c:v>41983</c:v>
                </c:pt>
                <c:pt idx="2326">
                  <c:v>41984</c:v>
                </c:pt>
                <c:pt idx="2327">
                  <c:v>41985</c:v>
                </c:pt>
                <c:pt idx="2328">
                  <c:v>41988</c:v>
                </c:pt>
                <c:pt idx="2329">
                  <c:v>41989</c:v>
                </c:pt>
                <c:pt idx="2330">
                  <c:v>41990</c:v>
                </c:pt>
                <c:pt idx="2331">
                  <c:v>41991</c:v>
                </c:pt>
                <c:pt idx="2332">
                  <c:v>41992</c:v>
                </c:pt>
                <c:pt idx="2333">
                  <c:v>41995</c:v>
                </c:pt>
                <c:pt idx="2334">
                  <c:v>41996</c:v>
                </c:pt>
                <c:pt idx="2335">
                  <c:v>41997</c:v>
                </c:pt>
                <c:pt idx="2336">
                  <c:v>41999</c:v>
                </c:pt>
                <c:pt idx="2337">
                  <c:v>42002</c:v>
                </c:pt>
                <c:pt idx="2338">
                  <c:v>42003</c:v>
                </c:pt>
                <c:pt idx="2339">
                  <c:v>42004</c:v>
                </c:pt>
                <c:pt idx="2340">
                  <c:v>42006</c:v>
                </c:pt>
                <c:pt idx="2341">
                  <c:v>42009</c:v>
                </c:pt>
                <c:pt idx="2342">
                  <c:v>42010</c:v>
                </c:pt>
                <c:pt idx="2343">
                  <c:v>42011</c:v>
                </c:pt>
                <c:pt idx="2344">
                  <c:v>42012</c:v>
                </c:pt>
                <c:pt idx="2345">
                  <c:v>42013</c:v>
                </c:pt>
                <c:pt idx="2346">
                  <c:v>42016</c:v>
                </c:pt>
                <c:pt idx="2347">
                  <c:v>42017</c:v>
                </c:pt>
                <c:pt idx="2348">
                  <c:v>42018</c:v>
                </c:pt>
                <c:pt idx="2349">
                  <c:v>42019</c:v>
                </c:pt>
                <c:pt idx="2350">
                  <c:v>42020</c:v>
                </c:pt>
                <c:pt idx="2351">
                  <c:v>42024</c:v>
                </c:pt>
                <c:pt idx="2352">
                  <c:v>42025</c:v>
                </c:pt>
                <c:pt idx="2353">
                  <c:v>42026</c:v>
                </c:pt>
                <c:pt idx="2354">
                  <c:v>42027</c:v>
                </c:pt>
                <c:pt idx="2355">
                  <c:v>42030</c:v>
                </c:pt>
                <c:pt idx="2356">
                  <c:v>42031</c:v>
                </c:pt>
                <c:pt idx="2357">
                  <c:v>42032</c:v>
                </c:pt>
                <c:pt idx="2358">
                  <c:v>42033</c:v>
                </c:pt>
                <c:pt idx="2359">
                  <c:v>42034</c:v>
                </c:pt>
                <c:pt idx="2360">
                  <c:v>42037</c:v>
                </c:pt>
                <c:pt idx="2361">
                  <c:v>42038</c:v>
                </c:pt>
                <c:pt idx="2362">
                  <c:v>42039</c:v>
                </c:pt>
                <c:pt idx="2363">
                  <c:v>42040</c:v>
                </c:pt>
                <c:pt idx="2364">
                  <c:v>42041</c:v>
                </c:pt>
                <c:pt idx="2365">
                  <c:v>42044</c:v>
                </c:pt>
                <c:pt idx="2366">
                  <c:v>42045</c:v>
                </c:pt>
                <c:pt idx="2367">
                  <c:v>42046</c:v>
                </c:pt>
                <c:pt idx="2368">
                  <c:v>42047</c:v>
                </c:pt>
                <c:pt idx="2369">
                  <c:v>42048</c:v>
                </c:pt>
                <c:pt idx="2370">
                  <c:v>42052</c:v>
                </c:pt>
                <c:pt idx="2371">
                  <c:v>42053</c:v>
                </c:pt>
                <c:pt idx="2372">
                  <c:v>42054</c:v>
                </c:pt>
                <c:pt idx="2373">
                  <c:v>42055</c:v>
                </c:pt>
                <c:pt idx="2374">
                  <c:v>42058</c:v>
                </c:pt>
                <c:pt idx="2375">
                  <c:v>42059</c:v>
                </c:pt>
                <c:pt idx="2376">
                  <c:v>42060</c:v>
                </c:pt>
                <c:pt idx="2377">
                  <c:v>42061</c:v>
                </c:pt>
                <c:pt idx="2378">
                  <c:v>42062</c:v>
                </c:pt>
                <c:pt idx="2379">
                  <c:v>42065</c:v>
                </c:pt>
                <c:pt idx="2380">
                  <c:v>42066</c:v>
                </c:pt>
                <c:pt idx="2381">
                  <c:v>42067</c:v>
                </c:pt>
                <c:pt idx="2382">
                  <c:v>42068</c:v>
                </c:pt>
                <c:pt idx="2383">
                  <c:v>42069</c:v>
                </c:pt>
                <c:pt idx="2384">
                  <c:v>42072</c:v>
                </c:pt>
                <c:pt idx="2385">
                  <c:v>42073</c:v>
                </c:pt>
                <c:pt idx="2386">
                  <c:v>42074</c:v>
                </c:pt>
                <c:pt idx="2387">
                  <c:v>42075</c:v>
                </c:pt>
                <c:pt idx="2388">
                  <c:v>42076</c:v>
                </c:pt>
                <c:pt idx="2389">
                  <c:v>42079</c:v>
                </c:pt>
                <c:pt idx="2390">
                  <c:v>42080</c:v>
                </c:pt>
                <c:pt idx="2391">
                  <c:v>42081</c:v>
                </c:pt>
                <c:pt idx="2392">
                  <c:v>42082</c:v>
                </c:pt>
                <c:pt idx="2393">
                  <c:v>42083</c:v>
                </c:pt>
                <c:pt idx="2394">
                  <c:v>42086</c:v>
                </c:pt>
                <c:pt idx="2395">
                  <c:v>42087</c:v>
                </c:pt>
                <c:pt idx="2396">
                  <c:v>42088</c:v>
                </c:pt>
                <c:pt idx="2397">
                  <c:v>42089</c:v>
                </c:pt>
                <c:pt idx="2398">
                  <c:v>42090</c:v>
                </c:pt>
                <c:pt idx="2399">
                  <c:v>42093</c:v>
                </c:pt>
                <c:pt idx="2400">
                  <c:v>42094</c:v>
                </c:pt>
                <c:pt idx="2401">
                  <c:v>42095</c:v>
                </c:pt>
                <c:pt idx="2402">
                  <c:v>42096</c:v>
                </c:pt>
                <c:pt idx="2403">
                  <c:v>42100</c:v>
                </c:pt>
                <c:pt idx="2404">
                  <c:v>42101</c:v>
                </c:pt>
                <c:pt idx="2405">
                  <c:v>42102</c:v>
                </c:pt>
                <c:pt idx="2406">
                  <c:v>42103</c:v>
                </c:pt>
                <c:pt idx="2407">
                  <c:v>42104</c:v>
                </c:pt>
                <c:pt idx="2408">
                  <c:v>42107</c:v>
                </c:pt>
                <c:pt idx="2409">
                  <c:v>42108</c:v>
                </c:pt>
                <c:pt idx="2410">
                  <c:v>42109</c:v>
                </c:pt>
                <c:pt idx="2411">
                  <c:v>42110</c:v>
                </c:pt>
                <c:pt idx="2412">
                  <c:v>42111</c:v>
                </c:pt>
                <c:pt idx="2413">
                  <c:v>42114</c:v>
                </c:pt>
                <c:pt idx="2414">
                  <c:v>42115</c:v>
                </c:pt>
                <c:pt idx="2415">
                  <c:v>42116</c:v>
                </c:pt>
                <c:pt idx="2416">
                  <c:v>42117</c:v>
                </c:pt>
                <c:pt idx="2417">
                  <c:v>42118</c:v>
                </c:pt>
                <c:pt idx="2418">
                  <c:v>42121</c:v>
                </c:pt>
                <c:pt idx="2419">
                  <c:v>42122</c:v>
                </c:pt>
                <c:pt idx="2420">
                  <c:v>42123</c:v>
                </c:pt>
                <c:pt idx="2421">
                  <c:v>42124</c:v>
                </c:pt>
                <c:pt idx="2422">
                  <c:v>42125</c:v>
                </c:pt>
                <c:pt idx="2423">
                  <c:v>42128</c:v>
                </c:pt>
                <c:pt idx="2424">
                  <c:v>42129</c:v>
                </c:pt>
                <c:pt idx="2425">
                  <c:v>42130</c:v>
                </c:pt>
                <c:pt idx="2426">
                  <c:v>42131</c:v>
                </c:pt>
                <c:pt idx="2427">
                  <c:v>42132</c:v>
                </c:pt>
                <c:pt idx="2428">
                  <c:v>42135</c:v>
                </c:pt>
                <c:pt idx="2429">
                  <c:v>42136</c:v>
                </c:pt>
                <c:pt idx="2430">
                  <c:v>42137</c:v>
                </c:pt>
                <c:pt idx="2431">
                  <c:v>42138</c:v>
                </c:pt>
                <c:pt idx="2432">
                  <c:v>42139</c:v>
                </c:pt>
                <c:pt idx="2433">
                  <c:v>42142</c:v>
                </c:pt>
                <c:pt idx="2434">
                  <c:v>42143</c:v>
                </c:pt>
                <c:pt idx="2435">
                  <c:v>42144</c:v>
                </c:pt>
                <c:pt idx="2436">
                  <c:v>42145</c:v>
                </c:pt>
                <c:pt idx="2437">
                  <c:v>42146</c:v>
                </c:pt>
                <c:pt idx="2438">
                  <c:v>42150</c:v>
                </c:pt>
                <c:pt idx="2439">
                  <c:v>42151</c:v>
                </c:pt>
                <c:pt idx="2440">
                  <c:v>42152</c:v>
                </c:pt>
                <c:pt idx="2441">
                  <c:v>42153</c:v>
                </c:pt>
                <c:pt idx="2442">
                  <c:v>42156</c:v>
                </c:pt>
                <c:pt idx="2443">
                  <c:v>42157</c:v>
                </c:pt>
                <c:pt idx="2444">
                  <c:v>42158</c:v>
                </c:pt>
                <c:pt idx="2445">
                  <c:v>42159</c:v>
                </c:pt>
                <c:pt idx="2446">
                  <c:v>42160</c:v>
                </c:pt>
                <c:pt idx="2447">
                  <c:v>42163</c:v>
                </c:pt>
                <c:pt idx="2448">
                  <c:v>42164</c:v>
                </c:pt>
                <c:pt idx="2449">
                  <c:v>42165</c:v>
                </c:pt>
                <c:pt idx="2450">
                  <c:v>42166</c:v>
                </c:pt>
                <c:pt idx="2451">
                  <c:v>42167</c:v>
                </c:pt>
                <c:pt idx="2452">
                  <c:v>42170</c:v>
                </c:pt>
                <c:pt idx="2453">
                  <c:v>42171</c:v>
                </c:pt>
                <c:pt idx="2454">
                  <c:v>42172</c:v>
                </c:pt>
                <c:pt idx="2455">
                  <c:v>42173</c:v>
                </c:pt>
                <c:pt idx="2456">
                  <c:v>42174</c:v>
                </c:pt>
                <c:pt idx="2457">
                  <c:v>42177</c:v>
                </c:pt>
                <c:pt idx="2458">
                  <c:v>42178</c:v>
                </c:pt>
                <c:pt idx="2459">
                  <c:v>42179</c:v>
                </c:pt>
                <c:pt idx="2460">
                  <c:v>42180</c:v>
                </c:pt>
                <c:pt idx="2461">
                  <c:v>42181</c:v>
                </c:pt>
                <c:pt idx="2462">
                  <c:v>42184</c:v>
                </c:pt>
                <c:pt idx="2463">
                  <c:v>42185</c:v>
                </c:pt>
                <c:pt idx="2464">
                  <c:v>42186</c:v>
                </c:pt>
                <c:pt idx="2465">
                  <c:v>42187</c:v>
                </c:pt>
                <c:pt idx="2466">
                  <c:v>42191</c:v>
                </c:pt>
                <c:pt idx="2467">
                  <c:v>42192</c:v>
                </c:pt>
                <c:pt idx="2468">
                  <c:v>42193</c:v>
                </c:pt>
                <c:pt idx="2469">
                  <c:v>42194</c:v>
                </c:pt>
                <c:pt idx="2470">
                  <c:v>42195</c:v>
                </c:pt>
                <c:pt idx="2471">
                  <c:v>42198</c:v>
                </c:pt>
                <c:pt idx="2472">
                  <c:v>42199</c:v>
                </c:pt>
                <c:pt idx="2473">
                  <c:v>42200</c:v>
                </c:pt>
                <c:pt idx="2474">
                  <c:v>42201</c:v>
                </c:pt>
                <c:pt idx="2475">
                  <c:v>42202</c:v>
                </c:pt>
                <c:pt idx="2476">
                  <c:v>42205</c:v>
                </c:pt>
                <c:pt idx="2477">
                  <c:v>42206</c:v>
                </c:pt>
                <c:pt idx="2478">
                  <c:v>42207</c:v>
                </c:pt>
                <c:pt idx="2479">
                  <c:v>42208</c:v>
                </c:pt>
                <c:pt idx="2480">
                  <c:v>42209</c:v>
                </c:pt>
                <c:pt idx="2481">
                  <c:v>42212</c:v>
                </c:pt>
                <c:pt idx="2482">
                  <c:v>42213</c:v>
                </c:pt>
                <c:pt idx="2483">
                  <c:v>42214</c:v>
                </c:pt>
                <c:pt idx="2484">
                  <c:v>42215</c:v>
                </c:pt>
                <c:pt idx="2485">
                  <c:v>42216</c:v>
                </c:pt>
                <c:pt idx="2486">
                  <c:v>42219</c:v>
                </c:pt>
                <c:pt idx="2487">
                  <c:v>42220</c:v>
                </c:pt>
                <c:pt idx="2488">
                  <c:v>42221</c:v>
                </c:pt>
                <c:pt idx="2489">
                  <c:v>42222</c:v>
                </c:pt>
                <c:pt idx="2490">
                  <c:v>42223</c:v>
                </c:pt>
                <c:pt idx="2491">
                  <c:v>42226</c:v>
                </c:pt>
                <c:pt idx="2492">
                  <c:v>42227</c:v>
                </c:pt>
                <c:pt idx="2493">
                  <c:v>42228</c:v>
                </c:pt>
                <c:pt idx="2494">
                  <c:v>42229</c:v>
                </c:pt>
                <c:pt idx="2495">
                  <c:v>42230</c:v>
                </c:pt>
                <c:pt idx="2496">
                  <c:v>42233</c:v>
                </c:pt>
                <c:pt idx="2497">
                  <c:v>42234</c:v>
                </c:pt>
                <c:pt idx="2498">
                  <c:v>42235</c:v>
                </c:pt>
                <c:pt idx="2499">
                  <c:v>42236</c:v>
                </c:pt>
                <c:pt idx="2500">
                  <c:v>42237</c:v>
                </c:pt>
                <c:pt idx="2501">
                  <c:v>42240</c:v>
                </c:pt>
                <c:pt idx="2502">
                  <c:v>42241</c:v>
                </c:pt>
                <c:pt idx="2503">
                  <c:v>42242</c:v>
                </c:pt>
                <c:pt idx="2504">
                  <c:v>42243</c:v>
                </c:pt>
                <c:pt idx="2505">
                  <c:v>42244</c:v>
                </c:pt>
                <c:pt idx="2506">
                  <c:v>42247</c:v>
                </c:pt>
                <c:pt idx="2507">
                  <c:v>42248</c:v>
                </c:pt>
                <c:pt idx="2508">
                  <c:v>42249</c:v>
                </c:pt>
                <c:pt idx="2509">
                  <c:v>42250</c:v>
                </c:pt>
                <c:pt idx="2510">
                  <c:v>42251</c:v>
                </c:pt>
                <c:pt idx="2511">
                  <c:v>42255</c:v>
                </c:pt>
                <c:pt idx="2512">
                  <c:v>42256</c:v>
                </c:pt>
                <c:pt idx="2513">
                  <c:v>42257</c:v>
                </c:pt>
                <c:pt idx="2514">
                  <c:v>42258</c:v>
                </c:pt>
                <c:pt idx="2515">
                  <c:v>42261</c:v>
                </c:pt>
                <c:pt idx="2516">
                  <c:v>42262</c:v>
                </c:pt>
                <c:pt idx="2517">
                  <c:v>42263</c:v>
                </c:pt>
                <c:pt idx="2518">
                  <c:v>42264</c:v>
                </c:pt>
                <c:pt idx="2519">
                  <c:v>42265</c:v>
                </c:pt>
                <c:pt idx="2520">
                  <c:v>42268</c:v>
                </c:pt>
                <c:pt idx="2521">
                  <c:v>42269</c:v>
                </c:pt>
                <c:pt idx="2522">
                  <c:v>42270</c:v>
                </c:pt>
                <c:pt idx="2523">
                  <c:v>42271</c:v>
                </c:pt>
                <c:pt idx="2524">
                  <c:v>42272</c:v>
                </c:pt>
                <c:pt idx="2525">
                  <c:v>42275</c:v>
                </c:pt>
                <c:pt idx="2526">
                  <c:v>42276</c:v>
                </c:pt>
                <c:pt idx="2527">
                  <c:v>42277</c:v>
                </c:pt>
                <c:pt idx="2528">
                  <c:v>42278</c:v>
                </c:pt>
                <c:pt idx="2529">
                  <c:v>42279</c:v>
                </c:pt>
                <c:pt idx="2530">
                  <c:v>42282</c:v>
                </c:pt>
                <c:pt idx="2531">
                  <c:v>42283</c:v>
                </c:pt>
                <c:pt idx="2532">
                  <c:v>42284</c:v>
                </c:pt>
                <c:pt idx="2533">
                  <c:v>42285</c:v>
                </c:pt>
                <c:pt idx="2534">
                  <c:v>42286</c:v>
                </c:pt>
                <c:pt idx="2535">
                  <c:v>42289</c:v>
                </c:pt>
                <c:pt idx="2536">
                  <c:v>42290</c:v>
                </c:pt>
                <c:pt idx="2537">
                  <c:v>42291</c:v>
                </c:pt>
                <c:pt idx="2538">
                  <c:v>42292</c:v>
                </c:pt>
                <c:pt idx="2539">
                  <c:v>42293</c:v>
                </c:pt>
                <c:pt idx="2540">
                  <c:v>42296</c:v>
                </c:pt>
                <c:pt idx="2541">
                  <c:v>42297</c:v>
                </c:pt>
                <c:pt idx="2542">
                  <c:v>42298</c:v>
                </c:pt>
                <c:pt idx="2543">
                  <c:v>42299</c:v>
                </c:pt>
                <c:pt idx="2544">
                  <c:v>42300</c:v>
                </c:pt>
                <c:pt idx="2545">
                  <c:v>42303</c:v>
                </c:pt>
                <c:pt idx="2546">
                  <c:v>42304</c:v>
                </c:pt>
                <c:pt idx="2547">
                  <c:v>42305</c:v>
                </c:pt>
                <c:pt idx="2548">
                  <c:v>42306</c:v>
                </c:pt>
                <c:pt idx="2549">
                  <c:v>42307</c:v>
                </c:pt>
                <c:pt idx="2550">
                  <c:v>42310</c:v>
                </c:pt>
                <c:pt idx="2551">
                  <c:v>42311</c:v>
                </c:pt>
                <c:pt idx="2552">
                  <c:v>42312</c:v>
                </c:pt>
                <c:pt idx="2553">
                  <c:v>42313</c:v>
                </c:pt>
                <c:pt idx="2554">
                  <c:v>42314</c:v>
                </c:pt>
                <c:pt idx="2555">
                  <c:v>42317</c:v>
                </c:pt>
                <c:pt idx="2556">
                  <c:v>42318</c:v>
                </c:pt>
                <c:pt idx="2557">
                  <c:v>42319</c:v>
                </c:pt>
                <c:pt idx="2558">
                  <c:v>42320</c:v>
                </c:pt>
                <c:pt idx="2559">
                  <c:v>42321</c:v>
                </c:pt>
                <c:pt idx="2560">
                  <c:v>42324</c:v>
                </c:pt>
                <c:pt idx="2561">
                  <c:v>42325</c:v>
                </c:pt>
                <c:pt idx="2562">
                  <c:v>42326</c:v>
                </c:pt>
                <c:pt idx="2563">
                  <c:v>42327</c:v>
                </c:pt>
                <c:pt idx="2564">
                  <c:v>42328</c:v>
                </c:pt>
                <c:pt idx="2565">
                  <c:v>42331</c:v>
                </c:pt>
                <c:pt idx="2566">
                  <c:v>42332</c:v>
                </c:pt>
                <c:pt idx="2567">
                  <c:v>42333</c:v>
                </c:pt>
                <c:pt idx="2568">
                  <c:v>42335</c:v>
                </c:pt>
                <c:pt idx="2569">
                  <c:v>42338</c:v>
                </c:pt>
                <c:pt idx="2570">
                  <c:v>42339</c:v>
                </c:pt>
                <c:pt idx="2571">
                  <c:v>42340</c:v>
                </c:pt>
                <c:pt idx="2572">
                  <c:v>42341</c:v>
                </c:pt>
                <c:pt idx="2573">
                  <c:v>42342</c:v>
                </c:pt>
                <c:pt idx="2574">
                  <c:v>42345</c:v>
                </c:pt>
                <c:pt idx="2575">
                  <c:v>42346</c:v>
                </c:pt>
                <c:pt idx="2576">
                  <c:v>42347</c:v>
                </c:pt>
                <c:pt idx="2577">
                  <c:v>42348</c:v>
                </c:pt>
                <c:pt idx="2578">
                  <c:v>42349</c:v>
                </c:pt>
                <c:pt idx="2579">
                  <c:v>42352</c:v>
                </c:pt>
                <c:pt idx="2580">
                  <c:v>42353</c:v>
                </c:pt>
                <c:pt idx="2581">
                  <c:v>42354</c:v>
                </c:pt>
                <c:pt idx="2582">
                  <c:v>42355</c:v>
                </c:pt>
                <c:pt idx="2583">
                  <c:v>42356</c:v>
                </c:pt>
                <c:pt idx="2584">
                  <c:v>42359</c:v>
                </c:pt>
                <c:pt idx="2585">
                  <c:v>42360</c:v>
                </c:pt>
                <c:pt idx="2586">
                  <c:v>42361</c:v>
                </c:pt>
                <c:pt idx="2587">
                  <c:v>42362</c:v>
                </c:pt>
                <c:pt idx="2588">
                  <c:v>42366</c:v>
                </c:pt>
                <c:pt idx="2589">
                  <c:v>42367</c:v>
                </c:pt>
                <c:pt idx="2590">
                  <c:v>42368</c:v>
                </c:pt>
                <c:pt idx="2591">
                  <c:v>42369</c:v>
                </c:pt>
                <c:pt idx="2592">
                  <c:v>42373</c:v>
                </c:pt>
                <c:pt idx="2593">
                  <c:v>42374</c:v>
                </c:pt>
                <c:pt idx="2594">
                  <c:v>42375</c:v>
                </c:pt>
                <c:pt idx="2595">
                  <c:v>42376</c:v>
                </c:pt>
                <c:pt idx="2596">
                  <c:v>42377</c:v>
                </c:pt>
                <c:pt idx="2597">
                  <c:v>42380</c:v>
                </c:pt>
                <c:pt idx="2598">
                  <c:v>42381</c:v>
                </c:pt>
                <c:pt idx="2599">
                  <c:v>42382</c:v>
                </c:pt>
                <c:pt idx="2600">
                  <c:v>42383</c:v>
                </c:pt>
                <c:pt idx="2601">
                  <c:v>42384</c:v>
                </c:pt>
                <c:pt idx="2602">
                  <c:v>42388</c:v>
                </c:pt>
                <c:pt idx="2603">
                  <c:v>42389</c:v>
                </c:pt>
                <c:pt idx="2604">
                  <c:v>42390</c:v>
                </c:pt>
                <c:pt idx="2605">
                  <c:v>42391</c:v>
                </c:pt>
                <c:pt idx="2606">
                  <c:v>42394</c:v>
                </c:pt>
                <c:pt idx="2607">
                  <c:v>42395</c:v>
                </c:pt>
                <c:pt idx="2608">
                  <c:v>42396</c:v>
                </c:pt>
                <c:pt idx="2609">
                  <c:v>42397</c:v>
                </c:pt>
                <c:pt idx="2610">
                  <c:v>42398</c:v>
                </c:pt>
                <c:pt idx="2611">
                  <c:v>42401</c:v>
                </c:pt>
                <c:pt idx="2612">
                  <c:v>42402</c:v>
                </c:pt>
                <c:pt idx="2613">
                  <c:v>42403</c:v>
                </c:pt>
                <c:pt idx="2614">
                  <c:v>42404</c:v>
                </c:pt>
                <c:pt idx="2615">
                  <c:v>42405</c:v>
                </c:pt>
                <c:pt idx="2616">
                  <c:v>42408</c:v>
                </c:pt>
                <c:pt idx="2617">
                  <c:v>42409</c:v>
                </c:pt>
                <c:pt idx="2618">
                  <c:v>42410</c:v>
                </c:pt>
                <c:pt idx="2619">
                  <c:v>42411</c:v>
                </c:pt>
                <c:pt idx="2620">
                  <c:v>42412</c:v>
                </c:pt>
                <c:pt idx="2621">
                  <c:v>42416</c:v>
                </c:pt>
                <c:pt idx="2622">
                  <c:v>42417</c:v>
                </c:pt>
                <c:pt idx="2623">
                  <c:v>42418</c:v>
                </c:pt>
                <c:pt idx="2624">
                  <c:v>42419</c:v>
                </c:pt>
                <c:pt idx="2625">
                  <c:v>42422</c:v>
                </c:pt>
                <c:pt idx="2626">
                  <c:v>42423</c:v>
                </c:pt>
              </c:numCache>
            </c:numRef>
          </c:cat>
          <c:val>
            <c:numRef>
              <c:f>'6M'!$R$137:$R$2763</c:f>
              <c:numCache>
                <c:formatCode>General</c:formatCode>
                <c:ptCount val="2627"/>
                <c:pt idx="0">
                  <c:v>100</c:v>
                </c:pt>
                <c:pt idx="1">
                  <c:v>99.050825955983782</c:v>
                </c:pt>
                <c:pt idx="2">
                  <c:v>99.727266506041403</c:v>
                </c:pt>
                <c:pt idx="3">
                  <c:v>99.506957858149363</c:v>
                </c:pt>
                <c:pt idx="4">
                  <c:v>102.34744773624887</c:v>
                </c:pt>
                <c:pt idx="5">
                  <c:v>103.28800875762859</c:v>
                </c:pt>
                <c:pt idx="6">
                  <c:v>103.28800875762859</c:v>
                </c:pt>
                <c:pt idx="7">
                  <c:v>104.63604455395168</c:v>
                </c:pt>
                <c:pt idx="8">
                  <c:v>105.41513417540646</c:v>
                </c:pt>
                <c:pt idx="9">
                  <c:v>103.7226043151815</c:v>
                </c:pt>
                <c:pt idx="10">
                  <c:v>101.51680155388151</c:v>
                </c:pt>
                <c:pt idx="11">
                  <c:v>99.890960535785496</c:v>
                </c:pt>
                <c:pt idx="12">
                  <c:v>99.269896095669552</c:v>
                </c:pt>
                <c:pt idx="13">
                  <c:v>101.73871186656301</c:v>
                </c:pt>
                <c:pt idx="14">
                  <c:v>106.51902744539724</c:v>
                </c:pt>
                <c:pt idx="15">
                  <c:v>106.51902744539724</c:v>
                </c:pt>
                <c:pt idx="16">
                  <c:v>106.3858786610905</c:v>
                </c:pt>
                <c:pt idx="17">
                  <c:v>106.3858786610905</c:v>
                </c:pt>
                <c:pt idx="18">
                  <c:v>106.3858786610905</c:v>
                </c:pt>
                <c:pt idx="19">
                  <c:v>106.3858786610905</c:v>
                </c:pt>
                <c:pt idx="20">
                  <c:v>106.3858786610905</c:v>
                </c:pt>
                <c:pt idx="21">
                  <c:v>106.3858786610905</c:v>
                </c:pt>
                <c:pt idx="22">
                  <c:v>106.3858786610905</c:v>
                </c:pt>
                <c:pt idx="23">
                  <c:v>106.3858786610905</c:v>
                </c:pt>
                <c:pt idx="24">
                  <c:v>106.3858786610905</c:v>
                </c:pt>
                <c:pt idx="25">
                  <c:v>106.3858786610905</c:v>
                </c:pt>
                <c:pt idx="26">
                  <c:v>106.3858786610905</c:v>
                </c:pt>
                <c:pt idx="27">
                  <c:v>106.3858786610905</c:v>
                </c:pt>
                <c:pt idx="28">
                  <c:v>106.3858786610905</c:v>
                </c:pt>
                <c:pt idx="29">
                  <c:v>106.3858786610905</c:v>
                </c:pt>
                <c:pt idx="30">
                  <c:v>106.3858786610905</c:v>
                </c:pt>
                <c:pt idx="31">
                  <c:v>106.3858786610905</c:v>
                </c:pt>
                <c:pt idx="32">
                  <c:v>106.3858786610905</c:v>
                </c:pt>
                <c:pt idx="33">
                  <c:v>106.3858786610905</c:v>
                </c:pt>
                <c:pt idx="34">
                  <c:v>106.3858786610905</c:v>
                </c:pt>
                <c:pt idx="35">
                  <c:v>106.3858786610905</c:v>
                </c:pt>
                <c:pt idx="36">
                  <c:v>105.73429819502816</c:v>
                </c:pt>
                <c:pt idx="37">
                  <c:v>104.88035198946577</c:v>
                </c:pt>
                <c:pt idx="38">
                  <c:v>105.35842119432594</c:v>
                </c:pt>
                <c:pt idx="39">
                  <c:v>103.11909142415321</c:v>
                </c:pt>
                <c:pt idx="40">
                  <c:v>99.037472152027576</c:v>
                </c:pt>
                <c:pt idx="41">
                  <c:v>96.004813095761236</c:v>
                </c:pt>
                <c:pt idx="42">
                  <c:v>97.283465248860679</c:v>
                </c:pt>
                <c:pt idx="43">
                  <c:v>96.751477304691804</c:v>
                </c:pt>
                <c:pt idx="44">
                  <c:v>96.447970277064883</c:v>
                </c:pt>
                <c:pt idx="45">
                  <c:v>93.877375587924192</c:v>
                </c:pt>
                <c:pt idx="46">
                  <c:v>91.075206263980633</c:v>
                </c:pt>
                <c:pt idx="47">
                  <c:v>91.295982523313512</c:v>
                </c:pt>
                <c:pt idx="48">
                  <c:v>90.766446500883134</c:v>
                </c:pt>
                <c:pt idx="49">
                  <c:v>90.23626153282531</c:v>
                </c:pt>
                <c:pt idx="50">
                  <c:v>90.386250807926857</c:v>
                </c:pt>
                <c:pt idx="51">
                  <c:v>91.141656450662509</c:v>
                </c:pt>
                <c:pt idx="52">
                  <c:v>91.517847385911736</c:v>
                </c:pt>
                <c:pt idx="53">
                  <c:v>92.12159158801083</c:v>
                </c:pt>
                <c:pt idx="54">
                  <c:v>91.406638665469899</c:v>
                </c:pt>
                <c:pt idx="55">
                  <c:v>91.602868330825189</c:v>
                </c:pt>
                <c:pt idx="56">
                  <c:v>91.647366144540754</c:v>
                </c:pt>
                <c:pt idx="57">
                  <c:v>91.349963241908597</c:v>
                </c:pt>
                <c:pt idx="58">
                  <c:v>93.979513735931988</c:v>
                </c:pt>
                <c:pt idx="59">
                  <c:v>93.973561431642636</c:v>
                </c:pt>
                <c:pt idx="60">
                  <c:v>94.6349909390524</c:v>
                </c:pt>
                <c:pt idx="61">
                  <c:v>94.991196922798224</c:v>
                </c:pt>
                <c:pt idx="62">
                  <c:v>94.795467572855813</c:v>
                </c:pt>
                <c:pt idx="63">
                  <c:v>93.483664740750569</c:v>
                </c:pt>
                <c:pt idx="64">
                  <c:v>91.96117067375188</c:v>
                </c:pt>
                <c:pt idx="65">
                  <c:v>93.037491292062754</c:v>
                </c:pt>
                <c:pt idx="66">
                  <c:v>92.6753144838666</c:v>
                </c:pt>
                <c:pt idx="67">
                  <c:v>91.811088213169029</c:v>
                </c:pt>
                <c:pt idx="68">
                  <c:v>90.586020742319235</c:v>
                </c:pt>
                <c:pt idx="69">
                  <c:v>89.791907694689485</c:v>
                </c:pt>
                <c:pt idx="70">
                  <c:v>87.84756534352212</c:v>
                </c:pt>
                <c:pt idx="71">
                  <c:v>89.570118449132437</c:v>
                </c:pt>
                <c:pt idx="72">
                  <c:v>88.630973480759067</c:v>
                </c:pt>
                <c:pt idx="73">
                  <c:v>88.628937457061937</c:v>
                </c:pt>
                <c:pt idx="74">
                  <c:v>89.564146766102084</c:v>
                </c:pt>
                <c:pt idx="75">
                  <c:v>86.468685321081821</c:v>
                </c:pt>
                <c:pt idx="76">
                  <c:v>85.515615889815933</c:v>
                </c:pt>
                <c:pt idx="77">
                  <c:v>85.384334399234078</c:v>
                </c:pt>
                <c:pt idx="78">
                  <c:v>83.435417837380541</c:v>
                </c:pt>
                <c:pt idx="79">
                  <c:v>81.771184131059911</c:v>
                </c:pt>
                <c:pt idx="80">
                  <c:v>80.973705864910329</c:v>
                </c:pt>
                <c:pt idx="81">
                  <c:v>80.755472543894669</c:v>
                </c:pt>
                <c:pt idx="82">
                  <c:v>81.54883873383416</c:v>
                </c:pt>
                <c:pt idx="83">
                  <c:v>81.29596717347556</c:v>
                </c:pt>
                <c:pt idx="84">
                  <c:v>82.174287771582357</c:v>
                </c:pt>
                <c:pt idx="85">
                  <c:v>83.302309892458752</c:v>
                </c:pt>
                <c:pt idx="86">
                  <c:v>82.295397540261348</c:v>
                </c:pt>
                <c:pt idx="87">
                  <c:v>79.45268561340589</c:v>
                </c:pt>
                <c:pt idx="88">
                  <c:v>79.253992455509803</c:v>
                </c:pt>
                <c:pt idx="89">
                  <c:v>80.122595748963462</c:v>
                </c:pt>
                <c:pt idx="90">
                  <c:v>81.538391051482577</c:v>
                </c:pt>
                <c:pt idx="91">
                  <c:v>83.983817113506049</c:v>
                </c:pt>
                <c:pt idx="92">
                  <c:v>84.601525494227047</c:v>
                </c:pt>
                <c:pt idx="93">
                  <c:v>83.053355376815276</c:v>
                </c:pt>
                <c:pt idx="94">
                  <c:v>84.177444809876604</c:v>
                </c:pt>
                <c:pt idx="95">
                  <c:v>83.90980541179276</c:v>
                </c:pt>
                <c:pt idx="96">
                  <c:v>85.234818518326762</c:v>
                </c:pt>
                <c:pt idx="97">
                  <c:v>85.298129709145726</c:v>
                </c:pt>
                <c:pt idx="98">
                  <c:v>84.834048906950869</c:v>
                </c:pt>
                <c:pt idx="99">
                  <c:v>85.967950912068446</c:v>
                </c:pt>
                <c:pt idx="100">
                  <c:v>83.328386533998355</c:v>
                </c:pt>
                <c:pt idx="101">
                  <c:v>83.419242876999903</c:v>
                </c:pt>
                <c:pt idx="102">
                  <c:v>82.79422022549889</c:v>
                </c:pt>
                <c:pt idx="103">
                  <c:v>84.211141791450672</c:v>
                </c:pt>
                <c:pt idx="104">
                  <c:v>83.305941389648453</c:v>
                </c:pt>
                <c:pt idx="105">
                  <c:v>83.419889586106876</c:v>
                </c:pt>
                <c:pt idx="106">
                  <c:v>81.726438956530728</c:v>
                </c:pt>
                <c:pt idx="107">
                  <c:v>81.011102120501263</c:v>
                </c:pt>
                <c:pt idx="108">
                  <c:v>79.936433040762694</c:v>
                </c:pt>
                <c:pt idx="109">
                  <c:v>78.327760553699832</c:v>
                </c:pt>
                <c:pt idx="110">
                  <c:v>78.388552572279124</c:v>
                </c:pt>
                <c:pt idx="111">
                  <c:v>77.74588158411602</c:v>
                </c:pt>
                <c:pt idx="112">
                  <c:v>76.844940406347916</c:v>
                </c:pt>
                <c:pt idx="113">
                  <c:v>78.320772835460701</c:v>
                </c:pt>
                <c:pt idx="114">
                  <c:v>77.417957722274565</c:v>
                </c:pt>
                <c:pt idx="115">
                  <c:v>77.544494790126862</c:v>
                </c:pt>
                <c:pt idx="116">
                  <c:v>77.801195121045211</c:v>
                </c:pt>
                <c:pt idx="117">
                  <c:v>79.278274776060812</c:v>
                </c:pt>
                <c:pt idx="118">
                  <c:v>79.676047521125454</c:v>
                </c:pt>
                <c:pt idx="119">
                  <c:v>80.593182867753953</c:v>
                </c:pt>
                <c:pt idx="120">
                  <c:v>79.735198220387417</c:v>
                </c:pt>
                <c:pt idx="121">
                  <c:v>80.386992743038789</c:v>
                </c:pt>
                <c:pt idx="122">
                  <c:v>82.49659674654572</c:v>
                </c:pt>
                <c:pt idx="123">
                  <c:v>82.687245567638683</c:v>
                </c:pt>
                <c:pt idx="124">
                  <c:v>82.266289963800673</c:v>
                </c:pt>
                <c:pt idx="125">
                  <c:v>82.050833546970424</c:v>
                </c:pt>
                <c:pt idx="126">
                  <c:v>82.182168574068356</c:v>
                </c:pt>
                <c:pt idx="127">
                  <c:v>82.77501460045886</c:v>
                </c:pt>
                <c:pt idx="128">
                  <c:v>83.169120954126456</c:v>
                </c:pt>
                <c:pt idx="129">
                  <c:v>81.916101904918079</c:v>
                </c:pt>
                <c:pt idx="130">
                  <c:v>82.045189381423697</c:v>
                </c:pt>
                <c:pt idx="131">
                  <c:v>81.451801247530057</c:v>
                </c:pt>
                <c:pt idx="132">
                  <c:v>81.582307147445817</c:v>
                </c:pt>
                <c:pt idx="133">
                  <c:v>81.384319972233925</c:v>
                </c:pt>
                <c:pt idx="134">
                  <c:v>79.517025025887932</c:v>
                </c:pt>
                <c:pt idx="135">
                  <c:v>79.11303734266852</c:v>
                </c:pt>
                <c:pt idx="136">
                  <c:v>79.903300394289445</c:v>
                </c:pt>
                <c:pt idx="137">
                  <c:v>79.703764796049668</c:v>
                </c:pt>
                <c:pt idx="138">
                  <c:v>79.110001194262026</c:v>
                </c:pt>
                <c:pt idx="139">
                  <c:v>78.449456531100793</c:v>
                </c:pt>
                <c:pt idx="140">
                  <c:v>78.579862949763594</c:v>
                </c:pt>
                <c:pt idx="141">
                  <c:v>79.568412926859409</c:v>
                </c:pt>
                <c:pt idx="142">
                  <c:v>81.082428956864959</c:v>
                </c:pt>
                <c:pt idx="143">
                  <c:v>81.40761836230233</c:v>
                </c:pt>
                <c:pt idx="144">
                  <c:v>81.40761836230233</c:v>
                </c:pt>
                <c:pt idx="145">
                  <c:v>81.305858839349455</c:v>
                </c:pt>
                <c:pt idx="146">
                  <c:v>81.305858839349455</c:v>
                </c:pt>
                <c:pt idx="147">
                  <c:v>81.305858839349455</c:v>
                </c:pt>
                <c:pt idx="148">
                  <c:v>81.365189085537651</c:v>
                </c:pt>
                <c:pt idx="149">
                  <c:v>80.567140289632647</c:v>
                </c:pt>
                <c:pt idx="150">
                  <c:v>81.567900400150037</c:v>
                </c:pt>
                <c:pt idx="151">
                  <c:v>81.217434737767078</c:v>
                </c:pt>
                <c:pt idx="152">
                  <c:v>81.216727939900878</c:v>
                </c:pt>
                <c:pt idx="153">
                  <c:v>80.120073532553405</c:v>
                </c:pt>
                <c:pt idx="154">
                  <c:v>79.666132861199443</c:v>
                </c:pt>
                <c:pt idx="155">
                  <c:v>78.891064086177295</c:v>
                </c:pt>
                <c:pt idx="156">
                  <c:v>80.824562012492876</c:v>
                </c:pt>
                <c:pt idx="157">
                  <c:v>79.401092146917989</c:v>
                </c:pt>
                <c:pt idx="158">
                  <c:v>78.973285649033826</c:v>
                </c:pt>
                <c:pt idx="159">
                  <c:v>77.790249754503449</c:v>
                </c:pt>
                <c:pt idx="160">
                  <c:v>77.278600087839294</c:v>
                </c:pt>
                <c:pt idx="161">
                  <c:v>77.048958144923319</c:v>
                </c:pt>
                <c:pt idx="162">
                  <c:v>76.283288472216583</c:v>
                </c:pt>
                <c:pt idx="163">
                  <c:v>76.409188720274997</c:v>
                </c:pt>
                <c:pt idx="164">
                  <c:v>78.832567321060253</c:v>
                </c:pt>
                <c:pt idx="165">
                  <c:v>82.343070807942041</c:v>
                </c:pt>
                <c:pt idx="166">
                  <c:v>82.343070807942041</c:v>
                </c:pt>
                <c:pt idx="167">
                  <c:v>82.240141969432116</c:v>
                </c:pt>
                <c:pt idx="168">
                  <c:v>82.240141969432116</c:v>
                </c:pt>
                <c:pt idx="169">
                  <c:v>82.240141969432116</c:v>
                </c:pt>
                <c:pt idx="170">
                  <c:v>82.240141969432116</c:v>
                </c:pt>
                <c:pt idx="171">
                  <c:v>82.240141969432116</c:v>
                </c:pt>
                <c:pt idx="172">
                  <c:v>82.240141969432116</c:v>
                </c:pt>
                <c:pt idx="173">
                  <c:v>82.240141969432116</c:v>
                </c:pt>
                <c:pt idx="174">
                  <c:v>82.240141969432116</c:v>
                </c:pt>
                <c:pt idx="175">
                  <c:v>82.240141969432116</c:v>
                </c:pt>
                <c:pt idx="176">
                  <c:v>82.240141969432116</c:v>
                </c:pt>
                <c:pt idx="177">
                  <c:v>82.240141969432116</c:v>
                </c:pt>
                <c:pt idx="178">
                  <c:v>82.240141969432116</c:v>
                </c:pt>
                <c:pt idx="179">
                  <c:v>82.240141969432116</c:v>
                </c:pt>
                <c:pt idx="180">
                  <c:v>82.240141969432116</c:v>
                </c:pt>
                <c:pt idx="181">
                  <c:v>82.240141969432116</c:v>
                </c:pt>
                <c:pt idx="182">
                  <c:v>82.240141969432116</c:v>
                </c:pt>
                <c:pt idx="183">
                  <c:v>82.240141969432116</c:v>
                </c:pt>
                <c:pt idx="184">
                  <c:v>82.240141969432116</c:v>
                </c:pt>
                <c:pt idx="185">
                  <c:v>82.240141969432116</c:v>
                </c:pt>
                <c:pt idx="186">
                  <c:v>82.240141969432116</c:v>
                </c:pt>
                <c:pt idx="187">
                  <c:v>82.240141969432116</c:v>
                </c:pt>
                <c:pt idx="188">
                  <c:v>82.240141969432116</c:v>
                </c:pt>
                <c:pt idx="189">
                  <c:v>82.240141969432116</c:v>
                </c:pt>
                <c:pt idx="190">
                  <c:v>82.240141969432116</c:v>
                </c:pt>
                <c:pt idx="191">
                  <c:v>82.240141969432116</c:v>
                </c:pt>
                <c:pt idx="192">
                  <c:v>82.240141969432116</c:v>
                </c:pt>
                <c:pt idx="193">
                  <c:v>82.240141969432116</c:v>
                </c:pt>
                <c:pt idx="194">
                  <c:v>82.240141969432116</c:v>
                </c:pt>
                <c:pt idx="195">
                  <c:v>82.240141969432116</c:v>
                </c:pt>
                <c:pt idx="196">
                  <c:v>82.240141969432116</c:v>
                </c:pt>
                <c:pt idx="197">
                  <c:v>82.240141969432116</c:v>
                </c:pt>
                <c:pt idx="198">
                  <c:v>82.240141969432116</c:v>
                </c:pt>
                <c:pt idx="199">
                  <c:v>82.240141969432116</c:v>
                </c:pt>
                <c:pt idx="200">
                  <c:v>82.240141969432116</c:v>
                </c:pt>
                <c:pt idx="201">
                  <c:v>82.240141969432116</c:v>
                </c:pt>
                <c:pt idx="202">
                  <c:v>82.240141969432116</c:v>
                </c:pt>
                <c:pt idx="203">
                  <c:v>82.240141969432116</c:v>
                </c:pt>
                <c:pt idx="204">
                  <c:v>82.240141969432116</c:v>
                </c:pt>
                <c:pt idx="205">
                  <c:v>82.240141969432116</c:v>
                </c:pt>
                <c:pt idx="206">
                  <c:v>82.240141969432116</c:v>
                </c:pt>
                <c:pt idx="207">
                  <c:v>82.240141969432116</c:v>
                </c:pt>
                <c:pt idx="208">
                  <c:v>82.240141969432116</c:v>
                </c:pt>
                <c:pt idx="209">
                  <c:v>82.240141969432116</c:v>
                </c:pt>
                <c:pt idx="210">
                  <c:v>82.240141969432116</c:v>
                </c:pt>
                <c:pt idx="211">
                  <c:v>82.240141969432116</c:v>
                </c:pt>
                <c:pt idx="212">
                  <c:v>82.240141969432116</c:v>
                </c:pt>
                <c:pt idx="213">
                  <c:v>82.240141969432116</c:v>
                </c:pt>
                <c:pt idx="214">
                  <c:v>82.240141969432116</c:v>
                </c:pt>
                <c:pt idx="215">
                  <c:v>82.240141969432116</c:v>
                </c:pt>
                <c:pt idx="216">
                  <c:v>82.240141969432116</c:v>
                </c:pt>
                <c:pt idx="217">
                  <c:v>82.240141969432116</c:v>
                </c:pt>
                <c:pt idx="218">
                  <c:v>82.240141969432116</c:v>
                </c:pt>
                <c:pt idx="219">
                  <c:v>82.240141969432116</c:v>
                </c:pt>
                <c:pt idx="220">
                  <c:v>82.240141969432116</c:v>
                </c:pt>
                <c:pt idx="221">
                  <c:v>82.240141969432116</c:v>
                </c:pt>
                <c:pt idx="222">
                  <c:v>82.240141969432116</c:v>
                </c:pt>
                <c:pt idx="223">
                  <c:v>82.240141969432116</c:v>
                </c:pt>
                <c:pt idx="224">
                  <c:v>82.240141969432116</c:v>
                </c:pt>
                <c:pt idx="225">
                  <c:v>82.240141969432116</c:v>
                </c:pt>
                <c:pt idx="226">
                  <c:v>82.240141969432116</c:v>
                </c:pt>
                <c:pt idx="227">
                  <c:v>82.240141969432116</c:v>
                </c:pt>
                <c:pt idx="228">
                  <c:v>82.240141969432116</c:v>
                </c:pt>
                <c:pt idx="229">
                  <c:v>82.240141969432116</c:v>
                </c:pt>
                <c:pt idx="230">
                  <c:v>82.240141969432116</c:v>
                </c:pt>
                <c:pt idx="231">
                  <c:v>82.240141969432116</c:v>
                </c:pt>
                <c:pt idx="232">
                  <c:v>82.240141969432116</c:v>
                </c:pt>
                <c:pt idx="233">
                  <c:v>82.240141969432116</c:v>
                </c:pt>
                <c:pt idx="234">
                  <c:v>81.287115762528316</c:v>
                </c:pt>
                <c:pt idx="235">
                  <c:v>80.649051477561343</c:v>
                </c:pt>
                <c:pt idx="236">
                  <c:v>82.604812394631494</c:v>
                </c:pt>
                <c:pt idx="237">
                  <c:v>82.604812394631494</c:v>
                </c:pt>
                <c:pt idx="238">
                  <c:v>82.501556379138208</c:v>
                </c:pt>
                <c:pt idx="239">
                  <c:v>81.095942754401889</c:v>
                </c:pt>
                <c:pt idx="240">
                  <c:v>82.514757212305071</c:v>
                </c:pt>
                <c:pt idx="241">
                  <c:v>81.902831718734788</c:v>
                </c:pt>
                <c:pt idx="242">
                  <c:v>80.601917731121517</c:v>
                </c:pt>
                <c:pt idx="243">
                  <c:v>78.879118030535253</c:v>
                </c:pt>
                <c:pt idx="244">
                  <c:v>79.119084494950073</c:v>
                </c:pt>
                <c:pt idx="245">
                  <c:v>83.382084471714421</c:v>
                </c:pt>
                <c:pt idx="246">
                  <c:v>83.382084471714421</c:v>
                </c:pt>
                <c:pt idx="247">
                  <c:v>83.277856866124779</c:v>
                </c:pt>
                <c:pt idx="248">
                  <c:v>83.734032203162272</c:v>
                </c:pt>
                <c:pt idx="249">
                  <c:v>89.299576849440641</c:v>
                </c:pt>
                <c:pt idx="250">
                  <c:v>90.748895978927749</c:v>
                </c:pt>
                <c:pt idx="251">
                  <c:v>91.02672171416954</c:v>
                </c:pt>
                <c:pt idx="252">
                  <c:v>90.831461131973612</c:v>
                </c:pt>
                <c:pt idx="253">
                  <c:v>89.990599415756762</c:v>
                </c:pt>
                <c:pt idx="254">
                  <c:v>89.600882898437476</c:v>
                </c:pt>
                <c:pt idx="255">
                  <c:v>87.854552887102784</c:v>
                </c:pt>
                <c:pt idx="256">
                  <c:v>90.242716061940314</c:v>
                </c:pt>
                <c:pt idx="257">
                  <c:v>90.431233929651043</c:v>
                </c:pt>
                <c:pt idx="258">
                  <c:v>87.742171195875272</c:v>
                </c:pt>
                <c:pt idx="259">
                  <c:v>87.002189000008414</c:v>
                </c:pt>
                <c:pt idx="260">
                  <c:v>86.812235976854268</c:v>
                </c:pt>
                <c:pt idx="261">
                  <c:v>86.614937983348284</c:v>
                </c:pt>
                <c:pt idx="262">
                  <c:v>86.088768088874801</c:v>
                </c:pt>
                <c:pt idx="263">
                  <c:v>87.861965312243754</c:v>
                </c:pt>
                <c:pt idx="264">
                  <c:v>88.646569219086686</c:v>
                </c:pt>
                <c:pt idx="265">
                  <c:v>86.857871574858606</c:v>
                </c:pt>
                <c:pt idx="266">
                  <c:v>86.86338667015572</c:v>
                </c:pt>
                <c:pt idx="267">
                  <c:v>85.96586794367137</c:v>
                </c:pt>
                <c:pt idx="268">
                  <c:v>84.242292404603788</c:v>
                </c:pt>
                <c:pt idx="269">
                  <c:v>80.725609468988154</c:v>
                </c:pt>
                <c:pt idx="270">
                  <c:v>80.029418293455493</c:v>
                </c:pt>
                <c:pt idx="271">
                  <c:v>78.23724265863963</c:v>
                </c:pt>
                <c:pt idx="272">
                  <c:v>77.206340136439465</c:v>
                </c:pt>
                <c:pt idx="273">
                  <c:v>75.572988091859841</c:v>
                </c:pt>
                <c:pt idx="274">
                  <c:v>76.415217292610876</c:v>
                </c:pt>
                <c:pt idx="275">
                  <c:v>76.050892899175238</c:v>
                </c:pt>
                <c:pt idx="276">
                  <c:v>75.627256482384723</c:v>
                </c:pt>
                <c:pt idx="277">
                  <c:v>74.176610383781636</c:v>
                </c:pt>
                <c:pt idx="278">
                  <c:v>72.180135029637555</c:v>
                </c:pt>
                <c:pt idx="279">
                  <c:v>71.149038658263493</c:v>
                </c:pt>
                <c:pt idx="280">
                  <c:v>69.395264128161912</c:v>
                </c:pt>
                <c:pt idx="281">
                  <c:v>67.94199530958079</c:v>
                </c:pt>
                <c:pt idx="282">
                  <c:v>68.301229791135725</c:v>
                </c:pt>
                <c:pt idx="283">
                  <c:v>68.541989673764334</c:v>
                </c:pt>
                <c:pt idx="284">
                  <c:v>68.299897907768113</c:v>
                </c:pt>
                <c:pt idx="285">
                  <c:v>69.748704058542444</c:v>
                </c:pt>
                <c:pt idx="286">
                  <c:v>70.349332863831563</c:v>
                </c:pt>
                <c:pt idx="287">
                  <c:v>69.633237491419933</c:v>
                </c:pt>
                <c:pt idx="288">
                  <c:v>70.345109941566378</c:v>
                </c:pt>
                <c:pt idx="289">
                  <c:v>70.304228593381936</c:v>
                </c:pt>
                <c:pt idx="290">
                  <c:v>68.526037654132224</c:v>
                </c:pt>
                <c:pt idx="291">
                  <c:v>68.961805477490003</c:v>
                </c:pt>
                <c:pt idx="292">
                  <c:v>69.425614320518108</c:v>
                </c:pt>
                <c:pt idx="293">
                  <c:v>69.540776223392939</c:v>
                </c:pt>
                <c:pt idx="294">
                  <c:v>68.088123324951965</c:v>
                </c:pt>
                <c:pt idx="295">
                  <c:v>67.504037467185086</c:v>
                </c:pt>
                <c:pt idx="296">
                  <c:v>67.270402810141405</c:v>
                </c:pt>
                <c:pt idx="297">
                  <c:v>67.792716241644712</c:v>
                </c:pt>
                <c:pt idx="298">
                  <c:v>66.397367445547331</c:v>
                </c:pt>
                <c:pt idx="299">
                  <c:v>66.800994506655698</c:v>
                </c:pt>
                <c:pt idx="300">
                  <c:v>67.439058101268316</c:v>
                </c:pt>
                <c:pt idx="301">
                  <c:v>67.960424091776346</c:v>
                </c:pt>
                <c:pt idx="302">
                  <c:v>71.451984895162596</c:v>
                </c:pt>
                <c:pt idx="303">
                  <c:v>71.451984895162596</c:v>
                </c:pt>
                <c:pt idx="304">
                  <c:v>74.463882314046728</c:v>
                </c:pt>
                <c:pt idx="305">
                  <c:v>74.948227361869513</c:v>
                </c:pt>
                <c:pt idx="306">
                  <c:v>76.263425646521114</c:v>
                </c:pt>
                <c:pt idx="307">
                  <c:v>75.199500738370773</c:v>
                </c:pt>
                <c:pt idx="308">
                  <c:v>75.07675735525963</c:v>
                </c:pt>
                <c:pt idx="309">
                  <c:v>75.11426863072225</c:v>
                </c:pt>
                <c:pt idx="310">
                  <c:v>76.89729113962531</c:v>
                </c:pt>
                <c:pt idx="311">
                  <c:v>76.89729113962531</c:v>
                </c:pt>
                <c:pt idx="312">
                  <c:v>76.801169525700786</c:v>
                </c:pt>
                <c:pt idx="313">
                  <c:v>78.224973616476476</c:v>
                </c:pt>
                <c:pt idx="314">
                  <c:v>74.900986595757018</c:v>
                </c:pt>
                <c:pt idx="315">
                  <c:v>73.631080001644548</c:v>
                </c:pt>
                <c:pt idx="316">
                  <c:v>74.686212980401322</c:v>
                </c:pt>
                <c:pt idx="317">
                  <c:v>74.860139743759916</c:v>
                </c:pt>
                <c:pt idx="318">
                  <c:v>72.803153737140889</c:v>
                </c:pt>
                <c:pt idx="319">
                  <c:v>72.563712678668523</c:v>
                </c:pt>
                <c:pt idx="320">
                  <c:v>73.092002441803075</c:v>
                </c:pt>
                <c:pt idx="321">
                  <c:v>74.148431081270772</c:v>
                </c:pt>
                <c:pt idx="322">
                  <c:v>72.089656142479114</c:v>
                </c:pt>
                <c:pt idx="323">
                  <c:v>71.362655451295552</c:v>
                </c:pt>
                <c:pt idx="324">
                  <c:v>72.056881264810528</c:v>
                </c:pt>
                <c:pt idx="325">
                  <c:v>73.30191305161182</c:v>
                </c:pt>
                <c:pt idx="326">
                  <c:v>72.762755711152977</c:v>
                </c:pt>
                <c:pt idx="327">
                  <c:v>72.485414602572902</c:v>
                </c:pt>
                <c:pt idx="328">
                  <c:v>73.146791549519534</c:v>
                </c:pt>
                <c:pt idx="329">
                  <c:v>72.693501749049858</c:v>
                </c:pt>
                <c:pt idx="330">
                  <c:v>72.610935356109394</c:v>
                </c:pt>
                <c:pt idx="331">
                  <c:v>72.480939328989152</c:v>
                </c:pt>
                <c:pt idx="332">
                  <c:v>72.078279826785703</c:v>
                </c:pt>
                <c:pt idx="333">
                  <c:v>70.813081083983846</c:v>
                </c:pt>
                <c:pt idx="334">
                  <c:v>69.748834407058297</c:v>
                </c:pt>
                <c:pt idx="335">
                  <c:v>69.805158513324187</c:v>
                </c:pt>
                <c:pt idx="336">
                  <c:v>70.68418834528012</c:v>
                </c:pt>
                <c:pt idx="337">
                  <c:v>68.513644889082386</c:v>
                </c:pt>
                <c:pt idx="338">
                  <c:v>69.446759521795315</c:v>
                </c:pt>
                <c:pt idx="339">
                  <c:v>67.217681575237094</c:v>
                </c:pt>
                <c:pt idx="340">
                  <c:v>66.333893202235231</c:v>
                </c:pt>
                <c:pt idx="341">
                  <c:v>69.320529950098489</c:v>
                </c:pt>
                <c:pt idx="342">
                  <c:v>69.606646412967535</c:v>
                </c:pt>
                <c:pt idx="343">
                  <c:v>69.448771416030311</c:v>
                </c:pt>
                <c:pt idx="344">
                  <c:v>69.704551150492563</c:v>
                </c:pt>
                <c:pt idx="345">
                  <c:v>69.752264264583914</c:v>
                </c:pt>
                <c:pt idx="346">
                  <c:v>69.081707325817817</c:v>
                </c:pt>
                <c:pt idx="347">
                  <c:v>68.768805472347339</c:v>
                </c:pt>
                <c:pt idx="348">
                  <c:v>68.459823208384179</c:v>
                </c:pt>
                <c:pt idx="349">
                  <c:v>68.459285302892738</c:v>
                </c:pt>
                <c:pt idx="350">
                  <c:v>67.171075753244466</c:v>
                </c:pt>
                <c:pt idx="351">
                  <c:v>67.536354892552097</c:v>
                </c:pt>
                <c:pt idx="352">
                  <c:v>68.833231390065066</c:v>
                </c:pt>
                <c:pt idx="353">
                  <c:v>70.071574946625148</c:v>
                </c:pt>
                <c:pt idx="354">
                  <c:v>68.963832236912367</c:v>
                </c:pt>
                <c:pt idx="355">
                  <c:v>70.821452532104658</c:v>
                </c:pt>
                <c:pt idx="356">
                  <c:v>70.081609651845795</c:v>
                </c:pt>
                <c:pt idx="357">
                  <c:v>70.128302742352176</c:v>
                </c:pt>
                <c:pt idx="358">
                  <c:v>68.975541431959826</c:v>
                </c:pt>
                <c:pt idx="359">
                  <c:v>68.18441133326445</c:v>
                </c:pt>
                <c:pt idx="360">
                  <c:v>67.636734920745241</c:v>
                </c:pt>
                <c:pt idx="361">
                  <c:v>70.304615678956267</c:v>
                </c:pt>
                <c:pt idx="362">
                  <c:v>69.388619037694937</c:v>
                </c:pt>
                <c:pt idx="363">
                  <c:v>79.295724568351389</c:v>
                </c:pt>
                <c:pt idx="364">
                  <c:v>79.295724568351389</c:v>
                </c:pt>
                <c:pt idx="365">
                  <c:v>79.19660491264095</c:v>
                </c:pt>
                <c:pt idx="366">
                  <c:v>79.19660491264095</c:v>
                </c:pt>
                <c:pt idx="367">
                  <c:v>79.19660491264095</c:v>
                </c:pt>
                <c:pt idx="368">
                  <c:v>79.19660491264095</c:v>
                </c:pt>
                <c:pt idx="369">
                  <c:v>79.19660491264095</c:v>
                </c:pt>
                <c:pt idx="370">
                  <c:v>79.19660491264095</c:v>
                </c:pt>
                <c:pt idx="371">
                  <c:v>79.19660491264095</c:v>
                </c:pt>
                <c:pt idx="372">
                  <c:v>79.19660491264095</c:v>
                </c:pt>
                <c:pt idx="373">
                  <c:v>79.19660491264095</c:v>
                </c:pt>
                <c:pt idx="374">
                  <c:v>79.19660491264095</c:v>
                </c:pt>
                <c:pt idx="375">
                  <c:v>79.19660491264095</c:v>
                </c:pt>
                <c:pt idx="376">
                  <c:v>79.19660491264095</c:v>
                </c:pt>
                <c:pt idx="377">
                  <c:v>79.19660491264095</c:v>
                </c:pt>
                <c:pt idx="378">
                  <c:v>79.19660491264095</c:v>
                </c:pt>
                <c:pt idx="379">
                  <c:v>79.19660491264095</c:v>
                </c:pt>
                <c:pt idx="380">
                  <c:v>79.19660491264095</c:v>
                </c:pt>
                <c:pt idx="381">
                  <c:v>79.19660491264095</c:v>
                </c:pt>
                <c:pt idx="382">
                  <c:v>79.19660491264095</c:v>
                </c:pt>
                <c:pt idx="383">
                  <c:v>79.19660491264095</c:v>
                </c:pt>
                <c:pt idx="384">
                  <c:v>79.19660491264095</c:v>
                </c:pt>
                <c:pt idx="385">
                  <c:v>79.19660491264095</c:v>
                </c:pt>
                <c:pt idx="386">
                  <c:v>79.19660491264095</c:v>
                </c:pt>
                <c:pt idx="387">
                  <c:v>79.19660491264095</c:v>
                </c:pt>
                <c:pt idx="388">
                  <c:v>79.19660491264095</c:v>
                </c:pt>
                <c:pt idx="389">
                  <c:v>79.19660491264095</c:v>
                </c:pt>
                <c:pt idx="390">
                  <c:v>79.19660491264095</c:v>
                </c:pt>
                <c:pt idx="391">
                  <c:v>79.19660491264095</c:v>
                </c:pt>
                <c:pt idx="392">
                  <c:v>79.19660491264095</c:v>
                </c:pt>
                <c:pt idx="393">
                  <c:v>79.19660491264095</c:v>
                </c:pt>
                <c:pt idx="394">
                  <c:v>79.19660491264095</c:v>
                </c:pt>
                <c:pt idx="395">
                  <c:v>79.19660491264095</c:v>
                </c:pt>
                <c:pt idx="396">
                  <c:v>79.19660491264095</c:v>
                </c:pt>
                <c:pt idx="397">
                  <c:v>79.19660491264095</c:v>
                </c:pt>
                <c:pt idx="398">
                  <c:v>79.19660491264095</c:v>
                </c:pt>
                <c:pt idx="399">
                  <c:v>79.19660491264095</c:v>
                </c:pt>
                <c:pt idx="400">
                  <c:v>79.19660491264095</c:v>
                </c:pt>
                <c:pt idx="401">
                  <c:v>79.19660491264095</c:v>
                </c:pt>
                <c:pt idx="402">
                  <c:v>79.19660491264095</c:v>
                </c:pt>
                <c:pt idx="403">
                  <c:v>79.19660491264095</c:v>
                </c:pt>
                <c:pt idx="404">
                  <c:v>79.19660491264095</c:v>
                </c:pt>
                <c:pt idx="405">
                  <c:v>79.19660491264095</c:v>
                </c:pt>
                <c:pt idx="406">
                  <c:v>79.19660491264095</c:v>
                </c:pt>
                <c:pt idx="407">
                  <c:v>79.19660491264095</c:v>
                </c:pt>
                <c:pt idx="408">
                  <c:v>79.19660491264095</c:v>
                </c:pt>
                <c:pt idx="409">
                  <c:v>79.19660491264095</c:v>
                </c:pt>
                <c:pt idx="410">
                  <c:v>79.19660491264095</c:v>
                </c:pt>
                <c:pt idx="411">
                  <c:v>79.19660491264095</c:v>
                </c:pt>
                <c:pt idx="412">
                  <c:v>79.19660491264095</c:v>
                </c:pt>
                <c:pt idx="413">
                  <c:v>79.19660491264095</c:v>
                </c:pt>
                <c:pt idx="414">
                  <c:v>79.19660491264095</c:v>
                </c:pt>
                <c:pt idx="415">
                  <c:v>79.19660491264095</c:v>
                </c:pt>
                <c:pt idx="416">
                  <c:v>79.19660491264095</c:v>
                </c:pt>
                <c:pt idx="417">
                  <c:v>79.19660491264095</c:v>
                </c:pt>
                <c:pt idx="418">
                  <c:v>79.19660491264095</c:v>
                </c:pt>
                <c:pt idx="419">
                  <c:v>79.19660491264095</c:v>
                </c:pt>
                <c:pt idx="420">
                  <c:v>79.19660491264095</c:v>
                </c:pt>
                <c:pt idx="421">
                  <c:v>79.19660491264095</c:v>
                </c:pt>
                <c:pt idx="422">
                  <c:v>79.19660491264095</c:v>
                </c:pt>
                <c:pt idx="423">
                  <c:v>79.19660491264095</c:v>
                </c:pt>
                <c:pt idx="424">
                  <c:v>79.19660491264095</c:v>
                </c:pt>
                <c:pt idx="425">
                  <c:v>79.19660491264095</c:v>
                </c:pt>
                <c:pt idx="426">
                  <c:v>79.19660491264095</c:v>
                </c:pt>
                <c:pt idx="427">
                  <c:v>79.19660491264095</c:v>
                </c:pt>
                <c:pt idx="428">
                  <c:v>79.127978410146611</c:v>
                </c:pt>
                <c:pt idx="429">
                  <c:v>78.093627602974905</c:v>
                </c:pt>
                <c:pt idx="430">
                  <c:v>79.02336857305832</c:v>
                </c:pt>
                <c:pt idx="431">
                  <c:v>79.02336857305832</c:v>
                </c:pt>
                <c:pt idx="432">
                  <c:v>78.924589362342005</c:v>
                </c:pt>
                <c:pt idx="433">
                  <c:v>78.924589362342005</c:v>
                </c:pt>
                <c:pt idx="434">
                  <c:v>78.924589362342005</c:v>
                </c:pt>
                <c:pt idx="435">
                  <c:v>78.924589362342005</c:v>
                </c:pt>
                <c:pt idx="436">
                  <c:v>78.924589362342005</c:v>
                </c:pt>
                <c:pt idx="437">
                  <c:v>78.924589362342005</c:v>
                </c:pt>
                <c:pt idx="438">
                  <c:v>78.924589362342005</c:v>
                </c:pt>
                <c:pt idx="439">
                  <c:v>78.924589362342005</c:v>
                </c:pt>
                <c:pt idx="440">
                  <c:v>78.924589362342005</c:v>
                </c:pt>
                <c:pt idx="441">
                  <c:v>78.924589362342005</c:v>
                </c:pt>
                <c:pt idx="442">
                  <c:v>83.652012633143187</c:v>
                </c:pt>
                <c:pt idx="443">
                  <c:v>83.547447617351764</c:v>
                </c:pt>
                <c:pt idx="444">
                  <c:v>83.443013307830071</c:v>
                </c:pt>
                <c:pt idx="445">
                  <c:v>83.443013307830071</c:v>
                </c:pt>
                <c:pt idx="446">
                  <c:v>83.443013307830071</c:v>
                </c:pt>
                <c:pt idx="447">
                  <c:v>83.443013307830071</c:v>
                </c:pt>
                <c:pt idx="448">
                  <c:v>83.443013307830071</c:v>
                </c:pt>
                <c:pt idx="449">
                  <c:v>83.443013307830071</c:v>
                </c:pt>
                <c:pt idx="450">
                  <c:v>83.443013307830071</c:v>
                </c:pt>
                <c:pt idx="451">
                  <c:v>83.443013307830071</c:v>
                </c:pt>
                <c:pt idx="452">
                  <c:v>83.443013307830071</c:v>
                </c:pt>
                <c:pt idx="453">
                  <c:v>83.443013307830071</c:v>
                </c:pt>
                <c:pt idx="454">
                  <c:v>83.443013307830071</c:v>
                </c:pt>
                <c:pt idx="455">
                  <c:v>83.443013307830071</c:v>
                </c:pt>
                <c:pt idx="456">
                  <c:v>83.443013307830071</c:v>
                </c:pt>
                <c:pt idx="457">
                  <c:v>83.443013307830071</c:v>
                </c:pt>
                <c:pt idx="458">
                  <c:v>83.443013307830071</c:v>
                </c:pt>
                <c:pt idx="459">
                  <c:v>83.443013307830071</c:v>
                </c:pt>
                <c:pt idx="460">
                  <c:v>83.443013307830071</c:v>
                </c:pt>
                <c:pt idx="461">
                  <c:v>83.443013307830071</c:v>
                </c:pt>
                <c:pt idx="462">
                  <c:v>83.443013307830071</c:v>
                </c:pt>
                <c:pt idx="463">
                  <c:v>83.443013307830071</c:v>
                </c:pt>
                <c:pt idx="464">
                  <c:v>83.443013307830071</c:v>
                </c:pt>
                <c:pt idx="465">
                  <c:v>83.443013307830071</c:v>
                </c:pt>
                <c:pt idx="466">
                  <c:v>83.443013307830071</c:v>
                </c:pt>
                <c:pt idx="467">
                  <c:v>83.443013307830071</c:v>
                </c:pt>
                <c:pt idx="468">
                  <c:v>83.443013307830071</c:v>
                </c:pt>
                <c:pt idx="469">
                  <c:v>83.443013307830071</c:v>
                </c:pt>
                <c:pt idx="470">
                  <c:v>83.443013307830071</c:v>
                </c:pt>
                <c:pt idx="471">
                  <c:v>83.443013307830071</c:v>
                </c:pt>
                <c:pt idx="472">
                  <c:v>83.443013307830071</c:v>
                </c:pt>
                <c:pt idx="473">
                  <c:v>83.443013307830071</c:v>
                </c:pt>
                <c:pt idx="474">
                  <c:v>83.443013307830071</c:v>
                </c:pt>
                <c:pt idx="475">
                  <c:v>83.443013307830071</c:v>
                </c:pt>
                <c:pt idx="476">
                  <c:v>83.443013307830071</c:v>
                </c:pt>
                <c:pt idx="477">
                  <c:v>83.443013307830071</c:v>
                </c:pt>
                <c:pt idx="478">
                  <c:v>83.443013307830071</c:v>
                </c:pt>
                <c:pt idx="479">
                  <c:v>83.443013307830071</c:v>
                </c:pt>
                <c:pt idx="480">
                  <c:v>83.443013307830071</c:v>
                </c:pt>
                <c:pt idx="481">
                  <c:v>83.443013307830071</c:v>
                </c:pt>
                <c:pt idx="482">
                  <c:v>83.443013307830071</c:v>
                </c:pt>
                <c:pt idx="483">
                  <c:v>83.443013307830071</c:v>
                </c:pt>
                <c:pt idx="484">
                  <c:v>83.443013307830071</c:v>
                </c:pt>
                <c:pt idx="485">
                  <c:v>83.443013307830071</c:v>
                </c:pt>
                <c:pt idx="486">
                  <c:v>83.443013307830071</c:v>
                </c:pt>
                <c:pt idx="487">
                  <c:v>83.443013307830071</c:v>
                </c:pt>
                <c:pt idx="488">
                  <c:v>83.443013307830071</c:v>
                </c:pt>
                <c:pt idx="489">
                  <c:v>83.443013307830071</c:v>
                </c:pt>
                <c:pt idx="490">
                  <c:v>83.443013307830071</c:v>
                </c:pt>
                <c:pt idx="491">
                  <c:v>83.443013307830071</c:v>
                </c:pt>
                <c:pt idx="492">
                  <c:v>83.443013307830071</c:v>
                </c:pt>
                <c:pt idx="493">
                  <c:v>83.443013307830071</c:v>
                </c:pt>
                <c:pt idx="494">
                  <c:v>83.443013307830071</c:v>
                </c:pt>
                <c:pt idx="495">
                  <c:v>83.443013307830071</c:v>
                </c:pt>
                <c:pt idx="496">
                  <c:v>83.443013307830071</c:v>
                </c:pt>
                <c:pt idx="497">
                  <c:v>83.443013307830071</c:v>
                </c:pt>
                <c:pt idx="498">
                  <c:v>83.443013307830071</c:v>
                </c:pt>
                <c:pt idx="499">
                  <c:v>83.443013307830071</c:v>
                </c:pt>
                <c:pt idx="500">
                  <c:v>83.443013307830071</c:v>
                </c:pt>
                <c:pt idx="501">
                  <c:v>83.443013307830071</c:v>
                </c:pt>
                <c:pt idx="502">
                  <c:v>83.443013307830071</c:v>
                </c:pt>
                <c:pt idx="503">
                  <c:v>83.443013307830071</c:v>
                </c:pt>
                <c:pt idx="504">
                  <c:v>83.443013307830071</c:v>
                </c:pt>
                <c:pt idx="505">
                  <c:v>83.443013307830071</c:v>
                </c:pt>
                <c:pt idx="506">
                  <c:v>83.443013307830071</c:v>
                </c:pt>
                <c:pt idx="507">
                  <c:v>83.443013307830071</c:v>
                </c:pt>
                <c:pt idx="508">
                  <c:v>83.443013307830071</c:v>
                </c:pt>
                <c:pt idx="509">
                  <c:v>83.443013307830071</c:v>
                </c:pt>
                <c:pt idx="510">
                  <c:v>83.443013307830071</c:v>
                </c:pt>
                <c:pt idx="511">
                  <c:v>83.443013307830071</c:v>
                </c:pt>
                <c:pt idx="512">
                  <c:v>83.443013307830071</c:v>
                </c:pt>
                <c:pt idx="513">
                  <c:v>83.443013307830071</c:v>
                </c:pt>
                <c:pt idx="514">
                  <c:v>83.443013307830071</c:v>
                </c:pt>
                <c:pt idx="515">
                  <c:v>83.443013307830071</c:v>
                </c:pt>
                <c:pt idx="516">
                  <c:v>83.443013307830071</c:v>
                </c:pt>
                <c:pt idx="517">
                  <c:v>83.443013307830071</c:v>
                </c:pt>
                <c:pt idx="518">
                  <c:v>83.443013307830071</c:v>
                </c:pt>
                <c:pt idx="519">
                  <c:v>83.443013307830071</c:v>
                </c:pt>
                <c:pt idx="520">
                  <c:v>83.443013307830071</c:v>
                </c:pt>
                <c:pt idx="521">
                  <c:v>83.443013307830071</c:v>
                </c:pt>
                <c:pt idx="522">
                  <c:v>83.443013307830071</c:v>
                </c:pt>
                <c:pt idx="523">
                  <c:v>83.443013307830071</c:v>
                </c:pt>
                <c:pt idx="524">
                  <c:v>83.443013307830071</c:v>
                </c:pt>
                <c:pt idx="525">
                  <c:v>83.443013307830071</c:v>
                </c:pt>
                <c:pt idx="526">
                  <c:v>83.443013307830071</c:v>
                </c:pt>
                <c:pt idx="527">
                  <c:v>83.443013307830071</c:v>
                </c:pt>
                <c:pt idx="528">
                  <c:v>83.443013307830071</c:v>
                </c:pt>
                <c:pt idx="529">
                  <c:v>83.443013307830071</c:v>
                </c:pt>
                <c:pt idx="530">
                  <c:v>83.443013307830071</c:v>
                </c:pt>
                <c:pt idx="531">
                  <c:v>83.443013307830071</c:v>
                </c:pt>
                <c:pt idx="532">
                  <c:v>83.443013307830071</c:v>
                </c:pt>
                <c:pt idx="533">
                  <c:v>83.443013307830071</c:v>
                </c:pt>
                <c:pt idx="534">
                  <c:v>83.443013307830071</c:v>
                </c:pt>
                <c:pt idx="535">
                  <c:v>83.443013307830071</c:v>
                </c:pt>
                <c:pt idx="536">
                  <c:v>83.443013307830071</c:v>
                </c:pt>
                <c:pt idx="537">
                  <c:v>83.443013307830071</c:v>
                </c:pt>
                <c:pt idx="538">
                  <c:v>83.443013307830071</c:v>
                </c:pt>
                <c:pt idx="539">
                  <c:v>83.443013307830071</c:v>
                </c:pt>
                <c:pt idx="540">
                  <c:v>83.443013307830071</c:v>
                </c:pt>
                <c:pt idx="541">
                  <c:v>83.443013307830071</c:v>
                </c:pt>
                <c:pt idx="542">
                  <c:v>83.443013307830071</c:v>
                </c:pt>
                <c:pt idx="543">
                  <c:v>83.443013307830071</c:v>
                </c:pt>
                <c:pt idx="544">
                  <c:v>83.443013307830071</c:v>
                </c:pt>
                <c:pt idx="545">
                  <c:v>83.443013307830071</c:v>
                </c:pt>
                <c:pt idx="546">
                  <c:v>83.443013307830071</c:v>
                </c:pt>
                <c:pt idx="547">
                  <c:v>83.443013307830071</c:v>
                </c:pt>
                <c:pt idx="548">
                  <c:v>83.443013307830071</c:v>
                </c:pt>
                <c:pt idx="549">
                  <c:v>83.443013307830071</c:v>
                </c:pt>
                <c:pt idx="550">
                  <c:v>83.443013307830071</c:v>
                </c:pt>
                <c:pt idx="551">
                  <c:v>83.443013307830071</c:v>
                </c:pt>
                <c:pt idx="552">
                  <c:v>83.443013307830071</c:v>
                </c:pt>
                <c:pt idx="553">
                  <c:v>83.443013307830071</c:v>
                </c:pt>
                <c:pt idx="554">
                  <c:v>83.443013307830071</c:v>
                </c:pt>
                <c:pt idx="555">
                  <c:v>83.443013307830071</c:v>
                </c:pt>
                <c:pt idx="556">
                  <c:v>83.443013307830071</c:v>
                </c:pt>
                <c:pt idx="557">
                  <c:v>83.443013307830071</c:v>
                </c:pt>
                <c:pt idx="558">
                  <c:v>83.443013307830071</c:v>
                </c:pt>
                <c:pt idx="559">
                  <c:v>83.443013307830071</c:v>
                </c:pt>
                <c:pt idx="560">
                  <c:v>83.443013307830071</c:v>
                </c:pt>
                <c:pt idx="561">
                  <c:v>83.443013307830071</c:v>
                </c:pt>
                <c:pt idx="562">
                  <c:v>83.443013307830071</c:v>
                </c:pt>
                <c:pt idx="563">
                  <c:v>83.443013307830071</c:v>
                </c:pt>
                <c:pt idx="564">
                  <c:v>83.443013307830071</c:v>
                </c:pt>
                <c:pt idx="565">
                  <c:v>83.443013307830071</c:v>
                </c:pt>
                <c:pt idx="566">
                  <c:v>83.443013307830071</c:v>
                </c:pt>
                <c:pt idx="567">
                  <c:v>83.443013307830071</c:v>
                </c:pt>
                <c:pt idx="568">
                  <c:v>83.443013307830071</c:v>
                </c:pt>
                <c:pt idx="569">
                  <c:v>83.443013307830071</c:v>
                </c:pt>
                <c:pt idx="570">
                  <c:v>83.443013307830071</c:v>
                </c:pt>
                <c:pt idx="571">
                  <c:v>83.443013307830071</c:v>
                </c:pt>
                <c:pt idx="572">
                  <c:v>83.443013307830071</c:v>
                </c:pt>
                <c:pt idx="573">
                  <c:v>83.443013307830071</c:v>
                </c:pt>
                <c:pt idx="574">
                  <c:v>83.443013307830071</c:v>
                </c:pt>
                <c:pt idx="575">
                  <c:v>83.443013307830071</c:v>
                </c:pt>
                <c:pt idx="576">
                  <c:v>83.443013307830071</c:v>
                </c:pt>
                <c:pt idx="577">
                  <c:v>83.443013307830071</c:v>
                </c:pt>
                <c:pt idx="578">
                  <c:v>83.443013307830071</c:v>
                </c:pt>
                <c:pt idx="579">
                  <c:v>83.443013307830071</c:v>
                </c:pt>
                <c:pt idx="580">
                  <c:v>83.443013307830071</c:v>
                </c:pt>
                <c:pt idx="581">
                  <c:v>83.443013307830071</c:v>
                </c:pt>
                <c:pt idx="582">
                  <c:v>83.443013307830071</c:v>
                </c:pt>
                <c:pt idx="583">
                  <c:v>83.443013307830071</c:v>
                </c:pt>
                <c:pt idx="584">
                  <c:v>83.443013307830071</c:v>
                </c:pt>
                <c:pt idx="585">
                  <c:v>83.443013307830071</c:v>
                </c:pt>
                <c:pt idx="586">
                  <c:v>83.443013307830071</c:v>
                </c:pt>
                <c:pt idx="587">
                  <c:v>83.443013307830071</c:v>
                </c:pt>
                <c:pt idx="588">
                  <c:v>83.443013307830071</c:v>
                </c:pt>
                <c:pt idx="589">
                  <c:v>83.443013307830071</c:v>
                </c:pt>
                <c:pt idx="590">
                  <c:v>83.443013307830071</c:v>
                </c:pt>
                <c:pt idx="591">
                  <c:v>83.443013307830071</c:v>
                </c:pt>
                <c:pt idx="592">
                  <c:v>83.443013307830071</c:v>
                </c:pt>
                <c:pt idx="593">
                  <c:v>83.443013307830071</c:v>
                </c:pt>
                <c:pt idx="594">
                  <c:v>83.443013307830071</c:v>
                </c:pt>
                <c:pt idx="595">
                  <c:v>83.443013307830071</c:v>
                </c:pt>
                <c:pt idx="596">
                  <c:v>83.443013307830071</c:v>
                </c:pt>
                <c:pt idx="597">
                  <c:v>83.443013307830071</c:v>
                </c:pt>
                <c:pt idx="598">
                  <c:v>83.443013307830071</c:v>
                </c:pt>
                <c:pt idx="599">
                  <c:v>83.443013307830071</c:v>
                </c:pt>
                <c:pt idx="600">
                  <c:v>83.443013307830071</c:v>
                </c:pt>
                <c:pt idx="601">
                  <c:v>83.443013307830071</c:v>
                </c:pt>
                <c:pt idx="602">
                  <c:v>83.443013307830071</c:v>
                </c:pt>
                <c:pt idx="603">
                  <c:v>83.443013307830071</c:v>
                </c:pt>
                <c:pt idx="604">
                  <c:v>83.443013307830071</c:v>
                </c:pt>
                <c:pt idx="605">
                  <c:v>83.443013307830071</c:v>
                </c:pt>
                <c:pt idx="606">
                  <c:v>83.443013307830071</c:v>
                </c:pt>
                <c:pt idx="607">
                  <c:v>83.443013307830071</c:v>
                </c:pt>
                <c:pt idx="608">
                  <c:v>83.443013307830071</c:v>
                </c:pt>
                <c:pt idx="609">
                  <c:v>83.443013307830071</c:v>
                </c:pt>
                <c:pt idx="610">
                  <c:v>83.443013307830071</c:v>
                </c:pt>
                <c:pt idx="611">
                  <c:v>83.443013307830071</c:v>
                </c:pt>
                <c:pt idx="612">
                  <c:v>83.443013307830071</c:v>
                </c:pt>
                <c:pt idx="613">
                  <c:v>83.443013307830071</c:v>
                </c:pt>
                <c:pt idx="614">
                  <c:v>83.443013307830071</c:v>
                </c:pt>
                <c:pt idx="615">
                  <c:v>83.443013307830071</c:v>
                </c:pt>
                <c:pt idx="616">
                  <c:v>83.443013307830071</c:v>
                </c:pt>
                <c:pt idx="617">
                  <c:v>83.443013307830071</c:v>
                </c:pt>
                <c:pt idx="618">
                  <c:v>83.443013307830071</c:v>
                </c:pt>
                <c:pt idx="619">
                  <c:v>83.443013307830071</c:v>
                </c:pt>
                <c:pt idx="620">
                  <c:v>83.443013307830071</c:v>
                </c:pt>
                <c:pt idx="621">
                  <c:v>83.443013307830071</c:v>
                </c:pt>
                <c:pt idx="622">
                  <c:v>83.443013307830071</c:v>
                </c:pt>
                <c:pt idx="623">
                  <c:v>83.443013307830071</c:v>
                </c:pt>
                <c:pt idx="624">
                  <c:v>83.443013307830071</c:v>
                </c:pt>
                <c:pt idx="625">
                  <c:v>83.443013307830071</c:v>
                </c:pt>
                <c:pt idx="626">
                  <c:v>83.443013307830071</c:v>
                </c:pt>
                <c:pt idx="627">
                  <c:v>83.443013307830071</c:v>
                </c:pt>
                <c:pt idx="628">
                  <c:v>83.443013307830071</c:v>
                </c:pt>
                <c:pt idx="629">
                  <c:v>83.443013307830071</c:v>
                </c:pt>
                <c:pt idx="630">
                  <c:v>83.443013307830071</c:v>
                </c:pt>
                <c:pt idx="631">
                  <c:v>83.443013307830071</c:v>
                </c:pt>
                <c:pt idx="632">
                  <c:v>83.443013307830071</c:v>
                </c:pt>
                <c:pt idx="633">
                  <c:v>83.443013307830071</c:v>
                </c:pt>
                <c:pt idx="634">
                  <c:v>83.443013307830071</c:v>
                </c:pt>
                <c:pt idx="635">
                  <c:v>83.443013307830071</c:v>
                </c:pt>
                <c:pt idx="636">
                  <c:v>83.443013307830071</c:v>
                </c:pt>
                <c:pt idx="637">
                  <c:v>83.443013307830071</c:v>
                </c:pt>
                <c:pt idx="638">
                  <c:v>83.443013307830071</c:v>
                </c:pt>
                <c:pt idx="639">
                  <c:v>83.443013307830071</c:v>
                </c:pt>
                <c:pt idx="640">
                  <c:v>83.443013307830071</c:v>
                </c:pt>
                <c:pt idx="641">
                  <c:v>83.443013307830071</c:v>
                </c:pt>
                <c:pt idx="642">
                  <c:v>83.443013307830071</c:v>
                </c:pt>
                <c:pt idx="643">
                  <c:v>83.443013307830071</c:v>
                </c:pt>
                <c:pt idx="644">
                  <c:v>83.443013307830071</c:v>
                </c:pt>
                <c:pt idx="645">
                  <c:v>83.443013307830071</c:v>
                </c:pt>
                <c:pt idx="646">
                  <c:v>83.443013307830071</c:v>
                </c:pt>
                <c:pt idx="647">
                  <c:v>83.443013307830071</c:v>
                </c:pt>
                <c:pt idx="648">
                  <c:v>83.443013307830071</c:v>
                </c:pt>
                <c:pt idx="649">
                  <c:v>82.348882526999475</c:v>
                </c:pt>
                <c:pt idx="650">
                  <c:v>82.318493826794835</c:v>
                </c:pt>
                <c:pt idx="651">
                  <c:v>79.262938492865658</c:v>
                </c:pt>
                <c:pt idx="652">
                  <c:v>78.256937397487718</c:v>
                </c:pt>
                <c:pt idx="653">
                  <c:v>78.897387903480876</c:v>
                </c:pt>
                <c:pt idx="654">
                  <c:v>78.039160712389034</c:v>
                </c:pt>
                <c:pt idx="655">
                  <c:v>75.788221187294056</c:v>
                </c:pt>
                <c:pt idx="656">
                  <c:v>73.855692669518774</c:v>
                </c:pt>
                <c:pt idx="657">
                  <c:v>73.31611674202793</c:v>
                </c:pt>
                <c:pt idx="658">
                  <c:v>74.278689661105915</c:v>
                </c:pt>
                <c:pt idx="659">
                  <c:v>75.811372512303763</c:v>
                </c:pt>
                <c:pt idx="660">
                  <c:v>70.882332181517441</c:v>
                </c:pt>
                <c:pt idx="661">
                  <c:v>70.430357326998632</c:v>
                </c:pt>
                <c:pt idx="662">
                  <c:v>70.467064422319154</c:v>
                </c:pt>
                <c:pt idx="663">
                  <c:v>67.353247443623374</c:v>
                </c:pt>
                <c:pt idx="664">
                  <c:v>70.496058812343364</c:v>
                </c:pt>
                <c:pt idx="665">
                  <c:v>70.38144963085206</c:v>
                </c:pt>
                <c:pt idx="666">
                  <c:v>70.726999723909756</c:v>
                </c:pt>
                <c:pt idx="667">
                  <c:v>69.003453465705434</c:v>
                </c:pt>
                <c:pt idx="668">
                  <c:v>68.790613610018823</c:v>
                </c:pt>
                <c:pt idx="669">
                  <c:v>67.195916825686993</c:v>
                </c:pt>
                <c:pt idx="670">
                  <c:v>63.998198897819996</c:v>
                </c:pt>
                <c:pt idx="671">
                  <c:v>64.828502620795888</c:v>
                </c:pt>
                <c:pt idx="672">
                  <c:v>63.603461903219632</c:v>
                </c:pt>
                <c:pt idx="673">
                  <c:v>67.012747033666599</c:v>
                </c:pt>
                <c:pt idx="674">
                  <c:v>71.253482668825512</c:v>
                </c:pt>
                <c:pt idx="675">
                  <c:v>70.602723308870409</c:v>
                </c:pt>
                <c:pt idx="676">
                  <c:v>68.815362636519595</c:v>
                </c:pt>
                <c:pt idx="677">
                  <c:v>70.226766121831005</c:v>
                </c:pt>
                <c:pt idx="678">
                  <c:v>70.690465994433694</c:v>
                </c:pt>
                <c:pt idx="679">
                  <c:v>72.607504650709672</c:v>
                </c:pt>
                <c:pt idx="680">
                  <c:v>73.221355759852557</c:v>
                </c:pt>
                <c:pt idx="681">
                  <c:v>76.911827774185227</c:v>
                </c:pt>
                <c:pt idx="682">
                  <c:v>78.491354313008316</c:v>
                </c:pt>
                <c:pt idx="683">
                  <c:v>78.558630037901438</c:v>
                </c:pt>
                <c:pt idx="684">
                  <c:v>78.553082957233642</c:v>
                </c:pt>
                <c:pt idx="685">
                  <c:v>76.545329845775328</c:v>
                </c:pt>
                <c:pt idx="686">
                  <c:v>76.545329845775328</c:v>
                </c:pt>
                <c:pt idx="687">
                  <c:v>76.449648183468113</c:v>
                </c:pt>
                <c:pt idx="688">
                  <c:v>76.449648183468113</c:v>
                </c:pt>
                <c:pt idx="689">
                  <c:v>76.449648183468113</c:v>
                </c:pt>
                <c:pt idx="690">
                  <c:v>76.449648183468113</c:v>
                </c:pt>
                <c:pt idx="691">
                  <c:v>76.449648183468113</c:v>
                </c:pt>
                <c:pt idx="692">
                  <c:v>76.449648183468113</c:v>
                </c:pt>
                <c:pt idx="693">
                  <c:v>76.449648183468113</c:v>
                </c:pt>
                <c:pt idx="694">
                  <c:v>76.449648183468113</c:v>
                </c:pt>
                <c:pt idx="695">
                  <c:v>76.449648183468113</c:v>
                </c:pt>
                <c:pt idx="696">
                  <c:v>76.449648183468113</c:v>
                </c:pt>
                <c:pt idx="697">
                  <c:v>76.449648183468113</c:v>
                </c:pt>
                <c:pt idx="698">
                  <c:v>76.449648183468113</c:v>
                </c:pt>
                <c:pt idx="699">
                  <c:v>76.449648183468113</c:v>
                </c:pt>
                <c:pt idx="700">
                  <c:v>76.449648183468113</c:v>
                </c:pt>
                <c:pt idx="701">
                  <c:v>76.449648183468113</c:v>
                </c:pt>
                <c:pt idx="702">
                  <c:v>76.449648183468113</c:v>
                </c:pt>
                <c:pt idx="703">
                  <c:v>76.449648183468113</c:v>
                </c:pt>
                <c:pt idx="704">
                  <c:v>76.449648183468113</c:v>
                </c:pt>
                <c:pt idx="705">
                  <c:v>76.449648183468113</c:v>
                </c:pt>
                <c:pt idx="706">
                  <c:v>76.449648183468113</c:v>
                </c:pt>
                <c:pt idx="707">
                  <c:v>76.449648183468113</c:v>
                </c:pt>
                <c:pt idx="708">
                  <c:v>76.449648183468113</c:v>
                </c:pt>
                <c:pt idx="709">
                  <c:v>76.449648183468113</c:v>
                </c:pt>
                <c:pt idx="710">
                  <c:v>76.449648183468113</c:v>
                </c:pt>
                <c:pt idx="711">
                  <c:v>76.449648183468113</c:v>
                </c:pt>
                <c:pt idx="712">
                  <c:v>76.449648183468113</c:v>
                </c:pt>
                <c:pt idx="713">
                  <c:v>76.449648183468113</c:v>
                </c:pt>
                <c:pt idx="714">
                  <c:v>76.449648183468113</c:v>
                </c:pt>
                <c:pt idx="715">
                  <c:v>76.449648183468113</c:v>
                </c:pt>
                <c:pt idx="716">
                  <c:v>76.449648183468113</c:v>
                </c:pt>
                <c:pt idx="717">
                  <c:v>76.449648183468113</c:v>
                </c:pt>
                <c:pt idx="718">
                  <c:v>76.449648183468113</c:v>
                </c:pt>
                <c:pt idx="719">
                  <c:v>76.449648183468113</c:v>
                </c:pt>
                <c:pt idx="720">
                  <c:v>76.449648183468113</c:v>
                </c:pt>
                <c:pt idx="721">
                  <c:v>76.449648183468113</c:v>
                </c:pt>
                <c:pt idx="722">
                  <c:v>76.449648183468113</c:v>
                </c:pt>
                <c:pt idx="723">
                  <c:v>78.935600008337076</c:v>
                </c:pt>
                <c:pt idx="724">
                  <c:v>78.83693050832666</c:v>
                </c:pt>
                <c:pt idx="725">
                  <c:v>78.73838434519125</c:v>
                </c:pt>
                <c:pt idx="726">
                  <c:v>78.73838434519125</c:v>
                </c:pt>
                <c:pt idx="727">
                  <c:v>78.536743225430357</c:v>
                </c:pt>
                <c:pt idx="728">
                  <c:v>81.350541882489537</c:v>
                </c:pt>
                <c:pt idx="729">
                  <c:v>79.074346188104556</c:v>
                </c:pt>
                <c:pt idx="730">
                  <c:v>77.362540112272171</c:v>
                </c:pt>
                <c:pt idx="731">
                  <c:v>81.046384579410372</c:v>
                </c:pt>
                <c:pt idx="732">
                  <c:v>81.877541864163447</c:v>
                </c:pt>
                <c:pt idx="733">
                  <c:v>81.877541864163447</c:v>
                </c:pt>
                <c:pt idx="734">
                  <c:v>81.680828776458199</c:v>
                </c:pt>
                <c:pt idx="735">
                  <c:v>82.03535852326948</c:v>
                </c:pt>
                <c:pt idx="736">
                  <c:v>83.317278056859209</c:v>
                </c:pt>
                <c:pt idx="737">
                  <c:v>83.317278056859209</c:v>
                </c:pt>
                <c:pt idx="738">
                  <c:v>83.213131459288135</c:v>
                </c:pt>
                <c:pt idx="739">
                  <c:v>83.234940947767441</c:v>
                </c:pt>
                <c:pt idx="740">
                  <c:v>83.57492584799995</c:v>
                </c:pt>
                <c:pt idx="741">
                  <c:v>83.57492584799995</c:v>
                </c:pt>
                <c:pt idx="742">
                  <c:v>83.470457190689956</c:v>
                </c:pt>
                <c:pt idx="743">
                  <c:v>83.607438722055264</c:v>
                </c:pt>
                <c:pt idx="744">
                  <c:v>84.445460946723159</c:v>
                </c:pt>
                <c:pt idx="745">
                  <c:v>85.824651082044653</c:v>
                </c:pt>
                <c:pt idx="746">
                  <c:v>84.944761018876207</c:v>
                </c:pt>
                <c:pt idx="747">
                  <c:v>84.899615435374571</c:v>
                </c:pt>
                <c:pt idx="748">
                  <c:v>84.899615435374571</c:v>
                </c:pt>
                <c:pt idx="749">
                  <c:v>84.793490916080358</c:v>
                </c:pt>
                <c:pt idx="750">
                  <c:v>77.655586344818516</c:v>
                </c:pt>
                <c:pt idx="751">
                  <c:v>77.558516861887497</c:v>
                </c:pt>
                <c:pt idx="752">
                  <c:v>77.461568715810145</c:v>
                </c:pt>
                <c:pt idx="753">
                  <c:v>77.461568715810145</c:v>
                </c:pt>
                <c:pt idx="754">
                  <c:v>77.461568715810145</c:v>
                </c:pt>
                <c:pt idx="755">
                  <c:v>77.461568715810145</c:v>
                </c:pt>
                <c:pt idx="756">
                  <c:v>77.461568715810145</c:v>
                </c:pt>
                <c:pt idx="757">
                  <c:v>77.461568715810145</c:v>
                </c:pt>
                <c:pt idx="758">
                  <c:v>77.461568715810145</c:v>
                </c:pt>
                <c:pt idx="759">
                  <c:v>77.461568715810145</c:v>
                </c:pt>
                <c:pt idx="760">
                  <c:v>77.461568715810145</c:v>
                </c:pt>
                <c:pt idx="761">
                  <c:v>77.461568715810145</c:v>
                </c:pt>
                <c:pt idx="762">
                  <c:v>77.461568715810145</c:v>
                </c:pt>
                <c:pt idx="763">
                  <c:v>77.461568715810145</c:v>
                </c:pt>
                <c:pt idx="764">
                  <c:v>77.461568715810145</c:v>
                </c:pt>
                <c:pt idx="765">
                  <c:v>77.461568715810145</c:v>
                </c:pt>
                <c:pt idx="766">
                  <c:v>77.461568715810145</c:v>
                </c:pt>
                <c:pt idx="767">
                  <c:v>77.461568715810145</c:v>
                </c:pt>
                <c:pt idx="768">
                  <c:v>77.461568715810145</c:v>
                </c:pt>
                <c:pt idx="769">
                  <c:v>77.461568715810145</c:v>
                </c:pt>
                <c:pt idx="770">
                  <c:v>77.461568715810145</c:v>
                </c:pt>
                <c:pt idx="771">
                  <c:v>77.461568715810145</c:v>
                </c:pt>
                <c:pt idx="772">
                  <c:v>77.461568715810145</c:v>
                </c:pt>
                <c:pt idx="773">
                  <c:v>77.461568715810145</c:v>
                </c:pt>
                <c:pt idx="774">
                  <c:v>77.461568715810145</c:v>
                </c:pt>
                <c:pt idx="775">
                  <c:v>77.461568715810145</c:v>
                </c:pt>
                <c:pt idx="776">
                  <c:v>77.461568715810145</c:v>
                </c:pt>
                <c:pt idx="777">
                  <c:v>77.461568715810145</c:v>
                </c:pt>
                <c:pt idx="778">
                  <c:v>77.461568715810145</c:v>
                </c:pt>
                <c:pt idx="779">
                  <c:v>77.461568715810145</c:v>
                </c:pt>
                <c:pt idx="780">
                  <c:v>77.461568715810145</c:v>
                </c:pt>
                <c:pt idx="781">
                  <c:v>77.461568715810145</c:v>
                </c:pt>
                <c:pt idx="782">
                  <c:v>77.461568715810145</c:v>
                </c:pt>
                <c:pt idx="783">
                  <c:v>77.461568715810145</c:v>
                </c:pt>
                <c:pt idx="784">
                  <c:v>77.461568715810145</c:v>
                </c:pt>
                <c:pt idx="785">
                  <c:v>77.461568715810145</c:v>
                </c:pt>
                <c:pt idx="786">
                  <c:v>77.461568715810145</c:v>
                </c:pt>
                <c:pt idx="787">
                  <c:v>77.461568715810145</c:v>
                </c:pt>
                <c:pt idx="788">
                  <c:v>77.461568715810145</c:v>
                </c:pt>
                <c:pt idx="789">
                  <c:v>77.461568715810145</c:v>
                </c:pt>
                <c:pt idx="790">
                  <c:v>77.461568715810145</c:v>
                </c:pt>
                <c:pt idx="791">
                  <c:v>77.461568715810145</c:v>
                </c:pt>
                <c:pt idx="792">
                  <c:v>77.461568715810145</c:v>
                </c:pt>
                <c:pt idx="793">
                  <c:v>77.461568715810145</c:v>
                </c:pt>
                <c:pt idx="794">
                  <c:v>77.461568715810145</c:v>
                </c:pt>
                <c:pt idx="795">
                  <c:v>77.461568715810145</c:v>
                </c:pt>
                <c:pt idx="796">
                  <c:v>77.461568715810145</c:v>
                </c:pt>
                <c:pt idx="797">
                  <c:v>77.461568715810145</c:v>
                </c:pt>
                <c:pt idx="798">
                  <c:v>77.461568715810145</c:v>
                </c:pt>
                <c:pt idx="799">
                  <c:v>77.461568715810145</c:v>
                </c:pt>
                <c:pt idx="800">
                  <c:v>77.461568715810145</c:v>
                </c:pt>
                <c:pt idx="801">
                  <c:v>77.461568715810145</c:v>
                </c:pt>
                <c:pt idx="802">
                  <c:v>77.461568715810145</c:v>
                </c:pt>
                <c:pt idx="803">
                  <c:v>77.461568715810145</c:v>
                </c:pt>
                <c:pt idx="804">
                  <c:v>77.461568715810145</c:v>
                </c:pt>
                <c:pt idx="805">
                  <c:v>77.461568715810145</c:v>
                </c:pt>
                <c:pt idx="806">
                  <c:v>77.461568715810145</c:v>
                </c:pt>
                <c:pt idx="807">
                  <c:v>77.461568715810145</c:v>
                </c:pt>
                <c:pt idx="808">
                  <c:v>77.461568715810145</c:v>
                </c:pt>
                <c:pt idx="809">
                  <c:v>77.461568715810145</c:v>
                </c:pt>
                <c:pt idx="810">
                  <c:v>77.461568715810145</c:v>
                </c:pt>
                <c:pt idx="811">
                  <c:v>77.461568715810145</c:v>
                </c:pt>
                <c:pt idx="812">
                  <c:v>77.461568715810145</c:v>
                </c:pt>
                <c:pt idx="813">
                  <c:v>77.461568715810145</c:v>
                </c:pt>
                <c:pt idx="814">
                  <c:v>77.461568715810145</c:v>
                </c:pt>
                <c:pt idx="815">
                  <c:v>77.461568715810145</c:v>
                </c:pt>
                <c:pt idx="816">
                  <c:v>77.461568715810145</c:v>
                </c:pt>
                <c:pt idx="817">
                  <c:v>77.461568715810145</c:v>
                </c:pt>
                <c:pt idx="818">
                  <c:v>77.461568715810145</c:v>
                </c:pt>
                <c:pt idx="819">
                  <c:v>77.461568715810145</c:v>
                </c:pt>
                <c:pt idx="820">
                  <c:v>77.461568715810145</c:v>
                </c:pt>
                <c:pt idx="821">
                  <c:v>77.461568715810145</c:v>
                </c:pt>
                <c:pt idx="822">
                  <c:v>77.461568715810145</c:v>
                </c:pt>
                <c:pt idx="823">
                  <c:v>77.461568715810145</c:v>
                </c:pt>
                <c:pt idx="824">
                  <c:v>77.461568715810145</c:v>
                </c:pt>
                <c:pt idx="825">
                  <c:v>77.461568715810145</c:v>
                </c:pt>
                <c:pt idx="826">
                  <c:v>77.461568715810145</c:v>
                </c:pt>
                <c:pt idx="827">
                  <c:v>77.461568715810145</c:v>
                </c:pt>
                <c:pt idx="828">
                  <c:v>77.461568715810145</c:v>
                </c:pt>
                <c:pt idx="829">
                  <c:v>77.461568715810145</c:v>
                </c:pt>
                <c:pt idx="830">
                  <c:v>77.461568715810145</c:v>
                </c:pt>
                <c:pt idx="831">
                  <c:v>77.461568715810145</c:v>
                </c:pt>
                <c:pt idx="832">
                  <c:v>77.461568715810145</c:v>
                </c:pt>
                <c:pt idx="833">
                  <c:v>77.461568715810145</c:v>
                </c:pt>
                <c:pt idx="834">
                  <c:v>77.461568715810145</c:v>
                </c:pt>
                <c:pt idx="835">
                  <c:v>77.461568715810145</c:v>
                </c:pt>
                <c:pt idx="836">
                  <c:v>77.461568715810145</c:v>
                </c:pt>
                <c:pt idx="837">
                  <c:v>77.461568715810145</c:v>
                </c:pt>
                <c:pt idx="838">
                  <c:v>77.461568715810145</c:v>
                </c:pt>
                <c:pt idx="839">
                  <c:v>77.461568715810145</c:v>
                </c:pt>
                <c:pt idx="840">
                  <c:v>77.461568715810145</c:v>
                </c:pt>
                <c:pt idx="841">
                  <c:v>77.461568715810145</c:v>
                </c:pt>
                <c:pt idx="842">
                  <c:v>77.461568715810145</c:v>
                </c:pt>
                <c:pt idx="843">
                  <c:v>77.461568715810145</c:v>
                </c:pt>
                <c:pt idx="844">
                  <c:v>77.461568715810145</c:v>
                </c:pt>
                <c:pt idx="845">
                  <c:v>77.461568715810145</c:v>
                </c:pt>
                <c:pt idx="846">
                  <c:v>77.461568715810145</c:v>
                </c:pt>
                <c:pt idx="847">
                  <c:v>77.461568715810145</c:v>
                </c:pt>
                <c:pt idx="848">
                  <c:v>77.461568715810145</c:v>
                </c:pt>
                <c:pt idx="849">
                  <c:v>77.461568715810145</c:v>
                </c:pt>
                <c:pt idx="850">
                  <c:v>77.461568715810145</c:v>
                </c:pt>
                <c:pt idx="851">
                  <c:v>77.461568715810145</c:v>
                </c:pt>
                <c:pt idx="852">
                  <c:v>77.461568715810145</c:v>
                </c:pt>
                <c:pt idx="853">
                  <c:v>77.461568715810145</c:v>
                </c:pt>
                <c:pt idx="854">
                  <c:v>77.461568715810145</c:v>
                </c:pt>
                <c:pt idx="855">
                  <c:v>77.461568715810145</c:v>
                </c:pt>
                <c:pt idx="856">
                  <c:v>77.461568715810145</c:v>
                </c:pt>
                <c:pt idx="857">
                  <c:v>77.461568715810145</c:v>
                </c:pt>
                <c:pt idx="858">
                  <c:v>77.461568715810145</c:v>
                </c:pt>
                <c:pt idx="859">
                  <c:v>77.461568715810145</c:v>
                </c:pt>
                <c:pt idx="860">
                  <c:v>77.461568715810145</c:v>
                </c:pt>
                <c:pt idx="861">
                  <c:v>77.461568715810145</c:v>
                </c:pt>
                <c:pt idx="862">
                  <c:v>77.461568715810145</c:v>
                </c:pt>
                <c:pt idx="863">
                  <c:v>77.461568715810145</c:v>
                </c:pt>
                <c:pt idx="864">
                  <c:v>77.461568715810145</c:v>
                </c:pt>
                <c:pt idx="865">
                  <c:v>77.461568715810145</c:v>
                </c:pt>
                <c:pt idx="866">
                  <c:v>77.461568715810145</c:v>
                </c:pt>
                <c:pt idx="867">
                  <c:v>77.461568715810145</c:v>
                </c:pt>
                <c:pt idx="868">
                  <c:v>77.461568715810145</c:v>
                </c:pt>
                <c:pt idx="869">
                  <c:v>77.461568715810145</c:v>
                </c:pt>
                <c:pt idx="870">
                  <c:v>77.461568715810145</c:v>
                </c:pt>
                <c:pt idx="871">
                  <c:v>77.461568715810145</c:v>
                </c:pt>
                <c:pt idx="872">
                  <c:v>77.461568715810145</c:v>
                </c:pt>
                <c:pt idx="873">
                  <c:v>77.461568715810145</c:v>
                </c:pt>
                <c:pt idx="874">
                  <c:v>77.461568715810145</c:v>
                </c:pt>
                <c:pt idx="875">
                  <c:v>77.461568715810145</c:v>
                </c:pt>
                <c:pt idx="876">
                  <c:v>77.461568715810145</c:v>
                </c:pt>
                <c:pt idx="877">
                  <c:v>77.461568715810145</c:v>
                </c:pt>
                <c:pt idx="878">
                  <c:v>77.461568715810145</c:v>
                </c:pt>
                <c:pt idx="879">
                  <c:v>77.461568715810145</c:v>
                </c:pt>
                <c:pt idx="880">
                  <c:v>77.461568715810145</c:v>
                </c:pt>
                <c:pt idx="881">
                  <c:v>77.461568715810145</c:v>
                </c:pt>
                <c:pt idx="882">
                  <c:v>77.461568715810145</c:v>
                </c:pt>
                <c:pt idx="883">
                  <c:v>77.461568715810145</c:v>
                </c:pt>
                <c:pt idx="884">
                  <c:v>77.461568715810145</c:v>
                </c:pt>
                <c:pt idx="885">
                  <c:v>77.461568715810145</c:v>
                </c:pt>
                <c:pt idx="886">
                  <c:v>77.461568715810145</c:v>
                </c:pt>
                <c:pt idx="887">
                  <c:v>77.461568715810145</c:v>
                </c:pt>
                <c:pt idx="888">
                  <c:v>77.461568715810145</c:v>
                </c:pt>
                <c:pt idx="889">
                  <c:v>77.461568715810145</c:v>
                </c:pt>
                <c:pt idx="890">
                  <c:v>77.461568715810145</c:v>
                </c:pt>
                <c:pt idx="891">
                  <c:v>77.461568715810145</c:v>
                </c:pt>
                <c:pt idx="892">
                  <c:v>77.461568715810145</c:v>
                </c:pt>
                <c:pt idx="893">
                  <c:v>77.461568715810145</c:v>
                </c:pt>
                <c:pt idx="894">
                  <c:v>77.461568715810145</c:v>
                </c:pt>
                <c:pt idx="895">
                  <c:v>77.461568715810145</c:v>
                </c:pt>
                <c:pt idx="896">
                  <c:v>77.461568715810145</c:v>
                </c:pt>
                <c:pt idx="897">
                  <c:v>77.461568715810145</c:v>
                </c:pt>
                <c:pt idx="898">
                  <c:v>77.461568715810145</c:v>
                </c:pt>
                <c:pt idx="899">
                  <c:v>77.461568715810145</c:v>
                </c:pt>
                <c:pt idx="900">
                  <c:v>77.461568715810145</c:v>
                </c:pt>
                <c:pt idx="901">
                  <c:v>74.563297209258806</c:v>
                </c:pt>
                <c:pt idx="902">
                  <c:v>72.966707451578742</c:v>
                </c:pt>
                <c:pt idx="903">
                  <c:v>78.745002570165809</c:v>
                </c:pt>
                <c:pt idx="904">
                  <c:v>75.541601006191314</c:v>
                </c:pt>
                <c:pt idx="905">
                  <c:v>75.636252355232585</c:v>
                </c:pt>
                <c:pt idx="906">
                  <c:v>74.605751980004229</c:v>
                </c:pt>
                <c:pt idx="907">
                  <c:v>74.528135905168881</c:v>
                </c:pt>
                <c:pt idx="908">
                  <c:v>75.193912517869848</c:v>
                </c:pt>
                <c:pt idx="909">
                  <c:v>74.884381047021776</c:v>
                </c:pt>
                <c:pt idx="910">
                  <c:v>75.696683105646073</c:v>
                </c:pt>
                <c:pt idx="911">
                  <c:v>75.59952560060016</c:v>
                </c:pt>
                <c:pt idx="912">
                  <c:v>74.296278495596852</c:v>
                </c:pt>
                <c:pt idx="913">
                  <c:v>72.359126961646695</c:v>
                </c:pt>
                <c:pt idx="914">
                  <c:v>71.879477634664553</c:v>
                </c:pt>
                <c:pt idx="915">
                  <c:v>68.657249057276857</c:v>
                </c:pt>
                <c:pt idx="916">
                  <c:v>70.000779894459825</c:v>
                </c:pt>
                <c:pt idx="917">
                  <c:v>66.881988906121705</c:v>
                </c:pt>
                <c:pt idx="918">
                  <c:v>67.394710457549124</c:v>
                </c:pt>
                <c:pt idx="919">
                  <c:v>66.35511567261517</c:v>
                </c:pt>
                <c:pt idx="920">
                  <c:v>69.364285306813144</c:v>
                </c:pt>
                <c:pt idx="921">
                  <c:v>65.619166661039145</c:v>
                </c:pt>
                <c:pt idx="922">
                  <c:v>65.987696662599333</c:v>
                </c:pt>
                <c:pt idx="923">
                  <c:v>61.219792754737995</c:v>
                </c:pt>
                <c:pt idx="924">
                  <c:v>60.766057386127628</c:v>
                </c:pt>
                <c:pt idx="925">
                  <c:v>60.889344330487937</c:v>
                </c:pt>
                <c:pt idx="926">
                  <c:v>64.282737333756458</c:v>
                </c:pt>
                <c:pt idx="927">
                  <c:v>65.372850309489152</c:v>
                </c:pt>
                <c:pt idx="928">
                  <c:v>65.022704822023726</c:v>
                </c:pt>
                <c:pt idx="929">
                  <c:v>64.41108536861752</c:v>
                </c:pt>
                <c:pt idx="930">
                  <c:v>63.730509280781888</c:v>
                </c:pt>
                <c:pt idx="931">
                  <c:v>63.812916092123118</c:v>
                </c:pt>
                <c:pt idx="932">
                  <c:v>63.643870804219361</c:v>
                </c:pt>
                <c:pt idx="933">
                  <c:v>63.56417111348091</c:v>
                </c:pt>
                <c:pt idx="934">
                  <c:v>66.496044213604108</c:v>
                </c:pt>
                <c:pt idx="935">
                  <c:v>65.830557919651923</c:v>
                </c:pt>
                <c:pt idx="936">
                  <c:v>65.720160642164188</c:v>
                </c:pt>
                <c:pt idx="937">
                  <c:v>65.568394861775744</c:v>
                </c:pt>
                <c:pt idx="938">
                  <c:v>64.958127400039231</c:v>
                </c:pt>
                <c:pt idx="939">
                  <c:v>64.948287023599931</c:v>
                </c:pt>
                <c:pt idx="940">
                  <c:v>62.861909128153556</c:v>
                </c:pt>
                <c:pt idx="941">
                  <c:v>61.885875109635037</c:v>
                </c:pt>
                <c:pt idx="942">
                  <c:v>64.737881488631515</c:v>
                </c:pt>
                <c:pt idx="943">
                  <c:v>66.899476957664191</c:v>
                </c:pt>
                <c:pt idx="944">
                  <c:v>67.071708123884832</c:v>
                </c:pt>
                <c:pt idx="945">
                  <c:v>67.083222368413288</c:v>
                </c:pt>
                <c:pt idx="946">
                  <c:v>68.19080060287294</c:v>
                </c:pt>
                <c:pt idx="947">
                  <c:v>66.899666493358197</c:v>
                </c:pt>
                <c:pt idx="948">
                  <c:v>66.347772189943484</c:v>
                </c:pt>
                <c:pt idx="949">
                  <c:v>68.806247721782867</c:v>
                </c:pt>
                <c:pt idx="950">
                  <c:v>69.797539479845767</c:v>
                </c:pt>
                <c:pt idx="951">
                  <c:v>68.460597530112551</c:v>
                </c:pt>
                <c:pt idx="952">
                  <c:v>65.801764305564959</c:v>
                </c:pt>
                <c:pt idx="953">
                  <c:v>67.234478545768951</c:v>
                </c:pt>
                <c:pt idx="954">
                  <c:v>66.272465382691834</c:v>
                </c:pt>
                <c:pt idx="955">
                  <c:v>70.225161539023148</c:v>
                </c:pt>
                <c:pt idx="956">
                  <c:v>69.496914701597532</c:v>
                </c:pt>
                <c:pt idx="957">
                  <c:v>70.159942758729628</c:v>
                </c:pt>
                <c:pt idx="958">
                  <c:v>70.55537866989269</c:v>
                </c:pt>
                <c:pt idx="959">
                  <c:v>72.243482107084233</c:v>
                </c:pt>
                <c:pt idx="960">
                  <c:v>72.081708597199267</c:v>
                </c:pt>
                <c:pt idx="961">
                  <c:v>75.071944181570686</c:v>
                </c:pt>
                <c:pt idx="962">
                  <c:v>75.929765635621877</c:v>
                </c:pt>
                <c:pt idx="963">
                  <c:v>74.347219951956603</c:v>
                </c:pt>
                <c:pt idx="964">
                  <c:v>72.77678895668123</c:v>
                </c:pt>
                <c:pt idx="965">
                  <c:v>72.899156059725726</c:v>
                </c:pt>
                <c:pt idx="966">
                  <c:v>71.39062040977295</c:v>
                </c:pt>
                <c:pt idx="967">
                  <c:v>70.004802431504586</c:v>
                </c:pt>
                <c:pt idx="968">
                  <c:v>68.367957077917382</c:v>
                </c:pt>
                <c:pt idx="969">
                  <c:v>65.976598114045885</c:v>
                </c:pt>
                <c:pt idx="970">
                  <c:v>65.343179457600456</c:v>
                </c:pt>
                <c:pt idx="971">
                  <c:v>66.221426823276062</c:v>
                </c:pt>
                <c:pt idx="972">
                  <c:v>68.606956910723511</c:v>
                </c:pt>
                <c:pt idx="973">
                  <c:v>69.481092728992778</c:v>
                </c:pt>
                <c:pt idx="974">
                  <c:v>68.882247322843753</c:v>
                </c:pt>
                <c:pt idx="975">
                  <c:v>68.727572428934209</c:v>
                </c:pt>
                <c:pt idx="976">
                  <c:v>68.223778055612826</c:v>
                </c:pt>
                <c:pt idx="977">
                  <c:v>68.225736786405079</c:v>
                </c:pt>
                <c:pt idx="978">
                  <c:v>67.791142099999362</c:v>
                </c:pt>
                <c:pt idx="979">
                  <c:v>68.607677367082829</c:v>
                </c:pt>
                <c:pt idx="980">
                  <c:v>66.724640960516425</c:v>
                </c:pt>
                <c:pt idx="981">
                  <c:v>66.619382540146532</c:v>
                </c:pt>
                <c:pt idx="982">
                  <c:v>68.052172271099877</c:v>
                </c:pt>
                <c:pt idx="983">
                  <c:v>66.360347728609895</c:v>
                </c:pt>
                <c:pt idx="984">
                  <c:v>65.590245701810119</c:v>
                </c:pt>
                <c:pt idx="985">
                  <c:v>66.702675127812341</c:v>
                </c:pt>
                <c:pt idx="986">
                  <c:v>70.471212720853146</c:v>
                </c:pt>
                <c:pt idx="987">
                  <c:v>70.471212720853146</c:v>
                </c:pt>
                <c:pt idx="988">
                  <c:v>72.281158677057164</c:v>
                </c:pt>
                <c:pt idx="989">
                  <c:v>72.997665724737288</c:v>
                </c:pt>
                <c:pt idx="990">
                  <c:v>72.215850953980862</c:v>
                </c:pt>
                <c:pt idx="991">
                  <c:v>72.26875695231837</c:v>
                </c:pt>
                <c:pt idx="992">
                  <c:v>73.191608352282344</c:v>
                </c:pt>
                <c:pt idx="993">
                  <c:v>74.640193921963061</c:v>
                </c:pt>
                <c:pt idx="994">
                  <c:v>73.614388731958272</c:v>
                </c:pt>
                <c:pt idx="995">
                  <c:v>73.362209512694207</c:v>
                </c:pt>
                <c:pt idx="996">
                  <c:v>73.913840657763359</c:v>
                </c:pt>
                <c:pt idx="997">
                  <c:v>74.395985677697411</c:v>
                </c:pt>
                <c:pt idx="998">
                  <c:v>74.395985677697411</c:v>
                </c:pt>
                <c:pt idx="999">
                  <c:v>74.302990695600286</c:v>
                </c:pt>
                <c:pt idx="1000">
                  <c:v>74.302990695600286</c:v>
                </c:pt>
                <c:pt idx="1001">
                  <c:v>75.546749907559899</c:v>
                </c:pt>
                <c:pt idx="1002">
                  <c:v>73.261853792377522</c:v>
                </c:pt>
                <c:pt idx="1003">
                  <c:v>69.009883157565682</c:v>
                </c:pt>
                <c:pt idx="1004">
                  <c:v>69.884232373854744</c:v>
                </c:pt>
                <c:pt idx="1005">
                  <c:v>68.2423835327359</c:v>
                </c:pt>
                <c:pt idx="1006">
                  <c:v>68.491143557742902</c:v>
                </c:pt>
                <c:pt idx="1007">
                  <c:v>65.463351627922236</c:v>
                </c:pt>
                <c:pt idx="1008">
                  <c:v>65.83538613044621</c:v>
                </c:pt>
                <c:pt idx="1009">
                  <c:v>67.474131622274072</c:v>
                </c:pt>
                <c:pt idx="1010">
                  <c:v>67.344310936095951</c:v>
                </c:pt>
                <c:pt idx="1011">
                  <c:v>65.909075696959448</c:v>
                </c:pt>
                <c:pt idx="1012">
                  <c:v>66.259525471600128</c:v>
                </c:pt>
                <c:pt idx="1013">
                  <c:v>67.394428115963663</c:v>
                </c:pt>
                <c:pt idx="1014">
                  <c:v>67.407448778434699</c:v>
                </c:pt>
                <c:pt idx="1015">
                  <c:v>67.954809395674275</c:v>
                </c:pt>
                <c:pt idx="1016">
                  <c:v>67.877505048250214</c:v>
                </c:pt>
                <c:pt idx="1017">
                  <c:v>68.334654938907605</c:v>
                </c:pt>
                <c:pt idx="1018">
                  <c:v>69.944232848066406</c:v>
                </c:pt>
                <c:pt idx="1019">
                  <c:v>69.944232848066406</c:v>
                </c:pt>
                <c:pt idx="1020">
                  <c:v>69.856802557006318</c:v>
                </c:pt>
                <c:pt idx="1021">
                  <c:v>71.936285547114394</c:v>
                </c:pt>
                <c:pt idx="1022">
                  <c:v>71.933851834713721</c:v>
                </c:pt>
                <c:pt idx="1023">
                  <c:v>71.071036305176619</c:v>
                </c:pt>
                <c:pt idx="1024">
                  <c:v>69.609092921997131</c:v>
                </c:pt>
                <c:pt idx="1025">
                  <c:v>68.188336314806136</c:v>
                </c:pt>
                <c:pt idx="1026">
                  <c:v>66.767644665421869</c:v>
                </c:pt>
                <c:pt idx="1027">
                  <c:v>65.914049579690072</c:v>
                </c:pt>
                <c:pt idx="1028">
                  <c:v>63.360690595956044</c:v>
                </c:pt>
                <c:pt idx="1029">
                  <c:v>64.373136775609552</c:v>
                </c:pt>
                <c:pt idx="1030">
                  <c:v>62.717007026737107</c:v>
                </c:pt>
                <c:pt idx="1031">
                  <c:v>62.459032196064506</c:v>
                </c:pt>
                <c:pt idx="1032">
                  <c:v>62.458474752569096</c:v>
                </c:pt>
                <c:pt idx="1033">
                  <c:v>60.168755524538092</c:v>
                </c:pt>
                <c:pt idx="1034">
                  <c:v>61.181553758876987</c:v>
                </c:pt>
                <c:pt idx="1035">
                  <c:v>62.451244634388431</c:v>
                </c:pt>
                <c:pt idx="1036">
                  <c:v>62.702772029856931</c:v>
                </c:pt>
                <c:pt idx="1037">
                  <c:v>64.764660346996905</c:v>
                </c:pt>
                <c:pt idx="1038">
                  <c:v>64.593716135490709</c:v>
                </c:pt>
                <c:pt idx="1039">
                  <c:v>57.227773743905331</c:v>
                </c:pt>
                <c:pt idx="1040">
                  <c:v>57.227773743905331</c:v>
                </c:pt>
                <c:pt idx="1041">
                  <c:v>57.156239026725451</c:v>
                </c:pt>
                <c:pt idx="1042">
                  <c:v>57.156239026725451</c:v>
                </c:pt>
                <c:pt idx="1043">
                  <c:v>57.156239026725451</c:v>
                </c:pt>
                <c:pt idx="1044">
                  <c:v>58.913936967842474</c:v>
                </c:pt>
                <c:pt idx="1045">
                  <c:v>58.049113130803896</c:v>
                </c:pt>
                <c:pt idx="1046">
                  <c:v>57.980760903631356</c:v>
                </c:pt>
                <c:pt idx="1047">
                  <c:v>58.312024394541936</c:v>
                </c:pt>
                <c:pt idx="1048">
                  <c:v>61.146672902566692</c:v>
                </c:pt>
                <c:pt idx="1049">
                  <c:v>60.208368507835331</c:v>
                </c:pt>
                <c:pt idx="1050">
                  <c:v>59.689833412220544</c:v>
                </c:pt>
                <c:pt idx="1051">
                  <c:v>59.564181979591012</c:v>
                </c:pt>
                <c:pt idx="1052">
                  <c:v>58.388010899252841</c:v>
                </c:pt>
                <c:pt idx="1053">
                  <c:v>58.632603461319164</c:v>
                </c:pt>
                <c:pt idx="1054">
                  <c:v>57.878071243895597</c:v>
                </c:pt>
                <c:pt idx="1055">
                  <c:v>56.774816270309977</c:v>
                </c:pt>
                <c:pt idx="1056">
                  <c:v>56.576784171865199</c:v>
                </c:pt>
                <c:pt idx="1057">
                  <c:v>55.638904826754484</c:v>
                </c:pt>
                <c:pt idx="1058">
                  <c:v>59.869057895975317</c:v>
                </c:pt>
                <c:pt idx="1059">
                  <c:v>59.983509075402822</c:v>
                </c:pt>
                <c:pt idx="1060">
                  <c:v>59.693138285311058</c:v>
                </c:pt>
                <c:pt idx="1061">
                  <c:v>59.766501545868167</c:v>
                </c:pt>
                <c:pt idx="1062">
                  <c:v>60.574993200824814</c:v>
                </c:pt>
                <c:pt idx="1063">
                  <c:v>59.421149393187179</c:v>
                </c:pt>
                <c:pt idx="1064">
                  <c:v>59.322317947452746</c:v>
                </c:pt>
                <c:pt idx="1065">
                  <c:v>60.636461324088486</c:v>
                </c:pt>
                <c:pt idx="1066">
                  <c:v>60.070648929782337</c:v>
                </c:pt>
                <c:pt idx="1067">
                  <c:v>60.600135091251992</c:v>
                </c:pt>
                <c:pt idx="1068">
                  <c:v>60.520968337730828</c:v>
                </c:pt>
                <c:pt idx="1069">
                  <c:v>59.780707429430471</c:v>
                </c:pt>
                <c:pt idx="1070">
                  <c:v>59.339858167543092</c:v>
                </c:pt>
                <c:pt idx="1071">
                  <c:v>57.0239476130822</c:v>
                </c:pt>
                <c:pt idx="1072">
                  <c:v>57.827937997040131</c:v>
                </c:pt>
                <c:pt idx="1073">
                  <c:v>56.998291054849737</c:v>
                </c:pt>
                <c:pt idx="1074">
                  <c:v>54.986181378330855</c:v>
                </c:pt>
                <c:pt idx="1075">
                  <c:v>53.562917561485023</c:v>
                </c:pt>
                <c:pt idx="1076">
                  <c:v>53.086912830247698</c:v>
                </c:pt>
                <c:pt idx="1077">
                  <c:v>52.25824941417352</c:v>
                </c:pt>
                <c:pt idx="1078">
                  <c:v>51.665300229903444</c:v>
                </c:pt>
                <c:pt idx="1079">
                  <c:v>52.018695293443983</c:v>
                </c:pt>
                <c:pt idx="1080">
                  <c:v>52.96370343983012</c:v>
                </c:pt>
                <c:pt idx="1081">
                  <c:v>54.262031469807859</c:v>
                </c:pt>
                <c:pt idx="1082">
                  <c:v>52.249398594052174</c:v>
                </c:pt>
                <c:pt idx="1083">
                  <c:v>52.470257610319905</c:v>
                </c:pt>
                <c:pt idx="1084">
                  <c:v>50.731284189851358</c:v>
                </c:pt>
                <c:pt idx="1085">
                  <c:v>49.860760885071528</c:v>
                </c:pt>
                <c:pt idx="1086">
                  <c:v>48.517918074285795</c:v>
                </c:pt>
                <c:pt idx="1087">
                  <c:v>47.539813453330616</c:v>
                </c:pt>
                <c:pt idx="1088">
                  <c:v>49.366166110022405</c:v>
                </c:pt>
                <c:pt idx="1089">
                  <c:v>47.28982974964719</c:v>
                </c:pt>
                <c:pt idx="1090">
                  <c:v>46.188531475223044</c:v>
                </c:pt>
                <c:pt idx="1091">
                  <c:v>47.340885610553471</c:v>
                </c:pt>
                <c:pt idx="1092">
                  <c:v>45.238906923854927</c:v>
                </c:pt>
                <c:pt idx="1093">
                  <c:v>44.919606814437635</c:v>
                </c:pt>
                <c:pt idx="1094">
                  <c:v>47.542726999156557</c:v>
                </c:pt>
                <c:pt idx="1095">
                  <c:v>51.944554067443832</c:v>
                </c:pt>
                <c:pt idx="1096">
                  <c:v>51.907336313138941</c:v>
                </c:pt>
                <c:pt idx="1097">
                  <c:v>51.380378683889532</c:v>
                </c:pt>
                <c:pt idx="1098">
                  <c:v>53.053758738094295</c:v>
                </c:pt>
                <c:pt idx="1099">
                  <c:v>52.491493814441625</c:v>
                </c:pt>
                <c:pt idx="1100">
                  <c:v>51.543478892088586</c:v>
                </c:pt>
                <c:pt idx="1101">
                  <c:v>51.543478892088586</c:v>
                </c:pt>
                <c:pt idx="1102">
                  <c:v>53.550984893964241</c:v>
                </c:pt>
                <c:pt idx="1103">
                  <c:v>53.37283051007298</c:v>
                </c:pt>
                <c:pt idx="1104">
                  <c:v>61.527787881223773</c:v>
                </c:pt>
                <c:pt idx="1105">
                  <c:v>61.527787881223773</c:v>
                </c:pt>
                <c:pt idx="1106">
                  <c:v>61.450878146372247</c:v>
                </c:pt>
                <c:pt idx="1107">
                  <c:v>61.450878146372247</c:v>
                </c:pt>
                <c:pt idx="1108">
                  <c:v>61.450878146372247</c:v>
                </c:pt>
                <c:pt idx="1109">
                  <c:v>61.450878146372247</c:v>
                </c:pt>
                <c:pt idx="1110">
                  <c:v>61.450878146372247</c:v>
                </c:pt>
                <c:pt idx="1111">
                  <c:v>61.450878146372247</c:v>
                </c:pt>
                <c:pt idx="1112">
                  <c:v>61.374055939697513</c:v>
                </c:pt>
                <c:pt idx="1113">
                  <c:v>59.796933173279271</c:v>
                </c:pt>
                <c:pt idx="1114">
                  <c:v>58.587272687187415</c:v>
                </c:pt>
                <c:pt idx="1115">
                  <c:v>57.479013573119659</c:v>
                </c:pt>
                <c:pt idx="1116">
                  <c:v>59.397186341117482</c:v>
                </c:pt>
                <c:pt idx="1117">
                  <c:v>57.883886074024176</c:v>
                </c:pt>
                <c:pt idx="1118">
                  <c:v>57.509987787523499</c:v>
                </c:pt>
                <c:pt idx="1119">
                  <c:v>56.116124498688741</c:v>
                </c:pt>
                <c:pt idx="1120">
                  <c:v>55.253079986324778</c:v>
                </c:pt>
                <c:pt idx="1121">
                  <c:v>54.782130402791815</c:v>
                </c:pt>
                <c:pt idx="1122">
                  <c:v>54.329085374434321</c:v>
                </c:pt>
                <c:pt idx="1123">
                  <c:v>54.32802982944547</c:v>
                </c:pt>
                <c:pt idx="1124">
                  <c:v>52.02305282590541</c:v>
                </c:pt>
                <c:pt idx="1125">
                  <c:v>51.650302797339684</c:v>
                </c:pt>
                <c:pt idx="1126">
                  <c:v>52.031163631265969</c:v>
                </c:pt>
                <c:pt idx="1127">
                  <c:v>52.311475393414533</c:v>
                </c:pt>
                <c:pt idx="1128">
                  <c:v>52.310853315561211</c:v>
                </c:pt>
                <c:pt idx="1129">
                  <c:v>51.947581219163794</c:v>
                </c:pt>
                <c:pt idx="1130">
                  <c:v>52.066995700354092</c:v>
                </c:pt>
                <c:pt idx="1131">
                  <c:v>50.613021902076433</c:v>
                </c:pt>
                <c:pt idx="1132">
                  <c:v>49.318775464484986</c:v>
                </c:pt>
                <c:pt idx="1133">
                  <c:v>48.541947278540412</c:v>
                </c:pt>
                <c:pt idx="1134">
                  <c:v>49.520996072860015</c:v>
                </c:pt>
                <c:pt idx="1135">
                  <c:v>48.783336783859063</c:v>
                </c:pt>
                <c:pt idx="1136">
                  <c:v>47.678601778049291</c:v>
                </c:pt>
                <c:pt idx="1137">
                  <c:v>48.779334048883889</c:v>
                </c:pt>
                <c:pt idx="1138">
                  <c:v>49.267097744556061</c:v>
                </c:pt>
                <c:pt idx="1139">
                  <c:v>48.775786570542969</c:v>
                </c:pt>
                <c:pt idx="1140">
                  <c:v>48.164380164501758</c:v>
                </c:pt>
                <c:pt idx="1141">
                  <c:v>47.388660069896588</c:v>
                </c:pt>
                <c:pt idx="1142">
                  <c:v>46.990259120520932</c:v>
                </c:pt>
                <c:pt idx="1143">
                  <c:v>46.617493696083031</c:v>
                </c:pt>
                <c:pt idx="1144">
                  <c:v>44.632960829442204</c:v>
                </c:pt>
                <c:pt idx="1145">
                  <c:v>43.264994589850367</c:v>
                </c:pt>
                <c:pt idx="1146">
                  <c:v>44.377802735095393</c:v>
                </c:pt>
                <c:pt idx="1147">
                  <c:v>43.259641620241915</c:v>
                </c:pt>
                <c:pt idx="1148">
                  <c:v>42.637481731085593</c:v>
                </c:pt>
                <c:pt idx="1149">
                  <c:v>42.388249544989918</c:v>
                </c:pt>
                <c:pt idx="1150">
                  <c:v>42.511649284474323</c:v>
                </c:pt>
                <c:pt idx="1151">
                  <c:v>41.395906164733283</c:v>
                </c:pt>
                <c:pt idx="1152">
                  <c:v>41.393516539033811</c:v>
                </c:pt>
                <c:pt idx="1153">
                  <c:v>42.78759912914834</c:v>
                </c:pt>
                <c:pt idx="1154">
                  <c:v>41.819297341203594</c:v>
                </c:pt>
                <c:pt idx="1155">
                  <c:v>41.595207522976985</c:v>
                </c:pt>
                <c:pt idx="1156">
                  <c:v>41.723342076447686</c:v>
                </c:pt>
                <c:pt idx="1157">
                  <c:v>41.605049686822952</c:v>
                </c:pt>
                <c:pt idx="1158">
                  <c:v>41.270179549719117</c:v>
                </c:pt>
                <c:pt idx="1159">
                  <c:v>41.827156177064879</c:v>
                </c:pt>
                <c:pt idx="1160">
                  <c:v>46.956707474821314</c:v>
                </c:pt>
                <c:pt idx="1161">
                  <c:v>46.956707474821314</c:v>
                </c:pt>
                <c:pt idx="1162">
                  <c:v>46.898011590477786</c:v>
                </c:pt>
                <c:pt idx="1163">
                  <c:v>42.238304939832922</c:v>
                </c:pt>
                <c:pt idx="1164">
                  <c:v>42.185507058658132</c:v>
                </c:pt>
                <c:pt idx="1165">
                  <c:v>42.132775174834812</c:v>
                </c:pt>
                <c:pt idx="1166">
                  <c:v>42.132775174834812</c:v>
                </c:pt>
                <c:pt idx="1167">
                  <c:v>42.132775174834812</c:v>
                </c:pt>
                <c:pt idx="1168">
                  <c:v>42.132775174834812</c:v>
                </c:pt>
                <c:pt idx="1169">
                  <c:v>42.132775174834812</c:v>
                </c:pt>
                <c:pt idx="1170">
                  <c:v>42.132775174834812</c:v>
                </c:pt>
                <c:pt idx="1171">
                  <c:v>42.132775174834812</c:v>
                </c:pt>
                <c:pt idx="1172">
                  <c:v>42.132775174834812</c:v>
                </c:pt>
                <c:pt idx="1173">
                  <c:v>42.132775174834812</c:v>
                </c:pt>
                <c:pt idx="1174">
                  <c:v>42.132775174834812</c:v>
                </c:pt>
                <c:pt idx="1175">
                  <c:v>42.132775174834812</c:v>
                </c:pt>
                <c:pt idx="1176">
                  <c:v>42.132775174834812</c:v>
                </c:pt>
                <c:pt idx="1177">
                  <c:v>42.132775174834812</c:v>
                </c:pt>
                <c:pt idx="1178">
                  <c:v>42.132775174834812</c:v>
                </c:pt>
                <c:pt idx="1179">
                  <c:v>42.132775174834812</c:v>
                </c:pt>
                <c:pt idx="1180">
                  <c:v>42.132775174834812</c:v>
                </c:pt>
                <c:pt idx="1181">
                  <c:v>42.132775174834812</c:v>
                </c:pt>
                <c:pt idx="1182">
                  <c:v>42.132775174834812</c:v>
                </c:pt>
                <c:pt idx="1183">
                  <c:v>42.132775174834812</c:v>
                </c:pt>
                <c:pt idx="1184">
                  <c:v>42.132775174834812</c:v>
                </c:pt>
                <c:pt idx="1185">
                  <c:v>42.132775174834812</c:v>
                </c:pt>
                <c:pt idx="1186">
                  <c:v>42.132775174834812</c:v>
                </c:pt>
                <c:pt idx="1187">
                  <c:v>42.132775174834812</c:v>
                </c:pt>
                <c:pt idx="1188">
                  <c:v>42.132775174834812</c:v>
                </c:pt>
                <c:pt idx="1189">
                  <c:v>42.132775174834812</c:v>
                </c:pt>
                <c:pt idx="1190">
                  <c:v>42.132775174834812</c:v>
                </c:pt>
                <c:pt idx="1191">
                  <c:v>42.132775174834812</c:v>
                </c:pt>
                <c:pt idx="1192">
                  <c:v>42.132775174834812</c:v>
                </c:pt>
                <c:pt idx="1193">
                  <c:v>42.132775174834812</c:v>
                </c:pt>
                <c:pt idx="1194">
                  <c:v>42.132775174834812</c:v>
                </c:pt>
                <c:pt idx="1195">
                  <c:v>42.132775174834812</c:v>
                </c:pt>
                <c:pt idx="1196">
                  <c:v>42.132775174834812</c:v>
                </c:pt>
                <c:pt idx="1197">
                  <c:v>42.132775174834812</c:v>
                </c:pt>
                <c:pt idx="1198">
                  <c:v>42.132775174834812</c:v>
                </c:pt>
                <c:pt idx="1199">
                  <c:v>42.132775174834812</c:v>
                </c:pt>
                <c:pt idx="1200">
                  <c:v>42.132775174834812</c:v>
                </c:pt>
                <c:pt idx="1201">
                  <c:v>42.132775174834812</c:v>
                </c:pt>
                <c:pt idx="1202">
                  <c:v>42.132775174834812</c:v>
                </c:pt>
                <c:pt idx="1203">
                  <c:v>42.132775174834812</c:v>
                </c:pt>
                <c:pt idx="1204">
                  <c:v>42.132775174834812</c:v>
                </c:pt>
                <c:pt idx="1205">
                  <c:v>42.132775174834812</c:v>
                </c:pt>
                <c:pt idx="1206">
                  <c:v>42.132775174834812</c:v>
                </c:pt>
                <c:pt idx="1207">
                  <c:v>42.132775174834812</c:v>
                </c:pt>
                <c:pt idx="1208">
                  <c:v>42.132775174834812</c:v>
                </c:pt>
                <c:pt idx="1209">
                  <c:v>42.132775174834812</c:v>
                </c:pt>
                <c:pt idx="1210">
                  <c:v>42.132775174834812</c:v>
                </c:pt>
                <c:pt idx="1211">
                  <c:v>42.132775174834812</c:v>
                </c:pt>
                <c:pt idx="1212">
                  <c:v>42.132775174834812</c:v>
                </c:pt>
                <c:pt idx="1213">
                  <c:v>42.132775174834812</c:v>
                </c:pt>
                <c:pt idx="1214">
                  <c:v>42.132775174834812</c:v>
                </c:pt>
                <c:pt idx="1215">
                  <c:v>42.132775174834812</c:v>
                </c:pt>
                <c:pt idx="1216">
                  <c:v>42.132775174834812</c:v>
                </c:pt>
                <c:pt idx="1217">
                  <c:v>42.132775174834812</c:v>
                </c:pt>
                <c:pt idx="1218">
                  <c:v>42.132775174834812</c:v>
                </c:pt>
                <c:pt idx="1219">
                  <c:v>42.132775174834812</c:v>
                </c:pt>
                <c:pt idx="1220">
                  <c:v>42.132775174834812</c:v>
                </c:pt>
                <c:pt idx="1221">
                  <c:v>42.132775174834812</c:v>
                </c:pt>
                <c:pt idx="1222">
                  <c:v>42.132775174834812</c:v>
                </c:pt>
                <c:pt idx="1223">
                  <c:v>42.132775174834812</c:v>
                </c:pt>
                <c:pt idx="1224">
                  <c:v>42.132775174834812</c:v>
                </c:pt>
                <c:pt idx="1225">
                  <c:v>42.132775174834812</c:v>
                </c:pt>
                <c:pt idx="1226">
                  <c:v>42.132775174834812</c:v>
                </c:pt>
                <c:pt idx="1227">
                  <c:v>42.132775174834812</c:v>
                </c:pt>
                <c:pt idx="1228">
                  <c:v>42.132775174834812</c:v>
                </c:pt>
                <c:pt idx="1229">
                  <c:v>42.132775174834812</c:v>
                </c:pt>
                <c:pt idx="1230">
                  <c:v>42.132775174834812</c:v>
                </c:pt>
                <c:pt idx="1231">
                  <c:v>42.132775174834812</c:v>
                </c:pt>
                <c:pt idx="1232">
                  <c:v>42.132775174834812</c:v>
                </c:pt>
                <c:pt idx="1233">
                  <c:v>42.404014200449488</c:v>
                </c:pt>
                <c:pt idx="1234">
                  <c:v>42.351009182698931</c:v>
                </c:pt>
                <c:pt idx="1235">
                  <c:v>42.298070421220558</c:v>
                </c:pt>
                <c:pt idx="1236">
                  <c:v>42.298070421220558</c:v>
                </c:pt>
                <c:pt idx="1237">
                  <c:v>42.298070421220558</c:v>
                </c:pt>
                <c:pt idx="1238">
                  <c:v>42.298070421220558</c:v>
                </c:pt>
                <c:pt idx="1239">
                  <c:v>42.298070421220558</c:v>
                </c:pt>
                <c:pt idx="1240">
                  <c:v>42.298070421220558</c:v>
                </c:pt>
                <c:pt idx="1241">
                  <c:v>42.298070421220558</c:v>
                </c:pt>
                <c:pt idx="1242">
                  <c:v>42.298070421220558</c:v>
                </c:pt>
                <c:pt idx="1243">
                  <c:v>42.298070421220558</c:v>
                </c:pt>
                <c:pt idx="1244">
                  <c:v>42.298070421220558</c:v>
                </c:pt>
                <c:pt idx="1245">
                  <c:v>42.298070421220558</c:v>
                </c:pt>
                <c:pt idx="1246">
                  <c:v>42.298070421220558</c:v>
                </c:pt>
                <c:pt idx="1247">
                  <c:v>42.298070421220558</c:v>
                </c:pt>
                <c:pt idx="1248">
                  <c:v>42.298070421220558</c:v>
                </c:pt>
                <c:pt idx="1249">
                  <c:v>42.298070421220558</c:v>
                </c:pt>
                <c:pt idx="1250">
                  <c:v>41.198427063294261</c:v>
                </c:pt>
                <c:pt idx="1251">
                  <c:v>38.820728956459071</c:v>
                </c:pt>
                <c:pt idx="1252">
                  <c:v>40.214146427195843</c:v>
                </c:pt>
                <c:pt idx="1253">
                  <c:v>39.224111701591248</c:v>
                </c:pt>
                <c:pt idx="1254">
                  <c:v>39.05753388096484</c:v>
                </c:pt>
                <c:pt idx="1255">
                  <c:v>38.277441198833962</c:v>
                </c:pt>
                <c:pt idx="1256">
                  <c:v>36.432768517099625</c:v>
                </c:pt>
                <c:pt idx="1257">
                  <c:v>36.428909334774673</c:v>
                </c:pt>
                <c:pt idx="1258">
                  <c:v>35.72017740519096</c:v>
                </c:pt>
                <c:pt idx="1259">
                  <c:v>35.576902832489779</c:v>
                </c:pt>
                <c:pt idx="1260">
                  <c:v>35.505720718009606</c:v>
                </c:pt>
                <c:pt idx="1261">
                  <c:v>34.513389662178348</c:v>
                </c:pt>
                <c:pt idx="1262">
                  <c:v>34.653005608963838</c:v>
                </c:pt>
                <c:pt idx="1263">
                  <c:v>35.361344657004331</c:v>
                </c:pt>
                <c:pt idx="1264">
                  <c:v>36.564448614377746</c:v>
                </c:pt>
                <c:pt idx="1265">
                  <c:v>35.550428543245523</c:v>
                </c:pt>
                <c:pt idx="1266">
                  <c:v>35.409859184648141</c:v>
                </c:pt>
                <c:pt idx="1267">
                  <c:v>35.294421448840566</c:v>
                </c:pt>
                <c:pt idx="1268">
                  <c:v>35.553151922750644</c:v>
                </c:pt>
                <c:pt idx="1269">
                  <c:v>35.98713558278709</c:v>
                </c:pt>
                <c:pt idx="1270">
                  <c:v>35.937890339639488</c:v>
                </c:pt>
                <c:pt idx="1271">
                  <c:v>35.42760325236349</c:v>
                </c:pt>
                <c:pt idx="1272">
                  <c:v>35.429155966664823</c:v>
                </c:pt>
                <c:pt idx="1273">
                  <c:v>35.679294036018867</c:v>
                </c:pt>
                <c:pt idx="1274">
                  <c:v>35.103702652041385</c:v>
                </c:pt>
                <c:pt idx="1275">
                  <c:v>33.573129448177959</c:v>
                </c:pt>
                <c:pt idx="1276">
                  <c:v>32.57571983557618</c:v>
                </c:pt>
                <c:pt idx="1277">
                  <c:v>31.579504540486166</c:v>
                </c:pt>
                <c:pt idx="1278">
                  <c:v>31.577384417714921</c:v>
                </c:pt>
                <c:pt idx="1279">
                  <c:v>32.953635770661506</c:v>
                </c:pt>
                <c:pt idx="1280">
                  <c:v>32.746216580209492</c:v>
                </c:pt>
                <c:pt idx="1281">
                  <c:v>31.724578615534558</c:v>
                </c:pt>
                <c:pt idx="1282">
                  <c:v>32.417678031257026</c:v>
                </c:pt>
                <c:pt idx="1283">
                  <c:v>30.715154390902168</c:v>
                </c:pt>
                <c:pt idx="1284">
                  <c:v>30.380302225331402</c:v>
                </c:pt>
                <c:pt idx="1285">
                  <c:v>29.094194517570191</c:v>
                </c:pt>
                <c:pt idx="1286">
                  <c:v>28.884747615730976</c:v>
                </c:pt>
                <c:pt idx="1287">
                  <c:v>29.504728653710636</c:v>
                </c:pt>
                <c:pt idx="1288">
                  <c:v>30.123761451124583</c:v>
                </c:pt>
                <c:pt idx="1289">
                  <c:v>29.98450074223679</c:v>
                </c:pt>
                <c:pt idx="1290">
                  <c:v>29.965442411008471</c:v>
                </c:pt>
                <c:pt idx="1291">
                  <c:v>29.796128574055881</c:v>
                </c:pt>
                <c:pt idx="1292">
                  <c:v>29.517707953320421</c:v>
                </c:pt>
                <c:pt idx="1293">
                  <c:v>28.861208295515151</c:v>
                </c:pt>
                <c:pt idx="1294">
                  <c:v>27.13869625550733</c:v>
                </c:pt>
                <c:pt idx="1295">
                  <c:v>27.202065111879303</c:v>
                </c:pt>
                <c:pt idx="1296">
                  <c:v>27.421867679822931</c:v>
                </c:pt>
                <c:pt idx="1297">
                  <c:v>27.714659865798883</c:v>
                </c:pt>
                <c:pt idx="1298">
                  <c:v>27.347413191078939</c:v>
                </c:pt>
                <c:pt idx="1299">
                  <c:v>27.786525164260489</c:v>
                </c:pt>
                <c:pt idx="1300">
                  <c:v>29.369569352063166</c:v>
                </c:pt>
                <c:pt idx="1301">
                  <c:v>28.996019151350655</c:v>
                </c:pt>
                <c:pt idx="1302">
                  <c:v>28.103761820587945</c:v>
                </c:pt>
                <c:pt idx="1303">
                  <c:v>28.474426776583858</c:v>
                </c:pt>
                <c:pt idx="1304">
                  <c:v>30.428517707427485</c:v>
                </c:pt>
                <c:pt idx="1305">
                  <c:v>30.79047247087091</c:v>
                </c:pt>
                <c:pt idx="1306">
                  <c:v>29.988314673315344</c:v>
                </c:pt>
                <c:pt idx="1307">
                  <c:v>31.36347445447111</c:v>
                </c:pt>
                <c:pt idx="1308">
                  <c:v>29.926331219522538</c:v>
                </c:pt>
                <c:pt idx="1309">
                  <c:v>30.97324785737116</c:v>
                </c:pt>
                <c:pt idx="1310">
                  <c:v>31.232571853901604</c:v>
                </c:pt>
                <c:pt idx="1311">
                  <c:v>31.049587154651793</c:v>
                </c:pt>
                <c:pt idx="1312">
                  <c:v>31.049587154651793</c:v>
                </c:pt>
                <c:pt idx="1313">
                  <c:v>31.010775170708477</c:v>
                </c:pt>
                <c:pt idx="1314">
                  <c:v>31.507843466054702</c:v>
                </c:pt>
                <c:pt idx="1315">
                  <c:v>31.001824115827649</c:v>
                </c:pt>
                <c:pt idx="1316">
                  <c:v>30.973628081236612</c:v>
                </c:pt>
                <c:pt idx="1317">
                  <c:v>30.303412083703574</c:v>
                </c:pt>
                <c:pt idx="1318">
                  <c:v>29.968972686824259</c:v>
                </c:pt>
                <c:pt idx="1319">
                  <c:v>30.05149307762062</c:v>
                </c:pt>
                <c:pt idx="1320">
                  <c:v>30.467534080171468</c:v>
                </c:pt>
                <c:pt idx="1321">
                  <c:v>31.071135288215117</c:v>
                </c:pt>
                <c:pt idx="1322">
                  <c:v>31.417730368570368</c:v>
                </c:pt>
                <c:pt idx="1323">
                  <c:v>31.251882916867249</c:v>
                </c:pt>
                <c:pt idx="1324">
                  <c:v>31.327284061955048</c:v>
                </c:pt>
                <c:pt idx="1325">
                  <c:v>31.250475096475963</c:v>
                </c:pt>
                <c:pt idx="1326">
                  <c:v>31.134794323996537</c:v>
                </c:pt>
                <c:pt idx="1327">
                  <c:v>31.112333538654276</c:v>
                </c:pt>
                <c:pt idx="1328">
                  <c:v>31.762489488172697</c:v>
                </c:pt>
                <c:pt idx="1329">
                  <c:v>32.387116348284088</c:v>
                </c:pt>
                <c:pt idx="1330">
                  <c:v>32.385905202226702</c:v>
                </c:pt>
                <c:pt idx="1331">
                  <c:v>32.471923294047556</c:v>
                </c:pt>
                <c:pt idx="1332">
                  <c:v>32.543990516710323</c:v>
                </c:pt>
                <c:pt idx="1333">
                  <c:v>32.628165127476557</c:v>
                </c:pt>
                <c:pt idx="1334">
                  <c:v>32.708469168601006</c:v>
                </c:pt>
                <c:pt idx="1335">
                  <c:v>32.454891332287154</c:v>
                </c:pt>
                <c:pt idx="1336">
                  <c:v>31.745914578706614</c:v>
                </c:pt>
                <c:pt idx="1337">
                  <c:v>31.659571271467954</c:v>
                </c:pt>
                <c:pt idx="1338">
                  <c:v>31.744261789304577</c:v>
                </c:pt>
                <c:pt idx="1339">
                  <c:v>31.659198311470718</c:v>
                </c:pt>
                <c:pt idx="1340">
                  <c:v>30.470734424453692</c:v>
                </c:pt>
                <c:pt idx="1341">
                  <c:v>28.855560345223925</c:v>
                </c:pt>
                <c:pt idx="1342">
                  <c:v>28.767332731038874</c:v>
                </c:pt>
                <c:pt idx="1343">
                  <c:v>27.425664903941392</c:v>
                </c:pt>
                <c:pt idx="1344">
                  <c:v>26.603060257007932</c:v>
                </c:pt>
                <c:pt idx="1345">
                  <c:v>27.942641533193726</c:v>
                </c:pt>
                <c:pt idx="1346">
                  <c:v>27.790515233558828</c:v>
                </c:pt>
                <c:pt idx="1347">
                  <c:v>28.088209480599815</c:v>
                </c:pt>
                <c:pt idx="1348">
                  <c:v>27.41700887451497</c:v>
                </c:pt>
                <c:pt idx="1349">
                  <c:v>27.129270532719339</c:v>
                </c:pt>
                <c:pt idx="1350">
                  <c:v>26.157524388304005</c:v>
                </c:pt>
                <c:pt idx="1351">
                  <c:v>25.708328211242936</c:v>
                </c:pt>
                <c:pt idx="1352">
                  <c:v>28.911591429216369</c:v>
                </c:pt>
                <c:pt idx="1353">
                  <c:v>28.456579261799611</c:v>
                </c:pt>
                <c:pt idx="1354">
                  <c:v>30.019844448623836</c:v>
                </c:pt>
                <c:pt idx="1355">
                  <c:v>29.892339776609994</c:v>
                </c:pt>
                <c:pt idx="1356">
                  <c:v>29.604147443221866</c:v>
                </c:pt>
                <c:pt idx="1357">
                  <c:v>29.417627878125518</c:v>
                </c:pt>
                <c:pt idx="1358">
                  <c:v>29.168492957420359</c:v>
                </c:pt>
                <c:pt idx="1359">
                  <c:v>29.031111911871889</c:v>
                </c:pt>
                <c:pt idx="1360">
                  <c:v>29.022343910031339</c:v>
                </c:pt>
                <c:pt idx="1361">
                  <c:v>29.090290968053353</c:v>
                </c:pt>
                <c:pt idx="1362">
                  <c:v>28.776758295125902</c:v>
                </c:pt>
                <c:pt idx="1363">
                  <c:v>28.526950983079566</c:v>
                </c:pt>
                <c:pt idx="1364">
                  <c:v>28.766101180899682</c:v>
                </c:pt>
                <c:pt idx="1365">
                  <c:v>29.063763783925314</c:v>
                </c:pt>
                <c:pt idx="1366">
                  <c:v>29.140579516014576</c:v>
                </c:pt>
                <c:pt idx="1367">
                  <c:v>29.121032919299729</c:v>
                </c:pt>
                <c:pt idx="1368">
                  <c:v>28.187428805163854</c:v>
                </c:pt>
                <c:pt idx="1369">
                  <c:v>28.187428805163854</c:v>
                </c:pt>
                <c:pt idx="1370">
                  <c:v>28.152194519157401</c:v>
                </c:pt>
                <c:pt idx="1371">
                  <c:v>28.152194519157401</c:v>
                </c:pt>
                <c:pt idx="1372">
                  <c:v>28.152194519157401</c:v>
                </c:pt>
                <c:pt idx="1373">
                  <c:v>28.152194519157401</c:v>
                </c:pt>
                <c:pt idx="1374">
                  <c:v>28.152194519157401</c:v>
                </c:pt>
                <c:pt idx="1375">
                  <c:v>28.152194519157401</c:v>
                </c:pt>
                <c:pt idx="1376">
                  <c:v>28.152194519157401</c:v>
                </c:pt>
                <c:pt idx="1377">
                  <c:v>28.152194519157401</c:v>
                </c:pt>
                <c:pt idx="1378">
                  <c:v>28.152194519157401</c:v>
                </c:pt>
                <c:pt idx="1379">
                  <c:v>28.152194519157401</c:v>
                </c:pt>
                <c:pt idx="1380">
                  <c:v>28.152194519157401</c:v>
                </c:pt>
                <c:pt idx="1381">
                  <c:v>28.152194519157401</c:v>
                </c:pt>
                <c:pt idx="1382">
                  <c:v>28.152194519157401</c:v>
                </c:pt>
                <c:pt idx="1383">
                  <c:v>28.152194519157401</c:v>
                </c:pt>
                <c:pt idx="1384">
                  <c:v>28.152194519157401</c:v>
                </c:pt>
                <c:pt idx="1385">
                  <c:v>28.152194519157401</c:v>
                </c:pt>
                <c:pt idx="1386">
                  <c:v>28.152194519157401</c:v>
                </c:pt>
                <c:pt idx="1387">
                  <c:v>28.152194519157401</c:v>
                </c:pt>
                <c:pt idx="1388">
                  <c:v>28.152194519157401</c:v>
                </c:pt>
                <c:pt idx="1389">
                  <c:v>28.152194519157401</c:v>
                </c:pt>
                <c:pt idx="1390">
                  <c:v>28.152194519157401</c:v>
                </c:pt>
                <c:pt idx="1391">
                  <c:v>28.152194519157401</c:v>
                </c:pt>
                <c:pt idx="1392">
                  <c:v>28.152194519157401</c:v>
                </c:pt>
                <c:pt idx="1393">
                  <c:v>28.152194519157401</c:v>
                </c:pt>
                <c:pt idx="1394">
                  <c:v>28.152194519157401</c:v>
                </c:pt>
                <c:pt idx="1395">
                  <c:v>28.215994616669128</c:v>
                </c:pt>
                <c:pt idx="1396">
                  <c:v>27.815069782558481</c:v>
                </c:pt>
                <c:pt idx="1397">
                  <c:v>27.303237043726284</c:v>
                </c:pt>
                <c:pt idx="1398">
                  <c:v>27.104187711996786</c:v>
                </c:pt>
                <c:pt idx="1399">
                  <c:v>26.804468000012974</c:v>
                </c:pt>
                <c:pt idx="1400">
                  <c:v>26.868959430587637</c:v>
                </c:pt>
                <c:pt idx="1401">
                  <c:v>27.215742396129865</c:v>
                </c:pt>
                <c:pt idx="1402">
                  <c:v>26.898936275603063</c:v>
                </c:pt>
                <c:pt idx="1403">
                  <c:v>27.065691979761201</c:v>
                </c:pt>
                <c:pt idx="1404">
                  <c:v>26.761555658484522</c:v>
                </c:pt>
                <c:pt idx="1405">
                  <c:v>26.708546079974756</c:v>
                </c:pt>
                <c:pt idx="1406">
                  <c:v>26.302937367439732</c:v>
                </c:pt>
                <c:pt idx="1407">
                  <c:v>27.013214306368987</c:v>
                </c:pt>
                <c:pt idx="1408">
                  <c:v>25.540533247743817</c:v>
                </c:pt>
                <c:pt idx="1409">
                  <c:v>24.378649082870854</c:v>
                </c:pt>
                <c:pt idx="1410">
                  <c:v>24.035761765398146</c:v>
                </c:pt>
                <c:pt idx="1411">
                  <c:v>23.430783649078023</c:v>
                </c:pt>
                <c:pt idx="1412">
                  <c:v>23.228077434586762</c:v>
                </c:pt>
                <c:pt idx="1413">
                  <c:v>22.824839988025197</c:v>
                </c:pt>
                <c:pt idx="1414">
                  <c:v>22.488308388089692</c:v>
                </c:pt>
                <c:pt idx="1415">
                  <c:v>22.420453823415162</c:v>
                </c:pt>
                <c:pt idx="1416">
                  <c:v>23.158698869775854</c:v>
                </c:pt>
                <c:pt idx="1417">
                  <c:v>23.761166134495895</c:v>
                </c:pt>
                <c:pt idx="1418">
                  <c:v>24.095413543641456</c:v>
                </c:pt>
                <c:pt idx="1419">
                  <c:v>23.826970479033989</c:v>
                </c:pt>
                <c:pt idx="1420">
                  <c:v>23.991797733595863</c:v>
                </c:pt>
                <c:pt idx="1421">
                  <c:v>24.916668746067693</c:v>
                </c:pt>
                <c:pt idx="1422">
                  <c:v>26.056868216891008</c:v>
                </c:pt>
                <c:pt idx="1423">
                  <c:v>25.997233142748918</c:v>
                </c:pt>
                <c:pt idx="1424">
                  <c:v>25.108368496084196</c:v>
                </c:pt>
                <c:pt idx="1425">
                  <c:v>25.208890053918307</c:v>
                </c:pt>
                <c:pt idx="1426">
                  <c:v>25.712736290311213</c:v>
                </c:pt>
                <c:pt idx="1427">
                  <c:v>25.322955333543831</c:v>
                </c:pt>
                <c:pt idx="1428">
                  <c:v>25.102952102436209</c:v>
                </c:pt>
                <c:pt idx="1429">
                  <c:v>24.726895714827762</c:v>
                </c:pt>
                <c:pt idx="1430">
                  <c:v>25.266584853333129</c:v>
                </c:pt>
                <c:pt idx="1431">
                  <c:v>25.965233457575106</c:v>
                </c:pt>
                <c:pt idx="1432">
                  <c:v>25.63932378746081</c:v>
                </c:pt>
                <c:pt idx="1433">
                  <c:v>25.691824592155722</c:v>
                </c:pt>
                <c:pt idx="1434">
                  <c:v>25.484503911601173</c:v>
                </c:pt>
                <c:pt idx="1435">
                  <c:v>25.069695613743683</c:v>
                </c:pt>
                <c:pt idx="1436">
                  <c:v>24.249030656132504</c:v>
                </c:pt>
                <c:pt idx="1437">
                  <c:v>26.298593387910678</c:v>
                </c:pt>
                <c:pt idx="1438">
                  <c:v>26.073936665631916</c:v>
                </c:pt>
                <c:pt idx="1439">
                  <c:v>25.943435633317577</c:v>
                </c:pt>
                <c:pt idx="1440">
                  <c:v>25.897833168726191</c:v>
                </c:pt>
                <c:pt idx="1441">
                  <c:v>25.92614991999454</c:v>
                </c:pt>
                <c:pt idx="1442">
                  <c:v>25.577399333777326</c:v>
                </c:pt>
                <c:pt idx="1443">
                  <c:v>25.577399333777326</c:v>
                </c:pt>
                <c:pt idx="1444">
                  <c:v>24.710902086493306</c:v>
                </c:pt>
                <c:pt idx="1445">
                  <c:v>24.680013458885188</c:v>
                </c:pt>
                <c:pt idx="1446">
                  <c:v>24.649163442061582</c:v>
                </c:pt>
                <c:pt idx="1447">
                  <c:v>22.38848355512404</c:v>
                </c:pt>
                <c:pt idx="1448">
                  <c:v>22.360497950680134</c:v>
                </c:pt>
                <c:pt idx="1449">
                  <c:v>22.332547328241784</c:v>
                </c:pt>
                <c:pt idx="1450">
                  <c:v>22.332547328241784</c:v>
                </c:pt>
                <c:pt idx="1451">
                  <c:v>22.332547328241784</c:v>
                </c:pt>
                <c:pt idx="1452">
                  <c:v>22.332547328241784</c:v>
                </c:pt>
                <c:pt idx="1453">
                  <c:v>22.332547328241784</c:v>
                </c:pt>
                <c:pt idx="1454">
                  <c:v>22.332547328241784</c:v>
                </c:pt>
                <c:pt idx="1455">
                  <c:v>22.332547328241784</c:v>
                </c:pt>
                <c:pt idx="1456">
                  <c:v>22.332547328241784</c:v>
                </c:pt>
                <c:pt idx="1457">
                  <c:v>22.332547328241784</c:v>
                </c:pt>
                <c:pt idx="1458">
                  <c:v>21.535839357683837</c:v>
                </c:pt>
                <c:pt idx="1459">
                  <c:v>20.584525680290749</c:v>
                </c:pt>
                <c:pt idx="1460">
                  <c:v>20.582606774168092</c:v>
                </c:pt>
                <c:pt idx="1461">
                  <c:v>20.946901244854192</c:v>
                </c:pt>
                <c:pt idx="1462">
                  <c:v>20.338932726802572</c:v>
                </c:pt>
                <c:pt idx="1463">
                  <c:v>20.762627790512202</c:v>
                </c:pt>
                <c:pt idx="1464">
                  <c:v>22.886500756750824</c:v>
                </c:pt>
                <c:pt idx="1465">
                  <c:v>23.697049444616852</c:v>
                </c:pt>
                <c:pt idx="1466">
                  <c:v>23.697049444616852</c:v>
                </c:pt>
                <c:pt idx="1467">
                  <c:v>23.667428132811082</c:v>
                </c:pt>
                <c:pt idx="1468">
                  <c:v>23.667428132811082</c:v>
                </c:pt>
                <c:pt idx="1469">
                  <c:v>23.667428132811082</c:v>
                </c:pt>
                <c:pt idx="1470">
                  <c:v>23.667428132811082</c:v>
                </c:pt>
                <c:pt idx="1471">
                  <c:v>23.667428132811082</c:v>
                </c:pt>
                <c:pt idx="1472">
                  <c:v>23.667428132811082</c:v>
                </c:pt>
                <c:pt idx="1473">
                  <c:v>23.653680419430742</c:v>
                </c:pt>
                <c:pt idx="1474">
                  <c:v>24.638077420461695</c:v>
                </c:pt>
                <c:pt idx="1475">
                  <c:v>24.638077420461695</c:v>
                </c:pt>
                <c:pt idx="1476">
                  <c:v>24.607279823686117</c:v>
                </c:pt>
                <c:pt idx="1477">
                  <c:v>24.607279823686117</c:v>
                </c:pt>
                <c:pt idx="1478">
                  <c:v>24.607279823686117</c:v>
                </c:pt>
                <c:pt idx="1479">
                  <c:v>24.607279823686117</c:v>
                </c:pt>
                <c:pt idx="1480">
                  <c:v>24.607279823686117</c:v>
                </c:pt>
                <c:pt idx="1481">
                  <c:v>24.607279823686117</c:v>
                </c:pt>
                <c:pt idx="1482">
                  <c:v>24.607279823686117</c:v>
                </c:pt>
                <c:pt idx="1483">
                  <c:v>24.607279823686117</c:v>
                </c:pt>
                <c:pt idx="1484">
                  <c:v>24.607279823686117</c:v>
                </c:pt>
                <c:pt idx="1485">
                  <c:v>24.607279823686117</c:v>
                </c:pt>
                <c:pt idx="1486">
                  <c:v>24.607279823686117</c:v>
                </c:pt>
                <c:pt idx="1487">
                  <c:v>24.607279823686117</c:v>
                </c:pt>
                <c:pt idx="1488">
                  <c:v>24.607279823686117</c:v>
                </c:pt>
                <c:pt idx="1489">
                  <c:v>24.607279823686117</c:v>
                </c:pt>
                <c:pt idx="1490">
                  <c:v>24.607279823686117</c:v>
                </c:pt>
                <c:pt idx="1491">
                  <c:v>24.607279823686117</c:v>
                </c:pt>
                <c:pt idx="1492">
                  <c:v>24.607279823686117</c:v>
                </c:pt>
                <c:pt idx="1493">
                  <c:v>24.607279823686117</c:v>
                </c:pt>
                <c:pt idx="1494">
                  <c:v>24.607279823686117</c:v>
                </c:pt>
                <c:pt idx="1495">
                  <c:v>24.607279823686117</c:v>
                </c:pt>
                <c:pt idx="1496">
                  <c:v>24.607279823686117</c:v>
                </c:pt>
                <c:pt idx="1497">
                  <c:v>24.607279823686117</c:v>
                </c:pt>
                <c:pt idx="1498">
                  <c:v>24.607279823686117</c:v>
                </c:pt>
                <c:pt idx="1499">
                  <c:v>24.607279823686117</c:v>
                </c:pt>
                <c:pt idx="1500">
                  <c:v>24.607279823686117</c:v>
                </c:pt>
                <c:pt idx="1501">
                  <c:v>24.607279823686117</c:v>
                </c:pt>
                <c:pt idx="1502">
                  <c:v>24.607279823686117</c:v>
                </c:pt>
                <c:pt idx="1503">
                  <c:v>24.607279823686117</c:v>
                </c:pt>
                <c:pt idx="1504">
                  <c:v>24.607279823686117</c:v>
                </c:pt>
                <c:pt idx="1505">
                  <c:v>24.607279823686117</c:v>
                </c:pt>
                <c:pt idx="1506">
                  <c:v>24.607279823686117</c:v>
                </c:pt>
                <c:pt idx="1507">
                  <c:v>24.607279823686117</c:v>
                </c:pt>
                <c:pt idx="1508">
                  <c:v>24.607279823686117</c:v>
                </c:pt>
                <c:pt idx="1509">
                  <c:v>24.607279823686117</c:v>
                </c:pt>
                <c:pt idx="1510">
                  <c:v>24.607279823686117</c:v>
                </c:pt>
                <c:pt idx="1511">
                  <c:v>24.607279823686117</c:v>
                </c:pt>
                <c:pt idx="1512">
                  <c:v>24.607279823686117</c:v>
                </c:pt>
                <c:pt idx="1513">
                  <c:v>24.607279823686117</c:v>
                </c:pt>
                <c:pt idx="1514">
                  <c:v>24.607279823686117</c:v>
                </c:pt>
                <c:pt idx="1515">
                  <c:v>24.607279823686117</c:v>
                </c:pt>
                <c:pt idx="1516">
                  <c:v>24.607279823686117</c:v>
                </c:pt>
                <c:pt idx="1517">
                  <c:v>24.607279823686117</c:v>
                </c:pt>
                <c:pt idx="1518">
                  <c:v>24.607279823686117</c:v>
                </c:pt>
                <c:pt idx="1519">
                  <c:v>24.607279823686117</c:v>
                </c:pt>
                <c:pt idx="1520">
                  <c:v>24.607279823686117</c:v>
                </c:pt>
                <c:pt idx="1521">
                  <c:v>24.607279823686117</c:v>
                </c:pt>
                <c:pt idx="1522">
                  <c:v>24.607279823686117</c:v>
                </c:pt>
                <c:pt idx="1523">
                  <c:v>24.607279823686117</c:v>
                </c:pt>
                <c:pt idx="1524">
                  <c:v>24.607279823686117</c:v>
                </c:pt>
                <c:pt idx="1525">
                  <c:v>24.607279823686117</c:v>
                </c:pt>
                <c:pt idx="1526">
                  <c:v>24.607279823686117</c:v>
                </c:pt>
                <c:pt idx="1527">
                  <c:v>24.607279823686117</c:v>
                </c:pt>
                <c:pt idx="1528">
                  <c:v>24.607279823686117</c:v>
                </c:pt>
                <c:pt idx="1529">
                  <c:v>24.607279823686117</c:v>
                </c:pt>
                <c:pt idx="1530">
                  <c:v>24.607279823686117</c:v>
                </c:pt>
                <c:pt idx="1531">
                  <c:v>24.607279823686117</c:v>
                </c:pt>
                <c:pt idx="1532">
                  <c:v>24.607279823686117</c:v>
                </c:pt>
                <c:pt idx="1533">
                  <c:v>24.607279823686117</c:v>
                </c:pt>
                <c:pt idx="1534">
                  <c:v>24.607279823686117</c:v>
                </c:pt>
                <c:pt idx="1535">
                  <c:v>24.607279823686117</c:v>
                </c:pt>
                <c:pt idx="1536">
                  <c:v>24.607279823686117</c:v>
                </c:pt>
                <c:pt idx="1537">
                  <c:v>24.607279823686117</c:v>
                </c:pt>
                <c:pt idx="1538">
                  <c:v>24.607279823686117</c:v>
                </c:pt>
                <c:pt idx="1539">
                  <c:v>24.607279823686117</c:v>
                </c:pt>
                <c:pt idx="1540">
                  <c:v>24.607279823686117</c:v>
                </c:pt>
                <c:pt idx="1541">
                  <c:v>24.607279823686117</c:v>
                </c:pt>
                <c:pt idx="1542">
                  <c:v>24.607279823686117</c:v>
                </c:pt>
                <c:pt idx="1543">
                  <c:v>24.607279823686117</c:v>
                </c:pt>
                <c:pt idx="1544">
                  <c:v>24.607279823686117</c:v>
                </c:pt>
                <c:pt idx="1545">
                  <c:v>24.607279823686117</c:v>
                </c:pt>
                <c:pt idx="1546">
                  <c:v>24.607279823686117</c:v>
                </c:pt>
                <c:pt idx="1547">
                  <c:v>24.607279823686117</c:v>
                </c:pt>
                <c:pt idx="1548">
                  <c:v>24.607279823686117</c:v>
                </c:pt>
                <c:pt idx="1549">
                  <c:v>24.607279823686117</c:v>
                </c:pt>
                <c:pt idx="1550">
                  <c:v>24.607279823686117</c:v>
                </c:pt>
                <c:pt idx="1551">
                  <c:v>24.607279823686117</c:v>
                </c:pt>
                <c:pt idx="1552">
                  <c:v>24.607279823686117</c:v>
                </c:pt>
                <c:pt idx="1553">
                  <c:v>24.607279823686117</c:v>
                </c:pt>
                <c:pt idx="1554">
                  <c:v>24.607279823686117</c:v>
                </c:pt>
                <c:pt idx="1555">
                  <c:v>24.607279823686117</c:v>
                </c:pt>
                <c:pt idx="1556">
                  <c:v>24.607279823686117</c:v>
                </c:pt>
                <c:pt idx="1557">
                  <c:v>24.607279823686117</c:v>
                </c:pt>
                <c:pt idx="1558">
                  <c:v>24.607279823686117</c:v>
                </c:pt>
                <c:pt idx="1559">
                  <c:v>24.607279823686117</c:v>
                </c:pt>
                <c:pt idx="1560">
                  <c:v>24.607279823686117</c:v>
                </c:pt>
                <c:pt idx="1561">
                  <c:v>24.607279823686117</c:v>
                </c:pt>
                <c:pt idx="1562">
                  <c:v>24.607279823686117</c:v>
                </c:pt>
                <c:pt idx="1563">
                  <c:v>24.607279823686117</c:v>
                </c:pt>
                <c:pt idx="1564">
                  <c:v>24.607279823686117</c:v>
                </c:pt>
                <c:pt idx="1565">
                  <c:v>24.607279823686117</c:v>
                </c:pt>
                <c:pt idx="1566">
                  <c:v>24.607279823686117</c:v>
                </c:pt>
                <c:pt idx="1567">
                  <c:v>24.607279823686117</c:v>
                </c:pt>
                <c:pt idx="1568">
                  <c:v>24.607279823686117</c:v>
                </c:pt>
                <c:pt idx="1569">
                  <c:v>24.607279823686117</c:v>
                </c:pt>
                <c:pt idx="1570">
                  <c:v>24.607279823686117</c:v>
                </c:pt>
                <c:pt idx="1571">
                  <c:v>24.607279823686117</c:v>
                </c:pt>
                <c:pt idx="1572">
                  <c:v>24.607279823686117</c:v>
                </c:pt>
                <c:pt idx="1573">
                  <c:v>24.607279823686117</c:v>
                </c:pt>
                <c:pt idx="1574">
                  <c:v>24.607279823686117</c:v>
                </c:pt>
                <c:pt idx="1575">
                  <c:v>24.607279823686117</c:v>
                </c:pt>
                <c:pt idx="1576">
                  <c:v>24.607279823686117</c:v>
                </c:pt>
                <c:pt idx="1577">
                  <c:v>24.607279823686117</c:v>
                </c:pt>
                <c:pt idx="1578">
                  <c:v>24.607279823686117</c:v>
                </c:pt>
                <c:pt idx="1579">
                  <c:v>24.607279823686117</c:v>
                </c:pt>
                <c:pt idx="1580">
                  <c:v>24.607279823686117</c:v>
                </c:pt>
                <c:pt idx="1581">
                  <c:v>24.607279823686117</c:v>
                </c:pt>
                <c:pt idx="1582">
                  <c:v>24.607279823686117</c:v>
                </c:pt>
                <c:pt idx="1583">
                  <c:v>24.607279823686117</c:v>
                </c:pt>
                <c:pt idx="1584">
                  <c:v>24.607279823686117</c:v>
                </c:pt>
                <c:pt idx="1585">
                  <c:v>24.607279823686117</c:v>
                </c:pt>
                <c:pt idx="1586">
                  <c:v>24.607279823686117</c:v>
                </c:pt>
                <c:pt idx="1587">
                  <c:v>24.607279823686117</c:v>
                </c:pt>
                <c:pt idx="1588">
                  <c:v>24.607279823686117</c:v>
                </c:pt>
                <c:pt idx="1589">
                  <c:v>24.607279823686117</c:v>
                </c:pt>
                <c:pt idx="1590">
                  <c:v>24.607279823686117</c:v>
                </c:pt>
                <c:pt idx="1591">
                  <c:v>24.607279823686117</c:v>
                </c:pt>
                <c:pt idx="1592">
                  <c:v>24.607279823686117</c:v>
                </c:pt>
                <c:pt idx="1593">
                  <c:v>24.607279823686117</c:v>
                </c:pt>
                <c:pt idx="1594">
                  <c:v>24.607279823686117</c:v>
                </c:pt>
                <c:pt idx="1595">
                  <c:v>24.607279823686117</c:v>
                </c:pt>
                <c:pt idx="1596">
                  <c:v>24.607279823686117</c:v>
                </c:pt>
                <c:pt idx="1597">
                  <c:v>24.607279823686117</c:v>
                </c:pt>
                <c:pt idx="1598">
                  <c:v>24.607279823686117</c:v>
                </c:pt>
                <c:pt idx="1599">
                  <c:v>23.979171778343755</c:v>
                </c:pt>
                <c:pt idx="1600">
                  <c:v>23.835293235351553</c:v>
                </c:pt>
                <c:pt idx="1601">
                  <c:v>23.160462439584855</c:v>
                </c:pt>
                <c:pt idx="1602">
                  <c:v>23.102806459717886</c:v>
                </c:pt>
                <c:pt idx="1603">
                  <c:v>22.652994621902053</c:v>
                </c:pt>
                <c:pt idx="1604">
                  <c:v>23.270346137621104</c:v>
                </c:pt>
                <c:pt idx="1605">
                  <c:v>23.493779773185054</c:v>
                </c:pt>
                <c:pt idx="1606">
                  <c:v>22.3129720162285</c:v>
                </c:pt>
                <c:pt idx="1607">
                  <c:v>21.85557753991197</c:v>
                </c:pt>
                <c:pt idx="1608">
                  <c:v>20.463780638917186</c:v>
                </c:pt>
                <c:pt idx="1609">
                  <c:v>20.631968920515153</c:v>
                </c:pt>
                <c:pt idx="1610">
                  <c:v>20.97355100088906</c:v>
                </c:pt>
                <c:pt idx="1611">
                  <c:v>21.884682762035695</c:v>
                </c:pt>
                <c:pt idx="1612">
                  <c:v>22.79444877889707</c:v>
                </c:pt>
                <c:pt idx="1613">
                  <c:v>23.372415524434722</c:v>
                </c:pt>
                <c:pt idx="1614">
                  <c:v>23.372415524434722</c:v>
                </c:pt>
                <c:pt idx="1615">
                  <c:v>22.74074982819609</c:v>
                </c:pt>
                <c:pt idx="1616">
                  <c:v>21.905351297596805</c:v>
                </c:pt>
                <c:pt idx="1617">
                  <c:v>21.905351297596805</c:v>
                </c:pt>
                <c:pt idx="1618">
                  <c:v>22.061384854075598</c:v>
                </c:pt>
                <c:pt idx="1619">
                  <c:v>22.047581140654088</c:v>
                </c:pt>
                <c:pt idx="1620">
                  <c:v>22.289150059953243</c:v>
                </c:pt>
                <c:pt idx="1621">
                  <c:v>22.518249615017872</c:v>
                </c:pt>
                <c:pt idx="1622">
                  <c:v>22.920158027940641</c:v>
                </c:pt>
                <c:pt idx="1623">
                  <c:v>23.269566395297698</c:v>
                </c:pt>
                <c:pt idx="1624">
                  <c:v>22.815151005353759</c:v>
                </c:pt>
                <c:pt idx="1625">
                  <c:v>22.849366144616916</c:v>
                </c:pt>
                <c:pt idx="1626">
                  <c:v>22.214116713010206</c:v>
                </c:pt>
                <c:pt idx="1627">
                  <c:v>22.380803061644173</c:v>
                </c:pt>
                <c:pt idx="1628">
                  <c:v>22.157603656735741</c:v>
                </c:pt>
                <c:pt idx="1629">
                  <c:v>23.302544347911127</c:v>
                </c:pt>
                <c:pt idx="1630">
                  <c:v>23.302544347911127</c:v>
                </c:pt>
                <c:pt idx="1631">
                  <c:v>23.94816192878443</c:v>
                </c:pt>
                <c:pt idx="1632">
                  <c:v>23.815862964990202</c:v>
                </c:pt>
                <c:pt idx="1633">
                  <c:v>23.061757651008897</c:v>
                </c:pt>
                <c:pt idx="1634">
                  <c:v>22.416925838474366</c:v>
                </c:pt>
                <c:pt idx="1635">
                  <c:v>23.453217684793668</c:v>
                </c:pt>
                <c:pt idx="1636">
                  <c:v>22.462589174129526</c:v>
                </c:pt>
                <c:pt idx="1637">
                  <c:v>22.333700236966674</c:v>
                </c:pt>
                <c:pt idx="1638">
                  <c:v>20.667941273431467</c:v>
                </c:pt>
                <c:pt idx="1639">
                  <c:v>19.734511618298296</c:v>
                </c:pt>
                <c:pt idx="1640">
                  <c:v>18.69933852142853</c:v>
                </c:pt>
                <c:pt idx="1641">
                  <c:v>18.955465909438995</c:v>
                </c:pt>
                <c:pt idx="1642">
                  <c:v>17.560343204037849</c:v>
                </c:pt>
                <c:pt idx="1643">
                  <c:v>16.111358115712981</c:v>
                </c:pt>
                <c:pt idx="1644">
                  <c:v>18.173995084439984</c:v>
                </c:pt>
                <c:pt idx="1645">
                  <c:v>18.220500374520732</c:v>
                </c:pt>
                <c:pt idx="1646">
                  <c:v>17.91487787887025</c:v>
                </c:pt>
                <c:pt idx="1647">
                  <c:v>17.806083296683326</c:v>
                </c:pt>
                <c:pt idx="1648">
                  <c:v>17.884255249939656</c:v>
                </c:pt>
                <c:pt idx="1649">
                  <c:v>17.969506603230649</c:v>
                </c:pt>
                <c:pt idx="1650">
                  <c:v>18.072699455578451</c:v>
                </c:pt>
                <c:pt idx="1651">
                  <c:v>18.061443799012661</c:v>
                </c:pt>
                <c:pt idx="1652">
                  <c:v>17.650247134612869</c:v>
                </c:pt>
                <c:pt idx="1653">
                  <c:v>16.809672803166741</c:v>
                </c:pt>
                <c:pt idx="1654">
                  <c:v>16.809672803166741</c:v>
                </c:pt>
                <c:pt idx="1655">
                  <c:v>16.788660712162784</c:v>
                </c:pt>
                <c:pt idx="1656">
                  <c:v>15.357160754431058</c:v>
                </c:pt>
                <c:pt idx="1657">
                  <c:v>15.33796430348802</c:v>
                </c:pt>
                <c:pt idx="1658">
                  <c:v>15.31879184810866</c:v>
                </c:pt>
                <c:pt idx="1659">
                  <c:v>15.233951855188755</c:v>
                </c:pt>
                <c:pt idx="1660">
                  <c:v>15.214909415369769</c:v>
                </c:pt>
                <c:pt idx="1661">
                  <c:v>15.195890778600557</c:v>
                </c:pt>
                <c:pt idx="1662">
                  <c:v>15.360913493972866</c:v>
                </c:pt>
                <c:pt idx="1663">
                  <c:v>15.3417123521054</c:v>
                </c:pt>
                <c:pt idx="1664">
                  <c:v>15.189148342176573</c:v>
                </c:pt>
                <c:pt idx="1665">
                  <c:v>15.009258198137562</c:v>
                </c:pt>
                <c:pt idx="1666">
                  <c:v>15.027122523531565</c:v>
                </c:pt>
                <c:pt idx="1667">
                  <c:v>15.342257917800806</c:v>
                </c:pt>
                <c:pt idx="1668">
                  <c:v>15.041521813565259</c:v>
                </c:pt>
                <c:pt idx="1669">
                  <c:v>15.049730272140375</c:v>
                </c:pt>
                <c:pt idx="1670">
                  <c:v>15.405364921317263</c:v>
                </c:pt>
                <c:pt idx="1671">
                  <c:v>15.826509247821699</c:v>
                </c:pt>
                <c:pt idx="1672">
                  <c:v>15.826509247821699</c:v>
                </c:pt>
                <c:pt idx="1673">
                  <c:v>15.806726111261922</c:v>
                </c:pt>
                <c:pt idx="1674">
                  <c:v>15.806726111261922</c:v>
                </c:pt>
                <c:pt idx="1675">
                  <c:v>15.806726111261922</c:v>
                </c:pt>
                <c:pt idx="1676">
                  <c:v>15.806726111261922</c:v>
                </c:pt>
                <c:pt idx="1677">
                  <c:v>15.806726111261922</c:v>
                </c:pt>
                <c:pt idx="1678">
                  <c:v>15.806726111261922</c:v>
                </c:pt>
                <c:pt idx="1679">
                  <c:v>15.806726111261922</c:v>
                </c:pt>
                <c:pt idx="1680">
                  <c:v>15.806726111261922</c:v>
                </c:pt>
                <c:pt idx="1681">
                  <c:v>15.806726111261922</c:v>
                </c:pt>
                <c:pt idx="1682">
                  <c:v>15.806726111261922</c:v>
                </c:pt>
                <c:pt idx="1683">
                  <c:v>15.806726111261922</c:v>
                </c:pt>
                <c:pt idx="1684">
                  <c:v>15.806726111261922</c:v>
                </c:pt>
                <c:pt idx="1685">
                  <c:v>15.806726111261922</c:v>
                </c:pt>
                <c:pt idx="1686">
                  <c:v>15.806726111261922</c:v>
                </c:pt>
                <c:pt idx="1687">
                  <c:v>15.806726111261922</c:v>
                </c:pt>
                <c:pt idx="1688">
                  <c:v>15.806726111261922</c:v>
                </c:pt>
                <c:pt idx="1689">
                  <c:v>15.806726111261922</c:v>
                </c:pt>
                <c:pt idx="1690">
                  <c:v>15.806726111261922</c:v>
                </c:pt>
                <c:pt idx="1691">
                  <c:v>15.806726111261922</c:v>
                </c:pt>
                <c:pt idx="1692">
                  <c:v>15.806726111261922</c:v>
                </c:pt>
                <c:pt idx="1693">
                  <c:v>15.806726111261922</c:v>
                </c:pt>
                <c:pt idx="1694">
                  <c:v>15.806726111261922</c:v>
                </c:pt>
                <c:pt idx="1695">
                  <c:v>15.806726111261922</c:v>
                </c:pt>
                <c:pt idx="1696">
                  <c:v>15.806726111261922</c:v>
                </c:pt>
                <c:pt idx="1697">
                  <c:v>15.806726111261922</c:v>
                </c:pt>
                <c:pt idx="1698">
                  <c:v>15.806726111261922</c:v>
                </c:pt>
                <c:pt idx="1699">
                  <c:v>15.806726111261922</c:v>
                </c:pt>
                <c:pt idx="1700">
                  <c:v>15.806726111261922</c:v>
                </c:pt>
                <c:pt idx="1701">
                  <c:v>15.806726111261922</c:v>
                </c:pt>
                <c:pt idx="1702">
                  <c:v>15.833332698311478</c:v>
                </c:pt>
                <c:pt idx="1703">
                  <c:v>15.069661855937257</c:v>
                </c:pt>
                <c:pt idx="1704">
                  <c:v>16.625127293998297</c:v>
                </c:pt>
                <c:pt idx="1705">
                  <c:v>16.625127293998297</c:v>
                </c:pt>
                <c:pt idx="1706">
                  <c:v>16.625370503616598</c:v>
                </c:pt>
                <c:pt idx="1707">
                  <c:v>16.604588790487078</c:v>
                </c:pt>
                <c:pt idx="1708">
                  <c:v>16.570180354107091</c:v>
                </c:pt>
                <c:pt idx="1709">
                  <c:v>16.481148737923505</c:v>
                </c:pt>
                <c:pt idx="1710">
                  <c:v>16.247317553760233</c:v>
                </c:pt>
                <c:pt idx="1711">
                  <c:v>16.053060535248107</c:v>
                </c:pt>
                <c:pt idx="1712">
                  <c:v>15.831318628683713</c:v>
                </c:pt>
                <c:pt idx="1713">
                  <c:v>16.588832976063067</c:v>
                </c:pt>
                <c:pt idx="1714">
                  <c:v>16.19245310984051</c:v>
                </c:pt>
                <c:pt idx="1715">
                  <c:v>16.246392708746761</c:v>
                </c:pt>
                <c:pt idx="1716">
                  <c:v>16.628718180131052</c:v>
                </c:pt>
                <c:pt idx="1717">
                  <c:v>16.303060387089037</c:v>
                </c:pt>
                <c:pt idx="1718">
                  <c:v>16.303266750487438</c:v>
                </c:pt>
                <c:pt idx="1719">
                  <c:v>16.017695098714285</c:v>
                </c:pt>
                <c:pt idx="1720">
                  <c:v>16.007717875534425</c:v>
                </c:pt>
                <c:pt idx="1721">
                  <c:v>15.736079146363261</c:v>
                </c:pt>
                <c:pt idx="1722">
                  <c:v>15.766433130207259</c:v>
                </c:pt>
                <c:pt idx="1723">
                  <c:v>15.50489934697872</c:v>
                </c:pt>
                <c:pt idx="1724">
                  <c:v>15.964254450757611</c:v>
                </c:pt>
                <c:pt idx="1725">
                  <c:v>16.933895978565396</c:v>
                </c:pt>
                <c:pt idx="1726">
                  <c:v>17.1539374436218</c:v>
                </c:pt>
                <c:pt idx="1727">
                  <c:v>17.1539374436218</c:v>
                </c:pt>
                <c:pt idx="1728">
                  <c:v>17.132495021817274</c:v>
                </c:pt>
                <c:pt idx="1729">
                  <c:v>17.498048837704641</c:v>
                </c:pt>
                <c:pt idx="1730">
                  <c:v>17.610974457574969</c:v>
                </c:pt>
                <c:pt idx="1731">
                  <c:v>17.756963691354681</c:v>
                </c:pt>
                <c:pt idx="1732">
                  <c:v>17.738493042644908</c:v>
                </c:pt>
                <c:pt idx="1733">
                  <c:v>17.857782845996489</c:v>
                </c:pt>
                <c:pt idx="1734">
                  <c:v>17.796551568505578</c:v>
                </c:pt>
                <c:pt idx="1735">
                  <c:v>17.524137835371139</c:v>
                </c:pt>
                <c:pt idx="1736">
                  <c:v>18.343362664511421</c:v>
                </c:pt>
                <c:pt idx="1737">
                  <c:v>17.458057213696371</c:v>
                </c:pt>
                <c:pt idx="1738">
                  <c:v>17.28114977262295</c:v>
                </c:pt>
                <c:pt idx="1739">
                  <c:v>17.08156571968345</c:v>
                </c:pt>
                <c:pt idx="1740">
                  <c:v>16.56007669845334</c:v>
                </c:pt>
                <c:pt idx="1741">
                  <c:v>17.171090230638043</c:v>
                </c:pt>
                <c:pt idx="1742">
                  <c:v>16.961136336888838</c:v>
                </c:pt>
                <c:pt idx="1743">
                  <c:v>16.788843598162472</c:v>
                </c:pt>
                <c:pt idx="1744">
                  <c:v>16.584381978368725</c:v>
                </c:pt>
                <c:pt idx="1745">
                  <c:v>16.60288238057996</c:v>
                </c:pt>
                <c:pt idx="1746">
                  <c:v>16.89861686809067</c:v>
                </c:pt>
                <c:pt idx="1747">
                  <c:v>17.042703358841742</c:v>
                </c:pt>
                <c:pt idx="1748">
                  <c:v>17.06521673434516</c:v>
                </c:pt>
                <c:pt idx="1749">
                  <c:v>17.117850189171616</c:v>
                </c:pt>
                <c:pt idx="1750">
                  <c:v>16.996339130821788</c:v>
                </c:pt>
                <c:pt idx="1751">
                  <c:v>17.013588995099145</c:v>
                </c:pt>
                <c:pt idx="1752">
                  <c:v>17.004561858452796</c:v>
                </c:pt>
                <c:pt idx="1753">
                  <c:v>16.889367773772182</c:v>
                </c:pt>
                <c:pt idx="1754">
                  <c:v>16.889367773772182</c:v>
                </c:pt>
                <c:pt idx="1755">
                  <c:v>17.117336601387716</c:v>
                </c:pt>
                <c:pt idx="1756">
                  <c:v>17.057966508061096</c:v>
                </c:pt>
                <c:pt idx="1757">
                  <c:v>15.876557165035917</c:v>
                </c:pt>
                <c:pt idx="1758">
                  <c:v>14.874134864816307</c:v>
                </c:pt>
                <c:pt idx="1759">
                  <c:v>16.251163974001997</c:v>
                </c:pt>
                <c:pt idx="1760">
                  <c:v>16.346347502914135</c:v>
                </c:pt>
                <c:pt idx="1761">
                  <c:v>15.558346364940688</c:v>
                </c:pt>
                <c:pt idx="1762">
                  <c:v>14.767525237835519</c:v>
                </c:pt>
                <c:pt idx="1763">
                  <c:v>15.570243977238423</c:v>
                </c:pt>
                <c:pt idx="1764">
                  <c:v>15.119659466078167</c:v>
                </c:pt>
                <c:pt idx="1765">
                  <c:v>14.778264690477943</c:v>
                </c:pt>
                <c:pt idx="1766">
                  <c:v>14.647764014905093</c:v>
                </c:pt>
                <c:pt idx="1767">
                  <c:v>14.904056343703971</c:v>
                </c:pt>
                <c:pt idx="1768">
                  <c:v>14.67216767557151</c:v>
                </c:pt>
                <c:pt idx="1769">
                  <c:v>14.609068952559301</c:v>
                </c:pt>
                <c:pt idx="1770">
                  <c:v>15.267483072322539</c:v>
                </c:pt>
                <c:pt idx="1771">
                  <c:v>15.559573920466669</c:v>
                </c:pt>
                <c:pt idx="1772">
                  <c:v>16.018250834308077</c:v>
                </c:pt>
                <c:pt idx="1773">
                  <c:v>15.811699187041468</c:v>
                </c:pt>
                <c:pt idx="1774">
                  <c:v>15.906831157360543</c:v>
                </c:pt>
                <c:pt idx="1775">
                  <c:v>15.886302408067857</c:v>
                </c:pt>
                <c:pt idx="1776">
                  <c:v>15.898792541489222</c:v>
                </c:pt>
                <c:pt idx="1777">
                  <c:v>15.917221365944481</c:v>
                </c:pt>
                <c:pt idx="1778">
                  <c:v>15.912879143934257</c:v>
                </c:pt>
                <c:pt idx="1779">
                  <c:v>15.969222787711994</c:v>
                </c:pt>
                <c:pt idx="1780">
                  <c:v>16.397880477664238</c:v>
                </c:pt>
                <c:pt idx="1781">
                  <c:v>16.397880477664238</c:v>
                </c:pt>
                <c:pt idx="1782">
                  <c:v>16.377383127067159</c:v>
                </c:pt>
                <c:pt idx="1783">
                  <c:v>16.218631785918291</c:v>
                </c:pt>
                <c:pt idx="1784">
                  <c:v>16.198358496185893</c:v>
                </c:pt>
                <c:pt idx="1785">
                  <c:v>16.259777800391472</c:v>
                </c:pt>
                <c:pt idx="1786">
                  <c:v>16.088509943108686</c:v>
                </c:pt>
                <c:pt idx="1787">
                  <c:v>16.254432599056756</c:v>
                </c:pt>
                <c:pt idx="1788">
                  <c:v>17.018931388011055</c:v>
                </c:pt>
                <c:pt idx="1789">
                  <c:v>16.863162581210098</c:v>
                </c:pt>
                <c:pt idx="1790">
                  <c:v>16.446016621894053</c:v>
                </c:pt>
                <c:pt idx="1791">
                  <c:v>16.446016621894053</c:v>
                </c:pt>
                <c:pt idx="1792">
                  <c:v>16.425459101116687</c:v>
                </c:pt>
                <c:pt idx="1793">
                  <c:v>16.425459101116687</c:v>
                </c:pt>
                <c:pt idx="1794">
                  <c:v>16.425459101116687</c:v>
                </c:pt>
                <c:pt idx="1795">
                  <c:v>16.425459101116687</c:v>
                </c:pt>
                <c:pt idx="1796">
                  <c:v>15.535434174062273</c:v>
                </c:pt>
                <c:pt idx="1797">
                  <c:v>15.516014881344695</c:v>
                </c:pt>
                <c:pt idx="1798">
                  <c:v>15.496619862743016</c:v>
                </c:pt>
                <c:pt idx="1799">
                  <c:v>15.500829891659611</c:v>
                </c:pt>
                <c:pt idx="1800">
                  <c:v>15.481453854295037</c:v>
                </c:pt>
                <c:pt idx="1801">
                  <c:v>15.462102036977168</c:v>
                </c:pt>
                <c:pt idx="1802">
                  <c:v>15.462102036977168</c:v>
                </c:pt>
                <c:pt idx="1803">
                  <c:v>15.492824990134791</c:v>
                </c:pt>
                <c:pt idx="1804">
                  <c:v>15.800944039339901</c:v>
                </c:pt>
                <c:pt idx="1805">
                  <c:v>15.800944039339901</c:v>
                </c:pt>
                <c:pt idx="1806">
                  <c:v>15.781192859290726</c:v>
                </c:pt>
                <c:pt idx="1807">
                  <c:v>15.894849023321431</c:v>
                </c:pt>
                <c:pt idx="1808">
                  <c:v>15.803662007253584</c:v>
                </c:pt>
                <c:pt idx="1809">
                  <c:v>15.825039337797167</c:v>
                </c:pt>
                <c:pt idx="1810">
                  <c:v>15.531305352106926</c:v>
                </c:pt>
                <c:pt idx="1811">
                  <c:v>15.187517726352777</c:v>
                </c:pt>
                <c:pt idx="1812">
                  <c:v>15.633994554128027</c:v>
                </c:pt>
                <c:pt idx="1813">
                  <c:v>15.061932051697095</c:v>
                </c:pt>
                <c:pt idx="1814">
                  <c:v>14.928360345124716</c:v>
                </c:pt>
                <c:pt idx="1815">
                  <c:v>15.127941921704851</c:v>
                </c:pt>
                <c:pt idx="1816">
                  <c:v>15.682036955473031</c:v>
                </c:pt>
                <c:pt idx="1817">
                  <c:v>15.712920512872735</c:v>
                </c:pt>
                <c:pt idx="1818">
                  <c:v>15.79377502739908</c:v>
                </c:pt>
                <c:pt idx="1819">
                  <c:v>15.68743343469629</c:v>
                </c:pt>
                <c:pt idx="1820">
                  <c:v>15.720134707723123</c:v>
                </c:pt>
                <c:pt idx="1821">
                  <c:v>15.708659908507007</c:v>
                </c:pt>
                <c:pt idx="1822">
                  <c:v>15.721633733522827</c:v>
                </c:pt>
                <c:pt idx="1823">
                  <c:v>15.709445025949105</c:v>
                </c:pt>
                <c:pt idx="1824">
                  <c:v>15.917225151991</c:v>
                </c:pt>
                <c:pt idx="1825">
                  <c:v>15.917225151991</c:v>
                </c:pt>
                <c:pt idx="1826">
                  <c:v>15.897328620551011</c:v>
                </c:pt>
                <c:pt idx="1827">
                  <c:v>15.991475701882173</c:v>
                </c:pt>
                <c:pt idx="1828">
                  <c:v>16.38673382552625</c:v>
                </c:pt>
                <c:pt idx="1829">
                  <c:v>16.38673382552625</c:v>
                </c:pt>
                <c:pt idx="1830">
                  <c:v>16.366250408244341</c:v>
                </c:pt>
                <c:pt idx="1831">
                  <c:v>16.366250408244341</c:v>
                </c:pt>
                <c:pt idx="1832">
                  <c:v>16.366250408244341</c:v>
                </c:pt>
                <c:pt idx="1833">
                  <c:v>16.366250408244341</c:v>
                </c:pt>
                <c:pt idx="1834">
                  <c:v>16.366250408244341</c:v>
                </c:pt>
                <c:pt idx="1835">
                  <c:v>16.366250408244341</c:v>
                </c:pt>
                <c:pt idx="1836">
                  <c:v>16.366250408244341</c:v>
                </c:pt>
                <c:pt idx="1837">
                  <c:v>16.372945626156259</c:v>
                </c:pt>
                <c:pt idx="1838">
                  <c:v>15.937466433764188</c:v>
                </c:pt>
                <c:pt idx="1839">
                  <c:v>15.618965928014461</c:v>
                </c:pt>
                <c:pt idx="1840">
                  <c:v>15.544074996479511</c:v>
                </c:pt>
                <c:pt idx="1841">
                  <c:v>15.580610614860525</c:v>
                </c:pt>
                <c:pt idx="1842">
                  <c:v>15.217976395743948</c:v>
                </c:pt>
                <c:pt idx="1843">
                  <c:v>15.161531775470539</c:v>
                </c:pt>
                <c:pt idx="1844">
                  <c:v>15.133839069235824</c:v>
                </c:pt>
                <c:pt idx="1845">
                  <c:v>15.062672470643172</c:v>
                </c:pt>
                <c:pt idx="1846">
                  <c:v>14.972298155680779</c:v>
                </c:pt>
                <c:pt idx="1847">
                  <c:v>15.015411555272864</c:v>
                </c:pt>
                <c:pt idx="1848">
                  <c:v>14.751574950991639</c:v>
                </c:pt>
                <c:pt idx="1849">
                  <c:v>14.660309316170027</c:v>
                </c:pt>
                <c:pt idx="1850">
                  <c:v>14.517772350855163</c:v>
                </c:pt>
                <c:pt idx="1851">
                  <c:v>14.638863551513746</c:v>
                </c:pt>
                <c:pt idx="1852">
                  <c:v>14.716989399481562</c:v>
                </c:pt>
                <c:pt idx="1853">
                  <c:v>14.892534948126851</c:v>
                </c:pt>
                <c:pt idx="1854">
                  <c:v>14.750387679819417</c:v>
                </c:pt>
                <c:pt idx="1855">
                  <c:v>14.805384561855263</c:v>
                </c:pt>
                <c:pt idx="1856">
                  <c:v>14.749127482546314</c:v>
                </c:pt>
                <c:pt idx="1857">
                  <c:v>15.043922549323863</c:v>
                </c:pt>
                <c:pt idx="1858">
                  <c:v>14.357870685812399</c:v>
                </c:pt>
                <c:pt idx="1859">
                  <c:v>14.286746397846473</c:v>
                </c:pt>
                <c:pt idx="1860">
                  <c:v>14.501690893734876</c:v>
                </c:pt>
                <c:pt idx="1861">
                  <c:v>14.466805905201559</c:v>
                </c:pt>
                <c:pt idx="1862">
                  <c:v>14.345421184032876</c:v>
                </c:pt>
                <c:pt idx="1863">
                  <c:v>14.298185852189496</c:v>
                </c:pt>
                <c:pt idx="1864">
                  <c:v>14.174973463757791</c:v>
                </c:pt>
                <c:pt idx="1865">
                  <c:v>14.136273588331036</c:v>
                </c:pt>
                <c:pt idx="1866">
                  <c:v>13.95795186845154</c:v>
                </c:pt>
                <c:pt idx="1867">
                  <c:v>13.916899338902157</c:v>
                </c:pt>
                <c:pt idx="1868">
                  <c:v>13.435500258409512</c:v>
                </c:pt>
                <c:pt idx="1869">
                  <c:v>14.556456496912348</c:v>
                </c:pt>
                <c:pt idx="1870">
                  <c:v>14.556456496912348</c:v>
                </c:pt>
                <c:pt idx="1871">
                  <c:v>14.538260926291208</c:v>
                </c:pt>
                <c:pt idx="1872">
                  <c:v>12.85740903616577</c:v>
                </c:pt>
                <c:pt idx="1873">
                  <c:v>12.841337274870563</c:v>
                </c:pt>
                <c:pt idx="1874">
                  <c:v>12.825285603276976</c:v>
                </c:pt>
                <c:pt idx="1875">
                  <c:v>12.825285603276976</c:v>
                </c:pt>
                <c:pt idx="1876">
                  <c:v>12.825285603276976</c:v>
                </c:pt>
                <c:pt idx="1877">
                  <c:v>12.825285603276976</c:v>
                </c:pt>
                <c:pt idx="1878">
                  <c:v>12.949423272292485</c:v>
                </c:pt>
                <c:pt idx="1879">
                  <c:v>12.954300001626315</c:v>
                </c:pt>
                <c:pt idx="1880">
                  <c:v>12.712186159594459</c:v>
                </c:pt>
                <c:pt idx="1881">
                  <c:v>12.546764620282616</c:v>
                </c:pt>
                <c:pt idx="1882">
                  <c:v>12.083507773945486</c:v>
                </c:pt>
                <c:pt idx="1883">
                  <c:v>12.257233951566398</c:v>
                </c:pt>
                <c:pt idx="1884">
                  <c:v>11.996910058632071</c:v>
                </c:pt>
                <c:pt idx="1885">
                  <c:v>11.755329166705412</c:v>
                </c:pt>
                <c:pt idx="1886">
                  <c:v>11.80752907897639</c:v>
                </c:pt>
                <c:pt idx="1887">
                  <c:v>12.197979282834055</c:v>
                </c:pt>
                <c:pt idx="1888">
                  <c:v>12.191486912798032</c:v>
                </c:pt>
                <c:pt idx="1889">
                  <c:v>12.105199272307612</c:v>
                </c:pt>
                <c:pt idx="1890">
                  <c:v>12.122345010891966</c:v>
                </c:pt>
                <c:pt idx="1891">
                  <c:v>12.070286703684054</c:v>
                </c:pt>
                <c:pt idx="1892">
                  <c:v>12.047435119004687</c:v>
                </c:pt>
                <c:pt idx="1893">
                  <c:v>12.02054598311976</c:v>
                </c:pt>
                <c:pt idx="1894">
                  <c:v>12.069947797520856</c:v>
                </c:pt>
                <c:pt idx="1895">
                  <c:v>11.973540051333561</c:v>
                </c:pt>
                <c:pt idx="1896">
                  <c:v>12.041231115869362</c:v>
                </c:pt>
                <c:pt idx="1897">
                  <c:v>11.699014417241298</c:v>
                </c:pt>
                <c:pt idx="1898">
                  <c:v>11.95270492103087</c:v>
                </c:pt>
                <c:pt idx="1899">
                  <c:v>11.610152258313141</c:v>
                </c:pt>
                <c:pt idx="1900">
                  <c:v>11.551003585623059</c:v>
                </c:pt>
                <c:pt idx="1901">
                  <c:v>11.394365750201723</c:v>
                </c:pt>
                <c:pt idx="1902">
                  <c:v>11.388153629302645</c:v>
                </c:pt>
                <c:pt idx="1903">
                  <c:v>10.989478245611314</c:v>
                </c:pt>
                <c:pt idx="1904">
                  <c:v>11.028019168165502</c:v>
                </c:pt>
                <c:pt idx="1905">
                  <c:v>10.761687961045688</c:v>
                </c:pt>
                <c:pt idx="1906">
                  <c:v>12.662462357587417</c:v>
                </c:pt>
                <c:pt idx="1907">
                  <c:v>12.662462357587417</c:v>
                </c:pt>
                <c:pt idx="1908">
                  <c:v>11.25563761685938</c:v>
                </c:pt>
                <c:pt idx="1909">
                  <c:v>11.241568069838305</c:v>
                </c:pt>
                <c:pt idx="1910">
                  <c:v>11.227516109751008</c:v>
                </c:pt>
                <c:pt idx="1911">
                  <c:v>11.579258660847724</c:v>
                </c:pt>
                <c:pt idx="1912">
                  <c:v>11.68589687138549</c:v>
                </c:pt>
                <c:pt idx="1913">
                  <c:v>11.682540444801164</c:v>
                </c:pt>
                <c:pt idx="1914">
                  <c:v>11.715212972727196</c:v>
                </c:pt>
                <c:pt idx="1915">
                  <c:v>11.714311878612776</c:v>
                </c:pt>
                <c:pt idx="1916">
                  <c:v>11.702974842652253</c:v>
                </c:pt>
                <c:pt idx="1917">
                  <c:v>11.634968968246092</c:v>
                </c:pt>
                <c:pt idx="1918">
                  <c:v>11.762445060525154</c:v>
                </c:pt>
                <c:pt idx="1919">
                  <c:v>11.59611843631504</c:v>
                </c:pt>
                <c:pt idx="1920">
                  <c:v>11.588435034546285</c:v>
                </c:pt>
                <c:pt idx="1921">
                  <c:v>11.542396166638394</c:v>
                </c:pt>
                <c:pt idx="1922">
                  <c:v>11.532110126193375</c:v>
                </c:pt>
                <c:pt idx="1923">
                  <c:v>11.568658594957208</c:v>
                </c:pt>
                <c:pt idx="1924">
                  <c:v>11.618846145247474</c:v>
                </c:pt>
                <c:pt idx="1925">
                  <c:v>11.556489919135608</c:v>
                </c:pt>
                <c:pt idx="1926">
                  <c:v>11.539152957046912</c:v>
                </c:pt>
                <c:pt idx="1927">
                  <c:v>11.518431182113432</c:v>
                </c:pt>
                <c:pt idx="1928">
                  <c:v>11.564594480244752</c:v>
                </c:pt>
                <c:pt idx="1929">
                  <c:v>11.687483143524638</c:v>
                </c:pt>
                <c:pt idx="1930">
                  <c:v>11.597037656493475</c:v>
                </c:pt>
                <c:pt idx="1931">
                  <c:v>11.582529765710687</c:v>
                </c:pt>
                <c:pt idx="1932">
                  <c:v>11.647870492187272</c:v>
                </c:pt>
                <c:pt idx="1933">
                  <c:v>11.622550859325921</c:v>
                </c:pt>
                <c:pt idx="1934">
                  <c:v>11.487989450878109</c:v>
                </c:pt>
                <c:pt idx="1935">
                  <c:v>11.478800139229335</c:v>
                </c:pt>
                <c:pt idx="1936">
                  <c:v>11.6847213214836</c:v>
                </c:pt>
                <c:pt idx="1937">
                  <c:v>11.530468078749392</c:v>
                </c:pt>
                <c:pt idx="1938">
                  <c:v>11.500702072042492</c:v>
                </c:pt>
                <c:pt idx="1939">
                  <c:v>11.282389973006216</c:v>
                </c:pt>
                <c:pt idx="1940">
                  <c:v>11.282389973006216</c:v>
                </c:pt>
                <c:pt idx="1941">
                  <c:v>11.268286985539959</c:v>
                </c:pt>
                <c:pt idx="1942">
                  <c:v>11.268286985539959</c:v>
                </c:pt>
                <c:pt idx="1943">
                  <c:v>11.268286985539959</c:v>
                </c:pt>
                <c:pt idx="1944">
                  <c:v>11.268286985539959</c:v>
                </c:pt>
                <c:pt idx="1945">
                  <c:v>11.268286985539959</c:v>
                </c:pt>
                <c:pt idx="1946">
                  <c:v>11.268286985539959</c:v>
                </c:pt>
                <c:pt idx="1947">
                  <c:v>11.268286985539959</c:v>
                </c:pt>
                <c:pt idx="1948">
                  <c:v>11.268286985539959</c:v>
                </c:pt>
                <c:pt idx="1949">
                  <c:v>11.268286985539959</c:v>
                </c:pt>
                <c:pt idx="1950">
                  <c:v>11.268286985539959</c:v>
                </c:pt>
                <c:pt idx="1951">
                  <c:v>11.268286985539959</c:v>
                </c:pt>
                <c:pt idx="1952">
                  <c:v>11.268286985539959</c:v>
                </c:pt>
                <c:pt idx="1953">
                  <c:v>11.268286985539959</c:v>
                </c:pt>
                <c:pt idx="1954">
                  <c:v>11.268286985539959</c:v>
                </c:pt>
                <c:pt idx="1955">
                  <c:v>11.268286985539959</c:v>
                </c:pt>
                <c:pt idx="1956">
                  <c:v>11.268286985539959</c:v>
                </c:pt>
                <c:pt idx="1957">
                  <c:v>11.268286985539959</c:v>
                </c:pt>
                <c:pt idx="1958">
                  <c:v>11.268286985539959</c:v>
                </c:pt>
                <c:pt idx="1959">
                  <c:v>11.268286985539959</c:v>
                </c:pt>
                <c:pt idx="1960">
                  <c:v>11.268286985539959</c:v>
                </c:pt>
                <c:pt idx="1961">
                  <c:v>11.268286985539959</c:v>
                </c:pt>
                <c:pt idx="1962">
                  <c:v>11.268286985539959</c:v>
                </c:pt>
                <c:pt idx="1963">
                  <c:v>11.268286985539959</c:v>
                </c:pt>
                <c:pt idx="1964">
                  <c:v>10.941205779785401</c:v>
                </c:pt>
                <c:pt idx="1965">
                  <c:v>10.742772698858357</c:v>
                </c:pt>
                <c:pt idx="1966">
                  <c:v>10.564537106019268</c:v>
                </c:pt>
                <c:pt idx="1967">
                  <c:v>10.31515507540267</c:v>
                </c:pt>
                <c:pt idx="1968">
                  <c:v>10.411021910815979</c:v>
                </c:pt>
                <c:pt idx="1969">
                  <c:v>10.121598357873813</c:v>
                </c:pt>
                <c:pt idx="1970">
                  <c:v>10.410183166835766</c:v>
                </c:pt>
                <c:pt idx="1971">
                  <c:v>10.023953600309484</c:v>
                </c:pt>
                <c:pt idx="1972">
                  <c:v>9.9489501974893155</c:v>
                </c:pt>
                <c:pt idx="1973">
                  <c:v>9.6209586436583923</c:v>
                </c:pt>
                <c:pt idx="1974">
                  <c:v>9.5213693268884025</c:v>
                </c:pt>
                <c:pt idx="1975">
                  <c:v>9.4835354947573727</c:v>
                </c:pt>
                <c:pt idx="1976">
                  <c:v>9.5805639355524033</c:v>
                </c:pt>
                <c:pt idx="1977">
                  <c:v>9.3861313877407682</c:v>
                </c:pt>
                <c:pt idx="1978">
                  <c:v>9.3533537691640891</c:v>
                </c:pt>
                <c:pt idx="1979">
                  <c:v>9.4827518857868558</c:v>
                </c:pt>
                <c:pt idx="1980">
                  <c:v>9.2559036565649553</c:v>
                </c:pt>
                <c:pt idx="1981">
                  <c:v>9.0678424664498092</c:v>
                </c:pt>
                <c:pt idx="1982">
                  <c:v>8.8658591038655175</c:v>
                </c:pt>
                <c:pt idx="1983">
                  <c:v>8.5720872502002461</c:v>
                </c:pt>
                <c:pt idx="1984">
                  <c:v>8.5062708648659839</c:v>
                </c:pt>
                <c:pt idx="1985">
                  <c:v>8.7342754313125024</c:v>
                </c:pt>
                <c:pt idx="1986">
                  <c:v>8.8315301178993799</c:v>
                </c:pt>
                <c:pt idx="1987">
                  <c:v>8.6357643788758551</c:v>
                </c:pt>
                <c:pt idx="1988">
                  <c:v>8.8308870341160723</c:v>
                </c:pt>
                <c:pt idx="1989">
                  <c:v>8.7000911115600843</c:v>
                </c:pt>
                <c:pt idx="1990">
                  <c:v>8.6410232824460298</c:v>
                </c:pt>
                <c:pt idx="1991">
                  <c:v>8.7296349512968909</c:v>
                </c:pt>
                <c:pt idx="1992">
                  <c:v>9.3101419061645778</c:v>
                </c:pt>
                <c:pt idx="1993">
                  <c:v>9.2931467671060908</c:v>
                </c:pt>
                <c:pt idx="1994">
                  <c:v>9.0656329527580315</c:v>
                </c:pt>
                <c:pt idx="1995">
                  <c:v>9.0656329527580315</c:v>
                </c:pt>
                <c:pt idx="1996">
                  <c:v>8.7932569750769201</c:v>
                </c:pt>
                <c:pt idx="1997">
                  <c:v>8.7822654038580747</c:v>
                </c:pt>
                <c:pt idx="1998">
                  <c:v>8.9126276994671709</c:v>
                </c:pt>
                <c:pt idx="1999">
                  <c:v>8.7902910601748534</c:v>
                </c:pt>
                <c:pt idx="2000">
                  <c:v>8.7902910601748534</c:v>
                </c:pt>
                <c:pt idx="2001">
                  <c:v>8.7793031963496357</c:v>
                </c:pt>
                <c:pt idx="2002">
                  <c:v>8.7793031963496357</c:v>
                </c:pt>
                <c:pt idx="2003">
                  <c:v>8.7793031963496357</c:v>
                </c:pt>
                <c:pt idx="2004">
                  <c:v>8.7793031963496357</c:v>
                </c:pt>
                <c:pt idx="2005">
                  <c:v>8.7793031963496357</c:v>
                </c:pt>
                <c:pt idx="2006">
                  <c:v>8.7793031963496357</c:v>
                </c:pt>
                <c:pt idx="2007">
                  <c:v>8.7793031963496357</c:v>
                </c:pt>
                <c:pt idx="2008">
                  <c:v>8.7793031963496357</c:v>
                </c:pt>
                <c:pt idx="2009">
                  <c:v>8.7793031963496357</c:v>
                </c:pt>
                <c:pt idx="2010">
                  <c:v>8.4169714636220405</c:v>
                </c:pt>
                <c:pt idx="2011">
                  <c:v>8.5503510857496732</c:v>
                </c:pt>
                <c:pt idx="2012">
                  <c:v>8.5500278481997398</c:v>
                </c:pt>
                <c:pt idx="2013">
                  <c:v>8.4147362389518729</c:v>
                </c:pt>
                <c:pt idx="2014">
                  <c:v>8.3603266634517936</c:v>
                </c:pt>
                <c:pt idx="2015">
                  <c:v>7.9543669049265739</c:v>
                </c:pt>
                <c:pt idx="2016">
                  <c:v>7.9805743801033966</c:v>
                </c:pt>
                <c:pt idx="2017">
                  <c:v>8.1157851169603639</c:v>
                </c:pt>
                <c:pt idx="2018">
                  <c:v>8.3048405951470183</c:v>
                </c:pt>
                <c:pt idx="2019">
                  <c:v>8.1585997198686204</c:v>
                </c:pt>
                <c:pt idx="2020">
                  <c:v>8.1445464552027644</c:v>
                </c:pt>
                <c:pt idx="2021">
                  <c:v>8.0819547319866309</c:v>
                </c:pt>
                <c:pt idx="2022">
                  <c:v>8.2824428271370767</c:v>
                </c:pt>
                <c:pt idx="2023">
                  <c:v>8.6246650099575017</c:v>
                </c:pt>
                <c:pt idx="2024">
                  <c:v>8.6246650099575017</c:v>
                </c:pt>
                <c:pt idx="2025">
                  <c:v>8.1079852917389541</c:v>
                </c:pt>
                <c:pt idx="2026">
                  <c:v>8.0978503101242811</c:v>
                </c:pt>
                <c:pt idx="2027">
                  <c:v>8.0877279972366267</c:v>
                </c:pt>
                <c:pt idx="2028">
                  <c:v>8.0877279972366267</c:v>
                </c:pt>
                <c:pt idx="2029">
                  <c:v>8.0877279972366267</c:v>
                </c:pt>
                <c:pt idx="2030">
                  <c:v>8.0877279972366267</c:v>
                </c:pt>
                <c:pt idx="2031">
                  <c:v>8.0877279972366267</c:v>
                </c:pt>
                <c:pt idx="2032">
                  <c:v>8.0877279972366267</c:v>
                </c:pt>
                <c:pt idx="2033">
                  <c:v>8.0877279972366267</c:v>
                </c:pt>
                <c:pt idx="2034">
                  <c:v>8.0877279972366267</c:v>
                </c:pt>
                <c:pt idx="2035">
                  <c:v>8.0877279972366267</c:v>
                </c:pt>
                <c:pt idx="2036">
                  <c:v>7.9757071353813904</c:v>
                </c:pt>
                <c:pt idx="2037">
                  <c:v>7.8471107415527852</c:v>
                </c:pt>
                <c:pt idx="2038">
                  <c:v>7.9828953432647705</c:v>
                </c:pt>
                <c:pt idx="2039">
                  <c:v>7.9825893721276451</c:v>
                </c:pt>
                <c:pt idx="2040">
                  <c:v>8.0291186709608251</c:v>
                </c:pt>
                <c:pt idx="2041">
                  <c:v>7.9348355267603328</c:v>
                </c:pt>
                <c:pt idx="2042">
                  <c:v>7.9416263321395668</c:v>
                </c:pt>
                <c:pt idx="2043">
                  <c:v>7.9528309785896898</c:v>
                </c:pt>
                <c:pt idx="2044">
                  <c:v>7.9340113518319644</c:v>
                </c:pt>
                <c:pt idx="2045">
                  <c:v>7.9420288478263652</c:v>
                </c:pt>
                <c:pt idx="2046">
                  <c:v>7.9377896767730478</c:v>
                </c:pt>
                <c:pt idx="2047">
                  <c:v>7.9361646099502563</c:v>
                </c:pt>
                <c:pt idx="2048">
                  <c:v>7.9313684951478445</c:v>
                </c:pt>
                <c:pt idx="2049">
                  <c:v>7.9322329472633966</c:v>
                </c:pt>
                <c:pt idx="2050">
                  <c:v>7.8572341480860564</c:v>
                </c:pt>
                <c:pt idx="2051">
                  <c:v>7.9623664915184422</c:v>
                </c:pt>
                <c:pt idx="2052">
                  <c:v>7.7734743102724044</c:v>
                </c:pt>
                <c:pt idx="2053">
                  <c:v>7.7566086029506947</c:v>
                </c:pt>
                <c:pt idx="2054">
                  <c:v>7.7678533138611412</c:v>
                </c:pt>
                <c:pt idx="2055">
                  <c:v>7.7072325146106415</c:v>
                </c:pt>
                <c:pt idx="2056">
                  <c:v>7.5976746470699474</c:v>
                </c:pt>
                <c:pt idx="2057">
                  <c:v>7.4662300580608809</c:v>
                </c:pt>
                <c:pt idx="2058">
                  <c:v>7.4399144720827932</c:v>
                </c:pt>
                <c:pt idx="2059">
                  <c:v>7.5439273788435806</c:v>
                </c:pt>
                <c:pt idx="2060">
                  <c:v>7.3615899970810945</c:v>
                </c:pt>
                <c:pt idx="2061">
                  <c:v>7.1270983299472936</c:v>
                </c:pt>
                <c:pt idx="2062">
                  <c:v>7.0745590388861324</c:v>
                </c:pt>
                <c:pt idx="2063">
                  <c:v>7.1004533246059154</c:v>
                </c:pt>
                <c:pt idx="2064">
                  <c:v>7.152432071959633</c:v>
                </c:pt>
                <c:pt idx="2065">
                  <c:v>7.2043313666136424</c:v>
                </c:pt>
                <c:pt idx="2066">
                  <c:v>7.2562298838407546</c:v>
                </c:pt>
                <c:pt idx="2067">
                  <c:v>7.3900158190283296</c:v>
                </c:pt>
                <c:pt idx="2068">
                  <c:v>7.3981577255610951</c:v>
                </c:pt>
                <c:pt idx="2069">
                  <c:v>7.5821325078520472</c:v>
                </c:pt>
                <c:pt idx="2070">
                  <c:v>7.4220406788530378</c:v>
                </c:pt>
                <c:pt idx="2071">
                  <c:v>7.7185484400391955</c:v>
                </c:pt>
                <c:pt idx="2072">
                  <c:v>7.8280366030804869</c:v>
                </c:pt>
                <c:pt idx="2073">
                  <c:v>7.8440900353290077</c:v>
                </c:pt>
                <c:pt idx="2074">
                  <c:v>8.3669941103223184</c:v>
                </c:pt>
                <c:pt idx="2075">
                  <c:v>8.3669941103223184</c:v>
                </c:pt>
                <c:pt idx="2076">
                  <c:v>8.3565353676844154</c:v>
                </c:pt>
                <c:pt idx="2077">
                  <c:v>8.3565353676844154</c:v>
                </c:pt>
                <c:pt idx="2078">
                  <c:v>8.3565353676844154</c:v>
                </c:pt>
                <c:pt idx="2079">
                  <c:v>8.3565353676844154</c:v>
                </c:pt>
                <c:pt idx="2080">
                  <c:v>8.3565353676844154</c:v>
                </c:pt>
                <c:pt idx="2081">
                  <c:v>8.3565353676844154</c:v>
                </c:pt>
                <c:pt idx="2082">
                  <c:v>8.3565353676844154</c:v>
                </c:pt>
                <c:pt idx="2083">
                  <c:v>8.1066522076595309</c:v>
                </c:pt>
                <c:pt idx="2084">
                  <c:v>8.092807561998157</c:v>
                </c:pt>
                <c:pt idx="2085">
                  <c:v>8.2739946150254315</c:v>
                </c:pt>
                <c:pt idx="2086">
                  <c:v>8.3943866839685661</c:v>
                </c:pt>
                <c:pt idx="2087">
                  <c:v>8.4243093161716036</c:v>
                </c:pt>
                <c:pt idx="2088">
                  <c:v>8.5207560327705103</c:v>
                </c:pt>
                <c:pt idx="2089">
                  <c:v>8.5207560327705103</c:v>
                </c:pt>
                <c:pt idx="2090">
                  <c:v>8.5101050877295474</c:v>
                </c:pt>
                <c:pt idx="2091">
                  <c:v>8.5409891009613137</c:v>
                </c:pt>
                <c:pt idx="2092">
                  <c:v>8.5257089767693497</c:v>
                </c:pt>
                <c:pt idx="2093">
                  <c:v>8.5080734048295454</c:v>
                </c:pt>
                <c:pt idx="2094">
                  <c:v>8.4588227440975778</c:v>
                </c:pt>
                <c:pt idx="2095">
                  <c:v>8.5821617394846328</c:v>
                </c:pt>
                <c:pt idx="2096">
                  <c:v>8.1350464269438394</c:v>
                </c:pt>
                <c:pt idx="2097">
                  <c:v>8.1184335071825871</c:v>
                </c:pt>
                <c:pt idx="2098">
                  <c:v>8.2859014122153063</c:v>
                </c:pt>
                <c:pt idx="2099">
                  <c:v>8.256526242798115</c:v>
                </c:pt>
                <c:pt idx="2100">
                  <c:v>8.2197550011970737</c:v>
                </c:pt>
                <c:pt idx="2101">
                  <c:v>8.1682183828697035</c:v>
                </c:pt>
                <c:pt idx="2102">
                  <c:v>8.2895199945165494</c:v>
                </c:pt>
                <c:pt idx="2103">
                  <c:v>9.4502651341640647</c:v>
                </c:pt>
                <c:pt idx="2104">
                  <c:v>9.4502651341640647</c:v>
                </c:pt>
                <c:pt idx="2105">
                  <c:v>9.4384523027463594</c:v>
                </c:pt>
                <c:pt idx="2106">
                  <c:v>9.4384523027463594</c:v>
                </c:pt>
                <c:pt idx="2107">
                  <c:v>9.4384523027463594</c:v>
                </c:pt>
                <c:pt idx="2108">
                  <c:v>9.4384523027463594</c:v>
                </c:pt>
                <c:pt idx="2109">
                  <c:v>9.4384523027463594</c:v>
                </c:pt>
                <c:pt idx="2110">
                  <c:v>9.4384523027463594</c:v>
                </c:pt>
                <c:pt idx="2111">
                  <c:v>9.4384523027463594</c:v>
                </c:pt>
                <c:pt idx="2112">
                  <c:v>9.4384523027463594</c:v>
                </c:pt>
                <c:pt idx="2113">
                  <c:v>9.4384523027463594</c:v>
                </c:pt>
                <c:pt idx="2114">
                  <c:v>9.4384523027463594</c:v>
                </c:pt>
                <c:pt idx="2115">
                  <c:v>9.4384523027463594</c:v>
                </c:pt>
                <c:pt idx="2116">
                  <c:v>9.4384523027463594</c:v>
                </c:pt>
                <c:pt idx="2117">
                  <c:v>9.4606146565088061</c:v>
                </c:pt>
                <c:pt idx="2118">
                  <c:v>9.4487888881881705</c:v>
                </c:pt>
                <c:pt idx="2119">
                  <c:v>9.2867723221587983</c:v>
                </c:pt>
                <c:pt idx="2120">
                  <c:v>9.827840487810299</c:v>
                </c:pt>
                <c:pt idx="2121">
                  <c:v>9.827840487810299</c:v>
                </c:pt>
                <c:pt idx="2122">
                  <c:v>9.8155556872005363</c:v>
                </c:pt>
                <c:pt idx="2123">
                  <c:v>9.8155556872005363</c:v>
                </c:pt>
                <c:pt idx="2124">
                  <c:v>9.8155556872005363</c:v>
                </c:pt>
                <c:pt idx="2125">
                  <c:v>9.8155556872005363</c:v>
                </c:pt>
                <c:pt idx="2126">
                  <c:v>9.8155556872005363</c:v>
                </c:pt>
                <c:pt idx="2127">
                  <c:v>9.8155556872005363</c:v>
                </c:pt>
                <c:pt idx="2128">
                  <c:v>9.8155556872005363</c:v>
                </c:pt>
                <c:pt idx="2129">
                  <c:v>9.8155556872005363</c:v>
                </c:pt>
                <c:pt idx="2130">
                  <c:v>9.8155556872005363</c:v>
                </c:pt>
                <c:pt idx="2131">
                  <c:v>9.8155556872005363</c:v>
                </c:pt>
                <c:pt idx="2132">
                  <c:v>9.8155556872005363</c:v>
                </c:pt>
                <c:pt idx="2133">
                  <c:v>9.8155556872005363</c:v>
                </c:pt>
                <c:pt idx="2134">
                  <c:v>9.8155556872005363</c:v>
                </c:pt>
                <c:pt idx="2135">
                  <c:v>9.8155556872005363</c:v>
                </c:pt>
                <c:pt idx="2136">
                  <c:v>9.8155556872005363</c:v>
                </c:pt>
                <c:pt idx="2137">
                  <c:v>9.8155556872005363</c:v>
                </c:pt>
                <c:pt idx="2138">
                  <c:v>9.8155556872005363</c:v>
                </c:pt>
                <c:pt idx="2139">
                  <c:v>9.8155556872005363</c:v>
                </c:pt>
                <c:pt idx="2140">
                  <c:v>9.8155556872005363</c:v>
                </c:pt>
                <c:pt idx="2141">
                  <c:v>9.8155556872005363</c:v>
                </c:pt>
                <c:pt idx="2142">
                  <c:v>9.8155556872005363</c:v>
                </c:pt>
                <c:pt idx="2143">
                  <c:v>9.8155556872005363</c:v>
                </c:pt>
                <c:pt idx="2144">
                  <c:v>9.8155556872005363</c:v>
                </c:pt>
                <c:pt idx="2145">
                  <c:v>9.8155556872005363</c:v>
                </c:pt>
                <c:pt idx="2146">
                  <c:v>9.8155556872005363</c:v>
                </c:pt>
                <c:pt idx="2147">
                  <c:v>9.8155556872005363</c:v>
                </c:pt>
                <c:pt idx="2148">
                  <c:v>9.8155556872005363</c:v>
                </c:pt>
                <c:pt idx="2149">
                  <c:v>9.6955839256272363</c:v>
                </c:pt>
                <c:pt idx="2150">
                  <c:v>9.7301163061309435</c:v>
                </c:pt>
                <c:pt idx="2151">
                  <c:v>9.6280597705637501</c:v>
                </c:pt>
                <c:pt idx="2152">
                  <c:v>9.8943738281929718</c:v>
                </c:pt>
                <c:pt idx="2153">
                  <c:v>10.326864142560101</c:v>
                </c:pt>
                <c:pt idx="2154">
                  <c:v>10.326864142560101</c:v>
                </c:pt>
                <c:pt idx="2155">
                  <c:v>10.544684227119586</c:v>
                </c:pt>
                <c:pt idx="2156">
                  <c:v>10.519760458117911</c:v>
                </c:pt>
                <c:pt idx="2157">
                  <c:v>10.519760458117911</c:v>
                </c:pt>
                <c:pt idx="2158">
                  <c:v>10.506610757545264</c:v>
                </c:pt>
                <c:pt idx="2159">
                  <c:v>10.506610757545264</c:v>
                </c:pt>
                <c:pt idx="2160">
                  <c:v>10.506610757545264</c:v>
                </c:pt>
                <c:pt idx="2161">
                  <c:v>10.506610757545264</c:v>
                </c:pt>
                <c:pt idx="2162">
                  <c:v>10.506610757545264</c:v>
                </c:pt>
                <c:pt idx="2163">
                  <c:v>10.44703591552949</c:v>
                </c:pt>
                <c:pt idx="2164">
                  <c:v>10.507572200963599</c:v>
                </c:pt>
                <c:pt idx="2165">
                  <c:v>10.568022493496686</c:v>
                </c:pt>
                <c:pt idx="2166">
                  <c:v>10.568022493496686</c:v>
                </c:pt>
                <c:pt idx="2167">
                  <c:v>10.554812465379815</c:v>
                </c:pt>
                <c:pt idx="2168">
                  <c:v>10.497000840065278</c:v>
                </c:pt>
                <c:pt idx="2169">
                  <c:v>10.474397319101586</c:v>
                </c:pt>
                <c:pt idx="2170">
                  <c:v>10.410456977496743</c:v>
                </c:pt>
                <c:pt idx="2171">
                  <c:v>10.406882030044224</c:v>
                </c:pt>
                <c:pt idx="2172">
                  <c:v>10.254631990480734</c:v>
                </c:pt>
                <c:pt idx="2173">
                  <c:v>10.315143791862079</c:v>
                </c:pt>
                <c:pt idx="2174">
                  <c:v>10.061415496136153</c:v>
                </c:pt>
                <c:pt idx="2175">
                  <c:v>10.081542653116736</c:v>
                </c:pt>
                <c:pt idx="2176">
                  <c:v>9.7965559063964864</c:v>
                </c:pt>
                <c:pt idx="2177">
                  <c:v>9.412482863775768</c:v>
                </c:pt>
                <c:pt idx="2178">
                  <c:v>9.4116722908226507</c:v>
                </c:pt>
                <c:pt idx="2179">
                  <c:v>9.2373697714233867</c:v>
                </c:pt>
                <c:pt idx="2180">
                  <c:v>9.5507180298118382</c:v>
                </c:pt>
                <c:pt idx="2181">
                  <c:v>9.3897798604043725</c:v>
                </c:pt>
                <c:pt idx="2182">
                  <c:v>9.1971319845022421</c:v>
                </c:pt>
                <c:pt idx="2183">
                  <c:v>9.2287721445904225</c:v>
                </c:pt>
                <c:pt idx="2184">
                  <c:v>9.0364159399065329</c:v>
                </c:pt>
                <c:pt idx="2185">
                  <c:v>9.0039820572630589</c:v>
                </c:pt>
                <c:pt idx="2186">
                  <c:v>8.9077577315327687</c:v>
                </c:pt>
                <c:pt idx="2187">
                  <c:v>8.6191878578909247</c:v>
                </c:pt>
                <c:pt idx="2188">
                  <c:v>8.6185740159707471</c:v>
                </c:pt>
                <c:pt idx="2189">
                  <c:v>8.522462996680531</c:v>
                </c:pt>
                <c:pt idx="2190">
                  <c:v>8.5222539103828847</c:v>
                </c:pt>
                <c:pt idx="2191">
                  <c:v>8.4581593526613403</c:v>
                </c:pt>
                <c:pt idx="2192">
                  <c:v>8.5221139628555278</c:v>
                </c:pt>
                <c:pt idx="2193">
                  <c:v>8.4578783834279463</c:v>
                </c:pt>
                <c:pt idx="2194">
                  <c:v>8.1053296057512032</c:v>
                </c:pt>
                <c:pt idx="2195">
                  <c:v>7.6881257242082928</c:v>
                </c:pt>
                <c:pt idx="2196">
                  <c:v>7.815360587213311</c:v>
                </c:pt>
                <c:pt idx="2197">
                  <c:v>7.7189902559614882</c:v>
                </c:pt>
                <c:pt idx="2198">
                  <c:v>8.007055460874497</c:v>
                </c:pt>
                <c:pt idx="2199">
                  <c:v>8.4547826140612496</c:v>
                </c:pt>
                <c:pt idx="2200">
                  <c:v>8.2579240057660233</c:v>
                </c:pt>
                <c:pt idx="2201">
                  <c:v>8.223275612696952</c:v>
                </c:pt>
                <c:pt idx="2202">
                  <c:v>8.3156369261142107</c:v>
                </c:pt>
                <c:pt idx="2203">
                  <c:v>8.589437325026994</c:v>
                </c:pt>
                <c:pt idx="2204">
                  <c:v>8.5869745033554334</c:v>
                </c:pt>
                <c:pt idx="2205">
                  <c:v>8.6383627636448779</c:v>
                </c:pt>
                <c:pt idx="2206">
                  <c:v>8.4372996458209215</c:v>
                </c:pt>
                <c:pt idx="2207">
                  <c:v>8.7428815527565007</c:v>
                </c:pt>
                <c:pt idx="2208">
                  <c:v>8.4416408023519693</c:v>
                </c:pt>
                <c:pt idx="2209">
                  <c:v>8.4538623678571891</c:v>
                </c:pt>
                <c:pt idx="2210">
                  <c:v>8.3755775812433892</c:v>
                </c:pt>
                <c:pt idx="2211">
                  <c:v>8.2859604745672559</c:v>
                </c:pt>
                <c:pt idx="2212">
                  <c:v>8.1455966854656712</c:v>
                </c:pt>
                <c:pt idx="2213">
                  <c:v>8.0674573003076624</c:v>
                </c:pt>
                <c:pt idx="2214">
                  <c:v>7.9614989065507222</c:v>
                </c:pt>
                <c:pt idx="2215">
                  <c:v>8.1974143891942823</c:v>
                </c:pt>
                <c:pt idx="2216">
                  <c:v>8.3655698374794358</c:v>
                </c:pt>
                <c:pt idx="2217">
                  <c:v>8.2906247990805557</c:v>
                </c:pt>
                <c:pt idx="2218">
                  <c:v>8.2706159653465097</c:v>
                </c:pt>
                <c:pt idx="2219">
                  <c:v>8.2706159653465097</c:v>
                </c:pt>
                <c:pt idx="2220">
                  <c:v>8.260277695389826</c:v>
                </c:pt>
                <c:pt idx="2221">
                  <c:v>8.0976694633646478</c:v>
                </c:pt>
                <c:pt idx="2222">
                  <c:v>8.1129772018209305</c:v>
                </c:pt>
                <c:pt idx="2223">
                  <c:v>7.6227101763561427</c:v>
                </c:pt>
                <c:pt idx="2224">
                  <c:v>7.6227101763561427</c:v>
                </c:pt>
                <c:pt idx="2225">
                  <c:v>7.3613827338283304</c:v>
                </c:pt>
                <c:pt idx="2226">
                  <c:v>7.3521810054110448</c:v>
                </c:pt>
                <c:pt idx="2227">
                  <c:v>7.3173978982880259</c:v>
                </c:pt>
                <c:pt idx="2228">
                  <c:v>7.308251150915166</c:v>
                </c:pt>
                <c:pt idx="2229">
                  <c:v>7.2991158369765223</c:v>
                </c:pt>
                <c:pt idx="2230">
                  <c:v>7.2991158369765223</c:v>
                </c:pt>
                <c:pt idx="2231">
                  <c:v>7.2991158369765223</c:v>
                </c:pt>
                <c:pt idx="2232">
                  <c:v>7.2991158369765223</c:v>
                </c:pt>
                <c:pt idx="2233">
                  <c:v>7.2991158369765223</c:v>
                </c:pt>
                <c:pt idx="2234">
                  <c:v>7.2991158369765223</c:v>
                </c:pt>
                <c:pt idx="2235">
                  <c:v>7.2991158369765223</c:v>
                </c:pt>
                <c:pt idx="2236">
                  <c:v>7.2991158369765223</c:v>
                </c:pt>
                <c:pt idx="2237">
                  <c:v>7.2991158369765223</c:v>
                </c:pt>
                <c:pt idx="2238">
                  <c:v>7.2991158369765223</c:v>
                </c:pt>
                <c:pt idx="2239">
                  <c:v>7.2991158369765223</c:v>
                </c:pt>
                <c:pt idx="2240">
                  <c:v>7.2991158369765223</c:v>
                </c:pt>
                <c:pt idx="2241">
                  <c:v>7.2991158369765223</c:v>
                </c:pt>
                <c:pt idx="2242">
                  <c:v>7.2991158369765223</c:v>
                </c:pt>
                <c:pt idx="2243">
                  <c:v>7.2991158369765223</c:v>
                </c:pt>
                <c:pt idx="2244">
                  <c:v>7.2906757066003589</c:v>
                </c:pt>
                <c:pt idx="2245">
                  <c:v>7.019314303740134</c:v>
                </c:pt>
                <c:pt idx="2246">
                  <c:v>7.0711532536828186</c:v>
                </c:pt>
                <c:pt idx="2247">
                  <c:v>7.0710371346816654</c:v>
                </c:pt>
                <c:pt idx="2248">
                  <c:v>7.0186476889523632</c:v>
                </c:pt>
                <c:pt idx="2249">
                  <c:v>7.070681608192622</c:v>
                </c:pt>
                <c:pt idx="2250">
                  <c:v>7.006334071951974</c:v>
                </c:pt>
                <c:pt idx="2251">
                  <c:v>7.025257601851572</c:v>
                </c:pt>
                <c:pt idx="2252">
                  <c:v>7.0444563817743715</c:v>
                </c:pt>
                <c:pt idx="2253">
                  <c:v>7.0444814620112624</c:v>
                </c:pt>
                <c:pt idx="2254">
                  <c:v>7.0416265851072186</c:v>
                </c:pt>
                <c:pt idx="2255">
                  <c:v>7.0416265851072186</c:v>
                </c:pt>
                <c:pt idx="2256">
                  <c:v>7.0328245518758346</c:v>
                </c:pt>
                <c:pt idx="2257">
                  <c:v>7.0243860760835224</c:v>
                </c:pt>
                <c:pt idx="2258">
                  <c:v>7.0156055934884183</c:v>
                </c:pt>
                <c:pt idx="2259">
                  <c:v>7.0047418251434861</c:v>
                </c:pt>
                <c:pt idx="2260">
                  <c:v>7.1464388636720972</c:v>
                </c:pt>
                <c:pt idx="2261">
                  <c:v>7.1464388636720972</c:v>
                </c:pt>
                <c:pt idx="2262">
                  <c:v>7.1375058150925073</c:v>
                </c:pt>
                <c:pt idx="2263">
                  <c:v>7.1375058150925073</c:v>
                </c:pt>
                <c:pt idx="2264">
                  <c:v>7.1375058150925073</c:v>
                </c:pt>
                <c:pt idx="2265">
                  <c:v>7.1375058150925073</c:v>
                </c:pt>
                <c:pt idx="2266">
                  <c:v>7.2110182031754082</c:v>
                </c:pt>
                <c:pt idx="2267">
                  <c:v>7.0979268531989277</c:v>
                </c:pt>
                <c:pt idx="2268">
                  <c:v>7.1444686411694756</c:v>
                </c:pt>
                <c:pt idx="2269">
                  <c:v>7.5230187314690715</c:v>
                </c:pt>
                <c:pt idx="2270">
                  <c:v>7.5230187314690715</c:v>
                </c:pt>
                <c:pt idx="2271">
                  <c:v>7.5136149580547356</c:v>
                </c:pt>
                <c:pt idx="2272">
                  <c:v>7.5136149580547356</c:v>
                </c:pt>
                <c:pt idx="2273">
                  <c:v>7.5136149580547356</c:v>
                </c:pt>
                <c:pt idx="2274">
                  <c:v>7.5136149580547356</c:v>
                </c:pt>
                <c:pt idx="2275">
                  <c:v>7.5136149580547356</c:v>
                </c:pt>
                <c:pt idx="2276">
                  <c:v>7.5136149580547356</c:v>
                </c:pt>
                <c:pt idx="2277">
                  <c:v>7.5136149580547356</c:v>
                </c:pt>
                <c:pt idx="2278">
                  <c:v>7.5136149580547356</c:v>
                </c:pt>
                <c:pt idx="2279">
                  <c:v>7.5136149580547356</c:v>
                </c:pt>
                <c:pt idx="2280">
                  <c:v>7.5136149580547356</c:v>
                </c:pt>
                <c:pt idx="2281">
                  <c:v>7.5136149580547356</c:v>
                </c:pt>
                <c:pt idx="2282">
                  <c:v>7.5136149580547356</c:v>
                </c:pt>
                <c:pt idx="2283">
                  <c:v>7.5136149580547356</c:v>
                </c:pt>
                <c:pt idx="2284">
                  <c:v>7.5136149580547356</c:v>
                </c:pt>
                <c:pt idx="2285">
                  <c:v>7.5136149580547356</c:v>
                </c:pt>
                <c:pt idx="2286">
                  <c:v>7.5136149580547356</c:v>
                </c:pt>
                <c:pt idx="2287">
                  <c:v>7.5136149580547356</c:v>
                </c:pt>
                <c:pt idx="2288">
                  <c:v>7.5136149580547356</c:v>
                </c:pt>
                <c:pt idx="2289">
                  <c:v>7.5136149580547356</c:v>
                </c:pt>
                <c:pt idx="2290">
                  <c:v>7.5136149580547356</c:v>
                </c:pt>
                <c:pt idx="2291">
                  <c:v>7.5136149580547356</c:v>
                </c:pt>
                <c:pt idx="2292">
                  <c:v>7.5136149580547356</c:v>
                </c:pt>
                <c:pt idx="2293">
                  <c:v>7.5136149580547356</c:v>
                </c:pt>
                <c:pt idx="2294">
                  <c:v>7.5136149580547356</c:v>
                </c:pt>
                <c:pt idx="2295">
                  <c:v>7.5136149580547356</c:v>
                </c:pt>
                <c:pt idx="2296">
                  <c:v>7.5136149580547356</c:v>
                </c:pt>
                <c:pt idx="2297">
                  <c:v>7.5136149580547356</c:v>
                </c:pt>
                <c:pt idx="2298">
                  <c:v>7.5136149580547356</c:v>
                </c:pt>
                <c:pt idx="2299">
                  <c:v>7.5136149580547356</c:v>
                </c:pt>
                <c:pt idx="2300">
                  <c:v>7.5136149580547356</c:v>
                </c:pt>
                <c:pt idx="2301">
                  <c:v>7.5136149580547356</c:v>
                </c:pt>
                <c:pt idx="2302">
                  <c:v>7.5136149580547356</c:v>
                </c:pt>
                <c:pt idx="2303">
                  <c:v>7.5136149580547356</c:v>
                </c:pt>
                <c:pt idx="2304">
                  <c:v>7.5136149580547356</c:v>
                </c:pt>
                <c:pt idx="2305">
                  <c:v>7.5136149580547356</c:v>
                </c:pt>
                <c:pt idx="2306">
                  <c:v>7.5136149580547356</c:v>
                </c:pt>
                <c:pt idx="2307">
                  <c:v>7.5136149580547356</c:v>
                </c:pt>
                <c:pt idx="2308">
                  <c:v>7.5136149580547356</c:v>
                </c:pt>
                <c:pt idx="2309">
                  <c:v>7.5136149580547356</c:v>
                </c:pt>
                <c:pt idx="2310">
                  <c:v>7.5136149580547356</c:v>
                </c:pt>
                <c:pt idx="2311">
                  <c:v>7.5136149580547356</c:v>
                </c:pt>
                <c:pt idx="2312">
                  <c:v>7.5136149580547356</c:v>
                </c:pt>
                <c:pt idx="2313">
                  <c:v>7.5136149580547356</c:v>
                </c:pt>
                <c:pt idx="2314">
                  <c:v>7.5136149580547356</c:v>
                </c:pt>
                <c:pt idx="2315">
                  <c:v>7.5136149580547356</c:v>
                </c:pt>
                <c:pt idx="2316">
                  <c:v>7.3772327034853431</c:v>
                </c:pt>
                <c:pt idx="2317">
                  <c:v>7.7054365388047277</c:v>
                </c:pt>
                <c:pt idx="2318">
                  <c:v>7.7054365388047277</c:v>
                </c:pt>
                <c:pt idx="2319">
                  <c:v>7.6958047431312222</c:v>
                </c:pt>
                <c:pt idx="2320">
                  <c:v>7.6742665171939839</c:v>
                </c:pt>
                <c:pt idx="2321">
                  <c:v>7.4766621904713348</c:v>
                </c:pt>
                <c:pt idx="2322">
                  <c:v>7.3241155554896453</c:v>
                </c:pt>
                <c:pt idx="2323">
                  <c:v>7.9129949133907429</c:v>
                </c:pt>
                <c:pt idx="2324">
                  <c:v>7.9129949133907429</c:v>
                </c:pt>
                <c:pt idx="2325">
                  <c:v>7.9031036697490045</c:v>
                </c:pt>
                <c:pt idx="2326">
                  <c:v>7.9031036697490045</c:v>
                </c:pt>
                <c:pt idx="2327">
                  <c:v>7.9031036697490045</c:v>
                </c:pt>
                <c:pt idx="2328">
                  <c:v>7.9031036697490045</c:v>
                </c:pt>
                <c:pt idx="2329">
                  <c:v>7.9031036697490045</c:v>
                </c:pt>
                <c:pt idx="2330">
                  <c:v>7.9031036697490045</c:v>
                </c:pt>
                <c:pt idx="2331">
                  <c:v>7.9031036697490045</c:v>
                </c:pt>
                <c:pt idx="2332">
                  <c:v>7.9031036697490045</c:v>
                </c:pt>
                <c:pt idx="2333">
                  <c:v>7.9031036697490045</c:v>
                </c:pt>
                <c:pt idx="2334">
                  <c:v>7.9031036697490045</c:v>
                </c:pt>
                <c:pt idx="2335">
                  <c:v>7.9031036697490045</c:v>
                </c:pt>
                <c:pt idx="2336">
                  <c:v>7.9031036697490045</c:v>
                </c:pt>
                <c:pt idx="2337">
                  <c:v>7.9031036697490045</c:v>
                </c:pt>
                <c:pt idx="2338">
                  <c:v>7.9031036697490045</c:v>
                </c:pt>
                <c:pt idx="2339">
                  <c:v>7.9031036697490045</c:v>
                </c:pt>
                <c:pt idx="2340">
                  <c:v>7.9031036697490045</c:v>
                </c:pt>
                <c:pt idx="2341">
                  <c:v>7.9031036697490045</c:v>
                </c:pt>
                <c:pt idx="2342">
                  <c:v>7.9031036697490045</c:v>
                </c:pt>
                <c:pt idx="2343">
                  <c:v>7.9031036697490045</c:v>
                </c:pt>
                <c:pt idx="2344">
                  <c:v>7.9031036697490045</c:v>
                </c:pt>
                <c:pt idx="2345">
                  <c:v>7.9031036697490045</c:v>
                </c:pt>
                <c:pt idx="2346">
                  <c:v>7.9031036697490045</c:v>
                </c:pt>
                <c:pt idx="2347">
                  <c:v>7.9031036697490045</c:v>
                </c:pt>
                <c:pt idx="2348">
                  <c:v>7.9031036697490045</c:v>
                </c:pt>
                <c:pt idx="2349">
                  <c:v>7.9031036697490045</c:v>
                </c:pt>
                <c:pt idx="2350">
                  <c:v>7.9031036697490045</c:v>
                </c:pt>
                <c:pt idx="2351">
                  <c:v>7.9031036697490045</c:v>
                </c:pt>
                <c:pt idx="2352">
                  <c:v>7.9031036697490045</c:v>
                </c:pt>
                <c:pt idx="2353">
                  <c:v>7.9031036697490045</c:v>
                </c:pt>
                <c:pt idx="2354">
                  <c:v>7.9031036697490045</c:v>
                </c:pt>
                <c:pt idx="2355">
                  <c:v>7.9031036697490045</c:v>
                </c:pt>
                <c:pt idx="2356">
                  <c:v>7.9031036697490045</c:v>
                </c:pt>
                <c:pt idx="2357">
                  <c:v>7.9031036697490045</c:v>
                </c:pt>
                <c:pt idx="2358">
                  <c:v>7.9031036697490045</c:v>
                </c:pt>
                <c:pt idx="2359">
                  <c:v>7.9031036697490045</c:v>
                </c:pt>
                <c:pt idx="2360">
                  <c:v>7.9031036697490045</c:v>
                </c:pt>
                <c:pt idx="2361">
                  <c:v>7.9031036697490045</c:v>
                </c:pt>
                <c:pt idx="2362">
                  <c:v>7.9031036697490045</c:v>
                </c:pt>
                <c:pt idx="2363">
                  <c:v>7.9031036697490045</c:v>
                </c:pt>
                <c:pt idx="2364">
                  <c:v>7.9031036697490045</c:v>
                </c:pt>
                <c:pt idx="2365">
                  <c:v>7.9031036697490045</c:v>
                </c:pt>
                <c:pt idx="2366">
                  <c:v>7.9031036697490045</c:v>
                </c:pt>
                <c:pt idx="2367">
                  <c:v>7.9031036697490045</c:v>
                </c:pt>
                <c:pt idx="2368">
                  <c:v>7.9031036697490045</c:v>
                </c:pt>
                <c:pt idx="2369">
                  <c:v>7.9031036697490045</c:v>
                </c:pt>
                <c:pt idx="2370">
                  <c:v>7.9031036697490045</c:v>
                </c:pt>
                <c:pt idx="2371">
                  <c:v>7.9031036697490045</c:v>
                </c:pt>
                <c:pt idx="2372">
                  <c:v>7.9031036697490045</c:v>
                </c:pt>
                <c:pt idx="2373">
                  <c:v>7.9031036697490045</c:v>
                </c:pt>
                <c:pt idx="2374">
                  <c:v>7.9031036697490045</c:v>
                </c:pt>
                <c:pt idx="2375">
                  <c:v>7.9031036697490045</c:v>
                </c:pt>
                <c:pt idx="2376">
                  <c:v>7.9031036697490045</c:v>
                </c:pt>
                <c:pt idx="2377">
                  <c:v>7.9031036697490045</c:v>
                </c:pt>
                <c:pt idx="2378">
                  <c:v>7.9031036697490045</c:v>
                </c:pt>
                <c:pt idx="2379">
                  <c:v>7.9031036697490045</c:v>
                </c:pt>
                <c:pt idx="2380">
                  <c:v>7.9031036697490045</c:v>
                </c:pt>
                <c:pt idx="2381">
                  <c:v>7.9031036697490045</c:v>
                </c:pt>
                <c:pt idx="2382">
                  <c:v>7.9031036697490045</c:v>
                </c:pt>
                <c:pt idx="2383">
                  <c:v>7.9031036697490045</c:v>
                </c:pt>
                <c:pt idx="2384">
                  <c:v>7.9031036697490045</c:v>
                </c:pt>
                <c:pt idx="2385">
                  <c:v>7.9031036697490045</c:v>
                </c:pt>
                <c:pt idx="2386">
                  <c:v>7.9031036697490045</c:v>
                </c:pt>
                <c:pt idx="2387">
                  <c:v>7.9031036697490045</c:v>
                </c:pt>
                <c:pt idx="2388">
                  <c:v>7.9031036697490045</c:v>
                </c:pt>
                <c:pt idx="2389">
                  <c:v>7.9031036697490045</c:v>
                </c:pt>
                <c:pt idx="2390">
                  <c:v>7.9031036697490045</c:v>
                </c:pt>
                <c:pt idx="2391">
                  <c:v>7.9031036697490045</c:v>
                </c:pt>
                <c:pt idx="2392">
                  <c:v>7.9008223440195948</c:v>
                </c:pt>
                <c:pt idx="2393">
                  <c:v>7.7125976811263355</c:v>
                </c:pt>
                <c:pt idx="2394">
                  <c:v>7.6658683409036801</c:v>
                </c:pt>
                <c:pt idx="2395">
                  <c:v>7.5699846289485384</c:v>
                </c:pt>
                <c:pt idx="2396">
                  <c:v>7.9035606587398757</c:v>
                </c:pt>
                <c:pt idx="2397">
                  <c:v>7.855106784029747</c:v>
                </c:pt>
                <c:pt idx="2398">
                  <c:v>7.8163986943874741</c:v>
                </c:pt>
                <c:pt idx="2399">
                  <c:v>7.7635774769718351</c:v>
                </c:pt>
                <c:pt idx="2400">
                  <c:v>7.8471445673294804</c:v>
                </c:pt>
                <c:pt idx="2401">
                  <c:v>7.7574254261646081</c:v>
                </c:pt>
                <c:pt idx="2402">
                  <c:v>7.7513920683454272</c:v>
                </c:pt>
                <c:pt idx="2403">
                  <c:v>7.7119347092513895</c:v>
                </c:pt>
                <c:pt idx="2404">
                  <c:v>7.7054977291241347</c:v>
                </c:pt>
                <c:pt idx="2405">
                  <c:v>7.4713772946419148</c:v>
                </c:pt>
                <c:pt idx="2406">
                  <c:v>7.1195208964846284</c:v>
                </c:pt>
                <c:pt idx="2407">
                  <c:v>6.7888628594891367</c:v>
                </c:pt>
                <c:pt idx="2408">
                  <c:v>7.0742696893370622</c:v>
                </c:pt>
                <c:pt idx="2409">
                  <c:v>6.8755633126037585</c:v>
                </c:pt>
                <c:pt idx="2410">
                  <c:v>6.743144109638429</c:v>
                </c:pt>
                <c:pt idx="2411">
                  <c:v>6.6548550125056236</c:v>
                </c:pt>
                <c:pt idx="2412">
                  <c:v>6.8966559011396509</c:v>
                </c:pt>
                <c:pt idx="2413">
                  <c:v>6.6761279429737606</c:v>
                </c:pt>
                <c:pt idx="2414">
                  <c:v>6.6556746551897028</c:v>
                </c:pt>
                <c:pt idx="2415">
                  <c:v>6.5654508292668812</c:v>
                </c:pt>
                <c:pt idx="2416">
                  <c:v>6.4772781056790523</c:v>
                </c:pt>
                <c:pt idx="2417">
                  <c:v>6.4330785788707709</c:v>
                </c:pt>
                <c:pt idx="2418">
                  <c:v>6.6529427159148344</c:v>
                </c:pt>
                <c:pt idx="2419">
                  <c:v>6.3665132145321</c:v>
                </c:pt>
                <c:pt idx="2420">
                  <c:v>6.3622088409748887</c:v>
                </c:pt>
                <c:pt idx="2421">
                  <c:v>6.5386206716709978</c:v>
                </c:pt>
                <c:pt idx="2422">
                  <c:v>6.5799242276227945</c:v>
                </c:pt>
                <c:pt idx="2423">
                  <c:v>6.5697929952542431</c:v>
                </c:pt>
                <c:pt idx="2424">
                  <c:v>6.7663693029046437</c:v>
                </c:pt>
                <c:pt idx="2425">
                  <c:v>6.875116956434943</c:v>
                </c:pt>
                <c:pt idx="2426">
                  <c:v>6.875116956434943</c:v>
                </c:pt>
                <c:pt idx="2427">
                  <c:v>6.8665230602393992</c:v>
                </c:pt>
                <c:pt idx="2428">
                  <c:v>6.7060221911386488</c:v>
                </c:pt>
                <c:pt idx="2429">
                  <c:v>6.5711043505957205</c:v>
                </c:pt>
                <c:pt idx="2430">
                  <c:v>6.5548871636559092</c:v>
                </c:pt>
                <c:pt idx="2431">
                  <c:v>6.4218127222820591</c:v>
                </c:pt>
                <c:pt idx="2432">
                  <c:v>6.3992811050155218</c:v>
                </c:pt>
                <c:pt idx="2433">
                  <c:v>6.1692485494680609</c:v>
                </c:pt>
                <c:pt idx="2434">
                  <c:v>6.1275924850918688</c:v>
                </c:pt>
                <c:pt idx="2435">
                  <c:v>6.1275025113118611</c:v>
                </c:pt>
                <c:pt idx="2436">
                  <c:v>5.9009186142056587</c:v>
                </c:pt>
                <c:pt idx="2437">
                  <c:v>5.9416503271370953</c:v>
                </c:pt>
                <c:pt idx="2438">
                  <c:v>6.1474800093715389</c:v>
                </c:pt>
                <c:pt idx="2439">
                  <c:v>5.9822607968314481</c:v>
                </c:pt>
                <c:pt idx="2440">
                  <c:v>5.9667800895051508</c:v>
                </c:pt>
                <c:pt idx="2441">
                  <c:v>6.0026943830941306</c:v>
                </c:pt>
                <c:pt idx="2442">
                  <c:v>5.9903557621806973</c:v>
                </c:pt>
                <c:pt idx="2443">
                  <c:v>6.0084138669054399</c:v>
                </c:pt>
                <c:pt idx="2444">
                  <c:v>5.9767885751955401</c:v>
                </c:pt>
                <c:pt idx="2445">
                  <c:v>5.8681147838650869</c:v>
                </c:pt>
                <c:pt idx="2446">
                  <c:v>5.8135760287088649</c:v>
                </c:pt>
                <c:pt idx="2447">
                  <c:v>5.6655809360142246</c:v>
                </c:pt>
                <c:pt idx="2448">
                  <c:v>5.6655809360142246</c:v>
                </c:pt>
                <c:pt idx="2449">
                  <c:v>6.0108267130314648</c:v>
                </c:pt>
                <c:pt idx="2450">
                  <c:v>6.0350575304290803</c:v>
                </c:pt>
                <c:pt idx="2451">
                  <c:v>6.3195153720010575</c:v>
                </c:pt>
                <c:pt idx="2452">
                  <c:v>6.5859631624624999</c:v>
                </c:pt>
                <c:pt idx="2453">
                  <c:v>6.4897460692336821</c:v>
                </c:pt>
                <c:pt idx="2454">
                  <c:v>6.4798690874765512</c:v>
                </c:pt>
                <c:pt idx="2455">
                  <c:v>6.4556409161526345</c:v>
                </c:pt>
                <c:pt idx="2456">
                  <c:v>6.476945686823905</c:v>
                </c:pt>
                <c:pt idx="2457">
                  <c:v>6.1210722662400627</c:v>
                </c:pt>
                <c:pt idx="2458">
                  <c:v>6.0838384834668462</c:v>
                </c:pt>
                <c:pt idx="2459">
                  <c:v>6.2884601006627143</c:v>
                </c:pt>
                <c:pt idx="2460">
                  <c:v>6.309504162709481</c:v>
                </c:pt>
                <c:pt idx="2461">
                  <c:v>6.2756454660027616</c:v>
                </c:pt>
                <c:pt idx="2462">
                  <c:v>7.0263632324073999</c:v>
                </c:pt>
                <c:pt idx="2463">
                  <c:v>7.0263632324073999</c:v>
                </c:pt>
                <c:pt idx="2464">
                  <c:v>7.017580278366891</c:v>
                </c:pt>
                <c:pt idx="2465">
                  <c:v>7.017580278366891</c:v>
                </c:pt>
                <c:pt idx="2466">
                  <c:v>7.017580278366891</c:v>
                </c:pt>
                <c:pt idx="2467">
                  <c:v>7.017580278366891</c:v>
                </c:pt>
                <c:pt idx="2468">
                  <c:v>7.017580278366891</c:v>
                </c:pt>
                <c:pt idx="2469">
                  <c:v>7.017580278366891</c:v>
                </c:pt>
                <c:pt idx="2470">
                  <c:v>7.017580278366891</c:v>
                </c:pt>
                <c:pt idx="2471">
                  <c:v>7.017580278366891</c:v>
                </c:pt>
                <c:pt idx="2472">
                  <c:v>6.9973464521638942</c:v>
                </c:pt>
                <c:pt idx="2473">
                  <c:v>6.9441447108645873</c:v>
                </c:pt>
                <c:pt idx="2474">
                  <c:v>6.5621515893997682</c:v>
                </c:pt>
                <c:pt idx="2475">
                  <c:v>6.5620612522590624</c:v>
                </c:pt>
                <c:pt idx="2476">
                  <c:v>6.4792417804081843</c:v>
                </c:pt>
                <c:pt idx="2477">
                  <c:v>6.4779558396338484</c:v>
                </c:pt>
                <c:pt idx="2478">
                  <c:v>6.4609071327891838</c:v>
                </c:pt>
                <c:pt idx="2479">
                  <c:v>6.4880213784834506</c:v>
                </c:pt>
                <c:pt idx="2480">
                  <c:v>6.6206084481651644</c:v>
                </c:pt>
                <c:pt idx="2481">
                  <c:v>6.7221591082974612</c:v>
                </c:pt>
                <c:pt idx="2482">
                  <c:v>6.736563046301101</c:v>
                </c:pt>
                <c:pt idx="2483">
                  <c:v>6.7737050628242716</c:v>
                </c:pt>
                <c:pt idx="2484">
                  <c:v>6.760895325222493</c:v>
                </c:pt>
                <c:pt idx="2485">
                  <c:v>6.7638257957696117</c:v>
                </c:pt>
                <c:pt idx="2486">
                  <c:v>6.7525394890251711</c:v>
                </c:pt>
                <c:pt idx="2487">
                  <c:v>6.774382565423914</c:v>
                </c:pt>
                <c:pt idx="2488">
                  <c:v>6.7534586275323703</c:v>
                </c:pt>
                <c:pt idx="2489">
                  <c:v>6.7781071477794441</c:v>
                </c:pt>
                <c:pt idx="2490">
                  <c:v>6.7550227182423059</c:v>
                </c:pt>
                <c:pt idx="2491">
                  <c:v>6.7772735102860535</c:v>
                </c:pt>
                <c:pt idx="2492">
                  <c:v>6.7746939271986326</c:v>
                </c:pt>
                <c:pt idx="2493">
                  <c:v>6.7746939271986326</c:v>
                </c:pt>
                <c:pt idx="2494">
                  <c:v>6.7825963564251968</c:v>
                </c:pt>
                <c:pt idx="2495">
                  <c:v>6.7587003701166486</c:v>
                </c:pt>
                <c:pt idx="2496">
                  <c:v>6.7596446361218856</c:v>
                </c:pt>
                <c:pt idx="2497">
                  <c:v>6.7460333033217124</c:v>
                </c:pt>
                <c:pt idx="2498">
                  <c:v>6.7460333033217124</c:v>
                </c:pt>
                <c:pt idx="2499">
                  <c:v>6.7376007616925602</c:v>
                </c:pt>
                <c:pt idx="2500">
                  <c:v>6.7376007616925602</c:v>
                </c:pt>
                <c:pt idx="2501">
                  <c:v>6.7376007616925602</c:v>
                </c:pt>
                <c:pt idx="2502">
                  <c:v>6.7376007616925602</c:v>
                </c:pt>
                <c:pt idx="2503">
                  <c:v>6.7376007616925602</c:v>
                </c:pt>
                <c:pt idx="2504">
                  <c:v>6.7376007616925602</c:v>
                </c:pt>
                <c:pt idx="2505">
                  <c:v>6.7376007616925602</c:v>
                </c:pt>
                <c:pt idx="2506">
                  <c:v>6.7376007616925602</c:v>
                </c:pt>
                <c:pt idx="2507">
                  <c:v>6.7376007616925602</c:v>
                </c:pt>
                <c:pt idx="2508">
                  <c:v>6.7376007616925602</c:v>
                </c:pt>
                <c:pt idx="2509">
                  <c:v>6.7376007616925602</c:v>
                </c:pt>
                <c:pt idx="2510">
                  <c:v>6.7376007616925602</c:v>
                </c:pt>
                <c:pt idx="2511">
                  <c:v>6.7376007616925602</c:v>
                </c:pt>
                <c:pt idx="2512">
                  <c:v>6.7376007616925602</c:v>
                </c:pt>
                <c:pt idx="2513">
                  <c:v>6.7376007616925602</c:v>
                </c:pt>
                <c:pt idx="2514">
                  <c:v>6.7376007616925602</c:v>
                </c:pt>
                <c:pt idx="2515">
                  <c:v>6.7376007616925602</c:v>
                </c:pt>
                <c:pt idx="2516">
                  <c:v>6.7376007616925602</c:v>
                </c:pt>
                <c:pt idx="2517">
                  <c:v>6.7376007616925602</c:v>
                </c:pt>
                <c:pt idx="2518">
                  <c:v>6.7376007616925602</c:v>
                </c:pt>
                <c:pt idx="2519">
                  <c:v>6.7376007616925602</c:v>
                </c:pt>
                <c:pt idx="2520">
                  <c:v>6.7376007616925602</c:v>
                </c:pt>
                <c:pt idx="2521">
                  <c:v>6.7376007616925602</c:v>
                </c:pt>
                <c:pt idx="2522">
                  <c:v>6.7376007616925602</c:v>
                </c:pt>
                <c:pt idx="2523">
                  <c:v>6.7376007616925602</c:v>
                </c:pt>
                <c:pt idx="2524">
                  <c:v>6.7376007616925602</c:v>
                </c:pt>
                <c:pt idx="2525">
                  <c:v>6.7376007616925602</c:v>
                </c:pt>
                <c:pt idx="2526">
                  <c:v>6.7376007616925602</c:v>
                </c:pt>
                <c:pt idx="2527">
                  <c:v>6.7376007616925602</c:v>
                </c:pt>
                <c:pt idx="2528">
                  <c:v>6.7376007616925602</c:v>
                </c:pt>
                <c:pt idx="2529">
                  <c:v>6.7376007616925602</c:v>
                </c:pt>
                <c:pt idx="2530">
                  <c:v>6.7376007616925602</c:v>
                </c:pt>
                <c:pt idx="2531">
                  <c:v>6.7376007616925602</c:v>
                </c:pt>
                <c:pt idx="2532">
                  <c:v>6.7376007616925602</c:v>
                </c:pt>
                <c:pt idx="2533">
                  <c:v>6.7376007616925602</c:v>
                </c:pt>
                <c:pt idx="2534">
                  <c:v>6.7376007616925602</c:v>
                </c:pt>
                <c:pt idx="2535">
                  <c:v>6.7376007616925602</c:v>
                </c:pt>
                <c:pt idx="2536">
                  <c:v>6.7376007616925602</c:v>
                </c:pt>
                <c:pt idx="2537">
                  <c:v>6.7376007616925602</c:v>
                </c:pt>
                <c:pt idx="2538">
                  <c:v>6.7376007616925602</c:v>
                </c:pt>
                <c:pt idx="2539">
                  <c:v>6.7376007616925602</c:v>
                </c:pt>
                <c:pt idx="2540">
                  <c:v>6.7376007616925602</c:v>
                </c:pt>
                <c:pt idx="2541">
                  <c:v>6.7376007616925602</c:v>
                </c:pt>
                <c:pt idx="2542">
                  <c:v>6.7376007616925602</c:v>
                </c:pt>
                <c:pt idx="2543">
                  <c:v>6.7376007616925602</c:v>
                </c:pt>
                <c:pt idx="2544">
                  <c:v>6.7376007616925602</c:v>
                </c:pt>
                <c:pt idx="2545">
                  <c:v>6.7376007616925602</c:v>
                </c:pt>
                <c:pt idx="2546">
                  <c:v>6.7376007616925602</c:v>
                </c:pt>
                <c:pt idx="2547">
                  <c:v>6.7376007616925602</c:v>
                </c:pt>
                <c:pt idx="2548">
                  <c:v>6.7376007616925602</c:v>
                </c:pt>
                <c:pt idx="2549">
                  <c:v>6.7376007616925602</c:v>
                </c:pt>
                <c:pt idx="2550">
                  <c:v>6.7376007616925602</c:v>
                </c:pt>
                <c:pt idx="2551">
                  <c:v>6.7376007616925602</c:v>
                </c:pt>
                <c:pt idx="2552">
                  <c:v>6.7376007616925602</c:v>
                </c:pt>
                <c:pt idx="2553">
                  <c:v>6.7376007616925602</c:v>
                </c:pt>
                <c:pt idx="2554">
                  <c:v>6.7376007616925602</c:v>
                </c:pt>
                <c:pt idx="2555">
                  <c:v>6.7376007616925602</c:v>
                </c:pt>
                <c:pt idx="2556">
                  <c:v>6.7376007616925602</c:v>
                </c:pt>
                <c:pt idx="2557">
                  <c:v>6.7376007616925602</c:v>
                </c:pt>
                <c:pt idx="2558">
                  <c:v>6.7376007616925602</c:v>
                </c:pt>
                <c:pt idx="2559">
                  <c:v>6.7376007616925602</c:v>
                </c:pt>
                <c:pt idx="2560">
                  <c:v>6.7376007616925602</c:v>
                </c:pt>
                <c:pt idx="2561">
                  <c:v>6.7376007616925602</c:v>
                </c:pt>
                <c:pt idx="2562">
                  <c:v>6.7376007616925602</c:v>
                </c:pt>
                <c:pt idx="2563">
                  <c:v>6.7376007616925602</c:v>
                </c:pt>
                <c:pt idx="2564">
                  <c:v>6.7376007616925602</c:v>
                </c:pt>
                <c:pt idx="2565">
                  <c:v>6.7376007616925602</c:v>
                </c:pt>
                <c:pt idx="2566">
                  <c:v>6.7376007616925602</c:v>
                </c:pt>
                <c:pt idx="2567">
                  <c:v>6.7376007616925602</c:v>
                </c:pt>
                <c:pt idx="2568">
                  <c:v>6.7376007616925602</c:v>
                </c:pt>
                <c:pt idx="2569">
                  <c:v>6.7376007616925602</c:v>
                </c:pt>
                <c:pt idx="2570">
                  <c:v>6.7376007616925602</c:v>
                </c:pt>
                <c:pt idx="2571">
                  <c:v>6.7376007616925602</c:v>
                </c:pt>
                <c:pt idx="2572">
                  <c:v>6.7376007616925602</c:v>
                </c:pt>
                <c:pt idx="2573">
                  <c:v>6.7376007616925602</c:v>
                </c:pt>
                <c:pt idx="2574">
                  <c:v>6.7376007616925602</c:v>
                </c:pt>
                <c:pt idx="2575">
                  <c:v>6.7376007616925602</c:v>
                </c:pt>
                <c:pt idx="2576">
                  <c:v>6.7376007616925602</c:v>
                </c:pt>
                <c:pt idx="2577">
                  <c:v>6.7376007616925602</c:v>
                </c:pt>
                <c:pt idx="2578">
                  <c:v>6.7376007616925602</c:v>
                </c:pt>
                <c:pt idx="2579">
                  <c:v>6.7376007616925602</c:v>
                </c:pt>
                <c:pt idx="2580">
                  <c:v>6.7376007616925602</c:v>
                </c:pt>
                <c:pt idx="2581">
                  <c:v>6.7376007616925602</c:v>
                </c:pt>
                <c:pt idx="2582">
                  <c:v>6.7376007616925602</c:v>
                </c:pt>
                <c:pt idx="2583">
                  <c:v>6.7376007616925602</c:v>
                </c:pt>
                <c:pt idx="2584">
                  <c:v>6.7376007616925602</c:v>
                </c:pt>
                <c:pt idx="2585">
                  <c:v>6.7376007616925602</c:v>
                </c:pt>
                <c:pt idx="2586">
                  <c:v>6.7376007616925602</c:v>
                </c:pt>
                <c:pt idx="2587">
                  <c:v>6.7376007616925602</c:v>
                </c:pt>
                <c:pt idx="2588">
                  <c:v>6.7376007616925602</c:v>
                </c:pt>
                <c:pt idx="2589">
                  <c:v>6.7376007616925602</c:v>
                </c:pt>
                <c:pt idx="2590">
                  <c:v>6.7376007616925602</c:v>
                </c:pt>
                <c:pt idx="2591">
                  <c:v>6.7376007616925602</c:v>
                </c:pt>
                <c:pt idx="2592">
                  <c:v>6.7376007616925602</c:v>
                </c:pt>
                <c:pt idx="2593">
                  <c:v>6.7376007616925602</c:v>
                </c:pt>
                <c:pt idx="2594">
                  <c:v>6.7376007616925602</c:v>
                </c:pt>
                <c:pt idx="2595">
                  <c:v>6.7376007616925602</c:v>
                </c:pt>
                <c:pt idx="2596">
                  <c:v>6.7376007616925602</c:v>
                </c:pt>
                <c:pt idx="2597">
                  <c:v>6.7376007616925602</c:v>
                </c:pt>
                <c:pt idx="2598">
                  <c:v>6.7376007616925602</c:v>
                </c:pt>
                <c:pt idx="2599">
                  <c:v>6.7376007616925602</c:v>
                </c:pt>
                <c:pt idx="2600">
                  <c:v>6.7376007616925602</c:v>
                </c:pt>
                <c:pt idx="2601">
                  <c:v>6.7376007616925602</c:v>
                </c:pt>
                <c:pt idx="2602">
                  <c:v>6.7376007616925602</c:v>
                </c:pt>
                <c:pt idx="2603">
                  <c:v>6.7376007616925602</c:v>
                </c:pt>
                <c:pt idx="2604">
                  <c:v>6.7376007616925602</c:v>
                </c:pt>
                <c:pt idx="2605">
                  <c:v>6.7376007616925602</c:v>
                </c:pt>
                <c:pt idx="2606">
                  <c:v>6.7376007616925602</c:v>
                </c:pt>
                <c:pt idx="2607">
                  <c:v>6.7376007616925602</c:v>
                </c:pt>
                <c:pt idx="2608">
                  <c:v>6.7376007616925602</c:v>
                </c:pt>
                <c:pt idx="2609">
                  <c:v>6.7376007616925602</c:v>
                </c:pt>
                <c:pt idx="2610">
                  <c:v>6.7376007616925602</c:v>
                </c:pt>
                <c:pt idx="2611">
                  <c:v>6.7376007616925602</c:v>
                </c:pt>
                <c:pt idx="2612">
                  <c:v>6.7376007616925602</c:v>
                </c:pt>
                <c:pt idx="2613">
                  <c:v>6.7376007616925602</c:v>
                </c:pt>
                <c:pt idx="2614">
                  <c:v>6.7376007616925602</c:v>
                </c:pt>
                <c:pt idx="2615">
                  <c:v>6.7376007616925602</c:v>
                </c:pt>
                <c:pt idx="2616">
                  <c:v>6.7376007616925602</c:v>
                </c:pt>
                <c:pt idx="2617">
                  <c:v>6.7376007616925602</c:v>
                </c:pt>
                <c:pt idx="2618">
                  <c:v>6.7376007616925602</c:v>
                </c:pt>
                <c:pt idx="2619">
                  <c:v>6.7376007616925602</c:v>
                </c:pt>
                <c:pt idx="2620">
                  <c:v>6.7376007616925602</c:v>
                </c:pt>
                <c:pt idx="2621">
                  <c:v>6.7376007616925602</c:v>
                </c:pt>
                <c:pt idx="2622">
                  <c:v>6.7376007616925602</c:v>
                </c:pt>
                <c:pt idx="2623">
                  <c:v>6.7376007616925602</c:v>
                </c:pt>
                <c:pt idx="2624">
                  <c:v>6.7376007616925602</c:v>
                </c:pt>
                <c:pt idx="2625">
                  <c:v>6.7376007616925602</c:v>
                </c:pt>
                <c:pt idx="2626">
                  <c:v>6.7376007616925602</c:v>
                </c:pt>
              </c:numCache>
            </c:numRef>
          </c:val>
          <c:smooth val="0"/>
          <c:extLst xmlns:c16r2="http://schemas.microsoft.com/office/drawing/2015/06/chart">
            <c:ext xmlns:c16="http://schemas.microsoft.com/office/drawing/2014/chart" uri="{C3380CC4-5D6E-409C-BE32-E72D297353CC}">
              <c16:uniqueId val="{00000002-668D-4C79-B93F-5720935D3C33}"/>
            </c:ext>
          </c:extLst>
        </c:ser>
        <c:ser>
          <c:idx val="4"/>
          <c:order val="3"/>
          <c:tx>
            <c:strRef>
              <c:f>'6M'!$S$30</c:f>
              <c:strCache>
                <c:ptCount val="1"/>
                <c:pt idx="0">
                  <c:v>MR 0.1-0.2</c:v>
                </c:pt>
              </c:strCache>
            </c:strRef>
          </c:tx>
          <c:spPr>
            <a:ln>
              <a:solidFill>
                <a:srgbClr val="00B050"/>
              </a:solidFill>
            </a:ln>
          </c:spPr>
          <c:marker>
            <c:symbol val="none"/>
          </c:marker>
          <c:cat>
            <c:numRef>
              <c:f>'6M'!$N$137:$N$2763</c:f>
              <c:numCache>
                <c:formatCode>m/d/yyyy</c:formatCode>
                <c:ptCount val="2627"/>
                <c:pt idx="0">
                  <c:v>38610</c:v>
                </c:pt>
                <c:pt idx="1">
                  <c:v>38611</c:v>
                </c:pt>
                <c:pt idx="2">
                  <c:v>38614</c:v>
                </c:pt>
                <c:pt idx="3">
                  <c:v>38615</c:v>
                </c:pt>
                <c:pt idx="4">
                  <c:v>38616</c:v>
                </c:pt>
                <c:pt idx="5">
                  <c:v>38617</c:v>
                </c:pt>
                <c:pt idx="6">
                  <c:v>38618</c:v>
                </c:pt>
                <c:pt idx="7">
                  <c:v>38621</c:v>
                </c:pt>
                <c:pt idx="8">
                  <c:v>38622</c:v>
                </c:pt>
                <c:pt idx="9">
                  <c:v>38623</c:v>
                </c:pt>
                <c:pt idx="10">
                  <c:v>38624</c:v>
                </c:pt>
                <c:pt idx="11">
                  <c:v>38625</c:v>
                </c:pt>
                <c:pt idx="12">
                  <c:v>38628</c:v>
                </c:pt>
                <c:pt idx="13">
                  <c:v>38629</c:v>
                </c:pt>
                <c:pt idx="14">
                  <c:v>38630</c:v>
                </c:pt>
                <c:pt idx="15">
                  <c:v>38631</c:v>
                </c:pt>
                <c:pt idx="16">
                  <c:v>38632</c:v>
                </c:pt>
                <c:pt idx="17">
                  <c:v>38635</c:v>
                </c:pt>
                <c:pt idx="18">
                  <c:v>38636</c:v>
                </c:pt>
                <c:pt idx="19">
                  <c:v>38637</c:v>
                </c:pt>
                <c:pt idx="20">
                  <c:v>38638</c:v>
                </c:pt>
                <c:pt idx="21">
                  <c:v>38639</c:v>
                </c:pt>
                <c:pt idx="22">
                  <c:v>38642</c:v>
                </c:pt>
                <c:pt idx="23">
                  <c:v>38643</c:v>
                </c:pt>
                <c:pt idx="24">
                  <c:v>38644</c:v>
                </c:pt>
                <c:pt idx="25">
                  <c:v>38645</c:v>
                </c:pt>
                <c:pt idx="26">
                  <c:v>38646</c:v>
                </c:pt>
                <c:pt idx="27">
                  <c:v>38649</c:v>
                </c:pt>
                <c:pt idx="28">
                  <c:v>38650</c:v>
                </c:pt>
                <c:pt idx="29">
                  <c:v>38651</c:v>
                </c:pt>
                <c:pt idx="30">
                  <c:v>38652</c:v>
                </c:pt>
                <c:pt idx="31">
                  <c:v>38653</c:v>
                </c:pt>
                <c:pt idx="32">
                  <c:v>38656</c:v>
                </c:pt>
                <c:pt idx="33">
                  <c:v>38657</c:v>
                </c:pt>
                <c:pt idx="34">
                  <c:v>38658</c:v>
                </c:pt>
                <c:pt idx="35">
                  <c:v>38659</c:v>
                </c:pt>
                <c:pt idx="36">
                  <c:v>38660</c:v>
                </c:pt>
                <c:pt idx="37">
                  <c:v>38663</c:v>
                </c:pt>
                <c:pt idx="38">
                  <c:v>38664</c:v>
                </c:pt>
                <c:pt idx="39">
                  <c:v>38665</c:v>
                </c:pt>
                <c:pt idx="40">
                  <c:v>38666</c:v>
                </c:pt>
                <c:pt idx="41">
                  <c:v>38667</c:v>
                </c:pt>
                <c:pt idx="42">
                  <c:v>38670</c:v>
                </c:pt>
                <c:pt idx="43">
                  <c:v>38671</c:v>
                </c:pt>
                <c:pt idx="44">
                  <c:v>38672</c:v>
                </c:pt>
                <c:pt idx="45">
                  <c:v>38673</c:v>
                </c:pt>
                <c:pt idx="46">
                  <c:v>38674</c:v>
                </c:pt>
                <c:pt idx="47">
                  <c:v>38677</c:v>
                </c:pt>
                <c:pt idx="48">
                  <c:v>38678</c:v>
                </c:pt>
                <c:pt idx="49">
                  <c:v>38679</c:v>
                </c:pt>
                <c:pt idx="50">
                  <c:v>38681</c:v>
                </c:pt>
                <c:pt idx="51">
                  <c:v>38684</c:v>
                </c:pt>
                <c:pt idx="52">
                  <c:v>38685</c:v>
                </c:pt>
                <c:pt idx="53">
                  <c:v>38686</c:v>
                </c:pt>
                <c:pt idx="54">
                  <c:v>38687</c:v>
                </c:pt>
                <c:pt idx="55">
                  <c:v>38688</c:v>
                </c:pt>
                <c:pt idx="56">
                  <c:v>38691</c:v>
                </c:pt>
                <c:pt idx="57">
                  <c:v>38692</c:v>
                </c:pt>
                <c:pt idx="58">
                  <c:v>38693</c:v>
                </c:pt>
                <c:pt idx="59">
                  <c:v>38694</c:v>
                </c:pt>
                <c:pt idx="60">
                  <c:v>38695</c:v>
                </c:pt>
                <c:pt idx="61">
                  <c:v>38698</c:v>
                </c:pt>
                <c:pt idx="62">
                  <c:v>38699</c:v>
                </c:pt>
                <c:pt idx="63">
                  <c:v>38700</c:v>
                </c:pt>
                <c:pt idx="64">
                  <c:v>38701</c:v>
                </c:pt>
                <c:pt idx="65">
                  <c:v>38702</c:v>
                </c:pt>
                <c:pt idx="66">
                  <c:v>38705</c:v>
                </c:pt>
                <c:pt idx="67">
                  <c:v>38706</c:v>
                </c:pt>
                <c:pt idx="68">
                  <c:v>38707</c:v>
                </c:pt>
                <c:pt idx="69">
                  <c:v>38708</c:v>
                </c:pt>
                <c:pt idx="70">
                  <c:v>38709</c:v>
                </c:pt>
                <c:pt idx="71">
                  <c:v>38713</c:v>
                </c:pt>
                <c:pt idx="72">
                  <c:v>38714</c:v>
                </c:pt>
                <c:pt idx="73">
                  <c:v>38715</c:v>
                </c:pt>
                <c:pt idx="74">
                  <c:v>38716</c:v>
                </c:pt>
                <c:pt idx="75">
                  <c:v>38720</c:v>
                </c:pt>
                <c:pt idx="76">
                  <c:v>38721</c:v>
                </c:pt>
                <c:pt idx="77">
                  <c:v>38722</c:v>
                </c:pt>
                <c:pt idx="78">
                  <c:v>38723</c:v>
                </c:pt>
                <c:pt idx="79">
                  <c:v>38726</c:v>
                </c:pt>
                <c:pt idx="80">
                  <c:v>38727</c:v>
                </c:pt>
                <c:pt idx="81">
                  <c:v>38728</c:v>
                </c:pt>
                <c:pt idx="82">
                  <c:v>38729</c:v>
                </c:pt>
                <c:pt idx="83">
                  <c:v>38730</c:v>
                </c:pt>
                <c:pt idx="84">
                  <c:v>38734</c:v>
                </c:pt>
                <c:pt idx="85">
                  <c:v>38735</c:v>
                </c:pt>
                <c:pt idx="86">
                  <c:v>38736</c:v>
                </c:pt>
                <c:pt idx="87">
                  <c:v>38737</c:v>
                </c:pt>
                <c:pt idx="88">
                  <c:v>38740</c:v>
                </c:pt>
                <c:pt idx="89">
                  <c:v>38741</c:v>
                </c:pt>
                <c:pt idx="90">
                  <c:v>38742</c:v>
                </c:pt>
                <c:pt idx="91">
                  <c:v>38743</c:v>
                </c:pt>
                <c:pt idx="92">
                  <c:v>38744</c:v>
                </c:pt>
                <c:pt idx="93">
                  <c:v>38747</c:v>
                </c:pt>
                <c:pt idx="94">
                  <c:v>38748</c:v>
                </c:pt>
                <c:pt idx="95">
                  <c:v>38749</c:v>
                </c:pt>
                <c:pt idx="96">
                  <c:v>38750</c:v>
                </c:pt>
                <c:pt idx="97">
                  <c:v>38751</c:v>
                </c:pt>
                <c:pt idx="98">
                  <c:v>38754</c:v>
                </c:pt>
                <c:pt idx="99">
                  <c:v>38755</c:v>
                </c:pt>
                <c:pt idx="100">
                  <c:v>38756</c:v>
                </c:pt>
                <c:pt idx="101">
                  <c:v>38757</c:v>
                </c:pt>
                <c:pt idx="102">
                  <c:v>38758</c:v>
                </c:pt>
                <c:pt idx="103">
                  <c:v>38761</c:v>
                </c:pt>
                <c:pt idx="104">
                  <c:v>38762</c:v>
                </c:pt>
                <c:pt idx="105">
                  <c:v>38763</c:v>
                </c:pt>
                <c:pt idx="106">
                  <c:v>38764</c:v>
                </c:pt>
                <c:pt idx="107">
                  <c:v>38765</c:v>
                </c:pt>
                <c:pt idx="108">
                  <c:v>38769</c:v>
                </c:pt>
                <c:pt idx="109">
                  <c:v>38770</c:v>
                </c:pt>
                <c:pt idx="110">
                  <c:v>38771</c:v>
                </c:pt>
                <c:pt idx="111">
                  <c:v>38772</c:v>
                </c:pt>
                <c:pt idx="112">
                  <c:v>38775</c:v>
                </c:pt>
                <c:pt idx="113">
                  <c:v>38776</c:v>
                </c:pt>
                <c:pt idx="114">
                  <c:v>38777</c:v>
                </c:pt>
                <c:pt idx="115">
                  <c:v>38778</c:v>
                </c:pt>
                <c:pt idx="116">
                  <c:v>38779</c:v>
                </c:pt>
                <c:pt idx="117">
                  <c:v>38782</c:v>
                </c:pt>
                <c:pt idx="118">
                  <c:v>38783</c:v>
                </c:pt>
                <c:pt idx="119">
                  <c:v>38784</c:v>
                </c:pt>
                <c:pt idx="120">
                  <c:v>38785</c:v>
                </c:pt>
                <c:pt idx="121">
                  <c:v>38786</c:v>
                </c:pt>
                <c:pt idx="122">
                  <c:v>38789</c:v>
                </c:pt>
                <c:pt idx="123">
                  <c:v>38790</c:v>
                </c:pt>
                <c:pt idx="124">
                  <c:v>38791</c:v>
                </c:pt>
                <c:pt idx="125">
                  <c:v>38792</c:v>
                </c:pt>
                <c:pt idx="126">
                  <c:v>38793</c:v>
                </c:pt>
                <c:pt idx="127">
                  <c:v>38796</c:v>
                </c:pt>
                <c:pt idx="128">
                  <c:v>38797</c:v>
                </c:pt>
                <c:pt idx="129">
                  <c:v>38798</c:v>
                </c:pt>
                <c:pt idx="130">
                  <c:v>38799</c:v>
                </c:pt>
                <c:pt idx="131">
                  <c:v>38800</c:v>
                </c:pt>
                <c:pt idx="132">
                  <c:v>38803</c:v>
                </c:pt>
                <c:pt idx="133">
                  <c:v>38804</c:v>
                </c:pt>
                <c:pt idx="134">
                  <c:v>38805</c:v>
                </c:pt>
                <c:pt idx="135">
                  <c:v>38806</c:v>
                </c:pt>
                <c:pt idx="136">
                  <c:v>38807</c:v>
                </c:pt>
                <c:pt idx="137">
                  <c:v>38810</c:v>
                </c:pt>
                <c:pt idx="138">
                  <c:v>38811</c:v>
                </c:pt>
                <c:pt idx="139">
                  <c:v>38812</c:v>
                </c:pt>
                <c:pt idx="140">
                  <c:v>38813</c:v>
                </c:pt>
                <c:pt idx="141">
                  <c:v>38814</c:v>
                </c:pt>
                <c:pt idx="142">
                  <c:v>38817</c:v>
                </c:pt>
                <c:pt idx="143">
                  <c:v>38818</c:v>
                </c:pt>
                <c:pt idx="144">
                  <c:v>38819</c:v>
                </c:pt>
                <c:pt idx="145">
                  <c:v>38820</c:v>
                </c:pt>
                <c:pt idx="146">
                  <c:v>38824</c:v>
                </c:pt>
                <c:pt idx="147">
                  <c:v>38825</c:v>
                </c:pt>
                <c:pt idx="148">
                  <c:v>38826</c:v>
                </c:pt>
                <c:pt idx="149">
                  <c:v>38827</c:v>
                </c:pt>
                <c:pt idx="150">
                  <c:v>38828</c:v>
                </c:pt>
                <c:pt idx="151">
                  <c:v>38831</c:v>
                </c:pt>
                <c:pt idx="152">
                  <c:v>38832</c:v>
                </c:pt>
                <c:pt idx="153">
                  <c:v>38833</c:v>
                </c:pt>
                <c:pt idx="154">
                  <c:v>38834</c:v>
                </c:pt>
                <c:pt idx="155">
                  <c:v>38835</c:v>
                </c:pt>
                <c:pt idx="156">
                  <c:v>38838</c:v>
                </c:pt>
                <c:pt idx="157">
                  <c:v>38839</c:v>
                </c:pt>
                <c:pt idx="158">
                  <c:v>38840</c:v>
                </c:pt>
                <c:pt idx="159">
                  <c:v>38841</c:v>
                </c:pt>
                <c:pt idx="160">
                  <c:v>38842</c:v>
                </c:pt>
                <c:pt idx="161">
                  <c:v>38845</c:v>
                </c:pt>
                <c:pt idx="162">
                  <c:v>38846</c:v>
                </c:pt>
                <c:pt idx="163">
                  <c:v>38847</c:v>
                </c:pt>
                <c:pt idx="164">
                  <c:v>38848</c:v>
                </c:pt>
                <c:pt idx="165">
                  <c:v>38849</c:v>
                </c:pt>
                <c:pt idx="166">
                  <c:v>38852</c:v>
                </c:pt>
                <c:pt idx="167">
                  <c:v>38853</c:v>
                </c:pt>
                <c:pt idx="168">
                  <c:v>38854</c:v>
                </c:pt>
                <c:pt idx="169">
                  <c:v>38855</c:v>
                </c:pt>
                <c:pt idx="170">
                  <c:v>38856</c:v>
                </c:pt>
                <c:pt idx="171">
                  <c:v>38859</c:v>
                </c:pt>
                <c:pt idx="172">
                  <c:v>38860</c:v>
                </c:pt>
                <c:pt idx="173">
                  <c:v>38861</c:v>
                </c:pt>
                <c:pt idx="174">
                  <c:v>38862</c:v>
                </c:pt>
                <c:pt idx="175">
                  <c:v>38863</c:v>
                </c:pt>
                <c:pt idx="176">
                  <c:v>38867</c:v>
                </c:pt>
                <c:pt idx="177">
                  <c:v>38868</c:v>
                </c:pt>
                <c:pt idx="178">
                  <c:v>38869</c:v>
                </c:pt>
                <c:pt idx="179">
                  <c:v>38870</c:v>
                </c:pt>
                <c:pt idx="180">
                  <c:v>38873</c:v>
                </c:pt>
                <c:pt idx="181">
                  <c:v>38874</c:v>
                </c:pt>
                <c:pt idx="182">
                  <c:v>38875</c:v>
                </c:pt>
                <c:pt idx="183">
                  <c:v>38876</c:v>
                </c:pt>
                <c:pt idx="184">
                  <c:v>38877</c:v>
                </c:pt>
                <c:pt idx="185">
                  <c:v>38880</c:v>
                </c:pt>
                <c:pt idx="186">
                  <c:v>38881</c:v>
                </c:pt>
                <c:pt idx="187">
                  <c:v>38882</c:v>
                </c:pt>
                <c:pt idx="188">
                  <c:v>38883</c:v>
                </c:pt>
                <c:pt idx="189">
                  <c:v>38884</c:v>
                </c:pt>
                <c:pt idx="190">
                  <c:v>38887</c:v>
                </c:pt>
                <c:pt idx="191">
                  <c:v>38888</c:v>
                </c:pt>
                <c:pt idx="192">
                  <c:v>38889</c:v>
                </c:pt>
                <c:pt idx="193">
                  <c:v>38890</c:v>
                </c:pt>
                <c:pt idx="194">
                  <c:v>38891</c:v>
                </c:pt>
                <c:pt idx="195">
                  <c:v>38894</c:v>
                </c:pt>
                <c:pt idx="196">
                  <c:v>38895</c:v>
                </c:pt>
                <c:pt idx="197">
                  <c:v>38896</c:v>
                </c:pt>
                <c:pt idx="198">
                  <c:v>38897</c:v>
                </c:pt>
                <c:pt idx="199">
                  <c:v>38898</c:v>
                </c:pt>
                <c:pt idx="200">
                  <c:v>38901</c:v>
                </c:pt>
                <c:pt idx="201">
                  <c:v>38903</c:v>
                </c:pt>
                <c:pt idx="202">
                  <c:v>38904</c:v>
                </c:pt>
                <c:pt idx="203">
                  <c:v>38905</c:v>
                </c:pt>
                <c:pt idx="204">
                  <c:v>38908</c:v>
                </c:pt>
                <c:pt idx="205">
                  <c:v>38909</c:v>
                </c:pt>
                <c:pt idx="206">
                  <c:v>38910</c:v>
                </c:pt>
                <c:pt idx="207">
                  <c:v>38911</c:v>
                </c:pt>
                <c:pt idx="208">
                  <c:v>38912</c:v>
                </c:pt>
                <c:pt idx="209">
                  <c:v>38915</c:v>
                </c:pt>
                <c:pt idx="210">
                  <c:v>38916</c:v>
                </c:pt>
                <c:pt idx="211">
                  <c:v>38917</c:v>
                </c:pt>
                <c:pt idx="212">
                  <c:v>38918</c:v>
                </c:pt>
                <c:pt idx="213">
                  <c:v>38919</c:v>
                </c:pt>
                <c:pt idx="214">
                  <c:v>38922</c:v>
                </c:pt>
                <c:pt idx="215">
                  <c:v>38923</c:v>
                </c:pt>
                <c:pt idx="216">
                  <c:v>38924</c:v>
                </c:pt>
                <c:pt idx="217">
                  <c:v>38925</c:v>
                </c:pt>
                <c:pt idx="218">
                  <c:v>38926</c:v>
                </c:pt>
                <c:pt idx="219">
                  <c:v>38929</c:v>
                </c:pt>
                <c:pt idx="220">
                  <c:v>38930</c:v>
                </c:pt>
                <c:pt idx="221">
                  <c:v>38931</c:v>
                </c:pt>
                <c:pt idx="222">
                  <c:v>38932</c:v>
                </c:pt>
                <c:pt idx="223">
                  <c:v>38933</c:v>
                </c:pt>
                <c:pt idx="224">
                  <c:v>38936</c:v>
                </c:pt>
                <c:pt idx="225">
                  <c:v>38937</c:v>
                </c:pt>
                <c:pt idx="226">
                  <c:v>38938</c:v>
                </c:pt>
                <c:pt idx="227">
                  <c:v>38939</c:v>
                </c:pt>
                <c:pt idx="228">
                  <c:v>38940</c:v>
                </c:pt>
                <c:pt idx="229">
                  <c:v>38943</c:v>
                </c:pt>
                <c:pt idx="230">
                  <c:v>38944</c:v>
                </c:pt>
                <c:pt idx="231">
                  <c:v>38945</c:v>
                </c:pt>
                <c:pt idx="232">
                  <c:v>38946</c:v>
                </c:pt>
                <c:pt idx="233">
                  <c:v>38947</c:v>
                </c:pt>
                <c:pt idx="234">
                  <c:v>38950</c:v>
                </c:pt>
                <c:pt idx="235">
                  <c:v>38951</c:v>
                </c:pt>
                <c:pt idx="236">
                  <c:v>38952</c:v>
                </c:pt>
                <c:pt idx="237">
                  <c:v>38953</c:v>
                </c:pt>
                <c:pt idx="238">
                  <c:v>38954</c:v>
                </c:pt>
                <c:pt idx="239">
                  <c:v>38957</c:v>
                </c:pt>
                <c:pt idx="240">
                  <c:v>38958</c:v>
                </c:pt>
                <c:pt idx="241">
                  <c:v>38959</c:v>
                </c:pt>
                <c:pt idx="242">
                  <c:v>38960</c:v>
                </c:pt>
                <c:pt idx="243">
                  <c:v>38961</c:v>
                </c:pt>
                <c:pt idx="244">
                  <c:v>38965</c:v>
                </c:pt>
                <c:pt idx="245">
                  <c:v>38966</c:v>
                </c:pt>
                <c:pt idx="246">
                  <c:v>38967</c:v>
                </c:pt>
                <c:pt idx="247">
                  <c:v>38968</c:v>
                </c:pt>
                <c:pt idx="248">
                  <c:v>38971</c:v>
                </c:pt>
                <c:pt idx="249">
                  <c:v>38972</c:v>
                </c:pt>
                <c:pt idx="250">
                  <c:v>38973</c:v>
                </c:pt>
                <c:pt idx="251">
                  <c:v>38974</c:v>
                </c:pt>
                <c:pt idx="252">
                  <c:v>38975</c:v>
                </c:pt>
                <c:pt idx="253">
                  <c:v>38978</c:v>
                </c:pt>
                <c:pt idx="254">
                  <c:v>38979</c:v>
                </c:pt>
                <c:pt idx="255">
                  <c:v>38980</c:v>
                </c:pt>
                <c:pt idx="256">
                  <c:v>38981</c:v>
                </c:pt>
                <c:pt idx="257">
                  <c:v>38982</c:v>
                </c:pt>
                <c:pt idx="258">
                  <c:v>38985</c:v>
                </c:pt>
                <c:pt idx="259">
                  <c:v>38986</c:v>
                </c:pt>
                <c:pt idx="260">
                  <c:v>38987</c:v>
                </c:pt>
                <c:pt idx="261">
                  <c:v>38988</c:v>
                </c:pt>
                <c:pt idx="262">
                  <c:v>38989</c:v>
                </c:pt>
                <c:pt idx="263">
                  <c:v>38992</c:v>
                </c:pt>
                <c:pt idx="264">
                  <c:v>38993</c:v>
                </c:pt>
                <c:pt idx="265">
                  <c:v>38994</c:v>
                </c:pt>
                <c:pt idx="266">
                  <c:v>38995</c:v>
                </c:pt>
                <c:pt idx="267">
                  <c:v>38996</c:v>
                </c:pt>
                <c:pt idx="268">
                  <c:v>38999</c:v>
                </c:pt>
                <c:pt idx="269">
                  <c:v>39000</c:v>
                </c:pt>
                <c:pt idx="270">
                  <c:v>39001</c:v>
                </c:pt>
                <c:pt idx="271">
                  <c:v>39002</c:v>
                </c:pt>
                <c:pt idx="272">
                  <c:v>39003</c:v>
                </c:pt>
                <c:pt idx="273">
                  <c:v>39006</c:v>
                </c:pt>
                <c:pt idx="274">
                  <c:v>39007</c:v>
                </c:pt>
                <c:pt idx="275">
                  <c:v>39008</c:v>
                </c:pt>
                <c:pt idx="276">
                  <c:v>39009</c:v>
                </c:pt>
                <c:pt idx="277">
                  <c:v>39010</c:v>
                </c:pt>
                <c:pt idx="278">
                  <c:v>39013</c:v>
                </c:pt>
                <c:pt idx="279">
                  <c:v>39014</c:v>
                </c:pt>
                <c:pt idx="280">
                  <c:v>39015</c:v>
                </c:pt>
                <c:pt idx="281">
                  <c:v>39016</c:v>
                </c:pt>
                <c:pt idx="282">
                  <c:v>39017</c:v>
                </c:pt>
                <c:pt idx="283">
                  <c:v>39020</c:v>
                </c:pt>
                <c:pt idx="284">
                  <c:v>39021</c:v>
                </c:pt>
                <c:pt idx="285">
                  <c:v>39022</c:v>
                </c:pt>
                <c:pt idx="286">
                  <c:v>39023</c:v>
                </c:pt>
                <c:pt idx="287">
                  <c:v>39024</c:v>
                </c:pt>
                <c:pt idx="288">
                  <c:v>39027</c:v>
                </c:pt>
                <c:pt idx="289">
                  <c:v>39028</c:v>
                </c:pt>
                <c:pt idx="290">
                  <c:v>39029</c:v>
                </c:pt>
                <c:pt idx="291">
                  <c:v>39030</c:v>
                </c:pt>
                <c:pt idx="292">
                  <c:v>39031</c:v>
                </c:pt>
                <c:pt idx="293">
                  <c:v>39034</c:v>
                </c:pt>
                <c:pt idx="294">
                  <c:v>39035</c:v>
                </c:pt>
                <c:pt idx="295">
                  <c:v>39036</c:v>
                </c:pt>
                <c:pt idx="296">
                  <c:v>39037</c:v>
                </c:pt>
                <c:pt idx="297">
                  <c:v>39038</c:v>
                </c:pt>
                <c:pt idx="298">
                  <c:v>39041</c:v>
                </c:pt>
                <c:pt idx="299">
                  <c:v>39042</c:v>
                </c:pt>
                <c:pt idx="300">
                  <c:v>39043</c:v>
                </c:pt>
                <c:pt idx="301">
                  <c:v>39045</c:v>
                </c:pt>
                <c:pt idx="302">
                  <c:v>39048</c:v>
                </c:pt>
                <c:pt idx="303">
                  <c:v>39049</c:v>
                </c:pt>
                <c:pt idx="304">
                  <c:v>39050</c:v>
                </c:pt>
                <c:pt idx="305">
                  <c:v>39051</c:v>
                </c:pt>
                <c:pt idx="306">
                  <c:v>39052</c:v>
                </c:pt>
                <c:pt idx="307">
                  <c:v>39055</c:v>
                </c:pt>
                <c:pt idx="308">
                  <c:v>39056</c:v>
                </c:pt>
                <c:pt idx="309">
                  <c:v>39057</c:v>
                </c:pt>
                <c:pt idx="310">
                  <c:v>39058</c:v>
                </c:pt>
                <c:pt idx="311">
                  <c:v>39059</c:v>
                </c:pt>
                <c:pt idx="312">
                  <c:v>39062</c:v>
                </c:pt>
                <c:pt idx="313">
                  <c:v>39063</c:v>
                </c:pt>
                <c:pt idx="314">
                  <c:v>39064</c:v>
                </c:pt>
                <c:pt idx="315">
                  <c:v>39065</c:v>
                </c:pt>
                <c:pt idx="316">
                  <c:v>39066</c:v>
                </c:pt>
                <c:pt idx="317">
                  <c:v>39069</c:v>
                </c:pt>
                <c:pt idx="318">
                  <c:v>39070</c:v>
                </c:pt>
                <c:pt idx="319">
                  <c:v>39071</c:v>
                </c:pt>
                <c:pt idx="320">
                  <c:v>39072</c:v>
                </c:pt>
                <c:pt idx="321">
                  <c:v>39073</c:v>
                </c:pt>
                <c:pt idx="322">
                  <c:v>39077</c:v>
                </c:pt>
                <c:pt idx="323">
                  <c:v>39078</c:v>
                </c:pt>
                <c:pt idx="324">
                  <c:v>39079</c:v>
                </c:pt>
                <c:pt idx="325">
                  <c:v>39080</c:v>
                </c:pt>
                <c:pt idx="326">
                  <c:v>39085</c:v>
                </c:pt>
                <c:pt idx="327">
                  <c:v>39086</c:v>
                </c:pt>
                <c:pt idx="328">
                  <c:v>39087</c:v>
                </c:pt>
                <c:pt idx="329">
                  <c:v>39090</c:v>
                </c:pt>
                <c:pt idx="330">
                  <c:v>39091</c:v>
                </c:pt>
                <c:pt idx="331">
                  <c:v>39092</c:v>
                </c:pt>
                <c:pt idx="332">
                  <c:v>39093</c:v>
                </c:pt>
                <c:pt idx="333">
                  <c:v>39094</c:v>
                </c:pt>
                <c:pt idx="334">
                  <c:v>39098</c:v>
                </c:pt>
                <c:pt idx="335">
                  <c:v>39099</c:v>
                </c:pt>
                <c:pt idx="336">
                  <c:v>39100</c:v>
                </c:pt>
                <c:pt idx="337">
                  <c:v>39101</c:v>
                </c:pt>
                <c:pt idx="338">
                  <c:v>39104</c:v>
                </c:pt>
                <c:pt idx="339">
                  <c:v>39105</c:v>
                </c:pt>
                <c:pt idx="340">
                  <c:v>39106</c:v>
                </c:pt>
                <c:pt idx="341">
                  <c:v>39107</c:v>
                </c:pt>
                <c:pt idx="342">
                  <c:v>39108</c:v>
                </c:pt>
                <c:pt idx="343">
                  <c:v>39111</c:v>
                </c:pt>
                <c:pt idx="344">
                  <c:v>39112</c:v>
                </c:pt>
                <c:pt idx="345">
                  <c:v>39113</c:v>
                </c:pt>
                <c:pt idx="346">
                  <c:v>39114</c:v>
                </c:pt>
                <c:pt idx="347">
                  <c:v>39115</c:v>
                </c:pt>
                <c:pt idx="348">
                  <c:v>39118</c:v>
                </c:pt>
                <c:pt idx="349">
                  <c:v>39119</c:v>
                </c:pt>
                <c:pt idx="350">
                  <c:v>39120</c:v>
                </c:pt>
                <c:pt idx="351">
                  <c:v>39121</c:v>
                </c:pt>
                <c:pt idx="352">
                  <c:v>39122</c:v>
                </c:pt>
                <c:pt idx="353">
                  <c:v>39125</c:v>
                </c:pt>
                <c:pt idx="354">
                  <c:v>39126</c:v>
                </c:pt>
                <c:pt idx="355">
                  <c:v>39127</c:v>
                </c:pt>
                <c:pt idx="356">
                  <c:v>39128</c:v>
                </c:pt>
                <c:pt idx="357">
                  <c:v>39129</c:v>
                </c:pt>
                <c:pt idx="358">
                  <c:v>39133</c:v>
                </c:pt>
                <c:pt idx="359">
                  <c:v>39134</c:v>
                </c:pt>
                <c:pt idx="360">
                  <c:v>39135</c:v>
                </c:pt>
                <c:pt idx="361">
                  <c:v>39136</c:v>
                </c:pt>
                <c:pt idx="362">
                  <c:v>39139</c:v>
                </c:pt>
                <c:pt idx="363">
                  <c:v>39140</c:v>
                </c:pt>
                <c:pt idx="364">
                  <c:v>39141</c:v>
                </c:pt>
                <c:pt idx="365">
                  <c:v>39142</c:v>
                </c:pt>
                <c:pt idx="366">
                  <c:v>39143</c:v>
                </c:pt>
                <c:pt idx="367">
                  <c:v>39146</c:v>
                </c:pt>
                <c:pt idx="368">
                  <c:v>39147</c:v>
                </c:pt>
                <c:pt idx="369">
                  <c:v>39148</c:v>
                </c:pt>
                <c:pt idx="370">
                  <c:v>39149</c:v>
                </c:pt>
                <c:pt idx="371">
                  <c:v>39150</c:v>
                </c:pt>
                <c:pt idx="372">
                  <c:v>39153</c:v>
                </c:pt>
                <c:pt idx="373">
                  <c:v>39154</c:v>
                </c:pt>
                <c:pt idx="374">
                  <c:v>39155</c:v>
                </c:pt>
                <c:pt idx="375">
                  <c:v>39156</c:v>
                </c:pt>
                <c:pt idx="376">
                  <c:v>39157</c:v>
                </c:pt>
                <c:pt idx="377">
                  <c:v>39160</c:v>
                </c:pt>
                <c:pt idx="378">
                  <c:v>39161</c:v>
                </c:pt>
                <c:pt idx="379">
                  <c:v>39162</c:v>
                </c:pt>
                <c:pt idx="380">
                  <c:v>39163</c:v>
                </c:pt>
                <c:pt idx="381">
                  <c:v>39164</c:v>
                </c:pt>
                <c:pt idx="382">
                  <c:v>39167</c:v>
                </c:pt>
                <c:pt idx="383">
                  <c:v>39168</c:v>
                </c:pt>
                <c:pt idx="384">
                  <c:v>39169</c:v>
                </c:pt>
                <c:pt idx="385">
                  <c:v>39170</c:v>
                </c:pt>
                <c:pt idx="386">
                  <c:v>39171</c:v>
                </c:pt>
                <c:pt idx="387">
                  <c:v>39174</c:v>
                </c:pt>
                <c:pt idx="388">
                  <c:v>39175</c:v>
                </c:pt>
                <c:pt idx="389">
                  <c:v>39176</c:v>
                </c:pt>
                <c:pt idx="390">
                  <c:v>39177</c:v>
                </c:pt>
                <c:pt idx="391">
                  <c:v>39181</c:v>
                </c:pt>
                <c:pt idx="392">
                  <c:v>39182</c:v>
                </c:pt>
                <c:pt idx="393">
                  <c:v>39183</c:v>
                </c:pt>
                <c:pt idx="394">
                  <c:v>39184</c:v>
                </c:pt>
                <c:pt idx="395">
                  <c:v>39185</c:v>
                </c:pt>
                <c:pt idx="396">
                  <c:v>39188</c:v>
                </c:pt>
                <c:pt idx="397">
                  <c:v>39189</c:v>
                </c:pt>
                <c:pt idx="398">
                  <c:v>39190</c:v>
                </c:pt>
                <c:pt idx="399">
                  <c:v>39191</c:v>
                </c:pt>
                <c:pt idx="400">
                  <c:v>39192</c:v>
                </c:pt>
                <c:pt idx="401">
                  <c:v>39195</c:v>
                </c:pt>
                <c:pt idx="402">
                  <c:v>39196</c:v>
                </c:pt>
                <c:pt idx="403">
                  <c:v>39197</c:v>
                </c:pt>
                <c:pt idx="404">
                  <c:v>39198</c:v>
                </c:pt>
                <c:pt idx="405">
                  <c:v>39199</c:v>
                </c:pt>
                <c:pt idx="406">
                  <c:v>39202</c:v>
                </c:pt>
                <c:pt idx="407">
                  <c:v>39203</c:v>
                </c:pt>
                <c:pt idx="408">
                  <c:v>39204</c:v>
                </c:pt>
                <c:pt idx="409">
                  <c:v>39205</c:v>
                </c:pt>
                <c:pt idx="410">
                  <c:v>39206</c:v>
                </c:pt>
                <c:pt idx="411">
                  <c:v>39209</c:v>
                </c:pt>
                <c:pt idx="412">
                  <c:v>39210</c:v>
                </c:pt>
                <c:pt idx="413">
                  <c:v>39211</c:v>
                </c:pt>
                <c:pt idx="414">
                  <c:v>39212</c:v>
                </c:pt>
                <c:pt idx="415">
                  <c:v>39213</c:v>
                </c:pt>
                <c:pt idx="416">
                  <c:v>39216</c:v>
                </c:pt>
                <c:pt idx="417">
                  <c:v>39217</c:v>
                </c:pt>
                <c:pt idx="418">
                  <c:v>39218</c:v>
                </c:pt>
                <c:pt idx="419">
                  <c:v>39219</c:v>
                </c:pt>
                <c:pt idx="420">
                  <c:v>39220</c:v>
                </c:pt>
                <c:pt idx="421">
                  <c:v>39223</c:v>
                </c:pt>
                <c:pt idx="422">
                  <c:v>39224</c:v>
                </c:pt>
                <c:pt idx="423">
                  <c:v>39225</c:v>
                </c:pt>
                <c:pt idx="424">
                  <c:v>39226</c:v>
                </c:pt>
                <c:pt idx="425">
                  <c:v>39227</c:v>
                </c:pt>
                <c:pt idx="426">
                  <c:v>39231</c:v>
                </c:pt>
                <c:pt idx="427">
                  <c:v>39232</c:v>
                </c:pt>
                <c:pt idx="428">
                  <c:v>39233</c:v>
                </c:pt>
                <c:pt idx="429">
                  <c:v>39234</c:v>
                </c:pt>
                <c:pt idx="430">
                  <c:v>39237</c:v>
                </c:pt>
                <c:pt idx="431">
                  <c:v>39238</c:v>
                </c:pt>
                <c:pt idx="432">
                  <c:v>39239</c:v>
                </c:pt>
                <c:pt idx="433">
                  <c:v>39240</c:v>
                </c:pt>
                <c:pt idx="434">
                  <c:v>39241</c:v>
                </c:pt>
                <c:pt idx="435">
                  <c:v>39244</c:v>
                </c:pt>
                <c:pt idx="436">
                  <c:v>39245</c:v>
                </c:pt>
                <c:pt idx="437">
                  <c:v>39246</c:v>
                </c:pt>
                <c:pt idx="438">
                  <c:v>39247</c:v>
                </c:pt>
                <c:pt idx="439">
                  <c:v>39248</c:v>
                </c:pt>
                <c:pt idx="440">
                  <c:v>39251</c:v>
                </c:pt>
                <c:pt idx="441">
                  <c:v>39252</c:v>
                </c:pt>
                <c:pt idx="442">
                  <c:v>39253</c:v>
                </c:pt>
                <c:pt idx="443">
                  <c:v>39254</c:v>
                </c:pt>
                <c:pt idx="444">
                  <c:v>39255</c:v>
                </c:pt>
                <c:pt idx="445">
                  <c:v>39258</c:v>
                </c:pt>
                <c:pt idx="446">
                  <c:v>39259</c:v>
                </c:pt>
                <c:pt idx="447">
                  <c:v>39260</c:v>
                </c:pt>
                <c:pt idx="448">
                  <c:v>39261</c:v>
                </c:pt>
                <c:pt idx="449">
                  <c:v>39262</c:v>
                </c:pt>
                <c:pt idx="450">
                  <c:v>39265</c:v>
                </c:pt>
                <c:pt idx="451">
                  <c:v>39266</c:v>
                </c:pt>
                <c:pt idx="452">
                  <c:v>39268</c:v>
                </c:pt>
                <c:pt idx="453">
                  <c:v>39269</c:v>
                </c:pt>
                <c:pt idx="454">
                  <c:v>39272</c:v>
                </c:pt>
                <c:pt idx="455">
                  <c:v>39273</c:v>
                </c:pt>
                <c:pt idx="456">
                  <c:v>39274</c:v>
                </c:pt>
                <c:pt idx="457">
                  <c:v>39275</c:v>
                </c:pt>
                <c:pt idx="458">
                  <c:v>39276</c:v>
                </c:pt>
                <c:pt idx="459">
                  <c:v>39279</c:v>
                </c:pt>
                <c:pt idx="460">
                  <c:v>39280</c:v>
                </c:pt>
                <c:pt idx="461">
                  <c:v>39281</c:v>
                </c:pt>
                <c:pt idx="462">
                  <c:v>39282</c:v>
                </c:pt>
                <c:pt idx="463">
                  <c:v>39283</c:v>
                </c:pt>
                <c:pt idx="464">
                  <c:v>39286</c:v>
                </c:pt>
                <c:pt idx="465">
                  <c:v>39287</c:v>
                </c:pt>
                <c:pt idx="466">
                  <c:v>39288</c:v>
                </c:pt>
                <c:pt idx="467">
                  <c:v>39289</c:v>
                </c:pt>
                <c:pt idx="468">
                  <c:v>39290</c:v>
                </c:pt>
                <c:pt idx="469">
                  <c:v>39293</c:v>
                </c:pt>
                <c:pt idx="470">
                  <c:v>39294</c:v>
                </c:pt>
                <c:pt idx="471">
                  <c:v>39295</c:v>
                </c:pt>
                <c:pt idx="472">
                  <c:v>39296</c:v>
                </c:pt>
                <c:pt idx="473">
                  <c:v>39297</c:v>
                </c:pt>
                <c:pt idx="474">
                  <c:v>39300</c:v>
                </c:pt>
                <c:pt idx="475">
                  <c:v>39301</c:v>
                </c:pt>
                <c:pt idx="476">
                  <c:v>39302</c:v>
                </c:pt>
                <c:pt idx="477">
                  <c:v>39303</c:v>
                </c:pt>
                <c:pt idx="478">
                  <c:v>39304</c:v>
                </c:pt>
                <c:pt idx="479">
                  <c:v>39307</c:v>
                </c:pt>
                <c:pt idx="480">
                  <c:v>39308</c:v>
                </c:pt>
                <c:pt idx="481">
                  <c:v>39309</c:v>
                </c:pt>
                <c:pt idx="482">
                  <c:v>39310</c:v>
                </c:pt>
                <c:pt idx="483">
                  <c:v>39311</c:v>
                </c:pt>
                <c:pt idx="484">
                  <c:v>39314</c:v>
                </c:pt>
                <c:pt idx="485">
                  <c:v>39315</c:v>
                </c:pt>
                <c:pt idx="486">
                  <c:v>39316</c:v>
                </c:pt>
                <c:pt idx="487">
                  <c:v>39317</c:v>
                </c:pt>
                <c:pt idx="488">
                  <c:v>39318</c:v>
                </c:pt>
                <c:pt idx="489">
                  <c:v>39321</c:v>
                </c:pt>
                <c:pt idx="490">
                  <c:v>39322</c:v>
                </c:pt>
                <c:pt idx="491">
                  <c:v>39323</c:v>
                </c:pt>
                <c:pt idx="492">
                  <c:v>39324</c:v>
                </c:pt>
                <c:pt idx="493">
                  <c:v>39325</c:v>
                </c:pt>
                <c:pt idx="494">
                  <c:v>39329</c:v>
                </c:pt>
                <c:pt idx="495">
                  <c:v>39330</c:v>
                </c:pt>
                <c:pt idx="496">
                  <c:v>39331</c:v>
                </c:pt>
                <c:pt idx="497">
                  <c:v>39332</c:v>
                </c:pt>
                <c:pt idx="498">
                  <c:v>39335</c:v>
                </c:pt>
                <c:pt idx="499">
                  <c:v>39336</c:v>
                </c:pt>
                <c:pt idx="500">
                  <c:v>39337</c:v>
                </c:pt>
                <c:pt idx="501">
                  <c:v>39338</c:v>
                </c:pt>
                <c:pt idx="502">
                  <c:v>39339</c:v>
                </c:pt>
                <c:pt idx="503">
                  <c:v>39342</c:v>
                </c:pt>
                <c:pt idx="504">
                  <c:v>39343</c:v>
                </c:pt>
                <c:pt idx="505">
                  <c:v>39344</c:v>
                </c:pt>
                <c:pt idx="506">
                  <c:v>39345</c:v>
                </c:pt>
                <c:pt idx="507">
                  <c:v>39346</c:v>
                </c:pt>
                <c:pt idx="508">
                  <c:v>39349</c:v>
                </c:pt>
                <c:pt idx="509">
                  <c:v>39350</c:v>
                </c:pt>
                <c:pt idx="510">
                  <c:v>39351</c:v>
                </c:pt>
                <c:pt idx="511">
                  <c:v>39352</c:v>
                </c:pt>
                <c:pt idx="512">
                  <c:v>39353</c:v>
                </c:pt>
                <c:pt idx="513">
                  <c:v>39356</c:v>
                </c:pt>
                <c:pt idx="514">
                  <c:v>39357</c:v>
                </c:pt>
                <c:pt idx="515">
                  <c:v>39358</c:v>
                </c:pt>
                <c:pt idx="516">
                  <c:v>39359</c:v>
                </c:pt>
                <c:pt idx="517">
                  <c:v>39360</c:v>
                </c:pt>
                <c:pt idx="518">
                  <c:v>39363</c:v>
                </c:pt>
                <c:pt idx="519">
                  <c:v>39364</c:v>
                </c:pt>
                <c:pt idx="520">
                  <c:v>39365</c:v>
                </c:pt>
                <c:pt idx="521">
                  <c:v>39366</c:v>
                </c:pt>
                <c:pt idx="522">
                  <c:v>39367</c:v>
                </c:pt>
                <c:pt idx="523">
                  <c:v>39370</c:v>
                </c:pt>
                <c:pt idx="524">
                  <c:v>39371</c:v>
                </c:pt>
                <c:pt idx="525">
                  <c:v>39372</c:v>
                </c:pt>
                <c:pt idx="526">
                  <c:v>39373</c:v>
                </c:pt>
                <c:pt idx="527">
                  <c:v>39374</c:v>
                </c:pt>
                <c:pt idx="528">
                  <c:v>39377</c:v>
                </c:pt>
                <c:pt idx="529">
                  <c:v>39378</c:v>
                </c:pt>
                <c:pt idx="530">
                  <c:v>39379</c:v>
                </c:pt>
                <c:pt idx="531">
                  <c:v>39380</c:v>
                </c:pt>
                <c:pt idx="532">
                  <c:v>39381</c:v>
                </c:pt>
                <c:pt idx="533">
                  <c:v>39384</c:v>
                </c:pt>
                <c:pt idx="534">
                  <c:v>39385</c:v>
                </c:pt>
                <c:pt idx="535">
                  <c:v>39386</c:v>
                </c:pt>
                <c:pt idx="536">
                  <c:v>39387</c:v>
                </c:pt>
                <c:pt idx="537">
                  <c:v>39388</c:v>
                </c:pt>
                <c:pt idx="538">
                  <c:v>39391</c:v>
                </c:pt>
                <c:pt idx="539">
                  <c:v>39392</c:v>
                </c:pt>
                <c:pt idx="540">
                  <c:v>39393</c:v>
                </c:pt>
                <c:pt idx="541">
                  <c:v>39394</c:v>
                </c:pt>
                <c:pt idx="542">
                  <c:v>39395</c:v>
                </c:pt>
                <c:pt idx="543">
                  <c:v>39398</c:v>
                </c:pt>
                <c:pt idx="544">
                  <c:v>39399</c:v>
                </c:pt>
                <c:pt idx="545">
                  <c:v>39400</c:v>
                </c:pt>
                <c:pt idx="546">
                  <c:v>39401</c:v>
                </c:pt>
                <c:pt idx="547">
                  <c:v>39402</c:v>
                </c:pt>
                <c:pt idx="548">
                  <c:v>39405</c:v>
                </c:pt>
                <c:pt idx="549">
                  <c:v>39406</c:v>
                </c:pt>
                <c:pt idx="550">
                  <c:v>39407</c:v>
                </c:pt>
                <c:pt idx="551">
                  <c:v>39409</c:v>
                </c:pt>
                <c:pt idx="552">
                  <c:v>39412</c:v>
                </c:pt>
                <c:pt idx="553">
                  <c:v>39413</c:v>
                </c:pt>
                <c:pt idx="554">
                  <c:v>39414</c:v>
                </c:pt>
                <c:pt idx="555">
                  <c:v>39415</c:v>
                </c:pt>
                <c:pt idx="556">
                  <c:v>39416</c:v>
                </c:pt>
                <c:pt idx="557">
                  <c:v>39419</c:v>
                </c:pt>
                <c:pt idx="558">
                  <c:v>39420</c:v>
                </c:pt>
                <c:pt idx="559">
                  <c:v>39421</c:v>
                </c:pt>
                <c:pt idx="560">
                  <c:v>39422</c:v>
                </c:pt>
                <c:pt idx="561">
                  <c:v>39423</c:v>
                </c:pt>
                <c:pt idx="562">
                  <c:v>39426</c:v>
                </c:pt>
                <c:pt idx="563">
                  <c:v>39427</c:v>
                </c:pt>
                <c:pt idx="564">
                  <c:v>39428</c:v>
                </c:pt>
                <c:pt idx="565">
                  <c:v>39429</c:v>
                </c:pt>
                <c:pt idx="566">
                  <c:v>39430</c:v>
                </c:pt>
                <c:pt idx="567">
                  <c:v>39433</c:v>
                </c:pt>
                <c:pt idx="568">
                  <c:v>39434</c:v>
                </c:pt>
                <c:pt idx="569">
                  <c:v>39435</c:v>
                </c:pt>
                <c:pt idx="570">
                  <c:v>39436</c:v>
                </c:pt>
                <c:pt idx="571">
                  <c:v>39437</c:v>
                </c:pt>
                <c:pt idx="572">
                  <c:v>39440</c:v>
                </c:pt>
                <c:pt idx="573">
                  <c:v>39442</c:v>
                </c:pt>
                <c:pt idx="574">
                  <c:v>39443</c:v>
                </c:pt>
                <c:pt idx="575">
                  <c:v>39444</c:v>
                </c:pt>
                <c:pt idx="576">
                  <c:v>39447</c:v>
                </c:pt>
                <c:pt idx="577">
                  <c:v>39449</c:v>
                </c:pt>
                <c:pt idx="578">
                  <c:v>39450</c:v>
                </c:pt>
                <c:pt idx="579">
                  <c:v>39451</c:v>
                </c:pt>
                <c:pt idx="580">
                  <c:v>39454</c:v>
                </c:pt>
                <c:pt idx="581">
                  <c:v>39455</c:v>
                </c:pt>
                <c:pt idx="582">
                  <c:v>39456</c:v>
                </c:pt>
                <c:pt idx="583">
                  <c:v>39457</c:v>
                </c:pt>
                <c:pt idx="584">
                  <c:v>39458</c:v>
                </c:pt>
                <c:pt idx="585">
                  <c:v>39461</c:v>
                </c:pt>
                <c:pt idx="586">
                  <c:v>39462</c:v>
                </c:pt>
                <c:pt idx="587">
                  <c:v>39463</c:v>
                </c:pt>
                <c:pt idx="588">
                  <c:v>39464</c:v>
                </c:pt>
                <c:pt idx="589">
                  <c:v>39465</c:v>
                </c:pt>
                <c:pt idx="590">
                  <c:v>39469</c:v>
                </c:pt>
                <c:pt idx="591">
                  <c:v>39470</c:v>
                </c:pt>
                <c:pt idx="592">
                  <c:v>39471</c:v>
                </c:pt>
                <c:pt idx="593">
                  <c:v>39472</c:v>
                </c:pt>
                <c:pt idx="594">
                  <c:v>39475</c:v>
                </c:pt>
                <c:pt idx="595">
                  <c:v>39476</c:v>
                </c:pt>
                <c:pt idx="596">
                  <c:v>39477</c:v>
                </c:pt>
                <c:pt idx="597">
                  <c:v>39478</c:v>
                </c:pt>
                <c:pt idx="598">
                  <c:v>39479</c:v>
                </c:pt>
                <c:pt idx="599">
                  <c:v>39482</c:v>
                </c:pt>
                <c:pt idx="600">
                  <c:v>39483</c:v>
                </c:pt>
                <c:pt idx="601">
                  <c:v>39484</c:v>
                </c:pt>
                <c:pt idx="602">
                  <c:v>39485</c:v>
                </c:pt>
                <c:pt idx="603">
                  <c:v>39486</c:v>
                </c:pt>
                <c:pt idx="604">
                  <c:v>39489</c:v>
                </c:pt>
                <c:pt idx="605">
                  <c:v>39490</c:v>
                </c:pt>
                <c:pt idx="606">
                  <c:v>39491</c:v>
                </c:pt>
                <c:pt idx="607">
                  <c:v>39492</c:v>
                </c:pt>
                <c:pt idx="608">
                  <c:v>39493</c:v>
                </c:pt>
                <c:pt idx="609">
                  <c:v>39497</c:v>
                </c:pt>
                <c:pt idx="610">
                  <c:v>39498</c:v>
                </c:pt>
                <c:pt idx="611">
                  <c:v>39499</c:v>
                </c:pt>
                <c:pt idx="612">
                  <c:v>39500</c:v>
                </c:pt>
                <c:pt idx="613">
                  <c:v>39503</c:v>
                </c:pt>
                <c:pt idx="614">
                  <c:v>39504</c:v>
                </c:pt>
                <c:pt idx="615">
                  <c:v>39505</c:v>
                </c:pt>
                <c:pt idx="616">
                  <c:v>39506</c:v>
                </c:pt>
                <c:pt idx="617">
                  <c:v>39507</c:v>
                </c:pt>
                <c:pt idx="618">
                  <c:v>39510</c:v>
                </c:pt>
                <c:pt idx="619">
                  <c:v>39511</c:v>
                </c:pt>
                <c:pt idx="620">
                  <c:v>39512</c:v>
                </c:pt>
                <c:pt idx="621">
                  <c:v>39513</c:v>
                </c:pt>
                <c:pt idx="622">
                  <c:v>39514</c:v>
                </c:pt>
                <c:pt idx="623">
                  <c:v>39517</c:v>
                </c:pt>
                <c:pt idx="624">
                  <c:v>39518</c:v>
                </c:pt>
                <c:pt idx="625">
                  <c:v>39519</c:v>
                </c:pt>
                <c:pt idx="626">
                  <c:v>39520</c:v>
                </c:pt>
                <c:pt idx="627">
                  <c:v>39521</c:v>
                </c:pt>
                <c:pt idx="628">
                  <c:v>39524</c:v>
                </c:pt>
                <c:pt idx="629">
                  <c:v>39525</c:v>
                </c:pt>
                <c:pt idx="630">
                  <c:v>39526</c:v>
                </c:pt>
                <c:pt idx="631">
                  <c:v>39527</c:v>
                </c:pt>
                <c:pt idx="632">
                  <c:v>39531</c:v>
                </c:pt>
                <c:pt idx="633">
                  <c:v>39532</c:v>
                </c:pt>
                <c:pt idx="634">
                  <c:v>39533</c:v>
                </c:pt>
                <c:pt idx="635">
                  <c:v>39534</c:v>
                </c:pt>
                <c:pt idx="636">
                  <c:v>39535</c:v>
                </c:pt>
                <c:pt idx="637">
                  <c:v>39538</c:v>
                </c:pt>
                <c:pt idx="638">
                  <c:v>39539</c:v>
                </c:pt>
                <c:pt idx="639">
                  <c:v>39540</c:v>
                </c:pt>
                <c:pt idx="640">
                  <c:v>39541</c:v>
                </c:pt>
                <c:pt idx="641">
                  <c:v>39542</c:v>
                </c:pt>
                <c:pt idx="642">
                  <c:v>39545</c:v>
                </c:pt>
                <c:pt idx="643">
                  <c:v>39546</c:v>
                </c:pt>
                <c:pt idx="644">
                  <c:v>39547</c:v>
                </c:pt>
                <c:pt idx="645">
                  <c:v>39548</c:v>
                </c:pt>
                <c:pt idx="646">
                  <c:v>39549</c:v>
                </c:pt>
                <c:pt idx="647">
                  <c:v>39552</c:v>
                </c:pt>
                <c:pt idx="648">
                  <c:v>39553</c:v>
                </c:pt>
                <c:pt idx="649">
                  <c:v>39554</c:v>
                </c:pt>
                <c:pt idx="650">
                  <c:v>39555</c:v>
                </c:pt>
                <c:pt idx="651">
                  <c:v>39556</c:v>
                </c:pt>
                <c:pt idx="652">
                  <c:v>39559</c:v>
                </c:pt>
                <c:pt idx="653">
                  <c:v>39560</c:v>
                </c:pt>
                <c:pt idx="654">
                  <c:v>39561</c:v>
                </c:pt>
                <c:pt idx="655">
                  <c:v>39562</c:v>
                </c:pt>
                <c:pt idx="656">
                  <c:v>39563</c:v>
                </c:pt>
                <c:pt idx="657">
                  <c:v>39566</c:v>
                </c:pt>
                <c:pt idx="658">
                  <c:v>39567</c:v>
                </c:pt>
                <c:pt idx="659">
                  <c:v>39568</c:v>
                </c:pt>
                <c:pt idx="660">
                  <c:v>39569</c:v>
                </c:pt>
                <c:pt idx="661">
                  <c:v>39570</c:v>
                </c:pt>
                <c:pt idx="662">
                  <c:v>39573</c:v>
                </c:pt>
                <c:pt idx="663">
                  <c:v>39574</c:v>
                </c:pt>
                <c:pt idx="664">
                  <c:v>39575</c:v>
                </c:pt>
                <c:pt idx="665">
                  <c:v>39576</c:v>
                </c:pt>
                <c:pt idx="666">
                  <c:v>39577</c:v>
                </c:pt>
                <c:pt idx="667">
                  <c:v>39580</c:v>
                </c:pt>
                <c:pt idx="668">
                  <c:v>39581</c:v>
                </c:pt>
                <c:pt idx="669">
                  <c:v>39582</c:v>
                </c:pt>
                <c:pt idx="670">
                  <c:v>39583</c:v>
                </c:pt>
                <c:pt idx="671">
                  <c:v>39584</c:v>
                </c:pt>
                <c:pt idx="672">
                  <c:v>39587</c:v>
                </c:pt>
                <c:pt idx="673">
                  <c:v>39588</c:v>
                </c:pt>
                <c:pt idx="674">
                  <c:v>39589</c:v>
                </c:pt>
                <c:pt idx="675">
                  <c:v>39590</c:v>
                </c:pt>
                <c:pt idx="676">
                  <c:v>39591</c:v>
                </c:pt>
                <c:pt idx="677">
                  <c:v>39595</c:v>
                </c:pt>
                <c:pt idx="678">
                  <c:v>39596</c:v>
                </c:pt>
                <c:pt idx="679">
                  <c:v>39597</c:v>
                </c:pt>
                <c:pt idx="680">
                  <c:v>39598</c:v>
                </c:pt>
                <c:pt idx="681">
                  <c:v>39601</c:v>
                </c:pt>
                <c:pt idx="682">
                  <c:v>39602</c:v>
                </c:pt>
                <c:pt idx="683">
                  <c:v>39603</c:v>
                </c:pt>
                <c:pt idx="684">
                  <c:v>39604</c:v>
                </c:pt>
                <c:pt idx="685">
                  <c:v>39605</c:v>
                </c:pt>
                <c:pt idx="686">
                  <c:v>39608</c:v>
                </c:pt>
                <c:pt idx="687">
                  <c:v>39609</c:v>
                </c:pt>
                <c:pt idx="688">
                  <c:v>39610</c:v>
                </c:pt>
                <c:pt idx="689">
                  <c:v>39611</c:v>
                </c:pt>
                <c:pt idx="690">
                  <c:v>39612</c:v>
                </c:pt>
                <c:pt idx="691">
                  <c:v>39615</c:v>
                </c:pt>
                <c:pt idx="692">
                  <c:v>39616</c:v>
                </c:pt>
                <c:pt idx="693">
                  <c:v>39617</c:v>
                </c:pt>
                <c:pt idx="694">
                  <c:v>39618</c:v>
                </c:pt>
                <c:pt idx="695">
                  <c:v>39619</c:v>
                </c:pt>
                <c:pt idx="696">
                  <c:v>39622</c:v>
                </c:pt>
                <c:pt idx="697">
                  <c:v>39623</c:v>
                </c:pt>
                <c:pt idx="698">
                  <c:v>39624</c:v>
                </c:pt>
                <c:pt idx="699">
                  <c:v>39625</c:v>
                </c:pt>
                <c:pt idx="700">
                  <c:v>39626</c:v>
                </c:pt>
                <c:pt idx="701">
                  <c:v>39629</c:v>
                </c:pt>
                <c:pt idx="702">
                  <c:v>39630</c:v>
                </c:pt>
                <c:pt idx="703">
                  <c:v>39631</c:v>
                </c:pt>
                <c:pt idx="704">
                  <c:v>39632</c:v>
                </c:pt>
                <c:pt idx="705">
                  <c:v>39636</c:v>
                </c:pt>
                <c:pt idx="706">
                  <c:v>39637</c:v>
                </c:pt>
                <c:pt idx="707">
                  <c:v>39638</c:v>
                </c:pt>
                <c:pt idx="708">
                  <c:v>39639</c:v>
                </c:pt>
                <c:pt idx="709">
                  <c:v>39640</c:v>
                </c:pt>
                <c:pt idx="710">
                  <c:v>39643</c:v>
                </c:pt>
                <c:pt idx="711">
                  <c:v>39644</c:v>
                </c:pt>
                <c:pt idx="712">
                  <c:v>39645</c:v>
                </c:pt>
                <c:pt idx="713">
                  <c:v>39646</c:v>
                </c:pt>
                <c:pt idx="714">
                  <c:v>39647</c:v>
                </c:pt>
                <c:pt idx="715">
                  <c:v>39650</c:v>
                </c:pt>
                <c:pt idx="716">
                  <c:v>39651</c:v>
                </c:pt>
                <c:pt idx="717">
                  <c:v>39652</c:v>
                </c:pt>
                <c:pt idx="718">
                  <c:v>39653</c:v>
                </c:pt>
                <c:pt idx="719">
                  <c:v>39654</c:v>
                </c:pt>
                <c:pt idx="720">
                  <c:v>39657</c:v>
                </c:pt>
                <c:pt idx="721">
                  <c:v>39658</c:v>
                </c:pt>
                <c:pt idx="722">
                  <c:v>39659</c:v>
                </c:pt>
                <c:pt idx="723">
                  <c:v>39660</c:v>
                </c:pt>
                <c:pt idx="724">
                  <c:v>39661</c:v>
                </c:pt>
                <c:pt idx="725">
                  <c:v>39664</c:v>
                </c:pt>
                <c:pt idx="726">
                  <c:v>39665</c:v>
                </c:pt>
                <c:pt idx="727">
                  <c:v>39666</c:v>
                </c:pt>
                <c:pt idx="728">
                  <c:v>39667</c:v>
                </c:pt>
                <c:pt idx="729">
                  <c:v>39668</c:v>
                </c:pt>
                <c:pt idx="730">
                  <c:v>39671</c:v>
                </c:pt>
                <c:pt idx="731">
                  <c:v>39672</c:v>
                </c:pt>
                <c:pt idx="732">
                  <c:v>39673</c:v>
                </c:pt>
                <c:pt idx="733">
                  <c:v>39674</c:v>
                </c:pt>
                <c:pt idx="734">
                  <c:v>39675</c:v>
                </c:pt>
                <c:pt idx="735">
                  <c:v>39678</c:v>
                </c:pt>
                <c:pt idx="736">
                  <c:v>39679</c:v>
                </c:pt>
                <c:pt idx="737">
                  <c:v>39680</c:v>
                </c:pt>
                <c:pt idx="738">
                  <c:v>39681</c:v>
                </c:pt>
                <c:pt idx="739">
                  <c:v>39682</c:v>
                </c:pt>
                <c:pt idx="740">
                  <c:v>39685</c:v>
                </c:pt>
                <c:pt idx="741">
                  <c:v>39686</c:v>
                </c:pt>
                <c:pt idx="742">
                  <c:v>39687</c:v>
                </c:pt>
                <c:pt idx="743">
                  <c:v>39688</c:v>
                </c:pt>
                <c:pt idx="744">
                  <c:v>39689</c:v>
                </c:pt>
                <c:pt idx="745">
                  <c:v>39693</c:v>
                </c:pt>
                <c:pt idx="746">
                  <c:v>39694</c:v>
                </c:pt>
                <c:pt idx="747">
                  <c:v>39695</c:v>
                </c:pt>
                <c:pt idx="748">
                  <c:v>39696</c:v>
                </c:pt>
                <c:pt idx="749">
                  <c:v>39699</c:v>
                </c:pt>
                <c:pt idx="750">
                  <c:v>39700</c:v>
                </c:pt>
                <c:pt idx="751">
                  <c:v>39701</c:v>
                </c:pt>
                <c:pt idx="752">
                  <c:v>39702</c:v>
                </c:pt>
                <c:pt idx="753">
                  <c:v>39703</c:v>
                </c:pt>
                <c:pt idx="754">
                  <c:v>39706</c:v>
                </c:pt>
                <c:pt idx="755">
                  <c:v>39707</c:v>
                </c:pt>
                <c:pt idx="756">
                  <c:v>39708</c:v>
                </c:pt>
                <c:pt idx="757">
                  <c:v>39709</c:v>
                </c:pt>
                <c:pt idx="758">
                  <c:v>39710</c:v>
                </c:pt>
                <c:pt idx="759">
                  <c:v>39713</c:v>
                </c:pt>
                <c:pt idx="760">
                  <c:v>39714</c:v>
                </c:pt>
                <c:pt idx="761">
                  <c:v>39715</c:v>
                </c:pt>
                <c:pt idx="762">
                  <c:v>39716</c:v>
                </c:pt>
                <c:pt idx="763">
                  <c:v>39717</c:v>
                </c:pt>
                <c:pt idx="764">
                  <c:v>39720</c:v>
                </c:pt>
                <c:pt idx="765">
                  <c:v>39721</c:v>
                </c:pt>
                <c:pt idx="766">
                  <c:v>39722</c:v>
                </c:pt>
                <c:pt idx="767">
                  <c:v>39723</c:v>
                </c:pt>
                <c:pt idx="768">
                  <c:v>39724</c:v>
                </c:pt>
                <c:pt idx="769">
                  <c:v>39727</c:v>
                </c:pt>
                <c:pt idx="770">
                  <c:v>39728</c:v>
                </c:pt>
                <c:pt idx="771">
                  <c:v>39729</c:v>
                </c:pt>
                <c:pt idx="772">
                  <c:v>39730</c:v>
                </c:pt>
                <c:pt idx="773">
                  <c:v>39731</c:v>
                </c:pt>
                <c:pt idx="774">
                  <c:v>39734</c:v>
                </c:pt>
                <c:pt idx="775">
                  <c:v>39735</c:v>
                </c:pt>
                <c:pt idx="776">
                  <c:v>39736</c:v>
                </c:pt>
                <c:pt idx="777">
                  <c:v>39737</c:v>
                </c:pt>
                <c:pt idx="778">
                  <c:v>39738</c:v>
                </c:pt>
                <c:pt idx="779">
                  <c:v>39741</c:v>
                </c:pt>
                <c:pt idx="780">
                  <c:v>39742</c:v>
                </c:pt>
                <c:pt idx="781">
                  <c:v>39743</c:v>
                </c:pt>
                <c:pt idx="782">
                  <c:v>39744</c:v>
                </c:pt>
                <c:pt idx="783">
                  <c:v>39745</c:v>
                </c:pt>
                <c:pt idx="784">
                  <c:v>39748</c:v>
                </c:pt>
                <c:pt idx="785">
                  <c:v>39749</c:v>
                </c:pt>
                <c:pt idx="786">
                  <c:v>39750</c:v>
                </c:pt>
                <c:pt idx="787">
                  <c:v>39751</c:v>
                </c:pt>
                <c:pt idx="788">
                  <c:v>39752</c:v>
                </c:pt>
                <c:pt idx="789">
                  <c:v>39755</c:v>
                </c:pt>
                <c:pt idx="790">
                  <c:v>39756</c:v>
                </c:pt>
                <c:pt idx="791">
                  <c:v>39757</c:v>
                </c:pt>
                <c:pt idx="792">
                  <c:v>39758</c:v>
                </c:pt>
                <c:pt idx="793">
                  <c:v>39759</c:v>
                </c:pt>
                <c:pt idx="794">
                  <c:v>39762</c:v>
                </c:pt>
                <c:pt idx="795">
                  <c:v>39763</c:v>
                </c:pt>
                <c:pt idx="796">
                  <c:v>39764</c:v>
                </c:pt>
                <c:pt idx="797">
                  <c:v>39765</c:v>
                </c:pt>
                <c:pt idx="798">
                  <c:v>39766</c:v>
                </c:pt>
                <c:pt idx="799">
                  <c:v>39769</c:v>
                </c:pt>
                <c:pt idx="800">
                  <c:v>39770</c:v>
                </c:pt>
                <c:pt idx="801">
                  <c:v>39771</c:v>
                </c:pt>
                <c:pt idx="802">
                  <c:v>39772</c:v>
                </c:pt>
                <c:pt idx="803">
                  <c:v>39773</c:v>
                </c:pt>
                <c:pt idx="804">
                  <c:v>39776</c:v>
                </c:pt>
                <c:pt idx="805">
                  <c:v>39777</c:v>
                </c:pt>
                <c:pt idx="806">
                  <c:v>39778</c:v>
                </c:pt>
                <c:pt idx="807">
                  <c:v>39780</c:v>
                </c:pt>
                <c:pt idx="808">
                  <c:v>39783</c:v>
                </c:pt>
                <c:pt idx="809">
                  <c:v>39784</c:v>
                </c:pt>
                <c:pt idx="810">
                  <c:v>39785</c:v>
                </c:pt>
                <c:pt idx="811">
                  <c:v>39786</c:v>
                </c:pt>
                <c:pt idx="812">
                  <c:v>39787</c:v>
                </c:pt>
                <c:pt idx="813">
                  <c:v>39790</c:v>
                </c:pt>
                <c:pt idx="814">
                  <c:v>39791</c:v>
                </c:pt>
                <c:pt idx="815">
                  <c:v>39792</c:v>
                </c:pt>
                <c:pt idx="816">
                  <c:v>39793</c:v>
                </c:pt>
                <c:pt idx="817">
                  <c:v>39794</c:v>
                </c:pt>
                <c:pt idx="818">
                  <c:v>39797</c:v>
                </c:pt>
                <c:pt idx="819">
                  <c:v>39798</c:v>
                </c:pt>
                <c:pt idx="820">
                  <c:v>39799</c:v>
                </c:pt>
                <c:pt idx="821">
                  <c:v>39800</c:v>
                </c:pt>
                <c:pt idx="822">
                  <c:v>39801</c:v>
                </c:pt>
                <c:pt idx="823">
                  <c:v>39804</c:v>
                </c:pt>
                <c:pt idx="824">
                  <c:v>39805</c:v>
                </c:pt>
                <c:pt idx="825">
                  <c:v>39806</c:v>
                </c:pt>
                <c:pt idx="826">
                  <c:v>39808</c:v>
                </c:pt>
                <c:pt idx="827">
                  <c:v>39811</c:v>
                </c:pt>
                <c:pt idx="828">
                  <c:v>39812</c:v>
                </c:pt>
                <c:pt idx="829">
                  <c:v>39813</c:v>
                </c:pt>
                <c:pt idx="830">
                  <c:v>39815</c:v>
                </c:pt>
                <c:pt idx="831">
                  <c:v>39818</c:v>
                </c:pt>
                <c:pt idx="832">
                  <c:v>39819</c:v>
                </c:pt>
                <c:pt idx="833">
                  <c:v>39820</c:v>
                </c:pt>
                <c:pt idx="834">
                  <c:v>39821</c:v>
                </c:pt>
                <c:pt idx="835">
                  <c:v>39822</c:v>
                </c:pt>
                <c:pt idx="836">
                  <c:v>39825</c:v>
                </c:pt>
                <c:pt idx="837">
                  <c:v>39826</c:v>
                </c:pt>
                <c:pt idx="838">
                  <c:v>39827</c:v>
                </c:pt>
                <c:pt idx="839">
                  <c:v>39828</c:v>
                </c:pt>
                <c:pt idx="840">
                  <c:v>39829</c:v>
                </c:pt>
                <c:pt idx="841">
                  <c:v>39833</c:v>
                </c:pt>
                <c:pt idx="842">
                  <c:v>39834</c:v>
                </c:pt>
                <c:pt idx="843">
                  <c:v>39835</c:v>
                </c:pt>
                <c:pt idx="844">
                  <c:v>39836</c:v>
                </c:pt>
                <c:pt idx="845">
                  <c:v>39839</c:v>
                </c:pt>
                <c:pt idx="846">
                  <c:v>39840</c:v>
                </c:pt>
                <c:pt idx="847">
                  <c:v>39841</c:v>
                </c:pt>
                <c:pt idx="848">
                  <c:v>39842</c:v>
                </c:pt>
                <c:pt idx="849">
                  <c:v>39843</c:v>
                </c:pt>
                <c:pt idx="850">
                  <c:v>39846</c:v>
                </c:pt>
                <c:pt idx="851">
                  <c:v>39847</c:v>
                </c:pt>
                <c:pt idx="852">
                  <c:v>39848</c:v>
                </c:pt>
                <c:pt idx="853">
                  <c:v>39849</c:v>
                </c:pt>
                <c:pt idx="854">
                  <c:v>39850</c:v>
                </c:pt>
                <c:pt idx="855">
                  <c:v>39853</c:v>
                </c:pt>
                <c:pt idx="856">
                  <c:v>39854</c:v>
                </c:pt>
                <c:pt idx="857">
                  <c:v>39855</c:v>
                </c:pt>
                <c:pt idx="858">
                  <c:v>39856</c:v>
                </c:pt>
                <c:pt idx="859">
                  <c:v>39857</c:v>
                </c:pt>
                <c:pt idx="860">
                  <c:v>39861</c:v>
                </c:pt>
                <c:pt idx="861">
                  <c:v>39862</c:v>
                </c:pt>
                <c:pt idx="862">
                  <c:v>39863</c:v>
                </c:pt>
                <c:pt idx="863">
                  <c:v>39864</c:v>
                </c:pt>
                <c:pt idx="864">
                  <c:v>39867</c:v>
                </c:pt>
                <c:pt idx="865">
                  <c:v>39868</c:v>
                </c:pt>
                <c:pt idx="866">
                  <c:v>39869</c:v>
                </c:pt>
                <c:pt idx="867">
                  <c:v>39870</c:v>
                </c:pt>
                <c:pt idx="868">
                  <c:v>39871</c:v>
                </c:pt>
                <c:pt idx="869">
                  <c:v>39874</c:v>
                </c:pt>
                <c:pt idx="870">
                  <c:v>39875</c:v>
                </c:pt>
                <c:pt idx="871">
                  <c:v>39876</c:v>
                </c:pt>
                <c:pt idx="872">
                  <c:v>39877</c:v>
                </c:pt>
                <c:pt idx="873">
                  <c:v>39878</c:v>
                </c:pt>
                <c:pt idx="874">
                  <c:v>39881</c:v>
                </c:pt>
                <c:pt idx="875">
                  <c:v>39882</c:v>
                </c:pt>
                <c:pt idx="876">
                  <c:v>39883</c:v>
                </c:pt>
                <c:pt idx="877">
                  <c:v>39884</c:v>
                </c:pt>
                <c:pt idx="878">
                  <c:v>39885</c:v>
                </c:pt>
                <c:pt idx="879">
                  <c:v>39888</c:v>
                </c:pt>
                <c:pt idx="880">
                  <c:v>39889</c:v>
                </c:pt>
                <c:pt idx="881">
                  <c:v>39890</c:v>
                </c:pt>
                <c:pt idx="882">
                  <c:v>39891</c:v>
                </c:pt>
                <c:pt idx="883">
                  <c:v>39892</c:v>
                </c:pt>
                <c:pt idx="884">
                  <c:v>39895</c:v>
                </c:pt>
                <c:pt idx="885">
                  <c:v>39896</c:v>
                </c:pt>
                <c:pt idx="886">
                  <c:v>39897</c:v>
                </c:pt>
                <c:pt idx="887">
                  <c:v>39898</c:v>
                </c:pt>
                <c:pt idx="888">
                  <c:v>39899</c:v>
                </c:pt>
                <c:pt idx="889">
                  <c:v>39902</c:v>
                </c:pt>
                <c:pt idx="890">
                  <c:v>39903</c:v>
                </c:pt>
                <c:pt idx="891">
                  <c:v>39904</c:v>
                </c:pt>
                <c:pt idx="892">
                  <c:v>39905</c:v>
                </c:pt>
                <c:pt idx="893">
                  <c:v>39906</c:v>
                </c:pt>
                <c:pt idx="894">
                  <c:v>39909</c:v>
                </c:pt>
                <c:pt idx="895">
                  <c:v>39910</c:v>
                </c:pt>
                <c:pt idx="896">
                  <c:v>39911</c:v>
                </c:pt>
                <c:pt idx="897">
                  <c:v>39912</c:v>
                </c:pt>
                <c:pt idx="898">
                  <c:v>39916</c:v>
                </c:pt>
                <c:pt idx="899">
                  <c:v>39917</c:v>
                </c:pt>
                <c:pt idx="900">
                  <c:v>39918</c:v>
                </c:pt>
                <c:pt idx="901">
                  <c:v>39919</c:v>
                </c:pt>
                <c:pt idx="902">
                  <c:v>39920</c:v>
                </c:pt>
                <c:pt idx="903">
                  <c:v>39923</c:v>
                </c:pt>
                <c:pt idx="904">
                  <c:v>39924</c:v>
                </c:pt>
                <c:pt idx="905">
                  <c:v>39925</c:v>
                </c:pt>
                <c:pt idx="906">
                  <c:v>39926</c:v>
                </c:pt>
                <c:pt idx="907">
                  <c:v>39927</c:v>
                </c:pt>
                <c:pt idx="908">
                  <c:v>39930</c:v>
                </c:pt>
                <c:pt idx="909">
                  <c:v>39931</c:v>
                </c:pt>
                <c:pt idx="910">
                  <c:v>39932</c:v>
                </c:pt>
                <c:pt idx="911">
                  <c:v>39933</c:v>
                </c:pt>
                <c:pt idx="912">
                  <c:v>39934</c:v>
                </c:pt>
                <c:pt idx="913">
                  <c:v>39937</c:v>
                </c:pt>
                <c:pt idx="914">
                  <c:v>39938</c:v>
                </c:pt>
                <c:pt idx="915">
                  <c:v>39939</c:v>
                </c:pt>
                <c:pt idx="916">
                  <c:v>39940</c:v>
                </c:pt>
                <c:pt idx="917">
                  <c:v>39941</c:v>
                </c:pt>
                <c:pt idx="918">
                  <c:v>39944</c:v>
                </c:pt>
                <c:pt idx="919">
                  <c:v>39945</c:v>
                </c:pt>
                <c:pt idx="920">
                  <c:v>39946</c:v>
                </c:pt>
                <c:pt idx="921">
                  <c:v>39947</c:v>
                </c:pt>
                <c:pt idx="922">
                  <c:v>39948</c:v>
                </c:pt>
                <c:pt idx="923">
                  <c:v>39951</c:v>
                </c:pt>
                <c:pt idx="924">
                  <c:v>39952</c:v>
                </c:pt>
                <c:pt idx="925">
                  <c:v>39953</c:v>
                </c:pt>
                <c:pt idx="926">
                  <c:v>39954</c:v>
                </c:pt>
                <c:pt idx="927">
                  <c:v>39955</c:v>
                </c:pt>
                <c:pt idx="928">
                  <c:v>39959</c:v>
                </c:pt>
                <c:pt idx="929">
                  <c:v>39960</c:v>
                </c:pt>
                <c:pt idx="930">
                  <c:v>39961</c:v>
                </c:pt>
                <c:pt idx="931">
                  <c:v>39962</c:v>
                </c:pt>
                <c:pt idx="932">
                  <c:v>39965</c:v>
                </c:pt>
                <c:pt idx="933">
                  <c:v>39966</c:v>
                </c:pt>
                <c:pt idx="934">
                  <c:v>39967</c:v>
                </c:pt>
                <c:pt idx="935">
                  <c:v>39968</c:v>
                </c:pt>
                <c:pt idx="936">
                  <c:v>39969</c:v>
                </c:pt>
                <c:pt idx="937">
                  <c:v>39972</c:v>
                </c:pt>
                <c:pt idx="938">
                  <c:v>39973</c:v>
                </c:pt>
                <c:pt idx="939">
                  <c:v>39974</c:v>
                </c:pt>
                <c:pt idx="940">
                  <c:v>39975</c:v>
                </c:pt>
                <c:pt idx="941">
                  <c:v>39976</c:v>
                </c:pt>
                <c:pt idx="942">
                  <c:v>39979</c:v>
                </c:pt>
                <c:pt idx="943">
                  <c:v>39980</c:v>
                </c:pt>
                <c:pt idx="944">
                  <c:v>39981</c:v>
                </c:pt>
                <c:pt idx="945">
                  <c:v>39982</c:v>
                </c:pt>
                <c:pt idx="946">
                  <c:v>39983</c:v>
                </c:pt>
                <c:pt idx="947">
                  <c:v>39986</c:v>
                </c:pt>
                <c:pt idx="948">
                  <c:v>39987</c:v>
                </c:pt>
                <c:pt idx="949">
                  <c:v>39988</c:v>
                </c:pt>
                <c:pt idx="950">
                  <c:v>39989</c:v>
                </c:pt>
                <c:pt idx="951">
                  <c:v>39990</c:v>
                </c:pt>
                <c:pt idx="952">
                  <c:v>39993</c:v>
                </c:pt>
                <c:pt idx="953">
                  <c:v>39994</c:v>
                </c:pt>
                <c:pt idx="954">
                  <c:v>39995</c:v>
                </c:pt>
                <c:pt idx="955">
                  <c:v>39996</c:v>
                </c:pt>
                <c:pt idx="956">
                  <c:v>40000</c:v>
                </c:pt>
                <c:pt idx="957">
                  <c:v>40001</c:v>
                </c:pt>
                <c:pt idx="958">
                  <c:v>40002</c:v>
                </c:pt>
                <c:pt idx="959">
                  <c:v>40003</c:v>
                </c:pt>
                <c:pt idx="960">
                  <c:v>40004</c:v>
                </c:pt>
                <c:pt idx="961">
                  <c:v>40007</c:v>
                </c:pt>
                <c:pt idx="962">
                  <c:v>40008</c:v>
                </c:pt>
                <c:pt idx="963">
                  <c:v>40009</c:v>
                </c:pt>
                <c:pt idx="964">
                  <c:v>40010</c:v>
                </c:pt>
                <c:pt idx="965">
                  <c:v>40011</c:v>
                </c:pt>
                <c:pt idx="966">
                  <c:v>40014</c:v>
                </c:pt>
                <c:pt idx="967">
                  <c:v>40015</c:v>
                </c:pt>
                <c:pt idx="968">
                  <c:v>40016</c:v>
                </c:pt>
                <c:pt idx="969">
                  <c:v>40017</c:v>
                </c:pt>
                <c:pt idx="970">
                  <c:v>40018</c:v>
                </c:pt>
                <c:pt idx="971">
                  <c:v>40021</c:v>
                </c:pt>
                <c:pt idx="972">
                  <c:v>40022</c:v>
                </c:pt>
                <c:pt idx="973">
                  <c:v>40023</c:v>
                </c:pt>
                <c:pt idx="974">
                  <c:v>40024</c:v>
                </c:pt>
                <c:pt idx="975">
                  <c:v>40025</c:v>
                </c:pt>
                <c:pt idx="976">
                  <c:v>40028</c:v>
                </c:pt>
                <c:pt idx="977">
                  <c:v>40029</c:v>
                </c:pt>
                <c:pt idx="978">
                  <c:v>40030</c:v>
                </c:pt>
                <c:pt idx="979">
                  <c:v>40031</c:v>
                </c:pt>
                <c:pt idx="980">
                  <c:v>40032</c:v>
                </c:pt>
                <c:pt idx="981">
                  <c:v>40035</c:v>
                </c:pt>
                <c:pt idx="982">
                  <c:v>40036</c:v>
                </c:pt>
                <c:pt idx="983">
                  <c:v>40037</c:v>
                </c:pt>
                <c:pt idx="984">
                  <c:v>40038</c:v>
                </c:pt>
                <c:pt idx="985">
                  <c:v>40039</c:v>
                </c:pt>
                <c:pt idx="986">
                  <c:v>40042</c:v>
                </c:pt>
                <c:pt idx="987">
                  <c:v>40043</c:v>
                </c:pt>
                <c:pt idx="988">
                  <c:v>40044</c:v>
                </c:pt>
                <c:pt idx="989">
                  <c:v>40045</c:v>
                </c:pt>
                <c:pt idx="990">
                  <c:v>40046</c:v>
                </c:pt>
                <c:pt idx="991">
                  <c:v>40049</c:v>
                </c:pt>
                <c:pt idx="992">
                  <c:v>40050</c:v>
                </c:pt>
                <c:pt idx="993">
                  <c:v>40051</c:v>
                </c:pt>
                <c:pt idx="994">
                  <c:v>40052</c:v>
                </c:pt>
                <c:pt idx="995">
                  <c:v>40053</c:v>
                </c:pt>
                <c:pt idx="996">
                  <c:v>40056</c:v>
                </c:pt>
                <c:pt idx="997">
                  <c:v>40057</c:v>
                </c:pt>
                <c:pt idx="998">
                  <c:v>40058</c:v>
                </c:pt>
                <c:pt idx="999">
                  <c:v>40059</c:v>
                </c:pt>
                <c:pt idx="1000">
                  <c:v>40060</c:v>
                </c:pt>
                <c:pt idx="1001">
                  <c:v>40064</c:v>
                </c:pt>
                <c:pt idx="1002">
                  <c:v>40065</c:v>
                </c:pt>
                <c:pt idx="1003">
                  <c:v>40066</c:v>
                </c:pt>
                <c:pt idx="1004">
                  <c:v>40067</c:v>
                </c:pt>
                <c:pt idx="1005">
                  <c:v>40070</c:v>
                </c:pt>
                <c:pt idx="1006">
                  <c:v>40071</c:v>
                </c:pt>
                <c:pt idx="1007">
                  <c:v>40072</c:v>
                </c:pt>
                <c:pt idx="1008">
                  <c:v>40073</c:v>
                </c:pt>
                <c:pt idx="1009">
                  <c:v>40074</c:v>
                </c:pt>
                <c:pt idx="1010">
                  <c:v>40077</c:v>
                </c:pt>
                <c:pt idx="1011">
                  <c:v>40078</c:v>
                </c:pt>
                <c:pt idx="1012">
                  <c:v>40079</c:v>
                </c:pt>
                <c:pt idx="1013">
                  <c:v>40080</c:v>
                </c:pt>
                <c:pt idx="1014">
                  <c:v>40081</c:v>
                </c:pt>
                <c:pt idx="1015">
                  <c:v>40084</c:v>
                </c:pt>
                <c:pt idx="1016">
                  <c:v>40085</c:v>
                </c:pt>
                <c:pt idx="1017">
                  <c:v>40086</c:v>
                </c:pt>
                <c:pt idx="1018">
                  <c:v>40087</c:v>
                </c:pt>
                <c:pt idx="1019">
                  <c:v>40088</c:v>
                </c:pt>
                <c:pt idx="1020">
                  <c:v>40091</c:v>
                </c:pt>
                <c:pt idx="1021">
                  <c:v>40092</c:v>
                </c:pt>
                <c:pt idx="1022">
                  <c:v>40093</c:v>
                </c:pt>
                <c:pt idx="1023">
                  <c:v>40094</c:v>
                </c:pt>
                <c:pt idx="1024">
                  <c:v>40095</c:v>
                </c:pt>
                <c:pt idx="1025">
                  <c:v>40098</c:v>
                </c:pt>
                <c:pt idx="1026">
                  <c:v>40099</c:v>
                </c:pt>
                <c:pt idx="1027">
                  <c:v>40100</c:v>
                </c:pt>
                <c:pt idx="1028">
                  <c:v>40101</c:v>
                </c:pt>
                <c:pt idx="1029">
                  <c:v>40102</c:v>
                </c:pt>
                <c:pt idx="1030">
                  <c:v>40105</c:v>
                </c:pt>
                <c:pt idx="1031">
                  <c:v>40106</c:v>
                </c:pt>
                <c:pt idx="1032">
                  <c:v>40107</c:v>
                </c:pt>
                <c:pt idx="1033">
                  <c:v>40108</c:v>
                </c:pt>
                <c:pt idx="1034">
                  <c:v>40109</c:v>
                </c:pt>
                <c:pt idx="1035">
                  <c:v>40112</c:v>
                </c:pt>
                <c:pt idx="1036">
                  <c:v>40113</c:v>
                </c:pt>
                <c:pt idx="1037">
                  <c:v>40114</c:v>
                </c:pt>
                <c:pt idx="1038">
                  <c:v>40115</c:v>
                </c:pt>
                <c:pt idx="1039">
                  <c:v>40116</c:v>
                </c:pt>
                <c:pt idx="1040">
                  <c:v>40119</c:v>
                </c:pt>
                <c:pt idx="1041">
                  <c:v>40120</c:v>
                </c:pt>
                <c:pt idx="1042">
                  <c:v>40121</c:v>
                </c:pt>
                <c:pt idx="1043">
                  <c:v>40122</c:v>
                </c:pt>
                <c:pt idx="1044">
                  <c:v>40123</c:v>
                </c:pt>
                <c:pt idx="1045">
                  <c:v>40126</c:v>
                </c:pt>
                <c:pt idx="1046">
                  <c:v>40127</c:v>
                </c:pt>
                <c:pt idx="1047">
                  <c:v>40128</c:v>
                </c:pt>
                <c:pt idx="1048">
                  <c:v>40129</c:v>
                </c:pt>
                <c:pt idx="1049">
                  <c:v>40130</c:v>
                </c:pt>
                <c:pt idx="1050">
                  <c:v>40133</c:v>
                </c:pt>
                <c:pt idx="1051">
                  <c:v>40134</c:v>
                </c:pt>
                <c:pt idx="1052">
                  <c:v>40135</c:v>
                </c:pt>
                <c:pt idx="1053">
                  <c:v>40136</c:v>
                </c:pt>
                <c:pt idx="1054">
                  <c:v>40137</c:v>
                </c:pt>
                <c:pt idx="1055">
                  <c:v>40140</c:v>
                </c:pt>
                <c:pt idx="1056">
                  <c:v>40141</c:v>
                </c:pt>
                <c:pt idx="1057">
                  <c:v>40142</c:v>
                </c:pt>
                <c:pt idx="1058">
                  <c:v>40144</c:v>
                </c:pt>
                <c:pt idx="1059">
                  <c:v>40147</c:v>
                </c:pt>
                <c:pt idx="1060">
                  <c:v>40148</c:v>
                </c:pt>
                <c:pt idx="1061">
                  <c:v>40149</c:v>
                </c:pt>
                <c:pt idx="1062">
                  <c:v>40150</c:v>
                </c:pt>
                <c:pt idx="1063">
                  <c:v>40151</c:v>
                </c:pt>
                <c:pt idx="1064">
                  <c:v>40154</c:v>
                </c:pt>
                <c:pt idx="1065">
                  <c:v>40155</c:v>
                </c:pt>
                <c:pt idx="1066">
                  <c:v>40156</c:v>
                </c:pt>
                <c:pt idx="1067">
                  <c:v>40157</c:v>
                </c:pt>
                <c:pt idx="1068">
                  <c:v>40158</c:v>
                </c:pt>
                <c:pt idx="1069">
                  <c:v>40161</c:v>
                </c:pt>
                <c:pt idx="1070">
                  <c:v>40162</c:v>
                </c:pt>
                <c:pt idx="1071">
                  <c:v>40163</c:v>
                </c:pt>
                <c:pt idx="1072">
                  <c:v>40164</c:v>
                </c:pt>
                <c:pt idx="1073">
                  <c:v>40165</c:v>
                </c:pt>
                <c:pt idx="1074">
                  <c:v>40168</c:v>
                </c:pt>
                <c:pt idx="1075">
                  <c:v>40169</c:v>
                </c:pt>
                <c:pt idx="1076">
                  <c:v>40170</c:v>
                </c:pt>
                <c:pt idx="1077">
                  <c:v>40171</c:v>
                </c:pt>
                <c:pt idx="1078">
                  <c:v>40175</c:v>
                </c:pt>
                <c:pt idx="1079">
                  <c:v>40176</c:v>
                </c:pt>
                <c:pt idx="1080">
                  <c:v>40177</c:v>
                </c:pt>
                <c:pt idx="1081">
                  <c:v>40178</c:v>
                </c:pt>
                <c:pt idx="1082">
                  <c:v>40182</c:v>
                </c:pt>
                <c:pt idx="1083">
                  <c:v>40183</c:v>
                </c:pt>
                <c:pt idx="1084">
                  <c:v>40184</c:v>
                </c:pt>
                <c:pt idx="1085">
                  <c:v>40185</c:v>
                </c:pt>
                <c:pt idx="1086">
                  <c:v>40186</c:v>
                </c:pt>
                <c:pt idx="1087">
                  <c:v>40189</c:v>
                </c:pt>
                <c:pt idx="1088">
                  <c:v>40190</c:v>
                </c:pt>
                <c:pt idx="1089">
                  <c:v>40191</c:v>
                </c:pt>
                <c:pt idx="1090">
                  <c:v>40192</c:v>
                </c:pt>
                <c:pt idx="1091">
                  <c:v>40193</c:v>
                </c:pt>
                <c:pt idx="1092">
                  <c:v>40197</c:v>
                </c:pt>
                <c:pt idx="1093">
                  <c:v>40198</c:v>
                </c:pt>
                <c:pt idx="1094">
                  <c:v>40199</c:v>
                </c:pt>
                <c:pt idx="1095">
                  <c:v>40200</c:v>
                </c:pt>
                <c:pt idx="1096">
                  <c:v>40203</c:v>
                </c:pt>
                <c:pt idx="1097">
                  <c:v>40204</c:v>
                </c:pt>
                <c:pt idx="1098">
                  <c:v>40205</c:v>
                </c:pt>
                <c:pt idx="1099">
                  <c:v>40206</c:v>
                </c:pt>
                <c:pt idx="1100">
                  <c:v>40207</c:v>
                </c:pt>
                <c:pt idx="1101">
                  <c:v>40210</c:v>
                </c:pt>
                <c:pt idx="1102">
                  <c:v>40211</c:v>
                </c:pt>
                <c:pt idx="1103">
                  <c:v>40212</c:v>
                </c:pt>
                <c:pt idx="1104">
                  <c:v>40213</c:v>
                </c:pt>
                <c:pt idx="1105">
                  <c:v>40214</c:v>
                </c:pt>
                <c:pt idx="1106">
                  <c:v>40217</c:v>
                </c:pt>
                <c:pt idx="1107">
                  <c:v>40218</c:v>
                </c:pt>
                <c:pt idx="1108">
                  <c:v>40219</c:v>
                </c:pt>
                <c:pt idx="1109">
                  <c:v>40220</c:v>
                </c:pt>
                <c:pt idx="1110">
                  <c:v>40221</c:v>
                </c:pt>
                <c:pt idx="1111">
                  <c:v>40225</c:v>
                </c:pt>
                <c:pt idx="1112">
                  <c:v>40226</c:v>
                </c:pt>
                <c:pt idx="1113">
                  <c:v>40227</c:v>
                </c:pt>
                <c:pt idx="1114">
                  <c:v>40228</c:v>
                </c:pt>
                <c:pt idx="1115">
                  <c:v>40231</c:v>
                </c:pt>
                <c:pt idx="1116">
                  <c:v>40232</c:v>
                </c:pt>
                <c:pt idx="1117">
                  <c:v>40233</c:v>
                </c:pt>
                <c:pt idx="1118">
                  <c:v>40234</c:v>
                </c:pt>
                <c:pt idx="1119">
                  <c:v>40235</c:v>
                </c:pt>
                <c:pt idx="1120">
                  <c:v>40238</c:v>
                </c:pt>
                <c:pt idx="1121">
                  <c:v>40239</c:v>
                </c:pt>
                <c:pt idx="1122">
                  <c:v>40240</c:v>
                </c:pt>
                <c:pt idx="1123">
                  <c:v>40241</c:v>
                </c:pt>
                <c:pt idx="1124">
                  <c:v>40242</c:v>
                </c:pt>
                <c:pt idx="1125">
                  <c:v>40245</c:v>
                </c:pt>
                <c:pt idx="1126">
                  <c:v>40246</c:v>
                </c:pt>
                <c:pt idx="1127">
                  <c:v>40247</c:v>
                </c:pt>
                <c:pt idx="1128">
                  <c:v>40248</c:v>
                </c:pt>
                <c:pt idx="1129">
                  <c:v>40249</c:v>
                </c:pt>
                <c:pt idx="1130">
                  <c:v>40252</c:v>
                </c:pt>
                <c:pt idx="1131">
                  <c:v>40253</c:v>
                </c:pt>
                <c:pt idx="1132">
                  <c:v>40254</c:v>
                </c:pt>
                <c:pt idx="1133">
                  <c:v>40255</c:v>
                </c:pt>
                <c:pt idx="1134">
                  <c:v>40256</c:v>
                </c:pt>
                <c:pt idx="1135">
                  <c:v>40259</c:v>
                </c:pt>
                <c:pt idx="1136">
                  <c:v>40260</c:v>
                </c:pt>
                <c:pt idx="1137">
                  <c:v>40261</c:v>
                </c:pt>
                <c:pt idx="1138">
                  <c:v>40262</c:v>
                </c:pt>
                <c:pt idx="1139">
                  <c:v>40263</c:v>
                </c:pt>
                <c:pt idx="1140">
                  <c:v>40266</c:v>
                </c:pt>
                <c:pt idx="1141">
                  <c:v>40267</c:v>
                </c:pt>
                <c:pt idx="1142">
                  <c:v>40268</c:v>
                </c:pt>
                <c:pt idx="1143">
                  <c:v>40269</c:v>
                </c:pt>
                <c:pt idx="1144">
                  <c:v>40273</c:v>
                </c:pt>
                <c:pt idx="1145">
                  <c:v>40274</c:v>
                </c:pt>
                <c:pt idx="1146">
                  <c:v>40275</c:v>
                </c:pt>
                <c:pt idx="1147">
                  <c:v>40276</c:v>
                </c:pt>
                <c:pt idx="1148">
                  <c:v>40277</c:v>
                </c:pt>
                <c:pt idx="1149">
                  <c:v>40280</c:v>
                </c:pt>
                <c:pt idx="1150">
                  <c:v>40281</c:v>
                </c:pt>
                <c:pt idx="1151">
                  <c:v>40282</c:v>
                </c:pt>
                <c:pt idx="1152">
                  <c:v>40283</c:v>
                </c:pt>
                <c:pt idx="1153">
                  <c:v>40284</c:v>
                </c:pt>
                <c:pt idx="1154">
                  <c:v>40287</c:v>
                </c:pt>
                <c:pt idx="1155">
                  <c:v>40288</c:v>
                </c:pt>
                <c:pt idx="1156">
                  <c:v>40289</c:v>
                </c:pt>
                <c:pt idx="1157">
                  <c:v>40290</c:v>
                </c:pt>
                <c:pt idx="1158">
                  <c:v>40291</c:v>
                </c:pt>
                <c:pt idx="1159">
                  <c:v>40294</c:v>
                </c:pt>
                <c:pt idx="1160">
                  <c:v>40295</c:v>
                </c:pt>
                <c:pt idx="1161">
                  <c:v>40296</c:v>
                </c:pt>
                <c:pt idx="1162">
                  <c:v>40297</c:v>
                </c:pt>
                <c:pt idx="1163">
                  <c:v>40298</c:v>
                </c:pt>
                <c:pt idx="1164">
                  <c:v>40301</c:v>
                </c:pt>
                <c:pt idx="1165">
                  <c:v>40302</c:v>
                </c:pt>
                <c:pt idx="1166">
                  <c:v>40303</c:v>
                </c:pt>
                <c:pt idx="1167">
                  <c:v>40304</c:v>
                </c:pt>
                <c:pt idx="1168">
                  <c:v>40305</c:v>
                </c:pt>
                <c:pt idx="1169">
                  <c:v>40308</c:v>
                </c:pt>
                <c:pt idx="1170">
                  <c:v>40309</c:v>
                </c:pt>
                <c:pt idx="1171">
                  <c:v>40310</c:v>
                </c:pt>
                <c:pt idx="1172">
                  <c:v>40311</c:v>
                </c:pt>
                <c:pt idx="1173">
                  <c:v>40312</c:v>
                </c:pt>
                <c:pt idx="1174">
                  <c:v>40315</c:v>
                </c:pt>
                <c:pt idx="1175">
                  <c:v>40316</c:v>
                </c:pt>
                <c:pt idx="1176">
                  <c:v>40317</c:v>
                </c:pt>
                <c:pt idx="1177">
                  <c:v>40318</c:v>
                </c:pt>
                <c:pt idx="1178">
                  <c:v>40319</c:v>
                </c:pt>
                <c:pt idx="1179">
                  <c:v>40322</c:v>
                </c:pt>
                <c:pt idx="1180">
                  <c:v>40323</c:v>
                </c:pt>
                <c:pt idx="1181">
                  <c:v>40324</c:v>
                </c:pt>
                <c:pt idx="1182">
                  <c:v>40325</c:v>
                </c:pt>
                <c:pt idx="1183">
                  <c:v>40326</c:v>
                </c:pt>
                <c:pt idx="1184">
                  <c:v>40330</c:v>
                </c:pt>
                <c:pt idx="1185">
                  <c:v>40331</c:v>
                </c:pt>
                <c:pt idx="1186">
                  <c:v>40332</c:v>
                </c:pt>
                <c:pt idx="1187">
                  <c:v>40333</c:v>
                </c:pt>
                <c:pt idx="1188">
                  <c:v>40336</c:v>
                </c:pt>
                <c:pt idx="1189">
                  <c:v>40337</c:v>
                </c:pt>
                <c:pt idx="1190">
                  <c:v>40338</c:v>
                </c:pt>
                <c:pt idx="1191">
                  <c:v>40339</c:v>
                </c:pt>
                <c:pt idx="1192">
                  <c:v>40340</c:v>
                </c:pt>
                <c:pt idx="1193">
                  <c:v>40343</c:v>
                </c:pt>
                <c:pt idx="1194">
                  <c:v>40344</c:v>
                </c:pt>
                <c:pt idx="1195">
                  <c:v>40345</c:v>
                </c:pt>
                <c:pt idx="1196">
                  <c:v>40346</c:v>
                </c:pt>
                <c:pt idx="1197">
                  <c:v>40347</c:v>
                </c:pt>
                <c:pt idx="1198">
                  <c:v>40350</c:v>
                </c:pt>
                <c:pt idx="1199">
                  <c:v>40351</c:v>
                </c:pt>
                <c:pt idx="1200">
                  <c:v>40352</c:v>
                </c:pt>
                <c:pt idx="1201">
                  <c:v>40353</c:v>
                </c:pt>
                <c:pt idx="1202">
                  <c:v>40354</c:v>
                </c:pt>
                <c:pt idx="1203">
                  <c:v>40357</c:v>
                </c:pt>
                <c:pt idx="1204">
                  <c:v>40358</c:v>
                </c:pt>
                <c:pt idx="1205">
                  <c:v>40359</c:v>
                </c:pt>
                <c:pt idx="1206">
                  <c:v>40360</c:v>
                </c:pt>
                <c:pt idx="1207">
                  <c:v>40361</c:v>
                </c:pt>
                <c:pt idx="1208">
                  <c:v>40365</c:v>
                </c:pt>
                <c:pt idx="1209">
                  <c:v>40366</c:v>
                </c:pt>
                <c:pt idx="1210">
                  <c:v>40367</c:v>
                </c:pt>
                <c:pt idx="1211">
                  <c:v>40368</c:v>
                </c:pt>
                <c:pt idx="1212">
                  <c:v>40371</c:v>
                </c:pt>
                <c:pt idx="1213">
                  <c:v>40372</c:v>
                </c:pt>
                <c:pt idx="1214">
                  <c:v>40373</c:v>
                </c:pt>
                <c:pt idx="1215">
                  <c:v>40374</c:v>
                </c:pt>
                <c:pt idx="1216">
                  <c:v>40375</c:v>
                </c:pt>
                <c:pt idx="1217">
                  <c:v>40378</c:v>
                </c:pt>
                <c:pt idx="1218">
                  <c:v>40379</c:v>
                </c:pt>
                <c:pt idx="1219">
                  <c:v>40380</c:v>
                </c:pt>
                <c:pt idx="1220">
                  <c:v>40381</c:v>
                </c:pt>
                <c:pt idx="1221">
                  <c:v>40382</c:v>
                </c:pt>
                <c:pt idx="1222">
                  <c:v>40385</c:v>
                </c:pt>
                <c:pt idx="1223">
                  <c:v>40386</c:v>
                </c:pt>
                <c:pt idx="1224">
                  <c:v>40387</c:v>
                </c:pt>
                <c:pt idx="1225">
                  <c:v>40388</c:v>
                </c:pt>
                <c:pt idx="1226">
                  <c:v>40389</c:v>
                </c:pt>
                <c:pt idx="1227">
                  <c:v>40392</c:v>
                </c:pt>
                <c:pt idx="1228">
                  <c:v>40393</c:v>
                </c:pt>
                <c:pt idx="1229">
                  <c:v>40394</c:v>
                </c:pt>
                <c:pt idx="1230">
                  <c:v>40395</c:v>
                </c:pt>
                <c:pt idx="1231">
                  <c:v>40396</c:v>
                </c:pt>
                <c:pt idx="1232">
                  <c:v>40399</c:v>
                </c:pt>
                <c:pt idx="1233">
                  <c:v>40400</c:v>
                </c:pt>
                <c:pt idx="1234">
                  <c:v>40401</c:v>
                </c:pt>
                <c:pt idx="1235">
                  <c:v>40402</c:v>
                </c:pt>
                <c:pt idx="1236">
                  <c:v>40403</c:v>
                </c:pt>
                <c:pt idx="1237">
                  <c:v>40406</c:v>
                </c:pt>
                <c:pt idx="1238">
                  <c:v>40407</c:v>
                </c:pt>
                <c:pt idx="1239">
                  <c:v>40408</c:v>
                </c:pt>
                <c:pt idx="1240">
                  <c:v>40409</c:v>
                </c:pt>
                <c:pt idx="1241">
                  <c:v>40410</c:v>
                </c:pt>
                <c:pt idx="1242">
                  <c:v>40413</c:v>
                </c:pt>
                <c:pt idx="1243">
                  <c:v>40414</c:v>
                </c:pt>
                <c:pt idx="1244">
                  <c:v>40415</c:v>
                </c:pt>
                <c:pt idx="1245">
                  <c:v>40416</c:v>
                </c:pt>
                <c:pt idx="1246">
                  <c:v>40417</c:v>
                </c:pt>
                <c:pt idx="1247">
                  <c:v>40420</c:v>
                </c:pt>
                <c:pt idx="1248">
                  <c:v>40421</c:v>
                </c:pt>
                <c:pt idx="1249">
                  <c:v>40422</c:v>
                </c:pt>
                <c:pt idx="1250">
                  <c:v>40423</c:v>
                </c:pt>
                <c:pt idx="1251">
                  <c:v>40424</c:v>
                </c:pt>
                <c:pt idx="1252">
                  <c:v>40428</c:v>
                </c:pt>
                <c:pt idx="1253">
                  <c:v>40429</c:v>
                </c:pt>
                <c:pt idx="1254">
                  <c:v>40430</c:v>
                </c:pt>
                <c:pt idx="1255">
                  <c:v>40431</c:v>
                </c:pt>
                <c:pt idx="1256">
                  <c:v>40434</c:v>
                </c:pt>
                <c:pt idx="1257">
                  <c:v>40435</c:v>
                </c:pt>
                <c:pt idx="1258">
                  <c:v>40436</c:v>
                </c:pt>
                <c:pt idx="1259">
                  <c:v>40437</c:v>
                </c:pt>
                <c:pt idx="1260">
                  <c:v>40438</c:v>
                </c:pt>
                <c:pt idx="1261">
                  <c:v>40441</c:v>
                </c:pt>
                <c:pt idx="1262">
                  <c:v>40442</c:v>
                </c:pt>
                <c:pt idx="1263">
                  <c:v>40443</c:v>
                </c:pt>
                <c:pt idx="1264">
                  <c:v>40444</c:v>
                </c:pt>
                <c:pt idx="1265">
                  <c:v>40445</c:v>
                </c:pt>
                <c:pt idx="1266">
                  <c:v>40448</c:v>
                </c:pt>
                <c:pt idx="1267">
                  <c:v>40449</c:v>
                </c:pt>
                <c:pt idx="1268">
                  <c:v>40450</c:v>
                </c:pt>
                <c:pt idx="1269">
                  <c:v>40451</c:v>
                </c:pt>
                <c:pt idx="1270">
                  <c:v>40452</c:v>
                </c:pt>
                <c:pt idx="1271">
                  <c:v>40455</c:v>
                </c:pt>
                <c:pt idx="1272">
                  <c:v>40456</c:v>
                </c:pt>
                <c:pt idx="1273">
                  <c:v>40457</c:v>
                </c:pt>
                <c:pt idx="1274">
                  <c:v>40458</c:v>
                </c:pt>
                <c:pt idx="1275">
                  <c:v>40459</c:v>
                </c:pt>
                <c:pt idx="1276">
                  <c:v>40462</c:v>
                </c:pt>
                <c:pt idx="1277">
                  <c:v>40463</c:v>
                </c:pt>
                <c:pt idx="1278">
                  <c:v>40464</c:v>
                </c:pt>
                <c:pt idx="1279">
                  <c:v>40465</c:v>
                </c:pt>
                <c:pt idx="1280">
                  <c:v>40466</c:v>
                </c:pt>
                <c:pt idx="1281">
                  <c:v>40469</c:v>
                </c:pt>
                <c:pt idx="1282">
                  <c:v>40470</c:v>
                </c:pt>
                <c:pt idx="1283">
                  <c:v>40471</c:v>
                </c:pt>
                <c:pt idx="1284">
                  <c:v>40472</c:v>
                </c:pt>
                <c:pt idx="1285">
                  <c:v>40473</c:v>
                </c:pt>
                <c:pt idx="1286">
                  <c:v>40476</c:v>
                </c:pt>
                <c:pt idx="1287">
                  <c:v>40477</c:v>
                </c:pt>
                <c:pt idx="1288">
                  <c:v>40478</c:v>
                </c:pt>
                <c:pt idx="1289">
                  <c:v>40479</c:v>
                </c:pt>
                <c:pt idx="1290">
                  <c:v>40480</c:v>
                </c:pt>
                <c:pt idx="1291">
                  <c:v>40483</c:v>
                </c:pt>
                <c:pt idx="1292">
                  <c:v>40484</c:v>
                </c:pt>
                <c:pt idx="1293">
                  <c:v>40485</c:v>
                </c:pt>
                <c:pt idx="1294">
                  <c:v>40486</c:v>
                </c:pt>
                <c:pt idx="1295">
                  <c:v>40487</c:v>
                </c:pt>
                <c:pt idx="1296">
                  <c:v>40490</c:v>
                </c:pt>
                <c:pt idx="1297">
                  <c:v>40491</c:v>
                </c:pt>
                <c:pt idx="1298">
                  <c:v>40492</c:v>
                </c:pt>
                <c:pt idx="1299">
                  <c:v>40493</c:v>
                </c:pt>
                <c:pt idx="1300">
                  <c:v>40494</c:v>
                </c:pt>
                <c:pt idx="1301">
                  <c:v>40497</c:v>
                </c:pt>
                <c:pt idx="1302">
                  <c:v>40498</c:v>
                </c:pt>
                <c:pt idx="1303">
                  <c:v>40499</c:v>
                </c:pt>
                <c:pt idx="1304">
                  <c:v>40500</c:v>
                </c:pt>
                <c:pt idx="1305">
                  <c:v>40501</c:v>
                </c:pt>
                <c:pt idx="1306">
                  <c:v>40504</c:v>
                </c:pt>
                <c:pt idx="1307">
                  <c:v>40505</c:v>
                </c:pt>
                <c:pt idx="1308">
                  <c:v>40506</c:v>
                </c:pt>
                <c:pt idx="1309">
                  <c:v>40508</c:v>
                </c:pt>
                <c:pt idx="1310">
                  <c:v>40511</c:v>
                </c:pt>
                <c:pt idx="1311">
                  <c:v>40512</c:v>
                </c:pt>
                <c:pt idx="1312">
                  <c:v>40513</c:v>
                </c:pt>
                <c:pt idx="1313">
                  <c:v>40514</c:v>
                </c:pt>
                <c:pt idx="1314">
                  <c:v>40515</c:v>
                </c:pt>
                <c:pt idx="1315">
                  <c:v>40518</c:v>
                </c:pt>
                <c:pt idx="1316">
                  <c:v>40519</c:v>
                </c:pt>
                <c:pt idx="1317">
                  <c:v>40520</c:v>
                </c:pt>
                <c:pt idx="1318">
                  <c:v>40521</c:v>
                </c:pt>
                <c:pt idx="1319">
                  <c:v>40522</c:v>
                </c:pt>
                <c:pt idx="1320">
                  <c:v>40525</c:v>
                </c:pt>
                <c:pt idx="1321">
                  <c:v>40526</c:v>
                </c:pt>
                <c:pt idx="1322">
                  <c:v>40527</c:v>
                </c:pt>
                <c:pt idx="1323">
                  <c:v>40528</c:v>
                </c:pt>
                <c:pt idx="1324">
                  <c:v>40529</c:v>
                </c:pt>
                <c:pt idx="1325">
                  <c:v>40532</c:v>
                </c:pt>
                <c:pt idx="1326">
                  <c:v>40533</c:v>
                </c:pt>
                <c:pt idx="1327">
                  <c:v>40534</c:v>
                </c:pt>
                <c:pt idx="1328">
                  <c:v>40535</c:v>
                </c:pt>
                <c:pt idx="1329">
                  <c:v>40539</c:v>
                </c:pt>
                <c:pt idx="1330">
                  <c:v>40540</c:v>
                </c:pt>
                <c:pt idx="1331">
                  <c:v>40541</c:v>
                </c:pt>
                <c:pt idx="1332">
                  <c:v>40542</c:v>
                </c:pt>
                <c:pt idx="1333">
                  <c:v>40543</c:v>
                </c:pt>
                <c:pt idx="1334">
                  <c:v>40546</c:v>
                </c:pt>
                <c:pt idx="1335">
                  <c:v>40547</c:v>
                </c:pt>
                <c:pt idx="1336">
                  <c:v>40548</c:v>
                </c:pt>
                <c:pt idx="1337">
                  <c:v>40549</c:v>
                </c:pt>
                <c:pt idx="1338">
                  <c:v>40550</c:v>
                </c:pt>
                <c:pt idx="1339">
                  <c:v>40553</c:v>
                </c:pt>
                <c:pt idx="1340">
                  <c:v>40554</c:v>
                </c:pt>
                <c:pt idx="1341">
                  <c:v>40555</c:v>
                </c:pt>
                <c:pt idx="1342">
                  <c:v>40556</c:v>
                </c:pt>
                <c:pt idx="1343">
                  <c:v>40557</c:v>
                </c:pt>
                <c:pt idx="1344">
                  <c:v>40561</c:v>
                </c:pt>
                <c:pt idx="1345">
                  <c:v>40562</c:v>
                </c:pt>
                <c:pt idx="1346">
                  <c:v>40563</c:v>
                </c:pt>
                <c:pt idx="1347">
                  <c:v>40564</c:v>
                </c:pt>
                <c:pt idx="1348">
                  <c:v>40567</c:v>
                </c:pt>
                <c:pt idx="1349">
                  <c:v>40568</c:v>
                </c:pt>
                <c:pt idx="1350">
                  <c:v>40569</c:v>
                </c:pt>
                <c:pt idx="1351">
                  <c:v>40570</c:v>
                </c:pt>
                <c:pt idx="1352">
                  <c:v>40571</c:v>
                </c:pt>
                <c:pt idx="1353">
                  <c:v>40574</c:v>
                </c:pt>
                <c:pt idx="1354">
                  <c:v>40575</c:v>
                </c:pt>
                <c:pt idx="1355">
                  <c:v>40576</c:v>
                </c:pt>
                <c:pt idx="1356">
                  <c:v>40577</c:v>
                </c:pt>
                <c:pt idx="1357">
                  <c:v>40578</c:v>
                </c:pt>
                <c:pt idx="1358">
                  <c:v>40581</c:v>
                </c:pt>
                <c:pt idx="1359">
                  <c:v>40582</c:v>
                </c:pt>
                <c:pt idx="1360">
                  <c:v>40583</c:v>
                </c:pt>
                <c:pt idx="1361">
                  <c:v>40584</c:v>
                </c:pt>
                <c:pt idx="1362">
                  <c:v>40585</c:v>
                </c:pt>
                <c:pt idx="1363">
                  <c:v>40588</c:v>
                </c:pt>
                <c:pt idx="1364">
                  <c:v>40589</c:v>
                </c:pt>
                <c:pt idx="1365">
                  <c:v>40590</c:v>
                </c:pt>
                <c:pt idx="1366">
                  <c:v>40591</c:v>
                </c:pt>
                <c:pt idx="1367">
                  <c:v>40592</c:v>
                </c:pt>
                <c:pt idx="1368">
                  <c:v>40596</c:v>
                </c:pt>
                <c:pt idx="1369">
                  <c:v>40597</c:v>
                </c:pt>
                <c:pt idx="1370">
                  <c:v>40598</c:v>
                </c:pt>
                <c:pt idx="1371">
                  <c:v>40599</c:v>
                </c:pt>
                <c:pt idx="1372">
                  <c:v>40602</c:v>
                </c:pt>
                <c:pt idx="1373">
                  <c:v>40603</c:v>
                </c:pt>
                <c:pt idx="1374">
                  <c:v>40604</c:v>
                </c:pt>
                <c:pt idx="1375">
                  <c:v>40605</c:v>
                </c:pt>
                <c:pt idx="1376">
                  <c:v>40606</c:v>
                </c:pt>
                <c:pt idx="1377">
                  <c:v>40609</c:v>
                </c:pt>
                <c:pt idx="1378">
                  <c:v>40610</c:v>
                </c:pt>
                <c:pt idx="1379">
                  <c:v>40611</c:v>
                </c:pt>
                <c:pt idx="1380">
                  <c:v>40612</c:v>
                </c:pt>
                <c:pt idx="1381">
                  <c:v>40613</c:v>
                </c:pt>
                <c:pt idx="1382">
                  <c:v>40616</c:v>
                </c:pt>
                <c:pt idx="1383">
                  <c:v>40617</c:v>
                </c:pt>
                <c:pt idx="1384">
                  <c:v>40618</c:v>
                </c:pt>
                <c:pt idx="1385">
                  <c:v>40619</c:v>
                </c:pt>
                <c:pt idx="1386">
                  <c:v>40620</c:v>
                </c:pt>
                <c:pt idx="1387">
                  <c:v>40623</c:v>
                </c:pt>
                <c:pt idx="1388">
                  <c:v>40624</c:v>
                </c:pt>
                <c:pt idx="1389">
                  <c:v>40625</c:v>
                </c:pt>
                <c:pt idx="1390">
                  <c:v>40626</c:v>
                </c:pt>
                <c:pt idx="1391">
                  <c:v>40627</c:v>
                </c:pt>
                <c:pt idx="1392">
                  <c:v>40630</c:v>
                </c:pt>
                <c:pt idx="1393">
                  <c:v>40631</c:v>
                </c:pt>
                <c:pt idx="1394">
                  <c:v>40632</c:v>
                </c:pt>
                <c:pt idx="1395">
                  <c:v>40633</c:v>
                </c:pt>
                <c:pt idx="1396">
                  <c:v>40634</c:v>
                </c:pt>
                <c:pt idx="1397">
                  <c:v>40637</c:v>
                </c:pt>
                <c:pt idx="1398">
                  <c:v>40638</c:v>
                </c:pt>
                <c:pt idx="1399">
                  <c:v>40639</c:v>
                </c:pt>
                <c:pt idx="1400">
                  <c:v>40640</c:v>
                </c:pt>
                <c:pt idx="1401">
                  <c:v>40641</c:v>
                </c:pt>
                <c:pt idx="1402">
                  <c:v>40644</c:v>
                </c:pt>
                <c:pt idx="1403">
                  <c:v>40645</c:v>
                </c:pt>
                <c:pt idx="1404">
                  <c:v>40646</c:v>
                </c:pt>
                <c:pt idx="1405">
                  <c:v>40647</c:v>
                </c:pt>
                <c:pt idx="1406">
                  <c:v>40648</c:v>
                </c:pt>
                <c:pt idx="1407">
                  <c:v>40651</c:v>
                </c:pt>
                <c:pt idx="1408">
                  <c:v>40652</c:v>
                </c:pt>
                <c:pt idx="1409">
                  <c:v>40653</c:v>
                </c:pt>
                <c:pt idx="1410">
                  <c:v>40654</c:v>
                </c:pt>
                <c:pt idx="1411">
                  <c:v>40658</c:v>
                </c:pt>
                <c:pt idx="1412">
                  <c:v>40659</c:v>
                </c:pt>
                <c:pt idx="1413">
                  <c:v>40660</c:v>
                </c:pt>
                <c:pt idx="1414">
                  <c:v>40661</c:v>
                </c:pt>
                <c:pt idx="1415">
                  <c:v>40662</c:v>
                </c:pt>
                <c:pt idx="1416">
                  <c:v>40665</c:v>
                </c:pt>
                <c:pt idx="1417">
                  <c:v>40666</c:v>
                </c:pt>
                <c:pt idx="1418">
                  <c:v>40667</c:v>
                </c:pt>
                <c:pt idx="1419">
                  <c:v>40668</c:v>
                </c:pt>
                <c:pt idx="1420">
                  <c:v>40669</c:v>
                </c:pt>
                <c:pt idx="1421">
                  <c:v>40672</c:v>
                </c:pt>
                <c:pt idx="1422">
                  <c:v>40673</c:v>
                </c:pt>
                <c:pt idx="1423">
                  <c:v>40674</c:v>
                </c:pt>
                <c:pt idx="1424">
                  <c:v>40675</c:v>
                </c:pt>
                <c:pt idx="1425">
                  <c:v>40676</c:v>
                </c:pt>
                <c:pt idx="1426">
                  <c:v>40679</c:v>
                </c:pt>
                <c:pt idx="1427">
                  <c:v>40680</c:v>
                </c:pt>
                <c:pt idx="1428">
                  <c:v>40681</c:v>
                </c:pt>
                <c:pt idx="1429">
                  <c:v>40682</c:v>
                </c:pt>
                <c:pt idx="1430">
                  <c:v>40683</c:v>
                </c:pt>
                <c:pt idx="1431">
                  <c:v>40686</c:v>
                </c:pt>
                <c:pt idx="1432">
                  <c:v>40687</c:v>
                </c:pt>
                <c:pt idx="1433">
                  <c:v>40688</c:v>
                </c:pt>
                <c:pt idx="1434">
                  <c:v>40689</c:v>
                </c:pt>
                <c:pt idx="1435">
                  <c:v>40690</c:v>
                </c:pt>
                <c:pt idx="1436">
                  <c:v>40694</c:v>
                </c:pt>
                <c:pt idx="1437">
                  <c:v>40695</c:v>
                </c:pt>
                <c:pt idx="1438">
                  <c:v>40696</c:v>
                </c:pt>
                <c:pt idx="1439">
                  <c:v>40697</c:v>
                </c:pt>
                <c:pt idx="1440">
                  <c:v>40700</c:v>
                </c:pt>
                <c:pt idx="1441">
                  <c:v>40701</c:v>
                </c:pt>
                <c:pt idx="1442">
                  <c:v>40702</c:v>
                </c:pt>
                <c:pt idx="1443">
                  <c:v>40703</c:v>
                </c:pt>
                <c:pt idx="1444">
                  <c:v>40704</c:v>
                </c:pt>
                <c:pt idx="1445">
                  <c:v>40707</c:v>
                </c:pt>
                <c:pt idx="1446">
                  <c:v>40708</c:v>
                </c:pt>
                <c:pt idx="1447">
                  <c:v>40709</c:v>
                </c:pt>
                <c:pt idx="1448">
                  <c:v>40710</c:v>
                </c:pt>
                <c:pt idx="1449">
                  <c:v>40711</c:v>
                </c:pt>
                <c:pt idx="1450">
                  <c:v>40714</c:v>
                </c:pt>
                <c:pt idx="1451">
                  <c:v>40715</c:v>
                </c:pt>
                <c:pt idx="1452">
                  <c:v>40716</c:v>
                </c:pt>
                <c:pt idx="1453">
                  <c:v>40717</c:v>
                </c:pt>
                <c:pt idx="1454">
                  <c:v>40718</c:v>
                </c:pt>
                <c:pt idx="1455">
                  <c:v>40721</c:v>
                </c:pt>
                <c:pt idx="1456">
                  <c:v>40722</c:v>
                </c:pt>
                <c:pt idx="1457">
                  <c:v>40723</c:v>
                </c:pt>
                <c:pt idx="1458">
                  <c:v>40724</c:v>
                </c:pt>
                <c:pt idx="1459">
                  <c:v>40725</c:v>
                </c:pt>
                <c:pt idx="1460">
                  <c:v>40729</c:v>
                </c:pt>
                <c:pt idx="1461">
                  <c:v>40730</c:v>
                </c:pt>
                <c:pt idx="1462">
                  <c:v>40731</c:v>
                </c:pt>
                <c:pt idx="1463">
                  <c:v>40732</c:v>
                </c:pt>
                <c:pt idx="1464">
                  <c:v>40735</c:v>
                </c:pt>
                <c:pt idx="1465">
                  <c:v>40736</c:v>
                </c:pt>
                <c:pt idx="1466">
                  <c:v>40737</c:v>
                </c:pt>
                <c:pt idx="1467">
                  <c:v>40738</c:v>
                </c:pt>
                <c:pt idx="1468">
                  <c:v>40739</c:v>
                </c:pt>
                <c:pt idx="1469">
                  <c:v>40742</c:v>
                </c:pt>
                <c:pt idx="1470">
                  <c:v>40743</c:v>
                </c:pt>
                <c:pt idx="1471">
                  <c:v>40744</c:v>
                </c:pt>
                <c:pt idx="1472">
                  <c:v>40745</c:v>
                </c:pt>
                <c:pt idx="1473">
                  <c:v>40746</c:v>
                </c:pt>
                <c:pt idx="1474">
                  <c:v>40749</c:v>
                </c:pt>
                <c:pt idx="1475">
                  <c:v>40750</c:v>
                </c:pt>
                <c:pt idx="1476">
                  <c:v>40751</c:v>
                </c:pt>
                <c:pt idx="1477">
                  <c:v>40752</c:v>
                </c:pt>
                <c:pt idx="1478">
                  <c:v>40753</c:v>
                </c:pt>
                <c:pt idx="1479">
                  <c:v>40756</c:v>
                </c:pt>
                <c:pt idx="1480">
                  <c:v>40757</c:v>
                </c:pt>
                <c:pt idx="1481">
                  <c:v>40758</c:v>
                </c:pt>
                <c:pt idx="1482">
                  <c:v>40759</c:v>
                </c:pt>
                <c:pt idx="1483">
                  <c:v>40760</c:v>
                </c:pt>
                <c:pt idx="1484">
                  <c:v>40763</c:v>
                </c:pt>
                <c:pt idx="1485">
                  <c:v>40764</c:v>
                </c:pt>
                <c:pt idx="1486">
                  <c:v>40765</c:v>
                </c:pt>
                <c:pt idx="1487">
                  <c:v>40766</c:v>
                </c:pt>
                <c:pt idx="1488">
                  <c:v>40767</c:v>
                </c:pt>
                <c:pt idx="1489">
                  <c:v>40770</c:v>
                </c:pt>
                <c:pt idx="1490">
                  <c:v>40771</c:v>
                </c:pt>
                <c:pt idx="1491">
                  <c:v>40772</c:v>
                </c:pt>
                <c:pt idx="1492">
                  <c:v>40773</c:v>
                </c:pt>
                <c:pt idx="1493">
                  <c:v>40774</c:v>
                </c:pt>
                <c:pt idx="1494">
                  <c:v>40777</c:v>
                </c:pt>
                <c:pt idx="1495">
                  <c:v>40778</c:v>
                </c:pt>
                <c:pt idx="1496">
                  <c:v>40779</c:v>
                </c:pt>
                <c:pt idx="1497">
                  <c:v>40780</c:v>
                </c:pt>
                <c:pt idx="1498">
                  <c:v>40781</c:v>
                </c:pt>
                <c:pt idx="1499">
                  <c:v>40784</c:v>
                </c:pt>
                <c:pt idx="1500">
                  <c:v>40785</c:v>
                </c:pt>
                <c:pt idx="1501">
                  <c:v>40786</c:v>
                </c:pt>
                <c:pt idx="1502">
                  <c:v>40787</c:v>
                </c:pt>
                <c:pt idx="1503">
                  <c:v>40788</c:v>
                </c:pt>
                <c:pt idx="1504">
                  <c:v>40792</c:v>
                </c:pt>
                <c:pt idx="1505">
                  <c:v>40793</c:v>
                </c:pt>
                <c:pt idx="1506">
                  <c:v>40794</c:v>
                </c:pt>
                <c:pt idx="1507">
                  <c:v>40795</c:v>
                </c:pt>
                <c:pt idx="1508">
                  <c:v>40798</c:v>
                </c:pt>
                <c:pt idx="1509">
                  <c:v>40799</c:v>
                </c:pt>
                <c:pt idx="1510">
                  <c:v>40800</c:v>
                </c:pt>
                <c:pt idx="1511">
                  <c:v>40801</c:v>
                </c:pt>
                <c:pt idx="1512">
                  <c:v>40802</c:v>
                </c:pt>
                <c:pt idx="1513">
                  <c:v>40805</c:v>
                </c:pt>
                <c:pt idx="1514">
                  <c:v>40806</c:v>
                </c:pt>
                <c:pt idx="1515">
                  <c:v>40807</c:v>
                </c:pt>
                <c:pt idx="1516">
                  <c:v>40808</c:v>
                </c:pt>
                <c:pt idx="1517">
                  <c:v>40809</c:v>
                </c:pt>
                <c:pt idx="1518">
                  <c:v>40812</c:v>
                </c:pt>
                <c:pt idx="1519">
                  <c:v>40813</c:v>
                </c:pt>
                <c:pt idx="1520">
                  <c:v>40814</c:v>
                </c:pt>
                <c:pt idx="1521">
                  <c:v>40815</c:v>
                </c:pt>
                <c:pt idx="1522">
                  <c:v>40816</c:v>
                </c:pt>
                <c:pt idx="1523">
                  <c:v>40819</c:v>
                </c:pt>
                <c:pt idx="1524">
                  <c:v>40820</c:v>
                </c:pt>
                <c:pt idx="1525">
                  <c:v>40821</c:v>
                </c:pt>
                <c:pt idx="1526">
                  <c:v>40822</c:v>
                </c:pt>
                <c:pt idx="1527">
                  <c:v>40823</c:v>
                </c:pt>
                <c:pt idx="1528">
                  <c:v>40826</c:v>
                </c:pt>
                <c:pt idx="1529">
                  <c:v>40827</c:v>
                </c:pt>
                <c:pt idx="1530">
                  <c:v>40828</c:v>
                </c:pt>
                <c:pt idx="1531">
                  <c:v>40829</c:v>
                </c:pt>
                <c:pt idx="1532">
                  <c:v>40830</c:v>
                </c:pt>
                <c:pt idx="1533">
                  <c:v>40833</c:v>
                </c:pt>
                <c:pt idx="1534">
                  <c:v>40834</c:v>
                </c:pt>
                <c:pt idx="1535">
                  <c:v>40835</c:v>
                </c:pt>
                <c:pt idx="1536">
                  <c:v>40836</c:v>
                </c:pt>
                <c:pt idx="1537">
                  <c:v>40837</c:v>
                </c:pt>
                <c:pt idx="1538">
                  <c:v>40840</c:v>
                </c:pt>
                <c:pt idx="1539">
                  <c:v>40841</c:v>
                </c:pt>
                <c:pt idx="1540">
                  <c:v>40842</c:v>
                </c:pt>
                <c:pt idx="1541">
                  <c:v>40843</c:v>
                </c:pt>
                <c:pt idx="1542">
                  <c:v>40844</c:v>
                </c:pt>
                <c:pt idx="1543">
                  <c:v>40847</c:v>
                </c:pt>
                <c:pt idx="1544">
                  <c:v>40848</c:v>
                </c:pt>
                <c:pt idx="1545">
                  <c:v>40849</c:v>
                </c:pt>
                <c:pt idx="1546">
                  <c:v>40850</c:v>
                </c:pt>
                <c:pt idx="1547">
                  <c:v>40851</c:v>
                </c:pt>
                <c:pt idx="1548">
                  <c:v>40854</c:v>
                </c:pt>
                <c:pt idx="1549">
                  <c:v>40855</c:v>
                </c:pt>
                <c:pt idx="1550">
                  <c:v>40856</c:v>
                </c:pt>
                <c:pt idx="1551">
                  <c:v>40857</c:v>
                </c:pt>
                <c:pt idx="1552">
                  <c:v>40858</c:v>
                </c:pt>
                <c:pt idx="1553">
                  <c:v>40861</c:v>
                </c:pt>
                <c:pt idx="1554">
                  <c:v>40862</c:v>
                </c:pt>
                <c:pt idx="1555">
                  <c:v>40863</c:v>
                </c:pt>
                <c:pt idx="1556">
                  <c:v>40864</c:v>
                </c:pt>
                <c:pt idx="1557">
                  <c:v>40865</c:v>
                </c:pt>
                <c:pt idx="1558">
                  <c:v>40868</c:v>
                </c:pt>
                <c:pt idx="1559">
                  <c:v>40869</c:v>
                </c:pt>
                <c:pt idx="1560">
                  <c:v>40870</c:v>
                </c:pt>
                <c:pt idx="1561">
                  <c:v>40872</c:v>
                </c:pt>
                <c:pt idx="1562">
                  <c:v>40875</c:v>
                </c:pt>
                <c:pt idx="1563">
                  <c:v>40876</c:v>
                </c:pt>
                <c:pt idx="1564">
                  <c:v>40877</c:v>
                </c:pt>
                <c:pt idx="1565">
                  <c:v>40878</c:v>
                </c:pt>
                <c:pt idx="1566">
                  <c:v>40879</c:v>
                </c:pt>
                <c:pt idx="1567">
                  <c:v>40882</c:v>
                </c:pt>
                <c:pt idx="1568">
                  <c:v>40883</c:v>
                </c:pt>
                <c:pt idx="1569">
                  <c:v>40884</c:v>
                </c:pt>
                <c:pt idx="1570">
                  <c:v>40885</c:v>
                </c:pt>
                <c:pt idx="1571">
                  <c:v>40886</c:v>
                </c:pt>
                <c:pt idx="1572">
                  <c:v>40889</c:v>
                </c:pt>
                <c:pt idx="1573">
                  <c:v>40890</c:v>
                </c:pt>
                <c:pt idx="1574">
                  <c:v>40891</c:v>
                </c:pt>
                <c:pt idx="1575">
                  <c:v>40892</c:v>
                </c:pt>
                <c:pt idx="1576">
                  <c:v>40893</c:v>
                </c:pt>
                <c:pt idx="1577">
                  <c:v>40896</c:v>
                </c:pt>
                <c:pt idx="1578">
                  <c:v>40897</c:v>
                </c:pt>
                <c:pt idx="1579">
                  <c:v>40898</c:v>
                </c:pt>
                <c:pt idx="1580">
                  <c:v>40899</c:v>
                </c:pt>
                <c:pt idx="1581">
                  <c:v>40900</c:v>
                </c:pt>
                <c:pt idx="1582">
                  <c:v>40904</c:v>
                </c:pt>
                <c:pt idx="1583">
                  <c:v>40905</c:v>
                </c:pt>
                <c:pt idx="1584">
                  <c:v>40906</c:v>
                </c:pt>
                <c:pt idx="1585">
                  <c:v>40907</c:v>
                </c:pt>
                <c:pt idx="1586">
                  <c:v>40911</c:v>
                </c:pt>
                <c:pt idx="1587">
                  <c:v>40912</c:v>
                </c:pt>
                <c:pt idx="1588">
                  <c:v>40913</c:v>
                </c:pt>
                <c:pt idx="1589">
                  <c:v>40914</c:v>
                </c:pt>
                <c:pt idx="1590">
                  <c:v>40917</c:v>
                </c:pt>
                <c:pt idx="1591">
                  <c:v>40918</c:v>
                </c:pt>
                <c:pt idx="1592">
                  <c:v>40919</c:v>
                </c:pt>
                <c:pt idx="1593">
                  <c:v>40920</c:v>
                </c:pt>
                <c:pt idx="1594">
                  <c:v>40921</c:v>
                </c:pt>
                <c:pt idx="1595">
                  <c:v>40925</c:v>
                </c:pt>
                <c:pt idx="1596">
                  <c:v>40926</c:v>
                </c:pt>
                <c:pt idx="1597">
                  <c:v>40927</c:v>
                </c:pt>
                <c:pt idx="1598">
                  <c:v>40928</c:v>
                </c:pt>
                <c:pt idx="1599">
                  <c:v>40931</c:v>
                </c:pt>
                <c:pt idx="1600">
                  <c:v>40932</c:v>
                </c:pt>
                <c:pt idx="1601">
                  <c:v>40933</c:v>
                </c:pt>
                <c:pt idx="1602">
                  <c:v>40934</c:v>
                </c:pt>
                <c:pt idx="1603">
                  <c:v>40935</c:v>
                </c:pt>
                <c:pt idx="1604">
                  <c:v>40938</c:v>
                </c:pt>
                <c:pt idx="1605">
                  <c:v>40939</c:v>
                </c:pt>
                <c:pt idx="1606">
                  <c:v>40940</c:v>
                </c:pt>
                <c:pt idx="1607">
                  <c:v>40941</c:v>
                </c:pt>
                <c:pt idx="1608">
                  <c:v>40942</c:v>
                </c:pt>
                <c:pt idx="1609">
                  <c:v>40945</c:v>
                </c:pt>
                <c:pt idx="1610">
                  <c:v>40946</c:v>
                </c:pt>
                <c:pt idx="1611">
                  <c:v>40947</c:v>
                </c:pt>
                <c:pt idx="1612">
                  <c:v>40948</c:v>
                </c:pt>
                <c:pt idx="1613">
                  <c:v>40949</c:v>
                </c:pt>
                <c:pt idx="1614">
                  <c:v>40952</c:v>
                </c:pt>
                <c:pt idx="1615">
                  <c:v>40953</c:v>
                </c:pt>
                <c:pt idx="1616">
                  <c:v>40954</c:v>
                </c:pt>
                <c:pt idx="1617">
                  <c:v>40955</c:v>
                </c:pt>
                <c:pt idx="1618">
                  <c:v>40956</c:v>
                </c:pt>
                <c:pt idx="1619">
                  <c:v>40960</c:v>
                </c:pt>
                <c:pt idx="1620">
                  <c:v>40961</c:v>
                </c:pt>
                <c:pt idx="1621">
                  <c:v>40962</c:v>
                </c:pt>
                <c:pt idx="1622">
                  <c:v>40963</c:v>
                </c:pt>
                <c:pt idx="1623">
                  <c:v>40966</c:v>
                </c:pt>
                <c:pt idx="1624">
                  <c:v>40967</c:v>
                </c:pt>
                <c:pt idx="1625">
                  <c:v>40968</c:v>
                </c:pt>
                <c:pt idx="1626">
                  <c:v>40969</c:v>
                </c:pt>
                <c:pt idx="1627">
                  <c:v>40970</c:v>
                </c:pt>
                <c:pt idx="1628">
                  <c:v>40973</c:v>
                </c:pt>
                <c:pt idx="1629">
                  <c:v>40974</c:v>
                </c:pt>
                <c:pt idx="1630">
                  <c:v>40975</c:v>
                </c:pt>
                <c:pt idx="1631">
                  <c:v>40976</c:v>
                </c:pt>
                <c:pt idx="1632">
                  <c:v>40977</c:v>
                </c:pt>
                <c:pt idx="1633">
                  <c:v>40980</c:v>
                </c:pt>
                <c:pt idx="1634">
                  <c:v>40981</c:v>
                </c:pt>
                <c:pt idx="1635">
                  <c:v>40982</c:v>
                </c:pt>
                <c:pt idx="1636">
                  <c:v>40983</c:v>
                </c:pt>
                <c:pt idx="1637">
                  <c:v>40984</c:v>
                </c:pt>
                <c:pt idx="1638">
                  <c:v>40987</c:v>
                </c:pt>
                <c:pt idx="1639">
                  <c:v>40988</c:v>
                </c:pt>
                <c:pt idx="1640">
                  <c:v>40989</c:v>
                </c:pt>
                <c:pt idx="1641">
                  <c:v>40990</c:v>
                </c:pt>
                <c:pt idx="1642">
                  <c:v>40991</c:v>
                </c:pt>
                <c:pt idx="1643">
                  <c:v>40994</c:v>
                </c:pt>
                <c:pt idx="1644">
                  <c:v>40995</c:v>
                </c:pt>
                <c:pt idx="1645">
                  <c:v>40996</c:v>
                </c:pt>
                <c:pt idx="1646">
                  <c:v>40997</c:v>
                </c:pt>
                <c:pt idx="1647">
                  <c:v>40998</c:v>
                </c:pt>
                <c:pt idx="1648">
                  <c:v>41001</c:v>
                </c:pt>
                <c:pt idx="1649">
                  <c:v>41002</c:v>
                </c:pt>
                <c:pt idx="1650">
                  <c:v>41003</c:v>
                </c:pt>
                <c:pt idx="1651">
                  <c:v>41004</c:v>
                </c:pt>
                <c:pt idx="1652">
                  <c:v>41008</c:v>
                </c:pt>
                <c:pt idx="1653">
                  <c:v>41009</c:v>
                </c:pt>
                <c:pt idx="1654">
                  <c:v>41010</c:v>
                </c:pt>
                <c:pt idx="1655">
                  <c:v>41011</c:v>
                </c:pt>
                <c:pt idx="1656">
                  <c:v>41012</c:v>
                </c:pt>
                <c:pt idx="1657">
                  <c:v>41015</c:v>
                </c:pt>
                <c:pt idx="1658">
                  <c:v>41016</c:v>
                </c:pt>
                <c:pt idx="1659">
                  <c:v>41017</c:v>
                </c:pt>
                <c:pt idx="1660">
                  <c:v>41018</c:v>
                </c:pt>
                <c:pt idx="1661">
                  <c:v>41019</c:v>
                </c:pt>
                <c:pt idx="1662">
                  <c:v>41022</c:v>
                </c:pt>
                <c:pt idx="1663">
                  <c:v>41023</c:v>
                </c:pt>
                <c:pt idx="1664">
                  <c:v>41024</c:v>
                </c:pt>
                <c:pt idx="1665">
                  <c:v>41025</c:v>
                </c:pt>
                <c:pt idx="1666">
                  <c:v>41026</c:v>
                </c:pt>
                <c:pt idx="1667">
                  <c:v>41029</c:v>
                </c:pt>
                <c:pt idx="1668">
                  <c:v>41030</c:v>
                </c:pt>
                <c:pt idx="1669">
                  <c:v>41031</c:v>
                </c:pt>
                <c:pt idx="1670">
                  <c:v>41032</c:v>
                </c:pt>
                <c:pt idx="1671">
                  <c:v>41033</c:v>
                </c:pt>
                <c:pt idx="1672">
                  <c:v>41036</c:v>
                </c:pt>
                <c:pt idx="1673">
                  <c:v>41037</c:v>
                </c:pt>
                <c:pt idx="1674">
                  <c:v>41038</c:v>
                </c:pt>
                <c:pt idx="1675">
                  <c:v>41039</c:v>
                </c:pt>
                <c:pt idx="1676">
                  <c:v>41040</c:v>
                </c:pt>
                <c:pt idx="1677">
                  <c:v>41043</c:v>
                </c:pt>
                <c:pt idx="1678">
                  <c:v>41044</c:v>
                </c:pt>
                <c:pt idx="1679">
                  <c:v>41045</c:v>
                </c:pt>
                <c:pt idx="1680">
                  <c:v>41046</c:v>
                </c:pt>
                <c:pt idx="1681">
                  <c:v>41047</c:v>
                </c:pt>
                <c:pt idx="1682">
                  <c:v>41050</c:v>
                </c:pt>
                <c:pt idx="1683">
                  <c:v>41051</c:v>
                </c:pt>
                <c:pt idx="1684">
                  <c:v>41052</c:v>
                </c:pt>
                <c:pt idx="1685">
                  <c:v>41053</c:v>
                </c:pt>
                <c:pt idx="1686">
                  <c:v>41054</c:v>
                </c:pt>
                <c:pt idx="1687">
                  <c:v>41058</c:v>
                </c:pt>
                <c:pt idx="1688">
                  <c:v>41059</c:v>
                </c:pt>
                <c:pt idx="1689">
                  <c:v>41060</c:v>
                </c:pt>
                <c:pt idx="1690">
                  <c:v>41061</c:v>
                </c:pt>
                <c:pt idx="1691">
                  <c:v>41064</c:v>
                </c:pt>
                <c:pt idx="1692">
                  <c:v>41065</c:v>
                </c:pt>
                <c:pt idx="1693">
                  <c:v>41066</c:v>
                </c:pt>
                <c:pt idx="1694">
                  <c:v>41067</c:v>
                </c:pt>
                <c:pt idx="1695">
                  <c:v>41068</c:v>
                </c:pt>
                <c:pt idx="1696">
                  <c:v>41071</c:v>
                </c:pt>
                <c:pt idx="1697">
                  <c:v>41072</c:v>
                </c:pt>
                <c:pt idx="1698">
                  <c:v>41073</c:v>
                </c:pt>
                <c:pt idx="1699">
                  <c:v>41074</c:v>
                </c:pt>
                <c:pt idx="1700">
                  <c:v>41075</c:v>
                </c:pt>
                <c:pt idx="1701">
                  <c:v>41078</c:v>
                </c:pt>
                <c:pt idx="1702">
                  <c:v>41079</c:v>
                </c:pt>
                <c:pt idx="1703">
                  <c:v>41080</c:v>
                </c:pt>
                <c:pt idx="1704">
                  <c:v>41081</c:v>
                </c:pt>
                <c:pt idx="1705">
                  <c:v>41082</c:v>
                </c:pt>
                <c:pt idx="1706">
                  <c:v>41085</c:v>
                </c:pt>
                <c:pt idx="1707">
                  <c:v>41086</c:v>
                </c:pt>
                <c:pt idx="1708">
                  <c:v>41087</c:v>
                </c:pt>
                <c:pt idx="1709">
                  <c:v>41088</c:v>
                </c:pt>
                <c:pt idx="1710">
                  <c:v>41089</c:v>
                </c:pt>
                <c:pt idx="1711">
                  <c:v>41092</c:v>
                </c:pt>
                <c:pt idx="1712">
                  <c:v>41093</c:v>
                </c:pt>
                <c:pt idx="1713">
                  <c:v>41095</c:v>
                </c:pt>
                <c:pt idx="1714">
                  <c:v>41096</c:v>
                </c:pt>
                <c:pt idx="1715">
                  <c:v>41099</c:v>
                </c:pt>
                <c:pt idx="1716">
                  <c:v>41100</c:v>
                </c:pt>
                <c:pt idx="1717">
                  <c:v>41101</c:v>
                </c:pt>
                <c:pt idx="1718">
                  <c:v>41102</c:v>
                </c:pt>
                <c:pt idx="1719">
                  <c:v>41103</c:v>
                </c:pt>
                <c:pt idx="1720">
                  <c:v>41106</c:v>
                </c:pt>
                <c:pt idx="1721">
                  <c:v>41107</c:v>
                </c:pt>
                <c:pt idx="1722">
                  <c:v>41108</c:v>
                </c:pt>
                <c:pt idx="1723">
                  <c:v>41109</c:v>
                </c:pt>
                <c:pt idx="1724">
                  <c:v>41110</c:v>
                </c:pt>
                <c:pt idx="1725">
                  <c:v>41113</c:v>
                </c:pt>
                <c:pt idx="1726">
                  <c:v>41114</c:v>
                </c:pt>
                <c:pt idx="1727">
                  <c:v>41115</c:v>
                </c:pt>
                <c:pt idx="1728">
                  <c:v>41116</c:v>
                </c:pt>
                <c:pt idx="1729">
                  <c:v>41117</c:v>
                </c:pt>
                <c:pt idx="1730">
                  <c:v>41120</c:v>
                </c:pt>
                <c:pt idx="1731">
                  <c:v>41121</c:v>
                </c:pt>
                <c:pt idx="1732">
                  <c:v>41122</c:v>
                </c:pt>
                <c:pt idx="1733">
                  <c:v>41123</c:v>
                </c:pt>
                <c:pt idx="1734">
                  <c:v>41124</c:v>
                </c:pt>
                <c:pt idx="1735">
                  <c:v>41127</c:v>
                </c:pt>
                <c:pt idx="1736">
                  <c:v>41128</c:v>
                </c:pt>
                <c:pt idx="1737">
                  <c:v>41129</c:v>
                </c:pt>
                <c:pt idx="1738">
                  <c:v>41130</c:v>
                </c:pt>
                <c:pt idx="1739">
                  <c:v>41131</c:v>
                </c:pt>
                <c:pt idx="1740">
                  <c:v>41134</c:v>
                </c:pt>
                <c:pt idx="1741">
                  <c:v>41135</c:v>
                </c:pt>
                <c:pt idx="1742">
                  <c:v>41136</c:v>
                </c:pt>
                <c:pt idx="1743">
                  <c:v>41137</c:v>
                </c:pt>
                <c:pt idx="1744">
                  <c:v>41138</c:v>
                </c:pt>
                <c:pt idx="1745">
                  <c:v>41141</c:v>
                </c:pt>
                <c:pt idx="1746">
                  <c:v>41142</c:v>
                </c:pt>
                <c:pt idx="1747">
                  <c:v>41143</c:v>
                </c:pt>
                <c:pt idx="1748">
                  <c:v>41144</c:v>
                </c:pt>
                <c:pt idx="1749">
                  <c:v>41145</c:v>
                </c:pt>
                <c:pt idx="1750">
                  <c:v>41148</c:v>
                </c:pt>
                <c:pt idx="1751">
                  <c:v>41149</c:v>
                </c:pt>
                <c:pt idx="1752">
                  <c:v>41150</c:v>
                </c:pt>
                <c:pt idx="1753">
                  <c:v>41151</c:v>
                </c:pt>
                <c:pt idx="1754">
                  <c:v>41152</c:v>
                </c:pt>
                <c:pt idx="1755">
                  <c:v>41156</c:v>
                </c:pt>
                <c:pt idx="1756">
                  <c:v>41157</c:v>
                </c:pt>
                <c:pt idx="1757">
                  <c:v>41158</c:v>
                </c:pt>
                <c:pt idx="1758">
                  <c:v>41159</c:v>
                </c:pt>
                <c:pt idx="1759">
                  <c:v>41162</c:v>
                </c:pt>
                <c:pt idx="1760">
                  <c:v>41163</c:v>
                </c:pt>
                <c:pt idx="1761">
                  <c:v>41164</c:v>
                </c:pt>
                <c:pt idx="1762">
                  <c:v>41165</c:v>
                </c:pt>
                <c:pt idx="1763">
                  <c:v>41166</c:v>
                </c:pt>
                <c:pt idx="1764">
                  <c:v>41169</c:v>
                </c:pt>
                <c:pt idx="1765">
                  <c:v>41170</c:v>
                </c:pt>
                <c:pt idx="1766">
                  <c:v>41171</c:v>
                </c:pt>
                <c:pt idx="1767">
                  <c:v>41172</c:v>
                </c:pt>
                <c:pt idx="1768">
                  <c:v>41173</c:v>
                </c:pt>
                <c:pt idx="1769">
                  <c:v>41176</c:v>
                </c:pt>
                <c:pt idx="1770">
                  <c:v>41177</c:v>
                </c:pt>
                <c:pt idx="1771">
                  <c:v>41178</c:v>
                </c:pt>
                <c:pt idx="1772">
                  <c:v>41179</c:v>
                </c:pt>
                <c:pt idx="1773">
                  <c:v>41180</c:v>
                </c:pt>
                <c:pt idx="1774">
                  <c:v>41183</c:v>
                </c:pt>
                <c:pt idx="1775">
                  <c:v>41184</c:v>
                </c:pt>
                <c:pt idx="1776">
                  <c:v>41185</c:v>
                </c:pt>
                <c:pt idx="1777">
                  <c:v>41186</c:v>
                </c:pt>
                <c:pt idx="1778">
                  <c:v>41187</c:v>
                </c:pt>
                <c:pt idx="1779">
                  <c:v>41190</c:v>
                </c:pt>
                <c:pt idx="1780">
                  <c:v>41191</c:v>
                </c:pt>
                <c:pt idx="1781">
                  <c:v>41192</c:v>
                </c:pt>
                <c:pt idx="1782">
                  <c:v>41193</c:v>
                </c:pt>
                <c:pt idx="1783">
                  <c:v>41194</c:v>
                </c:pt>
                <c:pt idx="1784">
                  <c:v>41197</c:v>
                </c:pt>
                <c:pt idx="1785">
                  <c:v>41198</c:v>
                </c:pt>
                <c:pt idx="1786">
                  <c:v>41199</c:v>
                </c:pt>
                <c:pt idx="1787">
                  <c:v>41200</c:v>
                </c:pt>
                <c:pt idx="1788">
                  <c:v>41201</c:v>
                </c:pt>
                <c:pt idx="1789">
                  <c:v>41204</c:v>
                </c:pt>
                <c:pt idx="1790">
                  <c:v>41205</c:v>
                </c:pt>
                <c:pt idx="1791">
                  <c:v>41206</c:v>
                </c:pt>
                <c:pt idx="1792">
                  <c:v>41207</c:v>
                </c:pt>
                <c:pt idx="1793">
                  <c:v>41208</c:v>
                </c:pt>
                <c:pt idx="1794">
                  <c:v>41213</c:v>
                </c:pt>
                <c:pt idx="1795">
                  <c:v>41214</c:v>
                </c:pt>
                <c:pt idx="1796">
                  <c:v>41215</c:v>
                </c:pt>
                <c:pt idx="1797">
                  <c:v>41218</c:v>
                </c:pt>
                <c:pt idx="1798">
                  <c:v>41219</c:v>
                </c:pt>
                <c:pt idx="1799">
                  <c:v>41220</c:v>
                </c:pt>
                <c:pt idx="1800">
                  <c:v>41221</c:v>
                </c:pt>
                <c:pt idx="1801">
                  <c:v>41222</c:v>
                </c:pt>
                <c:pt idx="1802">
                  <c:v>41225</c:v>
                </c:pt>
                <c:pt idx="1803">
                  <c:v>41226</c:v>
                </c:pt>
                <c:pt idx="1804">
                  <c:v>41227</c:v>
                </c:pt>
                <c:pt idx="1805">
                  <c:v>41228</c:v>
                </c:pt>
                <c:pt idx="1806">
                  <c:v>41229</c:v>
                </c:pt>
                <c:pt idx="1807">
                  <c:v>41232</c:v>
                </c:pt>
                <c:pt idx="1808">
                  <c:v>41233</c:v>
                </c:pt>
                <c:pt idx="1809">
                  <c:v>41234</c:v>
                </c:pt>
                <c:pt idx="1810">
                  <c:v>41236</c:v>
                </c:pt>
                <c:pt idx="1811">
                  <c:v>41239</c:v>
                </c:pt>
                <c:pt idx="1812">
                  <c:v>41240</c:v>
                </c:pt>
                <c:pt idx="1813">
                  <c:v>41241</c:v>
                </c:pt>
                <c:pt idx="1814">
                  <c:v>41242</c:v>
                </c:pt>
                <c:pt idx="1815">
                  <c:v>41243</c:v>
                </c:pt>
                <c:pt idx="1816">
                  <c:v>41246</c:v>
                </c:pt>
                <c:pt idx="1817">
                  <c:v>41247</c:v>
                </c:pt>
                <c:pt idx="1818">
                  <c:v>41248</c:v>
                </c:pt>
                <c:pt idx="1819">
                  <c:v>41249</c:v>
                </c:pt>
                <c:pt idx="1820">
                  <c:v>41250</c:v>
                </c:pt>
                <c:pt idx="1821">
                  <c:v>41253</c:v>
                </c:pt>
                <c:pt idx="1822">
                  <c:v>41254</c:v>
                </c:pt>
                <c:pt idx="1823">
                  <c:v>41255</c:v>
                </c:pt>
                <c:pt idx="1824">
                  <c:v>41256</c:v>
                </c:pt>
                <c:pt idx="1825">
                  <c:v>41257</c:v>
                </c:pt>
                <c:pt idx="1826">
                  <c:v>41260</c:v>
                </c:pt>
                <c:pt idx="1827">
                  <c:v>41261</c:v>
                </c:pt>
                <c:pt idx="1828">
                  <c:v>41262</c:v>
                </c:pt>
                <c:pt idx="1829">
                  <c:v>41263</c:v>
                </c:pt>
                <c:pt idx="1830">
                  <c:v>41264</c:v>
                </c:pt>
                <c:pt idx="1831">
                  <c:v>41267</c:v>
                </c:pt>
                <c:pt idx="1832">
                  <c:v>41269</c:v>
                </c:pt>
                <c:pt idx="1833">
                  <c:v>41270</c:v>
                </c:pt>
                <c:pt idx="1834">
                  <c:v>41271</c:v>
                </c:pt>
                <c:pt idx="1835">
                  <c:v>41274</c:v>
                </c:pt>
                <c:pt idx="1836">
                  <c:v>41276</c:v>
                </c:pt>
                <c:pt idx="1837">
                  <c:v>41277</c:v>
                </c:pt>
                <c:pt idx="1838">
                  <c:v>41278</c:v>
                </c:pt>
                <c:pt idx="1839">
                  <c:v>41281</c:v>
                </c:pt>
                <c:pt idx="1840">
                  <c:v>41282</c:v>
                </c:pt>
                <c:pt idx="1841">
                  <c:v>41283</c:v>
                </c:pt>
                <c:pt idx="1842">
                  <c:v>41284</c:v>
                </c:pt>
                <c:pt idx="1843">
                  <c:v>41285</c:v>
                </c:pt>
                <c:pt idx="1844">
                  <c:v>41288</c:v>
                </c:pt>
                <c:pt idx="1845">
                  <c:v>41289</c:v>
                </c:pt>
                <c:pt idx="1846">
                  <c:v>41290</c:v>
                </c:pt>
                <c:pt idx="1847">
                  <c:v>41291</c:v>
                </c:pt>
                <c:pt idx="1848">
                  <c:v>41292</c:v>
                </c:pt>
                <c:pt idx="1849">
                  <c:v>41296</c:v>
                </c:pt>
                <c:pt idx="1850">
                  <c:v>41297</c:v>
                </c:pt>
                <c:pt idx="1851">
                  <c:v>41298</c:v>
                </c:pt>
                <c:pt idx="1852">
                  <c:v>41299</c:v>
                </c:pt>
                <c:pt idx="1853">
                  <c:v>41302</c:v>
                </c:pt>
                <c:pt idx="1854">
                  <c:v>41303</c:v>
                </c:pt>
                <c:pt idx="1855">
                  <c:v>41304</c:v>
                </c:pt>
                <c:pt idx="1856">
                  <c:v>41305</c:v>
                </c:pt>
                <c:pt idx="1857">
                  <c:v>41306</c:v>
                </c:pt>
                <c:pt idx="1858">
                  <c:v>41309</c:v>
                </c:pt>
                <c:pt idx="1859">
                  <c:v>41310</c:v>
                </c:pt>
                <c:pt idx="1860">
                  <c:v>41311</c:v>
                </c:pt>
                <c:pt idx="1861">
                  <c:v>41312</c:v>
                </c:pt>
                <c:pt idx="1862">
                  <c:v>41313</c:v>
                </c:pt>
                <c:pt idx="1863">
                  <c:v>41316</c:v>
                </c:pt>
                <c:pt idx="1864">
                  <c:v>41317</c:v>
                </c:pt>
                <c:pt idx="1865">
                  <c:v>41318</c:v>
                </c:pt>
                <c:pt idx="1866">
                  <c:v>41319</c:v>
                </c:pt>
                <c:pt idx="1867">
                  <c:v>41320</c:v>
                </c:pt>
                <c:pt idx="1868">
                  <c:v>41324</c:v>
                </c:pt>
                <c:pt idx="1869">
                  <c:v>41325</c:v>
                </c:pt>
                <c:pt idx="1870">
                  <c:v>41326</c:v>
                </c:pt>
                <c:pt idx="1871">
                  <c:v>41327</c:v>
                </c:pt>
                <c:pt idx="1872">
                  <c:v>41330</c:v>
                </c:pt>
                <c:pt idx="1873">
                  <c:v>41331</c:v>
                </c:pt>
                <c:pt idx="1874">
                  <c:v>41332</c:v>
                </c:pt>
                <c:pt idx="1875">
                  <c:v>41333</c:v>
                </c:pt>
                <c:pt idx="1876">
                  <c:v>41334</c:v>
                </c:pt>
                <c:pt idx="1877">
                  <c:v>41337</c:v>
                </c:pt>
                <c:pt idx="1878">
                  <c:v>41338</c:v>
                </c:pt>
                <c:pt idx="1879">
                  <c:v>41339</c:v>
                </c:pt>
                <c:pt idx="1880">
                  <c:v>41340</c:v>
                </c:pt>
                <c:pt idx="1881">
                  <c:v>41341</c:v>
                </c:pt>
                <c:pt idx="1882">
                  <c:v>41344</c:v>
                </c:pt>
                <c:pt idx="1883">
                  <c:v>41345</c:v>
                </c:pt>
                <c:pt idx="1884">
                  <c:v>41346</c:v>
                </c:pt>
                <c:pt idx="1885">
                  <c:v>41347</c:v>
                </c:pt>
                <c:pt idx="1886">
                  <c:v>41348</c:v>
                </c:pt>
                <c:pt idx="1887">
                  <c:v>41351</c:v>
                </c:pt>
                <c:pt idx="1888">
                  <c:v>41352</c:v>
                </c:pt>
                <c:pt idx="1889">
                  <c:v>41353</c:v>
                </c:pt>
                <c:pt idx="1890">
                  <c:v>41354</c:v>
                </c:pt>
                <c:pt idx="1891">
                  <c:v>41355</c:v>
                </c:pt>
                <c:pt idx="1892">
                  <c:v>41358</c:v>
                </c:pt>
                <c:pt idx="1893">
                  <c:v>41359</c:v>
                </c:pt>
                <c:pt idx="1894">
                  <c:v>41360</c:v>
                </c:pt>
                <c:pt idx="1895">
                  <c:v>41361</c:v>
                </c:pt>
                <c:pt idx="1896">
                  <c:v>41365</c:v>
                </c:pt>
                <c:pt idx="1897">
                  <c:v>41366</c:v>
                </c:pt>
                <c:pt idx="1898">
                  <c:v>41367</c:v>
                </c:pt>
                <c:pt idx="1899">
                  <c:v>41368</c:v>
                </c:pt>
                <c:pt idx="1900">
                  <c:v>41369</c:v>
                </c:pt>
                <c:pt idx="1901">
                  <c:v>41372</c:v>
                </c:pt>
                <c:pt idx="1902">
                  <c:v>41373</c:v>
                </c:pt>
                <c:pt idx="1903">
                  <c:v>41374</c:v>
                </c:pt>
                <c:pt idx="1904">
                  <c:v>41375</c:v>
                </c:pt>
                <c:pt idx="1905">
                  <c:v>41376</c:v>
                </c:pt>
                <c:pt idx="1906">
                  <c:v>41379</c:v>
                </c:pt>
                <c:pt idx="1907">
                  <c:v>41380</c:v>
                </c:pt>
                <c:pt idx="1908">
                  <c:v>41381</c:v>
                </c:pt>
                <c:pt idx="1909">
                  <c:v>41382</c:v>
                </c:pt>
                <c:pt idx="1910">
                  <c:v>41383</c:v>
                </c:pt>
                <c:pt idx="1911">
                  <c:v>41386</c:v>
                </c:pt>
                <c:pt idx="1912">
                  <c:v>41387</c:v>
                </c:pt>
                <c:pt idx="1913">
                  <c:v>41388</c:v>
                </c:pt>
                <c:pt idx="1914">
                  <c:v>41389</c:v>
                </c:pt>
                <c:pt idx="1915">
                  <c:v>41390</c:v>
                </c:pt>
                <c:pt idx="1916">
                  <c:v>41393</c:v>
                </c:pt>
                <c:pt idx="1917">
                  <c:v>41394</c:v>
                </c:pt>
                <c:pt idx="1918">
                  <c:v>41395</c:v>
                </c:pt>
                <c:pt idx="1919">
                  <c:v>41396</c:v>
                </c:pt>
                <c:pt idx="1920">
                  <c:v>41397</c:v>
                </c:pt>
                <c:pt idx="1921">
                  <c:v>41400</c:v>
                </c:pt>
                <c:pt idx="1922">
                  <c:v>41401</c:v>
                </c:pt>
                <c:pt idx="1923">
                  <c:v>41402</c:v>
                </c:pt>
                <c:pt idx="1924">
                  <c:v>41403</c:v>
                </c:pt>
                <c:pt idx="1925">
                  <c:v>41404</c:v>
                </c:pt>
                <c:pt idx="1926">
                  <c:v>41407</c:v>
                </c:pt>
                <c:pt idx="1927">
                  <c:v>41408</c:v>
                </c:pt>
                <c:pt idx="1928">
                  <c:v>41409</c:v>
                </c:pt>
                <c:pt idx="1929">
                  <c:v>41410</c:v>
                </c:pt>
                <c:pt idx="1930">
                  <c:v>41411</c:v>
                </c:pt>
                <c:pt idx="1931">
                  <c:v>41414</c:v>
                </c:pt>
                <c:pt idx="1932">
                  <c:v>41415</c:v>
                </c:pt>
                <c:pt idx="1933">
                  <c:v>41416</c:v>
                </c:pt>
                <c:pt idx="1934">
                  <c:v>41417</c:v>
                </c:pt>
                <c:pt idx="1935">
                  <c:v>41418</c:v>
                </c:pt>
                <c:pt idx="1936">
                  <c:v>41422</c:v>
                </c:pt>
                <c:pt idx="1937">
                  <c:v>41423</c:v>
                </c:pt>
                <c:pt idx="1938">
                  <c:v>41424</c:v>
                </c:pt>
                <c:pt idx="1939">
                  <c:v>41425</c:v>
                </c:pt>
                <c:pt idx="1940">
                  <c:v>41428</c:v>
                </c:pt>
                <c:pt idx="1941">
                  <c:v>41429</c:v>
                </c:pt>
                <c:pt idx="1942">
                  <c:v>41430</c:v>
                </c:pt>
                <c:pt idx="1943">
                  <c:v>41431</c:v>
                </c:pt>
                <c:pt idx="1944">
                  <c:v>41432</c:v>
                </c:pt>
                <c:pt idx="1945">
                  <c:v>41435</c:v>
                </c:pt>
                <c:pt idx="1946">
                  <c:v>41436</c:v>
                </c:pt>
                <c:pt idx="1947">
                  <c:v>41437</c:v>
                </c:pt>
                <c:pt idx="1948">
                  <c:v>41438</c:v>
                </c:pt>
                <c:pt idx="1949">
                  <c:v>41439</c:v>
                </c:pt>
                <c:pt idx="1950">
                  <c:v>41442</c:v>
                </c:pt>
                <c:pt idx="1951">
                  <c:v>41443</c:v>
                </c:pt>
                <c:pt idx="1952">
                  <c:v>41444</c:v>
                </c:pt>
                <c:pt idx="1953">
                  <c:v>41445</c:v>
                </c:pt>
                <c:pt idx="1954">
                  <c:v>41446</c:v>
                </c:pt>
                <c:pt idx="1955">
                  <c:v>41449</c:v>
                </c:pt>
                <c:pt idx="1956">
                  <c:v>41450</c:v>
                </c:pt>
                <c:pt idx="1957">
                  <c:v>41451</c:v>
                </c:pt>
                <c:pt idx="1958">
                  <c:v>41452</c:v>
                </c:pt>
                <c:pt idx="1959">
                  <c:v>41453</c:v>
                </c:pt>
                <c:pt idx="1960">
                  <c:v>41456</c:v>
                </c:pt>
                <c:pt idx="1961">
                  <c:v>41457</c:v>
                </c:pt>
                <c:pt idx="1962">
                  <c:v>41458</c:v>
                </c:pt>
                <c:pt idx="1963">
                  <c:v>41460</c:v>
                </c:pt>
                <c:pt idx="1964">
                  <c:v>41463</c:v>
                </c:pt>
                <c:pt idx="1965">
                  <c:v>41464</c:v>
                </c:pt>
                <c:pt idx="1966">
                  <c:v>41465</c:v>
                </c:pt>
                <c:pt idx="1967">
                  <c:v>41466</c:v>
                </c:pt>
                <c:pt idx="1968">
                  <c:v>41467</c:v>
                </c:pt>
                <c:pt idx="1969">
                  <c:v>41470</c:v>
                </c:pt>
                <c:pt idx="1970">
                  <c:v>41471</c:v>
                </c:pt>
                <c:pt idx="1971">
                  <c:v>41472</c:v>
                </c:pt>
                <c:pt idx="1972">
                  <c:v>41473</c:v>
                </c:pt>
                <c:pt idx="1973">
                  <c:v>41474</c:v>
                </c:pt>
                <c:pt idx="1974">
                  <c:v>41477</c:v>
                </c:pt>
                <c:pt idx="1975">
                  <c:v>41478</c:v>
                </c:pt>
                <c:pt idx="1976">
                  <c:v>41479</c:v>
                </c:pt>
                <c:pt idx="1977">
                  <c:v>41480</c:v>
                </c:pt>
                <c:pt idx="1978">
                  <c:v>41481</c:v>
                </c:pt>
                <c:pt idx="1979">
                  <c:v>41484</c:v>
                </c:pt>
                <c:pt idx="1980">
                  <c:v>41485</c:v>
                </c:pt>
                <c:pt idx="1981">
                  <c:v>41486</c:v>
                </c:pt>
                <c:pt idx="1982">
                  <c:v>41487</c:v>
                </c:pt>
                <c:pt idx="1983">
                  <c:v>41488</c:v>
                </c:pt>
                <c:pt idx="1984">
                  <c:v>41491</c:v>
                </c:pt>
                <c:pt idx="1985">
                  <c:v>41492</c:v>
                </c:pt>
                <c:pt idx="1986">
                  <c:v>41493</c:v>
                </c:pt>
                <c:pt idx="1987">
                  <c:v>41494</c:v>
                </c:pt>
                <c:pt idx="1988">
                  <c:v>41495</c:v>
                </c:pt>
                <c:pt idx="1989">
                  <c:v>41498</c:v>
                </c:pt>
                <c:pt idx="1990">
                  <c:v>41499</c:v>
                </c:pt>
                <c:pt idx="1991">
                  <c:v>41500</c:v>
                </c:pt>
                <c:pt idx="1992">
                  <c:v>41501</c:v>
                </c:pt>
                <c:pt idx="1993">
                  <c:v>41502</c:v>
                </c:pt>
                <c:pt idx="1994">
                  <c:v>41505</c:v>
                </c:pt>
                <c:pt idx="1995">
                  <c:v>41506</c:v>
                </c:pt>
                <c:pt idx="1996">
                  <c:v>41507</c:v>
                </c:pt>
                <c:pt idx="1997">
                  <c:v>41508</c:v>
                </c:pt>
                <c:pt idx="1998">
                  <c:v>41509</c:v>
                </c:pt>
                <c:pt idx="1999">
                  <c:v>41512</c:v>
                </c:pt>
                <c:pt idx="2000">
                  <c:v>41513</c:v>
                </c:pt>
                <c:pt idx="2001">
                  <c:v>41514</c:v>
                </c:pt>
                <c:pt idx="2002">
                  <c:v>41515</c:v>
                </c:pt>
                <c:pt idx="2003">
                  <c:v>41516</c:v>
                </c:pt>
                <c:pt idx="2004">
                  <c:v>41520</c:v>
                </c:pt>
                <c:pt idx="2005">
                  <c:v>41521</c:v>
                </c:pt>
                <c:pt idx="2006">
                  <c:v>41522</c:v>
                </c:pt>
                <c:pt idx="2007">
                  <c:v>41523</c:v>
                </c:pt>
                <c:pt idx="2008">
                  <c:v>41526</c:v>
                </c:pt>
                <c:pt idx="2009">
                  <c:v>41527</c:v>
                </c:pt>
                <c:pt idx="2010">
                  <c:v>41528</c:v>
                </c:pt>
                <c:pt idx="2011">
                  <c:v>41529</c:v>
                </c:pt>
                <c:pt idx="2012">
                  <c:v>41530</c:v>
                </c:pt>
                <c:pt idx="2013">
                  <c:v>41533</c:v>
                </c:pt>
                <c:pt idx="2014">
                  <c:v>41534</c:v>
                </c:pt>
                <c:pt idx="2015">
                  <c:v>41535</c:v>
                </c:pt>
                <c:pt idx="2016">
                  <c:v>41536</c:v>
                </c:pt>
                <c:pt idx="2017">
                  <c:v>41537</c:v>
                </c:pt>
                <c:pt idx="2018">
                  <c:v>41540</c:v>
                </c:pt>
                <c:pt idx="2019">
                  <c:v>41541</c:v>
                </c:pt>
                <c:pt idx="2020">
                  <c:v>41542</c:v>
                </c:pt>
                <c:pt idx="2021">
                  <c:v>41543</c:v>
                </c:pt>
                <c:pt idx="2022">
                  <c:v>41544</c:v>
                </c:pt>
                <c:pt idx="2023">
                  <c:v>41547</c:v>
                </c:pt>
                <c:pt idx="2024">
                  <c:v>41548</c:v>
                </c:pt>
                <c:pt idx="2025">
                  <c:v>41549</c:v>
                </c:pt>
                <c:pt idx="2026">
                  <c:v>41550</c:v>
                </c:pt>
                <c:pt idx="2027">
                  <c:v>41551</c:v>
                </c:pt>
                <c:pt idx="2028">
                  <c:v>41554</c:v>
                </c:pt>
                <c:pt idx="2029">
                  <c:v>41555</c:v>
                </c:pt>
                <c:pt idx="2030">
                  <c:v>41556</c:v>
                </c:pt>
                <c:pt idx="2031">
                  <c:v>41557</c:v>
                </c:pt>
                <c:pt idx="2032">
                  <c:v>41558</c:v>
                </c:pt>
                <c:pt idx="2033">
                  <c:v>41561</c:v>
                </c:pt>
                <c:pt idx="2034">
                  <c:v>41562</c:v>
                </c:pt>
                <c:pt idx="2035">
                  <c:v>41563</c:v>
                </c:pt>
                <c:pt idx="2036">
                  <c:v>41564</c:v>
                </c:pt>
                <c:pt idx="2037">
                  <c:v>41565</c:v>
                </c:pt>
                <c:pt idx="2038">
                  <c:v>41568</c:v>
                </c:pt>
                <c:pt idx="2039">
                  <c:v>41569</c:v>
                </c:pt>
                <c:pt idx="2040">
                  <c:v>41570</c:v>
                </c:pt>
                <c:pt idx="2041">
                  <c:v>41571</c:v>
                </c:pt>
                <c:pt idx="2042">
                  <c:v>41572</c:v>
                </c:pt>
                <c:pt idx="2043">
                  <c:v>41575</c:v>
                </c:pt>
                <c:pt idx="2044">
                  <c:v>41576</c:v>
                </c:pt>
                <c:pt idx="2045">
                  <c:v>41577</c:v>
                </c:pt>
                <c:pt idx="2046">
                  <c:v>41578</c:v>
                </c:pt>
                <c:pt idx="2047">
                  <c:v>41579</c:v>
                </c:pt>
                <c:pt idx="2048">
                  <c:v>41582</c:v>
                </c:pt>
                <c:pt idx="2049">
                  <c:v>41583</c:v>
                </c:pt>
                <c:pt idx="2050">
                  <c:v>41584</c:v>
                </c:pt>
                <c:pt idx="2051">
                  <c:v>41585</c:v>
                </c:pt>
                <c:pt idx="2052">
                  <c:v>41586</c:v>
                </c:pt>
                <c:pt idx="2053">
                  <c:v>41589</c:v>
                </c:pt>
                <c:pt idx="2054">
                  <c:v>41590</c:v>
                </c:pt>
                <c:pt idx="2055">
                  <c:v>41591</c:v>
                </c:pt>
                <c:pt idx="2056">
                  <c:v>41592</c:v>
                </c:pt>
                <c:pt idx="2057">
                  <c:v>41593</c:v>
                </c:pt>
                <c:pt idx="2058">
                  <c:v>41596</c:v>
                </c:pt>
                <c:pt idx="2059">
                  <c:v>41597</c:v>
                </c:pt>
                <c:pt idx="2060">
                  <c:v>41598</c:v>
                </c:pt>
                <c:pt idx="2061">
                  <c:v>41599</c:v>
                </c:pt>
                <c:pt idx="2062">
                  <c:v>41600</c:v>
                </c:pt>
                <c:pt idx="2063">
                  <c:v>41603</c:v>
                </c:pt>
                <c:pt idx="2064">
                  <c:v>41604</c:v>
                </c:pt>
                <c:pt idx="2065">
                  <c:v>41605</c:v>
                </c:pt>
                <c:pt idx="2066">
                  <c:v>41607</c:v>
                </c:pt>
                <c:pt idx="2067">
                  <c:v>41610</c:v>
                </c:pt>
                <c:pt idx="2068">
                  <c:v>41611</c:v>
                </c:pt>
                <c:pt idx="2069">
                  <c:v>41612</c:v>
                </c:pt>
                <c:pt idx="2070">
                  <c:v>41613</c:v>
                </c:pt>
                <c:pt idx="2071">
                  <c:v>41614</c:v>
                </c:pt>
                <c:pt idx="2072">
                  <c:v>41617</c:v>
                </c:pt>
                <c:pt idx="2073">
                  <c:v>41618</c:v>
                </c:pt>
                <c:pt idx="2074">
                  <c:v>41619</c:v>
                </c:pt>
                <c:pt idx="2075">
                  <c:v>41620</c:v>
                </c:pt>
                <c:pt idx="2076">
                  <c:v>41621</c:v>
                </c:pt>
                <c:pt idx="2077">
                  <c:v>41624</c:v>
                </c:pt>
                <c:pt idx="2078">
                  <c:v>41625</c:v>
                </c:pt>
                <c:pt idx="2079">
                  <c:v>41626</c:v>
                </c:pt>
                <c:pt idx="2080">
                  <c:v>41627</c:v>
                </c:pt>
                <c:pt idx="2081">
                  <c:v>41628</c:v>
                </c:pt>
                <c:pt idx="2082">
                  <c:v>41631</c:v>
                </c:pt>
                <c:pt idx="2083">
                  <c:v>41632</c:v>
                </c:pt>
                <c:pt idx="2084">
                  <c:v>41634</c:v>
                </c:pt>
                <c:pt idx="2085">
                  <c:v>41635</c:v>
                </c:pt>
                <c:pt idx="2086">
                  <c:v>41638</c:v>
                </c:pt>
                <c:pt idx="2087">
                  <c:v>41639</c:v>
                </c:pt>
                <c:pt idx="2088">
                  <c:v>41641</c:v>
                </c:pt>
                <c:pt idx="2089">
                  <c:v>41642</c:v>
                </c:pt>
                <c:pt idx="2090">
                  <c:v>41645</c:v>
                </c:pt>
                <c:pt idx="2091">
                  <c:v>41646</c:v>
                </c:pt>
                <c:pt idx="2092">
                  <c:v>41647</c:v>
                </c:pt>
                <c:pt idx="2093">
                  <c:v>41648</c:v>
                </c:pt>
                <c:pt idx="2094">
                  <c:v>41649</c:v>
                </c:pt>
                <c:pt idx="2095">
                  <c:v>41652</c:v>
                </c:pt>
                <c:pt idx="2096">
                  <c:v>41653</c:v>
                </c:pt>
                <c:pt idx="2097">
                  <c:v>41654</c:v>
                </c:pt>
                <c:pt idx="2098">
                  <c:v>41655</c:v>
                </c:pt>
                <c:pt idx="2099">
                  <c:v>41656</c:v>
                </c:pt>
                <c:pt idx="2100">
                  <c:v>41660</c:v>
                </c:pt>
                <c:pt idx="2101">
                  <c:v>41661</c:v>
                </c:pt>
                <c:pt idx="2102">
                  <c:v>41662</c:v>
                </c:pt>
                <c:pt idx="2103">
                  <c:v>41663</c:v>
                </c:pt>
                <c:pt idx="2104">
                  <c:v>41666</c:v>
                </c:pt>
                <c:pt idx="2105">
                  <c:v>41667</c:v>
                </c:pt>
                <c:pt idx="2106">
                  <c:v>41668</c:v>
                </c:pt>
                <c:pt idx="2107">
                  <c:v>41669</c:v>
                </c:pt>
                <c:pt idx="2108">
                  <c:v>41670</c:v>
                </c:pt>
                <c:pt idx="2109">
                  <c:v>41673</c:v>
                </c:pt>
                <c:pt idx="2110">
                  <c:v>41674</c:v>
                </c:pt>
                <c:pt idx="2111">
                  <c:v>41675</c:v>
                </c:pt>
                <c:pt idx="2112">
                  <c:v>41676</c:v>
                </c:pt>
                <c:pt idx="2113">
                  <c:v>41677</c:v>
                </c:pt>
                <c:pt idx="2114">
                  <c:v>41680</c:v>
                </c:pt>
                <c:pt idx="2115">
                  <c:v>41681</c:v>
                </c:pt>
                <c:pt idx="2116">
                  <c:v>41682</c:v>
                </c:pt>
                <c:pt idx="2117">
                  <c:v>41683</c:v>
                </c:pt>
                <c:pt idx="2118">
                  <c:v>41684</c:v>
                </c:pt>
                <c:pt idx="2119">
                  <c:v>41688</c:v>
                </c:pt>
                <c:pt idx="2120">
                  <c:v>41689</c:v>
                </c:pt>
                <c:pt idx="2121">
                  <c:v>41690</c:v>
                </c:pt>
                <c:pt idx="2122">
                  <c:v>41691</c:v>
                </c:pt>
                <c:pt idx="2123">
                  <c:v>41694</c:v>
                </c:pt>
                <c:pt idx="2124">
                  <c:v>41695</c:v>
                </c:pt>
                <c:pt idx="2125">
                  <c:v>41696</c:v>
                </c:pt>
                <c:pt idx="2126">
                  <c:v>41697</c:v>
                </c:pt>
                <c:pt idx="2127">
                  <c:v>41698</c:v>
                </c:pt>
                <c:pt idx="2128">
                  <c:v>41701</c:v>
                </c:pt>
                <c:pt idx="2129">
                  <c:v>41702</c:v>
                </c:pt>
                <c:pt idx="2130">
                  <c:v>41703</c:v>
                </c:pt>
                <c:pt idx="2131">
                  <c:v>41704</c:v>
                </c:pt>
                <c:pt idx="2132">
                  <c:v>41705</c:v>
                </c:pt>
                <c:pt idx="2133">
                  <c:v>41708</c:v>
                </c:pt>
                <c:pt idx="2134">
                  <c:v>41709</c:v>
                </c:pt>
                <c:pt idx="2135">
                  <c:v>41710</c:v>
                </c:pt>
                <c:pt idx="2136">
                  <c:v>41711</c:v>
                </c:pt>
                <c:pt idx="2137">
                  <c:v>41712</c:v>
                </c:pt>
                <c:pt idx="2138">
                  <c:v>41715</c:v>
                </c:pt>
                <c:pt idx="2139">
                  <c:v>41716</c:v>
                </c:pt>
                <c:pt idx="2140">
                  <c:v>41717</c:v>
                </c:pt>
                <c:pt idx="2141">
                  <c:v>41718</c:v>
                </c:pt>
                <c:pt idx="2142">
                  <c:v>41719</c:v>
                </c:pt>
                <c:pt idx="2143">
                  <c:v>41722</c:v>
                </c:pt>
                <c:pt idx="2144">
                  <c:v>41723</c:v>
                </c:pt>
                <c:pt idx="2145">
                  <c:v>41724</c:v>
                </c:pt>
                <c:pt idx="2146">
                  <c:v>41725</c:v>
                </c:pt>
                <c:pt idx="2147">
                  <c:v>41726</c:v>
                </c:pt>
                <c:pt idx="2148">
                  <c:v>41729</c:v>
                </c:pt>
                <c:pt idx="2149">
                  <c:v>41730</c:v>
                </c:pt>
                <c:pt idx="2150">
                  <c:v>41731</c:v>
                </c:pt>
                <c:pt idx="2151">
                  <c:v>41732</c:v>
                </c:pt>
                <c:pt idx="2152">
                  <c:v>41733</c:v>
                </c:pt>
                <c:pt idx="2153">
                  <c:v>41736</c:v>
                </c:pt>
                <c:pt idx="2154">
                  <c:v>41737</c:v>
                </c:pt>
                <c:pt idx="2155">
                  <c:v>41738</c:v>
                </c:pt>
                <c:pt idx="2156">
                  <c:v>41739</c:v>
                </c:pt>
                <c:pt idx="2157">
                  <c:v>41740</c:v>
                </c:pt>
                <c:pt idx="2158">
                  <c:v>41743</c:v>
                </c:pt>
                <c:pt idx="2159">
                  <c:v>41744</c:v>
                </c:pt>
                <c:pt idx="2160">
                  <c:v>41745</c:v>
                </c:pt>
                <c:pt idx="2161">
                  <c:v>41746</c:v>
                </c:pt>
                <c:pt idx="2162">
                  <c:v>41750</c:v>
                </c:pt>
                <c:pt idx="2163">
                  <c:v>41751</c:v>
                </c:pt>
                <c:pt idx="2164">
                  <c:v>41752</c:v>
                </c:pt>
                <c:pt idx="2165">
                  <c:v>41753</c:v>
                </c:pt>
                <c:pt idx="2166">
                  <c:v>41754</c:v>
                </c:pt>
                <c:pt idx="2167">
                  <c:v>41757</c:v>
                </c:pt>
                <c:pt idx="2168">
                  <c:v>41758</c:v>
                </c:pt>
                <c:pt idx="2169">
                  <c:v>41759</c:v>
                </c:pt>
                <c:pt idx="2170">
                  <c:v>41760</c:v>
                </c:pt>
                <c:pt idx="2171">
                  <c:v>41761</c:v>
                </c:pt>
                <c:pt idx="2172">
                  <c:v>41764</c:v>
                </c:pt>
                <c:pt idx="2173">
                  <c:v>41765</c:v>
                </c:pt>
                <c:pt idx="2174">
                  <c:v>41766</c:v>
                </c:pt>
                <c:pt idx="2175">
                  <c:v>41767</c:v>
                </c:pt>
                <c:pt idx="2176">
                  <c:v>41768</c:v>
                </c:pt>
                <c:pt idx="2177">
                  <c:v>41771</c:v>
                </c:pt>
                <c:pt idx="2178">
                  <c:v>41772</c:v>
                </c:pt>
                <c:pt idx="2179">
                  <c:v>41773</c:v>
                </c:pt>
                <c:pt idx="2180">
                  <c:v>41774</c:v>
                </c:pt>
                <c:pt idx="2181">
                  <c:v>41775</c:v>
                </c:pt>
                <c:pt idx="2182">
                  <c:v>41778</c:v>
                </c:pt>
                <c:pt idx="2183">
                  <c:v>41779</c:v>
                </c:pt>
                <c:pt idx="2184">
                  <c:v>41780</c:v>
                </c:pt>
                <c:pt idx="2185">
                  <c:v>41781</c:v>
                </c:pt>
                <c:pt idx="2186">
                  <c:v>41782</c:v>
                </c:pt>
                <c:pt idx="2187">
                  <c:v>41786</c:v>
                </c:pt>
                <c:pt idx="2188">
                  <c:v>41787</c:v>
                </c:pt>
                <c:pt idx="2189">
                  <c:v>41788</c:v>
                </c:pt>
                <c:pt idx="2190">
                  <c:v>41789</c:v>
                </c:pt>
                <c:pt idx="2191">
                  <c:v>41792</c:v>
                </c:pt>
                <c:pt idx="2192">
                  <c:v>41793</c:v>
                </c:pt>
                <c:pt idx="2193">
                  <c:v>41794</c:v>
                </c:pt>
                <c:pt idx="2194">
                  <c:v>41795</c:v>
                </c:pt>
                <c:pt idx="2195">
                  <c:v>41796</c:v>
                </c:pt>
                <c:pt idx="2196">
                  <c:v>41799</c:v>
                </c:pt>
                <c:pt idx="2197">
                  <c:v>41800</c:v>
                </c:pt>
                <c:pt idx="2198">
                  <c:v>41801</c:v>
                </c:pt>
                <c:pt idx="2199">
                  <c:v>41802</c:v>
                </c:pt>
                <c:pt idx="2200">
                  <c:v>41803</c:v>
                </c:pt>
                <c:pt idx="2201">
                  <c:v>41806</c:v>
                </c:pt>
                <c:pt idx="2202">
                  <c:v>41807</c:v>
                </c:pt>
                <c:pt idx="2203">
                  <c:v>41808</c:v>
                </c:pt>
                <c:pt idx="2204">
                  <c:v>41809</c:v>
                </c:pt>
                <c:pt idx="2205">
                  <c:v>41810</c:v>
                </c:pt>
                <c:pt idx="2206">
                  <c:v>41813</c:v>
                </c:pt>
                <c:pt idx="2207">
                  <c:v>41814</c:v>
                </c:pt>
                <c:pt idx="2208">
                  <c:v>41815</c:v>
                </c:pt>
                <c:pt idx="2209">
                  <c:v>41816</c:v>
                </c:pt>
                <c:pt idx="2210">
                  <c:v>41817</c:v>
                </c:pt>
                <c:pt idx="2211">
                  <c:v>41820</c:v>
                </c:pt>
                <c:pt idx="2212">
                  <c:v>41821</c:v>
                </c:pt>
                <c:pt idx="2213">
                  <c:v>41822</c:v>
                </c:pt>
                <c:pt idx="2214">
                  <c:v>41823</c:v>
                </c:pt>
                <c:pt idx="2215">
                  <c:v>41827</c:v>
                </c:pt>
                <c:pt idx="2216">
                  <c:v>41828</c:v>
                </c:pt>
                <c:pt idx="2217">
                  <c:v>41829</c:v>
                </c:pt>
                <c:pt idx="2218">
                  <c:v>41830</c:v>
                </c:pt>
                <c:pt idx="2219">
                  <c:v>41831</c:v>
                </c:pt>
                <c:pt idx="2220">
                  <c:v>41834</c:v>
                </c:pt>
                <c:pt idx="2221">
                  <c:v>41835</c:v>
                </c:pt>
                <c:pt idx="2222">
                  <c:v>41836</c:v>
                </c:pt>
                <c:pt idx="2223">
                  <c:v>41837</c:v>
                </c:pt>
                <c:pt idx="2224">
                  <c:v>41838</c:v>
                </c:pt>
                <c:pt idx="2225">
                  <c:v>41841</c:v>
                </c:pt>
                <c:pt idx="2226">
                  <c:v>41842</c:v>
                </c:pt>
                <c:pt idx="2227">
                  <c:v>41843</c:v>
                </c:pt>
                <c:pt idx="2228">
                  <c:v>41844</c:v>
                </c:pt>
                <c:pt idx="2229">
                  <c:v>41845</c:v>
                </c:pt>
                <c:pt idx="2230">
                  <c:v>41848</c:v>
                </c:pt>
                <c:pt idx="2231">
                  <c:v>41849</c:v>
                </c:pt>
                <c:pt idx="2232">
                  <c:v>41850</c:v>
                </c:pt>
                <c:pt idx="2233">
                  <c:v>41851</c:v>
                </c:pt>
                <c:pt idx="2234">
                  <c:v>41852</c:v>
                </c:pt>
                <c:pt idx="2235">
                  <c:v>41855</c:v>
                </c:pt>
                <c:pt idx="2236">
                  <c:v>41856</c:v>
                </c:pt>
                <c:pt idx="2237">
                  <c:v>41857</c:v>
                </c:pt>
                <c:pt idx="2238">
                  <c:v>41858</c:v>
                </c:pt>
                <c:pt idx="2239">
                  <c:v>41859</c:v>
                </c:pt>
                <c:pt idx="2240">
                  <c:v>41862</c:v>
                </c:pt>
                <c:pt idx="2241">
                  <c:v>41863</c:v>
                </c:pt>
                <c:pt idx="2242">
                  <c:v>41864</c:v>
                </c:pt>
                <c:pt idx="2243">
                  <c:v>41865</c:v>
                </c:pt>
                <c:pt idx="2244">
                  <c:v>41866</c:v>
                </c:pt>
                <c:pt idx="2245">
                  <c:v>41869</c:v>
                </c:pt>
                <c:pt idx="2246">
                  <c:v>41870</c:v>
                </c:pt>
                <c:pt idx="2247">
                  <c:v>41871</c:v>
                </c:pt>
                <c:pt idx="2248">
                  <c:v>41872</c:v>
                </c:pt>
                <c:pt idx="2249">
                  <c:v>41873</c:v>
                </c:pt>
                <c:pt idx="2250">
                  <c:v>41876</c:v>
                </c:pt>
                <c:pt idx="2251">
                  <c:v>41877</c:v>
                </c:pt>
                <c:pt idx="2252">
                  <c:v>41878</c:v>
                </c:pt>
                <c:pt idx="2253">
                  <c:v>41879</c:v>
                </c:pt>
                <c:pt idx="2254">
                  <c:v>41880</c:v>
                </c:pt>
                <c:pt idx="2255">
                  <c:v>41884</c:v>
                </c:pt>
                <c:pt idx="2256">
                  <c:v>41885</c:v>
                </c:pt>
                <c:pt idx="2257">
                  <c:v>41886</c:v>
                </c:pt>
                <c:pt idx="2258">
                  <c:v>41887</c:v>
                </c:pt>
                <c:pt idx="2259">
                  <c:v>41890</c:v>
                </c:pt>
                <c:pt idx="2260">
                  <c:v>41891</c:v>
                </c:pt>
                <c:pt idx="2261">
                  <c:v>41892</c:v>
                </c:pt>
                <c:pt idx="2262">
                  <c:v>41893</c:v>
                </c:pt>
                <c:pt idx="2263">
                  <c:v>41894</c:v>
                </c:pt>
                <c:pt idx="2264">
                  <c:v>41897</c:v>
                </c:pt>
                <c:pt idx="2265">
                  <c:v>41898</c:v>
                </c:pt>
                <c:pt idx="2266">
                  <c:v>41899</c:v>
                </c:pt>
                <c:pt idx="2267">
                  <c:v>41900</c:v>
                </c:pt>
                <c:pt idx="2268">
                  <c:v>41901</c:v>
                </c:pt>
                <c:pt idx="2269">
                  <c:v>41904</c:v>
                </c:pt>
                <c:pt idx="2270">
                  <c:v>41905</c:v>
                </c:pt>
                <c:pt idx="2271">
                  <c:v>41906</c:v>
                </c:pt>
                <c:pt idx="2272">
                  <c:v>41907</c:v>
                </c:pt>
                <c:pt idx="2273">
                  <c:v>41908</c:v>
                </c:pt>
                <c:pt idx="2274">
                  <c:v>41911</c:v>
                </c:pt>
                <c:pt idx="2275">
                  <c:v>41912</c:v>
                </c:pt>
                <c:pt idx="2276">
                  <c:v>41913</c:v>
                </c:pt>
                <c:pt idx="2277">
                  <c:v>41914</c:v>
                </c:pt>
                <c:pt idx="2278">
                  <c:v>41915</c:v>
                </c:pt>
                <c:pt idx="2279">
                  <c:v>41918</c:v>
                </c:pt>
                <c:pt idx="2280">
                  <c:v>41919</c:v>
                </c:pt>
                <c:pt idx="2281">
                  <c:v>41920</c:v>
                </c:pt>
                <c:pt idx="2282">
                  <c:v>41921</c:v>
                </c:pt>
                <c:pt idx="2283">
                  <c:v>41922</c:v>
                </c:pt>
                <c:pt idx="2284">
                  <c:v>41925</c:v>
                </c:pt>
                <c:pt idx="2285">
                  <c:v>41926</c:v>
                </c:pt>
                <c:pt idx="2286">
                  <c:v>41927</c:v>
                </c:pt>
                <c:pt idx="2287">
                  <c:v>41928</c:v>
                </c:pt>
                <c:pt idx="2288">
                  <c:v>41929</c:v>
                </c:pt>
                <c:pt idx="2289">
                  <c:v>41932</c:v>
                </c:pt>
                <c:pt idx="2290">
                  <c:v>41933</c:v>
                </c:pt>
                <c:pt idx="2291">
                  <c:v>41934</c:v>
                </c:pt>
                <c:pt idx="2292">
                  <c:v>41935</c:v>
                </c:pt>
                <c:pt idx="2293">
                  <c:v>41936</c:v>
                </c:pt>
                <c:pt idx="2294">
                  <c:v>41939</c:v>
                </c:pt>
                <c:pt idx="2295">
                  <c:v>41940</c:v>
                </c:pt>
                <c:pt idx="2296">
                  <c:v>41941</c:v>
                </c:pt>
                <c:pt idx="2297">
                  <c:v>41942</c:v>
                </c:pt>
                <c:pt idx="2298">
                  <c:v>41943</c:v>
                </c:pt>
                <c:pt idx="2299">
                  <c:v>41946</c:v>
                </c:pt>
                <c:pt idx="2300">
                  <c:v>41947</c:v>
                </c:pt>
                <c:pt idx="2301">
                  <c:v>41948</c:v>
                </c:pt>
                <c:pt idx="2302">
                  <c:v>41949</c:v>
                </c:pt>
                <c:pt idx="2303">
                  <c:v>41950</c:v>
                </c:pt>
                <c:pt idx="2304">
                  <c:v>41953</c:v>
                </c:pt>
                <c:pt idx="2305">
                  <c:v>41954</c:v>
                </c:pt>
                <c:pt idx="2306">
                  <c:v>41955</c:v>
                </c:pt>
                <c:pt idx="2307">
                  <c:v>41956</c:v>
                </c:pt>
                <c:pt idx="2308">
                  <c:v>41957</c:v>
                </c:pt>
                <c:pt idx="2309">
                  <c:v>41960</c:v>
                </c:pt>
                <c:pt idx="2310">
                  <c:v>41961</c:v>
                </c:pt>
                <c:pt idx="2311">
                  <c:v>41962</c:v>
                </c:pt>
                <c:pt idx="2312">
                  <c:v>41963</c:v>
                </c:pt>
                <c:pt idx="2313">
                  <c:v>41964</c:v>
                </c:pt>
                <c:pt idx="2314">
                  <c:v>41967</c:v>
                </c:pt>
                <c:pt idx="2315">
                  <c:v>41968</c:v>
                </c:pt>
                <c:pt idx="2316">
                  <c:v>41969</c:v>
                </c:pt>
                <c:pt idx="2317">
                  <c:v>41971</c:v>
                </c:pt>
                <c:pt idx="2318">
                  <c:v>41974</c:v>
                </c:pt>
                <c:pt idx="2319">
                  <c:v>41975</c:v>
                </c:pt>
                <c:pt idx="2320">
                  <c:v>41976</c:v>
                </c:pt>
                <c:pt idx="2321">
                  <c:v>41977</c:v>
                </c:pt>
                <c:pt idx="2322">
                  <c:v>41978</c:v>
                </c:pt>
                <c:pt idx="2323">
                  <c:v>41981</c:v>
                </c:pt>
                <c:pt idx="2324">
                  <c:v>41982</c:v>
                </c:pt>
                <c:pt idx="2325">
                  <c:v>41983</c:v>
                </c:pt>
                <c:pt idx="2326">
                  <c:v>41984</c:v>
                </c:pt>
                <c:pt idx="2327">
                  <c:v>41985</c:v>
                </c:pt>
                <c:pt idx="2328">
                  <c:v>41988</c:v>
                </c:pt>
                <c:pt idx="2329">
                  <c:v>41989</c:v>
                </c:pt>
                <c:pt idx="2330">
                  <c:v>41990</c:v>
                </c:pt>
                <c:pt idx="2331">
                  <c:v>41991</c:v>
                </c:pt>
                <c:pt idx="2332">
                  <c:v>41992</c:v>
                </c:pt>
                <c:pt idx="2333">
                  <c:v>41995</c:v>
                </c:pt>
                <c:pt idx="2334">
                  <c:v>41996</c:v>
                </c:pt>
                <c:pt idx="2335">
                  <c:v>41997</c:v>
                </c:pt>
                <c:pt idx="2336">
                  <c:v>41999</c:v>
                </c:pt>
                <c:pt idx="2337">
                  <c:v>42002</c:v>
                </c:pt>
                <c:pt idx="2338">
                  <c:v>42003</c:v>
                </c:pt>
                <c:pt idx="2339">
                  <c:v>42004</c:v>
                </c:pt>
                <c:pt idx="2340">
                  <c:v>42006</c:v>
                </c:pt>
                <c:pt idx="2341">
                  <c:v>42009</c:v>
                </c:pt>
                <c:pt idx="2342">
                  <c:v>42010</c:v>
                </c:pt>
                <c:pt idx="2343">
                  <c:v>42011</c:v>
                </c:pt>
                <c:pt idx="2344">
                  <c:v>42012</c:v>
                </c:pt>
                <c:pt idx="2345">
                  <c:v>42013</c:v>
                </c:pt>
                <c:pt idx="2346">
                  <c:v>42016</c:v>
                </c:pt>
                <c:pt idx="2347">
                  <c:v>42017</c:v>
                </c:pt>
                <c:pt idx="2348">
                  <c:v>42018</c:v>
                </c:pt>
                <c:pt idx="2349">
                  <c:v>42019</c:v>
                </c:pt>
                <c:pt idx="2350">
                  <c:v>42020</c:v>
                </c:pt>
                <c:pt idx="2351">
                  <c:v>42024</c:v>
                </c:pt>
                <c:pt idx="2352">
                  <c:v>42025</c:v>
                </c:pt>
                <c:pt idx="2353">
                  <c:v>42026</c:v>
                </c:pt>
                <c:pt idx="2354">
                  <c:v>42027</c:v>
                </c:pt>
                <c:pt idx="2355">
                  <c:v>42030</c:v>
                </c:pt>
                <c:pt idx="2356">
                  <c:v>42031</c:v>
                </c:pt>
                <c:pt idx="2357">
                  <c:v>42032</c:v>
                </c:pt>
                <c:pt idx="2358">
                  <c:v>42033</c:v>
                </c:pt>
                <c:pt idx="2359">
                  <c:v>42034</c:v>
                </c:pt>
                <c:pt idx="2360">
                  <c:v>42037</c:v>
                </c:pt>
                <c:pt idx="2361">
                  <c:v>42038</c:v>
                </c:pt>
                <c:pt idx="2362">
                  <c:v>42039</c:v>
                </c:pt>
                <c:pt idx="2363">
                  <c:v>42040</c:v>
                </c:pt>
                <c:pt idx="2364">
                  <c:v>42041</c:v>
                </c:pt>
                <c:pt idx="2365">
                  <c:v>42044</c:v>
                </c:pt>
                <c:pt idx="2366">
                  <c:v>42045</c:v>
                </c:pt>
                <c:pt idx="2367">
                  <c:v>42046</c:v>
                </c:pt>
                <c:pt idx="2368">
                  <c:v>42047</c:v>
                </c:pt>
                <c:pt idx="2369">
                  <c:v>42048</c:v>
                </c:pt>
                <c:pt idx="2370">
                  <c:v>42052</c:v>
                </c:pt>
                <c:pt idx="2371">
                  <c:v>42053</c:v>
                </c:pt>
                <c:pt idx="2372">
                  <c:v>42054</c:v>
                </c:pt>
                <c:pt idx="2373">
                  <c:v>42055</c:v>
                </c:pt>
                <c:pt idx="2374">
                  <c:v>42058</c:v>
                </c:pt>
                <c:pt idx="2375">
                  <c:v>42059</c:v>
                </c:pt>
                <c:pt idx="2376">
                  <c:v>42060</c:v>
                </c:pt>
                <c:pt idx="2377">
                  <c:v>42061</c:v>
                </c:pt>
                <c:pt idx="2378">
                  <c:v>42062</c:v>
                </c:pt>
                <c:pt idx="2379">
                  <c:v>42065</c:v>
                </c:pt>
                <c:pt idx="2380">
                  <c:v>42066</c:v>
                </c:pt>
                <c:pt idx="2381">
                  <c:v>42067</c:v>
                </c:pt>
                <c:pt idx="2382">
                  <c:v>42068</c:v>
                </c:pt>
                <c:pt idx="2383">
                  <c:v>42069</c:v>
                </c:pt>
                <c:pt idx="2384">
                  <c:v>42072</c:v>
                </c:pt>
                <c:pt idx="2385">
                  <c:v>42073</c:v>
                </c:pt>
                <c:pt idx="2386">
                  <c:v>42074</c:v>
                </c:pt>
                <c:pt idx="2387">
                  <c:v>42075</c:v>
                </c:pt>
                <c:pt idx="2388">
                  <c:v>42076</c:v>
                </c:pt>
                <c:pt idx="2389">
                  <c:v>42079</c:v>
                </c:pt>
                <c:pt idx="2390">
                  <c:v>42080</c:v>
                </c:pt>
                <c:pt idx="2391">
                  <c:v>42081</c:v>
                </c:pt>
                <c:pt idx="2392">
                  <c:v>42082</c:v>
                </c:pt>
                <c:pt idx="2393">
                  <c:v>42083</c:v>
                </c:pt>
                <c:pt idx="2394">
                  <c:v>42086</c:v>
                </c:pt>
                <c:pt idx="2395">
                  <c:v>42087</c:v>
                </c:pt>
                <c:pt idx="2396">
                  <c:v>42088</c:v>
                </c:pt>
                <c:pt idx="2397">
                  <c:v>42089</c:v>
                </c:pt>
                <c:pt idx="2398">
                  <c:v>42090</c:v>
                </c:pt>
                <c:pt idx="2399">
                  <c:v>42093</c:v>
                </c:pt>
                <c:pt idx="2400">
                  <c:v>42094</c:v>
                </c:pt>
                <c:pt idx="2401">
                  <c:v>42095</c:v>
                </c:pt>
                <c:pt idx="2402">
                  <c:v>42096</c:v>
                </c:pt>
                <c:pt idx="2403">
                  <c:v>42100</c:v>
                </c:pt>
                <c:pt idx="2404">
                  <c:v>42101</c:v>
                </c:pt>
                <c:pt idx="2405">
                  <c:v>42102</c:v>
                </c:pt>
                <c:pt idx="2406">
                  <c:v>42103</c:v>
                </c:pt>
                <c:pt idx="2407">
                  <c:v>42104</c:v>
                </c:pt>
                <c:pt idx="2408">
                  <c:v>42107</c:v>
                </c:pt>
                <c:pt idx="2409">
                  <c:v>42108</c:v>
                </c:pt>
                <c:pt idx="2410">
                  <c:v>42109</c:v>
                </c:pt>
                <c:pt idx="2411">
                  <c:v>42110</c:v>
                </c:pt>
                <c:pt idx="2412">
                  <c:v>42111</c:v>
                </c:pt>
                <c:pt idx="2413">
                  <c:v>42114</c:v>
                </c:pt>
                <c:pt idx="2414">
                  <c:v>42115</c:v>
                </c:pt>
                <c:pt idx="2415">
                  <c:v>42116</c:v>
                </c:pt>
                <c:pt idx="2416">
                  <c:v>42117</c:v>
                </c:pt>
                <c:pt idx="2417">
                  <c:v>42118</c:v>
                </c:pt>
                <c:pt idx="2418">
                  <c:v>42121</c:v>
                </c:pt>
                <c:pt idx="2419">
                  <c:v>42122</c:v>
                </c:pt>
                <c:pt idx="2420">
                  <c:v>42123</c:v>
                </c:pt>
                <c:pt idx="2421">
                  <c:v>42124</c:v>
                </c:pt>
                <c:pt idx="2422">
                  <c:v>42125</c:v>
                </c:pt>
                <c:pt idx="2423">
                  <c:v>42128</c:v>
                </c:pt>
                <c:pt idx="2424">
                  <c:v>42129</c:v>
                </c:pt>
                <c:pt idx="2425">
                  <c:v>42130</c:v>
                </c:pt>
                <c:pt idx="2426">
                  <c:v>42131</c:v>
                </c:pt>
                <c:pt idx="2427">
                  <c:v>42132</c:v>
                </c:pt>
                <c:pt idx="2428">
                  <c:v>42135</c:v>
                </c:pt>
                <c:pt idx="2429">
                  <c:v>42136</c:v>
                </c:pt>
                <c:pt idx="2430">
                  <c:v>42137</c:v>
                </c:pt>
                <c:pt idx="2431">
                  <c:v>42138</c:v>
                </c:pt>
                <c:pt idx="2432">
                  <c:v>42139</c:v>
                </c:pt>
                <c:pt idx="2433">
                  <c:v>42142</c:v>
                </c:pt>
                <c:pt idx="2434">
                  <c:v>42143</c:v>
                </c:pt>
                <c:pt idx="2435">
                  <c:v>42144</c:v>
                </c:pt>
                <c:pt idx="2436">
                  <c:v>42145</c:v>
                </c:pt>
                <c:pt idx="2437">
                  <c:v>42146</c:v>
                </c:pt>
                <c:pt idx="2438">
                  <c:v>42150</c:v>
                </c:pt>
                <c:pt idx="2439">
                  <c:v>42151</c:v>
                </c:pt>
                <c:pt idx="2440">
                  <c:v>42152</c:v>
                </c:pt>
                <c:pt idx="2441">
                  <c:v>42153</c:v>
                </c:pt>
                <c:pt idx="2442">
                  <c:v>42156</c:v>
                </c:pt>
                <c:pt idx="2443">
                  <c:v>42157</c:v>
                </c:pt>
                <c:pt idx="2444">
                  <c:v>42158</c:v>
                </c:pt>
                <c:pt idx="2445">
                  <c:v>42159</c:v>
                </c:pt>
                <c:pt idx="2446">
                  <c:v>42160</c:v>
                </c:pt>
                <c:pt idx="2447">
                  <c:v>42163</c:v>
                </c:pt>
                <c:pt idx="2448">
                  <c:v>42164</c:v>
                </c:pt>
                <c:pt idx="2449">
                  <c:v>42165</c:v>
                </c:pt>
                <c:pt idx="2450">
                  <c:v>42166</c:v>
                </c:pt>
                <c:pt idx="2451">
                  <c:v>42167</c:v>
                </c:pt>
                <c:pt idx="2452">
                  <c:v>42170</c:v>
                </c:pt>
                <c:pt idx="2453">
                  <c:v>42171</c:v>
                </c:pt>
                <c:pt idx="2454">
                  <c:v>42172</c:v>
                </c:pt>
                <c:pt idx="2455">
                  <c:v>42173</c:v>
                </c:pt>
                <c:pt idx="2456">
                  <c:v>42174</c:v>
                </c:pt>
                <c:pt idx="2457">
                  <c:v>42177</c:v>
                </c:pt>
                <c:pt idx="2458">
                  <c:v>42178</c:v>
                </c:pt>
                <c:pt idx="2459">
                  <c:v>42179</c:v>
                </c:pt>
                <c:pt idx="2460">
                  <c:v>42180</c:v>
                </c:pt>
                <c:pt idx="2461">
                  <c:v>42181</c:v>
                </c:pt>
                <c:pt idx="2462">
                  <c:v>42184</c:v>
                </c:pt>
                <c:pt idx="2463">
                  <c:v>42185</c:v>
                </c:pt>
                <c:pt idx="2464">
                  <c:v>42186</c:v>
                </c:pt>
                <c:pt idx="2465">
                  <c:v>42187</c:v>
                </c:pt>
                <c:pt idx="2466">
                  <c:v>42191</c:v>
                </c:pt>
                <c:pt idx="2467">
                  <c:v>42192</c:v>
                </c:pt>
                <c:pt idx="2468">
                  <c:v>42193</c:v>
                </c:pt>
                <c:pt idx="2469">
                  <c:v>42194</c:v>
                </c:pt>
                <c:pt idx="2470">
                  <c:v>42195</c:v>
                </c:pt>
                <c:pt idx="2471">
                  <c:v>42198</c:v>
                </c:pt>
                <c:pt idx="2472">
                  <c:v>42199</c:v>
                </c:pt>
                <c:pt idx="2473">
                  <c:v>42200</c:v>
                </c:pt>
                <c:pt idx="2474">
                  <c:v>42201</c:v>
                </c:pt>
                <c:pt idx="2475">
                  <c:v>42202</c:v>
                </c:pt>
                <c:pt idx="2476">
                  <c:v>42205</c:v>
                </c:pt>
                <c:pt idx="2477">
                  <c:v>42206</c:v>
                </c:pt>
                <c:pt idx="2478">
                  <c:v>42207</c:v>
                </c:pt>
                <c:pt idx="2479">
                  <c:v>42208</c:v>
                </c:pt>
                <c:pt idx="2480">
                  <c:v>42209</c:v>
                </c:pt>
                <c:pt idx="2481">
                  <c:v>42212</c:v>
                </c:pt>
                <c:pt idx="2482">
                  <c:v>42213</c:v>
                </c:pt>
                <c:pt idx="2483">
                  <c:v>42214</c:v>
                </c:pt>
                <c:pt idx="2484">
                  <c:v>42215</c:v>
                </c:pt>
                <c:pt idx="2485">
                  <c:v>42216</c:v>
                </c:pt>
                <c:pt idx="2486">
                  <c:v>42219</c:v>
                </c:pt>
                <c:pt idx="2487">
                  <c:v>42220</c:v>
                </c:pt>
                <c:pt idx="2488">
                  <c:v>42221</c:v>
                </c:pt>
                <c:pt idx="2489">
                  <c:v>42222</c:v>
                </c:pt>
                <c:pt idx="2490">
                  <c:v>42223</c:v>
                </c:pt>
                <c:pt idx="2491">
                  <c:v>42226</c:v>
                </c:pt>
                <c:pt idx="2492">
                  <c:v>42227</c:v>
                </c:pt>
                <c:pt idx="2493">
                  <c:v>42228</c:v>
                </c:pt>
                <c:pt idx="2494">
                  <c:v>42229</c:v>
                </c:pt>
                <c:pt idx="2495">
                  <c:v>42230</c:v>
                </c:pt>
                <c:pt idx="2496">
                  <c:v>42233</c:v>
                </c:pt>
                <c:pt idx="2497">
                  <c:v>42234</c:v>
                </c:pt>
                <c:pt idx="2498">
                  <c:v>42235</c:v>
                </c:pt>
                <c:pt idx="2499">
                  <c:v>42236</c:v>
                </c:pt>
                <c:pt idx="2500">
                  <c:v>42237</c:v>
                </c:pt>
                <c:pt idx="2501">
                  <c:v>42240</c:v>
                </c:pt>
                <c:pt idx="2502">
                  <c:v>42241</c:v>
                </c:pt>
                <c:pt idx="2503">
                  <c:v>42242</c:v>
                </c:pt>
                <c:pt idx="2504">
                  <c:v>42243</c:v>
                </c:pt>
                <c:pt idx="2505">
                  <c:v>42244</c:v>
                </c:pt>
                <c:pt idx="2506">
                  <c:v>42247</c:v>
                </c:pt>
                <c:pt idx="2507">
                  <c:v>42248</c:v>
                </c:pt>
                <c:pt idx="2508">
                  <c:v>42249</c:v>
                </c:pt>
                <c:pt idx="2509">
                  <c:v>42250</c:v>
                </c:pt>
                <c:pt idx="2510">
                  <c:v>42251</c:v>
                </c:pt>
                <c:pt idx="2511">
                  <c:v>42255</c:v>
                </c:pt>
                <c:pt idx="2512">
                  <c:v>42256</c:v>
                </c:pt>
                <c:pt idx="2513">
                  <c:v>42257</c:v>
                </c:pt>
                <c:pt idx="2514">
                  <c:v>42258</c:v>
                </c:pt>
                <c:pt idx="2515">
                  <c:v>42261</c:v>
                </c:pt>
                <c:pt idx="2516">
                  <c:v>42262</c:v>
                </c:pt>
                <c:pt idx="2517">
                  <c:v>42263</c:v>
                </c:pt>
                <c:pt idx="2518">
                  <c:v>42264</c:v>
                </c:pt>
                <c:pt idx="2519">
                  <c:v>42265</c:v>
                </c:pt>
                <c:pt idx="2520">
                  <c:v>42268</c:v>
                </c:pt>
                <c:pt idx="2521">
                  <c:v>42269</c:v>
                </c:pt>
                <c:pt idx="2522">
                  <c:v>42270</c:v>
                </c:pt>
                <c:pt idx="2523">
                  <c:v>42271</c:v>
                </c:pt>
                <c:pt idx="2524">
                  <c:v>42272</c:v>
                </c:pt>
                <c:pt idx="2525">
                  <c:v>42275</c:v>
                </c:pt>
                <c:pt idx="2526">
                  <c:v>42276</c:v>
                </c:pt>
                <c:pt idx="2527">
                  <c:v>42277</c:v>
                </c:pt>
                <c:pt idx="2528">
                  <c:v>42278</c:v>
                </c:pt>
                <c:pt idx="2529">
                  <c:v>42279</c:v>
                </c:pt>
                <c:pt idx="2530">
                  <c:v>42282</c:v>
                </c:pt>
                <c:pt idx="2531">
                  <c:v>42283</c:v>
                </c:pt>
                <c:pt idx="2532">
                  <c:v>42284</c:v>
                </c:pt>
                <c:pt idx="2533">
                  <c:v>42285</c:v>
                </c:pt>
                <c:pt idx="2534">
                  <c:v>42286</c:v>
                </c:pt>
                <c:pt idx="2535">
                  <c:v>42289</c:v>
                </c:pt>
                <c:pt idx="2536">
                  <c:v>42290</c:v>
                </c:pt>
                <c:pt idx="2537">
                  <c:v>42291</c:v>
                </c:pt>
                <c:pt idx="2538">
                  <c:v>42292</c:v>
                </c:pt>
                <c:pt idx="2539">
                  <c:v>42293</c:v>
                </c:pt>
                <c:pt idx="2540">
                  <c:v>42296</c:v>
                </c:pt>
                <c:pt idx="2541">
                  <c:v>42297</c:v>
                </c:pt>
                <c:pt idx="2542">
                  <c:v>42298</c:v>
                </c:pt>
                <c:pt idx="2543">
                  <c:v>42299</c:v>
                </c:pt>
                <c:pt idx="2544">
                  <c:v>42300</c:v>
                </c:pt>
                <c:pt idx="2545">
                  <c:v>42303</c:v>
                </c:pt>
                <c:pt idx="2546">
                  <c:v>42304</c:v>
                </c:pt>
                <c:pt idx="2547">
                  <c:v>42305</c:v>
                </c:pt>
                <c:pt idx="2548">
                  <c:v>42306</c:v>
                </c:pt>
                <c:pt idx="2549">
                  <c:v>42307</c:v>
                </c:pt>
                <c:pt idx="2550">
                  <c:v>42310</c:v>
                </c:pt>
                <c:pt idx="2551">
                  <c:v>42311</c:v>
                </c:pt>
                <c:pt idx="2552">
                  <c:v>42312</c:v>
                </c:pt>
                <c:pt idx="2553">
                  <c:v>42313</c:v>
                </c:pt>
                <c:pt idx="2554">
                  <c:v>42314</c:v>
                </c:pt>
                <c:pt idx="2555">
                  <c:v>42317</c:v>
                </c:pt>
                <c:pt idx="2556">
                  <c:v>42318</c:v>
                </c:pt>
                <c:pt idx="2557">
                  <c:v>42319</c:v>
                </c:pt>
                <c:pt idx="2558">
                  <c:v>42320</c:v>
                </c:pt>
                <c:pt idx="2559">
                  <c:v>42321</c:v>
                </c:pt>
                <c:pt idx="2560">
                  <c:v>42324</c:v>
                </c:pt>
                <c:pt idx="2561">
                  <c:v>42325</c:v>
                </c:pt>
                <c:pt idx="2562">
                  <c:v>42326</c:v>
                </c:pt>
                <c:pt idx="2563">
                  <c:v>42327</c:v>
                </c:pt>
                <c:pt idx="2564">
                  <c:v>42328</c:v>
                </c:pt>
                <c:pt idx="2565">
                  <c:v>42331</c:v>
                </c:pt>
                <c:pt idx="2566">
                  <c:v>42332</c:v>
                </c:pt>
                <c:pt idx="2567">
                  <c:v>42333</c:v>
                </c:pt>
                <c:pt idx="2568">
                  <c:v>42335</c:v>
                </c:pt>
                <c:pt idx="2569">
                  <c:v>42338</c:v>
                </c:pt>
                <c:pt idx="2570">
                  <c:v>42339</c:v>
                </c:pt>
                <c:pt idx="2571">
                  <c:v>42340</c:v>
                </c:pt>
                <c:pt idx="2572">
                  <c:v>42341</c:v>
                </c:pt>
                <c:pt idx="2573">
                  <c:v>42342</c:v>
                </c:pt>
                <c:pt idx="2574">
                  <c:v>42345</c:v>
                </c:pt>
                <c:pt idx="2575">
                  <c:v>42346</c:v>
                </c:pt>
                <c:pt idx="2576">
                  <c:v>42347</c:v>
                </c:pt>
                <c:pt idx="2577">
                  <c:v>42348</c:v>
                </c:pt>
                <c:pt idx="2578">
                  <c:v>42349</c:v>
                </c:pt>
                <c:pt idx="2579">
                  <c:v>42352</c:v>
                </c:pt>
                <c:pt idx="2580">
                  <c:v>42353</c:v>
                </c:pt>
                <c:pt idx="2581">
                  <c:v>42354</c:v>
                </c:pt>
                <c:pt idx="2582">
                  <c:v>42355</c:v>
                </c:pt>
                <c:pt idx="2583">
                  <c:v>42356</c:v>
                </c:pt>
                <c:pt idx="2584">
                  <c:v>42359</c:v>
                </c:pt>
                <c:pt idx="2585">
                  <c:v>42360</c:v>
                </c:pt>
                <c:pt idx="2586">
                  <c:v>42361</c:v>
                </c:pt>
                <c:pt idx="2587">
                  <c:v>42362</c:v>
                </c:pt>
                <c:pt idx="2588">
                  <c:v>42366</c:v>
                </c:pt>
                <c:pt idx="2589">
                  <c:v>42367</c:v>
                </c:pt>
                <c:pt idx="2590">
                  <c:v>42368</c:v>
                </c:pt>
                <c:pt idx="2591">
                  <c:v>42369</c:v>
                </c:pt>
                <c:pt idx="2592">
                  <c:v>42373</c:v>
                </c:pt>
                <c:pt idx="2593">
                  <c:v>42374</c:v>
                </c:pt>
                <c:pt idx="2594">
                  <c:v>42375</c:v>
                </c:pt>
                <c:pt idx="2595">
                  <c:v>42376</c:v>
                </c:pt>
                <c:pt idx="2596">
                  <c:v>42377</c:v>
                </c:pt>
                <c:pt idx="2597">
                  <c:v>42380</c:v>
                </c:pt>
                <c:pt idx="2598">
                  <c:v>42381</c:v>
                </c:pt>
                <c:pt idx="2599">
                  <c:v>42382</c:v>
                </c:pt>
                <c:pt idx="2600">
                  <c:v>42383</c:v>
                </c:pt>
                <c:pt idx="2601">
                  <c:v>42384</c:v>
                </c:pt>
                <c:pt idx="2602">
                  <c:v>42388</c:v>
                </c:pt>
                <c:pt idx="2603">
                  <c:v>42389</c:v>
                </c:pt>
                <c:pt idx="2604">
                  <c:v>42390</c:v>
                </c:pt>
                <c:pt idx="2605">
                  <c:v>42391</c:v>
                </c:pt>
                <c:pt idx="2606">
                  <c:v>42394</c:v>
                </c:pt>
                <c:pt idx="2607">
                  <c:v>42395</c:v>
                </c:pt>
                <c:pt idx="2608">
                  <c:v>42396</c:v>
                </c:pt>
                <c:pt idx="2609">
                  <c:v>42397</c:v>
                </c:pt>
                <c:pt idx="2610">
                  <c:v>42398</c:v>
                </c:pt>
                <c:pt idx="2611">
                  <c:v>42401</c:v>
                </c:pt>
                <c:pt idx="2612">
                  <c:v>42402</c:v>
                </c:pt>
                <c:pt idx="2613">
                  <c:v>42403</c:v>
                </c:pt>
                <c:pt idx="2614">
                  <c:v>42404</c:v>
                </c:pt>
                <c:pt idx="2615">
                  <c:v>42405</c:v>
                </c:pt>
                <c:pt idx="2616">
                  <c:v>42408</c:v>
                </c:pt>
                <c:pt idx="2617">
                  <c:v>42409</c:v>
                </c:pt>
                <c:pt idx="2618">
                  <c:v>42410</c:v>
                </c:pt>
                <c:pt idx="2619">
                  <c:v>42411</c:v>
                </c:pt>
                <c:pt idx="2620">
                  <c:v>42412</c:v>
                </c:pt>
                <c:pt idx="2621">
                  <c:v>42416</c:v>
                </c:pt>
                <c:pt idx="2622">
                  <c:v>42417</c:v>
                </c:pt>
                <c:pt idx="2623">
                  <c:v>42418</c:v>
                </c:pt>
                <c:pt idx="2624">
                  <c:v>42419</c:v>
                </c:pt>
                <c:pt idx="2625">
                  <c:v>42422</c:v>
                </c:pt>
                <c:pt idx="2626">
                  <c:v>42423</c:v>
                </c:pt>
              </c:numCache>
            </c:numRef>
          </c:cat>
          <c:val>
            <c:numRef>
              <c:f>'6M'!$S$137:$S$2763</c:f>
              <c:numCache>
                <c:formatCode>General</c:formatCode>
                <c:ptCount val="2627"/>
                <c:pt idx="0">
                  <c:v>100</c:v>
                </c:pt>
                <c:pt idx="1">
                  <c:v>100</c:v>
                </c:pt>
                <c:pt idx="2">
                  <c:v>100</c:v>
                </c:pt>
                <c:pt idx="3">
                  <c:v>100</c:v>
                </c:pt>
                <c:pt idx="4">
                  <c:v>100</c:v>
                </c:pt>
                <c:pt idx="5">
                  <c:v>100</c:v>
                </c:pt>
                <c:pt idx="6">
                  <c:v>101.17996956053277</c:v>
                </c:pt>
                <c:pt idx="7">
                  <c:v>101.05349459858211</c:v>
                </c:pt>
                <c:pt idx="8">
                  <c:v>100.92717773033388</c:v>
                </c:pt>
                <c:pt idx="9">
                  <c:v>100.92717773033388</c:v>
                </c:pt>
                <c:pt idx="10">
                  <c:v>100.92717773033388</c:v>
                </c:pt>
                <c:pt idx="11">
                  <c:v>100.92717773033388</c:v>
                </c:pt>
                <c:pt idx="12">
                  <c:v>100.92717773033388</c:v>
                </c:pt>
                <c:pt idx="13">
                  <c:v>100.92717773033388</c:v>
                </c:pt>
                <c:pt idx="14">
                  <c:v>100.92717773033388</c:v>
                </c:pt>
                <c:pt idx="15">
                  <c:v>103.11080264334636</c:v>
                </c:pt>
                <c:pt idx="16">
                  <c:v>102.88893681405546</c:v>
                </c:pt>
                <c:pt idx="17">
                  <c:v>99.153371157426761</c:v>
                </c:pt>
                <c:pt idx="18">
                  <c:v>99.153371157426761</c:v>
                </c:pt>
                <c:pt idx="19">
                  <c:v>99.029429443479984</c:v>
                </c:pt>
                <c:pt idx="20">
                  <c:v>99.029429443479984</c:v>
                </c:pt>
                <c:pt idx="21">
                  <c:v>99.029429443479984</c:v>
                </c:pt>
                <c:pt idx="22">
                  <c:v>99.029429443479984</c:v>
                </c:pt>
                <c:pt idx="23">
                  <c:v>99.029429443479984</c:v>
                </c:pt>
                <c:pt idx="24">
                  <c:v>99.029429443479984</c:v>
                </c:pt>
                <c:pt idx="25">
                  <c:v>99.029429443479984</c:v>
                </c:pt>
                <c:pt idx="26">
                  <c:v>99.029429443479984</c:v>
                </c:pt>
                <c:pt idx="27">
                  <c:v>99.029429443479984</c:v>
                </c:pt>
                <c:pt idx="28">
                  <c:v>99.029429443479984</c:v>
                </c:pt>
                <c:pt idx="29">
                  <c:v>99.029429443479984</c:v>
                </c:pt>
                <c:pt idx="30">
                  <c:v>99.029429443479984</c:v>
                </c:pt>
                <c:pt idx="31">
                  <c:v>99.029429443479984</c:v>
                </c:pt>
                <c:pt idx="32">
                  <c:v>99.029429443479984</c:v>
                </c:pt>
                <c:pt idx="33">
                  <c:v>99.029429443479984</c:v>
                </c:pt>
                <c:pt idx="34">
                  <c:v>99.029429443479984</c:v>
                </c:pt>
                <c:pt idx="35">
                  <c:v>94.692794495852539</c:v>
                </c:pt>
                <c:pt idx="36">
                  <c:v>94.574428502732729</c:v>
                </c:pt>
                <c:pt idx="37">
                  <c:v>94.456210467104313</c:v>
                </c:pt>
                <c:pt idx="38">
                  <c:v>94.456210467104313</c:v>
                </c:pt>
                <c:pt idx="39">
                  <c:v>94.456210467104313</c:v>
                </c:pt>
                <c:pt idx="40">
                  <c:v>94.456210467104313</c:v>
                </c:pt>
                <c:pt idx="41">
                  <c:v>94.456210467104313</c:v>
                </c:pt>
                <c:pt idx="42">
                  <c:v>94.456210467104313</c:v>
                </c:pt>
                <c:pt idx="43">
                  <c:v>94.456210467104313</c:v>
                </c:pt>
                <c:pt idx="44">
                  <c:v>94.456210467104313</c:v>
                </c:pt>
                <c:pt idx="45">
                  <c:v>94.456210467104313</c:v>
                </c:pt>
                <c:pt idx="46">
                  <c:v>94.456210467104313</c:v>
                </c:pt>
                <c:pt idx="47">
                  <c:v>94.456210467104313</c:v>
                </c:pt>
                <c:pt idx="48">
                  <c:v>94.456210467104313</c:v>
                </c:pt>
                <c:pt idx="49">
                  <c:v>94.456210467104313</c:v>
                </c:pt>
                <c:pt idx="50">
                  <c:v>94.456210467104313</c:v>
                </c:pt>
                <c:pt idx="51">
                  <c:v>94.456210467104313</c:v>
                </c:pt>
                <c:pt idx="52">
                  <c:v>94.456210467104313</c:v>
                </c:pt>
                <c:pt idx="53">
                  <c:v>94.456210467104313</c:v>
                </c:pt>
                <c:pt idx="54">
                  <c:v>94.456210467104313</c:v>
                </c:pt>
                <c:pt idx="55">
                  <c:v>94.456210467104313</c:v>
                </c:pt>
                <c:pt idx="56">
                  <c:v>94.456210467104313</c:v>
                </c:pt>
                <c:pt idx="57">
                  <c:v>94.456210467104313</c:v>
                </c:pt>
                <c:pt idx="58">
                  <c:v>94.456210467104313</c:v>
                </c:pt>
                <c:pt idx="59">
                  <c:v>94.456210467104313</c:v>
                </c:pt>
                <c:pt idx="60">
                  <c:v>94.456210467104313</c:v>
                </c:pt>
                <c:pt idx="61">
                  <c:v>94.456210467104313</c:v>
                </c:pt>
                <c:pt idx="62">
                  <c:v>94.456210467104313</c:v>
                </c:pt>
                <c:pt idx="63">
                  <c:v>94.456210467104313</c:v>
                </c:pt>
                <c:pt idx="64">
                  <c:v>94.456210467104313</c:v>
                </c:pt>
                <c:pt idx="65">
                  <c:v>94.456210467104313</c:v>
                </c:pt>
                <c:pt idx="66">
                  <c:v>94.456210467104313</c:v>
                </c:pt>
                <c:pt idx="67">
                  <c:v>94.456210467104313</c:v>
                </c:pt>
                <c:pt idx="68">
                  <c:v>94.456210467104313</c:v>
                </c:pt>
                <c:pt idx="69">
                  <c:v>94.456210467104313</c:v>
                </c:pt>
                <c:pt idx="70">
                  <c:v>94.456210467104313</c:v>
                </c:pt>
                <c:pt idx="71">
                  <c:v>94.456210467104313</c:v>
                </c:pt>
                <c:pt idx="72">
                  <c:v>94.456210467104313</c:v>
                </c:pt>
                <c:pt idx="73">
                  <c:v>94.456210467104313</c:v>
                </c:pt>
                <c:pt idx="74">
                  <c:v>94.456210467104313</c:v>
                </c:pt>
                <c:pt idx="75">
                  <c:v>94.456210467104313</c:v>
                </c:pt>
                <c:pt idx="76">
                  <c:v>94.456210467104313</c:v>
                </c:pt>
                <c:pt idx="77">
                  <c:v>94.456210467104313</c:v>
                </c:pt>
                <c:pt idx="78">
                  <c:v>94.456210467104313</c:v>
                </c:pt>
                <c:pt idx="79">
                  <c:v>94.456210467104313</c:v>
                </c:pt>
                <c:pt idx="80">
                  <c:v>94.456210467104313</c:v>
                </c:pt>
                <c:pt idx="81">
                  <c:v>94.456210467104313</c:v>
                </c:pt>
                <c:pt idx="82">
                  <c:v>94.456210467104313</c:v>
                </c:pt>
                <c:pt idx="83">
                  <c:v>94.456210467104313</c:v>
                </c:pt>
                <c:pt idx="84">
                  <c:v>94.456210467104313</c:v>
                </c:pt>
                <c:pt idx="85">
                  <c:v>94.456210467104313</c:v>
                </c:pt>
                <c:pt idx="86">
                  <c:v>94.456210467104313</c:v>
                </c:pt>
                <c:pt idx="87">
                  <c:v>94.456210467104313</c:v>
                </c:pt>
                <c:pt idx="88">
                  <c:v>94.456210467104313</c:v>
                </c:pt>
                <c:pt idx="89">
                  <c:v>94.456210467104313</c:v>
                </c:pt>
                <c:pt idx="90">
                  <c:v>94.456210467104313</c:v>
                </c:pt>
                <c:pt idx="91">
                  <c:v>94.456210467104313</c:v>
                </c:pt>
                <c:pt idx="92">
                  <c:v>94.456210467104313</c:v>
                </c:pt>
                <c:pt idx="93">
                  <c:v>94.456210467104313</c:v>
                </c:pt>
                <c:pt idx="94">
                  <c:v>94.456210467104313</c:v>
                </c:pt>
                <c:pt idx="95">
                  <c:v>94.456210467104313</c:v>
                </c:pt>
                <c:pt idx="96">
                  <c:v>94.456210467104313</c:v>
                </c:pt>
                <c:pt idx="97">
                  <c:v>94.456210467104313</c:v>
                </c:pt>
                <c:pt idx="98">
                  <c:v>94.456210467104313</c:v>
                </c:pt>
                <c:pt idx="99">
                  <c:v>94.456210467104313</c:v>
                </c:pt>
                <c:pt idx="100">
                  <c:v>94.456210467104313</c:v>
                </c:pt>
                <c:pt idx="101">
                  <c:v>94.456210467104313</c:v>
                </c:pt>
                <c:pt idx="102">
                  <c:v>94.456210467104313</c:v>
                </c:pt>
                <c:pt idx="103">
                  <c:v>94.456210467104313</c:v>
                </c:pt>
                <c:pt idx="104">
                  <c:v>94.456210467104313</c:v>
                </c:pt>
                <c:pt idx="105">
                  <c:v>94.456210467104313</c:v>
                </c:pt>
                <c:pt idx="106">
                  <c:v>94.456210467104313</c:v>
                </c:pt>
                <c:pt idx="107">
                  <c:v>94.456210467104313</c:v>
                </c:pt>
                <c:pt idx="108">
                  <c:v>94.456210467104313</c:v>
                </c:pt>
                <c:pt idx="109">
                  <c:v>94.456210467104313</c:v>
                </c:pt>
                <c:pt idx="110">
                  <c:v>94.456210467104313</c:v>
                </c:pt>
                <c:pt idx="111">
                  <c:v>94.456210467104313</c:v>
                </c:pt>
                <c:pt idx="112">
                  <c:v>94.456210467104313</c:v>
                </c:pt>
                <c:pt idx="113">
                  <c:v>94.456210467104313</c:v>
                </c:pt>
                <c:pt idx="114">
                  <c:v>94.456210467104313</c:v>
                </c:pt>
                <c:pt idx="115">
                  <c:v>94.456210467104313</c:v>
                </c:pt>
                <c:pt idx="116">
                  <c:v>94.456210467104313</c:v>
                </c:pt>
                <c:pt idx="117">
                  <c:v>94.456210467104313</c:v>
                </c:pt>
                <c:pt idx="118">
                  <c:v>94.456210467104313</c:v>
                </c:pt>
                <c:pt idx="119">
                  <c:v>94.456210467104313</c:v>
                </c:pt>
                <c:pt idx="120">
                  <c:v>94.456210467104313</c:v>
                </c:pt>
                <c:pt idx="121">
                  <c:v>94.456210467104313</c:v>
                </c:pt>
                <c:pt idx="122">
                  <c:v>94.456210467104313</c:v>
                </c:pt>
                <c:pt idx="123">
                  <c:v>94.456210467104313</c:v>
                </c:pt>
                <c:pt idx="124">
                  <c:v>94.456210467104313</c:v>
                </c:pt>
                <c:pt idx="125">
                  <c:v>94.456210467104313</c:v>
                </c:pt>
                <c:pt idx="126">
                  <c:v>94.456210467104313</c:v>
                </c:pt>
                <c:pt idx="127">
                  <c:v>94.456210467104313</c:v>
                </c:pt>
                <c:pt idx="128">
                  <c:v>94.456210467104313</c:v>
                </c:pt>
                <c:pt idx="129">
                  <c:v>94.456210467104313</c:v>
                </c:pt>
                <c:pt idx="130">
                  <c:v>94.456210467104313</c:v>
                </c:pt>
                <c:pt idx="131">
                  <c:v>94.456210467104313</c:v>
                </c:pt>
                <c:pt idx="132">
                  <c:v>94.456210467104313</c:v>
                </c:pt>
                <c:pt idx="133">
                  <c:v>94.456210467104313</c:v>
                </c:pt>
                <c:pt idx="134">
                  <c:v>94.456210467104313</c:v>
                </c:pt>
                <c:pt idx="135">
                  <c:v>94.456210467104313</c:v>
                </c:pt>
                <c:pt idx="136">
                  <c:v>94.456210467104313</c:v>
                </c:pt>
                <c:pt idx="137">
                  <c:v>94.456210467104313</c:v>
                </c:pt>
                <c:pt idx="138">
                  <c:v>94.456210467104313</c:v>
                </c:pt>
                <c:pt idx="139">
                  <c:v>94.456210467104313</c:v>
                </c:pt>
                <c:pt idx="140">
                  <c:v>94.456210467104313</c:v>
                </c:pt>
                <c:pt idx="141">
                  <c:v>94.456210467104313</c:v>
                </c:pt>
                <c:pt idx="142">
                  <c:v>94.456210467104313</c:v>
                </c:pt>
                <c:pt idx="143">
                  <c:v>94.456210467104313</c:v>
                </c:pt>
                <c:pt idx="144">
                  <c:v>94.049982114858679</c:v>
                </c:pt>
                <c:pt idx="145">
                  <c:v>94.378889268412649</c:v>
                </c:pt>
                <c:pt idx="146">
                  <c:v>94.08638976687358</c:v>
                </c:pt>
                <c:pt idx="147">
                  <c:v>96.765653629857553</c:v>
                </c:pt>
                <c:pt idx="148">
                  <c:v>96.765653629857553</c:v>
                </c:pt>
                <c:pt idx="149">
                  <c:v>96.644696562820229</c:v>
                </c:pt>
                <c:pt idx="150">
                  <c:v>96.644696562820229</c:v>
                </c:pt>
                <c:pt idx="151">
                  <c:v>96.644696562820229</c:v>
                </c:pt>
                <c:pt idx="152">
                  <c:v>96.644696562820229</c:v>
                </c:pt>
                <c:pt idx="153">
                  <c:v>96.644696562820229</c:v>
                </c:pt>
                <c:pt idx="154">
                  <c:v>96.644696562820229</c:v>
                </c:pt>
                <c:pt idx="155">
                  <c:v>96.644696562820229</c:v>
                </c:pt>
                <c:pt idx="156">
                  <c:v>96.644696562820229</c:v>
                </c:pt>
                <c:pt idx="157">
                  <c:v>96.644696562820229</c:v>
                </c:pt>
                <c:pt idx="158">
                  <c:v>96.644696562820229</c:v>
                </c:pt>
                <c:pt idx="159">
                  <c:v>96.644696562820229</c:v>
                </c:pt>
                <c:pt idx="160">
                  <c:v>96.644696562820229</c:v>
                </c:pt>
                <c:pt idx="161">
                  <c:v>96.644696562820229</c:v>
                </c:pt>
                <c:pt idx="162">
                  <c:v>96.644696562820229</c:v>
                </c:pt>
                <c:pt idx="163">
                  <c:v>96.644696562820229</c:v>
                </c:pt>
                <c:pt idx="164">
                  <c:v>96.644696562820229</c:v>
                </c:pt>
                <c:pt idx="165">
                  <c:v>96.644696562820229</c:v>
                </c:pt>
                <c:pt idx="166">
                  <c:v>96.644696562820229</c:v>
                </c:pt>
                <c:pt idx="167">
                  <c:v>96.644696562820229</c:v>
                </c:pt>
                <c:pt idx="168">
                  <c:v>96.644696562820229</c:v>
                </c:pt>
                <c:pt idx="169">
                  <c:v>96.644696562820229</c:v>
                </c:pt>
                <c:pt idx="170">
                  <c:v>96.644696562820229</c:v>
                </c:pt>
                <c:pt idx="171">
                  <c:v>96.644696562820229</c:v>
                </c:pt>
                <c:pt idx="172">
                  <c:v>96.644696562820229</c:v>
                </c:pt>
                <c:pt idx="173">
                  <c:v>96.644696562820229</c:v>
                </c:pt>
                <c:pt idx="174">
                  <c:v>96.644696562820229</c:v>
                </c:pt>
                <c:pt idx="175">
                  <c:v>96.644696562820229</c:v>
                </c:pt>
                <c:pt idx="176">
                  <c:v>96.644696562820229</c:v>
                </c:pt>
                <c:pt idx="177">
                  <c:v>96.644696562820229</c:v>
                </c:pt>
                <c:pt idx="178">
                  <c:v>96.644696562820229</c:v>
                </c:pt>
                <c:pt idx="179">
                  <c:v>96.644696562820229</c:v>
                </c:pt>
                <c:pt idx="180">
                  <c:v>96.644696562820229</c:v>
                </c:pt>
                <c:pt idx="181">
                  <c:v>96.644696562820229</c:v>
                </c:pt>
                <c:pt idx="182">
                  <c:v>96.644696562820229</c:v>
                </c:pt>
                <c:pt idx="183">
                  <c:v>96.644696562820229</c:v>
                </c:pt>
                <c:pt idx="184">
                  <c:v>96.644696562820229</c:v>
                </c:pt>
                <c:pt idx="185">
                  <c:v>96.644696562820229</c:v>
                </c:pt>
                <c:pt idx="186">
                  <c:v>96.644696562820229</c:v>
                </c:pt>
                <c:pt idx="187">
                  <c:v>96.644696562820229</c:v>
                </c:pt>
                <c:pt idx="188">
                  <c:v>96.644696562820229</c:v>
                </c:pt>
                <c:pt idx="189">
                  <c:v>96.644696562820229</c:v>
                </c:pt>
                <c:pt idx="190">
                  <c:v>96.644696562820229</c:v>
                </c:pt>
                <c:pt idx="191">
                  <c:v>96.644696562820229</c:v>
                </c:pt>
                <c:pt idx="192">
                  <c:v>96.644696562820229</c:v>
                </c:pt>
                <c:pt idx="193">
                  <c:v>96.644696562820229</c:v>
                </c:pt>
                <c:pt idx="194">
                  <c:v>96.644696562820229</c:v>
                </c:pt>
                <c:pt idx="195">
                  <c:v>96.644696562820229</c:v>
                </c:pt>
                <c:pt idx="196">
                  <c:v>96.644696562820229</c:v>
                </c:pt>
                <c:pt idx="197">
                  <c:v>96.644696562820229</c:v>
                </c:pt>
                <c:pt idx="198">
                  <c:v>96.644696562820229</c:v>
                </c:pt>
                <c:pt idx="199">
                  <c:v>96.644696562820229</c:v>
                </c:pt>
                <c:pt idx="200">
                  <c:v>96.644696562820229</c:v>
                </c:pt>
                <c:pt idx="201">
                  <c:v>96.644696562820229</c:v>
                </c:pt>
                <c:pt idx="202">
                  <c:v>96.644696562820229</c:v>
                </c:pt>
                <c:pt idx="203">
                  <c:v>96.644696562820229</c:v>
                </c:pt>
                <c:pt idx="204">
                  <c:v>96.644696562820229</c:v>
                </c:pt>
                <c:pt idx="205">
                  <c:v>96.644696562820229</c:v>
                </c:pt>
                <c:pt idx="206">
                  <c:v>96.644696562820229</c:v>
                </c:pt>
                <c:pt idx="207">
                  <c:v>96.644696562820229</c:v>
                </c:pt>
                <c:pt idx="208">
                  <c:v>96.644696562820229</c:v>
                </c:pt>
                <c:pt idx="209">
                  <c:v>96.644696562820229</c:v>
                </c:pt>
                <c:pt idx="210">
                  <c:v>96.644696562820229</c:v>
                </c:pt>
                <c:pt idx="211">
                  <c:v>96.644696562820229</c:v>
                </c:pt>
                <c:pt idx="212">
                  <c:v>96.644696562820229</c:v>
                </c:pt>
                <c:pt idx="213">
                  <c:v>96.644696562820229</c:v>
                </c:pt>
                <c:pt idx="214">
                  <c:v>96.644696562820229</c:v>
                </c:pt>
                <c:pt idx="215">
                  <c:v>96.644696562820229</c:v>
                </c:pt>
                <c:pt idx="216">
                  <c:v>96.644696562820229</c:v>
                </c:pt>
                <c:pt idx="217">
                  <c:v>96.644696562820229</c:v>
                </c:pt>
                <c:pt idx="218">
                  <c:v>96.644696562820229</c:v>
                </c:pt>
                <c:pt idx="219">
                  <c:v>96.644696562820229</c:v>
                </c:pt>
                <c:pt idx="220">
                  <c:v>96.644696562820229</c:v>
                </c:pt>
                <c:pt idx="221">
                  <c:v>96.644696562820229</c:v>
                </c:pt>
                <c:pt idx="222">
                  <c:v>96.644696562820229</c:v>
                </c:pt>
                <c:pt idx="223">
                  <c:v>96.644696562820229</c:v>
                </c:pt>
                <c:pt idx="224">
                  <c:v>96.644696562820229</c:v>
                </c:pt>
                <c:pt idx="225">
                  <c:v>96.644696562820229</c:v>
                </c:pt>
                <c:pt idx="226">
                  <c:v>96.644696562820229</c:v>
                </c:pt>
                <c:pt idx="227">
                  <c:v>96.644696562820229</c:v>
                </c:pt>
                <c:pt idx="228">
                  <c:v>96.644696562820229</c:v>
                </c:pt>
                <c:pt idx="229">
                  <c:v>96.644696562820229</c:v>
                </c:pt>
                <c:pt idx="230">
                  <c:v>96.644696562820229</c:v>
                </c:pt>
                <c:pt idx="231">
                  <c:v>96.644696562820229</c:v>
                </c:pt>
                <c:pt idx="232">
                  <c:v>96.644696562820229</c:v>
                </c:pt>
                <c:pt idx="233">
                  <c:v>95.064333121567941</c:v>
                </c:pt>
                <c:pt idx="234">
                  <c:v>94.945502705165978</c:v>
                </c:pt>
                <c:pt idx="235">
                  <c:v>94.826820826784527</c:v>
                </c:pt>
                <c:pt idx="236">
                  <c:v>94.826820826784527</c:v>
                </c:pt>
                <c:pt idx="237">
                  <c:v>94.345244547832223</c:v>
                </c:pt>
                <c:pt idx="238">
                  <c:v>92.048017158812414</c:v>
                </c:pt>
                <c:pt idx="239">
                  <c:v>92.048017158812414</c:v>
                </c:pt>
                <c:pt idx="240">
                  <c:v>91.9329571373639</c:v>
                </c:pt>
                <c:pt idx="241">
                  <c:v>91.9329571373639</c:v>
                </c:pt>
                <c:pt idx="242">
                  <c:v>91.9329571373639</c:v>
                </c:pt>
                <c:pt idx="243">
                  <c:v>91.9329571373639</c:v>
                </c:pt>
                <c:pt idx="244">
                  <c:v>91.9329571373639</c:v>
                </c:pt>
                <c:pt idx="245">
                  <c:v>91.9329571373639</c:v>
                </c:pt>
                <c:pt idx="246">
                  <c:v>92.862211614159179</c:v>
                </c:pt>
                <c:pt idx="247">
                  <c:v>93.214837518885616</c:v>
                </c:pt>
                <c:pt idx="248">
                  <c:v>93.214837518885616</c:v>
                </c:pt>
                <c:pt idx="249">
                  <c:v>93.098318971987013</c:v>
                </c:pt>
                <c:pt idx="250">
                  <c:v>93.098318971987013</c:v>
                </c:pt>
                <c:pt idx="251">
                  <c:v>93.098318971987013</c:v>
                </c:pt>
                <c:pt idx="252">
                  <c:v>93.098318971987013</c:v>
                </c:pt>
                <c:pt idx="253">
                  <c:v>93.098318971987013</c:v>
                </c:pt>
                <c:pt idx="254">
                  <c:v>93.098318971987013</c:v>
                </c:pt>
                <c:pt idx="255">
                  <c:v>93.098318971987013</c:v>
                </c:pt>
                <c:pt idx="256">
                  <c:v>93.098318971987013</c:v>
                </c:pt>
                <c:pt idx="257">
                  <c:v>93.098318971987013</c:v>
                </c:pt>
                <c:pt idx="258">
                  <c:v>93.098318971987013</c:v>
                </c:pt>
                <c:pt idx="259">
                  <c:v>93.098318971987013</c:v>
                </c:pt>
                <c:pt idx="260">
                  <c:v>93.098318971987013</c:v>
                </c:pt>
                <c:pt idx="261">
                  <c:v>93.098318971987013</c:v>
                </c:pt>
                <c:pt idx="262">
                  <c:v>93.098318971987013</c:v>
                </c:pt>
                <c:pt idx="263">
                  <c:v>93.098318971987013</c:v>
                </c:pt>
                <c:pt idx="264">
                  <c:v>93.098318971987013</c:v>
                </c:pt>
                <c:pt idx="265">
                  <c:v>93.098318971987013</c:v>
                </c:pt>
                <c:pt idx="266">
                  <c:v>93.098318971987013</c:v>
                </c:pt>
                <c:pt idx="267">
                  <c:v>93.098318971987013</c:v>
                </c:pt>
                <c:pt idx="268">
                  <c:v>93.098318971987013</c:v>
                </c:pt>
                <c:pt idx="269">
                  <c:v>93.098318971987013</c:v>
                </c:pt>
                <c:pt idx="270">
                  <c:v>93.098318971987013</c:v>
                </c:pt>
                <c:pt idx="271">
                  <c:v>93.098318971987013</c:v>
                </c:pt>
                <c:pt idx="272">
                  <c:v>93.098318971987013</c:v>
                </c:pt>
                <c:pt idx="273">
                  <c:v>93.098318971987013</c:v>
                </c:pt>
                <c:pt idx="274">
                  <c:v>93.098318971987013</c:v>
                </c:pt>
                <c:pt idx="275">
                  <c:v>93.098318971987013</c:v>
                </c:pt>
                <c:pt idx="276">
                  <c:v>93.098318971987013</c:v>
                </c:pt>
                <c:pt idx="277">
                  <c:v>93.098318971987013</c:v>
                </c:pt>
                <c:pt idx="278">
                  <c:v>93.098318971987013</c:v>
                </c:pt>
                <c:pt idx="279">
                  <c:v>93.098318971987013</c:v>
                </c:pt>
                <c:pt idx="280">
                  <c:v>93.098318971987013</c:v>
                </c:pt>
                <c:pt idx="281">
                  <c:v>93.098318971987013</c:v>
                </c:pt>
                <c:pt idx="282">
                  <c:v>93.098318971987013</c:v>
                </c:pt>
                <c:pt idx="283">
                  <c:v>93.098318971987013</c:v>
                </c:pt>
                <c:pt idx="284">
                  <c:v>93.098318971987013</c:v>
                </c:pt>
                <c:pt idx="285">
                  <c:v>93.098318971987013</c:v>
                </c:pt>
                <c:pt idx="286">
                  <c:v>93.098318971987013</c:v>
                </c:pt>
                <c:pt idx="287">
                  <c:v>93.098318971987013</c:v>
                </c:pt>
                <c:pt idx="288">
                  <c:v>93.098318971987013</c:v>
                </c:pt>
                <c:pt idx="289">
                  <c:v>93.098318971987013</c:v>
                </c:pt>
                <c:pt idx="290">
                  <c:v>93.098318971987013</c:v>
                </c:pt>
                <c:pt idx="291">
                  <c:v>93.098318971987013</c:v>
                </c:pt>
                <c:pt idx="292">
                  <c:v>93.098318971987013</c:v>
                </c:pt>
                <c:pt idx="293">
                  <c:v>93.098318971987013</c:v>
                </c:pt>
                <c:pt idx="294">
                  <c:v>93.098318971987013</c:v>
                </c:pt>
                <c:pt idx="295">
                  <c:v>93.098318971987013</c:v>
                </c:pt>
                <c:pt idx="296">
                  <c:v>93.098318971987013</c:v>
                </c:pt>
                <c:pt idx="297">
                  <c:v>93.098318971987013</c:v>
                </c:pt>
                <c:pt idx="298">
                  <c:v>93.098318971987013</c:v>
                </c:pt>
                <c:pt idx="299">
                  <c:v>93.098318971987013</c:v>
                </c:pt>
                <c:pt idx="300">
                  <c:v>93.098318971987013</c:v>
                </c:pt>
                <c:pt idx="301">
                  <c:v>93.098318971987013</c:v>
                </c:pt>
                <c:pt idx="302">
                  <c:v>93.098318971987013</c:v>
                </c:pt>
                <c:pt idx="303">
                  <c:v>93.843727708591516</c:v>
                </c:pt>
                <c:pt idx="304">
                  <c:v>93.72642304895578</c:v>
                </c:pt>
                <c:pt idx="305">
                  <c:v>93.609265020144591</c:v>
                </c:pt>
                <c:pt idx="306">
                  <c:v>93.609265020144591</c:v>
                </c:pt>
                <c:pt idx="307">
                  <c:v>93.609265020144591</c:v>
                </c:pt>
                <c:pt idx="308">
                  <c:v>93.609265020144591</c:v>
                </c:pt>
                <c:pt idx="309">
                  <c:v>93.609265020144591</c:v>
                </c:pt>
                <c:pt idx="310">
                  <c:v>93.609265020144591</c:v>
                </c:pt>
                <c:pt idx="311">
                  <c:v>93.504178285211026</c:v>
                </c:pt>
                <c:pt idx="312">
                  <c:v>97.369511714993294</c:v>
                </c:pt>
                <c:pt idx="313">
                  <c:v>97.369511714993294</c:v>
                </c:pt>
                <c:pt idx="314">
                  <c:v>97.24779982534956</c:v>
                </c:pt>
                <c:pt idx="315">
                  <c:v>97.24779982534956</c:v>
                </c:pt>
                <c:pt idx="316">
                  <c:v>97.24779982534956</c:v>
                </c:pt>
                <c:pt idx="317">
                  <c:v>97.24779982534956</c:v>
                </c:pt>
                <c:pt idx="318">
                  <c:v>97.24779982534956</c:v>
                </c:pt>
                <c:pt idx="319">
                  <c:v>97.24779982534956</c:v>
                </c:pt>
                <c:pt idx="320">
                  <c:v>97.24779982534956</c:v>
                </c:pt>
                <c:pt idx="321">
                  <c:v>97.24779982534956</c:v>
                </c:pt>
                <c:pt idx="322">
                  <c:v>97.24779982534956</c:v>
                </c:pt>
                <c:pt idx="323">
                  <c:v>97.24779982534956</c:v>
                </c:pt>
                <c:pt idx="324">
                  <c:v>97.24779982534956</c:v>
                </c:pt>
                <c:pt idx="325">
                  <c:v>97.24779982534956</c:v>
                </c:pt>
                <c:pt idx="326">
                  <c:v>97.24779982534956</c:v>
                </c:pt>
                <c:pt idx="327">
                  <c:v>97.24779982534956</c:v>
                </c:pt>
                <c:pt idx="328">
                  <c:v>97.24779982534956</c:v>
                </c:pt>
                <c:pt idx="329">
                  <c:v>97.24779982534956</c:v>
                </c:pt>
                <c:pt idx="330">
                  <c:v>97.24779982534956</c:v>
                </c:pt>
                <c:pt idx="331">
                  <c:v>97.24779982534956</c:v>
                </c:pt>
                <c:pt idx="332">
                  <c:v>97.24779982534956</c:v>
                </c:pt>
                <c:pt idx="333">
                  <c:v>97.24779982534956</c:v>
                </c:pt>
                <c:pt idx="334">
                  <c:v>97.24779982534956</c:v>
                </c:pt>
                <c:pt idx="335">
                  <c:v>97.24779982534956</c:v>
                </c:pt>
                <c:pt idx="336">
                  <c:v>97.24779982534956</c:v>
                </c:pt>
                <c:pt idx="337">
                  <c:v>97.24779982534956</c:v>
                </c:pt>
                <c:pt idx="338">
                  <c:v>97.24779982534956</c:v>
                </c:pt>
                <c:pt idx="339">
                  <c:v>97.24779982534956</c:v>
                </c:pt>
                <c:pt idx="340">
                  <c:v>97.24779982534956</c:v>
                </c:pt>
                <c:pt idx="341">
                  <c:v>97.24779982534956</c:v>
                </c:pt>
                <c:pt idx="342">
                  <c:v>97.24779982534956</c:v>
                </c:pt>
                <c:pt idx="343">
                  <c:v>97.24779982534956</c:v>
                </c:pt>
                <c:pt idx="344">
                  <c:v>97.24779982534956</c:v>
                </c:pt>
                <c:pt idx="345">
                  <c:v>97.24779982534956</c:v>
                </c:pt>
                <c:pt idx="346">
                  <c:v>97.24779982534956</c:v>
                </c:pt>
                <c:pt idx="347">
                  <c:v>97.24779982534956</c:v>
                </c:pt>
                <c:pt idx="348">
                  <c:v>97.24779982534956</c:v>
                </c:pt>
                <c:pt idx="349">
                  <c:v>97.24779982534956</c:v>
                </c:pt>
                <c:pt idx="350">
                  <c:v>97.24779982534956</c:v>
                </c:pt>
                <c:pt idx="351">
                  <c:v>97.24779982534956</c:v>
                </c:pt>
                <c:pt idx="352">
                  <c:v>97.24779982534956</c:v>
                </c:pt>
                <c:pt idx="353">
                  <c:v>97.24779982534956</c:v>
                </c:pt>
                <c:pt idx="354">
                  <c:v>97.24779982534956</c:v>
                </c:pt>
                <c:pt idx="355">
                  <c:v>97.24779982534956</c:v>
                </c:pt>
                <c:pt idx="356">
                  <c:v>97.24779982534956</c:v>
                </c:pt>
                <c:pt idx="357">
                  <c:v>97.24779982534956</c:v>
                </c:pt>
                <c:pt idx="358">
                  <c:v>97.24779982534956</c:v>
                </c:pt>
                <c:pt idx="359">
                  <c:v>97.24779982534956</c:v>
                </c:pt>
                <c:pt idx="360">
                  <c:v>97.24779982534956</c:v>
                </c:pt>
                <c:pt idx="361">
                  <c:v>97.24779982534956</c:v>
                </c:pt>
                <c:pt idx="362">
                  <c:v>97.24779982534956</c:v>
                </c:pt>
                <c:pt idx="363">
                  <c:v>97.24779982534956</c:v>
                </c:pt>
                <c:pt idx="364">
                  <c:v>97.24779982534956</c:v>
                </c:pt>
                <c:pt idx="365">
                  <c:v>97.24779982534956</c:v>
                </c:pt>
                <c:pt idx="366">
                  <c:v>97.24779982534956</c:v>
                </c:pt>
                <c:pt idx="367">
                  <c:v>97.24779982534956</c:v>
                </c:pt>
                <c:pt idx="368">
                  <c:v>97.24779982534956</c:v>
                </c:pt>
                <c:pt idx="369">
                  <c:v>97.24779982534956</c:v>
                </c:pt>
                <c:pt idx="370">
                  <c:v>97.24779982534956</c:v>
                </c:pt>
                <c:pt idx="371">
                  <c:v>97.24779982534956</c:v>
                </c:pt>
                <c:pt idx="372">
                  <c:v>97.24779982534956</c:v>
                </c:pt>
                <c:pt idx="373">
                  <c:v>97.24779982534956</c:v>
                </c:pt>
                <c:pt idx="374">
                  <c:v>97.24779982534956</c:v>
                </c:pt>
                <c:pt idx="375">
                  <c:v>97.24779982534956</c:v>
                </c:pt>
                <c:pt idx="376">
                  <c:v>97.24779982534956</c:v>
                </c:pt>
                <c:pt idx="377">
                  <c:v>97.24779982534956</c:v>
                </c:pt>
                <c:pt idx="378">
                  <c:v>97.24779982534956</c:v>
                </c:pt>
                <c:pt idx="379">
                  <c:v>97.24779982534956</c:v>
                </c:pt>
                <c:pt idx="380">
                  <c:v>97.24779982534956</c:v>
                </c:pt>
                <c:pt idx="381">
                  <c:v>97.24779982534956</c:v>
                </c:pt>
                <c:pt idx="382">
                  <c:v>97.24779982534956</c:v>
                </c:pt>
                <c:pt idx="383">
                  <c:v>97.24779982534956</c:v>
                </c:pt>
                <c:pt idx="384">
                  <c:v>97.24779982534956</c:v>
                </c:pt>
                <c:pt idx="385">
                  <c:v>97.24779982534956</c:v>
                </c:pt>
                <c:pt idx="386">
                  <c:v>97.24779982534956</c:v>
                </c:pt>
                <c:pt idx="387">
                  <c:v>97.24779982534956</c:v>
                </c:pt>
                <c:pt idx="388">
                  <c:v>97.24779982534956</c:v>
                </c:pt>
                <c:pt idx="389">
                  <c:v>97.24779982534956</c:v>
                </c:pt>
                <c:pt idx="390">
                  <c:v>97.24779982534956</c:v>
                </c:pt>
                <c:pt idx="391">
                  <c:v>97.24779982534956</c:v>
                </c:pt>
                <c:pt idx="392">
                  <c:v>97.24779982534956</c:v>
                </c:pt>
                <c:pt idx="393">
                  <c:v>99.534420284305128</c:v>
                </c:pt>
                <c:pt idx="394">
                  <c:v>99.410002258949746</c:v>
                </c:pt>
                <c:pt idx="395">
                  <c:v>99.285739756126063</c:v>
                </c:pt>
                <c:pt idx="396">
                  <c:v>94.853264352123986</c:v>
                </c:pt>
                <c:pt idx="397">
                  <c:v>95.968730451187469</c:v>
                </c:pt>
                <c:pt idx="398">
                  <c:v>95.892924114112475</c:v>
                </c:pt>
                <c:pt idx="399">
                  <c:v>95.089399515930396</c:v>
                </c:pt>
                <c:pt idx="400">
                  <c:v>95.155712488956354</c:v>
                </c:pt>
                <c:pt idx="401">
                  <c:v>96.537122785137484</c:v>
                </c:pt>
                <c:pt idx="402">
                  <c:v>96.452812870823166</c:v>
                </c:pt>
                <c:pt idx="403">
                  <c:v>96.082990909617749</c:v>
                </c:pt>
                <c:pt idx="404">
                  <c:v>96.08898292681306</c:v>
                </c:pt>
                <c:pt idx="405">
                  <c:v>95.898200883088151</c:v>
                </c:pt>
                <c:pt idx="406">
                  <c:v>96.223653174829153</c:v>
                </c:pt>
                <c:pt idx="407">
                  <c:v>96.223653174829153</c:v>
                </c:pt>
                <c:pt idx="408">
                  <c:v>96.103373608360613</c:v>
                </c:pt>
                <c:pt idx="409">
                  <c:v>96.56155183376994</c:v>
                </c:pt>
                <c:pt idx="410">
                  <c:v>96.283609048170405</c:v>
                </c:pt>
                <c:pt idx="411">
                  <c:v>96.430375230721566</c:v>
                </c:pt>
                <c:pt idx="412">
                  <c:v>96.430375230721566</c:v>
                </c:pt>
                <c:pt idx="413">
                  <c:v>96.309837261683171</c:v>
                </c:pt>
                <c:pt idx="414">
                  <c:v>94.182729690855027</c:v>
                </c:pt>
                <c:pt idx="415">
                  <c:v>94.065001278741462</c:v>
                </c:pt>
                <c:pt idx="416">
                  <c:v>92.369397878771665</c:v>
                </c:pt>
                <c:pt idx="417">
                  <c:v>92.253936131423202</c:v>
                </c:pt>
                <c:pt idx="418">
                  <c:v>92.138618711258928</c:v>
                </c:pt>
                <c:pt idx="419">
                  <c:v>92.138618711258928</c:v>
                </c:pt>
                <c:pt idx="420">
                  <c:v>92.138618711258928</c:v>
                </c:pt>
                <c:pt idx="421">
                  <c:v>92.138618711258928</c:v>
                </c:pt>
                <c:pt idx="422">
                  <c:v>91.99586947268341</c:v>
                </c:pt>
                <c:pt idx="423">
                  <c:v>91.400764757183708</c:v>
                </c:pt>
                <c:pt idx="424">
                  <c:v>94.391187458414095</c:v>
                </c:pt>
                <c:pt idx="425">
                  <c:v>94.391187458414095</c:v>
                </c:pt>
                <c:pt idx="426">
                  <c:v>94.273198474091075</c:v>
                </c:pt>
                <c:pt idx="427">
                  <c:v>93.5225091651659</c:v>
                </c:pt>
                <c:pt idx="428">
                  <c:v>93.405606028709443</c:v>
                </c:pt>
                <c:pt idx="429">
                  <c:v>93.288849021173561</c:v>
                </c:pt>
                <c:pt idx="430">
                  <c:v>93.288849021173561</c:v>
                </c:pt>
                <c:pt idx="431">
                  <c:v>94.248852914651124</c:v>
                </c:pt>
                <c:pt idx="432">
                  <c:v>98.391066434396677</c:v>
                </c:pt>
                <c:pt idx="433">
                  <c:v>98.391066434396677</c:v>
                </c:pt>
                <c:pt idx="434">
                  <c:v>98.268077601353681</c:v>
                </c:pt>
                <c:pt idx="435">
                  <c:v>98.268077601353681</c:v>
                </c:pt>
                <c:pt idx="436">
                  <c:v>98.268077601353681</c:v>
                </c:pt>
                <c:pt idx="437">
                  <c:v>98.268077601353681</c:v>
                </c:pt>
                <c:pt idx="438">
                  <c:v>98.268077601353681</c:v>
                </c:pt>
                <c:pt idx="439">
                  <c:v>98.268077601353681</c:v>
                </c:pt>
                <c:pt idx="440">
                  <c:v>98.251500461714429</c:v>
                </c:pt>
                <c:pt idx="441">
                  <c:v>96.039495711286975</c:v>
                </c:pt>
                <c:pt idx="442">
                  <c:v>96.039495711286975</c:v>
                </c:pt>
                <c:pt idx="443">
                  <c:v>95.91944634164787</c:v>
                </c:pt>
                <c:pt idx="444">
                  <c:v>95.91944634164787</c:v>
                </c:pt>
                <c:pt idx="445">
                  <c:v>95.91944634164787</c:v>
                </c:pt>
                <c:pt idx="446">
                  <c:v>95.91944634164787</c:v>
                </c:pt>
                <c:pt idx="447">
                  <c:v>95.91944634164787</c:v>
                </c:pt>
                <c:pt idx="448">
                  <c:v>95.91944634164787</c:v>
                </c:pt>
                <c:pt idx="449">
                  <c:v>95.91944634164787</c:v>
                </c:pt>
                <c:pt idx="450">
                  <c:v>95.91944634164787</c:v>
                </c:pt>
                <c:pt idx="451">
                  <c:v>95.91944634164787</c:v>
                </c:pt>
                <c:pt idx="452">
                  <c:v>95.91944634164787</c:v>
                </c:pt>
                <c:pt idx="453">
                  <c:v>95.91944634164787</c:v>
                </c:pt>
                <c:pt idx="454">
                  <c:v>95.91944634164787</c:v>
                </c:pt>
                <c:pt idx="455">
                  <c:v>95.91944634164787</c:v>
                </c:pt>
                <c:pt idx="456">
                  <c:v>95.91944634164787</c:v>
                </c:pt>
                <c:pt idx="457">
                  <c:v>95.91944634164787</c:v>
                </c:pt>
                <c:pt idx="458">
                  <c:v>95.91944634164787</c:v>
                </c:pt>
                <c:pt idx="459">
                  <c:v>95.91944634164787</c:v>
                </c:pt>
                <c:pt idx="460">
                  <c:v>95.91944634164787</c:v>
                </c:pt>
                <c:pt idx="461">
                  <c:v>95.91944634164787</c:v>
                </c:pt>
                <c:pt idx="462">
                  <c:v>95.91944634164787</c:v>
                </c:pt>
                <c:pt idx="463">
                  <c:v>95.91944634164787</c:v>
                </c:pt>
                <c:pt idx="464">
                  <c:v>95.91944634164787</c:v>
                </c:pt>
                <c:pt idx="465">
                  <c:v>95.91944634164787</c:v>
                </c:pt>
                <c:pt idx="466">
                  <c:v>95.91944634164787</c:v>
                </c:pt>
                <c:pt idx="467">
                  <c:v>95.91944634164787</c:v>
                </c:pt>
                <c:pt idx="468">
                  <c:v>95.91944634164787</c:v>
                </c:pt>
                <c:pt idx="469">
                  <c:v>95.91944634164787</c:v>
                </c:pt>
                <c:pt idx="470">
                  <c:v>95.91944634164787</c:v>
                </c:pt>
                <c:pt idx="471">
                  <c:v>95.91944634164787</c:v>
                </c:pt>
                <c:pt idx="472">
                  <c:v>95.91944634164787</c:v>
                </c:pt>
                <c:pt idx="473">
                  <c:v>95.91944634164787</c:v>
                </c:pt>
                <c:pt idx="474">
                  <c:v>95.91944634164787</c:v>
                </c:pt>
                <c:pt idx="475">
                  <c:v>95.91944634164787</c:v>
                </c:pt>
                <c:pt idx="476">
                  <c:v>95.91944634164787</c:v>
                </c:pt>
                <c:pt idx="477">
                  <c:v>95.91944634164787</c:v>
                </c:pt>
                <c:pt idx="478">
                  <c:v>95.91944634164787</c:v>
                </c:pt>
                <c:pt idx="479">
                  <c:v>95.91944634164787</c:v>
                </c:pt>
                <c:pt idx="480">
                  <c:v>95.91944634164787</c:v>
                </c:pt>
                <c:pt idx="481">
                  <c:v>95.91944634164787</c:v>
                </c:pt>
                <c:pt idx="482">
                  <c:v>95.91944634164787</c:v>
                </c:pt>
                <c:pt idx="483">
                  <c:v>95.91944634164787</c:v>
                </c:pt>
                <c:pt idx="484">
                  <c:v>95.91944634164787</c:v>
                </c:pt>
                <c:pt idx="485">
                  <c:v>95.91944634164787</c:v>
                </c:pt>
                <c:pt idx="486">
                  <c:v>95.91944634164787</c:v>
                </c:pt>
                <c:pt idx="487">
                  <c:v>95.91944634164787</c:v>
                </c:pt>
                <c:pt idx="488">
                  <c:v>95.91944634164787</c:v>
                </c:pt>
                <c:pt idx="489">
                  <c:v>95.91944634164787</c:v>
                </c:pt>
                <c:pt idx="490">
                  <c:v>95.91944634164787</c:v>
                </c:pt>
                <c:pt idx="491">
                  <c:v>95.91944634164787</c:v>
                </c:pt>
                <c:pt idx="492">
                  <c:v>95.91944634164787</c:v>
                </c:pt>
                <c:pt idx="493">
                  <c:v>95.91944634164787</c:v>
                </c:pt>
                <c:pt idx="494">
                  <c:v>95.91944634164787</c:v>
                </c:pt>
                <c:pt idx="495">
                  <c:v>95.91944634164787</c:v>
                </c:pt>
                <c:pt idx="496">
                  <c:v>95.91944634164787</c:v>
                </c:pt>
                <c:pt idx="497">
                  <c:v>95.91944634164787</c:v>
                </c:pt>
                <c:pt idx="498">
                  <c:v>95.91944634164787</c:v>
                </c:pt>
                <c:pt idx="499">
                  <c:v>95.91944634164787</c:v>
                </c:pt>
                <c:pt idx="500">
                  <c:v>95.91944634164787</c:v>
                </c:pt>
                <c:pt idx="501">
                  <c:v>95.91944634164787</c:v>
                </c:pt>
                <c:pt idx="502">
                  <c:v>95.91944634164787</c:v>
                </c:pt>
                <c:pt idx="503">
                  <c:v>95.91944634164787</c:v>
                </c:pt>
                <c:pt idx="504">
                  <c:v>95.91944634164787</c:v>
                </c:pt>
                <c:pt idx="505">
                  <c:v>95.91944634164787</c:v>
                </c:pt>
                <c:pt idx="506">
                  <c:v>95.91944634164787</c:v>
                </c:pt>
                <c:pt idx="507">
                  <c:v>95.91944634164787</c:v>
                </c:pt>
                <c:pt idx="508">
                  <c:v>95.91944634164787</c:v>
                </c:pt>
                <c:pt idx="509">
                  <c:v>95.91944634164787</c:v>
                </c:pt>
                <c:pt idx="510">
                  <c:v>95.91944634164787</c:v>
                </c:pt>
                <c:pt idx="511">
                  <c:v>95.91944634164787</c:v>
                </c:pt>
                <c:pt idx="512">
                  <c:v>95.91944634164787</c:v>
                </c:pt>
                <c:pt idx="513">
                  <c:v>95.91944634164787</c:v>
                </c:pt>
                <c:pt idx="514">
                  <c:v>95.91944634164787</c:v>
                </c:pt>
                <c:pt idx="515">
                  <c:v>95.91944634164787</c:v>
                </c:pt>
                <c:pt idx="516">
                  <c:v>95.91944634164787</c:v>
                </c:pt>
                <c:pt idx="517">
                  <c:v>95.91944634164787</c:v>
                </c:pt>
                <c:pt idx="518">
                  <c:v>95.91944634164787</c:v>
                </c:pt>
                <c:pt idx="519">
                  <c:v>95.91944634164787</c:v>
                </c:pt>
                <c:pt idx="520">
                  <c:v>95.91944634164787</c:v>
                </c:pt>
                <c:pt idx="521">
                  <c:v>95.91944634164787</c:v>
                </c:pt>
                <c:pt idx="522">
                  <c:v>95.91944634164787</c:v>
                </c:pt>
                <c:pt idx="523">
                  <c:v>95.91944634164787</c:v>
                </c:pt>
                <c:pt idx="524">
                  <c:v>95.91944634164787</c:v>
                </c:pt>
                <c:pt idx="525">
                  <c:v>95.91944634164787</c:v>
                </c:pt>
                <c:pt idx="526">
                  <c:v>95.91944634164787</c:v>
                </c:pt>
                <c:pt idx="527">
                  <c:v>95.91944634164787</c:v>
                </c:pt>
                <c:pt idx="528">
                  <c:v>95.91944634164787</c:v>
                </c:pt>
                <c:pt idx="529">
                  <c:v>95.91944634164787</c:v>
                </c:pt>
                <c:pt idx="530">
                  <c:v>95.91944634164787</c:v>
                </c:pt>
                <c:pt idx="531">
                  <c:v>95.91944634164787</c:v>
                </c:pt>
                <c:pt idx="532">
                  <c:v>95.91944634164787</c:v>
                </c:pt>
                <c:pt idx="533">
                  <c:v>95.91944634164787</c:v>
                </c:pt>
                <c:pt idx="534">
                  <c:v>95.91944634164787</c:v>
                </c:pt>
                <c:pt idx="535">
                  <c:v>95.91944634164787</c:v>
                </c:pt>
                <c:pt idx="536">
                  <c:v>95.91944634164787</c:v>
                </c:pt>
                <c:pt idx="537">
                  <c:v>95.91944634164787</c:v>
                </c:pt>
                <c:pt idx="538">
                  <c:v>95.91944634164787</c:v>
                </c:pt>
                <c:pt idx="539">
                  <c:v>95.91944634164787</c:v>
                </c:pt>
                <c:pt idx="540">
                  <c:v>95.91944634164787</c:v>
                </c:pt>
                <c:pt idx="541">
                  <c:v>95.91944634164787</c:v>
                </c:pt>
                <c:pt idx="542">
                  <c:v>95.91944634164787</c:v>
                </c:pt>
                <c:pt idx="543">
                  <c:v>95.91944634164787</c:v>
                </c:pt>
                <c:pt idx="544">
                  <c:v>95.91944634164787</c:v>
                </c:pt>
                <c:pt idx="545">
                  <c:v>95.91944634164787</c:v>
                </c:pt>
                <c:pt idx="546">
                  <c:v>95.91944634164787</c:v>
                </c:pt>
                <c:pt idx="547">
                  <c:v>95.91944634164787</c:v>
                </c:pt>
                <c:pt idx="548">
                  <c:v>95.91944634164787</c:v>
                </c:pt>
                <c:pt idx="549">
                  <c:v>95.91944634164787</c:v>
                </c:pt>
                <c:pt idx="550">
                  <c:v>95.91944634164787</c:v>
                </c:pt>
                <c:pt idx="551">
                  <c:v>95.91944634164787</c:v>
                </c:pt>
                <c:pt idx="552">
                  <c:v>95.91944634164787</c:v>
                </c:pt>
                <c:pt idx="553">
                  <c:v>95.91944634164787</c:v>
                </c:pt>
                <c:pt idx="554">
                  <c:v>95.91944634164787</c:v>
                </c:pt>
                <c:pt idx="555">
                  <c:v>95.91944634164787</c:v>
                </c:pt>
                <c:pt idx="556">
                  <c:v>95.91944634164787</c:v>
                </c:pt>
                <c:pt idx="557">
                  <c:v>95.91944634164787</c:v>
                </c:pt>
                <c:pt idx="558">
                  <c:v>95.91944634164787</c:v>
                </c:pt>
                <c:pt idx="559">
                  <c:v>95.91944634164787</c:v>
                </c:pt>
                <c:pt idx="560">
                  <c:v>95.91944634164787</c:v>
                </c:pt>
                <c:pt idx="561">
                  <c:v>95.91944634164787</c:v>
                </c:pt>
                <c:pt idx="562">
                  <c:v>95.91944634164787</c:v>
                </c:pt>
                <c:pt idx="563">
                  <c:v>95.91944634164787</c:v>
                </c:pt>
                <c:pt idx="564">
                  <c:v>95.91944634164787</c:v>
                </c:pt>
                <c:pt idx="565">
                  <c:v>95.91944634164787</c:v>
                </c:pt>
                <c:pt idx="566">
                  <c:v>95.91944634164787</c:v>
                </c:pt>
                <c:pt idx="567">
                  <c:v>95.91944634164787</c:v>
                </c:pt>
                <c:pt idx="568">
                  <c:v>95.91944634164787</c:v>
                </c:pt>
                <c:pt idx="569">
                  <c:v>95.91944634164787</c:v>
                </c:pt>
                <c:pt idx="570">
                  <c:v>95.91944634164787</c:v>
                </c:pt>
                <c:pt idx="571">
                  <c:v>95.91944634164787</c:v>
                </c:pt>
                <c:pt idx="572">
                  <c:v>95.91944634164787</c:v>
                </c:pt>
                <c:pt idx="573">
                  <c:v>95.91944634164787</c:v>
                </c:pt>
                <c:pt idx="574">
                  <c:v>95.91944634164787</c:v>
                </c:pt>
                <c:pt idx="575">
                  <c:v>95.91944634164787</c:v>
                </c:pt>
                <c:pt idx="576">
                  <c:v>95.91944634164787</c:v>
                </c:pt>
                <c:pt idx="577">
                  <c:v>95.91944634164787</c:v>
                </c:pt>
                <c:pt idx="578">
                  <c:v>95.91944634164787</c:v>
                </c:pt>
                <c:pt idx="579">
                  <c:v>95.91944634164787</c:v>
                </c:pt>
                <c:pt idx="580">
                  <c:v>95.91944634164787</c:v>
                </c:pt>
                <c:pt idx="581">
                  <c:v>95.91944634164787</c:v>
                </c:pt>
                <c:pt idx="582">
                  <c:v>95.91944634164787</c:v>
                </c:pt>
                <c:pt idx="583">
                  <c:v>95.91944634164787</c:v>
                </c:pt>
                <c:pt idx="584">
                  <c:v>95.91944634164787</c:v>
                </c:pt>
                <c:pt idx="585">
                  <c:v>95.91944634164787</c:v>
                </c:pt>
                <c:pt idx="586">
                  <c:v>95.91944634164787</c:v>
                </c:pt>
                <c:pt idx="587">
                  <c:v>95.91944634164787</c:v>
                </c:pt>
                <c:pt idx="588">
                  <c:v>95.91944634164787</c:v>
                </c:pt>
                <c:pt idx="589">
                  <c:v>95.91944634164787</c:v>
                </c:pt>
                <c:pt idx="590">
                  <c:v>95.91944634164787</c:v>
                </c:pt>
                <c:pt idx="591">
                  <c:v>95.91944634164787</c:v>
                </c:pt>
                <c:pt idx="592">
                  <c:v>95.91944634164787</c:v>
                </c:pt>
                <c:pt idx="593">
                  <c:v>95.91944634164787</c:v>
                </c:pt>
                <c:pt idx="594">
                  <c:v>95.91944634164787</c:v>
                </c:pt>
                <c:pt idx="595">
                  <c:v>95.91944634164787</c:v>
                </c:pt>
                <c:pt idx="596">
                  <c:v>95.91944634164787</c:v>
                </c:pt>
                <c:pt idx="597">
                  <c:v>95.91944634164787</c:v>
                </c:pt>
                <c:pt idx="598">
                  <c:v>95.91944634164787</c:v>
                </c:pt>
                <c:pt idx="599">
                  <c:v>95.91944634164787</c:v>
                </c:pt>
                <c:pt idx="600">
                  <c:v>95.91944634164787</c:v>
                </c:pt>
                <c:pt idx="601">
                  <c:v>95.91944634164787</c:v>
                </c:pt>
                <c:pt idx="602">
                  <c:v>95.91944634164787</c:v>
                </c:pt>
                <c:pt idx="603">
                  <c:v>95.91944634164787</c:v>
                </c:pt>
                <c:pt idx="604">
                  <c:v>95.91944634164787</c:v>
                </c:pt>
                <c:pt idx="605">
                  <c:v>95.91944634164787</c:v>
                </c:pt>
                <c:pt idx="606">
                  <c:v>95.91944634164787</c:v>
                </c:pt>
                <c:pt idx="607">
                  <c:v>95.91944634164787</c:v>
                </c:pt>
                <c:pt idx="608">
                  <c:v>95.91944634164787</c:v>
                </c:pt>
                <c:pt idx="609">
                  <c:v>95.91944634164787</c:v>
                </c:pt>
                <c:pt idx="610">
                  <c:v>95.91944634164787</c:v>
                </c:pt>
                <c:pt idx="611">
                  <c:v>95.91944634164787</c:v>
                </c:pt>
                <c:pt idx="612">
                  <c:v>95.91944634164787</c:v>
                </c:pt>
                <c:pt idx="613">
                  <c:v>95.91944634164787</c:v>
                </c:pt>
                <c:pt idx="614">
                  <c:v>95.91944634164787</c:v>
                </c:pt>
                <c:pt idx="615">
                  <c:v>95.91944634164787</c:v>
                </c:pt>
                <c:pt idx="616">
                  <c:v>95.91944634164787</c:v>
                </c:pt>
                <c:pt idx="617">
                  <c:v>95.91944634164787</c:v>
                </c:pt>
                <c:pt idx="618">
                  <c:v>95.91944634164787</c:v>
                </c:pt>
                <c:pt idx="619">
                  <c:v>95.91944634164787</c:v>
                </c:pt>
                <c:pt idx="620">
                  <c:v>95.91944634164787</c:v>
                </c:pt>
                <c:pt idx="621">
                  <c:v>95.91944634164787</c:v>
                </c:pt>
                <c:pt idx="622">
                  <c:v>95.91944634164787</c:v>
                </c:pt>
                <c:pt idx="623">
                  <c:v>95.91944634164787</c:v>
                </c:pt>
                <c:pt idx="624">
                  <c:v>95.91944634164787</c:v>
                </c:pt>
                <c:pt idx="625">
                  <c:v>95.91944634164787</c:v>
                </c:pt>
                <c:pt idx="626">
                  <c:v>95.91944634164787</c:v>
                </c:pt>
                <c:pt idx="627">
                  <c:v>95.91944634164787</c:v>
                </c:pt>
                <c:pt idx="628">
                  <c:v>95.91944634164787</c:v>
                </c:pt>
                <c:pt idx="629">
                  <c:v>95.91944634164787</c:v>
                </c:pt>
                <c:pt idx="630">
                  <c:v>95.91944634164787</c:v>
                </c:pt>
                <c:pt idx="631">
                  <c:v>95.91944634164787</c:v>
                </c:pt>
                <c:pt idx="632">
                  <c:v>95.91944634164787</c:v>
                </c:pt>
                <c:pt idx="633">
                  <c:v>95.91944634164787</c:v>
                </c:pt>
                <c:pt idx="634">
                  <c:v>95.91944634164787</c:v>
                </c:pt>
                <c:pt idx="635">
                  <c:v>95.91944634164787</c:v>
                </c:pt>
                <c:pt idx="636">
                  <c:v>95.91944634164787</c:v>
                </c:pt>
                <c:pt idx="637">
                  <c:v>95.91944634164787</c:v>
                </c:pt>
                <c:pt idx="638">
                  <c:v>95.91944634164787</c:v>
                </c:pt>
                <c:pt idx="639">
                  <c:v>95.91944634164787</c:v>
                </c:pt>
                <c:pt idx="640">
                  <c:v>95.91944634164787</c:v>
                </c:pt>
                <c:pt idx="641">
                  <c:v>95.91944634164787</c:v>
                </c:pt>
                <c:pt idx="642">
                  <c:v>95.91944634164787</c:v>
                </c:pt>
                <c:pt idx="643">
                  <c:v>95.938256409442602</c:v>
                </c:pt>
                <c:pt idx="644">
                  <c:v>98.360476264928451</c:v>
                </c:pt>
                <c:pt idx="645">
                  <c:v>95.107977140662967</c:v>
                </c:pt>
                <c:pt idx="646">
                  <c:v>96.92207538916189</c:v>
                </c:pt>
                <c:pt idx="647">
                  <c:v>96.481365828911834</c:v>
                </c:pt>
                <c:pt idx="648">
                  <c:v>95.761267221702155</c:v>
                </c:pt>
                <c:pt idx="649">
                  <c:v>95.761267221702155</c:v>
                </c:pt>
                <c:pt idx="650">
                  <c:v>95.641565637675029</c:v>
                </c:pt>
                <c:pt idx="651">
                  <c:v>95.641565637675029</c:v>
                </c:pt>
                <c:pt idx="652">
                  <c:v>95.641565637675029</c:v>
                </c:pt>
                <c:pt idx="653">
                  <c:v>95.641565637675029</c:v>
                </c:pt>
                <c:pt idx="654">
                  <c:v>95.641565637675029</c:v>
                </c:pt>
                <c:pt idx="655">
                  <c:v>95.641565637675029</c:v>
                </c:pt>
                <c:pt idx="656">
                  <c:v>95.641565637675029</c:v>
                </c:pt>
                <c:pt idx="657">
                  <c:v>95.641565637675029</c:v>
                </c:pt>
                <c:pt idx="658">
                  <c:v>95.641565637675029</c:v>
                </c:pt>
                <c:pt idx="659">
                  <c:v>95.641565637675029</c:v>
                </c:pt>
                <c:pt idx="660">
                  <c:v>95.641565637675029</c:v>
                </c:pt>
                <c:pt idx="661">
                  <c:v>95.641565637675029</c:v>
                </c:pt>
                <c:pt idx="662">
                  <c:v>95.641565637675029</c:v>
                </c:pt>
                <c:pt idx="663">
                  <c:v>95.641565637675029</c:v>
                </c:pt>
                <c:pt idx="664">
                  <c:v>95.641565637675029</c:v>
                </c:pt>
                <c:pt idx="665">
                  <c:v>95.641565637675029</c:v>
                </c:pt>
                <c:pt idx="666">
                  <c:v>95.641565637675029</c:v>
                </c:pt>
                <c:pt idx="667">
                  <c:v>95.641565637675029</c:v>
                </c:pt>
                <c:pt idx="668">
                  <c:v>95.641565637675029</c:v>
                </c:pt>
                <c:pt idx="669">
                  <c:v>95.641565637675029</c:v>
                </c:pt>
                <c:pt idx="670">
                  <c:v>95.641565637675029</c:v>
                </c:pt>
                <c:pt idx="671">
                  <c:v>95.641565637675029</c:v>
                </c:pt>
                <c:pt idx="672">
                  <c:v>95.641565637675029</c:v>
                </c:pt>
                <c:pt idx="673">
                  <c:v>95.641565637675029</c:v>
                </c:pt>
                <c:pt idx="674">
                  <c:v>95.641565637675029</c:v>
                </c:pt>
                <c:pt idx="675">
                  <c:v>95.641565637675029</c:v>
                </c:pt>
                <c:pt idx="676">
                  <c:v>95.641565637675029</c:v>
                </c:pt>
                <c:pt idx="677">
                  <c:v>95.641565637675029</c:v>
                </c:pt>
                <c:pt idx="678">
                  <c:v>95.641565637675029</c:v>
                </c:pt>
                <c:pt idx="679">
                  <c:v>95.641565637675029</c:v>
                </c:pt>
                <c:pt idx="680">
                  <c:v>95.641565637675029</c:v>
                </c:pt>
                <c:pt idx="681">
                  <c:v>95.641565637675029</c:v>
                </c:pt>
                <c:pt idx="682">
                  <c:v>95.641565637675029</c:v>
                </c:pt>
                <c:pt idx="683">
                  <c:v>95.641565637675029</c:v>
                </c:pt>
                <c:pt idx="684">
                  <c:v>95.641565637675029</c:v>
                </c:pt>
                <c:pt idx="685">
                  <c:v>95.641565637675029</c:v>
                </c:pt>
                <c:pt idx="686">
                  <c:v>94.508812956418382</c:v>
                </c:pt>
                <c:pt idx="687">
                  <c:v>93.974394659621467</c:v>
                </c:pt>
                <c:pt idx="688">
                  <c:v>90.838131000986138</c:v>
                </c:pt>
                <c:pt idx="689">
                  <c:v>90.838131000986138</c:v>
                </c:pt>
                <c:pt idx="690">
                  <c:v>90.724583337234904</c:v>
                </c:pt>
                <c:pt idx="691">
                  <c:v>91.143181970429154</c:v>
                </c:pt>
                <c:pt idx="692">
                  <c:v>90.939344655215905</c:v>
                </c:pt>
                <c:pt idx="693">
                  <c:v>91.287225265736211</c:v>
                </c:pt>
                <c:pt idx="694">
                  <c:v>90.952788629415807</c:v>
                </c:pt>
                <c:pt idx="695">
                  <c:v>90.807710773033776</c:v>
                </c:pt>
                <c:pt idx="696">
                  <c:v>90.807710773033776</c:v>
                </c:pt>
                <c:pt idx="697">
                  <c:v>90.694201134567493</c:v>
                </c:pt>
                <c:pt idx="698">
                  <c:v>90.694201134567493</c:v>
                </c:pt>
                <c:pt idx="699">
                  <c:v>89.729346414027219</c:v>
                </c:pt>
                <c:pt idx="700">
                  <c:v>89.617184731009687</c:v>
                </c:pt>
                <c:pt idx="701">
                  <c:v>89.505163250095933</c:v>
                </c:pt>
                <c:pt idx="702">
                  <c:v>89.505163250095933</c:v>
                </c:pt>
                <c:pt idx="703">
                  <c:v>89.505163250095933</c:v>
                </c:pt>
                <c:pt idx="704">
                  <c:v>89.505163250095933</c:v>
                </c:pt>
                <c:pt idx="705">
                  <c:v>89.505163250095933</c:v>
                </c:pt>
                <c:pt idx="706">
                  <c:v>89.505163250095933</c:v>
                </c:pt>
                <c:pt idx="707">
                  <c:v>89.505163250095933</c:v>
                </c:pt>
                <c:pt idx="708">
                  <c:v>89.505163250095933</c:v>
                </c:pt>
                <c:pt idx="709">
                  <c:v>89.505163250095933</c:v>
                </c:pt>
                <c:pt idx="710">
                  <c:v>89.505163250095933</c:v>
                </c:pt>
                <c:pt idx="711">
                  <c:v>89.505163250095933</c:v>
                </c:pt>
                <c:pt idx="712">
                  <c:v>89.505163250095933</c:v>
                </c:pt>
                <c:pt idx="713">
                  <c:v>89.505163250095933</c:v>
                </c:pt>
                <c:pt idx="714">
                  <c:v>89.505163250095933</c:v>
                </c:pt>
                <c:pt idx="715">
                  <c:v>89.505163250095933</c:v>
                </c:pt>
                <c:pt idx="716">
                  <c:v>89.505163250095933</c:v>
                </c:pt>
                <c:pt idx="717">
                  <c:v>89.294857070137013</c:v>
                </c:pt>
                <c:pt idx="718">
                  <c:v>93.616224488163795</c:v>
                </c:pt>
                <c:pt idx="719">
                  <c:v>93.616224488163795</c:v>
                </c:pt>
                <c:pt idx="720">
                  <c:v>93.499204207553589</c:v>
                </c:pt>
                <c:pt idx="721">
                  <c:v>93.499204207553589</c:v>
                </c:pt>
                <c:pt idx="722">
                  <c:v>93.499204207553589</c:v>
                </c:pt>
                <c:pt idx="723">
                  <c:v>93.499204207553589</c:v>
                </c:pt>
                <c:pt idx="724">
                  <c:v>93.499204207553589</c:v>
                </c:pt>
                <c:pt idx="725">
                  <c:v>93.499204207553589</c:v>
                </c:pt>
                <c:pt idx="726">
                  <c:v>93.499204207553589</c:v>
                </c:pt>
                <c:pt idx="727">
                  <c:v>93.499204207553589</c:v>
                </c:pt>
                <c:pt idx="728">
                  <c:v>93.499204207553589</c:v>
                </c:pt>
                <c:pt idx="729">
                  <c:v>93.499204207553589</c:v>
                </c:pt>
                <c:pt idx="730">
                  <c:v>93.499204207553589</c:v>
                </c:pt>
                <c:pt idx="731">
                  <c:v>93.499204207553589</c:v>
                </c:pt>
                <c:pt idx="732">
                  <c:v>93.499204207553589</c:v>
                </c:pt>
                <c:pt idx="733">
                  <c:v>92.609474896483746</c:v>
                </c:pt>
                <c:pt idx="734">
                  <c:v>92.493713052863143</c:v>
                </c:pt>
                <c:pt idx="735">
                  <c:v>92.378095911547064</c:v>
                </c:pt>
                <c:pt idx="736">
                  <c:v>92.378095911547064</c:v>
                </c:pt>
                <c:pt idx="737">
                  <c:v>92.092056549884333</c:v>
                </c:pt>
                <c:pt idx="738">
                  <c:v>92.351347425397876</c:v>
                </c:pt>
                <c:pt idx="739">
                  <c:v>92.351347425397876</c:v>
                </c:pt>
                <c:pt idx="740">
                  <c:v>92.235908241116135</c:v>
                </c:pt>
                <c:pt idx="741">
                  <c:v>91.587653010947434</c:v>
                </c:pt>
                <c:pt idx="742">
                  <c:v>91.863302567132322</c:v>
                </c:pt>
                <c:pt idx="743">
                  <c:v>91.863302567132322</c:v>
                </c:pt>
                <c:pt idx="744">
                  <c:v>91.748473438923412</c:v>
                </c:pt>
                <c:pt idx="745">
                  <c:v>91.748473438923412</c:v>
                </c:pt>
                <c:pt idx="746">
                  <c:v>91.748473438923412</c:v>
                </c:pt>
                <c:pt idx="747">
                  <c:v>91.748473438923412</c:v>
                </c:pt>
                <c:pt idx="748">
                  <c:v>91.748473438923412</c:v>
                </c:pt>
                <c:pt idx="749">
                  <c:v>91.748473438923412</c:v>
                </c:pt>
                <c:pt idx="750">
                  <c:v>91.748473438923412</c:v>
                </c:pt>
                <c:pt idx="751">
                  <c:v>91.748473438923412</c:v>
                </c:pt>
                <c:pt idx="752">
                  <c:v>91.748473438923412</c:v>
                </c:pt>
                <c:pt idx="753">
                  <c:v>91.748473438923412</c:v>
                </c:pt>
                <c:pt idx="754">
                  <c:v>91.748473438923412</c:v>
                </c:pt>
                <c:pt idx="755">
                  <c:v>91.748473438923412</c:v>
                </c:pt>
                <c:pt idx="756">
                  <c:v>91.748473438923412</c:v>
                </c:pt>
                <c:pt idx="757">
                  <c:v>91.748473438923412</c:v>
                </c:pt>
                <c:pt idx="758">
                  <c:v>91.748473438923412</c:v>
                </c:pt>
                <c:pt idx="759">
                  <c:v>91.748473438923412</c:v>
                </c:pt>
                <c:pt idx="760">
                  <c:v>91.748473438923412</c:v>
                </c:pt>
                <c:pt idx="761">
                  <c:v>91.748473438923412</c:v>
                </c:pt>
                <c:pt idx="762">
                  <c:v>91.748473438923412</c:v>
                </c:pt>
                <c:pt idx="763">
                  <c:v>91.748473438923412</c:v>
                </c:pt>
                <c:pt idx="764">
                  <c:v>91.748473438923412</c:v>
                </c:pt>
                <c:pt idx="765">
                  <c:v>91.748473438923412</c:v>
                </c:pt>
                <c:pt idx="766">
                  <c:v>91.748473438923412</c:v>
                </c:pt>
                <c:pt idx="767">
                  <c:v>91.748473438923412</c:v>
                </c:pt>
                <c:pt idx="768">
                  <c:v>91.748473438923412</c:v>
                </c:pt>
                <c:pt idx="769">
                  <c:v>91.748473438923412</c:v>
                </c:pt>
                <c:pt idx="770">
                  <c:v>91.748473438923412</c:v>
                </c:pt>
                <c:pt idx="771">
                  <c:v>91.748473438923412</c:v>
                </c:pt>
                <c:pt idx="772">
                  <c:v>91.748473438923412</c:v>
                </c:pt>
                <c:pt idx="773">
                  <c:v>91.748473438923412</c:v>
                </c:pt>
                <c:pt idx="774">
                  <c:v>91.748473438923412</c:v>
                </c:pt>
                <c:pt idx="775">
                  <c:v>91.748473438923412</c:v>
                </c:pt>
                <c:pt idx="776">
                  <c:v>91.748473438923412</c:v>
                </c:pt>
                <c:pt idx="777">
                  <c:v>91.748473438923412</c:v>
                </c:pt>
                <c:pt idx="778">
                  <c:v>91.748473438923412</c:v>
                </c:pt>
                <c:pt idx="779">
                  <c:v>91.748473438923412</c:v>
                </c:pt>
                <c:pt idx="780">
                  <c:v>91.748473438923412</c:v>
                </c:pt>
                <c:pt idx="781">
                  <c:v>91.748473438923412</c:v>
                </c:pt>
                <c:pt idx="782">
                  <c:v>91.748473438923412</c:v>
                </c:pt>
                <c:pt idx="783">
                  <c:v>91.748473438923412</c:v>
                </c:pt>
                <c:pt idx="784">
                  <c:v>91.748473438923412</c:v>
                </c:pt>
                <c:pt idx="785">
                  <c:v>91.748473438923412</c:v>
                </c:pt>
                <c:pt idx="786">
                  <c:v>91.748473438923412</c:v>
                </c:pt>
                <c:pt idx="787">
                  <c:v>91.748473438923412</c:v>
                </c:pt>
                <c:pt idx="788">
                  <c:v>91.748473438923412</c:v>
                </c:pt>
                <c:pt idx="789">
                  <c:v>91.748473438923412</c:v>
                </c:pt>
                <c:pt idx="790">
                  <c:v>91.748473438923412</c:v>
                </c:pt>
                <c:pt idx="791">
                  <c:v>91.748473438923412</c:v>
                </c:pt>
                <c:pt idx="792">
                  <c:v>91.748473438923412</c:v>
                </c:pt>
                <c:pt idx="793">
                  <c:v>91.748473438923412</c:v>
                </c:pt>
                <c:pt idx="794">
                  <c:v>91.748473438923412</c:v>
                </c:pt>
                <c:pt idx="795">
                  <c:v>91.748473438923412</c:v>
                </c:pt>
                <c:pt idx="796">
                  <c:v>91.748473438923412</c:v>
                </c:pt>
                <c:pt idx="797">
                  <c:v>91.748473438923412</c:v>
                </c:pt>
                <c:pt idx="798">
                  <c:v>91.748473438923412</c:v>
                </c:pt>
                <c:pt idx="799">
                  <c:v>91.748473438923412</c:v>
                </c:pt>
                <c:pt idx="800">
                  <c:v>91.748473438923412</c:v>
                </c:pt>
                <c:pt idx="801">
                  <c:v>91.748473438923412</c:v>
                </c:pt>
                <c:pt idx="802">
                  <c:v>91.748473438923412</c:v>
                </c:pt>
                <c:pt idx="803">
                  <c:v>91.748473438923412</c:v>
                </c:pt>
                <c:pt idx="804">
                  <c:v>91.748473438923412</c:v>
                </c:pt>
                <c:pt idx="805">
                  <c:v>91.748473438923412</c:v>
                </c:pt>
                <c:pt idx="806">
                  <c:v>91.748473438923412</c:v>
                </c:pt>
                <c:pt idx="807">
                  <c:v>91.748473438923412</c:v>
                </c:pt>
                <c:pt idx="808">
                  <c:v>91.748473438923412</c:v>
                </c:pt>
                <c:pt idx="809">
                  <c:v>91.748473438923412</c:v>
                </c:pt>
                <c:pt idx="810">
                  <c:v>91.748473438923412</c:v>
                </c:pt>
                <c:pt idx="811">
                  <c:v>91.748473438923412</c:v>
                </c:pt>
                <c:pt idx="812">
                  <c:v>91.748473438923412</c:v>
                </c:pt>
                <c:pt idx="813">
                  <c:v>91.748473438923412</c:v>
                </c:pt>
                <c:pt idx="814">
                  <c:v>91.748473438923412</c:v>
                </c:pt>
                <c:pt idx="815">
                  <c:v>91.748473438923412</c:v>
                </c:pt>
                <c:pt idx="816">
                  <c:v>91.748473438923412</c:v>
                </c:pt>
                <c:pt idx="817">
                  <c:v>91.748473438923412</c:v>
                </c:pt>
                <c:pt idx="818">
                  <c:v>91.748473438923412</c:v>
                </c:pt>
                <c:pt idx="819">
                  <c:v>91.748473438923412</c:v>
                </c:pt>
                <c:pt idx="820">
                  <c:v>91.748473438923412</c:v>
                </c:pt>
                <c:pt idx="821">
                  <c:v>91.748473438923412</c:v>
                </c:pt>
                <c:pt idx="822">
                  <c:v>91.748473438923412</c:v>
                </c:pt>
                <c:pt idx="823">
                  <c:v>91.748473438923412</c:v>
                </c:pt>
                <c:pt idx="824">
                  <c:v>91.748473438923412</c:v>
                </c:pt>
                <c:pt idx="825">
                  <c:v>91.748473438923412</c:v>
                </c:pt>
                <c:pt idx="826">
                  <c:v>91.748473438923412</c:v>
                </c:pt>
                <c:pt idx="827">
                  <c:v>91.748473438923412</c:v>
                </c:pt>
                <c:pt idx="828">
                  <c:v>91.748473438923412</c:v>
                </c:pt>
                <c:pt idx="829">
                  <c:v>91.748473438923412</c:v>
                </c:pt>
                <c:pt idx="830">
                  <c:v>91.748473438923412</c:v>
                </c:pt>
                <c:pt idx="831">
                  <c:v>91.748473438923412</c:v>
                </c:pt>
                <c:pt idx="832">
                  <c:v>91.748473438923412</c:v>
                </c:pt>
                <c:pt idx="833">
                  <c:v>91.748473438923412</c:v>
                </c:pt>
                <c:pt idx="834">
                  <c:v>91.748473438923412</c:v>
                </c:pt>
                <c:pt idx="835">
                  <c:v>91.748473438923412</c:v>
                </c:pt>
                <c:pt idx="836">
                  <c:v>91.748473438923412</c:v>
                </c:pt>
                <c:pt idx="837">
                  <c:v>91.748473438923412</c:v>
                </c:pt>
                <c:pt idx="838">
                  <c:v>91.748473438923412</c:v>
                </c:pt>
                <c:pt idx="839">
                  <c:v>91.748473438923412</c:v>
                </c:pt>
                <c:pt idx="840">
                  <c:v>91.748473438923412</c:v>
                </c:pt>
                <c:pt idx="841">
                  <c:v>91.748473438923412</c:v>
                </c:pt>
                <c:pt idx="842">
                  <c:v>91.748473438923412</c:v>
                </c:pt>
                <c:pt idx="843">
                  <c:v>91.748473438923412</c:v>
                </c:pt>
                <c:pt idx="844">
                  <c:v>91.748473438923412</c:v>
                </c:pt>
                <c:pt idx="845">
                  <c:v>91.748473438923412</c:v>
                </c:pt>
                <c:pt idx="846">
                  <c:v>91.748473438923412</c:v>
                </c:pt>
                <c:pt idx="847">
                  <c:v>91.748473438923412</c:v>
                </c:pt>
                <c:pt idx="848">
                  <c:v>91.748473438923412</c:v>
                </c:pt>
                <c:pt idx="849">
                  <c:v>91.748473438923412</c:v>
                </c:pt>
                <c:pt idx="850">
                  <c:v>91.748473438923412</c:v>
                </c:pt>
                <c:pt idx="851">
                  <c:v>91.748473438923412</c:v>
                </c:pt>
                <c:pt idx="852">
                  <c:v>91.748473438923412</c:v>
                </c:pt>
                <c:pt idx="853">
                  <c:v>91.748473438923412</c:v>
                </c:pt>
                <c:pt idx="854">
                  <c:v>91.748473438923412</c:v>
                </c:pt>
                <c:pt idx="855">
                  <c:v>91.748473438923412</c:v>
                </c:pt>
                <c:pt idx="856">
                  <c:v>91.748473438923412</c:v>
                </c:pt>
                <c:pt idx="857">
                  <c:v>91.748473438923412</c:v>
                </c:pt>
                <c:pt idx="858">
                  <c:v>91.748473438923412</c:v>
                </c:pt>
                <c:pt idx="859">
                  <c:v>91.748473438923412</c:v>
                </c:pt>
                <c:pt idx="860">
                  <c:v>91.748473438923412</c:v>
                </c:pt>
                <c:pt idx="861">
                  <c:v>91.748473438923412</c:v>
                </c:pt>
                <c:pt idx="862">
                  <c:v>91.748473438923412</c:v>
                </c:pt>
                <c:pt idx="863">
                  <c:v>91.748473438923412</c:v>
                </c:pt>
                <c:pt idx="864">
                  <c:v>91.748473438923412</c:v>
                </c:pt>
                <c:pt idx="865">
                  <c:v>91.748473438923412</c:v>
                </c:pt>
                <c:pt idx="866">
                  <c:v>91.748473438923412</c:v>
                </c:pt>
                <c:pt idx="867">
                  <c:v>91.748473438923412</c:v>
                </c:pt>
                <c:pt idx="868">
                  <c:v>91.748473438923412</c:v>
                </c:pt>
                <c:pt idx="869">
                  <c:v>91.748473438923412</c:v>
                </c:pt>
                <c:pt idx="870">
                  <c:v>91.748473438923412</c:v>
                </c:pt>
                <c:pt idx="871">
                  <c:v>91.748473438923412</c:v>
                </c:pt>
                <c:pt idx="872">
                  <c:v>91.748473438923412</c:v>
                </c:pt>
                <c:pt idx="873">
                  <c:v>91.748473438923412</c:v>
                </c:pt>
                <c:pt idx="874">
                  <c:v>91.748473438923412</c:v>
                </c:pt>
                <c:pt idx="875">
                  <c:v>91.748473438923412</c:v>
                </c:pt>
                <c:pt idx="876">
                  <c:v>91.748473438923412</c:v>
                </c:pt>
                <c:pt idx="877">
                  <c:v>91.748473438923412</c:v>
                </c:pt>
                <c:pt idx="878">
                  <c:v>91.748473438923412</c:v>
                </c:pt>
                <c:pt idx="879">
                  <c:v>91.748473438923412</c:v>
                </c:pt>
                <c:pt idx="880">
                  <c:v>91.748473438923412</c:v>
                </c:pt>
                <c:pt idx="881">
                  <c:v>91.748473438923412</c:v>
                </c:pt>
                <c:pt idx="882">
                  <c:v>91.748473438923412</c:v>
                </c:pt>
                <c:pt idx="883">
                  <c:v>91.748473438923412</c:v>
                </c:pt>
                <c:pt idx="884">
                  <c:v>91.748473438923412</c:v>
                </c:pt>
                <c:pt idx="885">
                  <c:v>91.748473438923412</c:v>
                </c:pt>
                <c:pt idx="886">
                  <c:v>91.748473438923412</c:v>
                </c:pt>
                <c:pt idx="887">
                  <c:v>91.748473438923412</c:v>
                </c:pt>
                <c:pt idx="888">
                  <c:v>91.748473438923412</c:v>
                </c:pt>
                <c:pt idx="889">
                  <c:v>91.748473438923412</c:v>
                </c:pt>
                <c:pt idx="890">
                  <c:v>91.748473438923412</c:v>
                </c:pt>
                <c:pt idx="891">
                  <c:v>91.748473438923412</c:v>
                </c:pt>
                <c:pt idx="892">
                  <c:v>91.748473438923412</c:v>
                </c:pt>
                <c:pt idx="893">
                  <c:v>91.748473438923412</c:v>
                </c:pt>
                <c:pt idx="894">
                  <c:v>91.748473438923412</c:v>
                </c:pt>
                <c:pt idx="895">
                  <c:v>91.748473438923412</c:v>
                </c:pt>
                <c:pt idx="896">
                  <c:v>91.748473438923412</c:v>
                </c:pt>
                <c:pt idx="897">
                  <c:v>89.321142357254132</c:v>
                </c:pt>
                <c:pt idx="898">
                  <c:v>88.816886022105123</c:v>
                </c:pt>
                <c:pt idx="899">
                  <c:v>88.542125540928922</c:v>
                </c:pt>
                <c:pt idx="900">
                  <c:v>86.752907425128754</c:v>
                </c:pt>
                <c:pt idx="901">
                  <c:v>86.752907425128754</c:v>
                </c:pt>
                <c:pt idx="902">
                  <c:v>86.644466290847348</c:v>
                </c:pt>
                <c:pt idx="903">
                  <c:v>86.644466290847348</c:v>
                </c:pt>
                <c:pt idx="904">
                  <c:v>86.644466290847348</c:v>
                </c:pt>
                <c:pt idx="905">
                  <c:v>86.644466290847348</c:v>
                </c:pt>
                <c:pt idx="906">
                  <c:v>86.644466290847348</c:v>
                </c:pt>
                <c:pt idx="907">
                  <c:v>86.644466290847348</c:v>
                </c:pt>
                <c:pt idx="908">
                  <c:v>86.644466290847348</c:v>
                </c:pt>
                <c:pt idx="909">
                  <c:v>86.644466290847348</c:v>
                </c:pt>
                <c:pt idx="910">
                  <c:v>86.644466290847348</c:v>
                </c:pt>
                <c:pt idx="911">
                  <c:v>86.644466290847348</c:v>
                </c:pt>
                <c:pt idx="912">
                  <c:v>86.644466290847348</c:v>
                </c:pt>
                <c:pt idx="913">
                  <c:v>86.644466290847348</c:v>
                </c:pt>
                <c:pt idx="914">
                  <c:v>86.644466290847348</c:v>
                </c:pt>
                <c:pt idx="915">
                  <c:v>86.644466290847348</c:v>
                </c:pt>
                <c:pt idx="916">
                  <c:v>86.644466290847348</c:v>
                </c:pt>
                <c:pt idx="917">
                  <c:v>86.644466290847348</c:v>
                </c:pt>
                <c:pt idx="918">
                  <c:v>86.644466290847348</c:v>
                </c:pt>
                <c:pt idx="919">
                  <c:v>86.644466290847348</c:v>
                </c:pt>
                <c:pt idx="920">
                  <c:v>86.644466290847348</c:v>
                </c:pt>
                <c:pt idx="921">
                  <c:v>86.644466290847348</c:v>
                </c:pt>
                <c:pt idx="922">
                  <c:v>86.644466290847348</c:v>
                </c:pt>
                <c:pt idx="923">
                  <c:v>86.644466290847348</c:v>
                </c:pt>
                <c:pt idx="924">
                  <c:v>86.644466290847348</c:v>
                </c:pt>
                <c:pt idx="925">
                  <c:v>86.644466290847348</c:v>
                </c:pt>
                <c:pt idx="926">
                  <c:v>86.644466290847348</c:v>
                </c:pt>
                <c:pt idx="927">
                  <c:v>86.644466290847348</c:v>
                </c:pt>
                <c:pt idx="928">
                  <c:v>86.644466290847348</c:v>
                </c:pt>
                <c:pt idx="929">
                  <c:v>86.644466290847348</c:v>
                </c:pt>
                <c:pt idx="930">
                  <c:v>86.644466290847348</c:v>
                </c:pt>
                <c:pt idx="931">
                  <c:v>86.644466290847348</c:v>
                </c:pt>
                <c:pt idx="932">
                  <c:v>86.644466290847348</c:v>
                </c:pt>
                <c:pt idx="933">
                  <c:v>86.644466290847348</c:v>
                </c:pt>
                <c:pt idx="934">
                  <c:v>86.644466290847348</c:v>
                </c:pt>
                <c:pt idx="935">
                  <c:v>86.644466290847348</c:v>
                </c:pt>
                <c:pt idx="936">
                  <c:v>86.644466290847348</c:v>
                </c:pt>
                <c:pt idx="937">
                  <c:v>86.644466290847348</c:v>
                </c:pt>
                <c:pt idx="938">
                  <c:v>86.644466290847348</c:v>
                </c:pt>
                <c:pt idx="939">
                  <c:v>86.644466290847348</c:v>
                </c:pt>
                <c:pt idx="940">
                  <c:v>86.644466290847348</c:v>
                </c:pt>
                <c:pt idx="941">
                  <c:v>86.644466290847348</c:v>
                </c:pt>
                <c:pt idx="942">
                  <c:v>86.644466290847348</c:v>
                </c:pt>
                <c:pt idx="943">
                  <c:v>86.644466290847348</c:v>
                </c:pt>
                <c:pt idx="944">
                  <c:v>86.644466290847348</c:v>
                </c:pt>
                <c:pt idx="945">
                  <c:v>86.644466290847348</c:v>
                </c:pt>
                <c:pt idx="946">
                  <c:v>86.644466290847348</c:v>
                </c:pt>
                <c:pt idx="947">
                  <c:v>86.644466290847348</c:v>
                </c:pt>
                <c:pt idx="948">
                  <c:v>86.644466290847348</c:v>
                </c:pt>
                <c:pt idx="949">
                  <c:v>86.644466290847348</c:v>
                </c:pt>
                <c:pt idx="950">
                  <c:v>86.644466290847348</c:v>
                </c:pt>
                <c:pt idx="951">
                  <c:v>86.644466290847348</c:v>
                </c:pt>
                <c:pt idx="952">
                  <c:v>86.644466290847348</c:v>
                </c:pt>
                <c:pt idx="953">
                  <c:v>86.644466290847348</c:v>
                </c:pt>
                <c:pt idx="954">
                  <c:v>86.644466290847348</c:v>
                </c:pt>
                <c:pt idx="955">
                  <c:v>86.644466290847348</c:v>
                </c:pt>
                <c:pt idx="956">
                  <c:v>86.644466290847348</c:v>
                </c:pt>
                <c:pt idx="957">
                  <c:v>86.644466290847348</c:v>
                </c:pt>
                <c:pt idx="958">
                  <c:v>86.644466290847348</c:v>
                </c:pt>
                <c:pt idx="959">
                  <c:v>86.644466290847348</c:v>
                </c:pt>
                <c:pt idx="960">
                  <c:v>86.644466290847348</c:v>
                </c:pt>
                <c:pt idx="961">
                  <c:v>86.644466290847348</c:v>
                </c:pt>
                <c:pt idx="962">
                  <c:v>86.644466290847348</c:v>
                </c:pt>
                <c:pt idx="963">
                  <c:v>86.644466290847348</c:v>
                </c:pt>
                <c:pt idx="964">
                  <c:v>86.644466290847348</c:v>
                </c:pt>
                <c:pt idx="965">
                  <c:v>86.644466290847348</c:v>
                </c:pt>
                <c:pt idx="966">
                  <c:v>86.644466290847348</c:v>
                </c:pt>
                <c:pt idx="967">
                  <c:v>86.644466290847348</c:v>
                </c:pt>
                <c:pt idx="968">
                  <c:v>86.644466290847348</c:v>
                </c:pt>
                <c:pt idx="969">
                  <c:v>86.644466290847348</c:v>
                </c:pt>
                <c:pt idx="970">
                  <c:v>86.644466290847348</c:v>
                </c:pt>
                <c:pt idx="971">
                  <c:v>86.644466290847348</c:v>
                </c:pt>
                <c:pt idx="972">
                  <c:v>86.644466290847348</c:v>
                </c:pt>
                <c:pt idx="973">
                  <c:v>86.644466290847348</c:v>
                </c:pt>
                <c:pt idx="974">
                  <c:v>86.644466290847348</c:v>
                </c:pt>
                <c:pt idx="975">
                  <c:v>86.644466290847348</c:v>
                </c:pt>
                <c:pt idx="976">
                  <c:v>86.644466290847348</c:v>
                </c:pt>
                <c:pt idx="977">
                  <c:v>86.644466290847348</c:v>
                </c:pt>
                <c:pt idx="978">
                  <c:v>86.644466290847348</c:v>
                </c:pt>
                <c:pt idx="979">
                  <c:v>86.644466290847348</c:v>
                </c:pt>
                <c:pt idx="980">
                  <c:v>86.644466290847348</c:v>
                </c:pt>
                <c:pt idx="981">
                  <c:v>86.644466290847348</c:v>
                </c:pt>
                <c:pt idx="982">
                  <c:v>86.644466290847348</c:v>
                </c:pt>
                <c:pt idx="983">
                  <c:v>86.644466290847348</c:v>
                </c:pt>
                <c:pt idx="984">
                  <c:v>86.644466290847348</c:v>
                </c:pt>
                <c:pt idx="985">
                  <c:v>86.644466290847348</c:v>
                </c:pt>
                <c:pt idx="986">
                  <c:v>86.644466290847348</c:v>
                </c:pt>
                <c:pt idx="987">
                  <c:v>85.156305728250587</c:v>
                </c:pt>
                <c:pt idx="988">
                  <c:v>85.04986034609027</c:v>
                </c:pt>
                <c:pt idx="989">
                  <c:v>84.943548020657659</c:v>
                </c:pt>
                <c:pt idx="990">
                  <c:v>84.943548020657659</c:v>
                </c:pt>
                <c:pt idx="991">
                  <c:v>84.943548020657659</c:v>
                </c:pt>
                <c:pt idx="992">
                  <c:v>84.943548020657659</c:v>
                </c:pt>
                <c:pt idx="993">
                  <c:v>84.943548020657659</c:v>
                </c:pt>
                <c:pt idx="994">
                  <c:v>84.943548020657659</c:v>
                </c:pt>
                <c:pt idx="995">
                  <c:v>84.943548020657659</c:v>
                </c:pt>
                <c:pt idx="996">
                  <c:v>84.943548020657659</c:v>
                </c:pt>
                <c:pt idx="997">
                  <c:v>84.943548020657659</c:v>
                </c:pt>
                <c:pt idx="998">
                  <c:v>83.830711446015357</c:v>
                </c:pt>
                <c:pt idx="999">
                  <c:v>83.725923056707842</c:v>
                </c:pt>
                <c:pt idx="1000">
                  <c:v>87.516223656713677</c:v>
                </c:pt>
                <c:pt idx="1001">
                  <c:v>87.406828377142787</c:v>
                </c:pt>
                <c:pt idx="1002">
                  <c:v>87.297569841671361</c:v>
                </c:pt>
                <c:pt idx="1003">
                  <c:v>87.297569841671361</c:v>
                </c:pt>
                <c:pt idx="1004">
                  <c:v>87.297569841671361</c:v>
                </c:pt>
                <c:pt idx="1005">
                  <c:v>87.297569841671361</c:v>
                </c:pt>
                <c:pt idx="1006">
                  <c:v>87.297569841671361</c:v>
                </c:pt>
                <c:pt idx="1007">
                  <c:v>87.297569841671361</c:v>
                </c:pt>
                <c:pt idx="1008">
                  <c:v>87.297569841671361</c:v>
                </c:pt>
                <c:pt idx="1009">
                  <c:v>87.297569841671361</c:v>
                </c:pt>
                <c:pt idx="1010">
                  <c:v>87.297569841671361</c:v>
                </c:pt>
                <c:pt idx="1011">
                  <c:v>87.297569841671361</c:v>
                </c:pt>
                <c:pt idx="1012">
                  <c:v>87.297569841671361</c:v>
                </c:pt>
                <c:pt idx="1013">
                  <c:v>87.297569841671361</c:v>
                </c:pt>
                <c:pt idx="1014">
                  <c:v>87.297569841671361</c:v>
                </c:pt>
                <c:pt idx="1015">
                  <c:v>87.297569841671361</c:v>
                </c:pt>
                <c:pt idx="1016">
                  <c:v>87.297569841671361</c:v>
                </c:pt>
                <c:pt idx="1017">
                  <c:v>87.297569841671361</c:v>
                </c:pt>
                <c:pt idx="1018">
                  <c:v>87.297569841671361</c:v>
                </c:pt>
                <c:pt idx="1019">
                  <c:v>87.2460534201538</c:v>
                </c:pt>
                <c:pt idx="1020">
                  <c:v>90.215892909376564</c:v>
                </c:pt>
                <c:pt idx="1021">
                  <c:v>90.215892909376564</c:v>
                </c:pt>
                <c:pt idx="1022">
                  <c:v>90.103123043239847</c:v>
                </c:pt>
                <c:pt idx="1023">
                  <c:v>90.103123043239847</c:v>
                </c:pt>
                <c:pt idx="1024">
                  <c:v>90.103123043239847</c:v>
                </c:pt>
                <c:pt idx="1025">
                  <c:v>90.103123043239847</c:v>
                </c:pt>
                <c:pt idx="1026">
                  <c:v>90.103123043239847</c:v>
                </c:pt>
                <c:pt idx="1027">
                  <c:v>90.103123043239847</c:v>
                </c:pt>
                <c:pt idx="1028">
                  <c:v>90.103123043239847</c:v>
                </c:pt>
                <c:pt idx="1029">
                  <c:v>90.103123043239847</c:v>
                </c:pt>
                <c:pt idx="1030">
                  <c:v>90.103123043239847</c:v>
                </c:pt>
                <c:pt idx="1031">
                  <c:v>90.103123043239847</c:v>
                </c:pt>
                <c:pt idx="1032">
                  <c:v>90.103123043239847</c:v>
                </c:pt>
                <c:pt idx="1033">
                  <c:v>90.103123043239847</c:v>
                </c:pt>
                <c:pt idx="1034">
                  <c:v>90.103123043239847</c:v>
                </c:pt>
                <c:pt idx="1035">
                  <c:v>90.103123043239847</c:v>
                </c:pt>
                <c:pt idx="1036">
                  <c:v>90.103123043239847</c:v>
                </c:pt>
                <c:pt idx="1037">
                  <c:v>90.103123043239847</c:v>
                </c:pt>
                <c:pt idx="1038">
                  <c:v>90.103123043239847</c:v>
                </c:pt>
                <c:pt idx="1039">
                  <c:v>90.103123043239847</c:v>
                </c:pt>
                <c:pt idx="1040">
                  <c:v>89.797571575574892</c:v>
                </c:pt>
                <c:pt idx="1041">
                  <c:v>89.225994846696722</c:v>
                </c:pt>
                <c:pt idx="1042">
                  <c:v>90.812944451522455</c:v>
                </c:pt>
                <c:pt idx="1043">
                  <c:v>96.402935990723549</c:v>
                </c:pt>
                <c:pt idx="1044">
                  <c:v>96.402935990723549</c:v>
                </c:pt>
                <c:pt idx="1045">
                  <c:v>96.282432320735154</c:v>
                </c:pt>
                <c:pt idx="1046">
                  <c:v>96.282432320735154</c:v>
                </c:pt>
                <c:pt idx="1047">
                  <c:v>96.282432320735154</c:v>
                </c:pt>
                <c:pt idx="1048">
                  <c:v>96.282432320735154</c:v>
                </c:pt>
                <c:pt idx="1049">
                  <c:v>96.282432320735154</c:v>
                </c:pt>
                <c:pt idx="1050">
                  <c:v>96.282432320735154</c:v>
                </c:pt>
                <c:pt idx="1051">
                  <c:v>96.282432320735154</c:v>
                </c:pt>
                <c:pt idx="1052">
                  <c:v>96.282432320735154</c:v>
                </c:pt>
                <c:pt idx="1053">
                  <c:v>96.282432320735154</c:v>
                </c:pt>
                <c:pt idx="1054">
                  <c:v>96.282432320735154</c:v>
                </c:pt>
                <c:pt idx="1055">
                  <c:v>96.282432320735154</c:v>
                </c:pt>
                <c:pt idx="1056">
                  <c:v>96.282432320735154</c:v>
                </c:pt>
                <c:pt idx="1057">
                  <c:v>96.282432320735154</c:v>
                </c:pt>
                <c:pt idx="1058">
                  <c:v>96.282432320735154</c:v>
                </c:pt>
                <c:pt idx="1059">
                  <c:v>96.282432320735154</c:v>
                </c:pt>
                <c:pt idx="1060">
                  <c:v>96.282432320735154</c:v>
                </c:pt>
                <c:pt idx="1061">
                  <c:v>96.282432320735154</c:v>
                </c:pt>
                <c:pt idx="1062">
                  <c:v>96.282432320735154</c:v>
                </c:pt>
                <c:pt idx="1063">
                  <c:v>96.282432320735154</c:v>
                </c:pt>
                <c:pt idx="1064">
                  <c:v>96.282432320735154</c:v>
                </c:pt>
                <c:pt idx="1065">
                  <c:v>96.282432320735154</c:v>
                </c:pt>
                <c:pt idx="1066">
                  <c:v>96.282432320735154</c:v>
                </c:pt>
                <c:pt idx="1067">
                  <c:v>96.282432320735154</c:v>
                </c:pt>
                <c:pt idx="1068">
                  <c:v>96.282432320735154</c:v>
                </c:pt>
                <c:pt idx="1069">
                  <c:v>96.282432320735154</c:v>
                </c:pt>
                <c:pt idx="1070">
                  <c:v>96.282432320735154</c:v>
                </c:pt>
                <c:pt idx="1071">
                  <c:v>96.282432320735154</c:v>
                </c:pt>
                <c:pt idx="1072">
                  <c:v>96.282432320735154</c:v>
                </c:pt>
                <c:pt idx="1073">
                  <c:v>96.282432320735154</c:v>
                </c:pt>
                <c:pt idx="1074">
                  <c:v>96.282432320735154</c:v>
                </c:pt>
                <c:pt idx="1075">
                  <c:v>96.282432320735154</c:v>
                </c:pt>
                <c:pt idx="1076">
                  <c:v>96.282432320735154</c:v>
                </c:pt>
                <c:pt idx="1077">
                  <c:v>96.282432320735154</c:v>
                </c:pt>
                <c:pt idx="1078">
                  <c:v>96.282432320735154</c:v>
                </c:pt>
                <c:pt idx="1079">
                  <c:v>96.282432320735154</c:v>
                </c:pt>
                <c:pt idx="1080">
                  <c:v>96.282432320735154</c:v>
                </c:pt>
                <c:pt idx="1081">
                  <c:v>96.282432320735154</c:v>
                </c:pt>
                <c:pt idx="1082">
                  <c:v>96.282432320735154</c:v>
                </c:pt>
                <c:pt idx="1083">
                  <c:v>96.282432320735154</c:v>
                </c:pt>
                <c:pt idx="1084">
                  <c:v>96.282432320735154</c:v>
                </c:pt>
                <c:pt idx="1085">
                  <c:v>96.282432320735154</c:v>
                </c:pt>
                <c:pt idx="1086">
                  <c:v>96.282432320735154</c:v>
                </c:pt>
                <c:pt idx="1087">
                  <c:v>96.282432320735154</c:v>
                </c:pt>
                <c:pt idx="1088">
                  <c:v>96.282432320735154</c:v>
                </c:pt>
                <c:pt idx="1089">
                  <c:v>96.282432320735154</c:v>
                </c:pt>
                <c:pt idx="1090">
                  <c:v>96.282432320735154</c:v>
                </c:pt>
                <c:pt idx="1091">
                  <c:v>96.282432320735154</c:v>
                </c:pt>
                <c:pt idx="1092">
                  <c:v>96.282432320735154</c:v>
                </c:pt>
                <c:pt idx="1093">
                  <c:v>96.282432320735154</c:v>
                </c:pt>
                <c:pt idx="1094">
                  <c:v>96.282432320735154</c:v>
                </c:pt>
                <c:pt idx="1095">
                  <c:v>96.282432320735154</c:v>
                </c:pt>
                <c:pt idx="1096">
                  <c:v>96.282432320735154</c:v>
                </c:pt>
                <c:pt idx="1097">
                  <c:v>96.282432320735154</c:v>
                </c:pt>
                <c:pt idx="1098">
                  <c:v>96.282432320735154</c:v>
                </c:pt>
                <c:pt idx="1099">
                  <c:v>96.282432320735154</c:v>
                </c:pt>
                <c:pt idx="1100">
                  <c:v>96.282432320735154</c:v>
                </c:pt>
                <c:pt idx="1101">
                  <c:v>100.73077541035323</c:v>
                </c:pt>
                <c:pt idx="1102">
                  <c:v>100.60486194109029</c:v>
                </c:pt>
                <c:pt idx="1103">
                  <c:v>100.47910586366393</c:v>
                </c:pt>
                <c:pt idx="1104">
                  <c:v>100.47910586366393</c:v>
                </c:pt>
                <c:pt idx="1105">
                  <c:v>102.4094314154937</c:v>
                </c:pt>
                <c:pt idx="1106">
                  <c:v>102.28141962622433</c:v>
                </c:pt>
                <c:pt idx="1107">
                  <c:v>102.15356785169156</c:v>
                </c:pt>
                <c:pt idx="1108">
                  <c:v>102.3109720620869</c:v>
                </c:pt>
                <c:pt idx="1109">
                  <c:v>104.18671887171472</c:v>
                </c:pt>
                <c:pt idx="1110">
                  <c:v>104.26131210175249</c:v>
                </c:pt>
                <c:pt idx="1111">
                  <c:v>104.03151233149622</c:v>
                </c:pt>
                <c:pt idx="1112">
                  <c:v>104.03151233149622</c:v>
                </c:pt>
                <c:pt idx="1113">
                  <c:v>103.90147294108185</c:v>
                </c:pt>
                <c:pt idx="1114">
                  <c:v>103.90147294108185</c:v>
                </c:pt>
                <c:pt idx="1115">
                  <c:v>103.90147294108185</c:v>
                </c:pt>
                <c:pt idx="1116">
                  <c:v>103.90147294108185</c:v>
                </c:pt>
                <c:pt idx="1117">
                  <c:v>103.90147294108185</c:v>
                </c:pt>
                <c:pt idx="1118">
                  <c:v>103.90147294108185</c:v>
                </c:pt>
                <c:pt idx="1119">
                  <c:v>103.90147294108185</c:v>
                </c:pt>
                <c:pt idx="1120">
                  <c:v>103.90147294108185</c:v>
                </c:pt>
                <c:pt idx="1121">
                  <c:v>103.90147294108185</c:v>
                </c:pt>
                <c:pt idx="1122">
                  <c:v>103.90147294108185</c:v>
                </c:pt>
                <c:pt idx="1123">
                  <c:v>103.90147294108185</c:v>
                </c:pt>
                <c:pt idx="1124">
                  <c:v>103.90147294108185</c:v>
                </c:pt>
                <c:pt idx="1125">
                  <c:v>103.90147294108185</c:v>
                </c:pt>
                <c:pt idx="1126">
                  <c:v>103.90147294108185</c:v>
                </c:pt>
                <c:pt idx="1127">
                  <c:v>103.90147294108185</c:v>
                </c:pt>
                <c:pt idx="1128">
                  <c:v>103.90147294108185</c:v>
                </c:pt>
                <c:pt idx="1129">
                  <c:v>103.90147294108185</c:v>
                </c:pt>
                <c:pt idx="1130">
                  <c:v>103.90147294108185</c:v>
                </c:pt>
                <c:pt idx="1131">
                  <c:v>103.90147294108185</c:v>
                </c:pt>
                <c:pt idx="1132">
                  <c:v>103.90147294108185</c:v>
                </c:pt>
                <c:pt idx="1133">
                  <c:v>103.90147294108185</c:v>
                </c:pt>
                <c:pt idx="1134">
                  <c:v>103.90147294108185</c:v>
                </c:pt>
                <c:pt idx="1135">
                  <c:v>103.90147294108185</c:v>
                </c:pt>
                <c:pt idx="1136">
                  <c:v>103.90147294108185</c:v>
                </c:pt>
                <c:pt idx="1137">
                  <c:v>103.90147294108185</c:v>
                </c:pt>
                <c:pt idx="1138">
                  <c:v>103.90147294108185</c:v>
                </c:pt>
                <c:pt idx="1139">
                  <c:v>103.90147294108185</c:v>
                </c:pt>
                <c:pt idx="1140">
                  <c:v>103.90147294108185</c:v>
                </c:pt>
                <c:pt idx="1141">
                  <c:v>103.90147294108185</c:v>
                </c:pt>
                <c:pt idx="1142">
                  <c:v>103.90147294108185</c:v>
                </c:pt>
                <c:pt idx="1143">
                  <c:v>103.90147294108185</c:v>
                </c:pt>
                <c:pt idx="1144">
                  <c:v>103.90147294108185</c:v>
                </c:pt>
                <c:pt idx="1145">
                  <c:v>103.90147294108185</c:v>
                </c:pt>
                <c:pt idx="1146">
                  <c:v>103.90147294108185</c:v>
                </c:pt>
                <c:pt idx="1147">
                  <c:v>103.90147294108185</c:v>
                </c:pt>
                <c:pt idx="1148">
                  <c:v>103.90147294108185</c:v>
                </c:pt>
                <c:pt idx="1149">
                  <c:v>103.90147294108185</c:v>
                </c:pt>
                <c:pt idx="1150">
                  <c:v>103.90147294108185</c:v>
                </c:pt>
                <c:pt idx="1151">
                  <c:v>103.90147294108185</c:v>
                </c:pt>
                <c:pt idx="1152">
                  <c:v>103.90147294108185</c:v>
                </c:pt>
                <c:pt idx="1153">
                  <c:v>103.90147294108185</c:v>
                </c:pt>
                <c:pt idx="1154">
                  <c:v>103.90147294108185</c:v>
                </c:pt>
                <c:pt idx="1155">
                  <c:v>103.90147294108185</c:v>
                </c:pt>
                <c:pt idx="1156">
                  <c:v>103.90147294108185</c:v>
                </c:pt>
                <c:pt idx="1157">
                  <c:v>103.90147294108185</c:v>
                </c:pt>
                <c:pt idx="1158">
                  <c:v>103.90147294108185</c:v>
                </c:pt>
                <c:pt idx="1159">
                  <c:v>103.90147294108185</c:v>
                </c:pt>
                <c:pt idx="1160">
                  <c:v>103.90147294108185</c:v>
                </c:pt>
                <c:pt idx="1161">
                  <c:v>102.77662594899445</c:v>
                </c:pt>
                <c:pt idx="1162">
                  <c:v>107.91146287459618</c:v>
                </c:pt>
                <c:pt idx="1163">
                  <c:v>107.91146287459618</c:v>
                </c:pt>
                <c:pt idx="1164">
                  <c:v>108.82470644232079</c:v>
                </c:pt>
                <c:pt idx="1165">
                  <c:v>95.52940513391269</c:v>
                </c:pt>
                <c:pt idx="1166">
                  <c:v>95.52940513391269</c:v>
                </c:pt>
                <c:pt idx="1167">
                  <c:v>95.409993377495297</c:v>
                </c:pt>
                <c:pt idx="1168">
                  <c:v>95.409993377495297</c:v>
                </c:pt>
                <c:pt idx="1169">
                  <c:v>95.409993377495297</c:v>
                </c:pt>
                <c:pt idx="1170">
                  <c:v>95.409993377495297</c:v>
                </c:pt>
                <c:pt idx="1171">
                  <c:v>95.409993377495297</c:v>
                </c:pt>
                <c:pt idx="1172">
                  <c:v>95.409993377495297</c:v>
                </c:pt>
                <c:pt idx="1173">
                  <c:v>95.409993377495297</c:v>
                </c:pt>
                <c:pt idx="1174">
                  <c:v>95.409993377495297</c:v>
                </c:pt>
                <c:pt idx="1175">
                  <c:v>95.409993377495297</c:v>
                </c:pt>
                <c:pt idx="1176">
                  <c:v>95.409993377495297</c:v>
                </c:pt>
                <c:pt idx="1177">
                  <c:v>95.409993377495297</c:v>
                </c:pt>
                <c:pt idx="1178">
                  <c:v>95.409993377495297</c:v>
                </c:pt>
                <c:pt idx="1179">
                  <c:v>95.409993377495297</c:v>
                </c:pt>
                <c:pt idx="1180">
                  <c:v>95.409993377495297</c:v>
                </c:pt>
                <c:pt idx="1181">
                  <c:v>95.409993377495297</c:v>
                </c:pt>
                <c:pt idx="1182">
                  <c:v>95.409993377495297</c:v>
                </c:pt>
                <c:pt idx="1183">
                  <c:v>95.409993377495297</c:v>
                </c:pt>
                <c:pt idx="1184">
                  <c:v>95.409993377495297</c:v>
                </c:pt>
                <c:pt idx="1185">
                  <c:v>95.409993377495297</c:v>
                </c:pt>
                <c:pt idx="1186">
                  <c:v>95.409993377495297</c:v>
                </c:pt>
                <c:pt idx="1187">
                  <c:v>95.409993377495297</c:v>
                </c:pt>
                <c:pt idx="1188">
                  <c:v>95.409993377495297</c:v>
                </c:pt>
                <c:pt idx="1189">
                  <c:v>95.409993377495297</c:v>
                </c:pt>
                <c:pt idx="1190">
                  <c:v>95.409993377495297</c:v>
                </c:pt>
                <c:pt idx="1191">
                  <c:v>95.409993377495297</c:v>
                </c:pt>
                <c:pt idx="1192">
                  <c:v>95.409993377495297</c:v>
                </c:pt>
                <c:pt idx="1193">
                  <c:v>95.409993377495297</c:v>
                </c:pt>
                <c:pt idx="1194">
                  <c:v>95.409993377495297</c:v>
                </c:pt>
                <c:pt idx="1195">
                  <c:v>95.409993377495297</c:v>
                </c:pt>
                <c:pt idx="1196">
                  <c:v>95.409993377495297</c:v>
                </c:pt>
                <c:pt idx="1197">
                  <c:v>95.409993377495297</c:v>
                </c:pt>
                <c:pt idx="1198">
                  <c:v>95.409993377495297</c:v>
                </c:pt>
                <c:pt idx="1199">
                  <c:v>95.409993377495297</c:v>
                </c:pt>
                <c:pt idx="1200">
                  <c:v>95.409993377495297</c:v>
                </c:pt>
                <c:pt idx="1201">
                  <c:v>95.409993377495297</c:v>
                </c:pt>
                <c:pt idx="1202">
                  <c:v>95.409993377495297</c:v>
                </c:pt>
                <c:pt idx="1203">
                  <c:v>95.409993377495297</c:v>
                </c:pt>
                <c:pt idx="1204">
                  <c:v>95.409993377495297</c:v>
                </c:pt>
                <c:pt idx="1205">
                  <c:v>95.409993377495297</c:v>
                </c:pt>
                <c:pt idx="1206">
                  <c:v>95.409993377495297</c:v>
                </c:pt>
                <c:pt idx="1207">
                  <c:v>95.409993377495297</c:v>
                </c:pt>
                <c:pt idx="1208">
                  <c:v>95.409993377495297</c:v>
                </c:pt>
                <c:pt idx="1209">
                  <c:v>95.409993377495297</c:v>
                </c:pt>
                <c:pt idx="1210">
                  <c:v>95.409993377495297</c:v>
                </c:pt>
                <c:pt idx="1211">
                  <c:v>95.409993377495297</c:v>
                </c:pt>
                <c:pt idx="1212">
                  <c:v>95.409993377495297</c:v>
                </c:pt>
                <c:pt idx="1213">
                  <c:v>95.409993377495297</c:v>
                </c:pt>
                <c:pt idx="1214">
                  <c:v>95.409993377495297</c:v>
                </c:pt>
                <c:pt idx="1215">
                  <c:v>95.409993377495297</c:v>
                </c:pt>
                <c:pt idx="1216">
                  <c:v>95.409993377495297</c:v>
                </c:pt>
                <c:pt idx="1217">
                  <c:v>95.409993377495297</c:v>
                </c:pt>
                <c:pt idx="1218">
                  <c:v>95.409993377495297</c:v>
                </c:pt>
                <c:pt idx="1219">
                  <c:v>95.409993377495297</c:v>
                </c:pt>
                <c:pt idx="1220">
                  <c:v>95.409993377495297</c:v>
                </c:pt>
                <c:pt idx="1221">
                  <c:v>95.409993377495297</c:v>
                </c:pt>
                <c:pt idx="1222">
                  <c:v>95.409993377495297</c:v>
                </c:pt>
                <c:pt idx="1223">
                  <c:v>94.975529676427556</c:v>
                </c:pt>
                <c:pt idx="1224">
                  <c:v>95.974755800232344</c:v>
                </c:pt>
                <c:pt idx="1225">
                  <c:v>95.972266871628008</c:v>
                </c:pt>
                <c:pt idx="1226">
                  <c:v>95.972266871628008</c:v>
                </c:pt>
                <c:pt idx="1227">
                  <c:v>89.816222667342061</c:v>
                </c:pt>
                <c:pt idx="1228">
                  <c:v>90.613019548999631</c:v>
                </c:pt>
                <c:pt idx="1229">
                  <c:v>89.293739361095646</c:v>
                </c:pt>
                <c:pt idx="1230">
                  <c:v>89.478870625678169</c:v>
                </c:pt>
                <c:pt idx="1231">
                  <c:v>89.102492891905882</c:v>
                </c:pt>
                <c:pt idx="1232">
                  <c:v>86.845920432470038</c:v>
                </c:pt>
                <c:pt idx="1233">
                  <c:v>86.845920432470038</c:v>
                </c:pt>
                <c:pt idx="1234">
                  <c:v>95.88762426862273</c:v>
                </c:pt>
                <c:pt idx="1235">
                  <c:v>95.767764738286957</c:v>
                </c:pt>
                <c:pt idx="1236">
                  <c:v>95.648055032364098</c:v>
                </c:pt>
                <c:pt idx="1237">
                  <c:v>95.648055032364098</c:v>
                </c:pt>
                <c:pt idx="1238">
                  <c:v>95.648055032364098</c:v>
                </c:pt>
                <c:pt idx="1239">
                  <c:v>95.648055032364098</c:v>
                </c:pt>
                <c:pt idx="1240">
                  <c:v>95.648055032364098</c:v>
                </c:pt>
                <c:pt idx="1241">
                  <c:v>95.648055032364098</c:v>
                </c:pt>
                <c:pt idx="1242">
                  <c:v>95.648055032364098</c:v>
                </c:pt>
                <c:pt idx="1243">
                  <c:v>95.648055032364098</c:v>
                </c:pt>
                <c:pt idx="1244">
                  <c:v>95.648055032364098</c:v>
                </c:pt>
                <c:pt idx="1245">
                  <c:v>95.648055032364098</c:v>
                </c:pt>
                <c:pt idx="1246">
                  <c:v>95.648055032364098</c:v>
                </c:pt>
                <c:pt idx="1247">
                  <c:v>95.813524341399784</c:v>
                </c:pt>
                <c:pt idx="1248">
                  <c:v>95.693757435973041</c:v>
                </c:pt>
                <c:pt idx="1249">
                  <c:v>95.574140239178078</c:v>
                </c:pt>
                <c:pt idx="1250">
                  <c:v>95.574140239178078</c:v>
                </c:pt>
                <c:pt idx="1251">
                  <c:v>95.574140239178078</c:v>
                </c:pt>
                <c:pt idx="1252">
                  <c:v>95.574140239178078</c:v>
                </c:pt>
                <c:pt idx="1253">
                  <c:v>95.574140239178078</c:v>
                </c:pt>
                <c:pt idx="1254">
                  <c:v>95.574140239178078</c:v>
                </c:pt>
                <c:pt idx="1255">
                  <c:v>95.574140239178078</c:v>
                </c:pt>
                <c:pt idx="1256">
                  <c:v>95.574140239178078</c:v>
                </c:pt>
                <c:pt idx="1257">
                  <c:v>95.574140239178078</c:v>
                </c:pt>
                <c:pt idx="1258">
                  <c:v>95.574140239178078</c:v>
                </c:pt>
                <c:pt idx="1259">
                  <c:v>95.574140239178078</c:v>
                </c:pt>
                <c:pt idx="1260">
                  <c:v>95.574140239178078</c:v>
                </c:pt>
                <c:pt idx="1261">
                  <c:v>95.574140239178078</c:v>
                </c:pt>
                <c:pt idx="1262">
                  <c:v>95.574140239178078</c:v>
                </c:pt>
                <c:pt idx="1263">
                  <c:v>95.574140239178078</c:v>
                </c:pt>
                <c:pt idx="1264">
                  <c:v>95.574140239178078</c:v>
                </c:pt>
                <c:pt idx="1265">
                  <c:v>95.574140239178078</c:v>
                </c:pt>
                <c:pt idx="1266">
                  <c:v>95.574140239178078</c:v>
                </c:pt>
                <c:pt idx="1267">
                  <c:v>95.574140239178078</c:v>
                </c:pt>
                <c:pt idx="1268">
                  <c:v>95.574140239178078</c:v>
                </c:pt>
                <c:pt idx="1269">
                  <c:v>95.574140239178078</c:v>
                </c:pt>
                <c:pt idx="1270">
                  <c:v>95.574140239178078</c:v>
                </c:pt>
                <c:pt idx="1271">
                  <c:v>95.574140239178078</c:v>
                </c:pt>
                <c:pt idx="1272">
                  <c:v>95.574140239178078</c:v>
                </c:pt>
                <c:pt idx="1273">
                  <c:v>95.574140239178078</c:v>
                </c:pt>
                <c:pt idx="1274">
                  <c:v>95.574140239178078</c:v>
                </c:pt>
                <c:pt idx="1275">
                  <c:v>95.574140239178078</c:v>
                </c:pt>
                <c:pt idx="1276">
                  <c:v>95.574140239178078</c:v>
                </c:pt>
                <c:pt idx="1277">
                  <c:v>95.574140239178078</c:v>
                </c:pt>
                <c:pt idx="1278">
                  <c:v>95.574140239178078</c:v>
                </c:pt>
                <c:pt idx="1279">
                  <c:v>95.574140239178078</c:v>
                </c:pt>
                <c:pt idx="1280">
                  <c:v>95.574140239178078</c:v>
                </c:pt>
                <c:pt idx="1281">
                  <c:v>95.574140239178078</c:v>
                </c:pt>
                <c:pt idx="1282">
                  <c:v>95.574140239178078</c:v>
                </c:pt>
                <c:pt idx="1283">
                  <c:v>95.574140239178078</c:v>
                </c:pt>
                <c:pt idx="1284">
                  <c:v>95.574140239178078</c:v>
                </c:pt>
                <c:pt idx="1285">
                  <c:v>95.574140239178078</c:v>
                </c:pt>
                <c:pt idx="1286">
                  <c:v>95.574140239178078</c:v>
                </c:pt>
                <c:pt idx="1287">
                  <c:v>95.574140239178078</c:v>
                </c:pt>
                <c:pt idx="1288">
                  <c:v>95.574140239178078</c:v>
                </c:pt>
                <c:pt idx="1289">
                  <c:v>95.574140239178078</c:v>
                </c:pt>
                <c:pt idx="1290">
                  <c:v>95.574140239178078</c:v>
                </c:pt>
                <c:pt idx="1291">
                  <c:v>95.574140239178078</c:v>
                </c:pt>
                <c:pt idx="1292">
                  <c:v>95.574140239178078</c:v>
                </c:pt>
                <c:pt idx="1293">
                  <c:v>95.574140239178078</c:v>
                </c:pt>
                <c:pt idx="1294">
                  <c:v>95.574140239178078</c:v>
                </c:pt>
                <c:pt idx="1295">
                  <c:v>95.574140239178078</c:v>
                </c:pt>
                <c:pt idx="1296">
                  <c:v>95.574140239178078</c:v>
                </c:pt>
                <c:pt idx="1297">
                  <c:v>95.574140239178078</c:v>
                </c:pt>
                <c:pt idx="1298">
                  <c:v>95.574140239178078</c:v>
                </c:pt>
                <c:pt idx="1299">
                  <c:v>95.574140239178078</c:v>
                </c:pt>
                <c:pt idx="1300">
                  <c:v>95.574140239178078</c:v>
                </c:pt>
                <c:pt idx="1301">
                  <c:v>95.574140239178078</c:v>
                </c:pt>
                <c:pt idx="1302">
                  <c:v>95.574140239178078</c:v>
                </c:pt>
                <c:pt idx="1303">
                  <c:v>95.574140239178078</c:v>
                </c:pt>
                <c:pt idx="1304">
                  <c:v>95.574140239178078</c:v>
                </c:pt>
                <c:pt idx="1305">
                  <c:v>95.574140239178078</c:v>
                </c:pt>
                <c:pt idx="1306">
                  <c:v>95.574140239178078</c:v>
                </c:pt>
                <c:pt idx="1307">
                  <c:v>95.574140239178078</c:v>
                </c:pt>
                <c:pt idx="1308">
                  <c:v>95.574140239178078</c:v>
                </c:pt>
                <c:pt idx="1309">
                  <c:v>95.574140239178078</c:v>
                </c:pt>
                <c:pt idx="1310">
                  <c:v>95.574140239178078</c:v>
                </c:pt>
                <c:pt idx="1311">
                  <c:v>95.574140239178078</c:v>
                </c:pt>
                <c:pt idx="1312">
                  <c:v>96.848084556342869</c:v>
                </c:pt>
                <c:pt idx="1313">
                  <c:v>105.6290588374636</c:v>
                </c:pt>
                <c:pt idx="1314">
                  <c:v>105.6290588374636</c:v>
                </c:pt>
                <c:pt idx="1315">
                  <c:v>105.49702251391678</c:v>
                </c:pt>
                <c:pt idx="1316">
                  <c:v>105.49702251391678</c:v>
                </c:pt>
                <c:pt idx="1317">
                  <c:v>105.49702251391678</c:v>
                </c:pt>
                <c:pt idx="1318">
                  <c:v>105.49702251391678</c:v>
                </c:pt>
                <c:pt idx="1319">
                  <c:v>105.49702251391678</c:v>
                </c:pt>
                <c:pt idx="1320">
                  <c:v>105.49702251391678</c:v>
                </c:pt>
                <c:pt idx="1321">
                  <c:v>105.49702251391678</c:v>
                </c:pt>
                <c:pt idx="1322">
                  <c:v>105.49702251391678</c:v>
                </c:pt>
                <c:pt idx="1323">
                  <c:v>105.49702251391678</c:v>
                </c:pt>
                <c:pt idx="1324">
                  <c:v>105.49702251391678</c:v>
                </c:pt>
                <c:pt idx="1325">
                  <c:v>105.49702251391678</c:v>
                </c:pt>
                <c:pt idx="1326">
                  <c:v>105.49702251391678</c:v>
                </c:pt>
                <c:pt idx="1327">
                  <c:v>105.49702251391678</c:v>
                </c:pt>
                <c:pt idx="1328">
                  <c:v>105.49702251391678</c:v>
                </c:pt>
                <c:pt idx="1329">
                  <c:v>105.49702251391678</c:v>
                </c:pt>
                <c:pt idx="1330">
                  <c:v>105.49702251391678</c:v>
                </c:pt>
                <c:pt idx="1331">
                  <c:v>105.49702251391678</c:v>
                </c:pt>
                <c:pt idx="1332">
                  <c:v>105.49702251391678</c:v>
                </c:pt>
                <c:pt idx="1333">
                  <c:v>105.49702251391678</c:v>
                </c:pt>
                <c:pt idx="1334">
                  <c:v>105.49702251391678</c:v>
                </c:pt>
                <c:pt idx="1335">
                  <c:v>105.49702251391678</c:v>
                </c:pt>
                <c:pt idx="1336">
                  <c:v>105.49702251391678</c:v>
                </c:pt>
                <c:pt idx="1337">
                  <c:v>105.49702251391678</c:v>
                </c:pt>
                <c:pt idx="1338">
                  <c:v>105.49702251391678</c:v>
                </c:pt>
                <c:pt idx="1339">
                  <c:v>105.49702251391678</c:v>
                </c:pt>
                <c:pt idx="1340">
                  <c:v>105.49702251391678</c:v>
                </c:pt>
                <c:pt idx="1341">
                  <c:v>105.49702251391678</c:v>
                </c:pt>
                <c:pt idx="1342">
                  <c:v>105.49702251391678</c:v>
                </c:pt>
                <c:pt idx="1343">
                  <c:v>105.49702251391678</c:v>
                </c:pt>
                <c:pt idx="1344">
                  <c:v>105.49702251391678</c:v>
                </c:pt>
                <c:pt idx="1345">
                  <c:v>105.49702251391678</c:v>
                </c:pt>
                <c:pt idx="1346">
                  <c:v>105.49702251391678</c:v>
                </c:pt>
                <c:pt idx="1347">
                  <c:v>105.49702251391678</c:v>
                </c:pt>
                <c:pt idx="1348">
                  <c:v>105.49702251391678</c:v>
                </c:pt>
                <c:pt idx="1349">
                  <c:v>105.49702251391678</c:v>
                </c:pt>
                <c:pt idx="1350">
                  <c:v>105.49702251391678</c:v>
                </c:pt>
                <c:pt idx="1351">
                  <c:v>105.49702251391678</c:v>
                </c:pt>
                <c:pt idx="1352">
                  <c:v>105.49702251391678</c:v>
                </c:pt>
                <c:pt idx="1353">
                  <c:v>105.49702251391678</c:v>
                </c:pt>
                <c:pt idx="1354">
                  <c:v>105.49702251391678</c:v>
                </c:pt>
                <c:pt idx="1355">
                  <c:v>105.49702251391678</c:v>
                </c:pt>
                <c:pt idx="1356">
                  <c:v>105.49702251391678</c:v>
                </c:pt>
                <c:pt idx="1357">
                  <c:v>105.49702251391678</c:v>
                </c:pt>
                <c:pt idx="1358">
                  <c:v>105.49702251391678</c:v>
                </c:pt>
                <c:pt idx="1359">
                  <c:v>105.49702251391678</c:v>
                </c:pt>
                <c:pt idx="1360">
                  <c:v>105.49702251391678</c:v>
                </c:pt>
                <c:pt idx="1361">
                  <c:v>105.49702251391678</c:v>
                </c:pt>
                <c:pt idx="1362">
                  <c:v>105.49702251391678</c:v>
                </c:pt>
                <c:pt idx="1363">
                  <c:v>105.49702251391678</c:v>
                </c:pt>
                <c:pt idx="1364">
                  <c:v>105.49702251391678</c:v>
                </c:pt>
                <c:pt idx="1365">
                  <c:v>105.49702251391678</c:v>
                </c:pt>
                <c:pt idx="1366">
                  <c:v>105.49702251391678</c:v>
                </c:pt>
                <c:pt idx="1367">
                  <c:v>105.49702251391678</c:v>
                </c:pt>
                <c:pt idx="1368">
                  <c:v>105.49702251391678</c:v>
                </c:pt>
                <c:pt idx="1369">
                  <c:v>105.49702251391678</c:v>
                </c:pt>
                <c:pt idx="1370">
                  <c:v>105.49702251391678</c:v>
                </c:pt>
                <c:pt idx="1371">
                  <c:v>105.49702251391678</c:v>
                </c:pt>
                <c:pt idx="1372">
                  <c:v>110.45276809046787</c:v>
                </c:pt>
                <c:pt idx="1373">
                  <c:v>105.68990772450287</c:v>
                </c:pt>
                <c:pt idx="1374">
                  <c:v>105.68990772450287</c:v>
                </c:pt>
                <c:pt idx="1375">
                  <c:v>105.55779533984725</c:v>
                </c:pt>
                <c:pt idx="1376">
                  <c:v>104.53622533994339</c:v>
                </c:pt>
                <c:pt idx="1377">
                  <c:v>105.92797350166703</c:v>
                </c:pt>
                <c:pt idx="1378">
                  <c:v>105.92797350166703</c:v>
                </c:pt>
                <c:pt idx="1379">
                  <c:v>105.79556353478995</c:v>
                </c:pt>
                <c:pt idx="1380">
                  <c:v>105.79556353478995</c:v>
                </c:pt>
                <c:pt idx="1381">
                  <c:v>105.79556353478995</c:v>
                </c:pt>
                <c:pt idx="1382">
                  <c:v>105.79556353478995</c:v>
                </c:pt>
                <c:pt idx="1383">
                  <c:v>105.79556353478995</c:v>
                </c:pt>
                <c:pt idx="1384">
                  <c:v>105.79556353478995</c:v>
                </c:pt>
                <c:pt idx="1385">
                  <c:v>105.79556353478995</c:v>
                </c:pt>
                <c:pt idx="1386">
                  <c:v>105.79556353478995</c:v>
                </c:pt>
                <c:pt idx="1387">
                  <c:v>105.79556353478995</c:v>
                </c:pt>
                <c:pt idx="1388">
                  <c:v>105.79556353478995</c:v>
                </c:pt>
                <c:pt idx="1389">
                  <c:v>105.79556353478995</c:v>
                </c:pt>
                <c:pt idx="1390">
                  <c:v>104.22578378616298</c:v>
                </c:pt>
                <c:pt idx="1391">
                  <c:v>102.99267137497726</c:v>
                </c:pt>
                <c:pt idx="1392">
                  <c:v>105.84945846122237</c:v>
                </c:pt>
                <c:pt idx="1393">
                  <c:v>102.1929776454709</c:v>
                </c:pt>
                <c:pt idx="1394">
                  <c:v>100.59200421169751</c:v>
                </c:pt>
                <c:pt idx="1395">
                  <c:v>100.59200421169751</c:v>
                </c:pt>
                <c:pt idx="1396">
                  <c:v>100.4662642064329</c:v>
                </c:pt>
                <c:pt idx="1397">
                  <c:v>100.4662642064329</c:v>
                </c:pt>
                <c:pt idx="1398">
                  <c:v>100.4662642064329</c:v>
                </c:pt>
                <c:pt idx="1399">
                  <c:v>100.4662642064329</c:v>
                </c:pt>
                <c:pt idx="1400">
                  <c:v>100.4662642064329</c:v>
                </c:pt>
                <c:pt idx="1401">
                  <c:v>100.4662642064329</c:v>
                </c:pt>
                <c:pt idx="1402">
                  <c:v>100.4662642064329</c:v>
                </c:pt>
                <c:pt idx="1403">
                  <c:v>100.4662642064329</c:v>
                </c:pt>
                <c:pt idx="1404">
                  <c:v>100.4662642064329</c:v>
                </c:pt>
                <c:pt idx="1405">
                  <c:v>100.4662642064329</c:v>
                </c:pt>
                <c:pt idx="1406">
                  <c:v>100.4662642064329</c:v>
                </c:pt>
                <c:pt idx="1407">
                  <c:v>100.4662642064329</c:v>
                </c:pt>
                <c:pt idx="1408">
                  <c:v>100.4662642064329</c:v>
                </c:pt>
                <c:pt idx="1409">
                  <c:v>100.4662642064329</c:v>
                </c:pt>
                <c:pt idx="1410">
                  <c:v>100.4662642064329</c:v>
                </c:pt>
                <c:pt idx="1411">
                  <c:v>100.4662642064329</c:v>
                </c:pt>
                <c:pt idx="1412">
                  <c:v>100.4662642064329</c:v>
                </c:pt>
                <c:pt idx="1413">
                  <c:v>100.4662642064329</c:v>
                </c:pt>
                <c:pt idx="1414">
                  <c:v>100.4662642064329</c:v>
                </c:pt>
                <c:pt idx="1415">
                  <c:v>100.4662642064329</c:v>
                </c:pt>
                <c:pt idx="1416">
                  <c:v>100.4662642064329</c:v>
                </c:pt>
                <c:pt idx="1417">
                  <c:v>100.4662642064329</c:v>
                </c:pt>
                <c:pt idx="1418">
                  <c:v>100.4662642064329</c:v>
                </c:pt>
                <c:pt idx="1419">
                  <c:v>100.4662642064329</c:v>
                </c:pt>
                <c:pt idx="1420">
                  <c:v>100.4662642064329</c:v>
                </c:pt>
                <c:pt idx="1421">
                  <c:v>100.4662642064329</c:v>
                </c:pt>
                <c:pt idx="1422">
                  <c:v>100.4662642064329</c:v>
                </c:pt>
                <c:pt idx="1423">
                  <c:v>100.4662642064329</c:v>
                </c:pt>
                <c:pt idx="1424">
                  <c:v>100.4662642064329</c:v>
                </c:pt>
                <c:pt idx="1425">
                  <c:v>100.4662642064329</c:v>
                </c:pt>
                <c:pt idx="1426">
                  <c:v>100.4662642064329</c:v>
                </c:pt>
                <c:pt idx="1427">
                  <c:v>100.4662642064329</c:v>
                </c:pt>
                <c:pt idx="1428">
                  <c:v>100.4662642064329</c:v>
                </c:pt>
                <c:pt idx="1429">
                  <c:v>100.4662642064329</c:v>
                </c:pt>
                <c:pt idx="1430">
                  <c:v>100.4662642064329</c:v>
                </c:pt>
                <c:pt idx="1431">
                  <c:v>100.4662642064329</c:v>
                </c:pt>
                <c:pt idx="1432">
                  <c:v>100.4662642064329</c:v>
                </c:pt>
                <c:pt idx="1433">
                  <c:v>100.4662642064329</c:v>
                </c:pt>
                <c:pt idx="1434">
                  <c:v>100.4662642064329</c:v>
                </c:pt>
                <c:pt idx="1435">
                  <c:v>100.4662642064329</c:v>
                </c:pt>
                <c:pt idx="1436">
                  <c:v>100.4662642064329</c:v>
                </c:pt>
                <c:pt idx="1437">
                  <c:v>100.4662642064329</c:v>
                </c:pt>
                <c:pt idx="1438">
                  <c:v>100.4662642064329</c:v>
                </c:pt>
                <c:pt idx="1439">
                  <c:v>100.4662642064329</c:v>
                </c:pt>
                <c:pt idx="1440">
                  <c:v>100.4662642064329</c:v>
                </c:pt>
                <c:pt idx="1441">
                  <c:v>100.4662642064329</c:v>
                </c:pt>
                <c:pt idx="1442">
                  <c:v>100.4662642064329</c:v>
                </c:pt>
                <c:pt idx="1443">
                  <c:v>102.67838327172122</c:v>
                </c:pt>
                <c:pt idx="1444">
                  <c:v>102.55003529263156</c:v>
                </c:pt>
                <c:pt idx="1445">
                  <c:v>102.12056300646722</c:v>
                </c:pt>
                <c:pt idx="1446">
                  <c:v>104.98373599086281</c:v>
                </c:pt>
                <c:pt idx="1447">
                  <c:v>104.98373599086281</c:v>
                </c:pt>
                <c:pt idx="1448">
                  <c:v>104.85250632087424</c:v>
                </c:pt>
                <c:pt idx="1449">
                  <c:v>104.85250632087424</c:v>
                </c:pt>
                <c:pt idx="1450">
                  <c:v>104.85250632087424</c:v>
                </c:pt>
                <c:pt idx="1451">
                  <c:v>104.85250632087424</c:v>
                </c:pt>
                <c:pt idx="1452">
                  <c:v>104.23631360690663</c:v>
                </c:pt>
                <c:pt idx="1453">
                  <c:v>104.106018214898</c:v>
                </c:pt>
                <c:pt idx="1454">
                  <c:v>103.73829734771287</c:v>
                </c:pt>
                <c:pt idx="1455">
                  <c:v>103.60862447602824</c:v>
                </c:pt>
                <c:pt idx="1456">
                  <c:v>103.47911369543321</c:v>
                </c:pt>
                <c:pt idx="1457">
                  <c:v>103.55358156016338</c:v>
                </c:pt>
                <c:pt idx="1458">
                  <c:v>103.42413958321318</c:v>
                </c:pt>
                <c:pt idx="1459">
                  <c:v>103.29485940873417</c:v>
                </c:pt>
                <c:pt idx="1460">
                  <c:v>103.29485940873417</c:v>
                </c:pt>
                <c:pt idx="1461">
                  <c:v>103.29485940873417</c:v>
                </c:pt>
                <c:pt idx="1462">
                  <c:v>103.29485940873417</c:v>
                </c:pt>
                <c:pt idx="1463">
                  <c:v>103.29485940873417</c:v>
                </c:pt>
                <c:pt idx="1464">
                  <c:v>103.29485940873417</c:v>
                </c:pt>
                <c:pt idx="1465">
                  <c:v>103.29485940873417</c:v>
                </c:pt>
                <c:pt idx="1466">
                  <c:v>102.07544276554449</c:v>
                </c:pt>
                <c:pt idx="1467">
                  <c:v>101.94784846208756</c:v>
                </c:pt>
                <c:pt idx="1468">
                  <c:v>101.82041365150995</c:v>
                </c:pt>
                <c:pt idx="1469">
                  <c:v>101.82041365150995</c:v>
                </c:pt>
                <c:pt idx="1470">
                  <c:v>101.82041365150995</c:v>
                </c:pt>
                <c:pt idx="1471">
                  <c:v>101.82041365150995</c:v>
                </c:pt>
                <c:pt idx="1472">
                  <c:v>104.31236889857779</c:v>
                </c:pt>
                <c:pt idx="1473">
                  <c:v>104.18197843745457</c:v>
                </c:pt>
                <c:pt idx="1474">
                  <c:v>104.05175096440776</c:v>
                </c:pt>
                <c:pt idx="1475">
                  <c:v>105.48415655253844</c:v>
                </c:pt>
                <c:pt idx="1476">
                  <c:v>105.35230135684776</c:v>
                </c:pt>
                <c:pt idx="1477">
                  <c:v>105.2206109801517</c:v>
                </c:pt>
                <c:pt idx="1478">
                  <c:v>105.2206109801517</c:v>
                </c:pt>
                <c:pt idx="1479">
                  <c:v>105.2206109801517</c:v>
                </c:pt>
                <c:pt idx="1480">
                  <c:v>105.2206109801517</c:v>
                </c:pt>
                <c:pt idx="1481">
                  <c:v>105.2206109801517</c:v>
                </c:pt>
                <c:pt idx="1482">
                  <c:v>105.2206109801517</c:v>
                </c:pt>
                <c:pt idx="1483">
                  <c:v>105.2206109801517</c:v>
                </c:pt>
                <c:pt idx="1484">
                  <c:v>105.2206109801517</c:v>
                </c:pt>
                <c:pt idx="1485">
                  <c:v>105.2206109801517</c:v>
                </c:pt>
                <c:pt idx="1486">
                  <c:v>105.2206109801517</c:v>
                </c:pt>
                <c:pt idx="1487">
                  <c:v>105.2206109801517</c:v>
                </c:pt>
                <c:pt idx="1488">
                  <c:v>105.2206109801517</c:v>
                </c:pt>
                <c:pt idx="1489">
                  <c:v>105.2206109801517</c:v>
                </c:pt>
                <c:pt idx="1490">
                  <c:v>105.2206109801517</c:v>
                </c:pt>
                <c:pt idx="1491">
                  <c:v>105.2206109801517</c:v>
                </c:pt>
                <c:pt idx="1492">
                  <c:v>105.2206109801517</c:v>
                </c:pt>
                <c:pt idx="1493">
                  <c:v>105.2206109801517</c:v>
                </c:pt>
                <c:pt idx="1494">
                  <c:v>105.2206109801517</c:v>
                </c:pt>
                <c:pt idx="1495">
                  <c:v>105.2206109801517</c:v>
                </c:pt>
                <c:pt idx="1496">
                  <c:v>105.2206109801517</c:v>
                </c:pt>
                <c:pt idx="1497">
                  <c:v>105.2206109801517</c:v>
                </c:pt>
                <c:pt idx="1498">
                  <c:v>105.2206109801517</c:v>
                </c:pt>
                <c:pt idx="1499">
                  <c:v>105.2206109801517</c:v>
                </c:pt>
                <c:pt idx="1500">
                  <c:v>105.2206109801517</c:v>
                </c:pt>
                <c:pt idx="1501">
                  <c:v>105.2206109801517</c:v>
                </c:pt>
                <c:pt idx="1502">
                  <c:v>105.2206109801517</c:v>
                </c:pt>
                <c:pt idx="1503">
                  <c:v>105.2206109801517</c:v>
                </c:pt>
                <c:pt idx="1504">
                  <c:v>105.2206109801517</c:v>
                </c:pt>
                <c:pt idx="1505">
                  <c:v>105.2206109801517</c:v>
                </c:pt>
                <c:pt idx="1506">
                  <c:v>105.2206109801517</c:v>
                </c:pt>
                <c:pt idx="1507">
                  <c:v>105.2206109801517</c:v>
                </c:pt>
                <c:pt idx="1508">
                  <c:v>105.2206109801517</c:v>
                </c:pt>
                <c:pt idx="1509">
                  <c:v>105.2206109801517</c:v>
                </c:pt>
                <c:pt idx="1510">
                  <c:v>105.2206109801517</c:v>
                </c:pt>
                <c:pt idx="1511">
                  <c:v>105.2206109801517</c:v>
                </c:pt>
                <c:pt idx="1512">
                  <c:v>105.2206109801517</c:v>
                </c:pt>
                <c:pt idx="1513">
                  <c:v>105.2206109801517</c:v>
                </c:pt>
                <c:pt idx="1514">
                  <c:v>105.2206109801517</c:v>
                </c:pt>
                <c:pt idx="1515">
                  <c:v>105.2206109801517</c:v>
                </c:pt>
                <c:pt idx="1516">
                  <c:v>105.2206109801517</c:v>
                </c:pt>
                <c:pt idx="1517">
                  <c:v>105.2206109801517</c:v>
                </c:pt>
                <c:pt idx="1518">
                  <c:v>105.2206109801517</c:v>
                </c:pt>
                <c:pt idx="1519">
                  <c:v>105.2206109801517</c:v>
                </c:pt>
                <c:pt idx="1520">
                  <c:v>105.2206109801517</c:v>
                </c:pt>
                <c:pt idx="1521">
                  <c:v>105.2206109801517</c:v>
                </c:pt>
                <c:pt idx="1522">
                  <c:v>105.2206109801517</c:v>
                </c:pt>
                <c:pt idx="1523">
                  <c:v>105.2206109801517</c:v>
                </c:pt>
                <c:pt idx="1524">
                  <c:v>105.2206109801517</c:v>
                </c:pt>
                <c:pt idx="1525">
                  <c:v>105.2206109801517</c:v>
                </c:pt>
                <c:pt idx="1526">
                  <c:v>105.2206109801517</c:v>
                </c:pt>
                <c:pt idx="1527">
                  <c:v>105.2206109801517</c:v>
                </c:pt>
                <c:pt idx="1528">
                  <c:v>105.2206109801517</c:v>
                </c:pt>
                <c:pt idx="1529">
                  <c:v>105.2206109801517</c:v>
                </c:pt>
                <c:pt idx="1530">
                  <c:v>105.2206109801517</c:v>
                </c:pt>
                <c:pt idx="1531">
                  <c:v>105.2206109801517</c:v>
                </c:pt>
                <c:pt idx="1532">
                  <c:v>105.2206109801517</c:v>
                </c:pt>
                <c:pt idx="1533">
                  <c:v>105.2206109801517</c:v>
                </c:pt>
                <c:pt idx="1534">
                  <c:v>105.2206109801517</c:v>
                </c:pt>
                <c:pt idx="1535">
                  <c:v>105.2206109801517</c:v>
                </c:pt>
                <c:pt idx="1536">
                  <c:v>105.2206109801517</c:v>
                </c:pt>
                <c:pt idx="1537">
                  <c:v>105.2206109801517</c:v>
                </c:pt>
                <c:pt idx="1538">
                  <c:v>105.2206109801517</c:v>
                </c:pt>
                <c:pt idx="1539">
                  <c:v>105.2206109801517</c:v>
                </c:pt>
                <c:pt idx="1540">
                  <c:v>105.2206109801517</c:v>
                </c:pt>
                <c:pt idx="1541">
                  <c:v>105.2206109801517</c:v>
                </c:pt>
                <c:pt idx="1542">
                  <c:v>105.2206109801517</c:v>
                </c:pt>
                <c:pt idx="1543">
                  <c:v>105.2206109801517</c:v>
                </c:pt>
                <c:pt idx="1544">
                  <c:v>105.2206109801517</c:v>
                </c:pt>
                <c:pt idx="1545">
                  <c:v>105.2206109801517</c:v>
                </c:pt>
                <c:pt idx="1546">
                  <c:v>105.2206109801517</c:v>
                </c:pt>
                <c:pt idx="1547">
                  <c:v>105.2206109801517</c:v>
                </c:pt>
                <c:pt idx="1548">
                  <c:v>105.2206109801517</c:v>
                </c:pt>
                <c:pt idx="1549">
                  <c:v>105.2206109801517</c:v>
                </c:pt>
                <c:pt idx="1550">
                  <c:v>105.2206109801517</c:v>
                </c:pt>
                <c:pt idx="1551">
                  <c:v>105.2206109801517</c:v>
                </c:pt>
                <c:pt idx="1552">
                  <c:v>105.2206109801517</c:v>
                </c:pt>
                <c:pt idx="1553">
                  <c:v>105.2206109801517</c:v>
                </c:pt>
                <c:pt idx="1554">
                  <c:v>105.2206109801517</c:v>
                </c:pt>
                <c:pt idx="1555">
                  <c:v>105.2206109801517</c:v>
                </c:pt>
                <c:pt idx="1556">
                  <c:v>105.2206109801517</c:v>
                </c:pt>
                <c:pt idx="1557">
                  <c:v>105.2206109801517</c:v>
                </c:pt>
                <c:pt idx="1558">
                  <c:v>105.2206109801517</c:v>
                </c:pt>
                <c:pt idx="1559">
                  <c:v>105.2206109801517</c:v>
                </c:pt>
                <c:pt idx="1560">
                  <c:v>105.2206109801517</c:v>
                </c:pt>
                <c:pt idx="1561">
                  <c:v>105.2206109801517</c:v>
                </c:pt>
                <c:pt idx="1562">
                  <c:v>105.2206109801517</c:v>
                </c:pt>
                <c:pt idx="1563">
                  <c:v>105.2206109801517</c:v>
                </c:pt>
                <c:pt idx="1564">
                  <c:v>105.2206109801517</c:v>
                </c:pt>
                <c:pt idx="1565">
                  <c:v>105.2206109801517</c:v>
                </c:pt>
                <c:pt idx="1566">
                  <c:v>105.2206109801517</c:v>
                </c:pt>
                <c:pt idx="1567">
                  <c:v>105.2206109801517</c:v>
                </c:pt>
                <c:pt idx="1568">
                  <c:v>105.2206109801517</c:v>
                </c:pt>
                <c:pt idx="1569">
                  <c:v>105.2206109801517</c:v>
                </c:pt>
                <c:pt idx="1570">
                  <c:v>105.2206109801517</c:v>
                </c:pt>
                <c:pt idx="1571">
                  <c:v>105.2206109801517</c:v>
                </c:pt>
                <c:pt idx="1572">
                  <c:v>105.2206109801517</c:v>
                </c:pt>
                <c:pt idx="1573">
                  <c:v>105.2206109801517</c:v>
                </c:pt>
                <c:pt idx="1574">
                  <c:v>105.2206109801517</c:v>
                </c:pt>
                <c:pt idx="1575">
                  <c:v>105.2206109801517</c:v>
                </c:pt>
                <c:pt idx="1576">
                  <c:v>105.2206109801517</c:v>
                </c:pt>
                <c:pt idx="1577">
                  <c:v>105.2206109801517</c:v>
                </c:pt>
                <c:pt idx="1578">
                  <c:v>105.2206109801517</c:v>
                </c:pt>
                <c:pt idx="1579">
                  <c:v>105.2206109801517</c:v>
                </c:pt>
                <c:pt idx="1580">
                  <c:v>105.2206109801517</c:v>
                </c:pt>
                <c:pt idx="1581">
                  <c:v>105.2206109801517</c:v>
                </c:pt>
                <c:pt idx="1582">
                  <c:v>105.2206109801517</c:v>
                </c:pt>
                <c:pt idx="1583">
                  <c:v>105.2206109801517</c:v>
                </c:pt>
                <c:pt idx="1584">
                  <c:v>105.2206109801517</c:v>
                </c:pt>
                <c:pt idx="1585">
                  <c:v>105.2206109801517</c:v>
                </c:pt>
                <c:pt idx="1586">
                  <c:v>105.2206109801517</c:v>
                </c:pt>
                <c:pt idx="1587">
                  <c:v>105.2206109801517</c:v>
                </c:pt>
                <c:pt idx="1588">
                  <c:v>105.2206109801517</c:v>
                </c:pt>
                <c:pt idx="1589">
                  <c:v>103.05250678356111</c:v>
                </c:pt>
                <c:pt idx="1590">
                  <c:v>102.19824596853591</c:v>
                </c:pt>
                <c:pt idx="1591">
                  <c:v>99.91159314420959</c:v>
                </c:pt>
                <c:pt idx="1592">
                  <c:v>102.58898663204315</c:v>
                </c:pt>
                <c:pt idx="1593">
                  <c:v>99.230340525127872</c:v>
                </c:pt>
                <c:pt idx="1594">
                  <c:v>100.68554668624928</c:v>
                </c:pt>
                <c:pt idx="1595">
                  <c:v>100.05561782011011</c:v>
                </c:pt>
                <c:pt idx="1596">
                  <c:v>97.651334537330484</c:v>
                </c:pt>
                <c:pt idx="1597">
                  <c:v>96.071863924285395</c:v>
                </c:pt>
                <c:pt idx="1598">
                  <c:v>93.421655801908003</c:v>
                </c:pt>
                <c:pt idx="1599">
                  <c:v>93.421655801908003</c:v>
                </c:pt>
                <c:pt idx="1600">
                  <c:v>93.304878732155615</c:v>
                </c:pt>
                <c:pt idx="1601">
                  <c:v>93.304878732155615</c:v>
                </c:pt>
                <c:pt idx="1602">
                  <c:v>93.304878732155615</c:v>
                </c:pt>
                <c:pt idx="1603">
                  <c:v>93.304878732155615</c:v>
                </c:pt>
                <c:pt idx="1604">
                  <c:v>93.304878732155615</c:v>
                </c:pt>
                <c:pt idx="1605">
                  <c:v>93.304878732155615</c:v>
                </c:pt>
                <c:pt idx="1606">
                  <c:v>93.304878732155615</c:v>
                </c:pt>
                <c:pt idx="1607">
                  <c:v>93.304878732155615</c:v>
                </c:pt>
                <c:pt idx="1608">
                  <c:v>93.304878732155615</c:v>
                </c:pt>
                <c:pt idx="1609">
                  <c:v>93.304878732155615</c:v>
                </c:pt>
                <c:pt idx="1610">
                  <c:v>93.304878732155615</c:v>
                </c:pt>
                <c:pt idx="1611">
                  <c:v>93.304878732155615</c:v>
                </c:pt>
                <c:pt idx="1612">
                  <c:v>93.304878732155615</c:v>
                </c:pt>
                <c:pt idx="1613">
                  <c:v>93.304878732155615</c:v>
                </c:pt>
                <c:pt idx="1614">
                  <c:v>97.983826485375189</c:v>
                </c:pt>
                <c:pt idx="1615">
                  <c:v>97.861346702268477</c:v>
                </c:pt>
                <c:pt idx="1616">
                  <c:v>97.739020018890642</c:v>
                </c:pt>
                <c:pt idx="1617">
                  <c:v>102.73984569574488</c:v>
                </c:pt>
                <c:pt idx="1618">
                  <c:v>102.6114208886252</c:v>
                </c:pt>
                <c:pt idx="1619">
                  <c:v>102.48315661251442</c:v>
                </c:pt>
                <c:pt idx="1620">
                  <c:v>102.48315661251442</c:v>
                </c:pt>
                <c:pt idx="1621">
                  <c:v>102.48315661251442</c:v>
                </c:pt>
                <c:pt idx="1622">
                  <c:v>102.48315661251442</c:v>
                </c:pt>
                <c:pt idx="1623">
                  <c:v>102.48315661251442</c:v>
                </c:pt>
                <c:pt idx="1624">
                  <c:v>102.48315661251442</c:v>
                </c:pt>
                <c:pt idx="1625">
                  <c:v>102.48315661251442</c:v>
                </c:pt>
                <c:pt idx="1626">
                  <c:v>102.48315661251442</c:v>
                </c:pt>
                <c:pt idx="1627">
                  <c:v>102.48315661251442</c:v>
                </c:pt>
                <c:pt idx="1628">
                  <c:v>102.48315661251442</c:v>
                </c:pt>
                <c:pt idx="1629">
                  <c:v>102.48315661251442</c:v>
                </c:pt>
                <c:pt idx="1630">
                  <c:v>98.19742283028863</c:v>
                </c:pt>
                <c:pt idx="1631">
                  <c:v>98.074676051750771</c:v>
                </c:pt>
                <c:pt idx="1632">
                  <c:v>97.952082706686085</c:v>
                </c:pt>
                <c:pt idx="1633">
                  <c:v>97.952082706686085</c:v>
                </c:pt>
                <c:pt idx="1634">
                  <c:v>97.952082706686085</c:v>
                </c:pt>
                <c:pt idx="1635">
                  <c:v>97.952082706686085</c:v>
                </c:pt>
                <c:pt idx="1636">
                  <c:v>97.952082706686085</c:v>
                </c:pt>
                <c:pt idx="1637">
                  <c:v>97.952082706686085</c:v>
                </c:pt>
                <c:pt idx="1638">
                  <c:v>97.952082706686085</c:v>
                </c:pt>
                <c:pt idx="1639">
                  <c:v>97.952082706686085</c:v>
                </c:pt>
                <c:pt idx="1640">
                  <c:v>97.952082706686085</c:v>
                </c:pt>
                <c:pt idx="1641">
                  <c:v>97.952082706686085</c:v>
                </c:pt>
                <c:pt idx="1642">
                  <c:v>97.952082706686085</c:v>
                </c:pt>
                <c:pt idx="1643">
                  <c:v>97.952082706686085</c:v>
                </c:pt>
                <c:pt idx="1644">
                  <c:v>97.952082706686085</c:v>
                </c:pt>
                <c:pt idx="1645">
                  <c:v>97.952082706686085</c:v>
                </c:pt>
                <c:pt idx="1646">
                  <c:v>97.952082706686085</c:v>
                </c:pt>
                <c:pt idx="1647">
                  <c:v>97.952082706686085</c:v>
                </c:pt>
                <c:pt idx="1648">
                  <c:v>97.952082706686085</c:v>
                </c:pt>
                <c:pt idx="1649">
                  <c:v>97.952082706686085</c:v>
                </c:pt>
                <c:pt idx="1650">
                  <c:v>97.952082706686085</c:v>
                </c:pt>
                <c:pt idx="1651">
                  <c:v>97.952082706686085</c:v>
                </c:pt>
                <c:pt idx="1652">
                  <c:v>97.952082706686085</c:v>
                </c:pt>
                <c:pt idx="1653">
                  <c:v>97.952082706686085</c:v>
                </c:pt>
                <c:pt idx="1654">
                  <c:v>99.871569911481629</c:v>
                </c:pt>
                <c:pt idx="1655">
                  <c:v>111.7937328820607</c:v>
                </c:pt>
                <c:pt idx="1656">
                  <c:v>111.7937328820607</c:v>
                </c:pt>
                <c:pt idx="1657">
                  <c:v>111.2658122895113</c:v>
                </c:pt>
                <c:pt idx="1658">
                  <c:v>113.68605292132982</c:v>
                </c:pt>
                <c:pt idx="1659">
                  <c:v>113.68605292132982</c:v>
                </c:pt>
                <c:pt idx="1660">
                  <c:v>113.17829690867545</c:v>
                </c:pt>
                <c:pt idx="1661">
                  <c:v>112.36928720889698</c:v>
                </c:pt>
                <c:pt idx="1662">
                  <c:v>112.36928720889698</c:v>
                </c:pt>
                <c:pt idx="1663">
                  <c:v>110.09179437920714</c:v>
                </c:pt>
                <c:pt idx="1664">
                  <c:v>109.95417963623314</c:v>
                </c:pt>
                <c:pt idx="1665">
                  <c:v>109.81673691168784</c:v>
                </c:pt>
                <c:pt idx="1666">
                  <c:v>109.81673691168784</c:v>
                </c:pt>
                <c:pt idx="1667">
                  <c:v>109.81673691168784</c:v>
                </c:pt>
                <c:pt idx="1668">
                  <c:v>109.81673691168784</c:v>
                </c:pt>
                <c:pt idx="1669">
                  <c:v>109.81673691168784</c:v>
                </c:pt>
                <c:pt idx="1670">
                  <c:v>109.81673691168784</c:v>
                </c:pt>
                <c:pt idx="1671">
                  <c:v>109.81673691168784</c:v>
                </c:pt>
                <c:pt idx="1672">
                  <c:v>109.74484121305179</c:v>
                </c:pt>
                <c:pt idx="1673">
                  <c:v>108.88045826347926</c:v>
                </c:pt>
                <c:pt idx="1674">
                  <c:v>107.16192261623782</c:v>
                </c:pt>
                <c:pt idx="1675">
                  <c:v>107.16192261623782</c:v>
                </c:pt>
                <c:pt idx="1676">
                  <c:v>103.79888128903764</c:v>
                </c:pt>
                <c:pt idx="1677">
                  <c:v>101.85447593050307</c:v>
                </c:pt>
                <c:pt idx="1678">
                  <c:v>101.85447593050307</c:v>
                </c:pt>
                <c:pt idx="1679">
                  <c:v>101.72715783558995</c:v>
                </c:pt>
                <c:pt idx="1680">
                  <c:v>101.72715783558995</c:v>
                </c:pt>
                <c:pt idx="1681">
                  <c:v>101.72715783558995</c:v>
                </c:pt>
                <c:pt idx="1682">
                  <c:v>101.72715783558995</c:v>
                </c:pt>
                <c:pt idx="1683">
                  <c:v>101.72715783558995</c:v>
                </c:pt>
                <c:pt idx="1684">
                  <c:v>101.72715783558995</c:v>
                </c:pt>
                <c:pt idx="1685">
                  <c:v>101.72715783558995</c:v>
                </c:pt>
                <c:pt idx="1686">
                  <c:v>101.72715783558995</c:v>
                </c:pt>
                <c:pt idx="1687">
                  <c:v>101.72715783558995</c:v>
                </c:pt>
                <c:pt idx="1688">
                  <c:v>101.72715783558995</c:v>
                </c:pt>
                <c:pt idx="1689">
                  <c:v>101.72715783558995</c:v>
                </c:pt>
                <c:pt idx="1690">
                  <c:v>101.72715783558995</c:v>
                </c:pt>
                <c:pt idx="1691">
                  <c:v>101.72715783558995</c:v>
                </c:pt>
                <c:pt idx="1692">
                  <c:v>101.72715783558995</c:v>
                </c:pt>
                <c:pt idx="1693">
                  <c:v>101.72715783558995</c:v>
                </c:pt>
                <c:pt idx="1694">
                  <c:v>101.72715783558995</c:v>
                </c:pt>
                <c:pt idx="1695">
                  <c:v>101.72715783558995</c:v>
                </c:pt>
                <c:pt idx="1696">
                  <c:v>101.72715783558995</c:v>
                </c:pt>
                <c:pt idx="1697">
                  <c:v>101.72715783558995</c:v>
                </c:pt>
                <c:pt idx="1698">
                  <c:v>101.72715783558995</c:v>
                </c:pt>
                <c:pt idx="1699">
                  <c:v>101.72715783558995</c:v>
                </c:pt>
                <c:pt idx="1700">
                  <c:v>101.72715783558995</c:v>
                </c:pt>
                <c:pt idx="1701">
                  <c:v>99.360631694032804</c:v>
                </c:pt>
                <c:pt idx="1702">
                  <c:v>99.236430904415272</c:v>
                </c:pt>
                <c:pt idx="1703">
                  <c:v>99.11238536578476</c:v>
                </c:pt>
                <c:pt idx="1704">
                  <c:v>99.11238536578476</c:v>
                </c:pt>
                <c:pt idx="1705">
                  <c:v>92.922909722297632</c:v>
                </c:pt>
                <c:pt idx="1706">
                  <c:v>92.806756085144769</c:v>
                </c:pt>
                <c:pt idx="1707">
                  <c:v>91.542550126191529</c:v>
                </c:pt>
                <c:pt idx="1708">
                  <c:v>91.428121938533792</c:v>
                </c:pt>
                <c:pt idx="1709">
                  <c:v>91.313836786110627</c:v>
                </c:pt>
                <c:pt idx="1710">
                  <c:v>91.313836786110627</c:v>
                </c:pt>
                <c:pt idx="1711">
                  <c:v>91.313836786110627</c:v>
                </c:pt>
                <c:pt idx="1712">
                  <c:v>91.313836786110627</c:v>
                </c:pt>
                <c:pt idx="1713">
                  <c:v>91.313836786110627</c:v>
                </c:pt>
                <c:pt idx="1714">
                  <c:v>91.313836786110627</c:v>
                </c:pt>
                <c:pt idx="1715">
                  <c:v>91.313836786110627</c:v>
                </c:pt>
                <c:pt idx="1716">
                  <c:v>91.313836786110627</c:v>
                </c:pt>
                <c:pt idx="1717">
                  <c:v>91.313836786110627</c:v>
                </c:pt>
                <c:pt idx="1718">
                  <c:v>91.313836786110627</c:v>
                </c:pt>
                <c:pt idx="1719">
                  <c:v>91.313836786110627</c:v>
                </c:pt>
                <c:pt idx="1720">
                  <c:v>91.313836786110627</c:v>
                </c:pt>
                <c:pt idx="1721">
                  <c:v>91.313836786110627</c:v>
                </c:pt>
                <c:pt idx="1722">
                  <c:v>91.313836786110627</c:v>
                </c:pt>
                <c:pt idx="1723">
                  <c:v>91.313836786110627</c:v>
                </c:pt>
                <c:pt idx="1724">
                  <c:v>91.313836786110627</c:v>
                </c:pt>
                <c:pt idx="1725">
                  <c:v>91.313836786110627</c:v>
                </c:pt>
                <c:pt idx="1726">
                  <c:v>91.313836786110627</c:v>
                </c:pt>
                <c:pt idx="1727">
                  <c:v>93.266671981104963</c:v>
                </c:pt>
                <c:pt idx="1728">
                  <c:v>101.70021117549571</c:v>
                </c:pt>
                <c:pt idx="1729">
                  <c:v>101.70021117549571</c:v>
                </c:pt>
                <c:pt idx="1730">
                  <c:v>101.57308591152635</c:v>
                </c:pt>
                <c:pt idx="1731">
                  <c:v>101.57308591152635</c:v>
                </c:pt>
                <c:pt idx="1732">
                  <c:v>101.57308591152635</c:v>
                </c:pt>
                <c:pt idx="1733">
                  <c:v>101.57308591152635</c:v>
                </c:pt>
                <c:pt idx="1734">
                  <c:v>101.57308591152635</c:v>
                </c:pt>
                <c:pt idx="1735">
                  <c:v>101.57308591152635</c:v>
                </c:pt>
                <c:pt idx="1736">
                  <c:v>101.57308591152635</c:v>
                </c:pt>
                <c:pt idx="1737">
                  <c:v>101.57308591152635</c:v>
                </c:pt>
                <c:pt idx="1738">
                  <c:v>101.57308591152635</c:v>
                </c:pt>
                <c:pt idx="1739">
                  <c:v>101.57308591152635</c:v>
                </c:pt>
                <c:pt idx="1740">
                  <c:v>101.57308591152635</c:v>
                </c:pt>
                <c:pt idx="1741">
                  <c:v>101.57308591152635</c:v>
                </c:pt>
                <c:pt idx="1742">
                  <c:v>101.57308591152635</c:v>
                </c:pt>
                <c:pt idx="1743">
                  <c:v>101.57308591152635</c:v>
                </c:pt>
                <c:pt idx="1744">
                  <c:v>101.57308591152635</c:v>
                </c:pt>
                <c:pt idx="1745">
                  <c:v>101.57308591152635</c:v>
                </c:pt>
                <c:pt idx="1746">
                  <c:v>101.57308591152635</c:v>
                </c:pt>
                <c:pt idx="1747">
                  <c:v>101.57308591152635</c:v>
                </c:pt>
                <c:pt idx="1748">
                  <c:v>101.57308591152635</c:v>
                </c:pt>
                <c:pt idx="1749">
                  <c:v>101.57308591152635</c:v>
                </c:pt>
                <c:pt idx="1750">
                  <c:v>101.57308591152635</c:v>
                </c:pt>
                <c:pt idx="1751">
                  <c:v>101.57308591152635</c:v>
                </c:pt>
                <c:pt idx="1752">
                  <c:v>101.57308591152635</c:v>
                </c:pt>
                <c:pt idx="1753">
                  <c:v>101.57308591152635</c:v>
                </c:pt>
                <c:pt idx="1754">
                  <c:v>103.55638302196769</c:v>
                </c:pt>
                <c:pt idx="1755">
                  <c:v>103.42693754319023</c:v>
                </c:pt>
                <c:pt idx="1756">
                  <c:v>103.29765387126125</c:v>
                </c:pt>
                <c:pt idx="1757">
                  <c:v>103.29765387126125</c:v>
                </c:pt>
                <c:pt idx="1758">
                  <c:v>103.29765387126125</c:v>
                </c:pt>
                <c:pt idx="1759">
                  <c:v>103.29765387126125</c:v>
                </c:pt>
                <c:pt idx="1760">
                  <c:v>103.29765387126125</c:v>
                </c:pt>
                <c:pt idx="1761">
                  <c:v>103.29765387126125</c:v>
                </c:pt>
                <c:pt idx="1762">
                  <c:v>103.29765387126125</c:v>
                </c:pt>
                <c:pt idx="1763">
                  <c:v>103.29765387126125</c:v>
                </c:pt>
                <c:pt idx="1764">
                  <c:v>103.29765387126125</c:v>
                </c:pt>
                <c:pt idx="1765">
                  <c:v>103.29765387126125</c:v>
                </c:pt>
                <c:pt idx="1766">
                  <c:v>103.29765387126125</c:v>
                </c:pt>
                <c:pt idx="1767">
                  <c:v>103.29765387126125</c:v>
                </c:pt>
                <c:pt idx="1768">
                  <c:v>103.29765387126125</c:v>
                </c:pt>
                <c:pt idx="1769">
                  <c:v>103.29765387126125</c:v>
                </c:pt>
                <c:pt idx="1770">
                  <c:v>103.29765387126125</c:v>
                </c:pt>
                <c:pt idx="1771">
                  <c:v>103.29765387126125</c:v>
                </c:pt>
                <c:pt idx="1772">
                  <c:v>103.29765387126125</c:v>
                </c:pt>
                <c:pt idx="1773">
                  <c:v>103.29765387126125</c:v>
                </c:pt>
                <c:pt idx="1774">
                  <c:v>103.29765387126125</c:v>
                </c:pt>
                <c:pt idx="1775">
                  <c:v>103.29765387126125</c:v>
                </c:pt>
                <c:pt idx="1776">
                  <c:v>103.29765387126125</c:v>
                </c:pt>
                <c:pt idx="1777">
                  <c:v>103.29765387126125</c:v>
                </c:pt>
                <c:pt idx="1778">
                  <c:v>103.29765387126125</c:v>
                </c:pt>
                <c:pt idx="1779">
                  <c:v>103.29765387126125</c:v>
                </c:pt>
                <c:pt idx="1780">
                  <c:v>103.29765387126125</c:v>
                </c:pt>
                <c:pt idx="1781">
                  <c:v>103.45156327309783</c:v>
                </c:pt>
                <c:pt idx="1782">
                  <c:v>103.89662394050164</c:v>
                </c:pt>
                <c:pt idx="1783">
                  <c:v>103.89662394050164</c:v>
                </c:pt>
                <c:pt idx="1784">
                  <c:v>102.93037547091679</c:v>
                </c:pt>
                <c:pt idx="1785">
                  <c:v>102.80171250157814</c:v>
                </c:pt>
                <c:pt idx="1786">
                  <c:v>102.67321036095117</c:v>
                </c:pt>
                <c:pt idx="1787">
                  <c:v>102.67321036095117</c:v>
                </c:pt>
                <c:pt idx="1788">
                  <c:v>102.67321036095117</c:v>
                </c:pt>
                <c:pt idx="1789">
                  <c:v>102.67321036095117</c:v>
                </c:pt>
                <c:pt idx="1790">
                  <c:v>102.67321036095117</c:v>
                </c:pt>
                <c:pt idx="1791">
                  <c:v>102.67321036095117</c:v>
                </c:pt>
                <c:pt idx="1792">
                  <c:v>102.67321036095117</c:v>
                </c:pt>
                <c:pt idx="1793">
                  <c:v>102.91880267744412</c:v>
                </c:pt>
                <c:pt idx="1794">
                  <c:v>99.92603342347681</c:v>
                </c:pt>
                <c:pt idx="1795">
                  <c:v>99.92603342347681</c:v>
                </c:pt>
                <c:pt idx="1796">
                  <c:v>99.801125881697473</c:v>
                </c:pt>
                <c:pt idx="1797">
                  <c:v>100.52802628982333</c:v>
                </c:pt>
                <c:pt idx="1798">
                  <c:v>99.668868994092975</c:v>
                </c:pt>
                <c:pt idx="1799">
                  <c:v>99.668868994092975</c:v>
                </c:pt>
                <c:pt idx="1800">
                  <c:v>99.544282907850359</c:v>
                </c:pt>
                <c:pt idx="1801">
                  <c:v>99.544282907850359</c:v>
                </c:pt>
                <c:pt idx="1802">
                  <c:v>99.544282907850359</c:v>
                </c:pt>
                <c:pt idx="1803">
                  <c:v>99.544282907850359</c:v>
                </c:pt>
                <c:pt idx="1804">
                  <c:v>99.544282907850359</c:v>
                </c:pt>
                <c:pt idx="1805">
                  <c:v>100.03589446064363</c:v>
                </c:pt>
                <c:pt idx="1806">
                  <c:v>99.910849592567828</c:v>
                </c:pt>
                <c:pt idx="1807">
                  <c:v>99.785961030577127</c:v>
                </c:pt>
                <c:pt idx="1808">
                  <c:v>99.785961030577127</c:v>
                </c:pt>
                <c:pt idx="1809">
                  <c:v>99.785961030577127</c:v>
                </c:pt>
                <c:pt idx="1810">
                  <c:v>99.785961030577127</c:v>
                </c:pt>
                <c:pt idx="1811">
                  <c:v>99.785961030577127</c:v>
                </c:pt>
                <c:pt idx="1812">
                  <c:v>99.785961030577127</c:v>
                </c:pt>
                <c:pt idx="1813">
                  <c:v>99.785961030577127</c:v>
                </c:pt>
                <c:pt idx="1814">
                  <c:v>99.785961030577127</c:v>
                </c:pt>
                <c:pt idx="1815">
                  <c:v>99.785961030577127</c:v>
                </c:pt>
                <c:pt idx="1816">
                  <c:v>99.785961030577127</c:v>
                </c:pt>
                <c:pt idx="1817">
                  <c:v>99.785961030577127</c:v>
                </c:pt>
                <c:pt idx="1818">
                  <c:v>99.785961030577127</c:v>
                </c:pt>
                <c:pt idx="1819">
                  <c:v>99.785961030577127</c:v>
                </c:pt>
                <c:pt idx="1820">
                  <c:v>99.785961030577127</c:v>
                </c:pt>
                <c:pt idx="1821">
                  <c:v>99.785961030577127</c:v>
                </c:pt>
                <c:pt idx="1822">
                  <c:v>99.785961030577127</c:v>
                </c:pt>
                <c:pt idx="1823">
                  <c:v>99.785961030577127</c:v>
                </c:pt>
                <c:pt idx="1824">
                  <c:v>99.785961030577127</c:v>
                </c:pt>
                <c:pt idx="1825">
                  <c:v>99.771826242819529</c:v>
                </c:pt>
                <c:pt idx="1826">
                  <c:v>101.95945578361717</c:v>
                </c:pt>
                <c:pt idx="1827">
                  <c:v>101.95945578361717</c:v>
                </c:pt>
                <c:pt idx="1828">
                  <c:v>101.83200646388765</c:v>
                </c:pt>
                <c:pt idx="1829">
                  <c:v>104.1016150946802</c:v>
                </c:pt>
                <c:pt idx="1830">
                  <c:v>101.47159399343217</c:v>
                </c:pt>
                <c:pt idx="1831">
                  <c:v>99.136794888157311</c:v>
                </c:pt>
                <c:pt idx="1832">
                  <c:v>99.136794888157311</c:v>
                </c:pt>
                <c:pt idx="1833">
                  <c:v>99.012873894547113</c:v>
                </c:pt>
                <c:pt idx="1834">
                  <c:v>99.012873894547113</c:v>
                </c:pt>
                <c:pt idx="1835">
                  <c:v>99.012873894547113</c:v>
                </c:pt>
                <c:pt idx="1836">
                  <c:v>110.7148160407518</c:v>
                </c:pt>
                <c:pt idx="1837">
                  <c:v>110.57642252070086</c:v>
                </c:pt>
                <c:pt idx="1838">
                  <c:v>110.43820199254999</c:v>
                </c:pt>
                <c:pt idx="1839">
                  <c:v>110.43820199254999</c:v>
                </c:pt>
                <c:pt idx="1840">
                  <c:v>110.43820199254999</c:v>
                </c:pt>
                <c:pt idx="1841">
                  <c:v>110.43820199254999</c:v>
                </c:pt>
                <c:pt idx="1842">
                  <c:v>110.43820199254999</c:v>
                </c:pt>
                <c:pt idx="1843">
                  <c:v>110.43820199254999</c:v>
                </c:pt>
                <c:pt idx="1844">
                  <c:v>110.43820199254999</c:v>
                </c:pt>
                <c:pt idx="1845">
                  <c:v>110.43820199254999</c:v>
                </c:pt>
                <c:pt idx="1846">
                  <c:v>110.43820199254999</c:v>
                </c:pt>
                <c:pt idx="1847">
                  <c:v>110.43820199254999</c:v>
                </c:pt>
                <c:pt idx="1848">
                  <c:v>110.43820199254999</c:v>
                </c:pt>
                <c:pt idx="1849">
                  <c:v>110.43820199254999</c:v>
                </c:pt>
                <c:pt idx="1850">
                  <c:v>110.43820199254999</c:v>
                </c:pt>
                <c:pt idx="1851">
                  <c:v>110.43820199254999</c:v>
                </c:pt>
                <c:pt idx="1852">
                  <c:v>110.43820199254999</c:v>
                </c:pt>
                <c:pt idx="1853">
                  <c:v>110.43820199254999</c:v>
                </c:pt>
                <c:pt idx="1854">
                  <c:v>110.43820199254999</c:v>
                </c:pt>
                <c:pt idx="1855">
                  <c:v>110.43820199254999</c:v>
                </c:pt>
                <c:pt idx="1856">
                  <c:v>110.43820199254999</c:v>
                </c:pt>
                <c:pt idx="1857">
                  <c:v>110.43820199254999</c:v>
                </c:pt>
                <c:pt idx="1858">
                  <c:v>110.43820199254999</c:v>
                </c:pt>
                <c:pt idx="1859">
                  <c:v>110.43820199254999</c:v>
                </c:pt>
                <c:pt idx="1860">
                  <c:v>110.43820199254999</c:v>
                </c:pt>
                <c:pt idx="1861">
                  <c:v>110.43820199254999</c:v>
                </c:pt>
                <c:pt idx="1862">
                  <c:v>110.43820199254999</c:v>
                </c:pt>
                <c:pt idx="1863">
                  <c:v>110.43820199254999</c:v>
                </c:pt>
                <c:pt idx="1864">
                  <c:v>110.43820199254999</c:v>
                </c:pt>
                <c:pt idx="1865">
                  <c:v>110.43820199254999</c:v>
                </c:pt>
                <c:pt idx="1866">
                  <c:v>110.43820199254999</c:v>
                </c:pt>
                <c:pt idx="1867">
                  <c:v>110.43820199254999</c:v>
                </c:pt>
                <c:pt idx="1868">
                  <c:v>110.43820199254999</c:v>
                </c:pt>
                <c:pt idx="1869">
                  <c:v>110.43820199254999</c:v>
                </c:pt>
                <c:pt idx="1870">
                  <c:v>111.12067871163848</c:v>
                </c:pt>
                <c:pt idx="1871">
                  <c:v>113.01560696317952</c:v>
                </c:pt>
                <c:pt idx="1872">
                  <c:v>113.01560696317952</c:v>
                </c:pt>
                <c:pt idx="1873">
                  <c:v>112.87433745447555</c:v>
                </c:pt>
                <c:pt idx="1874">
                  <c:v>123.55652621769278</c:v>
                </c:pt>
                <c:pt idx="1875">
                  <c:v>118.37546903799542</c:v>
                </c:pt>
                <c:pt idx="1876">
                  <c:v>118.09211505234298</c:v>
                </c:pt>
                <c:pt idx="1877">
                  <c:v>121.07428869289224</c:v>
                </c:pt>
                <c:pt idx="1878">
                  <c:v>121.07428869289224</c:v>
                </c:pt>
                <c:pt idx="1879">
                  <c:v>120.92294583202613</c:v>
                </c:pt>
                <c:pt idx="1880">
                  <c:v>120.92294583202613</c:v>
                </c:pt>
                <c:pt idx="1881">
                  <c:v>120.92294583202613</c:v>
                </c:pt>
                <c:pt idx="1882">
                  <c:v>120.92294583202613</c:v>
                </c:pt>
                <c:pt idx="1883">
                  <c:v>120.92294583202613</c:v>
                </c:pt>
                <c:pt idx="1884">
                  <c:v>120.92294583202613</c:v>
                </c:pt>
                <c:pt idx="1885">
                  <c:v>120.92294583202613</c:v>
                </c:pt>
                <c:pt idx="1886">
                  <c:v>120.92294583202613</c:v>
                </c:pt>
                <c:pt idx="1887">
                  <c:v>120.92294583202613</c:v>
                </c:pt>
                <c:pt idx="1888">
                  <c:v>120.92294583202613</c:v>
                </c:pt>
                <c:pt idx="1889">
                  <c:v>120.92294583202613</c:v>
                </c:pt>
                <c:pt idx="1890">
                  <c:v>120.92294583202613</c:v>
                </c:pt>
                <c:pt idx="1891">
                  <c:v>120.92294583202613</c:v>
                </c:pt>
                <c:pt idx="1892">
                  <c:v>120.92294583202613</c:v>
                </c:pt>
                <c:pt idx="1893">
                  <c:v>120.92294583202613</c:v>
                </c:pt>
                <c:pt idx="1894">
                  <c:v>120.92294583202613</c:v>
                </c:pt>
                <c:pt idx="1895">
                  <c:v>120.92294583202613</c:v>
                </c:pt>
                <c:pt idx="1896">
                  <c:v>120.92294583202613</c:v>
                </c:pt>
                <c:pt idx="1897">
                  <c:v>120.92294583202613</c:v>
                </c:pt>
                <c:pt idx="1898">
                  <c:v>120.92294583202613</c:v>
                </c:pt>
                <c:pt idx="1899">
                  <c:v>120.92294583202613</c:v>
                </c:pt>
                <c:pt idx="1900">
                  <c:v>120.92294583202613</c:v>
                </c:pt>
                <c:pt idx="1901">
                  <c:v>120.92294583202613</c:v>
                </c:pt>
                <c:pt idx="1902">
                  <c:v>120.92294583202613</c:v>
                </c:pt>
                <c:pt idx="1903">
                  <c:v>120.92294583202613</c:v>
                </c:pt>
                <c:pt idx="1904">
                  <c:v>120.92294583202613</c:v>
                </c:pt>
                <c:pt idx="1905">
                  <c:v>120.92294583202613</c:v>
                </c:pt>
                <c:pt idx="1906">
                  <c:v>120.92294583202613</c:v>
                </c:pt>
                <c:pt idx="1907">
                  <c:v>107.07708072795984</c:v>
                </c:pt>
                <c:pt idx="1908">
                  <c:v>106.94323437704989</c:v>
                </c:pt>
                <c:pt idx="1909">
                  <c:v>107.72195111932487</c:v>
                </c:pt>
                <c:pt idx="1910">
                  <c:v>107.58729868042572</c:v>
                </c:pt>
                <c:pt idx="1911">
                  <c:v>107.45281455707519</c:v>
                </c:pt>
                <c:pt idx="1912">
                  <c:v>107.45281455707519</c:v>
                </c:pt>
                <c:pt idx="1913">
                  <c:v>107.45281455707519</c:v>
                </c:pt>
                <c:pt idx="1914">
                  <c:v>107.45281455707519</c:v>
                </c:pt>
                <c:pt idx="1915">
                  <c:v>107.45281455707519</c:v>
                </c:pt>
                <c:pt idx="1916">
                  <c:v>107.45281455707519</c:v>
                </c:pt>
                <c:pt idx="1917">
                  <c:v>107.45281455707519</c:v>
                </c:pt>
                <c:pt idx="1918">
                  <c:v>107.45281455707519</c:v>
                </c:pt>
                <c:pt idx="1919">
                  <c:v>107.45281455707519</c:v>
                </c:pt>
                <c:pt idx="1920">
                  <c:v>107.45281455707519</c:v>
                </c:pt>
                <c:pt idx="1921">
                  <c:v>107.45281455707519</c:v>
                </c:pt>
                <c:pt idx="1922">
                  <c:v>107.45281455707519</c:v>
                </c:pt>
                <c:pt idx="1923">
                  <c:v>107.45281455707519</c:v>
                </c:pt>
                <c:pt idx="1924">
                  <c:v>107.45281455707519</c:v>
                </c:pt>
                <c:pt idx="1925">
                  <c:v>107.45281455707519</c:v>
                </c:pt>
                <c:pt idx="1926">
                  <c:v>107.45281455707519</c:v>
                </c:pt>
                <c:pt idx="1927">
                  <c:v>107.45281455707519</c:v>
                </c:pt>
                <c:pt idx="1928">
                  <c:v>107.45281455707519</c:v>
                </c:pt>
                <c:pt idx="1929">
                  <c:v>107.45281455707519</c:v>
                </c:pt>
                <c:pt idx="1930">
                  <c:v>107.45281455707519</c:v>
                </c:pt>
                <c:pt idx="1931">
                  <c:v>107.45281455707519</c:v>
                </c:pt>
                <c:pt idx="1932">
                  <c:v>107.45281455707519</c:v>
                </c:pt>
                <c:pt idx="1933">
                  <c:v>107.45281455707519</c:v>
                </c:pt>
                <c:pt idx="1934">
                  <c:v>107.45281455707519</c:v>
                </c:pt>
                <c:pt idx="1935">
                  <c:v>107.45281455707519</c:v>
                </c:pt>
                <c:pt idx="1936">
                  <c:v>107.45281455707519</c:v>
                </c:pt>
                <c:pt idx="1937">
                  <c:v>107.45281455707519</c:v>
                </c:pt>
                <c:pt idx="1938">
                  <c:v>107.45281455707519</c:v>
                </c:pt>
                <c:pt idx="1939">
                  <c:v>107.45281455707519</c:v>
                </c:pt>
                <c:pt idx="1940">
                  <c:v>107.58145879143744</c:v>
                </c:pt>
                <c:pt idx="1941">
                  <c:v>106.63362289142304</c:v>
                </c:pt>
                <c:pt idx="1942">
                  <c:v>106.63362289142304</c:v>
                </c:pt>
                <c:pt idx="1943">
                  <c:v>106.50033086280877</c:v>
                </c:pt>
                <c:pt idx="1944">
                  <c:v>106.50033086280877</c:v>
                </c:pt>
                <c:pt idx="1945">
                  <c:v>107.8378997597524</c:v>
                </c:pt>
                <c:pt idx="1946">
                  <c:v>109.79189313943226</c:v>
                </c:pt>
                <c:pt idx="1947">
                  <c:v>109.79189313943226</c:v>
                </c:pt>
                <c:pt idx="1948">
                  <c:v>109.65465327300798</c:v>
                </c:pt>
                <c:pt idx="1949">
                  <c:v>109.65465327300798</c:v>
                </c:pt>
                <c:pt idx="1950">
                  <c:v>109.65465327300798</c:v>
                </c:pt>
                <c:pt idx="1951">
                  <c:v>109.65465327300798</c:v>
                </c:pt>
                <c:pt idx="1952">
                  <c:v>109.65465327300798</c:v>
                </c:pt>
                <c:pt idx="1953">
                  <c:v>109.65465327300798</c:v>
                </c:pt>
                <c:pt idx="1954">
                  <c:v>109.65465327300798</c:v>
                </c:pt>
                <c:pt idx="1955">
                  <c:v>109.65465327300798</c:v>
                </c:pt>
                <c:pt idx="1956">
                  <c:v>109.65465327300798</c:v>
                </c:pt>
                <c:pt idx="1957">
                  <c:v>109.65465327300798</c:v>
                </c:pt>
                <c:pt idx="1958">
                  <c:v>109.65465327300798</c:v>
                </c:pt>
                <c:pt idx="1959">
                  <c:v>109.65465327300798</c:v>
                </c:pt>
                <c:pt idx="1960">
                  <c:v>109.65465327300798</c:v>
                </c:pt>
                <c:pt idx="1961">
                  <c:v>109.65465327300798</c:v>
                </c:pt>
                <c:pt idx="1962">
                  <c:v>109.65465327300798</c:v>
                </c:pt>
                <c:pt idx="1963">
                  <c:v>109.65465327300798</c:v>
                </c:pt>
                <c:pt idx="1964">
                  <c:v>109.65465327300798</c:v>
                </c:pt>
                <c:pt idx="1965">
                  <c:v>109.65465327300798</c:v>
                </c:pt>
                <c:pt idx="1966">
                  <c:v>109.65465327300798</c:v>
                </c:pt>
                <c:pt idx="1967">
                  <c:v>109.65465327300798</c:v>
                </c:pt>
                <c:pt idx="1968">
                  <c:v>109.65465327300798</c:v>
                </c:pt>
                <c:pt idx="1969">
                  <c:v>109.65465327300798</c:v>
                </c:pt>
                <c:pt idx="1970">
                  <c:v>109.65465327300798</c:v>
                </c:pt>
                <c:pt idx="1971">
                  <c:v>109.65465327300798</c:v>
                </c:pt>
                <c:pt idx="1972">
                  <c:v>109.65465327300798</c:v>
                </c:pt>
                <c:pt idx="1973">
                  <c:v>109.65465327300798</c:v>
                </c:pt>
                <c:pt idx="1974">
                  <c:v>109.65465327300798</c:v>
                </c:pt>
                <c:pt idx="1975">
                  <c:v>109.65465327300798</c:v>
                </c:pt>
                <c:pt idx="1976">
                  <c:v>109.65465327300798</c:v>
                </c:pt>
                <c:pt idx="1977">
                  <c:v>109.65465327300798</c:v>
                </c:pt>
                <c:pt idx="1978">
                  <c:v>109.65465327300798</c:v>
                </c:pt>
                <c:pt idx="1979">
                  <c:v>109.65465327300798</c:v>
                </c:pt>
                <c:pt idx="1980">
                  <c:v>109.65465327300798</c:v>
                </c:pt>
                <c:pt idx="1981">
                  <c:v>109.65465327300798</c:v>
                </c:pt>
                <c:pt idx="1982">
                  <c:v>109.65465327300798</c:v>
                </c:pt>
                <c:pt idx="1983">
                  <c:v>109.65465327300798</c:v>
                </c:pt>
                <c:pt idx="1984">
                  <c:v>109.65465327300798</c:v>
                </c:pt>
                <c:pt idx="1985">
                  <c:v>109.65465327300798</c:v>
                </c:pt>
                <c:pt idx="1986">
                  <c:v>109.65465327300798</c:v>
                </c:pt>
                <c:pt idx="1987">
                  <c:v>109.65465327300798</c:v>
                </c:pt>
                <c:pt idx="1988">
                  <c:v>109.65465327300798</c:v>
                </c:pt>
                <c:pt idx="1989">
                  <c:v>109.65465327300798</c:v>
                </c:pt>
                <c:pt idx="1990">
                  <c:v>109.65465327300798</c:v>
                </c:pt>
                <c:pt idx="1991">
                  <c:v>109.65465327300798</c:v>
                </c:pt>
                <c:pt idx="1992">
                  <c:v>109.65465327300798</c:v>
                </c:pt>
                <c:pt idx="1993">
                  <c:v>109.65465327300798</c:v>
                </c:pt>
                <c:pt idx="1994">
                  <c:v>109.65465327300798</c:v>
                </c:pt>
                <c:pt idx="1995">
                  <c:v>111.71175111904159</c:v>
                </c:pt>
                <c:pt idx="1996">
                  <c:v>111.5721114301428</c:v>
                </c:pt>
                <c:pt idx="1997">
                  <c:v>115.93003051900352</c:v>
                </c:pt>
                <c:pt idx="1998">
                  <c:v>115.78511798085478</c:v>
                </c:pt>
                <c:pt idx="1999">
                  <c:v>115.64038658337871</c:v>
                </c:pt>
                <c:pt idx="2000">
                  <c:v>118.99600382686775</c:v>
                </c:pt>
                <c:pt idx="2001">
                  <c:v>118.84725882208417</c:v>
                </c:pt>
                <c:pt idx="2002">
                  <c:v>118.69869974855656</c:v>
                </c:pt>
                <c:pt idx="2003">
                  <c:v>118.69869974855656</c:v>
                </c:pt>
                <c:pt idx="2004">
                  <c:v>118.69869974855656</c:v>
                </c:pt>
                <c:pt idx="2005">
                  <c:v>118.69869974855656</c:v>
                </c:pt>
                <c:pt idx="2006">
                  <c:v>118.69869974855656</c:v>
                </c:pt>
                <c:pt idx="2007">
                  <c:v>118.44098945444972</c:v>
                </c:pt>
                <c:pt idx="2008">
                  <c:v>118.29293821763166</c:v>
                </c:pt>
                <c:pt idx="2009">
                  <c:v>116.90683496694136</c:v>
                </c:pt>
                <c:pt idx="2010">
                  <c:v>116.76070142323269</c:v>
                </c:pt>
                <c:pt idx="2011">
                  <c:v>116.61475054645365</c:v>
                </c:pt>
                <c:pt idx="2012">
                  <c:v>116.61475054645365</c:v>
                </c:pt>
                <c:pt idx="2013">
                  <c:v>116.61475054645365</c:v>
                </c:pt>
                <c:pt idx="2014">
                  <c:v>116.61475054645365</c:v>
                </c:pt>
                <c:pt idx="2015">
                  <c:v>116.61475054645365</c:v>
                </c:pt>
                <c:pt idx="2016">
                  <c:v>116.61475054645365</c:v>
                </c:pt>
                <c:pt idx="2017">
                  <c:v>116.61475054645365</c:v>
                </c:pt>
                <c:pt idx="2018">
                  <c:v>116.61475054645365</c:v>
                </c:pt>
                <c:pt idx="2019">
                  <c:v>116.61475054645365</c:v>
                </c:pt>
                <c:pt idx="2020">
                  <c:v>116.61475054645365</c:v>
                </c:pt>
                <c:pt idx="2021">
                  <c:v>116.61475054645365</c:v>
                </c:pt>
                <c:pt idx="2022">
                  <c:v>116.61475054645365</c:v>
                </c:pt>
                <c:pt idx="2023">
                  <c:v>116.61475054645365</c:v>
                </c:pt>
                <c:pt idx="2024">
                  <c:v>120.76554706635723</c:v>
                </c:pt>
                <c:pt idx="2025">
                  <c:v>120.61459013252428</c:v>
                </c:pt>
                <c:pt idx="2026">
                  <c:v>120.46382189485863</c:v>
                </c:pt>
                <c:pt idx="2027">
                  <c:v>120.46382189485863</c:v>
                </c:pt>
                <c:pt idx="2028">
                  <c:v>120.46382189485863</c:v>
                </c:pt>
                <c:pt idx="2029">
                  <c:v>120.46382189485863</c:v>
                </c:pt>
                <c:pt idx="2030">
                  <c:v>120.46382189485863</c:v>
                </c:pt>
                <c:pt idx="2031">
                  <c:v>120.46382189485863</c:v>
                </c:pt>
                <c:pt idx="2032">
                  <c:v>120.46382189485863</c:v>
                </c:pt>
                <c:pt idx="2033">
                  <c:v>120.77067529236638</c:v>
                </c:pt>
                <c:pt idx="2034">
                  <c:v>120.61971194825092</c:v>
                </c:pt>
                <c:pt idx="2035">
                  <c:v>120.46893730831562</c:v>
                </c:pt>
                <c:pt idx="2036">
                  <c:v>120.46893730831562</c:v>
                </c:pt>
                <c:pt idx="2037">
                  <c:v>120.46893730831562</c:v>
                </c:pt>
                <c:pt idx="2038">
                  <c:v>120.46893730831562</c:v>
                </c:pt>
                <c:pt idx="2039">
                  <c:v>120.46893730831562</c:v>
                </c:pt>
                <c:pt idx="2040">
                  <c:v>120.46893730831562</c:v>
                </c:pt>
                <c:pt idx="2041">
                  <c:v>120.46893730831562</c:v>
                </c:pt>
                <c:pt idx="2042">
                  <c:v>120.46893730831562</c:v>
                </c:pt>
                <c:pt idx="2043">
                  <c:v>120.46893730831562</c:v>
                </c:pt>
                <c:pt idx="2044">
                  <c:v>120.46893730831562</c:v>
                </c:pt>
                <c:pt idx="2045">
                  <c:v>120.46893730831562</c:v>
                </c:pt>
                <c:pt idx="2046">
                  <c:v>120.46893730831562</c:v>
                </c:pt>
                <c:pt idx="2047">
                  <c:v>120.46893730831562</c:v>
                </c:pt>
                <c:pt idx="2048">
                  <c:v>120.46893730831562</c:v>
                </c:pt>
                <c:pt idx="2049">
                  <c:v>120.46893730831562</c:v>
                </c:pt>
                <c:pt idx="2050">
                  <c:v>120.46893730831562</c:v>
                </c:pt>
                <c:pt idx="2051">
                  <c:v>120.46893730831562</c:v>
                </c:pt>
                <c:pt idx="2052">
                  <c:v>120.46893730831562</c:v>
                </c:pt>
                <c:pt idx="2053">
                  <c:v>120.46893730831562</c:v>
                </c:pt>
                <c:pt idx="2054">
                  <c:v>120.46893730831562</c:v>
                </c:pt>
                <c:pt idx="2055">
                  <c:v>120.46893730831562</c:v>
                </c:pt>
                <c:pt idx="2056">
                  <c:v>120.46893730831562</c:v>
                </c:pt>
                <c:pt idx="2057">
                  <c:v>120.46893730831562</c:v>
                </c:pt>
                <c:pt idx="2058">
                  <c:v>120.46893730831562</c:v>
                </c:pt>
                <c:pt idx="2059">
                  <c:v>120.46893730831562</c:v>
                </c:pt>
                <c:pt idx="2060">
                  <c:v>120.46893730831562</c:v>
                </c:pt>
                <c:pt idx="2061">
                  <c:v>120.46893730831562</c:v>
                </c:pt>
                <c:pt idx="2062">
                  <c:v>120.46893730831562</c:v>
                </c:pt>
                <c:pt idx="2063">
                  <c:v>120.46893730831562</c:v>
                </c:pt>
                <c:pt idx="2064">
                  <c:v>120.46893730831562</c:v>
                </c:pt>
                <c:pt idx="2065">
                  <c:v>120.46893730831562</c:v>
                </c:pt>
                <c:pt idx="2066">
                  <c:v>120.46893730831562</c:v>
                </c:pt>
                <c:pt idx="2067">
                  <c:v>120.46893730831562</c:v>
                </c:pt>
                <c:pt idx="2068">
                  <c:v>120.46893730831562</c:v>
                </c:pt>
                <c:pt idx="2069">
                  <c:v>120.46893730831562</c:v>
                </c:pt>
                <c:pt idx="2070">
                  <c:v>120.46893730831562</c:v>
                </c:pt>
                <c:pt idx="2071">
                  <c:v>120.46893730831562</c:v>
                </c:pt>
                <c:pt idx="2072">
                  <c:v>120.46893730831562</c:v>
                </c:pt>
                <c:pt idx="2073">
                  <c:v>120.46893730831562</c:v>
                </c:pt>
                <c:pt idx="2074">
                  <c:v>120.46893730831562</c:v>
                </c:pt>
                <c:pt idx="2075">
                  <c:v>123.0405715824772</c:v>
                </c:pt>
                <c:pt idx="2076">
                  <c:v>122.43067638521548</c:v>
                </c:pt>
                <c:pt idx="2077">
                  <c:v>120.4558838132762</c:v>
                </c:pt>
                <c:pt idx="2078">
                  <c:v>120.4558838132762</c:v>
                </c:pt>
                <c:pt idx="2079">
                  <c:v>128.43567754197073</c:v>
                </c:pt>
                <c:pt idx="2080">
                  <c:v>128.69888622324052</c:v>
                </c:pt>
                <c:pt idx="2081">
                  <c:v>128.24532487287846</c:v>
                </c:pt>
                <c:pt idx="2082">
                  <c:v>124.86696380126186</c:v>
                </c:pt>
                <c:pt idx="2083">
                  <c:v>124.86696380126186</c:v>
                </c:pt>
                <c:pt idx="2084">
                  <c:v>124.71088009651028</c:v>
                </c:pt>
                <c:pt idx="2085">
                  <c:v>124.71088009651028</c:v>
                </c:pt>
                <c:pt idx="2086">
                  <c:v>124.71088009651028</c:v>
                </c:pt>
                <c:pt idx="2087">
                  <c:v>124.71088009651028</c:v>
                </c:pt>
                <c:pt idx="2088">
                  <c:v>124.71088009651028</c:v>
                </c:pt>
                <c:pt idx="2089">
                  <c:v>124.21725729312895</c:v>
                </c:pt>
                <c:pt idx="2090">
                  <c:v>124.41851743569032</c:v>
                </c:pt>
                <c:pt idx="2091">
                  <c:v>124.41851743569032</c:v>
                </c:pt>
                <c:pt idx="2092">
                  <c:v>124.26299428889571</c:v>
                </c:pt>
                <c:pt idx="2093">
                  <c:v>124.26299428889571</c:v>
                </c:pt>
                <c:pt idx="2094">
                  <c:v>124.26299428889571</c:v>
                </c:pt>
                <c:pt idx="2095">
                  <c:v>124.26299428889571</c:v>
                </c:pt>
                <c:pt idx="2096">
                  <c:v>124.26299428889571</c:v>
                </c:pt>
                <c:pt idx="2097">
                  <c:v>124.26299428889571</c:v>
                </c:pt>
                <c:pt idx="2098">
                  <c:v>124.26299428889571</c:v>
                </c:pt>
                <c:pt idx="2099">
                  <c:v>124.26299428889571</c:v>
                </c:pt>
                <c:pt idx="2100">
                  <c:v>124.26299428889571</c:v>
                </c:pt>
                <c:pt idx="2101">
                  <c:v>124.26299428889571</c:v>
                </c:pt>
                <c:pt idx="2102">
                  <c:v>124.26299428889571</c:v>
                </c:pt>
                <c:pt idx="2103">
                  <c:v>124.26299428889571</c:v>
                </c:pt>
                <c:pt idx="2104">
                  <c:v>124.26299428889571</c:v>
                </c:pt>
                <c:pt idx="2105">
                  <c:v>124.26299428889571</c:v>
                </c:pt>
                <c:pt idx="2106">
                  <c:v>124.26299428889571</c:v>
                </c:pt>
                <c:pt idx="2107">
                  <c:v>124.26299428889571</c:v>
                </c:pt>
                <c:pt idx="2108">
                  <c:v>124.26299428889571</c:v>
                </c:pt>
                <c:pt idx="2109">
                  <c:v>124.26299428889571</c:v>
                </c:pt>
                <c:pt idx="2110">
                  <c:v>124.26299428889571</c:v>
                </c:pt>
                <c:pt idx="2111">
                  <c:v>124.26299428889571</c:v>
                </c:pt>
                <c:pt idx="2112">
                  <c:v>124.26299428889571</c:v>
                </c:pt>
                <c:pt idx="2113">
                  <c:v>124.26299428889571</c:v>
                </c:pt>
                <c:pt idx="2114">
                  <c:v>124.26299428889571</c:v>
                </c:pt>
                <c:pt idx="2115">
                  <c:v>124.26299428889571</c:v>
                </c:pt>
                <c:pt idx="2116">
                  <c:v>124.26299428889571</c:v>
                </c:pt>
                <c:pt idx="2117">
                  <c:v>124.26299428889571</c:v>
                </c:pt>
                <c:pt idx="2118">
                  <c:v>122.15000790303895</c:v>
                </c:pt>
                <c:pt idx="2119">
                  <c:v>121.99732039316015</c:v>
                </c:pt>
                <c:pt idx="2120">
                  <c:v>121.84482374266871</c:v>
                </c:pt>
                <c:pt idx="2121">
                  <c:v>121.84482374266871</c:v>
                </c:pt>
                <c:pt idx="2122">
                  <c:v>121.97411283411289</c:v>
                </c:pt>
                <c:pt idx="2123">
                  <c:v>121.82164519307025</c:v>
                </c:pt>
                <c:pt idx="2124">
                  <c:v>121.61224454376681</c:v>
                </c:pt>
                <c:pt idx="2125">
                  <c:v>121.62075713551054</c:v>
                </c:pt>
                <c:pt idx="2126">
                  <c:v>121.62075713551054</c:v>
                </c:pt>
                <c:pt idx="2127">
                  <c:v>121.46873118909116</c:v>
                </c:pt>
                <c:pt idx="2128">
                  <c:v>121.46873118909116</c:v>
                </c:pt>
                <c:pt idx="2129">
                  <c:v>121.46873118909116</c:v>
                </c:pt>
                <c:pt idx="2130">
                  <c:v>121.46873118909116</c:v>
                </c:pt>
                <c:pt idx="2131">
                  <c:v>121.46873118909116</c:v>
                </c:pt>
                <c:pt idx="2132">
                  <c:v>121.67233231729732</c:v>
                </c:pt>
                <c:pt idx="2133">
                  <c:v>121.5202419019007</c:v>
                </c:pt>
                <c:pt idx="2134">
                  <c:v>121.36834159952333</c:v>
                </c:pt>
                <c:pt idx="2135">
                  <c:v>121.36834159952333</c:v>
                </c:pt>
                <c:pt idx="2136">
                  <c:v>121.36834159952333</c:v>
                </c:pt>
                <c:pt idx="2137">
                  <c:v>121.36834159952333</c:v>
                </c:pt>
                <c:pt idx="2138">
                  <c:v>121.36834159952333</c:v>
                </c:pt>
                <c:pt idx="2139">
                  <c:v>121.36834159952333</c:v>
                </c:pt>
                <c:pt idx="2140">
                  <c:v>121.07636566178022</c:v>
                </c:pt>
                <c:pt idx="2141">
                  <c:v>120.92502020470299</c:v>
                </c:pt>
                <c:pt idx="2142">
                  <c:v>120.77386392944712</c:v>
                </c:pt>
                <c:pt idx="2143">
                  <c:v>120.77386392944712</c:v>
                </c:pt>
                <c:pt idx="2144">
                  <c:v>120.77386392944712</c:v>
                </c:pt>
                <c:pt idx="2145">
                  <c:v>120.77386392944712</c:v>
                </c:pt>
                <c:pt idx="2146">
                  <c:v>120.77386392944712</c:v>
                </c:pt>
                <c:pt idx="2147">
                  <c:v>120.77386392944712</c:v>
                </c:pt>
                <c:pt idx="2148">
                  <c:v>119.74429241684793</c:v>
                </c:pt>
                <c:pt idx="2149">
                  <c:v>119.59461205132688</c:v>
                </c:pt>
                <c:pt idx="2150">
                  <c:v>119.44511878626273</c:v>
                </c:pt>
                <c:pt idx="2151">
                  <c:v>119.44511878626273</c:v>
                </c:pt>
                <c:pt idx="2152">
                  <c:v>119.44511878626273</c:v>
                </c:pt>
                <c:pt idx="2153">
                  <c:v>119.44511878626273</c:v>
                </c:pt>
                <c:pt idx="2154">
                  <c:v>116.92152119000559</c:v>
                </c:pt>
                <c:pt idx="2155">
                  <c:v>116.77536928851809</c:v>
                </c:pt>
                <c:pt idx="2156">
                  <c:v>116.62940007690744</c:v>
                </c:pt>
                <c:pt idx="2157">
                  <c:v>116.62940007690744</c:v>
                </c:pt>
                <c:pt idx="2158">
                  <c:v>116.62940007690744</c:v>
                </c:pt>
                <c:pt idx="2159">
                  <c:v>116.62940007690744</c:v>
                </c:pt>
                <c:pt idx="2160">
                  <c:v>116.62940007690744</c:v>
                </c:pt>
                <c:pt idx="2161">
                  <c:v>118.82138958187605</c:v>
                </c:pt>
                <c:pt idx="2162">
                  <c:v>118.66680301799322</c:v>
                </c:pt>
                <c:pt idx="2163">
                  <c:v>118.66680301799322</c:v>
                </c:pt>
                <c:pt idx="2164">
                  <c:v>118.51846951422073</c:v>
                </c:pt>
                <c:pt idx="2165">
                  <c:v>118.51846951422073</c:v>
                </c:pt>
                <c:pt idx="2166">
                  <c:v>118.96718144078353</c:v>
                </c:pt>
                <c:pt idx="2167">
                  <c:v>116.87412046702593</c:v>
                </c:pt>
                <c:pt idx="2168">
                  <c:v>116.87412046702593</c:v>
                </c:pt>
                <c:pt idx="2169">
                  <c:v>116.72802781644215</c:v>
                </c:pt>
                <c:pt idx="2170">
                  <c:v>116.72802781644215</c:v>
                </c:pt>
                <c:pt idx="2171">
                  <c:v>116.72802781644215</c:v>
                </c:pt>
                <c:pt idx="2172">
                  <c:v>116.72802781644215</c:v>
                </c:pt>
                <c:pt idx="2173">
                  <c:v>116.72802781644215</c:v>
                </c:pt>
                <c:pt idx="2174">
                  <c:v>116.72802781644215</c:v>
                </c:pt>
                <c:pt idx="2175">
                  <c:v>116.72802781644215</c:v>
                </c:pt>
                <c:pt idx="2176">
                  <c:v>116.72802781644215</c:v>
                </c:pt>
                <c:pt idx="2177">
                  <c:v>116.72802781644215</c:v>
                </c:pt>
                <c:pt idx="2178">
                  <c:v>116.72802781644215</c:v>
                </c:pt>
                <c:pt idx="2179">
                  <c:v>116.72802781644215</c:v>
                </c:pt>
                <c:pt idx="2180">
                  <c:v>116.72802781644215</c:v>
                </c:pt>
                <c:pt idx="2181">
                  <c:v>116.72802781644215</c:v>
                </c:pt>
                <c:pt idx="2182">
                  <c:v>116.72802781644215</c:v>
                </c:pt>
                <c:pt idx="2183">
                  <c:v>116.72802781644215</c:v>
                </c:pt>
                <c:pt idx="2184">
                  <c:v>116.72802781644215</c:v>
                </c:pt>
                <c:pt idx="2185">
                  <c:v>116.72802781644215</c:v>
                </c:pt>
                <c:pt idx="2186">
                  <c:v>116.72802781644215</c:v>
                </c:pt>
                <c:pt idx="2187">
                  <c:v>116.72802781644215</c:v>
                </c:pt>
                <c:pt idx="2188">
                  <c:v>116.72802781644215</c:v>
                </c:pt>
                <c:pt idx="2189">
                  <c:v>116.72802781644215</c:v>
                </c:pt>
                <c:pt idx="2190">
                  <c:v>116.72802781644215</c:v>
                </c:pt>
                <c:pt idx="2191">
                  <c:v>116.72802781644215</c:v>
                </c:pt>
                <c:pt idx="2192">
                  <c:v>116.72802781644215</c:v>
                </c:pt>
                <c:pt idx="2193">
                  <c:v>116.72802781644215</c:v>
                </c:pt>
                <c:pt idx="2194">
                  <c:v>116.72802781644215</c:v>
                </c:pt>
                <c:pt idx="2195">
                  <c:v>116.72802781644215</c:v>
                </c:pt>
                <c:pt idx="2196">
                  <c:v>116.72802781644215</c:v>
                </c:pt>
                <c:pt idx="2197">
                  <c:v>116.72802781644215</c:v>
                </c:pt>
                <c:pt idx="2198">
                  <c:v>116.72802781644215</c:v>
                </c:pt>
                <c:pt idx="2199">
                  <c:v>116.72802781644215</c:v>
                </c:pt>
                <c:pt idx="2200">
                  <c:v>116.72802781644215</c:v>
                </c:pt>
                <c:pt idx="2201">
                  <c:v>116.72802781644215</c:v>
                </c:pt>
                <c:pt idx="2202">
                  <c:v>116.72802781644215</c:v>
                </c:pt>
                <c:pt idx="2203">
                  <c:v>116.72802781644215</c:v>
                </c:pt>
                <c:pt idx="2204">
                  <c:v>116.72802781644215</c:v>
                </c:pt>
                <c:pt idx="2205">
                  <c:v>116.72802781644215</c:v>
                </c:pt>
                <c:pt idx="2206">
                  <c:v>116.72802781644215</c:v>
                </c:pt>
                <c:pt idx="2207">
                  <c:v>116.72802781644215</c:v>
                </c:pt>
                <c:pt idx="2208">
                  <c:v>116.72802781644215</c:v>
                </c:pt>
                <c:pt idx="2209">
                  <c:v>116.72802781644215</c:v>
                </c:pt>
                <c:pt idx="2210">
                  <c:v>116.72802781644215</c:v>
                </c:pt>
                <c:pt idx="2211">
                  <c:v>116.72802781644215</c:v>
                </c:pt>
                <c:pt idx="2212">
                  <c:v>116.72802781644215</c:v>
                </c:pt>
                <c:pt idx="2213">
                  <c:v>116.72802781644215</c:v>
                </c:pt>
                <c:pt idx="2214">
                  <c:v>116.72802781644215</c:v>
                </c:pt>
                <c:pt idx="2215">
                  <c:v>116.72802781644215</c:v>
                </c:pt>
                <c:pt idx="2216">
                  <c:v>116.72802781644215</c:v>
                </c:pt>
                <c:pt idx="2217">
                  <c:v>116.72802781644215</c:v>
                </c:pt>
                <c:pt idx="2218">
                  <c:v>116.72802781644215</c:v>
                </c:pt>
                <c:pt idx="2219">
                  <c:v>116.4792802431342</c:v>
                </c:pt>
                <c:pt idx="2220">
                  <c:v>120.00901893452482</c:v>
                </c:pt>
                <c:pt idx="2221">
                  <c:v>120.00901893452482</c:v>
                </c:pt>
                <c:pt idx="2222">
                  <c:v>119.85900766085666</c:v>
                </c:pt>
                <c:pt idx="2223">
                  <c:v>119.85900766085666</c:v>
                </c:pt>
                <c:pt idx="2224">
                  <c:v>119.44737796542175</c:v>
                </c:pt>
                <c:pt idx="2225">
                  <c:v>119.29806874296497</c:v>
                </c:pt>
                <c:pt idx="2226">
                  <c:v>119.26015641858909</c:v>
                </c:pt>
                <c:pt idx="2227">
                  <c:v>119.11108122306585</c:v>
                </c:pt>
                <c:pt idx="2228">
                  <c:v>118.91995756026762</c:v>
                </c:pt>
                <c:pt idx="2229">
                  <c:v>119.07061532675743</c:v>
                </c:pt>
                <c:pt idx="2230">
                  <c:v>119.07061532675743</c:v>
                </c:pt>
                <c:pt idx="2231">
                  <c:v>118.18695875960853</c:v>
                </c:pt>
                <c:pt idx="2232">
                  <c:v>118.03922506115902</c:v>
                </c:pt>
                <c:pt idx="2233">
                  <c:v>117.89167602983257</c:v>
                </c:pt>
                <c:pt idx="2234">
                  <c:v>117.89167602983257</c:v>
                </c:pt>
                <c:pt idx="2235">
                  <c:v>117.89167602983257</c:v>
                </c:pt>
                <c:pt idx="2236">
                  <c:v>117.89167602983257</c:v>
                </c:pt>
                <c:pt idx="2237">
                  <c:v>117.89167602983257</c:v>
                </c:pt>
                <c:pt idx="2238">
                  <c:v>117.89167602983257</c:v>
                </c:pt>
                <c:pt idx="2239">
                  <c:v>117.89167602983257</c:v>
                </c:pt>
                <c:pt idx="2240">
                  <c:v>117.89167602983257</c:v>
                </c:pt>
                <c:pt idx="2241">
                  <c:v>117.89167602983257</c:v>
                </c:pt>
                <c:pt idx="2242">
                  <c:v>117.89167602983257</c:v>
                </c:pt>
                <c:pt idx="2243">
                  <c:v>117.89167602983257</c:v>
                </c:pt>
                <c:pt idx="2244">
                  <c:v>117.89167602983257</c:v>
                </c:pt>
                <c:pt idx="2245">
                  <c:v>117.89167602983257</c:v>
                </c:pt>
                <c:pt idx="2246">
                  <c:v>117.89167602983257</c:v>
                </c:pt>
                <c:pt idx="2247">
                  <c:v>117.89167602983257</c:v>
                </c:pt>
                <c:pt idx="2248">
                  <c:v>117.89167602983257</c:v>
                </c:pt>
                <c:pt idx="2249">
                  <c:v>117.89167602983257</c:v>
                </c:pt>
                <c:pt idx="2250">
                  <c:v>117.89167602983257</c:v>
                </c:pt>
                <c:pt idx="2251">
                  <c:v>117.89167602983257</c:v>
                </c:pt>
                <c:pt idx="2252">
                  <c:v>117.89167602983257</c:v>
                </c:pt>
                <c:pt idx="2253">
                  <c:v>117.89167602983257</c:v>
                </c:pt>
                <c:pt idx="2254">
                  <c:v>117.89167602983257</c:v>
                </c:pt>
                <c:pt idx="2255">
                  <c:v>117.90858507100302</c:v>
                </c:pt>
                <c:pt idx="2256">
                  <c:v>118.44048084655746</c:v>
                </c:pt>
                <c:pt idx="2257">
                  <c:v>118.44048084655746</c:v>
                </c:pt>
                <c:pt idx="2258">
                  <c:v>117.97230050207872</c:v>
                </c:pt>
                <c:pt idx="2259">
                  <c:v>117.82483512645113</c:v>
                </c:pt>
                <c:pt idx="2260">
                  <c:v>117.67755408254307</c:v>
                </c:pt>
                <c:pt idx="2261">
                  <c:v>117.18627430705648</c:v>
                </c:pt>
                <c:pt idx="2262">
                  <c:v>117.77201213381053</c:v>
                </c:pt>
                <c:pt idx="2263">
                  <c:v>116.87519230793144</c:v>
                </c:pt>
                <c:pt idx="2264">
                  <c:v>116.87519230793144</c:v>
                </c:pt>
                <c:pt idx="2265">
                  <c:v>116.72909831754653</c:v>
                </c:pt>
                <c:pt idx="2266">
                  <c:v>116.72909831754653</c:v>
                </c:pt>
                <c:pt idx="2267">
                  <c:v>116.72909831754653</c:v>
                </c:pt>
                <c:pt idx="2268">
                  <c:v>116.72909831754653</c:v>
                </c:pt>
                <c:pt idx="2269">
                  <c:v>116.72909831754653</c:v>
                </c:pt>
                <c:pt idx="2270">
                  <c:v>116.72909831754653</c:v>
                </c:pt>
                <c:pt idx="2271">
                  <c:v>116.72909831754653</c:v>
                </c:pt>
                <c:pt idx="2272">
                  <c:v>107.55342086148183</c:v>
                </c:pt>
                <c:pt idx="2273">
                  <c:v>107.41897908540497</c:v>
                </c:pt>
                <c:pt idx="2274">
                  <c:v>107.28470536154822</c:v>
                </c:pt>
                <c:pt idx="2275">
                  <c:v>107.28470536154822</c:v>
                </c:pt>
                <c:pt idx="2276">
                  <c:v>107.28470536154822</c:v>
                </c:pt>
                <c:pt idx="2277">
                  <c:v>107.28470536154822</c:v>
                </c:pt>
                <c:pt idx="2278">
                  <c:v>107.28470536154822</c:v>
                </c:pt>
                <c:pt idx="2279">
                  <c:v>107.28470536154822</c:v>
                </c:pt>
                <c:pt idx="2280">
                  <c:v>107.28470536154822</c:v>
                </c:pt>
                <c:pt idx="2281">
                  <c:v>107.28470536154822</c:v>
                </c:pt>
                <c:pt idx="2282">
                  <c:v>107.28470536154822</c:v>
                </c:pt>
                <c:pt idx="2283">
                  <c:v>107.28470536154822</c:v>
                </c:pt>
                <c:pt idx="2284">
                  <c:v>107.28470536154822</c:v>
                </c:pt>
                <c:pt idx="2285">
                  <c:v>107.28470536154822</c:v>
                </c:pt>
                <c:pt idx="2286">
                  <c:v>107.28470536154822</c:v>
                </c:pt>
                <c:pt idx="2287">
                  <c:v>107.28470536154822</c:v>
                </c:pt>
                <c:pt idx="2288">
                  <c:v>107.28470536154822</c:v>
                </c:pt>
                <c:pt idx="2289">
                  <c:v>107.28470536154822</c:v>
                </c:pt>
                <c:pt idx="2290">
                  <c:v>107.28470536154822</c:v>
                </c:pt>
                <c:pt idx="2291">
                  <c:v>107.28470536154822</c:v>
                </c:pt>
                <c:pt idx="2292">
                  <c:v>107.28470536154822</c:v>
                </c:pt>
                <c:pt idx="2293">
                  <c:v>107.28470536154822</c:v>
                </c:pt>
                <c:pt idx="2294">
                  <c:v>107.28470536154822</c:v>
                </c:pt>
                <c:pt idx="2295">
                  <c:v>107.28470536154822</c:v>
                </c:pt>
                <c:pt idx="2296">
                  <c:v>107.28470536154822</c:v>
                </c:pt>
                <c:pt idx="2297">
                  <c:v>107.28470536154822</c:v>
                </c:pt>
                <c:pt idx="2298">
                  <c:v>107.28470536154822</c:v>
                </c:pt>
                <c:pt idx="2299">
                  <c:v>107.28470536154822</c:v>
                </c:pt>
                <c:pt idx="2300">
                  <c:v>107.28470536154822</c:v>
                </c:pt>
                <c:pt idx="2301">
                  <c:v>107.28470536154822</c:v>
                </c:pt>
                <c:pt idx="2302">
                  <c:v>107.28470536154822</c:v>
                </c:pt>
                <c:pt idx="2303">
                  <c:v>107.28470536154822</c:v>
                </c:pt>
                <c:pt idx="2304">
                  <c:v>107.28470536154822</c:v>
                </c:pt>
                <c:pt idx="2305">
                  <c:v>107.28470536154822</c:v>
                </c:pt>
                <c:pt idx="2306">
                  <c:v>107.28470536154822</c:v>
                </c:pt>
                <c:pt idx="2307">
                  <c:v>107.28470536154822</c:v>
                </c:pt>
                <c:pt idx="2308">
                  <c:v>107.28470536154822</c:v>
                </c:pt>
                <c:pt idx="2309">
                  <c:v>107.28470536154822</c:v>
                </c:pt>
                <c:pt idx="2310">
                  <c:v>107.28470536154822</c:v>
                </c:pt>
                <c:pt idx="2311">
                  <c:v>107.28470536154822</c:v>
                </c:pt>
                <c:pt idx="2312">
                  <c:v>107.28470536154822</c:v>
                </c:pt>
                <c:pt idx="2313">
                  <c:v>107.28470536154822</c:v>
                </c:pt>
                <c:pt idx="2314">
                  <c:v>107.28470536154822</c:v>
                </c:pt>
                <c:pt idx="2315">
                  <c:v>106.76869693512917</c:v>
                </c:pt>
                <c:pt idx="2316">
                  <c:v>106.63523606396026</c:v>
                </c:pt>
                <c:pt idx="2317">
                  <c:v>106.50194201888031</c:v>
                </c:pt>
                <c:pt idx="2318">
                  <c:v>106.50194201888031</c:v>
                </c:pt>
                <c:pt idx="2319">
                  <c:v>106.50194201888031</c:v>
                </c:pt>
                <c:pt idx="2320">
                  <c:v>106.50194201888031</c:v>
                </c:pt>
                <c:pt idx="2321">
                  <c:v>106.50194201888031</c:v>
                </c:pt>
                <c:pt idx="2322">
                  <c:v>106.50194201888031</c:v>
                </c:pt>
                <c:pt idx="2323">
                  <c:v>106.50194201888031</c:v>
                </c:pt>
                <c:pt idx="2324">
                  <c:v>106.50194201888031</c:v>
                </c:pt>
                <c:pt idx="2325">
                  <c:v>106.50194201888031</c:v>
                </c:pt>
                <c:pt idx="2326">
                  <c:v>106.50194201888031</c:v>
                </c:pt>
                <c:pt idx="2327">
                  <c:v>106.50194201888031</c:v>
                </c:pt>
                <c:pt idx="2328">
                  <c:v>106.50194201888031</c:v>
                </c:pt>
                <c:pt idx="2329">
                  <c:v>106.50194201888031</c:v>
                </c:pt>
                <c:pt idx="2330">
                  <c:v>106.50194201888031</c:v>
                </c:pt>
                <c:pt idx="2331">
                  <c:v>106.50194201888031</c:v>
                </c:pt>
                <c:pt idx="2332">
                  <c:v>106.50194201888031</c:v>
                </c:pt>
                <c:pt idx="2333">
                  <c:v>106.50194201888031</c:v>
                </c:pt>
                <c:pt idx="2334">
                  <c:v>106.50194201888031</c:v>
                </c:pt>
                <c:pt idx="2335">
                  <c:v>106.50194201888031</c:v>
                </c:pt>
                <c:pt idx="2336">
                  <c:v>106.50194201888031</c:v>
                </c:pt>
                <c:pt idx="2337">
                  <c:v>106.50194201888031</c:v>
                </c:pt>
                <c:pt idx="2338">
                  <c:v>106.50194201888031</c:v>
                </c:pt>
                <c:pt idx="2339">
                  <c:v>106.50194201888031</c:v>
                </c:pt>
                <c:pt idx="2340">
                  <c:v>106.50194201888031</c:v>
                </c:pt>
                <c:pt idx="2341">
                  <c:v>106.50194201888031</c:v>
                </c:pt>
                <c:pt idx="2342">
                  <c:v>106.50194201888031</c:v>
                </c:pt>
                <c:pt idx="2343">
                  <c:v>106.50194201888031</c:v>
                </c:pt>
                <c:pt idx="2344">
                  <c:v>106.50194201888031</c:v>
                </c:pt>
                <c:pt idx="2345">
                  <c:v>106.50194201888031</c:v>
                </c:pt>
                <c:pt idx="2346">
                  <c:v>106.50194201888031</c:v>
                </c:pt>
                <c:pt idx="2347">
                  <c:v>106.50194201888031</c:v>
                </c:pt>
                <c:pt idx="2348">
                  <c:v>106.50194201888031</c:v>
                </c:pt>
                <c:pt idx="2349">
                  <c:v>106.50194201888031</c:v>
                </c:pt>
                <c:pt idx="2350">
                  <c:v>106.50194201888031</c:v>
                </c:pt>
                <c:pt idx="2351">
                  <c:v>106.50194201888031</c:v>
                </c:pt>
                <c:pt idx="2352">
                  <c:v>106.50194201888031</c:v>
                </c:pt>
                <c:pt idx="2353">
                  <c:v>106.50194201888031</c:v>
                </c:pt>
                <c:pt idx="2354">
                  <c:v>106.50194201888031</c:v>
                </c:pt>
                <c:pt idx="2355">
                  <c:v>106.50194201888031</c:v>
                </c:pt>
                <c:pt idx="2356">
                  <c:v>106.50194201888031</c:v>
                </c:pt>
                <c:pt idx="2357">
                  <c:v>106.50194201888031</c:v>
                </c:pt>
                <c:pt idx="2358">
                  <c:v>106.50194201888031</c:v>
                </c:pt>
                <c:pt idx="2359">
                  <c:v>106.50194201888031</c:v>
                </c:pt>
                <c:pt idx="2360">
                  <c:v>106.50194201888031</c:v>
                </c:pt>
                <c:pt idx="2361">
                  <c:v>106.50194201888031</c:v>
                </c:pt>
                <c:pt idx="2362">
                  <c:v>106.50194201888031</c:v>
                </c:pt>
                <c:pt idx="2363">
                  <c:v>106.50194201888031</c:v>
                </c:pt>
                <c:pt idx="2364">
                  <c:v>106.50194201888031</c:v>
                </c:pt>
                <c:pt idx="2365">
                  <c:v>106.50194201888031</c:v>
                </c:pt>
                <c:pt idx="2366">
                  <c:v>106.50194201888031</c:v>
                </c:pt>
                <c:pt idx="2367">
                  <c:v>106.50194201888031</c:v>
                </c:pt>
                <c:pt idx="2368">
                  <c:v>106.50194201888031</c:v>
                </c:pt>
                <c:pt idx="2369">
                  <c:v>106.50194201888031</c:v>
                </c:pt>
                <c:pt idx="2370">
                  <c:v>106.50194201888031</c:v>
                </c:pt>
                <c:pt idx="2371">
                  <c:v>106.50194201888031</c:v>
                </c:pt>
                <c:pt idx="2372">
                  <c:v>106.50194201888031</c:v>
                </c:pt>
                <c:pt idx="2373">
                  <c:v>106.50194201888031</c:v>
                </c:pt>
                <c:pt idx="2374">
                  <c:v>106.50194201888031</c:v>
                </c:pt>
                <c:pt idx="2375">
                  <c:v>106.50194201888031</c:v>
                </c:pt>
                <c:pt idx="2376">
                  <c:v>106.50194201888031</c:v>
                </c:pt>
                <c:pt idx="2377">
                  <c:v>106.50194201888031</c:v>
                </c:pt>
                <c:pt idx="2378">
                  <c:v>106.50194201888031</c:v>
                </c:pt>
                <c:pt idx="2379">
                  <c:v>106.50194201888031</c:v>
                </c:pt>
                <c:pt idx="2380">
                  <c:v>109.17630013950348</c:v>
                </c:pt>
                <c:pt idx="2381">
                  <c:v>109.0398297643291</c:v>
                </c:pt>
                <c:pt idx="2382">
                  <c:v>108.9035299771237</c:v>
                </c:pt>
                <c:pt idx="2383">
                  <c:v>112.80929182228533</c:v>
                </c:pt>
                <c:pt idx="2384">
                  <c:v>112.66828020750748</c:v>
                </c:pt>
                <c:pt idx="2385">
                  <c:v>112.5274448572481</c:v>
                </c:pt>
                <c:pt idx="2386">
                  <c:v>112.5274448572481</c:v>
                </c:pt>
                <c:pt idx="2387">
                  <c:v>112.5274448572481</c:v>
                </c:pt>
                <c:pt idx="2388">
                  <c:v>112.5274448572481</c:v>
                </c:pt>
                <c:pt idx="2389">
                  <c:v>112.5274448572481</c:v>
                </c:pt>
                <c:pt idx="2390">
                  <c:v>112.5274448572481</c:v>
                </c:pt>
                <c:pt idx="2391">
                  <c:v>112.5274448572481</c:v>
                </c:pt>
                <c:pt idx="2392">
                  <c:v>112.5274448572481</c:v>
                </c:pt>
                <c:pt idx="2393">
                  <c:v>112.5274448572481</c:v>
                </c:pt>
                <c:pt idx="2394">
                  <c:v>112.5274448572481</c:v>
                </c:pt>
                <c:pt idx="2395">
                  <c:v>112.5274448572481</c:v>
                </c:pt>
                <c:pt idx="2396">
                  <c:v>112.5274448572481</c:v>
                </c:pt>
                <c:pt idx="2397">
                  <c:v>112.5274448572481</c:v>
                </c:pt>
                <c:pt idx="2398">
                  <c:v>112.5274448572481</c:v>
                </c:pt>
                <c:pt idx="2399">
                  <c:v>112.5274448572481</c:v>
                </c:pt>
                <c:pt idx="2400">
                  <c:v>112.5274448572481</c:v>
                </c:pt>
                <c:pt idx="2401">
                  <c:v>112.5274448572481</c:v>
                </c:pt>
                <c:pt idx="2402">
                  <c:v>112.5274448572481</c:v>
                </c:pt>
                <c:pt idx="2403">
                  <c:v>112.5274448572481</c:v>
                </c:pt>
                <c:pt idx="2404">
                  <c:v>112.5274448572481</c:v>
                </c:pt>
                <c:pt idx="2405">
                  <c:v>112.5274448572481</c:v>
                </c:pt>
                <c:pt idx="2406">
                  <c:v>112.5274448572481</c:v>
                </c:pt>
                <c:pt idx="2407">
                  <c:v>112.5274448572481</c:v>
                </c:pt>
                <c:pt idx="2408">
                  <c:v>112.5274448572481</c:v>
                </c:pt>
                <c:pt idx="2409">
                  <c:v>112.5274448572481</c:v>
                </c:pt>
                <c:pt idx="2410">
                  <c:v>112.5274448572481</c:v>
                </c:pt>
                <c:pt idx="2411">
                  <c:v>112.5274448572481</c:v>
                </c:pt>
                <c:pt idx="2412">
                  <c:v>112.5274448572481</c:v>
                </c:pt>
                <c:pt idx="2413">
                  <c:v>112.5274448572481</c:v>
                </c:pt>
                <c:pt idx="2414">
                  <c:v>112.5274448572481</c:v>
                </c:pt>
                <c:pt idx="2415">
                  <c:v>112.5274448572481</c:v>
                </c:pt>
                <c:pt idx="2416">
                  <c:v>112.5274448572481</c:v>
                </c:pt>
                <c:pt idx="2417">
                  <c:v>112.5274448572481</c:v>
                </c:pt>
                <c:pt idx="2418">
                  <c:v>112.5274448572481</c:v>
                </c:pt>
                <c:pt idx="2419">
                  <c:v>112.5274448572481</c:v>
                </c:pt>
                <c:pt idx="2420">
                  <c:v>112.5274448572481</c:v>
                </c:pt>
                <c:pt idx="2421">
                  <c:v>112.5274448572481</c:v>
                </c:pt>
                <c:pt idx="2422">
                  <c:v>112.5274448572481</c:v>
                </c:pt>
                <c:pt idx="2423">
                  <c:v>112.5274448572481</c:v>
                </c:pt>
                <c:pt idx="2424">
                  <c:v>112.5274448572481</c:v>
                </c:pt>
                <c:pt idx="2425">
                  <c:v>112.5274448572481</c:v>
                </c:pt>
                <c:pt idx="2426">
                  <c:v>113.10977765553179</c:v>
                </c:pt>
                <c:pt idx="2427">
                  <c:v>120.06377845672999</c:v>
                </c:pt>
                <c:pt idx="2428">
                  <c:v>120.06377845672999</c:v>
                </c:pt>
                <c:pt idx="2429">
                  <c:v>119.91369873365909</c:v>
                </c:pt>
                <c:pt idx="2430">
                  <c:v>119.91369873365909</c:v>
                </c:pt>
                <c:pt idx="2431">
                  <c:v>119.91369873365909</c:v>
                </c:pt>
                <c:pt idx="2432">
                  <c:v>119.91369873365909</c:v>
                </c:pt>
                <c:pt idx="2433">
                  <c:v>119.91369873365909</c:v>
                </c:pt>
                <c:pt idx="2434">
                  <c:v>119.91369873365909</c:v>
                </c:pt>
                <c:pt idx="2435">
                  <c:v>119.91369873365909</c:v>
                </c:pt>
                <c:pt idx="2436">
                  <c:v>119.91369873365909</c:v>
                </c:pt>
                <c:pt idx="2437">
                  <c:v>119.91369873365909</c:v>
                </c:pt>
                <c:pt idx="2438">
                  <c:v>119.91369873365909</c:v>
                </c:pt>
                <c:pt idx="2439">
                  <c:v>119.91369873365909</c:v>
                </c:pt>
                <c:pt idx="2440">
                  <c:v>119.91369873365909</c:v>
                </c:pt>
                <c:pt idx="2441">
                  <c:v>119.91369873365909</c:v>
                </c:pt>
                <c:pt idx="2442">
                  <c:v>119.91369873365909</c:v>
                </c:pt>
                <c:pt idx="2443">
                  <c:v>119.91369873365909</c:v>
                </c:pt>
                <c:pt idx="2444">
                  <c:v>119.91369873365909</c:v>
                </c:pt>
                <c:pt idx="2445">
                  <c:v>119.91369873365909</c:v>
                </c:pt>
                <c:pt idx="2446">
                  <c:v>119.91369873365909</c:v>
                </c:pt>
                <c:pt idx="2447">
                  <c:v>119.91369873365909</c:v>
                </c:pt>
                <c:pt idx="2448">
                  <c:v>120.21352438264334</c:v>
                </c:pt>
                <c:pt idx="2449">
                  <c:v>120.06325747716504</c:v>
                </c:pt>
                <c:pt idx="2450">
                  <c:v>119.91317840531859</c:v>
                </c:pt>
                <c:pt idx="2451">
                  <c:v>119.91317840531859</c:v>
                </c:pt>
                <c:pt idx="2452">
                  <c:v>119.91317840531859</c:v>
                </c:pt>
                <c:pt idx="2453">
                  <c:v>119.91317840531859</c:v>
                </c:pt>
                <c:pt idx="2454">
                  <c:v>119.91317840531859</c:v>
                </c:pt>
                <c:pt idx="2455">
                  <c:v>119.91317840531859</c:v>
                </c:pt>
                <c:pt idx="2456">
                  <c:v>119.91317840531859</c:v>
                </c:pt>
                <c:pt idx="2457">
                  <c:v>119.91317840531859</c:v>
                </c:pt>
                <c:pt idx="2458">
                  <c:v>119.91317840531859</c:v>
                </c:pt>
                <c:pt idx="2459">
                  <c:v>119.91317840531859</c:v>
                </c:pt>
                <c:pt idx="2460">
                  <c:v>119.91317840531859</c:v>
                </c:pt>
                <c:pt idx="2461">
                  <c:v>119.91317840531859</c:v>
                </c:pt>
                <c:pt idx="2462">
                  <c:v>119.91317840531859</c:v>
                </c:pt>
                <c:pt idx="2463">
                  <c:v>119.91317840531859</c:v>
                </c:pt>
                <c:pt idx="2464">
                  <c:v>119.91317840531859</c:v>
                </c:pt>
                <c:pt idx="2465">
                  <c:v>112.36220263581951</c:v>
                </c:pt>
                <c:pt idx="2466">
                  <c:v>112.22174988252475</c:v>
                </c:pt>
                <c:pt idx="2467">
                  <c:v>112.0814726951716</c:v>
                </c:pt>
                <c:pt idx="2468">
                  <c:v>112.0814726951716</c:v>
                </c:pt>
                <c:pt idx="2469">
                  <c:v>112.0814726951716</c:v>
                </c:pt>
                <c:pt idx="2470">
                  <c:v>112.0814726951716</c:v>
                </c:pt>
                <c:pt idx="2471">
                  <c:v>112.0814726951716</c:v>
                </c:pt>
                <c:pt idx="2472">
                  <c:v>112.0814726951716</c:v>
                </c:pt>
                <c:pt idx="2473">
                  <c:v>112.0814726951716</c:v>
                </c:pt>
                <c:pt idx="2474">
                  <c:v>112.0814726951716</c:v>
                </c:pt>
                <c:pt idx="2475">
                  <c:v>112.0814726951716</c:v>
                </c:pt>
                <c:pt idx="2476">
                  <c:v>112.0814726951716</c:v>
                </c:pt>
                <c:pt idx="2477">
                  <c:v>112.0814726951716</c:v>
                </c:pt>
                <c:pt idx="2478">
                  <c:v>112.0814726951716</c:v>
                </c:pt>
                <c:pt idx="2479">
                  <c:v>112.0814726951716</c:v>
                </c:pt>
                <c:pt idx="2480">
                  <c:v>112.0814726951716</c:v>
                </c:pt>
                <c:pt idx="2481">
                  <c:v>112.0814726951716</c:v>
                </c:pt>
                <c:pt idx="2482">
                  <c:v>112.0814726951716</c:v>
                </c:pt>
                <c:pt idx="2483">
                  <c:v>112.0814726951716</c:v>
                </c:pt>
                <c:pt idx="2484">
                  <c:v>112.0814726951716</c:v>
                </c:pt>
                <c:pt idx="2485">
                  <c:v>112.0814726951716</c:v>
                </c:pt>
                <c:pt idx="2486">
                  <c:v>112.0814726951716</c:v>
                </c:pt>
                <c:pt idx="2487">
                  <c:v>112.0814726951716</c:v>
                </c:pt>
                <c:pt idx="2488">
                  <c:v>112.0814726951716</c:v>
                </c:pt>
                <c:pt idx="2489">
                  <c:v>112.0814726951716</c:v>
                </c:pt>
                <c:pt idx="2490">
                  <c:v>112.0814726951716</c:v>
                </c:pt>
                <c:pt idx="2491">
                  <c:v>112.0814726951716</c:v>
                </c:pt>
                <c:pt idx="2492">
                  <c:v>112.0814726951716</c:v>
                </c:pt>
                <c:pt idx="2493">
                  <c:v>111.18922120169042</c:v>
                </c:pt>
                <c:pt idx="2494">
                  <c:v>111.05023467518831</c:v>
                </c:pt>
                <c:pt idx="2495">
                  <c:v>110.91142188184432</c:v>
                </c:pt>
                <c:pt idx="2496">
                  <c:v>110.91142188184432</c:v>
                </c:pt>
                <c:pt idx="2497">
                  <c:v>110.91142188184432</c:v>
                </c:pt>
                <c:pt idx="2498">
                  <c:v>110.85430056713474</c:v>
                </c:pt>
                <c:pt idx="2499">
                  <c:v>108.69900725755164</c:v>
                </c:pt>
                <c:pt idx="2500">
                  <c:v>108.69900725755164</c:v>
                </c:pt>
                <c:pt idx="2501">
                  <c:v>108.5631334984797</c:v>
                </c:pt>
                <c:pt idx="2502">
                  <c:v>108.5631334984797</c:v>
                </c:pt>
                <c:pt idx="2503">
                  <c:v>108.5631334984797</c:v>
                </c:pt>
                <c:pt idx="2504">
                  <c:v>108.5631334984797</c:v>
                </c:pt>
                <c:pt idx="2505">
                  <c:v>108.5631334984797</c:v>
                </c:pt>
                <c:pt idx="2506">
                  <c:v>108.5631334984797</c:v>
                </c:pt>
                <c:pt idx="2507">
                  <c:v>108.5631334984797</c:v>
                </c:pt>
                <c:pt idx="2508">
                  <c:v>108.5631334984797</c:v>
                </c:pt>
                <c:pt idx="2509">
                  <c:v>108.5631334984797</c:v>
                </c:pt>
                <c:pt idx="2510">
                  <c:v>108.5631334984797</c:v>
                </c:pt>
                <c:pt idx="2511">
                  <c:v>108.5631334984797</c:v>
                </c:pt>
                <c:pt idx="2512">
                  <c:v>108.5631334984797</c:v>
                </c:pt>
                <c:pt idx="2513">
                  <c:v>108.5631334984797</c:v>
                </c:pt>
                <c:pt idx="2514">
                  <c:v>108.5631334984797</c:v>
                </c:pt>
                <c:pt idx="2515">
                  <c:v>108.5631334984797</c:v>
                </c:pt>
                <c:pt idx="2516">
                  <c:v>108.5631334984797</c:v>
                </c:pt>
                <c:pt idx="2517">
                  <c:v>108.5631334984797</c:v>
                </c:pt>
                <c:pt idx="2518">
                  <c:v>108.5631334984797</c:v>
                </c:pt>
                <c:pt idx="2519">
                  <c:v>108.5631334984797</c:v>
                </c:pt>
                <c:pt idx="2520">
                  <c:v>108.5631334984797</c:v>
                </c:pt>
                <c:pt idx="2521">
                  <c:v>108.5631334984797</c:v>
                </c:pt>
                <c:pt idx="2522">
                  <c:v>108.5631334984797</c:v>
                </c:pt>
                <c:pt idx="2523">
                  <c:v>108.5631334984797</c:v>
                </c:pt>
                <c:pt idx="2524">
                  <c:v>108.5631334984797</c:v>
                </c:pt>
                <c:pt idx="2525">
                  <c:v>108.5631334984797</c:v>
                </c:pt>
                <c:pt idx="2526">
                  <c:v>108.5631334984797</c:v>
                </c:pt>
                <c:pt idx="2527">
                  <c:v>108.5631334984797</c:v>
                </c:pt>
                <c:pt idx="2528">
                  <c:v>108.5631334984797</c:v>
                </c:pt>
                <c:pt idx="2529">
                  <c:v>108.5631334984797</c:v>
                </c:pt>
                <c:pt idx="2530">
                  <c:v>108.5631334984797</c:v>
                </c:pt>
                <c:pt idx="2531">
                  <c:v>108.5631334984797</c:v>
                </c:pt>
                <c:pt idx="2532">
                  <c:v>108.5631334984797</c:v>
                </c:pt>
                <c:pt idx="2533">
                  <c:v>108.5631334984797</c:v>
                </c:pt>
                <c:pt idx="2534">
                  <c:v>108.5631334984797</c:v>
                </c:pt>
                <c:pt idx="2535">
                  <c:v>108.5631334984797</c:v>
                </c:pt>
                <c:pt idx="2536">
                  <c:v>108.5631334984797</c:v>
                </c:pt>
                <c:pt idx="2537">
                  <c:v>108.5631334984797</c:v>
                </c:pt>
                <c:pt idx="2538">
                  <c:v>108.5631334984797</c:v>
                </c:pt>
                <c:pt idx="2539">
                  <c:v>108.5631334984797</c:v>
                </c:pt>
                <c:pt idx="2540">
                  <c:v>108.5631334984797</c:v>
                </c:pt>
                <c:pt idx="2541">
                  <c:v>114.87234904336358</c:v>
                </c:pt>
                <c:pt idx="2542">
                  <c:v>114.72875860705938</c:v>
                </c:pt>
                <c:pt idx="2543">
                  <c:v>114.58534765880056</c:v>
                </c:pt>
                <c:pt idx="2544">
                  <c:v>114.18497145812476</c:v>
                </c:pt>
                <c:pt idx="2545">
                  <c:v>114.04224024380211</c:v>
                </c:pt>
                <c:pt idx="2546">
                  <c:v>113.89968744349736</c:v>
                </c:pt>
                <c:pt idx="2547">
                  <c:v>113.89968744349736</c:v>
                </c:pt>
                <c:pt idx="2548">
                  <c:v>114.23128793311469</c:v>
                </c:pt>
                <c:pt idx="2549">
                  <c:v>114.08849882319829</c:v>
                </c:pt>
                <c:pt idx="2550">
                  <c:v>113.9458881996693</c:v>
                </c:pt>
                <c:pt idx="2551">
                  <c:v>113.86937221836658</c:v>
                </c:pt>
                <c:pt idx="2552">
                  <c:v>113.72703550309362</c:v>
                </c:pt>
                <c:pt idx="2553">
                  <c:v>113.58487670871476</c:v>
                </c:pt>
                <c:pt idx="2554">
                  <c:v>113.90785321767247</c:v>
                </c:pt>
                <c:pt idx="2555">
                  <c:v>115.11208880156481</c:v>
                </c:pt>
                <c:pt idx="2556">
                  <c:v>115.11208880156481</c:v>
                </c:pt>
                <c:pt idx="2557">
                  <c:v>114.96819869056286</c:v>
                </c:pt>
                <c:pt idx="2558">
                  <c:v>114.96819869056286</c:v>
                </c:pt>
                <c:pt idx="2559">
                  <c:v>114.96819869056286</c:v>
                </c:pt>
                <c:pt idx="2560">
                  <c:v>114.96819869056286</c:v>
                </c:pt>
                <c:pt idx="2561">
                  <c:v>114.96819869056286</c:v>
                </c:pt>
                <c:pt idx="2562">
                  <c:v>114.96819869056286</c:v>
                </c:pt>
                <c:pt idx="2563">
                  <c:v>114.96819869056286</c:v>
                </c:pt>
                <c:pt idx="2564">
                  <c:v>114.96819869056286</c:v>
                </c:pt>
                <c:pt idx="2565">
                  <c:v>114.96819869056286</c:v>
                </c:pt>
                <c:pt idx="2566">
                  <c:v>114.96819869056286</c:v>
                </c:pt>
                <c:pt idx="2567">
                  <c:v>114.96819869056286</c:v>
                </c:pt>
                <c:pt idx="2568">
                  <c:v>114.96819869056286</c:v>
                </c:pt>
                <c:pt idx="2569">
                  <c:v>114.96819869056286</c:v>
                </c:pt>
                <c:pt idx="2570">
                  <c:v>114.96819869056286</c:v>
                </c:pt>
                <c:pt idx="2571">
                  <c:v>114.96819869056286</c:v>
                </c:pt>
                <c:pt idx="2572">
                  <c:v>114.96819869056286</c:v>
                </c:pt>
                <c:pt idx="2573">
                  <c:v>114.96819869056286</c:v>
                </c:pt>
                <c:pt idx="2574">
                  <c:v>114.96819869056286</c:v>
                </c:pt>
                <c:pt idx="2575">
                  <c:v>114.96819869056286</c:v>
                </c:pt>
                <c:pt idx="2576">
                  <c:v>114.96819869056286</c:v>
                </c:pt>
                <c:pt idx="2577">
                  <c:v>114.96819869056286</c:v>
                </c:pt>
                <c:pt idx="2578">
                  <c:v>114.96819869056286</c:v>
                </c:pt>
                <c:pt idx="2579">
                  <c:v>114.96819869056286</c:v>
                </c:pt>
                <c:pt idx="2580">
                  <c:v>114.96819869056286</c:v>
                </c:pt>
                <c:pt idx="2581">
                  <c:v>114.96819869056286</c:v>
                </c:pt>
                <c:pt idx="2582">
                  <c:v>114.96819869056286</c:v>
                </c:pt>
                <c:pt idx="2583">
                  <c:v>114.96819869056286</c:v>
                </c:pt>
                <c:pt idx="2584">
                  <c:v>114.96819869056286</c:v>
                </c:pt>
                <c:pt idx="2585">
                  <c:v>114.96819869056286</c:v>
                </c:pt>
                <c:pt idx="2586">
                  <c:v>114.96819869056286</c:v>
                </c:pt>
                <c:pt idx="2587">
                  <c:v>114.96819869056286</c:v>
                </c:pt>
                <c:pt idx="2588">
                  <c:v>114.96819869056286</c:v>
                </c:pt>
                <c:pt idx="2589">
                  <c:v>114.96819869056286</c:v>
                </c:pt>
                <c:pt idx="2590">
                  <c:v>114.96819869056286</c:v>
                </c:pt>
                <c:pt idx="2591">
                  <c:v>114.96819869056286</c:v>
                </c:pt>
                <c:pt idx="2592">
                  <c:v>114.96819869056286</c:v>
                </c:pt>
                <c:pt idx="2593">
                  <c:v>114.96819869056286</c:v>
                </c:pt>
                <c:pt idx="2594">
                  <c:v>114.96819869056286</c:v>
                </c:pt>
                <c:pt idx="2595">
                  <c:v>114.96819869056286</c:v>
                </c:pt>
                <c:pt idx="2596">
                  <c:v>114.96819869056286</c:v>
                </c:pt>
                <c:pt idx="2597">
                  <c:v>114.96819869056286</c:v>
                </c:pt>
                <c:pt idx="2598">
                  <c:v>114.96819869056286</c:v>
                </c:pt>
                <c:pt idx="2599">
                  <c:v>114.96819869056286</c:v>
                </c:pt>
                <c:pt idx="2600">
                  <c:v>114.96819869056286</c:v>
                </c:pt>
                <c:pt idx="2601">
                  <c:v>114.96819869056286</c:v>
                </c:pt>
                <c:pt idx="2602">
                  <c:v>114.96819869056286</c:v>
                </c:pt>
                <c:pt idx="2603">
                  <c:v>114.96819869056286</c:v>
                </c:pt>
                <c:pt idx="2604">
                  <c:v>114.96819869056286</c:v>
                </c:pt>
                <c:pt idx="2605">
                  <c:v>114.96819869056286</c:v>
                </c:pt>
                <c:pt idx="2606">
                  <c:v>114.96819869056286</c:v>
                </c:pt>
                <c:pt idx="2607">
                  <c:v>114.96819869056286</c:v>
                </c:pt>
                <c:pt idx="2608">
                  <c:v>114.96819869056286</c:v>
                </c:pt>
                <c:pt idx="2609">
                  <c:v>114.96819869056286</c:v>
                </c:pt>
                <c:pt idx="2610">
                  <c:v>114.96819869056286</c:v>
                </c:pt>
                <c:pt idx="2611">
                  <c:v>114.96819869056286</c:v>
                </c:pt>
                <c:pt idx="2612">
                  <c:v>114.96819869056286</c:v>
                </c:pt>
                <c:pt idx="2613">
                  <c:v>114.96819869056286</c:v>
                </c:pt>
                <c:pt idx="2614">
                  <c:v>114.96819869056286</c:v>
                </c:pt>
                <c:pt idx="2615">
                  <c:v>114.96819869056286</c:v>
                </c:pt>
                <c:pt idx="2616">
                  <c:v>114.96819869056286</c:v>
                </c:pt>
                <c:pt idx="2617">
                  <c:v>114.96819869056286</c:v>
                </c:pt>
                <c:pt idx="2618">
                  <c:v>114.96819869056286</c:v>
                </c:pt>
                <c:pt idx="2619">
                  <c:v>114.96819869056286</c:v>
                </c:pt>
                <c:pt idx="2620">
                  <c:v>114.96819869056286</c:v>
                </c:pt>
                <c:pt idx="2621">
                  <c:v>114.96819869056286</c:v>
                </c:pt>
                <c:pt idx="2622">
                  <c:v>114.96819869056286</c:v>
                </c:pt>
                <c:pt idx="2623">
                  <c:v>114.96819869056286</c:v>
                </c:pt>
                <c:pt idx="2624">
                  <c:v>114.96819869056286</c:v>
                </c:pt>
                <c:pt idx="2625">
                  <c:v>114.96819869056286</c:v>
                </c:pt>
                <c:pt idx="2626">
                  <c:v>114.96819869056286</c:v>
                </c:pt>
              </c:numCache>
            </c:numRef>
          </c:val>
          <c:smooth val="0"/>
          <c:extLst xmlns:c16r2="http://schemas.microsoft.com/office/drawing/2015/06/chart">
            <c:ext xmlns:c16="http://schemas.microsoft.com/office/drawing/2014/chart" uri="{C3380CC4-5D6E-409C-BE32-E72D297353CC}">
              <c16:uniqueId val="{00000003-668D-4C79-B93F-5720935D3C33}"/>
            </c:ext>
          </c:extLst>
        </c:ser>
        <c:dLbls>
          <c:showLegendKey val="0"/>
          <c:showVal val="0"/>
          <c:showCatName val="0"/>
          <c:showSerName val="0"/>
          <c:showPercent val="0"/>
          <c:showBubbleSize val="0"/>
        </c:dLbls>
        <c:marker val="1"/>
        <c:smooth val="0"/>
        <c:axId val="559493120"/>
        <c:axId val="559494656"/>
      </c:lineChart>
      <c:dateAx>
        <c:axId val="559493120"/>
        <c:scaling>
          <c:orientation val="minMax"/>
        </c:scaling>
        <c:delete val="0"/>
        <c:axPos val="b"/>
        <c:numFmt formatCode="m/d/yyyy" sourceLinked="1"/>
        <c:majorTickMark val="none"/>
        <c:minorTickMark val="none"/>
        <c:tickLblPos val="nextTo"/>
        <c:crossAx val="559494656"/>
        <c:crosses val="autoZero"/>
        <c:auto val="1"/>
        <c:lblOffset val="100"/>
        <c:baseTimeUnit val="days"/>
      </c:dateAx>
      <c:valAx>
        <c:axId val="559494656"/>
        <c:scaling>
          <c:orientation val="minMax"/>
        </c:scaling>
        <c:delete val="0"/>
        <c:axPos val="l"/>
        <c:majorGridlines/>
        <c:numFmt formatCode="General" sourceLinked="1"/>
        <c:majorTickMark val="none"/>
        <c:minorTickMark val="none"/>
        <c:tickLblPos val="nextTo"/>
        <c:spPr>
          <a:ln w="9525">
            <a:noFill/>
          </a:ln>
        </c:spPr>
        <c:crossAx val="559493120"/>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rical simulation</a:t>
            </a:r>
          </a:p>
        </c:rich>
      </c:tx>
      <c:layout/>
      <c:overlay val="0"/>
    </c:title>
    <c:autoTitleDeleted val="0"/>
    <c:plotArea>
      <c:layout/>
      <c:lineChart>
        <c:grouping val="standard"/>
        <c:varyColors val="0"/>
        <c:ser>
          <c:idx val="0"/>
          <c:order val="0"/>
          <c:tx>
            <c:strRef>
              <c:f>'12M'!$O$30</c:f>
              <c:strCache>
                <c:ptCount val="1"/>
                <c:pt idx="0">
                  <c:v>Basic Mean Reversion Strategy</c:v>
                </c:pt>
              </c:strCache>
            </c:strRef>
          </c:tx>
          <c:marker>
            <c:symbol val="none"/>
          </c:marker>
          <c:cat>
            <c:numRef>
              <c:f>'12M'!$N$283:$N$2763</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12M'!$O$283:$O$2763</c:f>
              <c:numCache>
                <c:formatCode>General</c:formatCode>
                <c:ptCount val="2481"/>
                <c:pt idx="0">
                  <c:v>100</c:v>
                </c:pt>
                <c:pt idx="1">
                  <c:v>102.84766358834962</c:v>
                </c:pt>
                <c:pt idx="2">
                  <c:v>102.92271325005522</c:v>
                </c:pt>
                <c:pt idx="3">
                  <c:v>102.04187660904215</c:v>
                </c:pt>
                <c:pt idx="4">
                  <c:v>103.3093839246246</c:v>
                </c:pt>
                <c:pt idx="5">
                  <c:v>102.86550353184874</c:v>
                </c:pt>
                <c:pt idx="6">
                  <c:v>102.86460834082682</c:v>
                </c:pt>
                <c:pt idx="7">
                  <c:v>101.47564662125946</c:v>
                </c:pt>
                <c:pt idx="8">
                  <c:v>100.90071051445949</c:v>
                </c:pt>
                <c:pt idx="9">
                  <c:v>99.919051341501245</c:v>
                </c:pt>
                <c:pt idx="10">
                  <c:v>102.36791270249361</c:v>
                </c:pt>
                <c:pt idx="11">
                  <c:v>100.56502462855296</c:v>
                </c:pt>
                <c:pt idx="12">
                  <c:v>100.02318861808135</c:v>
                </c:pt>
                <c:pt idx="13">
                  <c:v>98.524820892234786</c:v>
                </c:pt>
                <c:pt idx="14">
                  <c:v>97.876793768954599</c:v>
                </c:pt>
                <c:pt idx="15">
                  <c:v>97.585942005828173</c:v>
                </c:pt>
                <c:pt idx="16">
                  <c:v>96.616187215168438</c:v>
                </c:pt>
                <c:pt idx="17">
                  <c:v>96.775645494700754</c:v>
                </c:pt>
                <c:pt idx="18">
                  <c:v>99.844962579424717</c:v>
                </c:pt>
                <c:pt idx="19">
                  <c:v>104.29117182001877</c:v>
                </c:pt>
                <c:pt idx="20">
                  <c:v>104.44702470768048</c:v>
                </c:pt>
                <c:pt idx="21">
                  <c:v>105.7049865848844</c:v>
                </c:pt>
                <c:pt idx="22">
                  <c:v>95.139755160745111</c:v>
                </c:pt>
                <c:pt idx="23">
                  <c:v>93.733305959814004</c:v>
                </c:pt>
                <c:pt idx="24">
                  <c:v>92.256708855948972</c:v>
                </c:pt>
                <c:pt idx="25">
                  <c:v>86.169301191489879</c:v>
                </c:pt>
                <c:pt idx="26">
                  <c:v>86.863989441922243</c:v>
                </c:pt>
                <c:pt idx="27">
                  <c:v>84.208404366293507</c:v>
                </c:pt>
                <c:pt idx="28">
                  <c:v>88.311736445405828</c:v>
                </c:pt>
                <c:pt idx="29">
                  <c:v>91.169520827912237</c:v>
                </c:pt>
                <c:pt idx="30">
                  <c:v>82.351997891047006</c:v>
                </c:pt>
                <c:pt idx="31">
                  <c:v>82.493679700924048</c:v>
                </c:pt>
                <c:pt idx="32">
                  <c:v>86.332227601153136</c:v>
                </c:pt>
                <c:pt idx="33">
                  <c:v>87.352217976804013</c:v>
                </c:pt>
                <c:pt idx="34">
                  <c:v>89.402927383095033</c:v>
                </c:pt>
                <c:pt idx="35">
                  <c:v>91.122868584213847</c:v>
                </c:pt>
                <c:pt idx="36">
                  <c:v>90.517093331568063</c:v>
                </c:pt>
                <c:pt idx="37">
                  <c:v>89.195998702599738</c:v>
                </c:pt>
                <c:pt idx="38">
                  <c:v>88.09969946719842</c:v>
                </c:pt>
                <c:pt idx="39">
                  <c:v>84.434068804071728</c:v>
                </c:pt>
                <c:pt idx="40">
                  <c:v>72.601339003168036</c:v>
                </c:pt>
                <c:pt idx="41">
                  <c:v>69.645371117735451</c:v>
                </c:pt>
                <c:pt idx="42">
                  <c:v>87.420973620175744</c:v>
                </c:pt>
                <c:pt idx="43">
                  <c:v>84.734161627524841</c:v>
                </c:pt>
                <c:pt idx="44">
                  <c:v>84.69327002253938</c:v>
                </c:pt>
                <c:pt idx="45">
                  <c:v>84.419325793087083</c:v>
                </c:pt>
                <c:pt idx="46">
                  <c:v>83.508624303771768</c:v>
                </c:pt>
                <c:pt idx="47">
                  <c:v>83.615942068033632</c:v>
                </c:pt>
                <c:pt idx="48">
                  <c:v>83.426123062299325</c:v>
                </c:pt>
                <c:pt idx="49">
                  <c:v>83.157167751579934</c:v>
                </c:pt>
                <c:pt idx="50">
                  <c:v>83.864028700819148</c:v>
                </c:pt>
                <c:pt idx="51">
                  <c:v>83.909917005039432</c:v>
                </c:pt>
                <c:pt idx="52">
                  <c:v>82.524646912903108</c:v>
                </c:pt>
                <c:pt idx="53">
                  <c:v>82.444113525907611</c:v>
                </c:pt>
                <c:pt idx="54">
                  <c:v>81.732236155507067</c:v>
                </c:pt>
                <c:pt idx="55">
                  <c:v>83.295321623091723</c:v>
                </c:pt>
                <c:pt idx="56">
                  <c:v>82.731917711852745</c:v>
                </c:pt>
                <c:pt idx="57">
                  <c:v>82.889129990457064</c:v>
                </c:pt>
                <c:pt idx="58">
                  <c:v>82.840022289419878</c:v>
                </c:pt>
                <c:pt idx="59">
                  <c:v>82.558459298990726</c:v>
                </c:pt>
                <c:pt idx="60">
                  <c:v>82.83138366787864</c:v>
                </c:pt>
                <c:pt idx="61">
                  <c:v>84.537710266103375</c:v>
                </c:pt>
                <c:pt idx="62">
                  <c:v>84.440955567473651</c:v>
                </c:pt>
                <c:pt idx="63">
                  <c:v>84.764299135785279</c:v>
                </c:pt>
                <c:pt idx="64">
                  <c:v>85.967376284287823</c:v>
                </c:pt>
                <c:pt idx="65">
                  <c:v>90.545968260390467</c:v>
                </c:pt>
                <c:pt idx="66">
                  <c:v>87.649396375290053</c:v>
                </c:pt>
                <c:pt idx="67">
                  <c:v>87.103703116068829</c:v>
                </c:pt>
                <c:pt idx="68">
                  <c:v>90.094530576086044</c:v>
                </c:pt>
                <c:pt idx="69">
                  <c:v>91.444665073022364</c:v>
                </c:pt>
                <c:pt idx="70">
                  <c:v>90.949650972717635</c:v>
                </c:pt>
                <c:pt idx="71">
                  <c:v>92.067519907733427</c:v>
                </c:pt>
                <c:pt idx="72">
                  <c:v>89.373927063925734</c:v>
                </c:pt>
                <c:pt idx="73">
                  <c:v>89.667686770683432</c:v>
                </c:pt>
                <c:pt idx="74">
                  <c:v>91.659981571627995</c:v>
                </c:pt>
                <c:pt idx="75">
                  <c:v>90.188237871232161</c:v>
                </c:pt>
                <c:pt idx="76">
                  <c:v>89.900956024193022</c:v>
                </c:pt>
                <c:pt idx="77">
                  <c:v>90.561223414019238</c:v>
                </c:pt>
                <c:pt idx="78">
                  <c:v>91.072187570423168</c:v>
                </c:pt>
                <c:pt idx="79">
                  <c:v>90.976296282684459</c:v>
                </c:pt>
                <c:pt idx="80">
                  <c:v>90.9534585159427</c:v>
                </c:pt>
                <c:pt idx="81">
                  <c:v>91.084143743758986</c:v>
                </c:pt>
                <c:pt idx="82">
                  <c:v>91.028559845692229</c:v>
                </c:pt>
                <c:pt idx="83">
                  <c:v>90.604110232009404</c:v>
                </c:pt>
                <c:pt idx="84">
                  <c:v>90.584692245304126</c:v>
                </c:pt>
                <c:pt idx="85">
                  <c:v>86.059057139799293</c:v>
                </c:pt>
                <c:pt idx="86">
                  <c:v>85.376239040373662</c:v>
                </c:pt>
                <c:pt idx="87">
                  <c:v>83.980140840165433</c:v>
                </c:pt>
                <c:pt idx="88">
                  <c:v>83.006950945747462</c:v>
                </c:pt>
                <c:pt idx="89">
                  <c:v>82.459145480557893</c:v>
                </c:pt>
                <c:pt idx="90">
                  <c:v>84.458801657924667</c:v>
                </c:pt>
                <c:pt idx="91">
                  <c:v>84.02987917510211</c:v>
                </c:pt>
                <c:pt idx="92">
                  <c:v>82.08885960978526</c:v>
                </c:pt>
                <c:pt idx="93">
                  <c:v>80.690277273031214</c:v>
                </c:pt>
                <c:pt idx="94">
                  <c:v>82.202857255138255</c:v>
                </c:pt>
                <c:pt idx="95">
                  <c:v>81.593244796735036</c:v>
                </c:pt>
                <c:pt idx="96">
                  <c:v>80.297248172157452</c:v>
                </c:pt>
                <c:pt idx="97">
                  <c:v>78.580960532819049</c:v>
                </c:pt>
                <c:pt idx="98">
                  <c:v>78.820019940938721</c:v>
                </c:pt>
                <c:pt idx="99">
                  <c:v>83.066906078735641</c:v>
                </c:pt>
                <c:pt idx="100">
                  <c:v>83.906542883106709</c:v>
                </c:pt>
                <c:pt idx="101">
                  <c:v>84.330044583521797</c:v>
                </c:pt>
                <c:pt idx="102">
                  <c:v>84.79198354254325</c:v>
                </c:pt>
                <c:pt idx="103">
                  <c:v>90.533836953312345</c:v>
                </c:pt>
                <c:pt idx="104">
                  <c:v>92.003187944566506</c:v>
                </c:pt>
                <c:pt idx="105">
                  <c:v>92.28485366688254</c:v>
                </c:pt>
                <c:pt idx="106">
                  <c:v>92.086894277424975</c:v>
                </c:pt>
                <c:pt idx="107">
                  <c:v>91.234410534477234</c:v>
                </c:pt>
                <c:pt idx="108">
                  <c:v>90.839307524118254</c:v>
                </c:pt>
                <c:pt idx="109">
                  <c:v>89.068840495148876</c:v>
                </c:pt>
                <c:pt idx="110">
                  <c:v>91.490011827832518</c:v>
                </c:pt>
                <c:pt idx="111">
                  <c:v>91.681135307923412</c:v>
                </c:pt>
                <c:pt idx="112">
                  <c:v>88.954905512822094</c:v>
                </c:pt>
                <c:pt idx="113">
                  <c:v>88.20469560329569</c:v>
                </c:pt>
                <c:pt idx="114">
                  <c:v>88.01211713166397</c:v>
                </c:pt>
                <c:pt idx="115">
                  <c:v>87.81209217067898</c:v>
                </c:pt>
                <c:pt idx="116">
                  <c:v>87.278649783641484</c:v>
                </c:pt>
                <c:pt idx="117">
                  <c:v>89.076355371622185</c:v>
                </c:pt>
                <c:pt idx="118">
                  <c:v>89.871803734102244</c:v>
                </c:pt>
                <c:pt idx="119">
                  <c:v>88.058383485153641</c:v>
                </c:pt>
                <c:pt idx="120">
                  <c:v>88.063974807711105</c:v>
                </c:pt>
                <c:pt idx="121">
                  <c:v>87.154050965820176</c:v>
                </c:pt>
                <c:pt idx="122">
                  <c:v>85.406652911585851</c:v>
                </c:pt>
                <c:pt idx="123">
                  <c:v>81.841363906394832</c:v>
                </c:pt>
                <c:pt idx="124">
                  <c:v>81.135550277733685</c:v>
                </c:pt>
                <c:pt idx="125">
                  <c:v>79.318603966916584</c:v>
                </c:pt>
                <c:pt idx="126">
                  <c:v>78.273452756211682</c:v>
                </c:pt>
                <c:pt idx="127">
                  <c:v>76.617525226558925</c:v>
                </c:pt>
                <c:pt idx="128">
                  <c:v>77.471395354820231</c:v>
                </c:pt>
                <c:pt idx="129">
                  <c:v>77.102035427291952</c:v>
                </c:pt>
                <c:pt idx="130">
                  <c:v>76.67254369129121</c:v>
                </c:pt>
                <c:pt idx="131">
                  <c:v>75.201847390128236</c:v>
                </c:pt>
                <c:pt idx="132">
                  <c:v>73.177777617679823</c:v>
                </c:pt>
                <c:pt idx="133">
                  <c:v>72.13242987850164</c:v>
                </c:pt>
                <c:pt idx="134">
                  <c:v>70.354415435848836</c:v>
                </c:pt>
                <c:pt idx="135">
                  <c:v>68.881060164607362</c:v>
                </c:pt>
                <c:pt idx="136">
                  <c:v>69.245259829695769</c:v>
                </c:pt>
                <c:pt idx="137">
                  <c:v>69.48934739122528</c:v>
                </c:pt>
                <c:pt idx="138">
                  <c:v>69.243909537612666</c:v>
                </c:pt>
                <c:pt idx="139">
                  <c:v>70.712740459984289</c:v>
                </c:pt>
                <c:pt idx="140">
                  <c:v>71.321670896678157</c:v>
                </c:pt>
                <c:pt idx="141">
                  <c:v>70.595677963942961</c:v>
                </c:pt>
                <c:pt idx="142">
                  <c:v>71.317389607009019</c:v>
                </c:pt>
                <c:pt idx="143">
                  <c:v>71.275943214522727</c:v>
                </c:pt>
                <c:pt idx="144">
                  <c:v>69.473174889681559</c:v>
                </c:pt>
                <c:pt idx="145">
                  <c:v>69.914965707300865</c:v>
                </c:pt>
                <c:pt idx="146">
                  <c:v>70.385185115428712</c:v>
                </c:pt>
                <c:pt idx="147">
                  <c:v>70.501938736284956</c:v>
                </c:pt>
                <c:pt idx="148">
                  <c:v>69.029207898165254</c:v>
                </c:pt>
                <c:pt idx="149">
                  <c:v>68.437049058454775</c:v>
                </c:pt>
                <c:pt idx="150">
                  <c:v>68.200185204294556</c:v>
                </c:pt>
                <c:pt idx="151">
                  <c:v>68.7297178259997</c:v>
                </c:pt>
                <c:pt idx="152">
                  <c:v>67.315083122725937</c:v>
                </c:pt>
                <c:pt idx="153">
                  <c:v>67.724288942390004</c:v>
                </c:pt>
                <c:pt idx="154">
                  <c:v>68.371171575864267</c:v>
                </c:pt>
                <c:pt idx="155">
                  <c:v>68.899743661454735</c:v>
                </c:pt>
                <c:pt idx="156">
                  <c:v>72.439563307177124</c:v>
                </c:pt>
                <c:pt idx="157">
                  <c:v>73.019563934054531</c:v>
                </c:pt>
                <c:pt idx="158">
                  <c:v>76.188813569979459</c:v>
                </c:pt>
                <c:pt idx="159">
                  <c:v>76.779614327932507</c:v>
                </c:pt>
                <c:pt idx="160">
                  <c:v>78.126949957002807</c:v>
                </c:pt>
                <c:pt idx="161">
                  <c:v>77.03702766001166</c:v>
                </c:pt>
                <c:pt idx="162">
                  <c:v>76.911284998066137</c:v>
                </c:pt>
                <c:pt idx="163">
                  <c:v>76.949712875073317</c:v>
                </c:pt>
                <c:pt idx="164">
                  <c:v>78.776304182037947</c:v>
                </c:pt>
                <c:pt idx="165">
                  <c:v>78.687869083280972</c:v>
                </c:pt>
                <c:pt idx="166">
                  <c:v>82.039076615469469</c:v>
                </c:pt>
                <c:pt idx="167">
                  <c:v>83.559985393420789</c:v>
                </c:pt>
                <c:pt idx="168">
                  <c:v>80.11374952564077</c:v>
                </c:pt>
                <c:pt idx="169">
                  <c:v>78.755463294369036</c:v>
                </c:pt>
                <c:pt idx="170">
                  <c:v>79.884028658034779</c:v>
                </c:pt>
                <c:pt idx="171">
                  <c:v>80.070059921290593</c:v>
                </c:pt>
                <c:pt idx="172">
                  <c:v>77.869917183499751</c:v>
                </c:pt>
                <c:pt idx="173">
                  <c:v>77.613812132599179</c:v>
                </c:pt>
                <c:pt idx="174">
                  <c:v>78.178868424703069</c:v>
                </c:pt>
                <c:pt idx="175">
                  <c:v>79.308819621084552</c:v>
                </c:pt>
                <c:pt idx="176">
                  <c:v>77.106763449699429</c:v>
                </c:pt>
                <c:pt idx="177">
                  <c:v>76.329166866188643</c:v>
                </c:pt>
                <c:pt idx="178">
                  <c:v>77.071707591831412</c:v>
                </c:pt>
                <c:pt idx="179">
                  <c:v>78.403387844023314</c:v>
                </c:pt>
                <c:pt idx="180">
                  <c:v>77.826707641377268</c:v>
                </c:pt>
                <c:pt idx="181">
                  <c:v>77.530064871825203</c:v>
                </c:pt>
                <c:pt idx="182">
                  <c:v>78.237470601414316</c:v>
                </c:pt>
                <c:pt idx="183">
                  <c:v>77.752633923182742</c:v>
                </c:pt>
                <c:pt idx="184">
                  <c:v>77.664321290413739</c:v>
                </c:pt>
                <c:pt idx="185">
                  <c:v>77.525278139857562</c:v>
                </c:pt>
                <c:pt idx="186">
                  <c:v>77.094595394945983</c:v>
                </c:pt>
                <c:pt idx="187">
                  <c:v>75.741344659705007</c:v>
                </c:pt>
                <c:pt idx="188">
                  <c:v>74.603031326546059</c:v>
                </c:pt>
                <c:pt idx="189">
                  <c:v>74.663275330620323</c:v>
                </c:pt>
                <c:pt idx="190">
                  <c:v>75.603481581346443</c:v>
                </c:pt>
                <c:pt idx="191">
                  <c:v>73.281878319658645</c:v>
                </c:pt>
                <c:pt idx="192">
                  <c:v>74.279933423623177</c:v>
                </c:pt>
                <c:pt idx="193">
                  <c:v>71.895721941236488</c:v>
                </c:pt>
                <c:pt idx="194">
                  <c:v>70.950425976972696</c:v>
                </c:pt>
                <c:pt idx="195">
                  <c:v>74.144918856402214</c:v>
                </c:pt>
                <c:pt idx="196">
                  <c:v>74.450947704395404</c:v>
                </c:pt>
                <c:pt idx="197">
                  <c:v>74.282085336410177</c:v>
                </c:pt>
                <c:pt idx="198">
                  <c:v>74.555666159731459</c:v>
                </c:pt>
                <c:pt idx="199">
                  <c:v>74.606699886323511</c:v>
                </c:pt>
                <c:pt idx="200">
                  <c:v>73.889475279858445</c:v>
                </c:pt>
                <c:pt idx="201">
                  <c:v>73.554796901717268</c:v>
                </c:pt>
                <c:pt idx="202">
                  <c:v>73.224310898420583</c:v>
                </c:pt>
                <c:pt idx="203">
                  <c:v>73.223735557189869</c:v>
                </c:pt>
                <c:pt idx="204">
                  <c:v>71.845872569162069</c:v>
                </c:pt>
                <c:pt idx="205">
                  <c:v>72.236573450465173</c:v>
                </c:pt>
                <c:pt idx="206">
                  <c:v>73.623706565923101</c:v>
                </c:pt>
                <c:pt idx="207">
                  <c:v>74.948233117921362</c:v>
                </c:pt>
                <c:pt idx="208">
                  <c:v>73.763396628867525</c:v>
                </c:pt>
                <c:pt idx="209">
                  <c:v>75.750298721973095</c:v>
                </c:pt>
                <c:pt idx="210">
                  <c:v>74.958966192305923</c:v>
                </c:pt>
                <c:pt idx="211">
                  <c:v>75.008908906379844</c:v>
                </c:pt>
                <c:pt idx="212">
                  <c:v>73.775920729841545</c:v>
                </c:pt>
                <c:pt idx="213">
                  <c:v>72.929731628072531</c:v>
                </c:pt>
                <c:pt idx="214">
                  <c:v>72.34393946527409</c:v>
                </c:pt>
                <c:pt idx="215">
                  <c:v>75.197492409524656</c:v>
                </c:pt>
                <c:pt idx="216">
                  <c:v>74.217746630201432</c:v>
                </c:pt>
                <c:pt idx="217">
                  <c:v>84.814340975356075</c:v>
                </c:pt>
                <c:pt idx="218">
                  <c:v>77.446446299709848</c:v>
                </c:pt>
                <c:pt idx="219">
                  <c:v>73.338576910959873</c:v>
                </c:pt>
                <c:pt idx="220">
                  <c:v>69.431872571547842</c:v>
                </c:pt>
                <c:pt idx="221">
                  <c:v>65.629897597504126</c:v>
                </c:pt>
                <c:pt idx="222">
                  <c:v>70.169469993732491</c:v>
                </c:pt>
                <c:pt idx="223">
                  <c:v>73.240060946356067</c:v>
                </c:pt>
                <c:pt idx="224">
                  <c:v>75.08133377604203</c:v>
                </c:pt>
                <c:pt idx="225">
                  <c:v>75.23613284327935</c:v>
                </c:pt>
                <c:pt idx="226">
                  <c:v>75.035098984144255</c:v>
                </c:pt>
                <c:pt idx="227">
                  <c:v>77.357407153171252</c:v>
                </c:pt>
                <c:pt idx="228">
                  <c:v>78.300627831662311</c:v>
                </c:pt>
                <c:pt idx="229">
                  <c:v>78.67828819004076</c:v>
                </c:pt>
                <c:pt idx="230">
                  <c:v>77.963606358207713</c:v>
                </c:pt>
                <c:pt idx="231">
                  <c:v>78.677197774653649</c:v>
                </c:pt>
                <c:pt idx="232">
                  <c:v>79.362220174283479</c:v>
                </c:pt>
                <c:pt idx="233">
                  <c:v>79.724707980530454</c:v>
                </c:pt>
                <c:pt idx="234">
                  <c:v>79.729066830573842</c:v>
                </c:pt>
                <c:pt idx="235">
                  <c:v>79.631488712517964</c:v>
                </c:pt>
                <c:pt idx="236">
                  <c:v>79.70712824039029</c:v>
                </c:pt>
                <c:pt idx="237">
                  <c:v>80.6094025007379</c:v>
                </c:pt>
                <c:pt idx="238">
                  <c:v>81.843993629188446</c:v>
                </c:pt>
                <c:pt idx="239">
                  <c:v>81.702595038563317</c:v>
                </c:pt>
                <c:pt idx="240">
                  <c:v>81.784262289988916</c:v>
                </c:pt>
                <c:pt idx="241">
                  <c:v>81.489322998272627</c:v>
                </c:pt>
                <c:pt idx="242">
                  <c:v>82.558099990971172</c:v>
                </c:pt>
                <c:pt idx="243">
                  <c:v>83.427106767762467</c:v>
                </c:pt>
                <c:pt idx="244">
                  <c:v>83.369626428123397</c:v>
                </c:pt>
                <c:pt idx="245">
                  <c:v>82.963717470230534</c:v>
                </c:pt>
                <c:pt idx="246">
                  <c:v>81.604365121750092</c:v>
                </c:pt>
                <c:pt idx="247">
                  <c:v>83.523156201472119</c:v>
                </c:pt>
                <c:pt idx="248">
                  <c:v>81.074717275475265</c:v>
                </c:pt>
                <c:pt idx="249">
                  <c:v>80.290665340555975</c:v>
                </c:pt>
                <c:pt idx="250">
                  <c:v>76.706198929094128</c:v>
                </c:pt>
                <c:pt idx="251">
                  <c:v>77.704139873410071</c:v>
                </c:pt>
                <c:pt idx="252">
                  <c:v>77.64276085764449</c:v>
                </c:pt>
                <c:pt idx="253">
                  <c:v>76.992161568945733</c:v>
                </c:pt>
                <c:pt idx="254">
                  <c:v>77.045853980080125</c:v>
                </c:pt>
                <c:pt idx="255">
                  <c:v>78.164356833794798</c:v>
                </c:pt>
                <c:pt idx="256">
                  <c:v>78.096092625820006</c:v>
                </c:pt>
                <c:pt idx="257">
                  <c:v>77.796654493558989</c:v>
                </c:pt>
                <c:pt idx="258">
                  <c:v>77.801506121168103</c:v>
                </c:pt>
                <c:pt idx="259">
                  <c:v>77.647033361746992</c:v>
                </c:pt>
                <c:pt idx="260">
                  <c:v>77.910546177647248</c:v>
                </c:pt>
                <c:pt idx="261">
                  <c:v>77.919256732273126</c:v>
                </c:pt>
                <c:pt idx="262">
                  <c:v>78.992681852864692</c:v>
                </c:pt>
                <c:pt idx="263">
                  <c:v>79.369283895360738</c:v>
                </c:pt>
                <c:pt idx="264">
                  <c:v>79.240038941299588</c:v>
                </c:pt>
                <c:pt idx="265">
                  <c:v>79.360825419243113</c:v>
                </c:pt>
                <c:pt idx="266">
                  <c:v>79.448569680040379</c:v>
                </c:pt>
                <c:pt idx="267">
                  <c:v>79.694263355188326</c:v>
                </c:pt>
                <c:pt idx="268">
                  <c:v>77.934128816970855</c:v>
                </c:pt>
                <c:pt idx="269">
                  <c:v>76.218973107916213</c:v>
                </c:pt>
                <c:pt idx="270">
                  <c:v>74.94033359209881</c:v>
                </c:pt>
                <c:pt idx="271">
                  <c:v>74.862262133081146</c:v>
                </c:pt>
                <c:pt idx="272">
                  <c:v>75.211381614212158</c:v>
                </c:pt>
                <c:pt idx="273">
                  <c:v>74.640801188700777</c:v>
                </c:pt>
                <c:pt idx="274">
                  <c:v>74.609169598052361</c:v>
                </c:pt>
                <c:pt idx="275">
                  <c:v>75.30690485008688</c:v>
                </c:pt>
                <c:pt idx="276">
                  <c:v>75.190232780576949</c:v>
                </c:pt>
                <c:pt idx="277">
                  <c:v>74.797828493911311</c:v>
                </c:pt>
                <c:pt idx="278">
                  <c:v>77.245041325501418</c:v>
                </c:pt>
                <c:pt idx="279">
                  <c:v>75.933930089393129</c:v>
                </c:pt>
                <c:pt idx="280">
                  <c:v>76.309765787862929</c:v>
                </c:pt>
                <c:pt idx="281">
                  <c:v>75.702117736553035</c:v>
                </c:pt>
                <c:pt idx="282">
                  <c:v>75.636519323876072</c:v>
                </c:pt>
                <c:pt idx="283">
                  <c:v>74.74235407220651</c:v>
                </c:pt>
                <c:pt idx="284">
                  <c:v>75.632196571708533</c:v>
                </c:pt>
                <c:pt idx="285">
                  <c:v>76.410501845521281</c:v>
                </c:pt>
                <c:pt idx="286">
                  <c:v>79.864237423362212</c:v>
                </c:pt>
                <c:pt idx="287">
                  <c:v>81.101039566666074</c:v>
                </c:pt>
                <c:pt idx="288">
                  <c:v>84.683223305338672</c:v>
                </c:pt>
                <c:pt idx="289">
                  <c:v>86.864593395485841</c:v>
                </c:pt>
                <c:pt idx="290">
                  <c:v>82.069973305934965</c:v>
                </c:pt>
                <c:pt idx="291">
                  <c:v>85.872301983307111</c:v>
                </c:pt>
                <c:pt idx="292">
                  <c:v>91.208759796919807</c:v>
                </c:pt>
                <c:pt idx="293">
                  <c:v>91.829835978518915</c:v>
                </c:pt>
                <c:pt idx="294">
                  <c:v>91.814344925358796</c:v>
                </c:pt>
                <c:pt idx="295">
                  <c:v>89.862032291049559</c:v>
                </c:pt>
                <c:pt idx="296">
                  <c:v>95.244586271329013</c:v>
                </c:pt>
                <c:pt idx="297">
                  <c:v>95.485502313307435</c:v>
                </c:pt>
                <c:pt idx="298">
                  <c:v>96.451319011184339</c:v>
                </c:pt>
                <c:pt idx="299">
                  <c:v>96.469671208681547</c:v>
                </c:pt>
                <c:pt idx="300">
                  <c:v>93.726961833738585</c:v>
                </c:pt>
                <c:pt idx="301">
                  <c:v>98.511759022424428</c:v>
                </c:pt>
                <c:pt idx="302">
                  <c:v>98.84238189135759</c:v>
                </c:pt>
                <c:pt idx="303">
                  <c:v>97.173192428672678</c:v>
                </c:pt>
                <c:pt idx="304">
                  <c:v>97.84394967887556</c:v>
                </c:pt>
                <c:pt idx="305">
                  <c:v>98.814362135954454</c:v>
                </c:pt>
                <c:pt idx="306">
                  <c:v>98.560891618579561</c:v>
                </c:pt>
                <c:pt idx="307">
                  <c:v>98.073266527773043</c:v>
                </c:pt>
                <c:pt idx="308">
                  <c:v>98.125871958202126</c:v>
                </c:pt>
                <c:pt idx="309">
                  <c:v>102.29222961367323</c:v>
                </c:pt>
                <c:pt idx="310">
                  <c:v>101.196848861517</c:v>
                </c:pt>
                <c:pt idx="311">
                  <c:v>104.84501625195699</c:v>
                </c:pt>
                <c:pt idx="312">
                  <c:v>104.52948369950865</c:v>
                </c:pt>
                <c:pt idx="313">
                  <c:v>104.73118684036888</c:v>
                </c:pt>
                <c:pt idx="314">
                  <c:v>104.94756502223359</c:v>
                </c:pt>
                <c:pt idx="315">
                  <c:v>104.78766000649588</c:v>
                </c:pt>
                <c:pt idx="316">
                  <c:v>104.95117753902075</c:v>
                </c:pt>
                <c:pt idx="317">
                  <c:v>102.72137337361247</c:v>
                </c:pt>
                <c:pt idx="318">
                  <c:v>103.08539271761741</c:v>
                </c:pt>
                <c:pt idx="319">
                  <c:v>99.76986801496345</c:v>
                </c:pt>
                <c:pt idx="320">
                  <c:v>100.04221073099369</c:v>
                </c:pt>
                <c:pt idx="321">
                  <c:v>92.74968798837881</c:v>
                </c:pt>
                <c:pt idx="322">
                  <c:v>89.383191217784898</c:v>
                </c:pt>
                <c:pt idx="323">
                  <c:v>92.181831908907625</c:v>
                </c:pt>
                <c:pt idx="324">
                  <c:v>87.054255238238369</c:v>
                </c:pt>
                <c:pt idx="325">
                  <c:v>81.613333266661343</c:v>
                </c:pt>
                <c:pt idx="326">
                  <c:v>85.308427485099102</c:v>
                </c:pt>
                <c:pt idx="327">
                  <c:v>77.920986081430172</c:v>
                </c:pt>
                <c:pt idx="328">
                  <c:v>79.73270264565511</c:v>
                </c:pt>
                <c:pt idx="329">
                  <c:v>84.675778409564387</c:v>
                </c:pt>
                <c:pt idx="330">
                  <c:v>86.912968937751856</c:v>
                </c:pt>
                <c:pt idx="331">
                  <c:v>84.901352106937125</c:v>
                </c:pt>
                <c:pt idx="332">
                  <c:v>90.376305324189161</c:v>
                </c:pt>
                <c:pt idx="333">
                  <c:v>93.279305299021033</c:v>
                </c:pt>
                <c:pt idx="334">
                  <c:v>90.245894503035615</c:v>
                </c:pt>
                <c:pt idx="335">
                  <c:v>84.401842514559348</c:v>
                </c:pt>
                <c:pt idx="336">
                  <c:v>79.406611801520938</c:v>
                </c:pt>
                <c:pt idx="337">
                  <c:v>81.678728667631901</c:v>
                </c:pt>
                <c:pt idx="338">
                  <c:v>87.906712970434299</c:v>
                </c:pt>
                <c:pt idx="339">
                  <c:v>89.832774798593988</c:v>
                </c:pt>
                <c:pt idx="340">
                  <c:v>91.071781441259475</c:v>
                </c:pt>
                <c:pt idx="341">
                  <c:v>90.941553444011731</c:v>
                </c:pt>
                <c:pt idx="342">
                  <c:v>89.768411677721744</c:v>
                </c:pt>
                <c:pt idx="343">
                  <c:v>91.048513128237971</c:v>
                </c:pt>
                <c:pt idx="344">
                  <c:v>94.495937580543639</c:v>
                </c:pt>
                <c:pt idx="345">
                  <c:v>93.596286793573995</c:v>
                </c:pt>
                <c:pt idx="346">
                  <c:v>93.325399795042586</c:v>
                </c:pt>
                <c:pt idx="347">
                  <c:v>93.248986790124874</c:v>
                </c:pt>
                <c:pt idx="348">
                  <c:v>93.610536779498602</c:v>
                </c:pt>
                <c:pt idx="349">
                  <c:v>93.58616236765512</c:v>
                </c:pt>
                <c:pt idx="350">
                  <c:v>93.422646702636882</c:v>
                </c:pt>
                <c:pt idx="351">
                  <c:v>92.338807887441476</c:v>
                </c:pt>
                <c:pt idx="352">
                  <c:v>92.102783565948911</c:v>
                </c:pt>
                <c:pt idx="353">
                  <c:v>95.07195058870326</c:v>
                </c:pt>
                <c:pt idx="354">
                  <c:v>95.227134345313317</c:v>
                </c:pt>
                <c:pt idx="355">
                  <c:v>95.125145536334557</c:v>
                </c:pt>
                <c:pt idx="356">
                  <c:v>95.109827695436493</c:v>
                </c:pt>
                <c:pt idx="357">
                  <c:v>94.868500299134922</c:v>
                </c:pt>
                <c:pt idx="358">
                  <c:v>96.037707097618707</c:v>
                </c:pt>
                <c:pt idx="359">
                  <c:v>97.091783556579884</c:v>
                </c:pt>
                <c:pt idx="360">
                  <c:v>97.984107412836664</c:v>
                </c:pt>
                <c:pt idx="361">
                  <c:v>93.512900926152469</c:v>
                </c:pt>
                <c:pt idx="362">
                  <c:v>92.750509685846296</c:v>
                </c:pt>
                <c:pt idx="363">
                  <c:v>93.548844626039397</c:v>
                </c:pt>
                <c:pt idx="364">
                  <c:v>89.547252050058049</c:v>
                </c:pt>
                <c:pt idx="365">
                  <c:v>88.217172815955635</c:v>
                </c:pt>
                <c:pt idx="366">
                  <c:v>89.138311305946786</c:v>
                </c:pt>
                <c:pt idx="367">
                  <c:v>86.827666548742727</c:v>
                </c:pt>
                <c:pt idx="368">
                  <c:v>88.657984228063697</c:v>
                </c:pt>
                <c:pt idx="369">
                  <c:v>89.320804571048356</c:v>
                </c:pt>
                <c:pt idx="370">
                  <c:v>89.491108429456688</c:v>
                </c:pt>
                <c:pt idx="371">
                  <c:v>88.484907542716826</c:v>
                </c:pt>
                <c:pt idx="372">
                  <c:v>88.370945222595353</c:v>
                </c:pt>
                <c:pt idx="373">
                  <c:v>84.003600690464779</c:v>
                </c:pt>
                <c:pt idx="374">
                  <c:v>84.532883179036418</c:v>
                </c:pt>
                <c:pt idx="375">
                  <c:v>90.392847383454139</c:v>
                </c:pt>
                <c:pt idx="376">
                  <c:v>89.041637860660728</c:v>
                </c:pt>
                <c:pt idx="377">
                  <c:v>88.350315136216366</c:v>
                </c:pt>
                <c:pt idx="378">
                  <c:v>88.522678894436197</c:v>
                </c:pt>
                <c:pt idx="379">
                  <c:v>88.920544880440758</c:v>
                </c:pt>
                <c:pt idx="380">
                  <c:v>88.729759011078642</c:v>
                </c:pt>
                <c:pt idx="381">
                  <c:v>82.629137084531706</c:v>
                </c:pt>
                <c:pt idx="382">
                  <c:v>83.606430860026308</c:v>
                </c:pt>
                <c:pt idx="383">
                  <c:v>86.269725434040055</c:v>
                </c:pt>
                <c:pt idx="384">
                  <c:v>84.463050430623042</c:v>
                </c:pt>
                <c:pt idx="385">
                  <c:v>85.109738976422264</c:v>
                </c:pt>
                <c:pt idx="386">
                  <c:v>87.846462646969627</c:v>
                </c:pt>
                <c:pt idx="387">
                  <c:v>88.388620456137645</c:v>
                </c:pt>
                <c:pt idx="388">
                  <c:v>89.932472927685652</c:v>
                </c:pt>
                <c:pt idx="389">
                  <c:v>82.26015581404728</c:v>
                </c:pt>
                <c:pt idx="390">
                  <c:v>87.049181405433799</c:v>
                </c:pt>
                <c:pt idx="391">
                  <c:v>89.469151737058013</c:v>
                </c:pt>
                <c:pt idx="392">
                  <c:v>87.891694092722545</c:v>
                </c:pt>
                <c:pt idx="393">
                  <c:v>91.082164853756467</c:v>
                </c:pt>
                <c:pt idx="394">
                  <c:v>81.551791864323249</c:v>
                </c:pt>
                <c:pt idx="395">
                  <c:v>81.416818495235873</c:v>
                </c:pt>
                <c:pt idx="396">
                  <c:v>76.238661194675842</c:v>
                </c:pt>
                <c:pt idx="397">
                  <c:v>74.536468232071698</c:v>
                </c:pt>
                <c:pt idx="398">
                  <c:v>82.582946672954847</c:v>
                </c:pt>
                <c:pt idx="399">
                  <c:v>80.385650499538215</c:v>
                </c:pt>
                <c:pt idx="400">
                  <c:v>79.074468111765626</c:v>
                </c:pt>
                <c:pt idx="401">
                  <c:v>79.186445316495622</c:v>
                </c:pt>
                <c:pt idx="402">
                  <c:v>78.477614040358404</c:v>
                </c:pt>
                <c:pt idx="403">
                  <c:v>79.195084859765998</c:v>
                </c:pt>
                <c:pt idx="404">
                  <c:v>78.503666639567371</c:v>
                </c:pt>
                <c:pt idx="405">
                  <c:v>78.644567809722446</c:v>
                </c:pt>
                <c:pt idx="406">
                  <c:v>77.997037617332879</c:v>
                </c:pt>
                <c:pt idx="407">
                  <c:v>78.012707481795942</c:v>
                </c:pt>
                <c:pt idx="408">
                  <c:v>79.417650138351604</c:v>
                </c:pt>
                <c:pt idx="409">
                  <c:v>79.298502285992171</c:v>
                </c:pt>
                <c:pt idx="410">
                  <c:v>78.484181433426699</c:v>
                </c:pt>
                <c:pt idx="411">
                  <c:v>78.58365125272465</c:v>
                </c:pt>
                <c:pt idx="412">
                  <c:v>78.90123216582306</c:v>
                </c:pt>
                <c:pt idx="413">
                  <c:v>76.609421414526679</c:v>
                </c:pt>
                <c:pt idx="414">
                  <c:v>74.919202224839481</c:v>
                </c:pt>
                <c:pt idx="415">
                  <c:v>75.652451902843652</c:v>
                </c:pt>
                <c:pt idx="416">
                  <c:v>73.24102713739731</c:v>
                </c:pt>
                <c:pt idx="417">
                  <c:v>78.880479468202253</c:v>
                </c:pt>
                <c:pt idx="418">
                  <c:v>76.354770949230115</c:v>
                </c:pt>
                <c:pt idx="419">
                  <c:v>76.134757104726049</c:v>
                </c:pt>
                <c:pt idx="420">
                  <c:v>77.264803728060144</c:v>
                </c:pt>
                <c:pt idx="421">
                  <c:v>78.399484255768314</c:v>
                </c:pt>
                <c:pt idx="422">
                  <c:v>78.422326026112614</c:v>
                </c:pt>
                <c:pt idx="423">
                  <c:v>78.616719579835674</c:v>
                </c:pt>
                <c:pt idx="424">
                  <c:v>78.671870697087002</c:v>
                </c:pt>
                <c:pt idx="425">
                  <c:v>79.049237047077455</c:v>
                </c:pt>
                <c:pt idx="426">
                  <c:v>78.80357602230545</c:v>
                </c:pt>
                <c:pt idx="427">
                  <c:v>77.483163885758373</c:v>
                </c:pt>
                <c:pt idx="428">
                  <c:v>79.900846789491041</c:v>
                </c:pt>
                <c:pt idx="429">
                  <c:v>80.211766785162411</c:v>
                </c:pt>
                <c:pt idx="430">
                  <c:v>81.14436991932908</c:v>
                </c:pt>
                <c:pt idx="431">
                  <c:v>82.935144674251632</c:v>
                </c:pt>
                <c:pt idx="432">
                  <c:v>82.391181114409605</c:v>
                </c:pt>
                <c:pt idx="433">
                  <c:v>80.204254874293937</c:v>
                </c:pt>
                <c:pt idx="434">
                  <c:v>80.487540348918202</c:v>
                </c:pt>
                <c:pt idx="435">
                  <c:v>75.603988746803125</c:v>
                </c:pt>
                <c:pt idx="436">
                  <c:v>77.314756775935493</c:v>
                </c:pt>
                <c:pt idx="437">
                  <c:v>79.841416387518407</c:v>
                </c:pt>
                <c:pt idx="438">
                  <c:v>75.995564979422596</c:v>
                </c:pt>
                <c:pt idx="439">
                  <c:v>76.387196270403749</c:v>
                </c:pt>
                <c:pt idx="440">
                  <c:v>75.821490933521559</c:v>
                </c:pt>
                <c:pt idx="441">
                  <c:v>75.578432877885845</c:v>
                </c:pt>
                <c:pt idx="442">
                  <c:v>76.035733927337958</c:v>
                </c:pt>
                <c:pt idx="443">
                  <c:v>76.256769861589405</c:v>
                </c:pt>
                <c:pt idx="444">
                  <c:v>74.65815908824456</c:v>
                </c:pt>
                <c:pt idx="445">
                  <c:v>78.235995861003133</c:v>
                </c:pt>
                <c:pt idx="446">
                  <c:v>78.138835125030454</c:v>
                </c:pt>
                <c:pt idx="447">
                  <c:v>77.761372227320606</c:v>
                </c:pt>
                <c:pt idx="448">
                  <c:v>78.183331388766035</c:v>
                </c:pt>
                <c:pt idx="449">
                  <c:v>78.069368344636999</c:v>
                </c:pt>
                <c:pt idx="450">
                  <c:v>77.959302455852125</c:v>
                </c:pt>
                <c:pt idx="451">
                  <c:v>77.776370609831076</c:v>
                </c:pt>
                <c:pt idx="452">
                  <c:v>77.161561581937661</c:v>
                </c:pt>
                <c:pt idx="453">
                  <c:v>79.084349420492515</c:v>
                </c:pt>
                <c:pt idx="454">
                  <c:v>83.887277437092138</c:v>
                </c:pt>
                <c:pt idx="455">
                  <c:v>84.617829591234525</c:v>
                </c:pt>
                <c:pt idx="456">
                  <c:v>85.901294896351061</c:v>
                </c:pt>
                <c:pt idx="457">
                  <c:v>83.48156581037675</c:v>
                </c:pt>
                <c:pt idx="458">
                  <c:v>85.338047941836678</c:v>
                </c:pt>
                <c:pt idx="459">
                  <c:v>86.11345774502422</c:v>
                </c:pt>
                <c:pt idx="460">
                  <c:v>88.517221308995929</c:v>
                </c:pt>
                <c:pt idx="461">
                  <c:v>87.784208460160784</c:v>
                </c:pt>
                <c:pt idx="462">
                  <c:v>87.270302620249538</c:v>
                </c:pt>
                <c:pt idx="463">
                  <c:v>87.053348207315011</c:v>
                </c:pt>
                <c:pt idx="464">
                  <c:v>86.495831983665227</c:v>
                </c:pt>
                <c:pt idx="465">
                  <c:v>86.354725214076453</c:v>
                </c:pt>
                <c:pt idx="466">
                  <c:v>84.486089009875158</c:v>
                </c:pt>
                <c:pt idx="467">
                  <c:v>82.104089123136816</c:v>
                </c:pt>
                <c:pt idx="468">
                  <c:v>80.53640709327577</c:v>
                </c:pt>
                <c:pt idx="469">
                  <c:v>81.110480558426943</c:v>
                </c:pt>
                <c:pt idx="470">
                  <c:v>83.486814034218781</c:v>
                </c:pt>
                <c:pt idx="471">
                  <c:v>88.644161912384732</c:v>
                </c:pt>
                <c:pt idx="472">
                  <c:v>88.670123509097536</c:v>
                </c:pt>
                <c:pt idx="473">
                  <c:v>89.852189603902275</c:v>
                </c:pt>
                <c:pt idx="474">
                  <c:v>92.958057371248643</c:v>
                </c:pt>
                <c:pt idx="475">
                  <c:v>86.059023225141544</c:v>
                </c:pt>
                <c:pt idx="476">
                  <c:v>85.910768052439721</c:v>
                </c:pt>
                <c:pt idx="477">
                  <c:v>83.009882408426037</c:v>
                </c:pt>
                <c:pt idx="478">
                  <c:v>87.9099881114672</c:v>
                </c:pt>
                <c:pt idx="479">
                  <c:v>85.979421417894642</c:v>
                </c:pt>
                <c:pt idx="480">
                  <c:v>85.777550883589129</c:v>
                </c:pt>
                <c:pt idx="481">
                  <c:v>83.446489523236238</c:v>
                </c:pt>
                <c:pt idx="482">
                  <c:v>83.398933795579126</c:v>
                </c:pt>
                <c:pt idx="483">
                  <c:v>90.120047798487775</c:v>
                </c:pt>
                <c:pt idx="484">
                  <c:v>85.941762646410069</c:v>
                </c:pt>
                <c:pt idx="485">
                  <c:v>84.942529241711782</c:v>
                </c:pt>
                <c:pt idx="486">
                  <c:v>84.942797355084082</c:v>
                </c:pt>
                <c:pt idx="487">
                  <c:v>84.882876246426576</c:v>
                </c:pt>
                <c:pt idx="488">
                  <c:v>85.841723267219407</c:v>
                </c:pt>
                <c:pt idx="489">
                  <c:v>85.397957226000301</c:v>
                </c:pt>
                <c:pt idx="490">
                  <c:v>85.323006448333814</c:v>
                </c:pt>
                <c:pt idx="491">
                  <c:v>84.805228437900112</c:v>
                </c:pt>
                <c:pt idx="492">
                  <c:v>83.074945157996751</c:v>
                </c:pt>
                <c:pt idx="493">
                  <c:v>84.198838294604968</c:v>
                </c:pt>
                <c:pt idx="494">
                  <c:v>82.850250317060102</c:v>
                </c:pt>
                <c:pt idx="495">
                  <c:v>81.918973907649757</c:v>
                </c:pt>
                <c:pt idx="496">
                  <c:v>78.888851482885187</c:v>
                </c:pt>
                <c:pt idx="497">
                  <c:v>78.904321804089463</c:v>
                </c:pt>
                <c:pt idx="498">
                  <c:v>80.995104472921511</c:v>
                </c:pt>
                <c:pt idx="499">
                  <c:v>78.316828437957867</c:v>
                </c:pt>
                <c:pt idx="500">
                  <c:v>79.810650781452409</c:v>
                </c:pt>
                <c:pt idx="501">
                  <c:v>79.447747731059223</c:v>
                </c:pt>
                <c:pt idx="502">
                  <c:v>78.854781286237838</c:v>
                </c:pt>
                <c:pt idx="503">
                  <c:v>77.820812832789841</c:v>
                </c:pt>
                <c:pt idx="504">
                  <c:v>77.88937111425706</c:v>
                </c:pt>
                <c:pt idx="505">
                  <c:v>74.998219049870173</c:v>
                </c:pt>
                <c:pt idx="506">
                  <c:v>74.04634555198875</c:v>
                </c:pt>
                <c:pt idx="507">
                  <c:v>74.652336804046598</c:v>
                </c:pt>
                <c:pt idx="508">
                  <c:v>73.840286278341523</c:v>
                </c:pt>
                <c:pt idx="509">
                  <c:v>71.710457902293129</c:v>
                </c:pt>
                <c:pt idx="510">
                  <c:v>69.881908521559836</c:v>
                </c:pt>
                <c:pt idx="511">
                  <c:v>69.371364320531541</c:v>
                </c:pt>
                <c:pt idx="512">
                  <c:v>70.282146282557605</c:v>
                </c:pt>
                <c:pt idx="513">
                  <c:v>71.732363576967686</c:v>
                </c:pt>
                <c:pt idx="514">
                  <c:v>67.068528833227631</c:v>
                </c:pt>
                <c:pt idx="515">
                  <c:v>66.640872354818285</c:v>
                </c:pt>
                <c:pt idx="516">
                  <c:v>66.675604435509186</c:v>
                </c:pt>
                <c:pt idx="517">
                  <c:v>63.729325477273854</c:v>
                </c:pt>
                <c:pt idx="518">
                  <c:v>66.703038790777853</c:v>
                </c:pt>
                <c:pt idx="519">
                  <c:v>66.594596123094206</c:v>
                </c:pt>
                <c:pt idx="520">
                  <c:v>66.921553993501405</c:v>
                </c:pt>
                <c:pt idx="521">
                  <c:v>65.290742642405363</c:v>
                </c:pt>
                <c:pt idx="522">
                  <c:v>65.089354573493893</c:v>
                </c:pt>
                <c:pt idx="523">
                  <c:v>63.58045998765656</c:v>
                </c:pt>
                <c:pt idx="524">
                  <c:v>60.554794346513923</c:v>
                </c:pt>
                <c:pt idx="525">
                  <c:v>61.340423818215541</c:v>
                </c:pt>
                <c:pt idx="526">
                  <c:v>60.181296061552018</c:v>
                </c:pt>
                <c:pt idx="527">
                  <c:v>63.407145593231206</c:v>
                </c:pt>
                <c:pt idx="528">
                  <c:v>67.419709676088985</c:v>
                </c:pt>
                <c:pt idx="529">
                  <c:v>66.803964234970138</c:v>
                </c:pt>
                <c:pt idx="530">
                  <c:v>65.112771985793614</c:v>
                </c:pt>
                <c:pt idx="531">
                  <c:v>66.448235315463933</c:v>
                </c:pt>
                <c:pt idx="532">
                  <c:v>66.886985950755914</c:v>
                </c:pt>
                <c:pt idx="533">
                  <c:v>68.700878897500431</c:v>
                </c:pt>
                <c:pt idx="534">
                  <c:v>69.281701925549626</c:v>
                </c:pt>
                <c:pt idx="535">
                  <c:v>72.773609162287372</c:v>
                </c:pt>
                <c:pt idx="536">
                  <c:v>74.268149733280708</c:v>
                </c:pt>
                <c:pt idx="537">
                  <c:v>74.331805707285852</c:v>
                </c:pt>
                <c:pt idx="538">
                  <c:v>74.326557085686389</c:v>
                </c:pt>
                <c:pt idx="539">
                  <c:v>72.426830548740469</c:v>
                </c:pt>
                <c:pt idx="540">
                  <c:v>71.569026873612316</c:v>
                </c:pt>
                <c:pt idx="541">
                  <c:v>71.25378730181589</c:v>
                </c:pt>
                <c:pt idx="542">
                  <c:v>68.87579205678945</c:v>
                </c:pt>
                <c:pt idx="543">
                  <c:v>70.735747752269205</c:v>
                </c:pt>
                <c:pt idx="544">
                  <c:v>73.2939075326899</c:v>
                </c:pt>
                <c:pt idx="545">
                  <c:v>73.632081910417327</c:v>
                </c:pt>
                <c:pt idx="546">
                  <c:v>73.559447425351834</c:v>
                </c:pt>
                <c:pt idx="547">
                  <c:v>73.840842739743948</c:v>
                </c:pt>
                <c:pt idx="548">
                  <c:v>73.570322050818888</c:v>
                </c:pt>
                <c:pt idx="549">
                  <c:v>73.452970787847093</c:v>
                </c:pt>
                <c:pt idx="550">
                  <c:v>73.40383514292985</c:v>
                </c:pt>
                <c:pt idx="551">
                  <c:v>73.341738700661836</c:v>
                </c:pt>
                <c:pt idx="552">
                  <c:v>73.491479075294009</c:v>
                </c:pt>
                <c:pt idx="553">
                  <c:v>72.709636359682307</c:v>
                </c:pt>
                <c:pt idx="554">
                  <c:v>72.511282309815186</c:v>
                </c:pt>
                <c:pt idx="555">
                  <c:v>73.020763380432783</c:v>
                </c:pt>
                <c:pt idx="556">
                  <c:v>73.001948736608782</c:v>
                </c:pt>
                <c:pt idx="557">
                  <c:v>71.780218264335033</c:v>
                </c:pt>
                <c:pt idx="558">
                  <c:v>71.855278321360558</c:v>
                </c:pt>
                <c:pt idx="559">
                  <c:v>70.890078163339155</c:v>
                </c:pt>
                <c:pt idx="560">
                  <c:v>73.866528974568809</c:v>
                </c:pt>
                <c:pt idx="561">
                  <c:v>69.135870639316238</c:v>
                </c:pt>
                <c:pt idx="562">
                  <c:v>69.057648071974384</c:v>
                </c:pt>
                <c:pt idx="563">
                  <c:v>68.337628587922012</c:v>
                </c:pt>
                <c:pt idx="564">
                  <c:v>67.534901048151724</c:v>
                </c:pt>
                <c:pt idx="565">
                  <c:v>67.106788485349725</c:v>
                </c:pt>
                <c:pt idx="566">
                  <c:v>70.634097924050792</c:v>
                </c:pt>
                <c:pt idx="567">
                  <c:v>71.92335458140262</c:v>
                </c:pt>
                <c:pt idx="568">
                  <c:v>71.672059363117171</c:v>
                </c:pt>
                <c:pt idx="569">
                  <c:v>70.804176279424112</c:v>
                </c:pt>
                <c:pt idx="570">
                  <c:v>69.302076754724169</c:v>
                </c:pt>
                <c:pt idx="571">
                  <c:v>69.139240841171556</c:v>
                </c:pt>
                <c:pt idx="572">
                  <c:v>72.571614171737181</c:v>
                </c:pt>
                <c:pt idx="573">
                  <c:v>72.255487222282142</c:v>
                </c:pt>
                <c:pt idx="574">
                  <c:v>73.192261073977903</c:v>
                </c:pt>
                <c:pt idx="575">
                  <c:v>70.816658642371834</c:v>
                </c:pt>
                <c:pt idx="576">
                  <c:v>71.875490366385009</c:v>
                </c:pt>
                <c:pt idx="577">
                  <c:v>74.212701991098612</c:v>
                </c:pt>
                <c:pt idx="578">
                  <c:v>74.74329033381531</c:v>
                </c:pt>
                <c:pt idx="579">
                  <c:v>74.50276105448016</c:v>
                </c:pt>
                <c:pt idx="580">
                  <c:v>74.497468055429849</c:v>
                </c:pt>
                <c:pt idx="581">
                  <c:v>74.306687497726344</c:v>
                </c:pt>
                <c:pt idx="582">
                  <c:v>77.061815927427787</c:v>
                </c:pt>
                <c:pt idx="583">
                  <c:v>74.905619182372604</c:v>
                </c:pt>
                <c:pt idx="584">
                  <c:v>73.284057952826061</c:v>
                </c:pt>
                <c:pt idx="585">
                  <c:v>76.773693518400364</c:v>
                </c:pt>
                <c:pt idx="586">
                  <c:v>77.561032953421005</c:v>
                </c:pt>
                <c:pt idx="587">
                  <c:v>76.82296972603433</c:v>
                </c:pt>
                <c:pt idx="588">
                  <c:v>76.734429101626219</c:v>
                </c:pt>
                <c:pt idx="589">
                  <c:v>77.163407393740371</c:v>
                </c:pt>
                <c:pt idx="590">
                  <c:v>78.36919573911976</c:v>
                </c:pt>
                <c:pt idx="591">
                  <c:v>78.126533509485753</c:v>
                </c:pt>
                <c:pt idx="592">
                  <c:v>78.444161758846988</c:v>
                </c:pt>
                <c:pt idx="593">
                  <c:v>78.464721338953467</c:v>
                </c:pt>
                <c:pt idx="594">
                  <c:v>78.883302503526807</c:v>
                </c:pt>
                <c:pt idx="595">
                  <c:v>78.328892465223561</c:v>
                </c:pt>
                <c:pt idx="596">
                  <c:v>78.662548506400157</c:v>
                </c:pt>
                <c:pt idx="597">
                  <c:v>78.791639884573499</c:v>
                </c:pt>
                <c:pt idx="598">
                  <c:v>79.6798814750438</c:v>
                </c:pt>
                <c:pt idx="599">
                  <c:v>80.981238650218657</c:v>
                </c:pt>
                <c:pt idx="600">
                  <c:v>80.151004139585069</c:v>
                </c:pt>
                <c:pt idx="601">
                  <c:v>80.108406293564656</c:v>
                </c:pt>
                <c:pt idx="602">
                  <c:v>79.019016944906355</c:v>
                </c:pt>
                <c:pt idx="603">
                  <c:v>82.504427193018984</c:v>
                </c:pt>
                <c:pt idx="604">
                  <c:v>75.559215695673856</c:v>
                </c:pt>
                <c:pt idx="605">
                  <c:v>74.996738733032544</c:v>
                </c:pt>
                <c:pt idx="606">
                  <c:v>74.037758355831059</c:v>
                </c:pt>
                <c:pt idx="607">
                  <c:v>73.81560396388187</c:v>
                </c:pt>
                <c:pt idx="608">
                  <c:v>71.206039686667225</c:v>
                </c:pt>
                <c:pt idx="609">
                  <c:v>72.161444540033699</c:v>
                </c:pt>
                <c:pt idx="610">
                  <c:v>67.972382498782011</c:v>
                </c:pt>
                <c:pt idx="611">
                  <c:v>69.823596332650084</c:v>
                </c:pt>
                <c:pt idx="612">
                  <c:v>71.327061506111718</c:v>
                </c:pt>
                <c:pt idx="613">
                  <c:v>69.600680607716782</c:v>
                </c:pt>
                <c:pt idx="614">
                  <c:v>69.793674446950575</c:v>
                </c:pt>
                <c:pt idx="615">
                  <c:v>70.223901430287711</c:v>
                </c:pt>
                <c:pt idx="616">
                  <c:v>72.390371126535896</c:v>
                </c:pt>
                <c:pt idx="617">
                  <c:v>70.128145503637128</c:v>
                </c:pt>
                <c:pt idx="618">
                  <c:v>65.010631590850508</c:v>
                </c:pt>
                <c:pt idx="619">
                  <c:v>67.720461923875888</c:v>
                </c:pt>
                <c:pt idx="620">
                  <c:v>64.993141275829558</c:v>
                </c:pt>
                <c:pt idx="621">
                  <c:v>62.01655286897131</c:v>
                </c:pt>
                <c:pt idx="622">
                  <c:v>59.794378671117791</c:v>
                </c:pt>
                <c:pt idx="623">
                  <c:v>56.919603225805197</c:v>
                </c:pt>
                <c:pt idx="624">
                  <c:v>50.120442584663287</c:v>
                </c:pt>
                <c:pt idx="625">
                  <c:v>45.638020844897</c:v>
                </c:pt>
                <c:pt idx="626">
                  <c:v>38.877528249442108</c:v>
                </c:pt>
                <c:pt idx="627">
                  <c:v>35.586674340745674</c:v>
                </c:pt>
                <c:pt idx="628">
                  <c:v>39.389120687495108</c:v>
                </c:pt>
                <c:pt idx="629">
                  <c:v>40.616589232135681</c:v>
                </c:pt>
                <c:pt idx="630">
                  <c:v>33.650033261585051</c:v>
                </c:pt>
                <c:pt idx="631">
                  <c:v>31.691223758162078</c:v>
                </c:pt>
                <c:pt idx="632">
                  <c:v>28.98459820760667</c:v>
                </c:pt>
                <c:pt idx="633">
                  <c:v>30.107952184021077</c:v>
                </c:pt>
                <c:pt idx="634">
                  <c:v>30.897452066516252</c:v>
                </c:pt>
                <c:pt idx="635">
                  <c:v>28.810120903287576</c:v>
                </c:pt>
                <c:pt idx="636">
                  <c:v>28.352489124247693</c:v>
                </c:pt>
                <c:pt idx="637">
                  <c:v>26.460701271436488</c:v>
                </c:pt>
                <c:pt idx="638">
                  <c:v>25.521164933018884</c:v>
                </c:pt>
                <c:pt idx="639">
                  <c:v>27.288135222689682</c:v>
                </c:pt>
                <c:pt idx="640">
                  <c:v>26.15013305489477</c:v>
                </c:pt>
                <c:pt idx="641">
                  <c:v>26.282037497329167</c:v>
                </c:pt>
                <c:pt idx="642">
                  <c:v>26.420692366792494</c:v>
                </c:pt>
                <c:pt idx="643">
                  <c:v>26.720486859970592</c:v>
                </c:pt>
                <c:pt idx="644">
                  <c:v>27.150377922537324</c:v>
                </c:pt>
                <c:pt idx="645">
                  <c:v>27.243875084426865</c:v>
                </c:pt>
                <c:pt idx="646">
                  <c:v>28.909915456384752</c:v>
                </c:pt>
                <c:pt idx="647">
                  <c:v>28.614193966364777</c:v>
                </c:pt>
                <c:pt idx="648">
                  <c:v>28.425429062631746</c:v>
                </c:pt>
                <c:pt idx="649">
                  <c:v>28.364745071250518</c:v>
                </c:pt>
                <c:pt idx="650">
                  <c:v>27.922153767975129</c:v>
                </c:pt>
                <c:pt idx="651">
                  <c:v>28.737296111613595</c:v>
                </c:pt>
                <c:pt idx="652">
                  <c:v>27.422556912475414</c:v>
                </c:pt>
                <c:pt idx="653">
                  <c:v>27.183783131369182</c:v>
                </c:pt>
                <c:pt idx="654">
                  <c:v>26.972319172343301</c:v>
                </c:pt>
                <c:pt idx="655">
                  <c:v>25.608864868131434</c:v>
                </c:pt>
                <c:pt idx="656">
                  <c:v>24.992501056365946</c:v>
                </c:pt>
                <c:pt idx="657">
                  <c:v>25.894360110811355</c:v>
                </c:pt>
                <c:pt idx="658">
                  <c:v>27.249293469569619</c:v>
                </c:pt>
                <c:pt idx="659">
                  <c:v>27.573582198033019</c:v>
                </c:pt>
                <c:pt idx="660">
                  <c:v>27.755234146325286</c:v>
                </c:pt>
                <c:pt idx="661">
                  <c:v>27.746336237916459</c:v>
                </c:pt>
                <c:pt idx="662">
                  <c:v>29.190043941813716</c:v>
                </c:pt>
                <c:pt idx="663">
                  <c:v>28.681946579600211</c:v>
                </c:pt>
                <c:pt idx="664">
                  <c:v>28.661258560496453</c:v>
                </c:pt>
                <c:pt idx="665">
                  <c:v>28.739499645813744</c:v>
                </c:pt>
                <c:pt idx="666">
                  <c:v>28.640882386047284</c:v>
                </c:pt>
                <c:pt idx="667">
                  <c:v>28.852848928371667</c:v>
                </c:pt>
                <c:pt idx="668">
                  <c:v>28.821707552393153</c:v>
                </c:pt>
                <c:pt idx="669">
                  <c:v>28.686451616640188</c:v>
                </c:pt>
                <c:pt idx="670">
                  <c:v>28.671329258179718</c:v>
                </c:pt>
                <c:pt idx="671">
                  <c:v>28.591486657852194</c:v>
                </c:pt>
                <c:pt idx="672">
                  <c:v>28.633091696396846</c:v>
                </c:pt>
                <c:pt idx="673">
                  <c:v>28.046301793236928</c:v>
                </c:pt>
                <c:pt idx="674">
                  <c:v>28.010594451196344</c:v>
                </c:pt>
                <c:pt idx="675">
                  <c:v>27.379080812369015</c:v>
                </c:pt>
                <c:pt idx="676">
                  <c:v>26.437928913223509</c:v>
                </c:pt>
                <c:pt idx="677">
                  <c:v>25.554965224653639</c:v>
                </c:pt>
                <c:pt idx="678">
                  <c:v>25.903662336926615</c:v>
                </c:pt>
                <c:pt idx="679">
                  <c:v>25.667116863937444</c:v>
                </c:pt>
                <c:pt idx="680">
                  <c:v>25.341064423923509</c:v>
                </c:pt>
                <c:pt idx="681">
                  <c:v>26.008260471872731</c:v>
                </c:pt>
                <c:pt idx="682">
                  <c:v>24.794455448974418</c:v>
                </c:pt>
                <c:pt idx="683">
                  <c:v>24.022085468876867</c:v>
                </c:pt>
                <c:pt idx="684">
                  <c:v>22.14350694862436</c:v>
                </c:pt>
                <c:pt idx="685">
                  <c:v>22.860693765644424</c:v>
                </c:pt>
                <c:pt idx="686">
                  <c:v>22.613057755688548</c:v>
                </c:pt>
                <c:pt idx="687">
                  <c:v>24.894995014690885</c:v>
                </c:pt>
                <c:pt idx="688">
                  <c:v>24.574847750409599</c:v>
                </c:pt>
                <c:pt idx="689">
                  <c:v>24.3646838649614</c:v>
                </c:pt>
                <c:pt idx="690">
                  <c:v>24.200558251169159</c:v>
                </c:pt>
                <c:pt idx="691">
                  <c:v>24.607611714956938</c:v>
                </c:pt>
                <c:pt idx="692">
                  <c:v>21.887076077078486</c:v>
                </c:pt>
                <c:pt idx="693">
                  <c:v>21.260555020721483</c:v>
                </c:pt>
                <c:pt idx="694">
                  <c:v>21.855358129619674</c:v>
                </c:pt>
                <c:pt idx="695">
                  <c:v>19.093379968359983</c:v>
                </c:pt>
                <c:pt idx="696">
                  <c:v>20.321144196314972</c:v>
                </c:pt>
                <c:pt idx="697">
                  <c:v>20.552747091353378</c:v>
                </c:pt>
                <c:pt idx="698">
                  <c:v>20.659230029234831</c:v>
                </c:pt>
                <c:pt idx="699">
                  <c:v>21.209092680344597</c:v>
                </c:pt>
                <c:pt idx="700">
                  <c:v>21.515328791251772</c:v>
                </c:pt>
                <c:pt idx="701">
                  <c:v>21.213829539868868</c:v>
                </c:pt>
                <c:pt idx="702">
                  <c:v>21.499345171964261</c:v>
                </c:pt>
                <c:pt idx="703">
                  <c:v>22.241236569330518</c:v>
                </c:pt>
                <c:pt idx="704">
                  <c:v>22.357471902912167</c:v>
                </c:pt>
                <c:pt idx="705">
                  <c:v>21.896223714762641</c:v>
                </c:pt>
                <c:pt idx="706">
                  <c:v>21.997005567679931</c:v>
                </c:pt>
                <c:pt idx="707">
                  <c:v>21.85504655580695</c:v>
                </c:pt>
                <c:pt idx="708">
                  <c:v>21.744133331076061</c:v>
                </c:pt>
                <c:pt idx="709">
                  <c:v>21.72674810879623</c:v>
                </c:pt>
                <c:pt idx="710">
                  <c:v>22.218550742404918</c:v>
                </c:pt>
                <c:pt idx="711">
                  <c:v>22.097978819104991</c:v>
                </c:pt>
                <c:pt idx="712">
                  <c:v>22.470305666837767</c:v>
                </c:pt>
                <c:pt idx="713">
                  <c:v>22.399842966282467</c:v>
                </c:pt>
                <c:pt idx="714">
                  <c:v>22.670046642222868</c:v>
                </c:pt>
                <c:pt idx="715">
                  <c:v>22.69319702673252</c:v>
                </c:pt>
                <c:pt idx="716">
                  <c:v>22.725074724400258</c:v>
                </c:pt>
                <c:pt idx="717">
                  <c:v>21.920318902141037</c:v>
                </c:pt>
                <c:pt idx="718">
                  <c:v>21.210951611128475</c:v>
                </c:pt>
                <c:pt idx="719">
                  <c:v>23.163143641379541</c:v>
                </c:pt>
                <c:pt idx="720">
                  <c:v>23.704962402974786</c:v>
                </c:pt>
                <c:pt idx="721">
                  <c:v>23.656994137296142</c:v>
                </c:pt>
                <c:pt idx="722">
                  <c:v>23.71690198892885</c:v>
                </c:pt>
                <c:pt idx="723">
                  <c:v>24.014680857604059</c:v>
                </c:pt>
                <c:pt idx="724">
                  <c:v>24.04532010184489</c:v>
                </c:pt>
                <c:pt idx="725">
                  <c:v>25.426666768355695</c:v>
                </c:pt>
                <c:pt idx="726">
                  <c:v>24.213136799345971</c:v>
                </c:pt>
                <c:pt idx="727">
                  <c:v>24.052784661655547</c:v>
                </c:pt>
                <c:pt idx="728">
                  <c:v>23.950658299698347</c:v>
                </c:pt>
                <c:pt idx="729">
                  <c:v>24.265020246287328</c:v>
                </c:pt>
                <c:pt idx="730">
                  <c:v>24.344539358284273</c:v>
                </c:pt>
                <c:pt idx="731">
                  <c:v>23.794892305997408</c:v>
                </c:pt>
                <c:pt idx="732">
                  <c:v>23.999188851802941</c:v>
                </c:pt>
                <c:pt idx="733">
                  <c:v>24.851329188147854</c:v>
                </c:pt>
                <c:pt idx="734">
                  <c:v>23.916745784021479</c:v>
                </c:pt>
                <c:pt idx="735">
                  <c:v>23.817557052032409</c:v>
                </c:pt>
                <c:pt idx="736">
                  <c:v>24.849523942640126</c:v>
                </c:pt>
                <c:pt idx="737">
                  <c:v>26.094328915989419</c:v>
                </c:pt>
                <c:pt idx="738">
                  <c:v>26.345277033529676</c:v>
                </c:pt>
                <c:pt idx="739">
                  <c:v>25.976637038270272</c:v>
                </c:pt>
                <c:pt idx="740">
                  <c:v>26.023597269801119</c:v>
                </c:pt>
                <c:pt idx="741">
                  <c:v>26.236356791894483</c:v>
                </c:pt>
                <c:pt idx="742">
                  <c:v>26.243646827475565</c:v>
                </c:pt>
                <c:pt idx="743">
                  <c:v>26.957395377632409</c:v>
                </c:pt>
                <c:pt idx="744">
                  <c:v>26.921984067285504</c:v>
                </c:pt>
                <c:pt idx="745">
                  <c:v>27.441558862190988</c:v>
                </c:pt>
                <c:pt idx="746">
                  <c:v>27.549958329545195</c:v>
                </c:pt>
                <c:pt idx="747">
                  <c:v>27.455927831592025</c:v>
                </c:pt>
                <c:pt idx="748">
                  <c:v>27.488894070161578</c:v>
                </c:pt>
                <c:pt idx="749">
                  <c:v>27.385249344917753</c:v>
                </c:pt>
                <c:pt idx="750">
                  <c:v>27.131514293967626</c:v>
                </c:pt>
                <c:pt idx="751">
                  <c:v>26.413713054665887</c:v>
                </c:pt>
                <c:pt idx="752">
                  <c:v>26.297613404694754</c:v>
                </c:pt>
                <c:pt idx="753">
                  <c:v>26.216260125645299</c:v>
                </c:pt>
                <c:pt idx="754">
                  <c:v>25.686494127158493</c:v>
                </c:pt>
                <c:pt idx="755">
                  <c:v>24.725418392879604</c:v>
                </c:pt>
                <c:pt idx="756">
                  <c:v>24.226891097931929</c:v>
                </c:pt>
                <c:pt idx="757">
                  <c:v>26.145439042042181</c:v>
                </c:pt>
                <c:pt idx="758">
                  <c:v>25.081824367022669</c:v>
                </c:pt>
                <c:pt idx="759">
                  <c:v>25.113251136923406</c:v>
                </c:pt>
                <c:pt idx="760">
                  <c:v>24.771097554296663</c:v>
                </c:pt>
                <c:pt idx="761">
                  <c:v>24.745326949343266</c:v>
                </c:pt>
                <c:pt idx="762">
                  <c:v>24.966382524615867</c:v>
                </c:pt>
                <c:pt idx="763">
                  <c:v>24.8636098287176</c:v>
                </c:pt>
                <c:pt idx="764">
                  <c:v>25.133315756259641</c:v>
                </c:pt>
                <c:pt idx="765">
                  <c:v>25.10105687578794</c:v>
                </c:pt>
                <c:pt idx="766">
                  <c:v>24.66834411144178</c:v>
                </c:pt>
                <c:pt idx="767">
                  <c:v>24.025158186075121</c:v>
                </c:pt>
                <c:pt idx="768">
                  <c:v>23.865901829089246</c:v>
                </c:pt>
                <c:pt idx="769">
                  <c:v>22.796036083964044</c:v>
                </c:pt>
                <c:pt idx="770">
                  <c:v>23.242124120768299</c:v>
                </c:pt>
                <c:pt idx="771">
                  <c:v>22.206602411339098</c:v>
                </c:pt>
                <c:pt idx="772">
                  <c:v>22.376839628062051</c:v>
                </c:pt>
                <c:pt idx="773">
                  <c:v>22.031666459089248</c:v>
                </c:pt>
                <c:pt idx="774">
                  <c:v>23.030790958043745</c:v>
                </c:pt>
                <c:pt idx="775">
                  <c:v>21.787311777621465</c:v>
                </c:pt>
                <c:pt idx="776">
                  <c:v>21.909673557753099</c:v>
                </c:pt>
                <c:pt idx="777">
                  <c:v>20.326602417838846</c:v>
                </c:pt>
                <c:pt idx="778">
                  <c:v>20.175950185519081</c:v>
                </c:pt>
                <c:pt idx="779">
                  <c:v>20.216884736071414</c:v>
                </c:pt>
                <c:pt idx="780">
                  <c:v>21.343581631326376</c:v>
                </c:pt>
                <c:pt idx="781">
                  <c:v>21.705528185719619</c:v>
                </c:pt>
                <c:pt idx="782">
                  <c:v>21.589270554129396</c:v>
                </c:pt>
                <c:pt idx="783">
                  <c:v>21.386196598779531</c:v>
                </c:pt>
                <c:pt idx="784">
                  <c:v>21.160227203424917</c:v>
                </c:pt>
                <c:pt idx="785">
                  <c:v>21.187588460549158</c:v>
                </c:pt>
                <c:pt idx="786">
                  <c:v>21.131460920692973</c:v>
                </c:pt>
                <c:pt idx="787">
                  <c:v>21.104998499741054</c:v>
                </c:pt>
                <c:pt idx="788">
                  <c:v>22.07845848978894</c:v>
                </c:pt>
                <c:pt idx="789">
                  <c:v>21.857499308076584</c:v>
                </c:pt>
                <c:pt idx="790">
                  <c:v>21.820844470375725</c:v>
                </c:pt>
                <c:pt idx="791">
                  <c:v>21.770454187433284</c:v>
                </c:pt>
                <c:pt idx="792">
                  <c:v>21.567829129342055</c:v>
                </c:pt>
                <c:pt idx="793">
                  <c:v>21.56456186216386</c:v>
                </c:pt>
                <c:pt idx="794">
                  <c:v>20.871828808590699</c:v>
                </c:pt>
                <c:pt idx="795">
                  <c:v>20.547759507667166</c:v>
                </c:pt>
                <c:pt idx="796">
                  <c:v>21.49470161822364</c:v>
                </c:pt>
                <c:pt idx="797">
                  <c:v>22.212408910426593</c:v>
                </c:pt>
                <c:pt idx="798">
                  <c:v>22.269594246772847</c:v>
                </c:pt>
                <c:pt idx="799">
                  <c:v>22.273417282757457</c:v>
                </c:pt>
                <c:pt idx="800">
                  <c:v>22.641162768416113</c:v>
                </c:pt>
                <c:pt idx="801">
                  <c:v>22.21247184132725</c:v>
                </c:pt>
                <c:pt idx="802">
                  <c:v>22.029228227172531</c:v>
                </c:pt>
                <c:pt idx="803">
                  <c:v>22.845507610702732</c:v>
                </c:pt>
                <c:pt idx="804">
                  <c:v>23.174642887702923</c:v>
                </c:pt>
                <c:pt idx="805">
                  <c:v>22.730742537095246</c:v>
                </c:pt>
                <c:pt idx="806">
                  <c:v>21.84793906098356</c:v>
                </c:pt>
                <c:pt idx="807">
                  <c:v>22.323638363914451</c:v>
                </c:pt>
                <c:pt idx="808">
                  <c:v>22.004224360588172</c:v>
                </c:pt>
                <c:pt idx="809">
                  <c:v>23.316624805492459</c:v>
                </c:pt>
                <c:pt idx="810">
                  <c:v>23.074827451069805</c:v>
                </c:pt>
                <c:pt idx="811">
                  <c:v>23.294970432657294</c:v>
                </c:pt>
                <c:pt idx="812">
                  <c:v>23.426265691694663</c:v>
                </c:pt>
                <c:pt idx="813">
                  <c:v>23.986761012961889</c:v>
                </c:pt>
                <c:pt idx="814">
                  <c:v>23.933047897167064</c:v>
                </c:pt>
                <c:pt idx="815">
                  <c:v>24.925885787074616</c:v>
                </c:pt>
                <c:pt idx="816">
                  <c:v>25.210705366778953</c:v>
                </c:pt>
                <c:pt idx="817">
                  <c:v>24.685258032306532</c:v>
                </c:pt>
                <c:pt idx="818">
                  <c:v>24.163833097179761</c:v>
                </c:pt>
                <c:pt idx="819">
                  <c:v>24.204462235905744</c:v>
                </c:pt>
                <c:pt idx="820">
                  <c:v>23.703588204649684</c:v>
                </c:pt>
                <c:pt idx="821">
                  <c:v>23.243459710249084</c:v>
                </c:pt>
                <c:pt idx="822">
                  <c:v>22.699983438528466</c:v>
                </c:pt>
                <c:pt idx="823">
                  <c:v>21.905988543908553</c:v>
                </c:pt>
                <c:pt idx="824">
                  <c:v>21.695676672302103</c:v>
                </c:pt>
                <c:pt idx="825">
                  <c:v>21.987278198921462</c:v>
                </c:pt>
                <c:pt idx="826">
                  <c:v>22.77933775125609</c:v>
                </c:pt>
                <c:pt idx="827">
                  <c:v>23.069574134582894</c:v>
                </c:pt>
                <c:pt idx="828">
                  <c:v>22.870741503291466</c:v>
                </c:pt>
                <c:pt idx="829">
                  <c:v>22.819385317145645</c:v>
                </c:pt>
                <c:pt idx="830">
                  <c:v>22.652112161421748</c:v>
                </c:pt>
                <c:pt idx="831">
                  <c:v>22.652762512235856</c:v>
                </c:pt>
                <c:pt idx="832">
                  <c:v>22.50846549641836</c:v>
                </c:pt>
                <c:pt idx="833">
                  <c:v>22.779576961964196</c:v>
                </c:pt>
                <c:pt idx="834">
                  <c:v>22.154358700805854</c:v>
                </c:pt>
                <c:pt idx="835">
                  <c:v>22.119410100594802</c:v>
                </c:pt>
                <c:pt idx="836">
                  <c:v>22.595134468465957</c:v>
                </c:pt>
                <c:pt idx="837">
                  <c:v>22.033403641089468</c:v>
                </c:pt>
                <c:pt idx="838">
                  <c:v>21.777709248548099</c:v>
                </c:pt>
                <c:pt idx="839">
                  <c:v>22.14706545906062</c:v>
                </c:pt>
                <c:pt idx="840">
                  <c:v>23.398320353981699</c:v>
                </c:pt>
                <c:pt idx="841">
                  <c:v>22.99644289922405</c:v>
                </c:pt>
                <c:pt idx="842">
                  <c:v>23.615817125543117</c:v>
                </c:pt>
                <c:pt idx="843">
                  <c:v>23.879435238992084</c:v>
                </c:pt>
                <c:pt idx="844">
                  <c:v>23.623683291285097</c:v>
                </c:pt>
                <c:pt idx="845">
                  <c:v>23.640990219506865</c:v>
                </c:pt>
                <c:pt idx="846">
                  <c:v>23.942878917205114</c:v>
                </c:pt>
                <c:pt idx="847">
                  <c:v>24.416748936963934</c:v>
                </c:pt>
                <c:pt idx="848">
                  <c:v>24.081181376558504</c:v>
                </c:pt>
                <c:pt idx="849">
                  <c:v>23.998686994371766</c:v>
                </c:pt>
                <c:pt idx="850">
                  <c:v>24.179139890689875</c:v>
                </c:pt>
                <c:pt idx="851">
                  <c:v>24.336862068036378</c:v>
                </c:pt>
                <c:pt idx="852">
                  <c:v>24.018027373084042</c:v>
                </c:pt>
                <c:pt idx="853">
                  <c:v>25.225664954098072</c:v>
                </c:pt>
                <c:pt idx="854">
                  <c:v>26.399171342893194</c:v>
                </c:pt>
                <c:pt idx="855">
                  <c:v>26.841067587424412</c:v>
                </c:pt>
                <c:pt idx="856">
                  <c:v>26.062816281386144</c:v>
                </c:pt>
                <c:pt idx="857">
                  <c:v>24.550182847307244</c:v>
                </c:pt>
                <c:pt idx="858">
                  <c:v>24.861231528309727</c:v>
                </c:pt>
                <c:pt idx="859">
                  <c:v>24.277145779822437</c:v>
                </c:pt>
                <c:pt idx="860">
                  <c:v>24.365641859218467</c:v>
                </c:pt>
                <c:pt idx="861">
                  <c:v>23.288508525562769</c:v>
                </c:pt>
                <c:pt idx="862">
                  <c:v>23.420859351916388</c:v>
                </c:pt>
                <c:pt idx="863">
                  <c:v>24.003841087629755</c:v>
                </c:pt>
                <c:pt idx="864">
                  <c:v>23.957657534822417</c:v>
                </c:pt>
                <c:pt idx="865">
                  <c:v>23.447074326483264</c:v>
                </c:pt>
                <c:pt idx="866">
                  <c:v>23.571746411879822</c:v>
                </c:pt>
                <c:pt idx="867">
                  <c:v>23.975486661220653</c:v>
                </c:pt>
                <c:pt idx="868">
                  <c:v>23.980118746218203</c:v>
                </c:pt>
                <c:pt idx="869">
                  <c:v>24.174841626794088</c:v>
                </c:pt>
                <c:pt idx="870">
                  <c:v>24.147340698270277</c:v>
                </c:pt>
                <c:pt idx="871">
                  <c:v>24.309971221475777</c:v>
                </c:pt>
                <c:pt idx="872">
                  <c:v>24.882576624771591</c:v>
                </c:pt>
                <c:pt idx="873">
                  <c:v>24.867892810454997</c:v>
                </c:pt>
                <c:pt idx="874">
                  <c:v>25.745476139001244</c:v>
                </c:pt>
                <c:pt idx="875">
                  <c:v>26.511862199393825</c:v>
                </c:pt>
                <c:pt idx="876">
                  <c:v>26.544105091093218</c:v>
                </c:pt>
                <c:pt idx="877">
                  <c:v>26.225719998315416</c:v>
                </c:pt>
                <c:pt idx="878">
                  <c:v>25.68625244846822</c:v>
                </c:pt>
                <c:pt idx="879">
                  <c:v>25.161983113123892</c:v>
                </c:pt>
                <c:pt idx="880">
                  <c:v>24.637737747674187</c:v>
                </c:pt>
                <c:pt idx="881">
                  <c:v>24.322755064514556</c:v>
                </c:pt>
                <c:pt idx="882">
                  <c:v>23.380547362982636</c:v>
                </c:pt>
                <c:pt idx="883">
                  <c:v>23.754147234341524</c:v>
                </c:pt>
                <c:pt idx="884">
                  <c:v>23.143023528640814</c:v>
                </c:pt>
                <c:pt idx="885">
                  <c:v>23.047828973621506</c:v>
                </c:pt>
                <c:pt idx="886">
                  <c:v>23.047623272990343</c:v>
                </c:pt>
                <c:pt idx="887">
                  <c:v>22.20270052427384</c:v>
                </c:pt>
                <c:pt idx="888">
                  <c:v>22.576430306326074</c:v>
                </c:pt>
                <c:pt idx="889">
                  <c:v>23.044955307742914</c:v>
                </c:pt>
                <c:pt idx="890">
                  <c:v>23.137770713123206</c:v>
                </c:pt>
                <c:pt idx="891">
                  <c:v>23.898622228512913</c:v>
                </c:pt>
                <c:pt idx="892">
                  <c:v>23.835542593553832</c:v>
                </c:pt>
                <c:pt idx="893">
                  <c:v>21.117457242216844</c:v>
                </c:pt>
                <c:pt idx="894">
                  <c:v>21.045845184434842</c:v>
                </c:pt>
                <c:pt idx="895">
                  <c:v>20.938192127222571</c:v>
                </c:pt>
                <c:pt idx="896">
                  <c:v>21.310593194637413</c:v>
                </c:pt>
                <c:pt idx="897">
                  <c:v>22.622366933203629</c:v>
                </c:pt>
                <c:pt idx="898">
                  <c:v>23.318061549553263</c:v>
                </c:pt>
                <c:pt idx="899">
                  <c:v>23.004912948378838</c:v>
                </c:pt>
                <c:pt idx="900">
                  <c:v>22.977824902565132</c:v>
                </c:pt>
                <c:pt idx="901">
                  <c:v>23.109104906002944</c:v>
                </c:pt>
                <c:pt idx="902">
                  <c:v>24.232478522743992</c:v>
                </c:pt>
                <c:pt idx="903">
                  <c:v>23.860627692374944</c:v>
                </c:pt>
                <c:pt idx="904">
                  <c:v>23.655131792576825</c:v>
                </c:pt>
                <c:pt idx="905">
                  <c:v>23.605336022864236</c:v>
                </c:pt>
                <c:pt idx="906">
                  <c:v>23.139218422503824</c:v>
                </c:pt>
                <c:pt idx="907">
                  <c:v>23.236150663061533</c:v>
                </c:pt>
                <c:pt idx="908">
                  <c:v>22.937128902996683</c:v>
                </c:pt>
                <c:pt idx="909">
                  <c:v>22.499908017812565</c:v>
                </c:pt>
                <c:pt idx="910">
                  <c:v>22.421427728622941</c:v>
                </c:pt>
                <c:pt idx="911">
                  <c:v>22.04974534578038</c:v>
                </c:pt>
                <c:pt idx="912">
                  <c:v>23.726158608054714</c:v>
                </c:pt>
                <c:pt idx="913">
                  <c:v>23.771515707889058</c:v>
                </c:pt>
                <c:pt idx="914">
                  <c:v>23.656441516595891</c:v>
                </c:pt>
                <c:pt idx="915">
                  <c:v>23.68551543920557</c:v>
                </c:pt>
                <c:pt idx="916">
                  <c:v>24.005921370298058</c:v>
                </c:pt>
                <c:pt idx="917">
                  <c:v>23.548652087115091</c:v>
                </c:pt>
                <c:pt idx="918">
                  <c:v>23.509485101039697</c:v>
                </c:pt>
                <c:pt idx="919">
                  <c:v>24.030281239872544</c:v>
                </c:pt>
                <c:pt idx="920">
                  <c:v>23.806049306357963</c:v>
                </c:pt>
                <c:pt idx="921">
                  <c:v>24.015885122876526</c:v>
                </c:pt>
                <c:pt idx="922">
                  <c:v>23.984511271064935</c:v>
                </c:pt>
                <c:pt idx="923">
                  <c:v>23.69114524295415</c:v>
                </c:pt>
                <c:pt idx="924">
                  <c:v>23.516436305192716</c:v>
                </c:pt>
                <c:pt idx="925">
                  <c:v>22.59863898102769</c:v>
                </c:pt>
                <c:pt idx="926">
                  <c:v>22.917261054591656</c:v>
                </c:pt>
                <c:pt idx="927">
                  <c:v>22.588471265159875</c:v>
                </c:pt>
                <c:pt idx="928">
                  <c:v>21.791070487535514</c:v>
                </c:pt>
                <c:pt idx="929">
                  <c:v>21.227029825358006</c:v>
                </c:pt>
                <c:pt idx="930">
                  <c:v>21.038388745166891</c:v>
                </c:pt>
                <c:pt idx="931">
                  <c:v>20.709988727972195</c:v>
                </c:pt>
                <c:pt idx="932">
                  <c:v>20.475002461494562</c:v>
                </c:pt>
                <c:pt idx="933">
                  <c:v>20.615053226005255</c:v>
                </c:pt>
                <c:pt idx="934">
                  <c:v>20.989560758861696</c:v>
                </c:pt>
                <c:pt idx="935">
                  <c:v>21.504089262351073</c:v>
                </c:pt>
                <c:pt idx="936">
                  <c:v>20.70648114042379</c:v>
                </c:pt>
                <c:pt idx="937">
                  <c:v>20.7940077565782</c:v>
                </c:pt>
                <c:pt idx="938">
                  <c:v>20.104851109735396</c:v>
                </c:pt>
                <c:pt idx="939">
                  <c:v>19.759861983013181</c:v>
                </c:pt>
                <c:pt idx="940">
                  <c:v>19.227692233996134</c:v>
                </c:pt>
                <c:pt idx="941">
                  <c:v>18.840068540094414</c:v>
                </c:pt>
                <c:pt idx="942">
                  <c:v>19.563853652634567</c:v>
                </c:pt>
                <c:pt idx="943">
                  <c:v>18.740999785524604</c:v>
                </c:pt>
                <c:pt idx="944">
                  <c:v>18.304554341883829</c:v>
                </c:pt>
                <c:pt idx="945">
                  <c:v>18.761233266663361</c:v>
                </c:pt>
                <c:pt idx="946">
                  <c:v>17.928217323803285</c:v>
                </c:pt>
                <c:pt idx="947">
                  <c:v>17.801678418635159</c:v>
                </c:pt>
                <c:pt idx="948">
                  <c:v>18.841223180785406</c:v>
                </c:pt>
                <c:pt idx="949">
                  <c:v>20.585670995028249</c:v>
                </c:pt>
                <c:pt idx="950">
                  <c:v>20.570921567315391</c:v>
                </c:pt>
                <c:pt idx="951">
                  <c:v>20.36208781026814</c:v>
                </c:pt>
                <c:pt idx="952">
                  <c:v>21.025249750223878</c:v>
                </c:pt>
                <c:pt idx="953">
                  <c:v>20.802423682349076</c:v>
                </c:pt>
                <c:pt idx="954">
                  <c:v>20.426724561617412</c:v>
                </c:pt>
                <c:pt idx="955">
                  <c:v>21.370459330848352</c:v>
                </c:pt>
                <c:pt idx="956">
                  <c:v>22.229505151882488</c:v>
                </c:pt>
                <c:pt idx="957">
                  <c:v>22.183338514028851</c:v>
                </c:pt>
                <c:pt idx="958">
                  <c:v>25.572781760767864</c:v>
                </c:pt>
                <c:pt idx="959">
                  <c:v>26.064065930146882</c:v>
                </c:pt>
                <c:pt idx="960">
                  <c:v>25.760606609175504</c:v>
                </c:pt>
                <c:pt idx="961">
                  <c:v>26.435601094810785</c:v>
                </c:pt>
                <c:pt idx="962">
                  <c:v>26.476334619876653</c:v>
                </c:pt>
                <c:pt idx="963">
                  <c:v>26.994841320958333</c:v>
                </c:pt>
                <c:pt idx="964">
                  <c:v>27.014168471580735</c:v>
                </c:pt>
                <c:pt idx="965">
                  <c:v>26.954627213339375</c:v>
                </c:pt>
                <c:pt idx="966">
                  <c:v>26.920930153100606</c:v>
                </c:pt>
                <c:pt idx="967">
                  <c:v>26.262796958582047</c:v>
                </c:pt>
                <c:pt idx="968">
                  <c:v>25.731514398605441</c:v>
                </c:pt>
                <c:pt idx="969">
                  <c:v>25.244767293935105</c:v>
                </c:pt>
                <c:pt idx="970">
                  <c:v>26.087228257466915</c:v>
                </c:pt>
                <c:pt idx="971">
                  <c:v>25.422587187382756</c:v>
                </c:pt>
                <c:pt idx="972">
                  <c:v>25.258371160566234</c:v>
                </c:pt>
                <c:pt idx="973">
                  <c:v>24.646186779193201</c:v>
                </c:pt>
                <c:pt idx="974">
                  <c:v>24.267137861604869</c:v>
                </c:pt>
                <c:pt idx="975">
                  <c:v>24.06029693124789</c:v>
                </c:pt>
                <c:pt idx="976">
                  <c:v>23.861319676705936</c:v>
                </c:pt>
                <c:pt idx="977">
                  <c:v>23.860856081630878</c:v>
                </c:pt>
                <c:pt idx="978">
                  <c:v>22.848510801936431</c:v>
                </c:pt>
                <c:pt idx="979">
                  <c:v>22.68479908969595</c:v>
                </c:pt>
                <c:pt idx="980">
                  <c:v>22.852073065468204</c:v>
                </c:pt>
                <c:pt idx="981">
                  <c:v>22.97518591597305</c:v>
                </c:pt>
                <c:pt idx="982">
                  <c:v>22.974912699547268</c:v>
                </c:pt>
                <c:pt idx="983">
                  <c:v>22.815363692564631</c:v>
                </c:pt>
                <c:pt idx="984">
                  <c:v>22.867810500569437</c:v>
                </c:pt>
                <c:pt idx="985">
                  <c:v>22.229225599624584</c:v>
                </c:pt>
                <c:pt idx="986">
                  <c:v>21.660792912511106</c:v>
                </c:pt>
                <c:pt idx="987">
                  <c:v>21.319610182285693</c:v>
                </c:pt>
                <c:pt idx="988">
                  <c:v>21.749608149292637</c:v>
                </c:pt>
                <c:pt idx="989">
                  <c:v>21.425628388064666</c:v>
                </c:pt>
                <c:pt idx="990">
                  <c:v>20.940429070792909</c:v>
                </c:pt>
                <c:pt idx="991">
                  <c:v>21.423870387940688</c:v>
                </c:pt>
                <c:pt idx="992">
                  <c:v>21.638096071824592</c:v>
                </c:pt>
                <c:pt idx="993">
                  <c:v>21.42231233640797</c:v>
                </c:pt>
                <c:pt idx="994">
                  <c:v>21.153782807401758</c:v>
                </c:pt>
                <c:pt idx="995">
                  <c:v>20.813086750594429</c:v>
                </c:pt>
                <c:pt idx="996">
                  <c:v>20.638109160836787</c:v>
                </c:pt>
                <c:pt idx="997">
                  <c:v>20.47439068673339</c:v>
                </c:pt>
                <c:pt idx="998">
                  <c:v>19.602784385734818</c:v>
                </c:pt>
                <c:pt idx="999">
                  <c:v>19.001973981420477</c:v>
                </c:pt>
                <c:pt idx="1000">
                  <c:v>19.490719019359748</c:v>
                </c:pt>
                <c:pt idx="1001">
                  <c:v>18.999622958608906</c:v>
                </c:pt>
                <c:pt idx="1002">
                  <c:v>18.726370502712253</c:v>
                </c:pt>
                <c:pt idx="1003">
                  <c:v>18.616907793646444</c:v>
                </c:pt>
                <c:pt idx="1004">
                  <c:v>18.671104926021606</c:v>
                </c:pt>
                <c:pt idx="1005">
                  <c:v>18.181070848073478</c:v>
                </c:pt>
                <c:pt idx="1006">
                  <c:v>18.180021325109308</c:v>
                </c:pt>
                <c:pt idx="1007">
                  <c:v>18.792302023545407</c:v>
                </c:pt>
                <c:pt idx="1008">
                  <c:v>18.367024138846322</c:v>
                </c:pt>
                <c:pt idx="1009">
                  <c:v>18.268603950982893</c:v>
                </c:pt>
                <c:pt idx="1010">
                  <c:v>18.324880612386714</c:v>
                </c:pt>
                <c:pt idx="1011">
                  <c:v>18.272926626695551</c:v>
                </c:pt>
                <c:pt idx="1012">
                  <c:v>18.125851752591796</c:v>
                </c:pt>
                <c:pt idx="1013">
                  <c:v>18.370475737441808</c:v>
                </c:pt>
                <c:pt idx="1014">
                  <c:v>20.623373287074127</c:v>
                </c:pt>
                <c:pt idx="1015">
                  <c:v>20.400102733231105</c:v>
                </c:pt>
                <c:pt idx="1016">
                  <c:v>21.444815156597365</c:v>
                </c:pt>
                <c:pt idx="1017">
                  <c:v>19.314094803682963</c:v>
                </c:pt>
                <c:pt idx="1018">
                  <c:v>19.501690612201163</c:v>
                </c:pt>
                <c:pt idx="1019">
                  <c:v>17.143512686367899</c:v>
                </c:pt>
                <c:pt idx="1020">
                  <c:v>16.611056239521442</c:v>
                </c:pt>
                <c:pt idx="1021">
                  <c:v>13.123935719624468</c:v>
                </c:pt>
                <c:pt idx="1022">
                  <c:v>11.432460052284718</c:v>
                </c:pt>
                <c:pt idx="1023">
                  <c:v>13.337531879767456</c:v>
                </c:pt>
                <c:pt idx="1024">
                  <c:v>13.502693564742273</c:v>
                </c:pt>
                <c:pt idx="1025">
                  <c:v>14.029085430008124</c:v>
                </c:pt>
                <c:pt idx="1026">
                  <c:v>13.850921304385817</c:v>
                </c:pt>
                <c:pt idx="1027">
                  <c:v>13.791495150935154</c:v>
                </c:pt>
                <c:pt idx="1028">
                  <c:v>13.78487233962743</c:v>
                </c:pt>
                <c:pt idx="1029">
                  <c:v>13.553294323786488</c:v>
                </c:pt>
                <c:pt idx="1030">
                  <c:v>13.499521473247672</c:v>
                </c:pt>
                <c:pt idx="1031">
                  <c:v>12.971671830170626</c:v>
                </c:pt>
                <c:pt idx="1032">
                  <c:v>12.990264676125074</c:v>
                </c:pt>
                <c:pt idx="1033">
                  <c:v>13.115714880733387</c:v>
                </c:pt>
                <c:pt idx="1034">
                  <c:v>13.383687395183404</c:v>
                </c:pt>
                <c:pt idx="1035">
                  <c:v>13.536354815316715</c:v>
                </c:pt>
                <c:pt idx="1036">
                  <c:v>13.869610492390915</c:v>
                </c:pt>
                <c:pt idx="1037">
                  <c:v>13.833211086609865</c:v>
                </c:pt>
                <c:pt idx="1038">
                  <c:v>14.06706455748712</c:v>
                </c:pt>
                <c:pt idx="1039">
                  <c:v>13.829082375990223</c:v>
                </c:pt>
                <c:pt idx="1040">
                  <c:v>13.821517513347827</c:v>
                </c:pt>
                <c:pt idx="1041">
                  <c:v>14.349596140675034</c:v>
                </c:pt>
                <c:pt idx="1042">
                  <c:v>14.593272451915583</c:v>
                </c:pt>
                <c:pt idx="1043">
                  <c:v>14.704323356888199</c:v>
                </c:pt>
                <c:pt idx="1044">
                  <c:v>14.704817700703687</c:v>
                </c:pt>
                <c:pt idx="1045">
                  <c:v>14.995992047027812</c:v>
                </c:pt>
                <c:pt idx="1046">
                  <c:v>15.070351248232662</c:v>
                </c:pt>
                <c:pt idx="1047">
                  <c:v>14.995194878160605</c:v>
                </c:pt>
                <c:pt idx="1048">
                  <c:v>14.702594032273034</c:v>
                </c:pt>
                <c:pt idx="1049">
                  <c:v>14.518606964584642</c:v>
                </c:pt>
                <c:pt idx="1050">
                  <c:v>14.327644039580823</c:v>
                </c:pt>
                <c:pt idx="1051">
                  <c:v>14.125667021663734</c:v>
                </c:pt>
                <c:pt idx="1052">
                  <c:v>14.239779233229484</c:v>
                </c:pt>
                <c:pt idx="1053">
                  <c:v>14.919422923446687</c:v>
                </c:pt>
                <c:pt idx="1054">
                  <c:v>15.04542206682544</c:v>
                </c:pt>
                <c:pt idx="1055">
                  <c:v>15.243926982047755</c:v>
                </c:pt>
                <c:pt idx="1056">
                  <c:v>15.240806502967361</c:v>
                </c:pt>
                <c:pt idx="1057">
                  <c:v>15.12130968770116</c:v>
                </c:pt>
                <c:pt idx="1058">
                  <c:v>14.505524106677074</c:v>
                </c:pt>
                <c:pt idx="1059">
                  <c:v>14.418624779758288</c:v>
                </c:pt>
                <c:pt idx="1060">
                  <c:v>14.636451529551652</c:v>
                </c:pt>
                <c:pt idx="1061">
                  <c:v>15.206465118703667</c:v>
                </c:pt>
                <c:pt idx="1062">
                  <c:v>16.152295503310423</c:v>
                </c:pt>
                <c:pt idx="1063">
                  <c:v>16.760111506468675</c:v>
                </c:pt>
                <c:pt idx="1064">
                  <c:v>16.581902997091522</c:v>
                </c:pt>
                <c:pt idx="1065">
                  <c:v>16.254390404995391</c:v>
                </c:pt>
                <c:pt idx="1066">
                  <c:v>15.825175690705592</c:v>
                </c:pt>
                <c:pt idx="1067">
                  <c:v>15.793649364360606</c:v>
                </c:pt>
                <c:pt idx="1068">
                  <c:v>16.375131250833775</c:v>
                </c:pt>
                <c:pt idx="1069">
                  <c:v>16.220766185054174</c:v>
                </c:pt>
                <c:pt idx="1070">
                  <c:v>16.896377804038522</c:v>
                </c:pt>
                <c:pt idx="1071">
                  <c:v>16.76317379200221</c:v>
                </c:pt>
                <c:pt idx="1072">
                  <c:v>16.812829989898898</c:v>
                </c:pt>
                <c:pt idx="1073">
                  <c:v>16.777612281885247</c:v>
                </c:pt>
                <c:pt idx="1074">
                  <c:v>16.387776477445961</c:v>
                </c:pt>
                <c:pt idx="1075">
                  <c:v>16.293256536722705</c:v>
                </c:pt>
                <c:pt idx="1076">
                  <c:v>15.806687167445947</c:v>
                </c:pt>
                <c:pt idx="1077">
                  <c:v>15.734709048956649</c:v>
                </c:pt>
                <c:pt idx="1078">
                  <c:v>15.919920416557343</c:v>
                </c:pt>
                <c:pt idx="1079">
                  <c:v>15.919507562729549</c:v>
                </c:pt>
                <c:pt idx="1080">
                  <c:v>15.734037877997034</c:v>
                </c:pt>
                <c:pt idx="1081">
                  <c:v>14.744461444284692</c:v>
                </c:pt>
                <c:pt idx="1082">
                  <c:v>14.893696240546474</c:v>
                </c:pt>
                <c:pt idx="1083">
                  <c:v>14.67685148167396</c:v>
                </c:pt>
                <c:pt idx="1084">
                  <c:v>14.707280760303499</c:v>
                </c:pt>
                <c:pt idx="1085">
                  <c:v>14.645417071548723</c:v>
                </c:pt>
                <c:pt idx="1086">
                  <c:v>14.274513365625467</c:v>
                </c:pt>
                <c:pt idx="1087">
                  <c:v>14.36640869130362</c:v>
                </c:pt>
                <c:pt idx="1088">
                  <c:v>15.880082470151381</c:v>
                </c:pt>
                <c:pt idx="1089">
                  <c:v>16.154457622477501</c:v>
                </c:pt>
                <c:pt idx="1090">
                  <c:v>15.733325166080975</c:v>
                </c:pt>
                <c:pt idx="1091">
                  <c:v>15.911946623043137</c:v>
                </c:pt>
                <c:pt idx="1092">
                  <c:v>16.383400047945802</c:v>
                </c:pt>
                <c:pt idx="1093">
                  <c:v>16.632671288951819</c:v>
                </c:pt>
                <c:pt idx="1094">
                  <c:v>16.262383520482594</c:v>
                </c:pt>
                <c:pt idx="1095">
                  <c:v>16.286249601510111</c:v>
                </c:pt>
                <c:pt idx="1096">
                  <c:v>16.521341428819039</c:v>
                </c:pt>
                <c:pt idx="1097">
                  <c:v>16.343746480753961</c:v>
                </c:pt>
                <c:pt idx="1098">
                  <c:v>16.19267670303168</c:v>
                </c:pt>
                <c:pt idx="1099">
                  <c:v>16.166654408077555</c:v>
                </c:pt>
                <c:pt idx="1100">
                  <c:v>15.670146275758588</c:v>
                </c:pt>
                <c:pt idx="1101">
                  <c:v>15.697255329631775</c:v>
                </c:pt>
                <c:pt idx="1102">
                  <c:v>15.361948239626853</c:v>
                </c:pt>
                <c:pt idx="1103">
                  <c:v>14.747111430470895</c:v>
                </c:pt>
                <c:pt idx="1104">
                  <c:v>14.363723654820008</c:v>
                </c:pt>
                <c:pt idx="1105">
                  <c:v>13.5527000940625</c:v>
                </c:pt>
                <c:pt idx="1106">
                  <c:v>14.039155902450419</c:v>
                </c:pt>
                <c:pt idx="1107">
                  <c:v>13.69352499650129</c:v>
                </c:pt>
                <c:pt idx="1108">
                  <c:v>13.635371033246136</c:v>
                </c:pt>
                <c:pt idx="1109">
                  <c:v>13.363032969261029</c:v>
                </c:pt>
                <c:pt idx="1110">
                  <c:v>12.719039507538671</c:v>
                </c:pt>
                <c:pt idx="1111">
                  <c:v>12.717692228853693</c:v>
                </c:pt>
                <c:pt idx="1112">
                  <c:v>12.470266908749389</c:v>
                </c:pt>
                <c:pt idx="1113">
                  <c:v>12.420248339620976</c:v>
                </c:pt>
                <c:pt idx="1114">
                  <c:v>12.395397960054611</c:v>
                </c:pt>
                <c:pt idx="1115">
                  <c:v>12.048965382531676</c:v>
                </c:pt>
                <c:pt idx="1116">
                  <c:v>12.097706689199425</c:v>
                </c:pt>
                <c:pt idx="1117">
                  <c:v>12.344994850474647</c:v>
                </c:pt>
                <c:pt idx="1118">
                  <c:v>12.765010330723602</c:v>
                </c:pt>
                <c:pt idx="1119">
                  <c:v>12.41100590363444</c:v>
                </c:pt>
                <c:pt idx="1120">
                  <c:v>12.361931751481814</c:v>
                </c:pt>
                <c:pt idx="1121">
                  <c:v>12.321631297188635</c:v>
                </c:pt>
                <c:pt idx="1122">
                  <c:v>12.411956662331333</c:v>
                </c:pt>
                <c:pt idx="1123">
                  <c:v>12.56346464655271</c:v>
                </c:pt>
                <c:pt idx="1124">
                  <c:v>12.546272645542446</c:v>
                </c:pt>
                <c:pt idx="1125">
                  <c:v>12.368126380863053</c:v>
                </c:pt>
                <c:pt idx="1126">
                  <c:v>12.36866844876913</c:v>
                </c:pt>
                <c:pt idx="1127">
                  <c:v>12.455994120573628</c:v>
                </c:pt>
                <c:pt idx="1128">
                  <c:v>12.25504948059733</c:v>
                </c:pt>
                <c:pt idx="1129">
                  <c:v>11.720711250441093</c:v>
                </c:pt>
                <c:pt idx="1130">
                  <c:v>11.372505698564717</c:v>
                </c:pt>
                <c:pt idx="1131">
                  <c:v>11.024717094733607</c:v>
                </c:pt>
                <c:pt idx="1132">
                  <c:v>11.023976938923719</c:v>
                </c:pt>
                <c:pt idx="1133">
                  <c:v>11.504439885960407</c:v>
                </c:pt>
                <c:pt idx="1134">
                  <c:v>11.432027796916376</c:v>
                </c:pt>
                <c:pt idx="1135">
                  <c:v>11.075363887913603</c:v>
                </c:pt>
                <c:pt idx="1136">
                  <c:v>11.317331742952907</c:v>
                </c:pt>
                <c:pt idx="1137">
                  <c:v>10.722963916252377</c:v>
                </c:pt>
                <c:pt idx="1138">
                  <c:v>10.606063716338102</c:v>
                </c:pt>
                <c:pt idx="1139">
                  <c:v>10.157070806609399</c:v>
                </c:pt>
                <c:pt idx="1140">
                  <c:v>10.08395082348283</c:v>
                </c:pt>
                <c:pt idx="1141">
                  <c:v>10.30039233031718</c:v>
                </c:pt>
                <c:pt idx="1142">
                  <c:v>10.516502796999797</c:v>
                </c:pt>
                <c:pt idx="1143">
                  <c:v>10.467885507392493</c:v>
                </c:pt>
                <c:pt idx="1144">
                  <c:v>10.461232055631697</c:v>
                </c:pt>
                <c:pt idx="1145">
                  <c:v>10.40212292204054</c:v>
                </c:pt>
                <c:pt idx="1146">
                  <c:v>10.304923532068688</c:v>
                </c:pt>
                <c:pt idx="1147">
                  <c:v>10.075733014186641</c:v>
                </c:pt>
                <c:pt idx="1148">
                  <c:v>9.4743870396476009</c:v>
                </c:pt>
                <c:pt idx="1149">
                  <c:v>9.4965097336000071</c:v>
                </c:pt>
                <c:pt idx="1150">
                  <c:v>9.573244982095364</c:v>
                </c:pt>
                <c:pt idx="1151">
                  <c:v>9.6754616275083762</c:v>
                </c:pt>
                <c:pt idx="1152">
                  <c:v>9.5472521843368305</c:v>
                </c:pt>
                <c:pt idx="1153">
                  <c:v>9.70055051335369</c:v>
                </c:pt>
                <c:pt idx="1154">
                  <c:v>10.253206882506408</c:v>
                </c:pt>
                <c:pt idx="1155">
                  <c:v>10.122796816121213</c:v>
                </c:pt>
                <c:pt idx="1156">
                  <c:v>9.8113009649196901</c:v>
                </c:pt>
                <c:pt idx="1157">
                  <c:v>9.9407037638631568</c:v>
                </c:pt>
                <c:pt idx="1158">
                  <c:v>10.622896217589474</c:v>
                </c:pt>
                <c:pt idx="1159">
                  <c:v>10.749258202241231</c:v>
                </c:pt>
                <c:pt idx="1160">
                  <c:v>10.469216988420193</c:v>
                </c:pt>
                <c:pt idx="1161">
                  <c:v>10.949298856958105</c:v>
                </c:pt>
                <c:pt idx="1162">
                  <c:v>10.447577952198326</c:v>
                </c:pt>
                <c:pt idx="1163">
                  <c:v>10.813066895802667</c:v>
                </c:pt>
                <c:pt idx="1164">
                  <c:v>10.903599465557159</c:v>
                </c:pt>
                <c:pt idx="1165">
                  <c:v>10.839717698846481</c:v>
                </c:pt>
                <c:pt idx="1166">
                  <c:v>10.984204447328425</c:v>
                </c:pt>
                <c:pt idx="1167">
                  <c:v>11.993845124786022</c:v>
                </c:pt>
                <c:pt idx="1168">
                  <c:v>12.186093145611224</c:v>
                </c:pt>
                <c:pt idx="1169">
                  <c:v>12.005615797253297</c:v>
                </c:pt>
                <c:pt idx="1170">
                  <c:v>11.994696737876618</c:v>
                </c:pt>
                <c:pt idx="1171">
                  <c:v>11.735152146645724</c:v>
                </c:pt>
                <c:pt idx="1172">
                  <c:v>11.605638770548985</c:v>
                </c:pt>
                <c:pt idx="1173">
                  <c:v>11.637595216196793</c:v>
                </c:pt>
                <c:pt idx="1174">
                  <c:v>11.798709233677446</c:v>
                </c:pt>
                <c:pt idx="1175">
                  <c:v>12.032456905151731</c:v>
                </c:pt>
                <c:pt idx="1176">
                  <c:v>12.166677632177882</c:v>
                </c:pt>
                <c:pt idx="1177">
                  <c:v>12.102452353734197</c:v>
                </c:pt>
                <c:pt idx="1178">
                  <c:v>12.131651834874887</c:v>
                </c:pt>
                <c:pt idx="1179">
                  <c:v>12.101907168048795</c:v>
                </c:pt>
                <c:pt idx="1180">
                  <c:v>12.057109194086728</c:v>
                </c:pt>
                <c:pt idx="1181">
                  <c:v>12.048411139471741</c:v>
                </c:pt>
                <c:pt idx="1182">
                  <c:v>12.300187373962135</c:v>
                </c:pt>
                <c:pt idx="1183">
                  <c:v>12.542077337311534</c:v>
                </c:pt>
                <c:pt idx="1184">
                  <c:v>12.541608314773214</c:v>
                </c:pt>
                <c:pt idx="1185">
                  <c:v>12.574919263127597</c:v>
                </c:pt>
                <c:pt idx="1186">
                  <c:v>12.602827665666483</c:v>
                </c:pt>
                <c:pt idx="1187">
                  <c:v>12.635424716503463</c:v>
                </c:pt>
                <c:pt idx="1188">
                  <c:v>12.666522869344567</c:v>
                </c:pt>
                <c:pt idx="1189">
                  <c:v>12.568323548359174</c:v>
                </c:pt>
                <c:pt idx="1190">
                  <c:v>12.293768655044804</c:v>
                </c:pt>
                <c:pt idx="1191">
                  <c:v>12.260331765347647</c:v>
                </c:pt>
                <c:pt idx="1192">
                  <c:v>12.293128603850381</c:v>
                </c:pt>
                <c:pt idx="1193">
                  <c:v>12.260187334670995</c:v>
                </c:pt>
                <c:pt idx="1194">
                  <c:v>11.799948583456604</c:v>
                </c:pt>
                <c:pt idx="1195">
                  <c:v>11.174464116205048</c:v>
                </c:pt>
                <c:pt idx="1196">
                  <c:v>11.140297518953977</c:v>
                </c:pt>
                <c:pt idx="1197">
                  <c:v>10.6207297541835</c:v>
                </c:pt>
                <c:pt idx="1198">
                  <c:v>10.302171874904511</c:v>
                </c:pt>
                <c:pt idx="1199">
                  <c:v>10.820931612105593</c:v>
                </c:pt>
                <c:pt idx="1200">
                  <c:v>10.76201992035317</c:v>
                </c:pt>
                <c:pt idx="1201">
                  <c:v>10.877303548234989</c:v>
                </c:pt>
                <c:pt idx="1202">
                  <c:v>10.617377662279647</c:v>
                </c:pt>
                <c:pt idx="1203">
                  <c:v>10.5059495098964</c:v>
                </c:pt>
                <c:pt idx="1204">
                  <c:v>10.129635818846312</c:v>
                </c:pt>
                <c:pt idx="1205">
                  <c:v>9.9556822895558561</c:v>
                </c:pt>
                <c:pt idx="1206">
                  <c:v>11.196162441587569</c:v>
                </c:pt>
                <c:pt idx="1207">
                  <c:v>11.019956640126612</c:v>
                </c:pt>
                <c:pt idx="1208">
                  <c:v>11.625339121883588</c:v>
                </c:pt>
                <c:pt idx="1209">
                  <c:v>11.575962282029462</c:v>
                </c:pt>
                <c:pt idx="1210">
                  <c:v>11.464358319067639</c:v>
                </c:pt>
                <c:pt idx="1211">
                  <c:v>11.392127658418406</c:v>
                </c:pt>
                <c:pt idx="1212">
                  <c:v>11.295648879347524</c:v>
                </c:pt>
                <c:pt idx="1213">
                  <c:v>11.242447363058751</c:v>
                </c:pt>
                <c:pt idx="1214">
                  <c:v>11.239051909261777</c:v>
                </c:pt>
                <c:pt idx="1215">
                  <c:v>11.265364756858041</c:v>
                </c:pt>
                <c:pt idx="1216">
                  <c:v>11.143947617112024</c:v>
                </c:pt>
                <c:pt idx="1217">
                  <c:v>11.0472084510369</c:v>
                </c:pt>
                <c:pt idx="1218">
                  <c:v>11.139820594830065</c:v>
                </c:pt>
                <c:pt idx="1219">
                  <c:v>11.255091968404228</c:v>
                </c:pt>
                <c:pt idx="1220">
                  <c:v>11.284839255634903</c:v>
                </c:pt>
                <c:pt idx="1221">
                  <c:v>11.277269735550359</c:v>
                </c:pt>
                <c:pt idx="1222">
                  <c:v>10.915726741848644</c:v>
                </c:pt>
                <c:pt idx="1223">
                  <c:v>10.678589590858218</c:v>
                </c:pt>
                <c:pt idx="1224">
                  <c:v>10.857238828325515</c:v>
                </c:pt>
                <c:pt idx="1225">
                  <c:v>11.701537493412241</c:v>
                </c:pt>
                <c:pt idx="1226">
                  <c:v>12.251219762067498</c:v>
                </c:pt>
                <c:pt idx="1227">
                  <c:v>11.738245994184519</c:v>
                </c:pt>
                <c:pt idx="1228">
                  <c:v>11.708401467149061</c:v>
                </c:pt>
                <c:pt idx="1229">
                  <c:v>12.230086031469455</c:v>
                </c:pt>
                <c:pt idx="1230">
                  <c:v>12.111725384150441</c:v>
                </c:pt>
                <c:pt idx="1231">
                  <c:v>12.288115090649281</c:v>
                </c:pt>
                <c:pt idx="1232">
                  <c:v>12.203632208372133</c:v>
                </c:pt>
                <c:pt idx="1233">
                  <c:v>12.141110361347391</c:v>
                </c:pt>
                <c:pt idx="1234">
                  <c:v>12.212198750369465</c:v>
                </c:pt>
                <c:pt idx="1235">
                  <c:v>12.283585924781722</c:v>
                </c:pt>
                <c:pt idx="1236">
                  <c:v>12.170349626559673</c:v>
                </c:pt>
                <c:pt idx="1237">
                  <c:v>11.925675100122655</c:v>
                </c:pt>
                <c:pt idx="1238">
                  <c:v>11.659457209974667</c:v>
                </c:pt>
                <c:pt idx="1239">
                  <c:v>11.901829553104593</c:v>
                </c:pt>
                <c:pt idx="1240">
                  <c:v>12.288051672099559</c:v>
                </c:pt>
                <c:pt idx="1241">
                  <c:v>12.863164282128514</c:v>
                </c:pt>
                <c:pt idx="1242">
                  <c:v>12.8682975967627</c:v>
                </c:pt>
                <c:pt idx="1243">
                  <c:v>12.644658408147821</c:v>
                </c:pt>
                <c:pt idx="1244">
                  <c:v>12.457038738341073</c:v>
                </c:pt>
                <c:pt idx="1245">
                  <c:v>12.325228760108068</c:v>
                </c:pt>
                <c:pt idx="1246">
                  <c:v>12.667103127350163</c:v>
                </c:pt>
                <c:pt idx="1247">
                  <c:v>12.229528667833499</c:v>
                </c:pt>
                <c:pt idx="1248">
                  <c:v>12.037938688209891</c:v>
                </c:pt>
                <c:pt idx="1249">
                  <c:v>12.065219746587964</c:v>
                </c:pt>
                <c:pt idx="1250">
                  <c:v>11.908864953284676</c:v>
                </c:pt>
                <c:pt idx="1251">
                  <c:v>11.689726658357779</c:v>
                </c:pt>
                <c:pt idx="1252">
                  <c:v>11.604504811742297</c:v>
                </c:pt>
                <c:pt idx="1253">
                  <c:v>11.476181510677248</c:v>
                </c:pt>
                <c:pt idx="1254">
                  <c:v>11.503793152257217</c:v>
                </c:pt>
                <c:pt idx="1255">
                  <c:v>11.652266319393815</c:v>
                </c:pt>
                <c:pt idx="1256">
                  <c:v>11.516627569060949</c:v>
                </c:pt>
                <c:pt idx="1257">
                  <c:v>11.588023081512778</c:v>
                </c:pt>
                <c:pt idx="1258">
                  <c:v>11.457808834135843</c:v>
                </c:pt>
                <c:pt idx="1259">
                  <c:v>11.435113082637166</c:v>
                </c:pt>
                <c:pt idx="1260">
                  <c:v>11.261454004331197</c:v>
                </c:pt>
                <c:pt idx="1261">
                  <c:v>11.565555062184552</c:v>
                </c:pt>
                <c:pt idx="1262">
                  <c:v>10.935034988586727</c:v>
                </c:pt>
                <c:pt idx="1263">
                  <c:v>10.437580848834456</c:v>
                </c:pt>
                <c:pt idx="1264">
                  <c:v>10.290775581405752</c:v>
                </c:pt>
                <c:pt idx="1265">
                  <c:v>10.031757619442322</c:v>
                </c:pt>
                <c:pt idx="1266">
                  <c:v>9.9449700991362722</c:v>
                </c:pt>
                <c:pt idx="1267">
                  <c:v>9.7723262649575702</c:v>
                </c:pt>
                <c:pt idx="1268">
                  <c:v>9.6282421620782817</c:v>
                </c:pt>
                <c:pt idx="1269">
                  <c:v>9.5991906136374574</c:v>
                </c:pt>
                <c:pt idx="1270">
                  <c:v>9.9152660586486974</c:v>
                </c:pt>
                <c:pt idx="1271">
                  <c:v>10.173209013687577</c:v>
                </c:pt>
                <c:pt idx="1272">
                  <c:v>10.316315153187388</c:v>
                </c:pt>
                <c:pt idx="1273">
                  <c:v>10.201382771962127</c:v>
                </c:pt>
                <c:pt idx="1274">
                  <c:v>10.27195262961637</c:v>
                </c:pt>
                <c:pt idx="1275">
                  <c:v>10.667930927454082</c:v>
                </c:pt>
                <c:pt idx="1276">
                  <c:v>11.156100887982312</c:v>
                </c:pt>
                <c:pt idx="1277">
                  <c:v>11.130568467967223</c:v>
                </c:pt>
                <c:pt idx="1278">
                  <c:v>10.750006092189297</c:v>
                </c:pt>
                <c:pt idx="1279">
                  <c:v>10.793043829160601</c:v>
                </c:pt>
                <c:pt idx="1280">
                  <c:v>11.008762748197299</c:v>
                </c:pt>
                <c:pt idx="1281">
                  <c:v>10.841880234085631</c:v>
                </c:pt>
                <c:pt idx="1282">
                  <c:v>10.747687093855228</c:v>
                </c:pt>
                <c:pt idx="1283">
                  <c:v>10.586680676475781</c:v>
                </c:pt>
                <c:pt idx="1284">
                  <c:v>10.817745531515085</c:v>
                </c:pt>
                <c:pt idx="1285">
                  <c:v>11.116867983580105</c:v>
                </c:pt>
                <c:pt idx="1286">
                  <c:v>10.977331599932619</c:v>
                </c:pt>
                <c:pt idx="1287">
                  <c:v>10.999809522797387</c:v>
                </c:pt>
                <c:pt idx="1288">
                  <c:v>10.911046344921221</c:v>
                </c:pt>
                <c:pt idx="1289">
                  <c:v>10.733448516143373</c:v>
                </c:pt>
                <c:pt idx="1290">
                  <c:v>10.382085451858956</c:v>
                </c:pt>
                <c:pt idx="1291">
                  <c:v>11.259594154042279</c:v>
                </c:pt>
                <c:pt idx="1292">
                  <c:v>11.163408647862353</c:v>
                </c:pt>
                <c:pt idx="1293">
                  <c:v>11.107535368296817</c:v>
                </c:pt>
                <c:pt idx="1294">
                  <c:v>11.088010930767048</c:v>
                </c:pt>
                <c:pt idx="1295">
                  <c:v>11.100134587813631</c:v>
                </c:pt>
                <c:pt idx="1296">
                  <c:v>10.950818995003438</c:v>
                </c:pt>
                <c:pt idx="1297">
                  <c:v>11.191939889372451</c:v>
                </c:pt>
                <c:pt idx="1298">
                  <c:v>10.826775351368092</c:v>
                </c:pt>
                <c:pt idx="1299">
                  <c:v>10.794967052037464</c:v>
                </c:pt>
                <c:pt idx="1300">
                  <c:v>11.11112123510858</c:v>
                </c:pt>
                <c:pt idx="1301">
                  <c:v>10.092072927178105</c:v>
                </c:pt>
                <c:pt idx="1302">
                  <c:v>10.186149220642005</c:v>
                </c:pt>
                <c:pt idx="1303">
                  <c:v>10.389726920903323</c:v>
                </c:pt>
                <c:pt idx="1304">
                  <c:v>10.873575591846077</c:v>
                </c:pt>
                <c:pt idx="1305">
                  <c:v>11.138316327304834</c:v>
                </c:pt>
                <c:pt idx="1306">
                  <c:v>11.072859147428291</c:v>
                </c:pt>
                <c:pt idx="1307">
                  <c:v>11.006759215661768</c:v>
                </c:pt>
                <c:pt idx="1308">
                  <c:v>10.981639844617897</c:v>
                </c:pt>
                <c:pt idx="1309">
                  <c:v>10.872312757292873</c:v>
                </c:pt>
                <c:pt idx="1310">
                  <c:v>11.088008207228183</c:v>
                </c:pt>
                <c:pt idx="1311">
                  <c:v>11.09598759810056</c:v>
                </c:pt>
                <c:pt idx="1312">
                  <c:v>10.700141050427987</c:v>
                </c:pt>
                <c:pt idx="1313">
                  <c:v>10.240853408160165</c:v>
                </c:pt>
                <c:pt idx="1314">
                  <c:v>10.23989874752764</c:v>
                </c:pt>
                <c:pt idx="1315">
                  <c:v>10.42113616487905</c:v>
                </c:pt>
                <c:pt idx="1316">
                  <c:v>10.11867029479566</c:v>
                </c:pt>
                <c:pt idx="1317">
                  <c:v>10.329459656892348</c:v>
                </c:pt>
                <c:pt idx="1318">
                  <c:v>11.38609181070629</c:v>
                </c:pt>
                <c:pt idx="1319">
                  <c:v>11.789341825865023</c:v>
                </c:pt>
                <c:pt idx="1320">
                  <c:v>11.650166268465536</c:v>
                </c:pt>
                <c:pt idx="1321">
                  <c:v>11.199943977053385</c:v>
                </c:pt>
                <c:pt idx="1322">
                  <c:v>11.443080775697224</c:v>
                </c:pt>
                <c:pt idx="1323">
                  <c:v>10.989339117638284</c:v>
                </c:pt>
                <c:pt idx="1324">
                  <c:v>11.642509341920452</c:v>
                </c:pt>
                <c:pt idx="1325">
                  <c:v>11.876781601462094</c:v>
                </c:pt>
                <c:pt idx="1326">
                  <c:v>12.167454239380643</c:v>
                </c:pt>
                <c:pt idx="1327">
                  <c:v>12.160386522833127</c:v>
                </c:pt>
                <c:pt idx="1328">
                  <c:v>12.681666728557902</c:v>
                </c:pt>
                <c:pt idx="1329">
                  <c:v>12.856246109687307</c:v>
                </c:pt>
                <c:pt idx="1330">
                  <c:v>13.030642990231122</c:v>
                </c:pt>
                <c:pt idx="1331">
                  <c:v>13.024116144180214</c:v>
                </c:pt>
                <c:pt idx="1332">
                  <c:v>13.135134718412186</c:v>
                </c:pt>
                <c:pt idx="1333">
                  <c:v>13.36896263808196</c:v>
                </c:pt>
                <c:pt idx="1334">
                  <c:v>12.560539514686976</c:v>
                </c:pt>
                <c:pt idx="1335">
                  <c:v>12.648288719375209</c:v>
                </c:pt>
                <c:pt idx="1336">
                  <c:v>9.5026220440936324</c:v>
                </c:pt>
                <c:pt idx="1337">
                  <c:v>8.9535528418263368</c:v>
                </c:pt>
                <c:pt idx="1338">
                  <c:v>6.6801869596486343</c:v>
                </c:pt>
                <c:pt idx="1339">
                  <c:v>7.7822047261232763</c:v>
                </c:pt>
                <c:pt idx="1340">
                  <c:v>6.3760223060842849</c:v>
                </c:pt>
                <c:pt idx="1341">
                  <c:v>6.4591969816863379</c:v>
                </c:pt>
                <c:pt idx="1342">
                  <c:v>6.4187233494697313</c:v>
                </c:pt>
                <c:pt idx="1343">
                  <c:v>6.5806089197704454</c:v>
                </c:pt>
                <c:pt idx="1344">
                  <c:v>6.5542277079191154</c:v>
                </c:pt>
                <c:pt idx="1345">
                  <c:v>6.4792856309872757</c:v>
                </c:pt>
                <c:pt idx="1346">
                  <c:v>6.231549297892907</c:v>
                </c:pt>
                <c:pt idx="1347">
                  <c:v>6.1690549836728712</c:v>
                </c:pt>
                <c:pt idx="1348">
                  <c:v>6.0804054756535804</c:v>
                </c:pt>
                <c:pt idx="1349">
                  <c:v>6.2473896788180898</c:v>
                </c:pt>
                <c:pt idx="1350">
                  <c:v>6.3131824496359519</c:v>
                </c:pt>
                <c:pt idx="1351">
                  <c:v>6.249333823726114</c:v>
                </c:pt>
                <c:pt idx="1352">
                  <c:v>6.273855239583976</c:v>
                </c:pt>
                <c:pt idx="1353">
                  <c:v>6.3675078905782838</c:v>
                </c:pt>
                <c:pt idx="1354">
                  <c:v>6.3451448579181173</c:v>
                </c:pt>
                <c:pt idx="1355">
                  <c:v>6.3308384954897425</c:v>
                </c:pt>
                <c:pt idx="1356">
                  <c:v>6.3360943584849263</c:v>
                </c:pt>
                <c:pt idx="1357">
                  <c:v>6.3997598723489935</c:v>
                </c:pt>
                <c:pt idx="1358">
                  <c:v>6.4284759335187367</c:v>
                </c:pt>
                <c:pt idx="1359">
                  <c:v>6.4577066379027093</c:v>
                </c:pt>
                <c:pt idx="1360">
                  <c:v>6.4012890876123913</c:v>
                </c:pt>
                <c:pt idx="1361">
                  <c:v>6.3780993884694919</c:v>
                </c:pt>
                <c:pt idx="1362">
                  <c:v>6.3852300024070274</c:v>
                </c:pt>
                <c:pt idx="1363">
                  <c:v>6.4393177514354516</c:v>
                </c:pt>
                <c:pt idx="1364">
                  <c:v>6.6928068820241577</c:v>
                </c:pt>
                <c:pt idx="1365">
                  <c:v>6.9468787801623151</c:v>
                </c:pt>
                <c:pt idx="1366">
                  <c:v>6.9555220732893739</c:v>
                </c:pt>
                <c:pt idx="1367">
                  <c:v>7.0501108052549322</c:v>
                </c:pt>
                <c:pt idx="1368">
                  <c:v>7.0166932129715169</c:v>
                </c:pt>
                <c:pt idx="1369">
                  <c:v>7.2808559580673764</c:v>
                </c:pt>
                <c:pt idx="1370">
                  <c:v>7.5338188004732105</c:v>
                </c:pt>
                <c:pt idx="1371">
                  <c:v>7.4902521353643978</c:v>
                </c:pt>
                <c:pt idx="1372">
                  <c:v>7.7286828318184551</c:v>
                </c:pt>
                <c:pt idx="1373">
                  <c:v>7.8679433430395012</c:v>
                </c:pt>
                <c:pt idx="1374">
                  <c:v>7.5528764776191117</c:v>
                </c:pt>
                <c:pt idx="1375">
                  <c:v>7.6154167999236595</c:v>
                </c:pt>
                <c:pt idx="1376">
                  <c:v>6.9863930587609095</c:v>
                </c:pt>
                <c:pt idx="1377">
                  <c:v>6.7159856214675751</c:v>
                </c:pt>
                <c:pt idx="1378">
                  <c:v>7.3094261754648793</c:v>
                </c:pt>
                <c:pt idx="1379">
                  <c:v>7.7281163540553113</c:v>
                </c:pt>
                <c:pt idx="1380">
                  <c:v>7.747582301212276</c:v>
                </c:pt>
                <c:pt idx="1381">
                  <c:v>7.7439339892546588</c:v>
                </c:pt>
                <c:pt idx="1382">
                  <c:v>7.5453578822610545</c:v>
                </c:pt>
                <c:pt idx="1383">
                  <c:v>7.5311885977976312</c:v>
                </c:pt>
                <c:pt idx="1384">
                  <c:v>7.0929095903200983</c:v>
                </c:pt>
                <c:pt idx="1385">
                  <c:v>7.0633329020895372</c:v>
                </c:pt>
                <c:pt idx="1386">
                  <c:v>6.6424426321902219</c:v>
                </c:pt>
                <c:pt idx="1387">
                  <c:v>7.456322418265195</c:v>
                </c:pt>
                <c:pt idx="1388">
                  <c:v>7.0130410486716332</c:v>
                </c:pt>
                <c:pt idx="1389">
                  <c:v>7.1458704080459645</c:v>
                </c:pt>
                <c:pt idx="1390">
                  <c:v>7.1656693544319738</c:v>
                </c:pt>
                <c:pt idx="1391">
                  <c:v>7.2371483015749716</c:v>
                </c:pt>
                <c:pt idx="1392">
                  <c:v>7.3455739249697602</c:v>
                </c:pt>
                <c:pt idx="1393">
                  <c:v>7.4161676723061687</c:v>
                </c:pt>
                <c:pt idx="1394">
                  <c:v>7.2420873309579727</c:v>
                </c:pt>
                <c:pt idx="1395">
                  <c:v>7.3501743805183564</c:v>
                </c:pt>
                <c:pt idx="1396">
                  <c:v>7.3481760778535916</c:v>
                </c:pt>
                <c:pt idx="1397">
                  <c:v>8.1026648751470862</c:v>
                </c:pt>
                <c:pt idx="1398">
                  <c:v>8.8926280922805727</c:v>
                </c:pt>
                <c:pt idx="1399">
                  <c:v>8.8555244024870845</c:v>
                </c:pt>
                <c:pt idx="1400">
                  <c:v>9.0318494530659876</c:v>
                </c:pt>
                <c:pt idx="1401">
                  <c:v>8.9953018037239953</c:v>
                </c:pt>
                <c:pt idx="1402">
                  <c:v>8.9984537261152457</c:v>
                </c:pt>
                <c:pt idx="1403">
                  <c:v>9.0851404274169187</c:v>
                </c:pt>
                <c:pt idx="1404">
                  <c:v>8.8726207262037011</c:v>
                </c:pt>
                <c:pt idx="1405">
                  <c:v>8.7498852809505205</c:v>
                </c:pt>
                <c:pt idx="1406">
                  <c:v>8.9142502642201453</c:v>
                </c:pt>
                <c:pt idx="1407">
                  <c:v>8.8806163906200446</c:v>
                </c:pt>
                <c:pt idx="1408">
                  <c:v>8.8773322110493496</c:v>
                </c:pt>
                <c:pt idx="1409">
                  <c:v>8.8589680070165109</c:v>
                </c:pt>
                <c:pt idx="1410">
                  <c:v>8.8470095064210152</c:v>
                </c:pt>
                <c:pt idx="1411">
                  <c:v>8.9218781509701994</c:v>
                </c:pt>
                <c:pt idx="1412">
                  <c:v>8.8761939441967179</c:v>
                </c:pt>
                <c:pt idx="1413">
                  <c:v>8.892955868024556</c:v>
                </c:pt>
                <c:pt idx="1414">
                  <c:v>8.843280764634514</c:v>
                </c:pt>
                <c:pt idx="1415">
                  <c:v>8.8364316115815917</c:v>
                </c:pt>
                <c:pt idx="1416">
                  <c:v>8.9372989240068605</c:v>
                </c:pt>
                <c:pt idx="1417">
                  <c:v>8.982994497615719</c:v>
                </c:pt>
                <c:pt idx="1418">
                  <c:v>8.9210274961158262</c:v>
                </c:pt>
                <c:pt idx="1419">
                  <c:v>8.8936372118227141</c:v>
                </c:pt>
                <c:pt idx="1420">
                  <c:v>8.8645869325934594</c:v>
                </c:pt>
                <c:pt idx="1421">
                  <c:v>8.8643721958902741</c:v>
                </c:pt>
                <c:pt idx="1422">
                  <c:v>8.9187927727983141</c:v>
                </c:pt>
                <c:pt idx="1423">
                  <c:v>8.9975295589031941</c:v>
                </c:pt>
                <c:pt idx="1424">
                  <c:v>9.1763032007212306</c:v>
                </c:pt>
                <c:pt idx="1425">
                  <c:v>8.9616101300697544</c:v>
                </c:pt>
                <c:pt idx="1426">
                  <c:v>8.9218909961873827</c:v>
                </c:pt>
                <c:pt idx="1427">
                  <c:v>8.7939550073890569</c:v>
                </c:pt>
                <c:pt idx="1428">
                  <c:v>8.7880151669878206</c:v>
                </c:pt>
                <c:pt idx="1429">
                  <c:v>8.6888404457163677</c:v>
                </c:pt>
                <c:pt idx="1430">
                  <c:v>8.6827604180457278</c:v>
                </c:pt>
                <c:pt idx="1431">
                  <c:v>8.5769785690705262</c:v>
                </c:pt>
                <c:pt idx="1432">
                  <c:v>8.2316229307527689</c:v>
                </c:pt>
                <c:pt idx="1433">
                  <c:v>7.719575056113098</c:v>
                </c:pt>
                <c:pt idx="1434">
                  <c:v>7.9041771886746206</c:v>
                </c:pt>
                <c:pt idx="1435">
                  <c:v>8.0926953159641535</c:v>
                </c:pt>
                <c:pt idx="1436">
                  <c:v>8.0135473210261274</c:v>
                </c:pt>
                <c:pt idx="1437">
                  <c:v>8.3297245357808567</c:v>
                </c:pt>
                <c:pt idx="1438">
                  <c:v>8.1340436209724487</c:v>
                </c:pt>
                <c:pt idx="1439">
                  <c:v>8.1448159471339245</c:v>
                </c:pt>
                <c:pt idx="1440">
                  <c:v>7.9312325286583398</c:v>
                </c:pt>
                <c:pt idx="1441">
                  <c:v>7.9599519136088457</c:v>
                </c:pt>
                <c:pt idx="1442">
                  <c:v>7.8589051353014439</c:v>
                </c:pt>
                <c:pt idx="1443">
                  <c:v>7.6969698923320928</c:v>
                </c:pt>
                <c:pt idx="1444">
                  <c:v>7.6427865454619148</c:v>
                </c:pt>
                <c:pt idx="1445">
                  <c:v>7.4717816590836863</c:v>
                </c:pt>
                <c:pt idx="1446">
                  <c:v>7.6720076681682414</c:v>
                </c:pt>
                <c:pt idx="1447">
                  <c:v>7.4208349104204903</c:v>
                </c:pt>
                <c:pt idx="1448">
                  <c:v>7.5296609471463665</c:v>
                </c:pt>
                <c:pt idx="1449">
                  <c:v>7.4825523904671387</c:v>
                </c:pt>
                <c:pt idx="1450">
                  <c:v>7.3027506360342445</c:v>
                </c:pt>
                <c:pt idx="1451">
                  <c:v>7.1846316151456664</c:v>
                </c:pt>
                <c:pt idx="1452">
                  <c:v>6.9864386345477829</c:v>
                </c:pt>
                <c:pt idx="1453">
                  <c:v>6.8081077362895277</c:v>
                </c:pt>
                <c:pt idx="1454">
                  <c:v>6.7757682273322501</c:v>
                </c:pt>
                <c:pt idx="1455">
                  <c:v>6.5839309791124707</c:v>
                </c:pt>
                <c:pt idx="1456">
                  <c:v>6.567540849037675</c:v>
                </c:pt>
                <c:pt idx="1457">
                  <c:v>6.439670772976263</c:v>
                </c:pt>
                <c:pt idx="1458">
                  <c:v>6.6151681223900498</c:v>
                </c:pt>
                <c:pt idx="1459">
                  <c:v>6.6786846276758389</c:v>
                </c:pt>
                <c:pt idx="1460">
                  <c:v>6.3430109859390935</c:v>
                </c:pt>
                <c:pt idx="1461">
                  <c:v>6.2129853584219035</c:v>
                </c:pt>
                <c:pt idx="1462">
                  <c:v>5.8173328641336015</c:v>
                </c:pt>
                <c:pt idx="1463">
                  <c:v>5.8651445190357903</c:v>
                </c:pt>
                <c:pt idx="1464">
                  <c:v>5.9622476251050207</c:v>
                </c:pt>
                <c:pt idx="1465">
                  <c:v>6.2212592335266939</c:v>
                </c:pt>
                <c:pt idx="1466">
                  <c:v>6.4798825955507535</c:v>
                </c:pt>
                <c:pt idx="1467">
                  <c:v>6.6441838555436599</c:v>
                </c:pt>
                <c:pt idx="1468">
                  <c:v>6.9773688887948744</c:v>
                </c:pt>
                <c:pt idx="1469">
                  <c:v>6.7975193941421042</c:v>
                </c:pt>
                <c:pt idx="1470">
                  <c:v>6.5563043113046851</c:v>
                </c:pt>
                <c:pt idx="1471">
                  <c:v>6.8917582061657718</c:v>
                </c:pt>
                <c:pt idx="1472">
                  <c:v>6.9494634448004895</c:v>
                </c:pt>
                <c:pt idx="1473">
                  <c:v>6.9538020247803569</c:v>
                </c:pt>
                <c:pt idx="1474">
                  <c:v>7.0299928064098669</c:v>
                </c:pt>
                <c:pt idx="1475">
                  <c:v>7.102250753425519</c:v>
                </c:pt>
                <c:pt idx="1476">
                  <c:v>7.2290125744946447</c:v>
                </c:pt>
                <c:pt idx="1477">
                  <c:v>7.3392158932579212</c:v>
                </c:pt>
                <c:pt idx="1478">
                  <c:v>7.1958933837034884</c:v>
                </c:pt>
                <c:pt idx="1479">
                  <c:v>7.2066848307637539</c:v>
                </c:pt>
                <c:pt idx="1480">
                  <c:v>7.0063273060282194</c:v>
                </c:pt>
                <c:pt idx="1481">
                  <c:v>7.0589001420794641</c:v>
                </c:pt>
                <c:pt idx="1482">
                  <c:v>6.988503101067101</c:v>
                </c:pt>
                <c:pt idx="1483">
                  <c:v>7.3496171319331918</c:v>
                </c:pt>
                <c:pt idx="1484">
                  <c:v>7.0422641632122307</c:v>
                </c:pt>
                <c:pt idx="1485">
                  <c:v>7.2461791444776118</c:v>
                </c:pt>
                <c:pt idx="1486">
                  <c:v>7.2152061556072624</c:v>
                </c:pt>
                <c:pt idx="1487">
                  <c:v>6.986743919684403</c:v>
                </c:pt>
                <c:pt idx="1488">
                  <c:v>6.7913869649534346</c:v>
                </c:pt>
                <c:pt idx="1489">
                  <c:v>7.1053398676704207</c:v>
                </c:pt>
                <c:pt idx="1490">
                  <c:v>6.8052210376884439</c:v>
                </c:pt>
                <c:pt idx="1491">
                  <c:v>6.7661731033694519</c:v>
                </c:pt>
                <c:pt idx="1492">
                  <c:v>6.2615181032493608</c:v>
                </c:pt>
                <c:pt idx="1493">
                  <c:v>5.978728124005543</c:v>
                </c:pt>
                <c:pt idx="1494">
                  <c:v>5.6651141553816329</c:v>
                </c:pt>
                <c:pt idx="1495">
                  <c:v>5.7427099959904462</c:v>
                </c:pt>
                <c:pt idx="1496">
                  <c:v>5.320046414719628</c:v>
                </c:pt>
                <c:pt idx="1497">
                  <c:v>4.8810647937708769</c:v>
                </c:pt>
                <c:pt idx="1498">
                  <c:v>5.5059571596456527</c:v>
                </c:pt>
                <c:pt idx="1499">
                  <c:v>5.5200463092075296</c:v>
                </c:pt>
                <c:pt idx="1500">
                  <c:v>5.4274555298958163</c:v>
                </c:pt>
                <c:pt idx="1501">
                  <c:v>5.3944953411239149</c:v>
                </c:pt>
                <c:pt idx="1502">
                  <c:v>5.4181781595529612</c:v>
                </c:pt>
                <c:pt idx="1503">
                  <c:v>5.4440057388409029</c:v>
                </c:pt>
                <c:pt idx="1504">
                  <c:v>5.4752688387575033</c:v>
                </c:pt>
                <c:pt idx="1505">
                  <c:v>5.4718588475823671</c:v>
                </c:pt>
                <c:pt idx="1506">
                  <c:v>5.34728352950534</c:v>
                </c:pt>
                <c:pt idx="1507">
                  <c:v>5.0926248131946563</c:v>
                </c:pt>
                <c:pt idx="1508">
                  <c:v>5.1924208348578507</c:v>
                </c:pt>
                <c:pt idx="1509">
                  <c:v>5.8187563023584676</c:v>
                </c:pt>
                <c:pt idx="1510">
                  <c:v>5.3226149159974403</c:v>
                </c:pt>
                <c:pt idx="1511">
                  <c:v>5.3041333407837925</c:v>
                </c:pt>
                <c:pt idx="1512">
                  <c:v>5.4261383810511852</c:v>
                </c:pt>
                <c:pt idx="1513">
                  <c:v>5.3960868243491049</c:v>
                </c:pt>
                <c:pt idx="1514">
                  <c:v>5.3787313905573946</c:v>
                </c:pt>
                <c:pt idx="1515">
                  <c:v>5.3470070989516421</c:v>
                </c:pt>
                <c:pt idx="1516">
                  <c:v>5.4050739568568478</c:v>
                </c:pt>
                <c:pt idx="1517">
                  <c:v>5.302280639547579</c:v>
                </c:pt>
                <c:pt idx="1518">
                  <c:v>5.256180530288086</c:v>
                </c:pt>
                <c:pt idx="1519">
                  <c:v>5.2005000588487889</c:v>
                </c:pt>
                <c:pt idx="1520">
                  <c:v>5.2066898001428878</c:v>
                </c:pt>
                <c:pt idx="1521">
                  <c:v>5.315879849031905</c:v>
                </c:pt>
                <c:pt idx="1522">
                  <c:v>5.2116789546819779</c:v>
                </c:pt>
                <c:pt idx="1523">
                  <c:v>5.2145230718754743</c:v>
                </c:pt>
                <c:pt idx="1524">
                  <c:v>5.3377455515981937</c:v>
                </c:pt>
                <c:pt idx="1525">
                  <c:v>5.4836662270811383</c:v>
                </c:pt>
                <c:pt idx="1526">
                  <c:v>5.4800761366671429</c:v>
                </c:pt>
                <c:pt idx="1527">
                  <c:v>5.4437635253040222</c:v>
                </c:pt>
                <c:pt idx="1528">
                  <c:v>5.3578408370402677</c:v>
                </c:pt>
                <c:pt idx="1529">
                  <c:v>5.4966088029797469</c:v>
                </c:pt>
                <c:pt idx="1530">
                  <c:v>5.330980581951656</c:v>
                </c:pt>
                <c:pt idx="1531">
                  <c:v>5.2377820829511954</c:v>
                </c:pt>
                <c:pt idx="1532">
                  <c:v>5.092463140732618</c:v>
                </c:pt>
                <c:pt idx="1533">
                  <c:v>4.9827020265688127</c:v>
                </c:pt>
                <c:pt idx="1534">
                  <c:v>4.6148954098053023</c:v>
                </c:pt>
                <c:pt idx="1535">
                  <c:v>4.2618642887116831</c:v>
                </c:pt>
                <c:pt idx="1536">
                  <c:v>4.8581123368367027</c:v>
                </c:pt>
                <c:pt idx="1537">
                  <c:v>4.7163814570554408</c:v>
                </c:pt>
                <c:pt idx="1538">
                  <c:v>4.7159148828911714</c:v>
                </c:pt>
                <c:pt idx="1539">
                  <c:v>4.7525863819296355</c:v>
                </c:pt>
                <c:pt idx="1540">
                  <c:v>4.7375641053336581</c:v>
                </c:pt>
                <c:pt idx="1541">
                  <c:v>4.7077563856382634</c:v>
                </c:pt>
                <c:pt idx="1542">
                  <c:v>4.7587447819971738</c:v>
                </c:pt>
                <c:pt idx="1543">
                  <c:v>4.7874623588620402</c:v>
                </c:pt>
                <c:pt idx="1544">
                  <c:v>4.7186175076229411</c:v>
                </c:pt>
                <c:pt idx="1545">
                  <c:v>4.7486181306156654</c:v>
                </c:pt>
                <c:pt idx="1546">
                  <c:v>4.8872578948169174</c:v>
                </c:pt>
                <c:pt idx="1547">
                  <c:v>5.0783680167416021</c:v>
                </c:pt>
                <c:pt idx="1548">
                  <c:v>5.0799853037424771</c:v>
                </c:pt>
                <c:pt idx="1549">
                  <c:v>4.9458463340214296</c:v>
                </c:pt>
                <c:pt idx="1550">
                  <c:v>5.2635760584523128</c:v>
                </c:pt>
                <c:pt idx="1551">
                  <c:v>5.0749543353985</c:v>
                </c:pt>
                <c:pt idx="1552">
                  <c:v>5.077159314973569</c:v>
                </c:pt>
                <c:pt idx="1553">
                  <c:v>4.9587772932212166</c:v>
                </c:pt>
                <c:pt idx="1554">
                  <c:v>4.9715835988271095</c:v>
                </c:pt>
                <c:pt idx="1555">
                  <c:v>4.8559273394575504</c:v>
                </c:pt>
                <c:pt idx="1556">
                  <c:v>4.8641010531383069</c:v>
                </c:pt>
                <c:pt idx="1557">
                  <c:v>4.635576613289099</c:v>
                </c:pt>
                <c:pt idx="1558">
                  <c:v>5.1140531230068271</c:v>
                </c:pt>
                <c:pt idx="1559">
                  <c:v>4.794685294984828</c:v>
                </c:pt>
                <c:pt idx="1560">
                  <c:v>4.8007487932367532</c:v>
                </c:pt>
                <c:pt idx="1561">
                  <c:v>4.7413543260501143</c:v>
                </c:pt>
                <c:pt idx="1562">
                  <c:v>4.7374558681670509</c:v>
                </c:pt>
                <c:pt idx="1563">
                  <c:v>4.717923327003902</c:v>
                </c:pt>
                <c:pt idx="1564">
                  <c:v>4.6509863909997771</c:v>
                </c:pt>
                <c:pt idx="1565">
                  <c:v>4.5953780269441991</c:v>
                </c:pt>
                <c:pt idx="1566">
                  <c:v>4.5319017893232596</c:v>
                </c:pt>
                <c:pt idx="1567">
                  <c:v>4.7487492109970644</c:v>
                </c:pt>
                <c:pt idx="1568">
                  <c:v>4.6352807964500276</c:v>
                </c:pt>
                <c:pt idx="1569">
                  <c:v>4.650721643200197</c:v>
                </c:pt>
                <c:pt idx="1570">
                  <c:v>4.7601668213631223</c:v>
                </c:pt>
                <c:pt idx="1571">
                  <c:v>4.6669434348841099</c:v>
                </c:pt>
                <c:pt idx="1572">
                  <c:v>4.6670025088422813</c:v>
                </c:pt>
                <c:pt idx="1573">
                  <c:v>4.5852542533744201</c:v>
                </c:pt>
                <c:pt idx="1574">
                  <c:v>4.5823981554938955</c:v>
                </c:pt>
                <c:pt idx="1575">
                  <c:v>4.5046383635489686</c:v>
                </c:pt>
                <c:pt idx="1576">
                  <c:v>4.5133275496440843</c:v>
                </c:pt>
                <c:pt idx="1577">
                  <c:v>4.4384604177278311</c:v>
                </c:pt>
                <c:pt idx="1578">
                  <c:v>4.5699562372218905</c:v>
                </c:pt>
                <c:pt idx="1579">
                  <c:v>4.8475275676929011</c:v>
                </c:pt>
                <c:pt idx="1580">
                  <c:v>4.9105170338645729</c:v>
                </c:pt>
                <c:pt idx="1581">
                  <c:v>5.015533215714556</c:v>
                </c:pt>
                <c:pt idx="1582">
                  <c:v>5.4753268661005752</c:v>
                </c:pt>
                <c:pt idx="1583">
                  <c:v>5.5921532026373635</c:v>
                </c:pt>
                <c:pt idx="1584">
                  <c:v>5.6352329817669622</c:v>
                </c:pt>
                <c:pt idx="1585">
                  <c:v>5.681947225045219</c:v>
                </c:pt>
                <c:pt idx="1586">
                  <c:v>5.6760369099144636</c:v>
                </c:pt>
                <c:pt idx="1587">
                  <c:v>5.714207758203111</c:v>
                </c:pt>
                <c:pt idx="1588">
                  <c:v>5.6946147189159468</c:v>
                </c:pt>
                <c:pt idx="1589">
                  <c:v>5.6074466375957703</c:v>
                </c:pt>
                <c:pt idx="1590">
                  <c:v>5.8695856116641831</c:v>
                </c:pt>
                <c:pt idx="1591">
                  <c:v>5.5863018849522206</c:v>
                </c:pt>
                <c:pt idx="1592">
                  <c:v>5.5296943048856813</c:v>
                </c:pt>
                <c:pt idx="1593">
                  <c:v>5.4658305680737973</c:v>
                </c:pt>
                <c:pt idx="1594">
                  <c:v>5.2989623383148663</c:v>
                </c:pt>
                <c:pt idx="1595">
                  <c:v>5.4944769940863507</c:v>
                </c:pt>
                <c:pt idx="1596">
                  <c:v>5.4272950724069959</c:v>
                </c:pt>
                <c:pt idx="1597">
                  <c:v>5.3721641240242866</c:v>
                </c:pt>
                <c:pt idx="1598">
                  <c:v>5.3067396430483553</c:v>
                </c:pt>
                <c:pt idx="1599">
                  <c:v>5.3126594788284738</c:v>
                </c:pt>
                <c:pt idx="1600">
                  <c:v>5.4072898322981811</c:v>
                </c:pt>
                <c:pt idx="1601">
                  <c:v>5.4533952279344948</c:v>
                </c:pt>
                <c:pt idx="1602">
                  <c:v>5.4605991516284043</c:v>
                </c:pt>
                <c:pt idx="1603">
                  <c:v>5.4774410237971987</c:v>
                </c:pt>
                <c:pt idx="1604">
                  <c:v>5.4385594090795175</c:v>
                </c:pt>
                <c:pt idx="1605">
                  <c:v>5.444079092521279</c:v>
                </c:pt>
                <c:pt idx="1606">
                  <c:v>5.4411905517262786</c:v>
                </c:pt>
                <c:pt idx="1607">
                  <c:v>5.4043302685624788</c:v>
                </c:pt>
                <c:pt idx="1608">
                  <c:v>5.5098542123249699</c:v>
                </c:pt>
                <c:pt idx="1609">
                  <c:v>5.591112283450772</c:v>
                </c:pt>
                <c:pt idx="1610">
                  <c:v>5.5787088544391645</c:v>
                </c:pt>
                <c:pt idx="1611">
                  <c:v>5.1923357917685866</c:v>
                </c:pt>
                <c:pt idx="1612">
                  <c:v>4.864499401687759</c:v>
                </c:pt>
                <c:pt idx="1613">
                  <c:v>5.3148487724995954</c:v>
                </c:pt>
                <c:pt idx="1614">
                  <c:v>5.345977992696386</c:v>
                </c:pt>
                <c:pt idx="1615">
                  <c:v>5.0882667981267886</c:v>
                </c:pt>
                <c:pt idx="1616">
                  <c:v>4.8296333424933575</c:v>
                </c:pt>
                <c:pt idx="1617">
                  <c:v>5.0921578431139318</c:v>
                </c:pt>
                <c:pt idx="1618">
                  <c:v>4.9447967962450114</c:v>
                </c:pt>
                <c:pt idx="1619">
                  <c:v>4.8331456180931367</c:v>
                </c:pt>
                <c:pt idx="1620">
                  <c:v>4.7904661302430167</c:v>
                </c:pt>
                <c:pt idx="1621">
                  <c:v>4.8742850475400736</c:v>
                </c:pt>
                <c:pt idx="1622">
                  <c:v>4.7984472056998211</c:v>
                </c:pt>
                <c:pt idx="1623">
                  <c:v>4.7778111348876493</c:v>
                </c:pt>
                <c:pt idx="1624">
                  <c:v>4.9931416479400195</c:v>
                </c:pt>
                <c:pt idx="1625">
                  <c:v>5.0886682630305256</c:v>
                </c:pt>
                <c:pt idx="1626">
                  <c:v>5.2386758831864615</c:v>
                </c:pt>
                <c:pt idx="1627">
                  <c:v>5.1711243668342224</c:v>
                </c:pt>
                <c:pt idx="1628">
                  <c:v>5.2022367250926624</c:v>
                </c:pt>
                <c:pt idx="1629">
                  <c:v>5.1955229168907566</c:v>
                </c:pt>
                <c:pt idx="1630">
                  <c:v>5.1996077424693485</c:v>
                </c:pt>
                <c:pt idx="1631">
                  <c:v>5.2056347824519209</c:v>
                </c:pt>
                <c:pt idx="1632">
                  <c:v>5.2042146839680283</c:v>
                </c:pt>
                <c:pt idx="1633">
                  <c:v>5.2226415453577308</c:v>
                </c:pt>
                <c:pt idx="1634">
                  <c:v>5.3628315527264254</c:v>
                </c:pt>
                <c:pt idx="1635">
                  <c:v>5.3708219587569355</c:v>
                </c:pt>
                <c:pt idx="1636">
                  <c:v>5.4006413874585242</c:v>
                </c:pt>
                <c:pt idx="1637">
                  <c:v>5.3482912008217989</c:v>
                </c:pt>
                <c:pt idx="1638">
                  <c:v>5.3052369487343611</c:v>
                </c:pt>
                <c:pt idx="1639">
                  <c:v>5.3319843580254025</c:v>
                </c:pt>
                <c:pt idx="1640">
                  <c:v>5.2824863608926158</c:v>
                </c:pt>
                <c:pt idx="1641">
                  <c:v>5.3369652511135328</c:v>
                </c:pt>
                <c:pt idx="1642">
                  <c:v>5.5879800709974479</c:v>
                </c:pt>
                <c:pt idx="1643">
                  <c:v>5.536835086142526</c:v>
                </c:pt>
                <c:pt idx="1644">
                  <c:v>5.3998697706235248</c:v>
                </c:pt>
                <c:pt idx="1645">
                  <c:v>5.3946869445230803</c:v>
                </c:pt>
                <c:pt idx="1646">
                  <c:v>5.5120953383326938</c:v>
                </c:pt>
                <c:pt idx="1647">
                  <c:v>5.5252801628659096</c:v>
                </c:pt>
                <c:pt idx="1648">
                  <c:v>5.3715174960279253</c:v>
                </c:pt>
                <c:pt idx="1649">
                  <c:v>5.7460447440326572</c:v>
                </c:pt>
                <c:pt idx="1650">
                  <c:v>5.4346913125896723</c:v>
                </c:pt>
                <c:pt idx="1651">
                  <c:v>5.4742748272871147</c:v>
                </c:pt>
                <c:pt idx="1652">
                  <c:v>5.4343320794764054</c:v>
                </c:pt>
                <c:pt idx="1653">
                  <c:v>5.4358084462841108</c:v>
                </c:pt>
                <c:pt idx="1654">
                  <c:v>5.3649318153125565</c:v>
                </c:pt>
                <c:pt idx="1655">
                  <c:v>5.3448191472072422</c:v>
                </c:pt>
                <c:pt idx="1656">
                  <c:v>5.4239621023093836</c:v>
                </c:pt>
                <c:pt idx="1657">
                  <c:v>5.4347394295576104</c:v>
                </c:pt>
                <c:pt idx="1658">
                  <c:v>5.5496181608675892</c:v>
                </c:pt>
                <c:pt idx="1659">
                  <c:v>5.5770256253826478</c:v>
                </c:pt>
                <c:pt idx="1660">
                  <c:v>5.5832070310410185</c:v>
                </c:pt>
                <c:pt idx="1661">
                  <c:v>5.623417292698381</c:v>
                </c:pt>
                <c:pt idx="1662">
                  <c:v>5.598185632343581</c:v>
                </c:pt>
                <c:pt idx="1663">
                  <c:v>5.6057581977813902</c:v>
                </c:pt>
                <c:pt idx="1664">
                  <c:v>5.5017077961929868</c:v>
                </c:pt>
                <c:pt idx="1665">
                  <c:v>5.3799267212629456</c:v>
                </c:pt>
                <c:pt idx="1666">
                  <c:v>5.5380837459625711</c:v>
                </c:pt>
                <c:pt idx="1667">
                  <c:v>5.3354400751196067</c:v>
                </c:pt>
                <c:pt idx="1668">
                  <c:v>5.2881245093806095</c:v>
                </c:pt>
                <c:pt idx="1669">
                  <c:v>5.3588229787593251</c:v>
                </c:pt>
                <c:pt idx="1670">
                  <c:v>5.5551019712846159</c:v>
                </c:pt>
                <c:pt idx="1671">
                  <c:v>5.5660419602081532</c:v>
                </c:pt>
                <c:pt idx="1672">
                  <c:v>5.5946833334116395</c:v>
                </c:pt>
                <c:pt idx="1673">
                  <c:v>5.5570135847093427</c:v>
                </c:pt>
                <c:pt idx="1674">
                  <c:v>5.5685974693010367</c:v>
                </c:pt>
                <c:pt idx="1675">
                  <c:v>5.5645327116470069</c:v>
                </c:pt>
                <c:pt idx="1676">
                  <c:v>5.5691284743738212</c:v>
                </c:pt>
                <c:pt idx="1677">
                  <c:v>5.5648108265030478</c:v>
                </c:pt>
                <c:pt idx="1678">
                  <c:v>5.6384134962994779</c:v>
                </c:pt>
                <c:pt idx="1679">
                  <c:v>5.6376148090168501</c:v>
                </c:pt>
                <c:pt idx="1680">
                  <c:v>5.768274005036309</c:v>
                </c:pt>
                <c:pt idx="1681">
                  <c:v>5.802434848965178</c:v>
                </c:pt>
                <c:pt idx="1682">
                  <c:v>5.9531055203753915</c:v>
                </c:pt>
                <c:pt idx="1683">
                  <c:v>6.0857869840746677</c:v>
                </c:pt>
                <c:pt idx="1684">
                  <c:v>5.9396430183516129</c:v>
                </c:pt>
                <c:pt idx="1685">
                  <c:v>5.8029754776229527</c:v>
                </c:pt>
                <c:pt idx="1686">
                  <c:v>5.5382191431724275</c:v>
                </c:pt>
                <c:pt idx="1687">
                  <c:v>5.6512669185656952</c:v>
                </c:pt>
                <c:pt idx="1688">
                  <c:v>4.6894069497332591</c:v>
                </c:pt>
                <c:pt idx="1689">
                  <c:v>5.6633003495537713</c:v>
                </c:pt>
                <c:pt idx="1690">
                  <c:v>6.3326235440066565</c:v>
                </c:pt>
                <c:pt idx="1691">
                  <c:v>6.3352141370578234</c:v>
                </c:pt>
                <c:pt idx="1692">
                  <c:v>6.1746323852873033</c:v>
                </c:pt>
                <c:pt idx="1693">
                  <c:v>6.051236138731686</c:v>
                </c:pt>
                <c:pt idx="1694">
                  <c:v>6.022221240213038</c:v>
                </c:pt>
                <c:pt idx="1695">
                  <c:v>6.0363761884546223</c:v>
                </c:pt>
                <c:pt idx="1696">
                  <c:v>5.8958812733640471</c:v>
                </c:pt>
                <c:pt idx="1697">
                  <c:v>5.8740130057969351</c:v>
                </c:pt>
                <c:pt idx="1698">
                  <c:v>5.86328405578071</c:v>
                </c:pt>
                <c:pt idx="1699">
                  <c:v>5.835712070845263</c:v>
                </c:pt>
                <c:pt idx="1700">
                  <c:v>5.8006984647439364</c:v>
                </c:pt>
                <c:pt idx="1701">
                  <c:v>5.8174018344085869</c:v>
                </c:pt>
                <c:pt idx="1702">
                  <c:v>5.7151839537944014</c:v>
                </c:pt>
                <c:pt idx="1703">
                  <c:v>5.6798250247716888</c:v>
                </c:pt>
                <c:pt idx="1704">
                  <c:v>5.6246021092730762</c:v>
                </c:pt>
                <c:pt idx="1705">
                  <c:v>5.6715163193997116</c:v>
                </c:pt>
                <c:pt idx="1706">
                  <c:v>5.7017845174847057</c:v>
                </c:pt>
                <c:pt idx="1707">
                  <c:v>5.7697959065133837</c:v>
                </c:pt>
                <c:pt idx="1708">
                  <c:v>5.7147239708315762</c:v>
                </c:pt>
                <c:pt idx="1709">
                  <c:v>5.7360313430114438</c:v>
                </c:pt>
                <c:pt idx="1710">
                  <c:v>5.7142357342020782</c:v>
                </c:pt>
                <c:pt idx="1711">
                  <c:v>5.8284478126345265</c:v>
                </c:pt>
                <c:pt idx="1712">
                  <c:v>5.562651610206129</c:v>
                </c:pt>
                <c:pt idx="1713">
                  <c:v>5.5350960176230739</c:v>
                </c:pt>
                <c:pt idx="1714">
                  <c:v>5.6183716907589272</c:v>
                </c:pt>
                <c:pt idx="1715">
                  <c:v>5.6048562439434999</c:v>
                </c:pt>
                <c:pt idx="1716">
                  <c:v>5.5578283155383073</c:v>
                </c:pt>
                <c:pt idx="1717">
                  <c:v>5.5395279908949853</c:v>
                </c:pt>
                <c:pt idx="1718">
                  <c:v>5.4917919716825931</c:v>
                </c:pt>
                <c:pt idx="1719">
                  <c:v>5.4767985280816474</c:v>
                </c:pt>
                <c:pt idx="1720">
                  <c:v>5.4077115705564909</c:v>
                </c:pt>
                <c:pt idx="1721">
                  <c:v>5.3918066411558829</c:v>
                </c:pt>
                <c:pt idx="1722">
                  <c:v>5.2052988066132402</c:v>
                </c:pt>
                <c:pt idx="1723">
                  <c:v>5.6395894588643403</c:v>
                </c:pt>
                <c:pt idx="1724">
                  <c:v>5.6744405198328209</c:v>
                </c:pt>
                <c:pt idx="1725">
                  <c:v>5.7782991570268045</c:v>
                </c:pt>
                <c:pt idx="1726">
                  <c:v>5.1102367863594464</c:v>
                </c:pt>
                <c:pt idx="1727">
                  <c:v>5.1075658771916181</c:v>
                </c:pt>
                <c:pt idx="1728">
                  <c:v>5.5909351181648654</c:v>
                </c:pt>
                <c:pt idx="1729">
                  <c:v>5.3634808529503442</c:v>
                </c:pt>
                <c:pt idx="1730">
                  <c:v>5.3506423511137333</c:v>
                </c:pt>
                <c:pt idx="1731">
                  <c:v>5.4857618260458683</c:v>
                </c:pt>
                <c:pt idx="1732">
                  <c:v>5.5388592545885587</c:v>
                </c:pt>
                <c:pt idx="1733">
                  <c:v>5.5478687530130246</c:v>
                </c:pt>
                <c:pt idx="1734">
                  <c:v>5.4441799532545021</c:v>
                </c:pt>
                <c:pt idx="1735">
                  <c:v>5.3733357556592418</c:v>
                </c:pt>
                <c:pt idx="1736">
                  <c:v>5.1749392246162325</c:v>
                </c:pt>
                <c:pt idx="1737">
                  <c:v>5.2493400052282642</c:v>
                </c:pt>
                <c:pt idx="1738">
                  <c:v>5.13785248439798</c:v>
                </c:pt>
                <c:pt idx="1739">
                  <c:v>5.0343919283295957</c:v>
                </c:pt>
                <c:pt idx="1740">
                  <c:v>5.0567473054755494</c:v>
                </c:pt>
                <c:pt idx="1741">
                  <c:v>5.2239633252772801</c:v>
                </c:pt>
                <c:pt idx="1742">
                  <c:v>5.2211828726977254</c:v>
                </c:pt>
                <c:pt idx="1743">
                  <c:v>5.1842289265649413</c:v>
                </c:pt>
                <c:pt idx="1744">
                  <c:v>5.1915718402945545</c:v>
                </c:pt>
                <c:pt idx="1745">
                  <c:v>5.1692771075913386</c:v>
                </c:pt>
                <c:pt idx="1746">
                  <c:v>5.1594905816822907</c:v>
                </c:pt>
                <c:pt idx="1747">
                  <c:v>5.1479749153203276</c:v>
                </c:pt>
                <c:pt idx="1748">
                  <c:v>5.1691319660620563</c:v>
                </c:pt>
                <c:pt idx="1749">
                  <c:v>5.1278439364075199</c:v>
                </c:pt>
                <c:pt idx="1750">
                  <c:v>5.156833626452463</c:v>
                </c:pt>
                <c:pt idx="1751">
                  <c:v>5.0102743118743263</c:v>
                </c:pt>
                <c:pt idx="1752">
                  <c:v>5.1189209866258452</c:v>
                </c:pt>
                <c:pt idx="1753">
                  <c:v>4.9722177905045175</c:v>
                </c:pt>
                <c:pt idx="1754">
                  <c:v>4.9468865049114488</c:v>
                </c:pt>
                <c:pt idx="1755">
                  <c:v>4.879804057186405</c:v>
                </c:pt>
                <c:pt idx="1756">
                  <c:v>4.8771436254053269</c:v>
                </c:pt>
                <c:pt idx="1757">
                  <c:v>4.706405051842963</c:v>
                </c:pt>
                <c:pt idx="1758">
                  <c:v>4.7229107665418528</c:v>
                </c:pt>
                <c:pt idx="1759">
                  <c:v>4.6088505254059555</c:v>
                </c:pt>
                <c:pt idx="1760">
                  <c:v>5.4228850066034857</c:v>
                </c:pt>
                <c:pt idx="1761">
                  <c:v>4.8019562510255716</c:v>
                </c:pt>
                <c:pt idx="1762">
                  <c:v>4.2744518106277845</c:v>
                </c:pt>
                <c:pt idx="1763">
                  <c:v>4.310919679202855</c:v>
                </c:pt>
                <c:pt idx="1764">
                  <c:v>4.467766033178977</c:v>
                </c:pt>
                <c:pt idx="1765">
                  <c:v>4.6077349636932512</c:v>
                </c:pt>
                <c:pt idx="1766">
                  <c:v>4.6559291807184735</c:v>
                </c:pt>
                <c:pt idx="1767">
                  <c:v>4.654591903430398</c:v>
                </c:pt>
                <c:pt idx="1768">
                  <c:v>4.6676093874842861</c:v>
                </c:pt>
                <c:pt idx="1769">
                  <c:v>4.6672503709339885</c:v>
                </c:pt>
                <c:pt idx="1770">
                  <c:v>4.662733435936838</c:v>
                </c:pt>
                <c:pt idx="1771">
                  <c:v>4.635638336725135</c:v>
                </c:pt>
                <c:pt idx="1772">
                  <c:v>4.6864277339291585</c:v>
                </c:pt>
                <c:pt idx="1773">
                  <c:v>4.6201593942618366</c:v>
                </c:pt>
                <c:pt idx="1774">
                  <c:v>4.6170981508762363</c:v>
                </c:pt>
                <c:pt idx="1775">
                  <c:v>4.5987552105868632</c:v>
                </c:pt>
                <c:pt idx="1776">
                  <c:v>4.5946570162942812</c:v>
                </c:pt>
                <c:pt idx="1777">
                  <c:v>4.6092187640232716</c:v>
                </c:pt>
                <c:pt idx="1778">
                  <c:v>4.6292146344709559</c:v>
                </c:pt>
                <c:pt idx="1779">
                  <c:v>4.6043704846424029</c:v>
                </c:pt>
                <c:pt idx="1780">
                  <c:v>4.5974630415439259</c:v>
                </c:pt>
                <c:pt idx="1781">
                  <c:v>4.5892070114205286</c:v>
                </c:pt>
                <c:pt idx="1782">
                  <c:v>4.6075995275631376</c:v>
                </c:pt>
                <c:pt idx="1783">
                  <c:v>4.6565611878996513</c:v>
                </c:pt>
                <c:pt idx="1784">
                  <c:v>4.6205256326515274</c:v>
                </c:pt>
                <c:pt idx="1785">
                  <c:v>4.6147453564100305</c:v>
                </c:pt>
                <c:pt idx="1786">
                  <c:v>4.6407785995953779</c:v>
                </c:pt>
                <c:pt idx="1787">
                  <c:v>4.6306906774802252</c:v>
                </c:pt>
                <c:pt idx="1788">
                  <c:v>4.5770783279031173</c:v>
                </c:pt>
                <c:pt idx="1789">
                  <c:v>4.5734170955024611</c:v>
                </c:pt>
                <c:pt idx="1790">
                  <c:v>4.6554608146912999</c:v>
                </c:pt>
                <c:pt idx="1791">
                  <c:v>4.5940027869531601</c:v>
                </c:pt>
                <c:pt idx="1792">
                  <c:v>4.5821433275770067</c:v>
                </c:pt>
                <c:pt idx="1793">
                  <c:v>4.4951627831144076</c:v>
                </c:pt>
                <c:pt idx="1794">
                  <c:v>4.5005444641522763</c:v>
                </c:pt>
                <c:pt idx="1795">
                  <c:v>4.4665185387712159</c:v>
                </c:pt>
                <c:pt idx="1796">
                  <c:v>4.2029050420543621</c:v>
                </c:pt>
                <c:pt idx="1797">
                  <c:v>4.3256160123932137</c:v>
                </c:pt>
                <c:pt idx="1798">
                  <c:v>4.5213586600657862</c:v>
                </c:pt>
                <c:pt idx="1799">
                  <c:v>4.5781437298081622</c:v>
                </c:pt>
                <c:pt idx="1800">
                  <c:v>4.6668211272384585</c:v>
                </c:pt>
                <c:pt idx="1801">
                  <c:v>4.9929172056128284</c:v>
                </c:pt>
                <c:pt idx="1802">
                  <c:v>5.368054572706364</c:v>
                </c:pt>
                <c:pt idx="1803">
                  <c:v>5.1851519390185157</c:v>
                </c:pt>
                <c:pt idx="1804">
                  <c:v>5.219359042813223</c:v>
                </c:pt>
                <c:pt idx="1805">
                  <c:v>5.245372745453289</c:v>
                </c:pt>
                <c:pt idx="1806">
                  <c:v>5.2442963752590206</c:v>
                </c:pt>
                <c:pt idx="1807">
                  <c:v>5.2591547698173313</c:v>
                </c:pt>
                <c:pt idx="1808">
                  <c:v>5.2445673449774173</c:v>
                </c:pt>
                <c:pt idx="1809">
                  <c:v>4.914697792048778</c:v>
                </c:pt>
                <c:pt idx="1810">
                  <c:v>5.0000519920332538</c:v>
                </c:pt>
                <c:pt idx="1811">
                  <c:v>5.1318848923965463</c:v>
                </c:pt>
                <c:pt idx="1812">
                  <c:v>5.2028400482923143</c:v>
                </c:pt>
                <c:pt idx="1813">
                  <c:v>5.2054822413848321</c:v>
                </c:pt>
                <c:pt idx="1814">
                  <c:v>5.1751811156216894</c:v>
                </c:pt>
                <c:pt idx="1815">
                  <c:v>5.1698363480059379</c:v>
                </c:pt>
                <c:pt idx="1816">
                  <c:v>5.1152170722114905</c:v>
                </c:pt>
                <c:pt idx="1817">
                  <c:v>4.9091710891335758</c:v>
                </c:pt>
                <c:pt idx="1818">
                  <c:v>4.7666740440059767</c:v>
                </c:pt>
                <c:pt idx="1819">
                  <c:v>4.686182516650427</c:v>
                </c:pt>
                <c:pt idx="1820">
                  <c:v>4.6084330805950477</c:v>
                </c:pt>
                <c:pt idx="1821">
                  <c:v>4.4996483427436669</c:v>
                </c:pt>
                <c:pt idx="1822">
                  <c:v>4.5414671078459206</c:v>
                </c:pt>
                <c:pt idx="1823">
                  <c:v>4.4152155681620764</c:v>
                </c:pt>
                <c:pt idx="1824">
                  <c:v>4.5411012332727347</c:v>
                </c:pt>
                <c:pt idx="1825">
                  <c:v>4.3726212427893385</c:v>
                </c:pt>
                <c:pt idx="1826">
                  <c:v>4.3399034663979119</c:v>
                </c:pt>
                <c:pt idx="1827">
                  <c:v>4.1968279003166504</c:v>
                </c:pt>
                <c:pt idx="1828">
                  <c:v>4.1533853247195438</c:v>
                </c:pt>
                <c:pt idx="1829">
                  <c:v>4.1368815553817484</c:v>
                </c:pt>
                <c:pt idx="1830">
                  <c:v>4.1792070327624478</c:v>
                </c:pt>
                <c:pt idx="1831">
                  <c:v>4.0943922059236089</c:v>
                </c:pt>
                <c:pt idx="1832">
                  <c:v>4.0800940440414539</c:v>
                </c:pt>
                <c:pt idx="1833">
                  <c:v>4.1365397316496022</c:v>
                </c:pt>
                <c:pt idx="1834">
                  <c:v>4.0375846261556783</c:v>
                </c:pt>
                <c:pt idx="1835">
                  <c:v>3.9555490953032262</c:v>
                </c:pt>
                <c:pt idx="1836">
                  <c:v>3.8674404729829046</c:v>
                </c:pt>
                <c:pt idx="1837">
                  <c:v>3.7392921296156025</c:v>
                </c:pt>
                <c:pt idx="1838">
                  <c:v>3.7105818885159914</c:v>
                </c:pt>
                <c:pt idx="1839">
                  <c:v>3.8100414082274789</c:v>
                </c:pt>
                <c:pt idx="1840">
                  <c:v>3.8524655779201114</c:v>
                </c:pt>
                <c:pt idx="1841">
                  <c:v>3.7670691901078031</c:v>
                </c:pt>
                <c:pt idx="1842">
                  <c:v>3.8521850536954489</c:v>
                </c:pt>
                <c:pt idx="1843">
                  <c:v>3.7951296190592707</c:v>
                </c:pt>
                <c:pt idx="1844">
                  <c:v>3.7693632144400802</c:v>
                </c:pt>
                <c:pt idx="1845">
                  <c:v>3.8080171509032668</c:v>
                </c:pt>
                <c:pt idx="1846">
                  <c:v>4.0612442849916599</c:v>
                </c:pt>
                <c:pt idx="1847">
                  <c:v>4.0538307125596207</c:v>
                </c:pt>
                <c:pt idx="1848">
                  <c:v>3.9545852673676523</c:v>
                </c:pt>
                <c:pt idx="1849">
                  <c:v>4.0287724413054926</c:v>
                </c:pt>
                <c:pt idx="1850">
                  <c:v>3.912764367431123</c:v>
                </c:pt>
                <c:pt idx="1851">
                  <c:v>4.0704848275800174</c:v>
                </c:pt>
                <c:pt idx="1852">
                  <c:v>4.1359944446897803</c:v>
                </c:pt>
                <c:pt idx="1853">
                  <c:v>4.0843928909519516</c:v>
                </c:pt>
                <c:pt idx="1854">
                  <c:v>4.2029125502076772</c:v>
                </c:pt>
                <c:pt idx="1855">
                  <c:v>4.1652296055232298</c:v>
                </c:pt>
                <c:pt idx="1856">
                  <c:v>4.1629332024325061</c:v>
                </c:pt>
                <c:pt idx="1857">
                  <c:v>4.1269456778697737</c:v>
                </c:pt>
                <c:pt idx="1858">
                  <c:v>4.2801530292943699</c:v>
                </c:pt>
                <c:pt idx="1859">
                  <c:v>4.3179021132129716</c:v>
                </c:pt>
                <c:pt idx="1860">
                  <c:v>4.3591410236172905</c:v>
                </c:pt>
                <c:pt idx="1861">
                  <c:v>4.3496767622763537</c:v>
                </c:pt>
                <c:pt idx="1862">
                  <c:v>4.3016904577564512</c:v>
                </c:pt>
                <c:pt idx="1863">
                  <c:v>4.2566623038972438</c:v>
                </c:pt>
                <c:pt idx="1864">
                  <c:v>4.0809850555196485</c:v>
                </c:pt>
                <c:pt idx="1865">
                  <c:v>4.1507556571661626</c:v>
                </c:pt>
                <c:pt idx="1866">
                  <c:v>4.1505987419616837</c:v>
                </c:pt>
                <c:pt idx="1867">
                  <c:v>4.0849216245169258</c:v>
                </c:pt>
                <c:pt idx="1868">
                  <c:v>4.0585085742168792</c:v>
                </c:pt>
                <c:pt idx="1869">
                  <c:v>3.8614359923566193</c:v>
                </c:pt>
                <c:pt idx="1870">
                  <c:v>3.8741583735500109</c:v>
                </c:pt>
                <c:pt idx="1871">
                  <c:v>3.9397962316087312</c:v>
                </c:pt>
                <c:pt idx="1872">
                  <c:v>4.0315729420305235</c:v>
                </c:pt>
                <c:pt idx="1873">
                  <c:v>3.9605805191132459</c:v>
                </c:pt>
                <c:pt idx="1874">
                  <c:v>3.9537583819602258</c:v>
                </c:pt>
                <c:pt idx="1875">
                  <c:v>3.9233733198001297</c:v>
                </c:pt>
                <c:pt idx="1876">
                  <c:v>4.0206999777109518</c:v>
                </c:pt>
                <c:pt idx="1877">
                  <c:v>4.1868312449658198</c:v>
                </c:pt>
                <c:pt idx="1878">
                  <c:v>4.3358577144269441</c:v>
                </c:pt>
                <c:pt idx="1879">
                  <c:v>4.0815283475244462</c:v>
                </c:pt>
                <c:pt idx="1880">
                  <c:v>3.9626149524838574</c:v>
                </c:pt>
                <c:pt idx="1881">
                  <c:v>4.0619401491757561</c:v>
                </c:pt>
                <c:pt idx="1882">
                  <c:v>3.6506745610830444</c:v>
                </c:pt>
                <c:pt idx="1883">
                  <c:v>3.4722599530041962</c:v>
                </c:pt>
                <c:pt idx="1884">
                  <c:v>3.5703270198068142</c:v>
                </c:pt>
                <c:pt idx="1885">
                  <c:v>4.0341538171954374</c:v>
                </c:pt>
                <c:pt idx="1886">
                  <c:v>4.1407412494383902</c:v>
                </c:pt>
                <c:pt idx="1887">
                  <c:v>4.1512888188298014</c:v>
                </c:pt>
                <c:pt idx="1888">
                  <c:v>4.2525979252577866</c:v>
                </c:pt>
                <c:pt idx="1889">
                  <c:v>4.0373137197699833</c:v>
                </c:pt>
                <c:pt idx="1890">
                  <c:v>3.9813940149254172</c:v>
                </c:pt>
                <c:pt idx="1891">
                  <c:v>3.9221767111934378</c:v>
                </c:pt>
                <c:pt idx="1892">
                  <c:v>3.9900451560406989</c:v>
                </c:pt>
                <c:pt idx="1893">
                  <c:v>3.9898922242282322</c:v>
                </c:pt>
                <c:pt idx="1894">
                  <c:v>4.0131486989081786</c:v>
                </c:pt>
                <c:pt idx="1895">
                  <c:v>3.9660236914219085</c:v>
                </c:pt>
                <c:pt idx="1896">
                  <c:v>3.9694179010343253</c:v>
                </c:pt>
                <c:pt idx="1897">
                  <c:v>3.9750182557140574</c:v>
                </c:pt>
                <c:pt idx="1898">
                  <c:v>3.9656117487570914</c:v>
                </c:pt>
                <c:pt idx="1899">
                  <c:v>3.9696190881597087</c:v>
                </c:pt>
                <c:pt idx="1900">
                  <c:v>3.9675002474133887</c:v>
                </c:pt>
                <c:pt idx="1901">
                  <c:v>3.9666879995101274</c:v>
                </c:pt>
                <c:pt idx="1902">
                  <c:v>3.9642907847387567</c:v>
                </c:pt>
                <c:pt idx="1903">
                  <c:v>3.9647228589208638</c:v>
                </c:pt>
                <c:pt idx="1904">
                  <c:v>3.9272366358778807</c:v>
                </c:pt>
                <c:pt idx="1905">
                  <c:v>3.9797843368833212</c:v>
                </c:pt>
                <c:pt idx="1906">
                  <c:v>3.8853714327443978</c:v>
                </c:pt>
                <c:pt idx="1907">
                  <c:v>3.8769415422211604</c:v>
                </c:pt>
                <c:pt idx="1908">
                  <c:v>3.8825619220921253</c:v>
                </c:pt>
                <c:pt idx="1909">
                  <c:v>3.852262172940478</c:v>
                </c:pt>
                <c:pt idx="1910">
                  <c:v>3.7975024874016072</c:v>
                </c:pt>
                <c:pt idx="1911">
                  <c:v>3.7318032864085886</c:v>
                </c:pt>
                <c:pt idx="1912">
                  <c:v>3.7186501168071824</c:v>
                </c:pt>
                <c:pt idx="1913">
                  <c:v>3.7706382961507519</c:v>
                </c:pt>
                <c:pt idx="1914">
                  <c:v>3.6795016401403009</c:v>
                </c:pt>
                <c:pt idx="1915">
                  <c:v>3.5622970044352202</c:v>
                </c:pt>
                <c:pt idx="1916">
                  <c:v>3.5360365895373511</c:v>
                </c:pt>
                <c:pt idx="1917">
                  <c:v>3.548979183027885</c:v>
                </c:pt>
                <c:pt idx="1918">
                  <c:v>3.5749594245540059</c:v>
                </c:pt>
                <c:pt idx="1919">
                  <c:v>3.6008999536893245</c:v>
                </c:pt>
                <c:pt idx="1920">
                  <c:v>3.6268400942477808</c:v>
                </c:pt>
                <c:pt idx="1921">
                  <c:v>3.6937095569787357</c:v>
                </c:pt>
                <c:pt idx="1922">
                  <c:v>3.6977790797928369</c:v>
                </c:pt>
                <c:pt idx="1923">
                  <c:v>3.7897341483924762</c:v>
                </c:pt>
                <c:pt idx="1924">
                  <c:v>3.7097163604406234</c:v>
                </c:pt>
                <c:pt idx="1925">
                  <c:v>3.8579181475588116</c:v>
                </c:pt>
                <c:pt idx="1926">
                  <c:v>3.9126429930943707</c:v>
                </c:pt>
                <c:pt idx="1927">
                  <c:v>3.920666888789694</c:v>
                </c:pt>
                <c:pt idx="1928">
                  <c:v>4.1820270572229834</c:v>
                </c:pt>
                <c:pt idx="1929">
                  <c:v>4.2713002288481423</c:v>
                </c:pt>
                <c:pt idx="1930">
                  <c:v>4.2554671061339473</c:v>
                </c:pt>
                <c:pt idx="1931">
                  <c:v>4.1868269166042911</c:v>
                </c:pt>
                <c:pt idx="1932">
                  <c:v>4.2398493372137072</c:v>
                </c:pt>
                <c:pt idx="1933">
                  <c:v>4.5260247863439451</c:v>
                </c:pt>
                <c:pt idx="1934">
                  <c:v>4.5409576918817267</c:v>
                </c:pt>
                <c:pt idx="1935">
                  <c:v>4.5249544228317182</c:v>
                </c:pt>
                <c:pt idx="1936">
                  <c:v>4.4057537432896998</c:v>
                </c:pt>
                <c:pt idx="1937">
                  <c:v>4.27400971071825</c:v>
                </c:pt>
                <c:pt idx="1938">
                  <c:v>4.2720530137031751</c:v>
                </c:pt>
                <c:pt idx="1939">
                  <c:v>4.3676985223847202</c:v>
                </c:pt>
                <c:pt idx="1940">
                  <c:v>4.4312514114178914</c:v>
                </c:pt>
                <c:pt idx="1941">
                  <c:v>4.4470470509535671</c:v>
                </c:pt>
                <c:pt idx="1942">
                  <c:v>4.4979596030131148</c:v>
                </c:pt>
                <c:pt idx="1943">
                  <c:v>4.4801560607157862</c:v>
                </c:pt>
                <c:pt idx="1944">
                  <c:v>4.4930151251881369</c:v>
                </c:pt>
                <c:pt idx="1945">
                  <c:v>4.5093207215522657</c:v>
                </c:pt>
                <c:pt idx="1946">
                  <c:v>4.5068900420979405</c:v>
                </c:pt>
                <c:pt idx="1947">
                  <c:v>4.4975674644942742</c:v>
                </c:pt>
                <c:pt idx="1948">
                  <c:v>4.471532408286695</c:v>
                </c:pt>
                <c:pt idx="1949">
                  <c:v>4.5367322985980953</c:v>
                </c:pt>
                <c:pt idx="1950">
                  <c:v>4.3003766412269249</c:v>
                </c:pt>
                <c:pt idx="1951">
                  <c:v>4.2915946615879088</c:v>
                </c:pt>
                <c:pt idx="1952">
                  <c:v>4.3801221301678845</c:v>
                </c:pt>
                <c:pt idx="1953">
                  <c:v>4.3645937255634095</c:v>
                </c:pt>
                <c:pt idx="1954">
                  <c:v>4.3451555834618114</c:v>
                </c:pt>
                <c:pt idx="1955">
                  <c:v>4.3179121163699943</c:v>
                </c:pt>
                <c:pt idx="1956">
                  <c:v>4.3820349977762465</c:v>
                </c:pt>
                <c:pt idx="1957">
                  <c:v>4.9956321455964723</c:v>
                </c:pt>
                <c:pt idx="1958">
                  <c:v>4.9840443894065025</c:v>
                </c:pt>
                <c:pt idx="1959">
                  <c:v>5.2522148569799452</c:v>
                </c:pt>
                <c:pt idx="1960">
                  <c:v>4.8369168260689239</c:v>
                </c:pt>
                <c:pt idx="1961">
                  <c:v>4.7823192996551374</c:v>
                </c:pt>
                <c:pt idx="1962">
                  <c:v>4.5062246047199821</c:v>
                </c:pt>
                <c:pt idx="1963">
                  <c:v>4.0959991208023832</c:v>
                </c:pt>
                <c:pt idx="1964">
                  <c:v>4.2125186602347515</c:v>
                </c:pt>
                <c:pt idx="1965">
                  <c:v>4.099316092479107</c:v>
                </c:pt>
                <c:pt idx="1966">
                  <c:v>4.5593098435991459</c:v>
                </c:pt>
                <c:pt idx="1967">
                  <c:v>4.9604788414404233</c:v>
                </c:pt>
                <c:pt idx="1968">
                  <c:v>4.9533831051520449</c:v>
                </c:pt>
                <c:pt idx="1969">
                  <c:v>4.8178534660475663</c:v>
                </c:pt>
                <c:pt idx="1970">
                  <c:v>4.7213477616826633</c:v>
                </c:pt>
                <c:pt idx="1971">
                  <c:v>4.7324339202999504</c:v>
                </c:pt>
                <c:pt idx="1972">
                  <c:v>4.6519629119938672</c:v>
                </c:pt>
                <c:pt idx="1973">
                  <c:v>4.5780115521712492</c:v>
                </c:pt>
                <c:pt idx="1974">
                  <c:v>4.8504592782282447</c:v>
                </c:pt>
                <c:pt idx="1975">
                  <c:v>4.7348836967477741</c:v>
                </c:pt>
                <c:pt idx="1976">
                  <c:v>4.7399078643114221</c:v>
                </c:pt>
                <c:pt idx="1977">
                  <c:v>4.730669991092598</c:v>
                </c:pt>
                <c:pt idx="1978">
                  <c:v>4.7284517246599673</c:v>
                </c:pt>
                <c:pt idx="1979">
                  <c:v>4.7346932706183988</c:v>
                </c:pt>
                <c:pt idx="1980">
                  <c:v>4.7316956773694825</c:v>
                </c:pt>
                <c:pt idx="1981">
                  <c:v>4.7192523482262709</c:v>
                </c:pt>
                <c:pt idx="1982">
                  <c:v>4.6846120027337372</c:v>
                </c:pt>
                <c:pt idx="1983">
                  <c:v>4.7534230335613765</c:v>
                </c:pt>
                <c:pt idx="1984">
                  <c:v>4.7323883848938761</c:v>
                </c:pt>
                <c:pt idx="1985">
                  <c:v>4.7189863375897501</c:v>
                </c:pt>
                <c:pt idx="1986">
                  <c:v>4.7268961176040571</c:v>
                </c:pt>
                <c:pt idx="1987">
                  <c:v>4.7181254900307747</c:v>
                </c:pt>
                <c:pt idx="1988">
                  <c:v>4.7004986528756332</c:v>
                </c:pt>
                <c:pt idx="1989">
                  <c:v>4.6966917299619002</c:v>
                </c:pt>
                <c:pt idx="1990">
                  <c:v>4.6583258721589527</c:v>
                </c:pt>
                <c:pt idx="1991">
                  <c:v>4.6695053564562015</c:v>
                </c:pt>
                <c:pt idx="1992">
                  <c:v>4.8004589779004441</c:v>
                </c:pt>
                <c:pt idx="1993">
                  <c:v>4.9444168990066943</c:v>
                </c:pt>
                <c:pt idx="1994">
                  <c:v>4.9325221104510097</c:v>
                </c:pt>
                <c:pt idx="1995">
                  <c:v>4.8883929860636561</c:v>
                </c:pt>
                <c:pt idx="1996">
                  <c:v>4.895999140322286</c:v>
                </c:pt>
                <c:pt idx="1997">
                  <c:v>4.886257290734461</c:v>
                </c:pt>
                <c:pt idx="1998">
                  <c:v>4.8724879181345795</c:v>
                </c:pt>
                <c:pt idx="1999">
                  <c:v>4.8929668768485834</c:v>
                </c:pt>
                <c:pt idx="2000">
                  <c:v>4.8527658211910172</c:v>
                </c:pt>
                <c:pt idx="2001">
                  <c:v>4.8470775065493878</c:v>
                </c:pt>
                <c:pt idx="2002">
                  <c:v>4.8057572013298842</c:v>
                </c:pt>
                <c:pt idx="2003">
                  <c:v>4.7470182796110709</c:v>
                </c:pt>
                <c:pt idx="2004">
                  <c:v>4.7698593210425519</c:v>
                </c:pt>
                <c:pt idx="2005">
                  <c:v>4.7198295678378805</c:v>
                </c:pt>
                <c:pt idx="2006">
                  <c:v>4.8503809970440255</c:v>
                </c:pt>
                <c:pt idx="2007">
                  <c:v>5.062394696812941</c:v>
                </c:pt>
                <c:pt idx="2008">
                  <c:v>4.9554380692169442</c:v>
                </c:pt>
                <c:pt idx="2009">
                  <c:v>5.0661552814429269</c:v>
                </c:pt>
                <c:pt idx="2010">
                  <c:v>5.0605134411498032</c:v>
                </c:pt>
                <c:pt idx="2011">
                  <c:v>5.1663045129505889</c:v>
                </c:pt>
                <c:pt idx="2012">
                  <c:v>5.1440787391617926</c:v>
                </c:pt>
                <c:pt idx="2013">
                  <c:v>5.2058651022563209</c:v>
                </c:pt>
                <c:pt idx="2014">
                  <c:v>5.3797751193612315</c:v>
                </c:pt>
                <c:pt idx="2015">
                  <c:v>5.4808852218993129</c:v>
                </c:pt>
                <c:pt idx="2016">
                  <c:v>5.4806056997034318</c:v>
                </c:pt>
                <c:pt idx="2017">
                  <c:v>5.4495294348407493</c:v>
                </c:pt>
                <c:pt idx="2018">
                  <c:v>5.4879191331008625</c:v>
                </c:pt>
                <c:pt idx="2019">
                  <c:v>5.5194912518214405</c:v>
                </c:pt>
                <c:pt idx="2020">
                  <c:v>5.5403880923172935</c:v>
                </c:pt>
                <c:pt idx="2021">
                  <c:v>5.4498382068720037</c:v>
                </c:pt>
                <c:pt idx="2022">
                  <c:v>5.4199879366304469</c:v>
                </c:pt>
                <c:pt idx="2023">
                  <c:v>5.4150918916241935</c:v>
                </c:pt>
                <c:pt idx="2024">
                  <c:v>5.3820357820625828</c:v>
                </c:pt>
                <c:pt idx="2025">
                  <c:v>5.3801875927707927</c:v>
                </c:pt>
                <c:pt idx="2026">
                  <c:v>5.3014768154703917</c:v>
                </c:pt>
                <c:pt idx="2027">
                  <c:v>5.3327604258801413</c:v>
                </c:pt>
                <c:pt idx="2028">
                  <c:v>5.2015870518898817</c:v>
                </c:pt>
                <c:pt idx="2029">
                  <c:v>5.2119924624587792</c:v>
                </c:pt>
                <c:pt idx="2030">
                  <c:v>5.0646589811738103</c:v>
                </c:pt>
                <c:pt idx="2031">
                  <c:v>4.866099507485135</c:v>
                </c:pt>
                <c:pt idx="2032">
                  <c:v>4.8656804545418222</c:v>
                </c:pt>
                <c:pt idx="2033">
                  <c:v>4.7755689062843061</c:v>
                </c:pt>
                <c:pt idx="2034">
                  <c:v>4.9375648246708934</c:v>
                </c:pt>
                <c:pt idx="2035">
                  <c:v>4.8543624265126804</c:v>
                </c:pt>
                <c:pt idx="2036">
                  <c:v>4.7547666293555677</c:v>
                </c:pt>
                <c:pt idx="2037">
                  <c:v>4.7711240740011647</c:v>
                </c:pt>
                <c:pt idx="2038">
                  <c:v>4.6716790660876519</c:v>
                </c:pt>
                <c:pt idx="2039">
                  <c:v>4.6549112798784851</c:v>
                </c:pt>
                <c:pt idx="2040">
                  <c:v>4.60516487918688</c:v>
                </c:pt>
                <c:pt idx="2041">
                  <c:v>4.4559789799585507</c:v>
                </c:pt>
                <c:pt idx="2042">
                  <c:v>4.4556616337377211</c:v>
                </c:pt>
                <c:pt idx="2043">
                  <c:v>4.4059738106201971</c:v>
                </c:pt>
                <c:pt idx="2044">
                  <c:v>4.4058657164281847</c:v>
                </c:pt>
                <c:pt idx="2045">
                  <c:v>4.3727298796595875</c:v>
                </c:pt>
                <c:pt idx="2046">
                  <c:v>4.4057933658482362</c:v>
                </c:pt>
                <c:pt idx="2047">
                  <c:v>4.3725846231669037</c:v>
                </c:pt>
                <c:pt idx="2048">
                  <c:v>4.1903226782320999</c:v>
                </c:pt>
                <c:pt idx="2049">
                  <c:v>3.9746351033510918</c:v>
                </c:pt>
                <c:pt idx="2050">
                  <c:v>4.0404134440040584</c:v>
                </c:pt>
                <c:pt idx="2051">
                  <c:v>3.9905915608487184</c:v>
                </c:pt>
                <c:pt idx="2052">
                  <c:v>4.1395165546083872</c:v>
                </c:pt>
                <c:pt idx="2053">
                  <c:v>4.3709841610987548</c:v>
                </c:pt>
                <c:pt idx="2054">
                  <c:v>4.2692114842468003</c:v>
                </c:pt>
                <c:pt idx="2055">
                  <c:v>4.2512988324110736</c:v>
                </c:pt>
                <c:pt idx="2056">
                  <c:v>4.2990481189951781</c:v>
                </c:pt>
                <c:pt idx="2057">
                  <c:v>4.4405984416445055</c:v>
                </c:pt>
                <c:pt idx="2058">
                  <c:v>4.4393252031699761</c:v>
                </c:pt>
                <c:pt idx="2059">
                  <c:v>4.4658920922367651</c:v>
                </c:pt>
                <c:pt idx="2060">
                  <c:v>4.3619457528089445</c:v>
                </c:pt>
                <c:pt idx="2061">
                  <c:v>4.5199265946714382</c:v>
                </c:pt>
                <c:pt idx="2062">
                  <c:v>4.3641900596473606</c:v>
                </c:pt>
                <c:pt idx="2063">
                  <c:v>4.370508408880645</c:v>
                </c:pt>
                <c:pt idx="2064">
                  <c:v>4.3300364561452982</c:v>
                </c:pt>
                <c:pt idx="2065">
                  <c:v>4.2837058795088971</c:v>
                </c:pt>
                <c:pt idx="2066">
                  <c:v>4.2111400990553038</c:v>
                </c:pt>
                <c:pt idx="2067">
                  <c:v>4.1707433164915964</c:v>
                </c:pt>
                <c:pt idx="2068">
                  <c:v>4.115964562029383</c:v>
                </c:pt>
                <c:pt idx="2069">
                  <c:v>4.2379290033478378</c:v>
                </c:pt>
                <c:pt idx="2070">
                  <c:v>4.3248626165000523</c:v>
                </c:pt>
                <c:pt idx="2071">
                  <c:v>4.2861172589021361</c:v>
                </c:pt>
                <c:pt idx="2072">
                  <c:v>4.2757730195141104</c:v>
                </c:pt>
                <c:pt idx="2073">
                  <c:v>4.2666613418603738</c:v>
                </c:pt>
                <c:pt idx="2074">
                  <c:v>4.4012897636824242</c:v>
                </c:pt>
                <c:pt idx="2075">
                  <c:v>4.3146478887364585</c:v>
                </c:pt>
                <c:pt idx="2076">
                  <c:v>4.3281975578697036</c:v>
                </c:pt>
                <c:pt idx="2077">
                  <c:v>4.0666446791256998</c:v>
                </c:pt>
                <c:pt idx="2078">
                  <c:v>4.0526786723701038</c:v>
                </c:pt>
                <c:pt idx="2079">
                  <c:v>3.9188075641249025</c:v>
                </c:pt>
                <c:pt idx="2080">
                  <c:v>3.9224606963069539</c:v>
                </c:pt>
                <c:pt idx="2081">
                  <c:v>3.9088066432811552</c:v>
                </c:pt>
                <c:pt idx="2082">
                  <c:v>3.9074206453607907</c:v>
                </c:pt>
                <c:pt idx="2083">
                  <c:v>3.9172551690421424</c:v>
                </c:pt>
                <c:pt idx="2084">
                  <c:v>3.9230598733832736</c:v>
                </c:pt>
                <c:pt idx="2085">
                  <c:v>3.898849566153709</c:v>
                </c:pt>
                <c:pt idx="2086">
                  <c:v>3.8869009636801786</c:v>
                </c:pt>
                <c:pt idx="2087">
                  <c:v>3.6970643991088585</c:v>
                </c:pt>
                <c:pt idx="2088">
                  <c:v>3.6062100433559503</c:v>
                </c:pt>
                <c:pt idx="2089">
                  <c:v>3.8491201048890629</c:v>
                </c:pt>
                <c:pt idx="2090">
                  <c:v>3.5395752839790511</c:v>
                </c:pt>
                <c:pt idx="2091">
                  <c:v>3.528315610189698</c:v>
                </c:pt>
                <c:pt idx="2092">
                  <c:v>3.4295372968642726</c:v>
                </c:pt>
                <c:pt idx="2093">
                  <c:v>3.5632178774251972</c:v>
                </c:pt>
                <c:pt idx="2094">
                  <c:v>3.8301446106025772</c:v>
                </c:pt>
                <c:pt idx="2095">
                  <c:v>3.8525554467087013</c:v>
                </c:pt>
                <c:pt idx="2096">
                  <c:v>3.7558929345935135</c:v>
                </c:pt>
                <c:pt idx="2097">
                  <c:v>3.6715755805278478</c:v>
                </c:pt>
                <c:pt idx="2098">
                  <c:v>3.6673300558262656</c:v>
                </c:pt>
                <c:pt idx="2099">
                  <c:v>3.5354149597882976</c:v>
                </c:pt>
                <c:pt idx="2100">
                  <c:v>3.5615246609922213</c:v>
                </c:pt>
                <c:pt idx="2101">
                  <c:v>3.5614661753857892</c:v>
                </c:pt>
                <c:pt idx="2102">
                  <c:v>3.5350792062102245</c:v>
                </c:pt>
                <c:pt idx="2103">
                  <c:v>3.56128710751483</c:v>
                </c:pt>
                <c:pt idx="2104">
                  <c:v>3.5288772121309617</c:v>
                </c:pt>
                <c:pt idx="2105">
                  <c:v>3.5384084181439754</c:v>
                </c:pt>
                <c:pt idx="2106">
                  <c:v>3.5480782592155715</c:v>
                </c:pt>
                <c:pt idx="2107">
                  <c:v>3.5480908913674973</c:v>
                </c:pt>
                <c:pt idx="2108">
                  <c:v>3.5466529767681281</c:v>
                </c:pt>
                <c:pt idx="2109">
                  <c:v>3.5471616683333096</c:v>
                </c:pt>
                <c:pt idx="2110">
                  <c:v>3.5675971720059918</c:v>
                </c:pt>
                <c:pt idx="2111">
                  <c:v>3.5633165188842435</c:v>
                </c:pt>
                <c:pt idx="2112">
                  <c:v>3.553685321891769</c:v>
                </c:pt>
                <c:pt idx="2113">
                  <c:v>3.5526244946073042</c:v>
                </c:pt>
                <c:pt idx="2114">
                  <c:v>3.6289303606856897</c:v>
                </c:pt>
                <c:pt idx="2115">
                  <c:v>3.6137803169347498</c:v>
                </c:pt>
                <c:pt idx="2116">
                  <c:v>3.6363604753981615</c:v>
                </c:pt>
                <c:pt idx="2117">
                  <c:v>3.6086700240821483</c:v>
                </c:pt>
                <c:pt idx="2118">
                  <c:v>3.6216693867569991</c:v>
                </c:pt>
                <c:pt idx="2119">
                  <c:v>3.802902781631821</c:v>
                </c:pt>
                <c:pt idx="2120">
                  <c:v>3.8420705907190964</c:v>
                </c:pt>
                <c:pt idx="2121">
                  <c:v>3.7866174789208458</c:v>
                </c:pt>
                <c:pt idx="2122">
                  <c:v>3.8114466933484472</c:v>
                </c:pt>
                <c:pt idx="2123">
                  <c:v>4.0133964201097889</c:v>
                </c:pt>
                <c:pt idx="2124">
                  <c:v>4.1476111543772411</c:v>
                </c:pt>
                <c:pt idx="2125">
                  <c:v>4.3310567170274936</c:v>
                </c:pt>
                <c:pt idx="2126">
                  <c:v>3.9906070772019708</c:v>
                </c:pt>
                <c:pt idx="2127">
                  <c:v>3.9887182919996644</c:v>
                </c:pt>
                <c:pt idx="2128">
                  <c:v>3.7466028947378005</c:v>
                </c:pt>
                <c:pt idx="2129">
                  <c:v>3.7350671709473491</c:v>
                </c:pt>
                <c:pt idx="2130">
                  <c:v>3.5964090333639787</c:v>
                </c:pt>
                <c:pt idx="2131">
                  <c:v>3.6705939964128413</c:v>
                </c:pt>
                <c:pt idx="2132">
                  <c:v>3.9698424915281665</c:v>
                </c:pt>
                <c:pt idx="2133">
                  <c:v>3.8254930632127597</c:v>
                </c:pt>
                <c:pt idx="2134">
                  <c:v>3.9791048936315332</c:v>
                </c:pt>
                <c:pt idx="2135">
                  <c:v>3.9539882662122121</c:v>
                </c:pt>
                <c:pt idx="2136">
                  <c:v>3.508806378732539</c:v>
                </c:pt>
                <c:pt idx="2137">
                  <c:v>3.7467310237666873</c:v>
                </c:pt>
                <c:pt idx="2138">
                  <c:v>3.4859281197304459</c:v>
                </c:pt>
                <c:pt idx="2139">
                  <c:v>3.7653737309976543</c:v>
                </c:pt>
                <c:pt idx="2140">
                  <c:v>3.2151997668106729</c:v>
                </c:pt>
                <c:pt idx="2141">
                  <c:v>3.3822735146356777</c:v>
                </c:pt>
                <c:pt idx="2142">
                  <c:v>3.5568900454841428</c:v>
                </c:pt>
                <c:pt idx="2143">
                  <c:v>3.7397454477539425</c:v>
                </c:pt>
                <c:pt idx="2144">
                  <c:v>3.8223890056942427</c:v>
                </c:pt>
                <c:pt idx="2145">
                  <c:v>3.8380322645981186</c:v>
                </c:pt>
                <c:pt idx="2146">
                  <c:v>3.7779800564346293</c:v>
                </c:pt>
                <c:pt idx="2147">
                  <c:v>3.7619140796908179</c:v>
                </c:pt>
                <c:pt idx="2148">
                  <c:v>3.7604001766975568</c:v>
                </c:pt>
                <c:pt idx="2149">
                  <c:v>3.6457750276959517</c:v>
                </c:pt>
                <c:pt idx="2150">
                  <c:v>3.692814749026113</c:v>
                </c:pt>
                <c:pt idx="2151">
                  <c:v>3.6744342920671214</c:v>
                </c:pt>
                <c:pt idx="2152">
                  <c:v>3.6509779973142726</c:v>
                </c:pt>
                <c:pt idx="2153">
                  <c:v>3.658009881686366</c:v>
                </c:pt>
                <c:pt idx="2154">
                  <c:v>3.65292529245969</c:v>
                </c:pt>
                <c:pt idx="2155">
                  <c:v>3.6344822444618199</c:v>
                </c:pt>
                <c:pt idx="2156">
                  <c:v>3.6204917363907221</c:v>
                </c:pt>
                <c:pt idx="2157">
                  <c:v>3.6139876775301323</c:v>
                </c:pt>
                <c:pt idx="2158">
                  <c:v>3.5503877691986694</c:v>
                </c:pt>
                <c:pt idx="2159">
                  <c:v>3.5590750289108315</c:v>
                </c:pt>
                <c:pt idx="2160">
                  <c:v>3.6098581438674797</c:v>
                </c:pt>
                <c:pt idx="2161">
                  <c:v>3.658018487810037</c:v>
                </c:pt>
                <c:pt idx="2162">
                  <c:v>3.6094153942280629</c:v>
                </c:pt>
                <c:pt idx="2163">
                  <c:v>3.6097037553737676</c:v>
                </c:pt>
                <c:pt idx="2164">
                  <c:v>3.6027955086354329</c:v>
                </c:pt>
                <c:pt idx="2165">
                  <c:v>3.6173888169632162</c:v>
                </c:pt>
                <c:pt idx="2166">
                  <c:v>3.5948093113010064</c:v>
                </c:pt>
                <c:pt idx="2167">
                  <c:v>3.5992695236843675</c:v>
                </c:pt>
                <c:pt idx="2168">
                  <c:v>3.5596460804241468</c:v>
                </c:pt>
                <c:pt idx="2169">
                  <c:v>3.5425252115511943</c:v>
                </c:pt>
                <c:pt idx="2170">
                  <c:v>3.4782235966937103</c:v>
                </c:pt>
                <c:pt idx="2171">
                  <c:v>3.6373131839129438</c:v>
                </c:pt>
                <c:pt idx="2172">
                  <c:v>3.820644180617665</c:v>
                </c:pt>
                <c:pt idx="2173">
                  <c:v>3.7158173803863064</c:v>
                </c:pt>
                <c:pt idx="2174">
                  <c:v>3.705417933291224</c:v>
                </c:pt>
                <c:pt idx="2175">
                  <c:v>3.6146390740476586</c:v>
                </c:pt>
                <c:pt idx="2176">
                  <c:v>3.540889449767183</c:v>
                </c:pt>
                <c:pt idx="2177">
                  <c:v>3.8255868565434565</c:v>
                </c:pt>
                <c:pt idx="2178">
                  <c:v>3.8769454591788399</c:v>
                </c:pt>
                <c:pt idx="2179">
                  <c:v>3.64811606024525</c:v>
                </c:pt>
                <c:pt idx="2180">
                  <c:v>3.4319121503020611</c:v>
                </c:pt>
                <c:pt idx="2181">
                  <c:v>3.3395076939206598</c:v>
                </c:pt>
                <c:pt idx="2182">
                  <c:v>3.4090727308928153</c:v>
                </c:pt>
                <c:pt idx="2183">
                  <c:v>3.1634562768825609</c:v>
                </c:pt>
                <c:pt idx="2184">
                  <c:v>3.5485571919293819</c:v>
                </c:pt>
                <c:pt idx="2185">
                  <c:v>3.6380725673734671</c:v>
                </c:pt>
                <c:pt idx="2186">
                  <c:v>3.6884560942937274</c:v>
                </c:pt>
                <c:pt idx="2187">
                  <c:v>3.6888451495345973</c:v>
                </c:pt>
                <c:pt idx="2188">
                  <c:v>3.6557528353195159</c:v>
                </c:pt>
                <c:pt idx="2189">
                  <c:v>3.6819050470155203</c:v>
                </c:pt>
                <c:pt idx="2190">
                  <c:v>3.6224168713866054</c:v>
                </c:pt>
                <c:pt idx="2191">
                  <c:v>3.6495790245658659</c:v>
                </c:pt>
                <c:pt idx="2192">
                  <c:v>3.6922339039787673</c:v>
                </c:pt>
                <c:pt idx="2193">
                  <c:v>3.8166117594806419</c:v>
                </c:pt>
                <c:pt idx="2194">
                  <c:v>3.808581362703757</c:v>
                </c:pt>
                <c:pt idx="2195">
                  <c:v>3.6624530170549741</c:v>
                </c:pt>
                <c:pt idx="2196">
                  <c:v>3.5997486234755565</c:v>
                </c:pt>
                <c:pt idx="2197">
                  <c:v>3.7379318178715577</c:v>
                </c:pt>
                <c:pt idx="2198">
                  <c:v>3.9387572790162468</c:v>
                </c:pt>
                <c:pt idx="2199">
                  <c:v>3.8304267968564769</c:v>
                </c:pt>
                <c:pt idx="2200">
                  <c:v>3.8178234033670577</c:v>
                </c:pt>
                <c:pt idx="2201">
                  <c:v>3.7732303424800424</c:v>
                </c:pt>
                <c:pt idx="2202">
                  <c:v>3.7226582989953183</c:v>
                </c:pt>
                <c:pt idx="2203">
                  <c:v>3.6071328799884572</c:v>
                </c:pt>
                <c:pt idx="2204">
                  <c:v>3.7041786512698813</c:v>
                </c:pt>
                <c:pt idx="2205">
                  <c:v>3.7017590941625991</c:v>
                </c:pt>
                <c:pt idx="2206">
                  <c:v>3.8458679173699952</c:v>
                </c:pt>
                <c:pt idx="2207">
                  <c:v>3.9576561083822215</c:v>
                </c:pt>
                <c:pt idx="2208">
                  <c:v>3.977372286844588</c:v>
                </c:pt>
                <c:pt idx="2209">
                  <c:v>3.7712058066340819</c:v>
                </c:pt>
                <c:pt idx="2210">
                  <c:v>3.8506410190968365</c:v>
                </c:pt>
                <c:pt idx="2211">
                  <c:v>4.4072684126341999</c:v>
                </c:pt>
                <c:pt idx="2212">
                  <c:v>4.1997309618306549</c:v>
                </c:pt>
                <c:pt idx="2213">
                  <c:v>3.978318814854195</c:v>
                </c:pt>
                <c:pt idx="2214">
                  <c:v>3.974713779316069</c:v>
                </c:pt>
                <c:pt idx="2215">
                  <c:v>4.1149517503601158</c:v>
                </c:pt>
                <c:pt idx="2216">
                  <c:v>4.050929219854722</c:v>
                </c:pt>
                <c:pt idx="2217">
                  <c:v>4.043400847152375</c:v>
                </c:pt>
                <c:pt idx="2218">
                  <c:v>4.0126963960548876</c:v>
                </c:pt>
                <c:pt idx="2219">
                  <c:v>4.0231461561854474</c:v>
                </c:pt>
                <c:pt idx="2220">
                  <c:v>4.0211366520944418</c:v>
                </c:pt>
                <c:pt idx="2221">
                  <c:v>4.0227631557427337</c:v>
                </c:pt>
                <c:pt idx="2222">
                  <c:v>3.9001995424008009</c:v>
                </c:pt>
                <c:pt idx="2223">
                  <c:v>3.8707610237399224</c:v>
                </c:pt>
                <c:pt idx="2224">
                  <c:v>3.8837782268803891</c:v>
                </c:pt>
                <c:pt idx="2225">
                  <c:v>3.8199504781212501</c:v>
                </c:pt>
                <c:pt idx="2226">
                  <c:v>3.7838833726701404</c:v>
                </c:pt>
                <c:pt idx="2227">
                  <c:v>3.6798589043211902</c:v>
                </c:pt>
                <c:pt idx="2228">
                  <c:v>3.6945158103741873</c:v>
                </c:pt>
                <c:pt idx="2229">
                  <c:v>3.527478403614229</c:v>
                </c:pt>
                <c:pt idx="2230">
                  <c:v>3.5694402951519209</c:v>
                </c:pt>
                <c:pt idx="2231">
                  <c:v>3.4933560796933181</c:v>
                </c:pt>
                <c:pt idx="2232">
                  <c:v>3.4666245219334098</c:v>
                </c:pt>
                <c:pt idx="2233">
                  <c:v>3.3767131474238554</c:v>
                </c:pt>
                <c:pt idx="2234">
                  <c:v>3.4615054061906214</c:v>
                </c:pt>
                <c:pt idx="2235">
                  <c:v>3.4496806838464127</c:v>
                </c:pt>
                <c:pt idx="2236">
                  <c:v>3.3857843703181896</c:v>
                </c:pt>
                <c:pt idx="2237">
                  <c:v>3.5072135601002952</c:v>
                </c:pt>
                <c:pt idx="2238">
                  <c:v>3.4296021071443534</c:v>
                </c:pt>
                <c:pt idx="2239">
                  <c:v>3.3489698589267682</c:v>
                </c:pt>
                <c:pt idx="2240">
                  <c:v>3.348580234054964</c:v>
                </c:pt>
                <c:pt idx="2241">
                  <c:v>3.6033619957622145</c:v>
                </c:pt>
                <c:pt idx="2242">
                  <c:v>3.477902785011056</c:v>
                </c:pt>
                <c:pt idx="2243">
                  <c:v>3.4606243328817934</c:v>
                </c:pt>
                <c:pt idx="2244">
                  <c:v>3.4649195565050919</c:v>
                </c:pt>
                <c:pt idx="2245">
                  <c:v>3.4473031779731906</c:v>
                </c:pt>
                <c:pt idx="2246">
                  <c:v>3.4463080725354258</c:v>
                </c:pt>
                <c:pt idx="2247">
                  <c:v>3.3685130894771476</c:v>
                </c:pt>
                <c:pt idx="2248">
                  <c:v>3.3481038317003753</c:v>
                </c:pt>
                <c:pt idx="2249">
                  <c:v>3.3062261722991937</c:v>
                </c:pt>
                <c:pt idx="2250">
                  <c:v>3.4519170625990547</c:v>
                </c:pt>
                <c:pt idx="2251">
                  <c:v>3.4307546063236076</c:v>
                </c:pt>
                <c:pt idx="2252">
                  <c:v>3.4138486672328487</c:v>
                </c:pt>
                <c:pt idx="2253">
                  <c:v>3.3907787536157916</c:v>
                </c:pt>
                <c:pt idx="2254">
                  <c:v>3.4272770709606863</c:v>
                </c:pt>
                <c:pt idx="2255">
                  <c:v>3.3880918166682075</c:v>
                </c:pt>
                <c:pt idx="2256">
                  <c:v>3.3854567194379777</c:v>
                </c:pt>
                <c:pt idx="2257">
                  <c:v>3.368223533411729</c:v>
                </c:pt>
                <c:pt idx="2258">
                  <c:v>3.3654121522517313</c:v>
                </c:pt>
                <c:pt idx="2259">
                  <c:v>3.2631589581045342</c:v>
                </c:pt>
                <c:pt idx="2260">
                  <c:v>3.1094840314699566</c:v>
                </c:pt>
                <c:pt idx="2261">
                  <c:v>2.9650675881637278</c:v>
                </c:pt>
                <c:pt idx="2262">
                  <c:v>3.0897203552232062</c:v>
                </c:pt>
                <c:pt idx="2263">
                  <c:v>3.0029344163395173</c:v>
                </c:pt>
                <c:pt idx="2264">
                  <c:v>2.9450997104558696</c:v>
                </c:pt>
                <c:pt idx="2265">
                  <c:v>2.9065390345790822</c:v>
                </c:pt>
                <c:pt idx="2266">
                  <c:v>3.0121467029790727</c:v>
                </c:pt>
                <c:pt idx="2267">
                  <c:v>2.9158300864005469</c:v>
                </c:pt>
                <c:pt idx="2268">
                  <c:v>2.9068970173527418</c:v>
                </c:pt>
                <c:pt idx="2269">
                  <c:v>2.8674913396330988</c:v>
                </c:pt>
                <c:pt idx="2270">
                  <c:v>2.8289814904460635</c:v>
                </c:pt>
                <c:pt idx="2271">
                  <c:v>2.8096771405035357</c:v>
                </c:pt>
                <c:pt idx="2272">
                  <c:v>2.9057038301040969</c:v>
                </c:pt>
                <c:pt idx="2273">
                  <c:v>2.7806044064713515</c:v>
                </c:pt>
                <c:pt idx="2274">
                  <c:v>2.7787244511996083</c:v>
                </c:pt>
                <c:pt idx="2275">
                  <c:v>2.8557731428865432</c:v>
                </c:pt>
                <c:pt idx="2276">
                  <c:v>2.8738126640203951</c:v>
                </c:pt>
                <c:pt idx="2277">
                  <c:v>2.8693878009253688</c:v>
                </c:pt>
                <c:pt idx="2278">
                  <c:v>2.9552434221801724</c:v>
                </c:pt>
                <c:pt idx="2279">
                  <c:v>3.0027394681963107</c:v>
                </c:pt>
                <c:pt idx="2280">
                  <c:v>3.0182787322331852</c:v>
                </c:pt>
                <c:pt idx="2281">
                  <c:v>3.2076156685393573</c:v>
                </c:pt>
                <c:pt idx="2282">
                  <c:v>3.1326395710260693</c:v>
                </c:pt>
                <c:pt idx="2283">
                  <c:v>3.0735300845490068</c:v>
                </c:pt>
                <c:pt idx="2284">
                  <c:v>3.0659447519645764</c:v>
                </c:pt>
                <c:pt idx="2285">
                  <c:v>3.0037012876662197</c:v>
                </c:pt>
                <c:pt idx="2286">
                  <c:v>2.9931624802105188</c:v>
                </c:pt>
                <c:pt idx="2287">
                  <c:v>2.8855683921883561</c:v>
                </c:pt>
                <c:pt idx="2288">
                  <c:v>2.8660844272057378</c:v>
                </c:pt>
                <c:pt idx="2289">
                  <c:v>2.866042343393806</c:v>
                </c:pt>
                <c:pt idx="2290">
                  <c:v>2.7600613107889691</c:v>
                </c:pt>
                <c:pt idx="2291">
                  <c:v>2.7791129250094362</c:v>
                </c:pt>
                <c:pt idx="2292">
                  <c:v>2.8753865020046598</c:v>
                </c:pt>
                <c:pt idx="2293">
                  <c:v>2.7981078296242052</c:v>
                </c:pt>
                <c:pt idx="2294">
                  <c:v>2.7908669737255831</c:v>
                </c:pt>
                <c:pt idx="2295">
                  <c:v>2.8076653162752718</c:v>
                </c:pt>
                <c:pt idx="2296">
                  <c:v>2.8018941215786231</c:v>
                </c:pt>
                <c:pt idx="2297">
                  <c:v>2.8103405143278724</c:v>
                </c:pt>
                <c:pt idx="2298">
                  <c:v>2.7955482845416872</c:v>
                </c:pt>
                <c:pt idx="2299">
                  <c:v>2.7447178382064576</c:v>
                </c:pt>
                <c:pt idx="2300">
                  <c:v>2.7192081984559788</c:v>
                </c:pt>
                <c:pt idx="2301">
                  <c:v>2.6499858355937365</c:v>
                </c:pt>
                <c:pt idx="2302">
                  <c:v>2.6566117151333271</c:v>
                </c:pt>
                <c:pt idx="2303">
                  <c:v>2.8218194929860871</c:v>
                </c:pt>
                <c:pt idx="2304">
                  <c:v>2.8367220733007246</c:v>
                </c:pt>
                <c:pt idx="2305">
                  <c:v>2.9704288083305292</c:v>
                </c:pt>
                <c:pt idx="2306">
                  <c:v>3.0956700880984855</c:v>
                </c:pt>
                <c:pt idx="2307">
                  <c:v>3.0504441476969499</c:v>
                </c:pt>
                <c:pt idx="2308">
                  <c:v>3.0458015652481878</c:v>
                </c:pt>
                <c:pt idx="2309">
                  <c:v>3.0344133410193828</c:v>
                </c:pt>
                <c:pt idx="2310">
                  <c:v>3.0444274482462124</c:v>
                </c:pt>
                <c:pt idx="2311">
                  <c:v>2.8771524914821391</c:v>
                </c:pt>
                <c:pt idx="2312">
                  <c:v>2.8596511018213584</c:v>
                </c:pt>
                <c:pt idx="2313">
                  <c:v>2.9558315699026201</c:v>
                </c:pt>
                <c:pt idx="2314">
                  <c:v>2.9657231334907022</c:v>
                </c:pt>
                <c:pt idx="2315">
                  <c:v>2.9498081713156328</c:v>
                </c:pt>
                <c:pt idx="2316">
                  <c:v>3.3026760019935693</c:v>
                </c:pt>
                <c:pt idx="2317">
                  <c:v>3.295945693016284</c:v>
                </c:pt>
                <c:pt idx="2318">
                  <c:v>3.5504244521479538</c:v>
                </c:pt>
                <c:pt idx="2319">
                  <c:v>3.3268529534508833</c:v>
                </c:pt>
                <c:pt idx="2320">
                  <c:v>3.3028749938869164</c:v>
                </c:pt>
                <c:pt idx="2321">
                  <c:v>3.4159102301043278</c:v>
                </c:pt>
                <c:pt idx="2322">
                  <c:v>3.0995163935759695</c:v>
                </c:pt>
                <c:pt idx="2323">
                  <c:v>3.0806301036398862</c:v>
                </c:pt>
                <c:pt idx="2324">
                  <c:v>3.3283552888141434</c:v>
                </c:pt>
                <c:pt idx="2325">
                  <c:v>3.6754318033897015</c:v>
                </c:pt>
                <c:pt idx="2326">
                  <c:v>3.6648344114995073</c:v>
                </c:pt>
                <c:pt idx="2327">
                  <c:v>3.6415512386145674</c:v>
                </c:pt>
                <c:pt idx="2328">
                  <c:v>3.4412317489535775</c:v>
                </c:pt>
                <c:pt idx="2329">
                  <c:v>3.4411843756138318</c:v>
                </c:pt>
                <c:pt idx="2330">
                  <c:v>3.3977533466163936</c:v>
                </c:pt>
                <c:pt idx="2331">
                  <c:v>3.3970789915425077</c:v>
                </c:pt>
                <c:pt idx="2332">
                  <c:v>3.3881385471664229</c:v>
                </c:pt>
                <c:pt idx="2333">
                  <c:v>3.4023574206351133</c:v>
                </c:pt>
                <c:pt idx="2334">
                  <c:v>3.4718868771667886</c:v>
                </c:pt>
                <c:pt idx="2335">
                  <c:v>3.525140653921802</c:v>
                </c:pt>
                <c:pt idx="2336">
                  <c:v>3.5326941656157644</c:v>
                </c:pt>
                <c:pt idx="2337">
                  <c:v>3.5521716623999229</c:v>
                </c:pt>
                <c:pt idx="2338">
                  <c:v>3.5454541589819564</c:v>
                </c:pt>
                <c:pt idx="2339">
                  <c:v>3.5469909153565591</c:v>
                </c:pt>
                <c:pt idx="2340">
                  <c:v>3.5410723082399334</c:v>
                </c:pt>
                <c:pt idx="2341">
                  <c:v>3.5525269488367148</c:v>
                </c:pt>
                <c:pt idx="2342">
                  <c:v>3.5415543099995039</c:v>
                </c:pt>
                <c:pt idx="2343">
                  <c:v>3.5544801422183103</c:v>
                </c:pt>
                <c:pt idx="2344">
                  <c:v>3.542374528572017</c:v>
                </c:pt>
                <c:pt idx="2345">
                  <c:v>3.5540429777044626</c:v>
                </c:pt>
                <c:pt idx="2346">
                  <c:v>3.5526902288234647</c:v>
                </c:pt>
                <c:pt idx="2347">
                  <c:v>3.5244081846432911</c:v>
                </c:pt>
                <c:pt idx="2348">
                  <c:v>3.53292478631881</c:v>
                </c:pt>
                <c:pt idx="2349">
                  <c:v>3.5248939798279606</c:v>
                </c:pt>
                <c:pt idx="2350">
                  <c:v>3.5253864469259151</c:v>
                </c:pt>
                <c:pt idx="2351">
                  <c:v>3.5182876701763348</c:v>
                </c:pt>
                <c:pt idx="2352">
                  <c:v>3.5164756907260935</c:v>
                </c:pt>
                <c:pt idx="2353">
                  <c:v>3.4525019348428674</c:v>
                </c:pt>
                <c:pt idx="2354">
                  <c:v>3.076850990622805</c:v>
                </c:pt>
                <c:pt idx="2355">
                  <c:v>2.2678311548421424</c:v>
                </c:pt>
                <c:pt idx="2356">
                  <c:v>2.2484754344475197</c:v>
                </c:pt>
                <c:pt idx="2357">
                  <c:v>2.3904953975840413</c:v>
                </c:pt>
                <c:pt idx="2358">
                  <c:v>2.3448130552876862</c:v>
                </c:pt>
                <c:pt idx="2359">
                  <c:v>2.3204636292081249</c:v>
                </c:pt>
                <c:pt idx="2360">
                  <c:v>2.1304142576894449</c:v>
                </c:pt>
                <c:pt idx="2361">
                  <c:v>1.8816169399181528</c:v>
                </c:pt>
                <c:pt idx="2362">
                  <c:v>2.1137345196053117</c:v>
                </c:pt>
                <c:pt idx="2363">
                  <c:v>2.1415440216180497</c:v>
                </c:pt>
                <c:pt idx="2364">
                  <c:v>2.0818925372193444</c:v>
                </c:pt>
                <c:pt idx="2365">
                  <c:v>2.1054793527771367</c:v>
                </c:pt>
                <c:pt idx="2366">
                  <c:v>2.0762082287706516</c:v>
                </c:pt>
                <c:pt idx="2367">
                  <c:v>2.0620182085829235</c:v>
                </c:pt>
                <c:pt idx="2368">
                  <c:v>2.0616650174656774</c:v>
                </c:pt>
                <c:pt idx="2369">
                  <c:v>2.0603459648615394</c:v>
                </c:pt>
                <c:pt idx="2370">
                  <c:v>2.0046258329094719</c:v>
                </c:pt>
                <c:pt idx="2371">
                  <c:v>1.9691486550393726</c:v>
                </c:pt>
                <c:pt idx="2372">
                  <c:v>2.0409545795743123</c:v>
                </c:pt>
                <c:pt idx="2373">
                  <c:v>2.1020940078381298</c:v>
                </c:pt>
                <c:pt idx="2374">
                  <c:v>2.0471489698450154</c:v>
                </c:pt>
                <c:pt idx="2375">
                  <c:v>2.0741463038795636</c:v>
                </c:pt>
                <c:pt idx="2376">
                  <c:v>2.0544453543542947</c:v>
                </c:pt>
                <c:pt idx="2377">
                  <c:v>2.0513534980724581</c:v>
                </c:pt>
                <c:pt idx="2378">
                  <c:v>2.052504758681196</c:v>
                </c:pt>
                <c:pt idx="2379">
                  <c:v>2.028659841348075</c:v>
                </c:pt>
                <c:pt idx="2380">
                  <c:v>2.032292564186533</c:v>
                </c:pt>
                <c:pt idx="2381">
                  <c:v>2.0673931531227456</c:v>
                </c:pt>
                <c:pt idx="2382">
                  <c:v>2.0979973712286695</c:v>
                </c:pt>
                <c:pt idx="2383">
                  <c:v>2.1215561841405792</c:v>
                </c:pt>
                <c:pt idx="2384">
                  <c:v>2.1239927860846475</c:v>
                </c:pt>
                <c:pt idx="2385">
                  <c:v>2.1345887770140748</c:v>
                </c:pt>
                <c:pt idx="2386">
                  <c:v>2.0796612104030867</c:v>
                </c:pt>
                <c:pt idx="2387">
                  <c:v>2.019541482719502</c:v>
                </c:pt>
                <c:pt idx="2388">
                  <c:v>1.9968924633054015</c:v>
                </c:pt>
                <c:pt idx="2389">
                  <c:v>1.8365740398335071</c:v>
                </c:pt>
                <c:pt idx="2390">
                  <c:v>2.0064625184760003</c:v>
                </c:pt>
                <c:pt idx="2391">
                  <c:v>2.0115384929327047</c:v>
                </c:pt>
                <c:pt idx="2392">
                  <c:v>1.9122427333119232</c:v>
                </c:pt>
                <c:pt idx="2393">
                  <c:v>1.8922004527566023</c:v>
                </c:pt>
                <c:pt idx="2394">
                  <c:v>1.7871908532875773</c:v>
                </c:pt>
                <c:pt idx="2395">
                  <c:v>1.8910545863051416</c:v>
                </c:pt>
                <c:pt idx="2396">
                  <c:v>2.0240154879026364</c:v>
                </c:pt>
                <c:pt idx="2397">
                  <c:v>1.8741883333220575</c:v>
                </c:pt>
                <c:pt idx="2398">
                  <c:v>1.867639674007598</c:v>
                </c:pt>
                <c:pt idx="2399">
                  <c:v>1.8878130019233457</c:v>
                </c:pt>
                <c:pt idx="2400">
                  <c:v>1.8707273767452957</c:v>
                </c:pt>
                <c:pt idx="2401">
                  <c:v>1.8601539106296761</c:v>
                </c:pt>
                <c:pt idx="2402">
                  <c:v>1.8655694474179958</c:v>
                </c:pt>
                <c:pt idx="2403">
                  <c:v>1.8819250186518028</c:v>
                </c:pt>
                <c:pt idx="2404">
                  <c:v>1.8654879651139338</c:v>
                </c:pt>
                <c:pt idx="2405">
                  <c:v>1.8642352683776637</c:v>
                </c:pt>
                <c:pt idx="2406">
                  <c:v>1.8841096877433856</c:v>
                </c:pt>
                <c:pt idx="2407">
                  <c:v>1.8709903625040356</c:v>
                </c:pt>
                <c:pt idx="2408">
                  <c:v>1.8763104892065079</c:v>
                </c:pt>
                <c:pt idx="2409">
                  <c:v>1.8984922607955894</c:v>
                </c:pt>
                <c:pt idx="2410">
                  <c:v>1.8746557267985833</c:v>
                </c:pt>
                <c:pt idx="2411">
                  <c:v>1.8513017354572965</c:v>
                </c:pt>
                <c:pt idx="2412">
                  <c:v>1.8513448316201839</c:v>
                </c:pt>
                <c:pt idx="2413">
                  <c:v>1.813275639590759</c:v>
                </c:pt>
                <c:pt idx="2414">
                  <c:v>1.9731942402401428</c:v>
                </c:pt>
                <c:pt idx="2415">
                  <c:v>1.9005832365192661</c:v>
                </c:pt>
                <c:pt idx="2416">
                  <c:v>1.9296295465483138</c:v>
                </c:pt>
                <c:pt idx="2417">
                  <c:v>1.9047699324355669</c:v>
                </c:pt>
                <c:pt idx="2418">
                  <c:v>1.922351672423485</c:v>
                </c:pt>
                <c:pt idx="2419">
                  <c:v>1.9384580717536453</c:v>
                </c:pt>
                <c:pt idx="2420">
                  <c:v>1.9413028885760952</c:v>
                </c:pt>
                <c:pt idx="2421">
                  <c:v>1.9164856366345047</c:v>
                </c:pt>
                <c:pt idx="2422">
                  <c:v>1.92558820653926</c:v>
                </c:pt>
                <c:pt idx="2423">
                  <c:v>1.9116302321564269</c:v>
                </c:pt>
                <c:pt idx="2424">
                  <c:v>1.8817025659040085</c:v>
                </c:pt>
                <c:pt idx="2425">
                  <c:v>1.9020841071509638</c:v>
                </c:pt>
                <c:pt idx="2426">
                  <c:v>2.0100837844934545</c:v>
                </c:pt>
                <c:pt idx="2427">
                  <c:v>1.9641414812846847</c:v>
                </c:pt>
                <c:pt idx="2428">
                  <c:v>1.9440415201696994</c:v>
                </c:pt>
                <c:pt idx="2429">
                  <c:v>1.9845940081661579</c:v>
                </c:pt>
                <c:pt idx="2430">
                  <c:v>2.0039978042263842</c:v>
                </c:pt>
                <c:pt idx="2431">
                  <c:v>1.991403376738224</c:v>
                </c:pt>
                <c:pt idx="2432">
                  <c:v>1.7066651772266952</c:v>
                </c:pt>
                <c:pt idx="2433">
                  <c:v>1.7842659688798141</c:v>
                </c:pt>
                <c:pt idx="2434">
                  <c:v>1.9181908406950336</c:v>
                </c:pt>
                <c:pt idx="2435">
                  <c:v>1.9809955399583783</c:v>
                </c:pt>
                <c:pt idx="2436">
                  <c:v>1.9322701478218338</c:v>
                </c:pt>
                <c:pt idx="2437">
                  <c:v>1.9194746590146099</c:v>
                </c:pt>
                <c:pt idx="2438">
                  <c:v>1.968250088593549</c:v>
                </c:pt>
                <c:pt idx="2439">
                  <c:v>2.0144779854180839</c:v>
                </c:pt>
                <c:pt idx="2440">
                  <c:v>2.0126261014333098</c:v>
                </c:pt>
                <c:pt idx="2441">
                  <c:v>2.0229779514096435</c:v>
                </c:pt>
                <c:pt idx="2442">
                  <c:v>2.0101006069776752</c:v>
                </c:pt>
                <c:pt idx="2443">
                  <c:v>2.0013332902110679</c:v>
                </c:pt>
                <c:pt idx="2444">
                  <c:v>2.0234416982019021</c:v>
                </c:pt>
                <c:pt idx="2445">
                  <c:v>2.0280225138239554</c:v>
                </c:pt>
                <c:pt idx="2446">
                  <c:v>2.0288475280758673</c:v>
                </c:pt>
                <c:pt idx="2447">
                  <c:v>2.0294910735073564</c:v>
                </c:pt>
                <c:pt idx="2448">
                  <c:v>1.9982569438257196</c:v>
                </c:pt>
                <c:pt idx="2449">
                  <c:v>1.9076467367396637</c:v>
                </c:pt>
                <c:pt idx="2450">
                  <c:v>1.8391409627280817</c:v>
                </c:pt>
                <c:pt idx="2451">
                  <c:v>1.9596163698564788</c:v>
                </c:pt>
                <c:pt idx="2452">
                  <c:v>2.0759089950672256</c:v>
                </c:pt>
                <c:pt idx="2453">
                  <c:v>1.9193800137070298</c:v>
                </c:pt>
                <c:pt idx="2454">
                  <c:v>1.9544660086672614</c:v>
                </c:pt>
                <c:pt idx="2455">
                  <c:v>1.7568397646390324</c:v>
                </c:pt>
                <c:pt idx="2456">
                  <c:v>1.7648481585257039</c:v>
                </c:pt>
                <c:pt idx="2457">
                  <c:v>1.72309442075872</c:v>
                </c:pt>
                <c:pt idx="2458">
                  <c:v>1.7077743480321674</c:v>
                </c:pt>
                <c:pt idx="2459">
                  <c:v>1.8024483857065245</c:v>
                </c:pt>
                <c:pt idx="2460">
                  <c:v>1.7458892507568287</c:v>
                </c:pt>
                <c:pt idx="2461">
                  <c:v>1.7381002777040133</c:v>
                </c:pt>
                <c:pt idx="2462">
                  <c:v>1.7231451382667049</c:v>
                </c:pt>
                <c:pt idx="2463">
                  <c:v>1.7196722885373981</c:v>
                </c:pt>
                <c:pt idx="2464">
                  <c:v>1.72439089882115</c:v>
                </c:pt>
                <c:pt idx="2465">
                  <c:v>1.7232980200499597</c:v>
                </c:pt>
                <c:pt idx="2466">
                  <c:v>1.7807569010956659</c:v>
                </c:pt>
                <c:pt idx="2467">
                  <c:v>1.7679609693779095</c:v>
                </c:pt>
                <c:pt idx="2468">
                  <c:v>1.7668904055564156</c:v>
                </c:pt>
                <c:pt idx="2469">
                  <c:v>1.7718363490164273</c:v>
                </c:pt>
                <c:pt idx="2470">
                  <c:v>1.7672254206189444</c:v>
                </c:pt>
                <c:pt idx="2471">
                  <c:v>1.751523707181567</c:v>
                </c:pt>
                <c:pt idx="2472">
                  <c:v>1.7440578382504344</c:v>
                </c:pt>
                <c:pt idx="2473">
                  <c:v>1.649427457461466</c:v>
                </c:pt>
                <c:pt idx="2474">
                  <c:v>1.7064220945983875</c:v>
                </c:pt>
                <c:pt idx="2475">
                  <c:v>1.7937566935734202</c:v>
                </c:pt>
                <c:pt idx="2476">
                  <c:v>1.8432413498530769</c:v>
                </c:pt>
                <c:pt idx="2477">
                  <c:v>1.8430587237733125</c:v>
                </c:pt>
                <c:pt idx="2478">
                  <c:v>1.8315573834987773</c:v>
                </c:pt>
                <c:pt idx="2479">
                  <c:v>1.7819390127435015</c:v>
                </c:pt>
                <c:pt idx="2480">
                  <c:v>1.8237359473075243</c:v>
                </c:pt>
              </c:numCache>
            </c:numRef>
          </c:val>
          <c:smooth val="0"/>
          <c:extLst xmlns:c16r2="http://schemas.microsoft.com/office/drawing/2015/06/chart">
            <c:ext xmlns:c16="http://schemas.microsoft.com/office/drawing/2014/chart" uri="{C3380CC4-5D6E-409C-BE32-E72D297353CC}">
              <c16:uniqueId val="{00000000-97CC-4024-B73E-64F79F873D55}"/>
            </c:ext>
          </c:extLst>
        </c:ser>
        <c:ser>
          <c:idx val="6"/>
          <c:order val="1"/>
          <c:tx>
            <c:strRef>
              <c:f>'12M'!$U$30</c:f>
              <c:strCache>
                <c:ptCount val="1"/>
                <c:pt idx="0">
                  <c:v>MR 0.3-0.4</c:v>
                </c:pt>
              </c:strCache>
            </c:strRef>
          </c:tx>
          <c:spPr>
            <a:ln>
              <a:solidFill>
                <a:srgbClr val="00B050"/>
              </a:solidFill>
            </a:ln>
          </c:spPr>
          <c:marker>
            <c:symbol val="none"/>
          </c:marker>
          <c:cat>
            <c:numRef>
              <c:f>'12M'!$N$283:$N$2763</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12M'!$U$283:$U$2763</c:f>
              <c:numCache>
                <c:formatCode>General</c:formatCode>
                <c:ptCount val="2481"/>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8061899549221</c:v>
                </c:pt>
                <c:pt idx="27">
                  <c:v>97.598359527832457</c:v>
                </c:pt>
                <c:pt idx="28">
                  <c:v>102.35416130953197</c:v>
                </c:pt>
                <c:pt idx="29">
                  <c:v>102.35416130953197</c:v>
                </c:pt>
                <c:pt idx="30">
                  <c:v>102.22621860789506</c:v>
                </c:pt>
                <c:pt idx="31">
                  <c:v>102.40209285551703</c:v>
                </c:pt>
                <c:pt idx="32">
                  <c:v>107.03900483574979</c:v>
                </c:pt>
                <c:pt idx="33">
                  <c:v>107.03900483574979</c:v>
                </c:pt>
                <c:pt idx="34">
                  <c:v>106.90520607970511</c:v>
                </c:pt>
                <c:pt idx="35">
                  <c:v>108.96185762269866</c:v>
                </c:pt>
                <c:pt idx="36">
                  <c:v>108.10128832390922</c:v>
                </c:pt>
                <c:pt idx="37">
                  <c:v>108.10128832390922</c:v>
                </c:pt>
                <c:pt idx="38">
                  <c:v>107.96616171350433</c:v>
                </c:pt>
                <c:pt idx="39">
                  <c:v>107.96616171350433</c:v>
                </c:pt>
                <c:pt idx="40">
                  <c:v>107.96616171350433</c:v>
                </c:pt>
                <c:pt idx="41">
                  <c:v>107.96616171350433</c:v>
                </c:pt>
                <c:pt idx="42">
                  <c:v>107.96616171350433</c:v>
                </c:pt>
                <c:pt idx="43">
                  <c:v>104.64791019925464</c:v>
                </c:pt>
                <c:pt idx="44">
                  <c:v>104.51710031150557</c:v>
                </c:pt>
                <c:pt idx="45">
                  <c:v>104.3864539361162</c:v>
                </c:pt>
                <c:pt idx="46">
                  <c:v>104.3864539361162</c:v>
                </c:pt>
                <c:pt idx="47">
                  <c:v>104.52060200703757</c:v>
                </c:pt>
                <c:pt idx="48">
                  <c:v>104.15267596633571</c:v>
                </c:pt>
                <c:pt idx="49">
                  <c:v>103.81690086018743</c:v>
                </c:pt>
                <c:pt idx="50">
                  <c:v>104.69937575770113</c:v>
                </c:pt>
                <c:pt idx="51">
                  <c:v>104.75666464401952</c:v>
                </c:pt>
                <c:pt idx="52">
                  <c:v>103.0272352790185</c:v>
                </c:pt>
                <c:pt idx="53">
                  <c:v>103.0272352790185</c:v>
                </c:pt>
                <c:pt idx="54">
                  <c:v>102.89845123491973</c:v>
                </c:pt>
                <c:pt idx="55">
                  <c:v>102.89845123491973</c:v>
                </c:pt>
                <c:pt idx="56">
                  <c:v>102.89845123491973</c:v>
                </c:pt>
                <c:pt idx="57">
                  <c:v>102.89845123491973</c:v>
                </c:pt>
                <c:pt idx="58">
                  <c:v>102.89845123491973</c:v>
                </c:pt>
                <c:pt idx="59">
                  <c:v>102.89845123491973</c:v>
                </c:pt>
                <c:pt idx="60">
                  <c:v>102.89845123491973</c:v>
                </c:pt>
                <c:pt idx="61">
                  <c:v>102.89845123491973</c:v>
                </c:pt>
                <c:pt idx="62">
                  <c:v>102.89845123491973</c:v>
                </c:pt>
                <c:pt idx="63">
                  <c:v>102.89845123491973</c:v>
                </c:pt>
                <c:pt idx="64">
                  <c:v>102.89845123491973</c:v>
                </c:pt>
                <c:pt idx="65">
                  <c:v>102.89845123491973</c:v>
                </c:pt>
                <c:pt idx="66">
                  <c:v>99.606722551757272</c:v>
                </c:pt>
                <c:pt idx="67">
                  <c:v>99.482214148567579</c:v>
                </c:pt>
                <c:pt idx="68">
                  <c:v>99.357861380881872</c:v>
                </c:pt>
                <c:pt idx="69">
                  <c:v>100.84681387704762</c:v>
                </c:pt>
                <c:pt idx="70">
                  <c:v>100.72075535970131</c:v>
                </c:pt>
                <c:pt idx="71">
                  <c:v>100.59485441550169</c:v>
                </c:pt>
                <c:pt idx="72">
                  <c:v>100.59485441550169</c:v>
                </c:pt>
                <c:pt idx="73">
                  <c:v>100.59485441550169</c:v>
                </c:pt>
                <c:pt idx="74">
                  <c:v>100.59485441550169</c:v>
                </c:pt>
                <c:pt idx="75">
                  <c:v>100.59485441550169</c:v>
                </c:pt>
                <c:pt idx="76">
                  <c:v>100.59485441550169</c:v>
                </c:pt>
                <c:pt idx="77">
                  <c:v>100.59485441550169</c:v>
                </c:pt>
                <c:pt idx="78">
                  <c:v>100.59485441550169</c:v>
                </c:pt>
                <c:pt idx="79">
                  <c:v>100.48893656739541</c:v>
                </c:pt>
                <c:pt idx="80">
                  <c:v>100.33809967320406</c:v>
                </c:pt>
                <c:pt idx="81">
                  <c:v>100.48226909378906</c:v>
                </c:pt>
                <c:pt idx="82">
                  <c:v>100.48226909378906</c:v>
                </c:pt>
                <c:pt idx="83">
                  <c:v>99.888135717433812</c:v>
                </c:pt>
                <c:pt idx="84">
                  <c:v>99.763275547787018</c:v>
                </c:pt>
                <c:pt idx="85">
                  <c:v>99.638571453352284</c:v>
                </c:pt>
                <c:pt idx="86">
                  <c:v>99.638571453352284</c:v>
                </c:pt>
                <c:pt idx="87">
                  <c:v>99.638571453352284</c:v>
                </c:pt>
                <c:pt idx="88">
                  <c:v>99.638571453352284</c:v>
                </c:pt>
                <c:pt idx="89">
                  <c:v>99.638571453352284</c:v>
                </c:pt>
                <c:pt idx="90">
                  <c:v>99.638571453352284</c:v>
                </c:pt>
                <c:pt idx="91">
                  <c:v>99.638571453352284</c:v>
                </c:pt>
                <c:pt idx="92">
                  <c:v>99.638571453352284</c:v>
                </c:pt>
                <c:pt idx="93">
                  <c:v>99.638571453352284</c:v>
                </c:pt>
                <c:pt idx="94">
                  <c:v>99.638571453352284</c:v>
                </c:pt>
                <c:pt idx="95">
                  <c:v>99.638571453352284</c:v>
                </c:pt>
                <c:pt idx="96">
                  <c:v>99.638571453352284</c:v>
                </c:pt>
                <c:pt idx="97">
                  <c:v>99.638571453352284</c:v>
                </c:pt>
                <c:pt idx="98">
                  <c:v>99.638571453352284</c:v>
                </c:pt>
                <c:pt idx="99">
                  <c:v>99.638571453352284</c:v>
                </c:pt>
                <c:pt idx="100">
                  <c:v>99.638571453352284</c:v>
                </c:pt>
                <c:pt idx="101">
                  <c:v>99.638571453352284</c:v>
                </c:pt>
                <c:pt idx="102">
                  <c:v>99.638571453352284</c:v>
                </c:pt>
                <c:pt idx="103">
                  <c:v>99.638571453352284</c:v>
                </c:pt>
                <c:pt idx="104">
                  <c:v>99.638571453352284</c:v>
                </c:pt>
                <c:pt idx="105">
                  <c:v>99.638571453352284</c:v>
                </c:pt>
                <c:pt idx="106">
                  <c:v>99.638571453352284</c:v>
                </c:pt>
                <c:pt idx="107">
                  <c:v>99.638571453352284</c:v>
                </c:pt>
                <c:pt idx="108">
                  <c:v>99.638571453352284</c:v>
                </c:pt>
                <c:pt idx="109">
                  <c:v>99.638571453352284</c:v>
                </c:pt>
                <c:pt idx="110">
                  <c:v>99.638571453352284</c:v>
                </c:pt>
                <c:pt idx="111">
                  <c:v>99.638571453352284</c:v>
                </c:pt>
                <c:pt idx="112">
                  <c:v>99.638571453352284</c:v>
                </c:pt>
                <c:pt idx="113">
                  <c:v>99.638571453352284</c:v>
                </c:pt>
                <c:pt idx="114">
                  <c:v>99.638571453352284</c:v>
                </c:pt>
                <c:pt idx="115">
                  <c:v>99.638571453352284</c:v>
                </c:pt>
                <c:pt idx="116">
                  <c:v>99.638571453352284</c:v>
                </c:pt>
                <c:pt idx="117">
                  <c:v>99.638571453352284</c:v>
                </c:pt>
                <c:pt idx="118">
                  <c:v>99.638571453352284</c:v>
                </c:pt>
                <c:pt idx="119">
                  <c:v>99.638571453352284</c:v>
                </c:pt>
                <c:pt idx="120">
                  <c:v>99.638571453352284</c:v>
                </c:pt>
                <c:pt idx="121">
                  <c:v>99.638571453352284</c:v>
                </c:pt>
                <c:pt idx="122">
                  <c:v>99.638571453352284</c:v>
                </c:pt>
                <c:pt idx="123">
                  <c:v>99.638571453352284</c:v>
                </c:pt>
                <c:pt idx="124">
                  <c:v>99.638571453352284</c:v>
                </c:pt>
                <c:pt idx="125">
                  <c:v>99.638571453352284</c:v>
                </c:pt>
                <c:pt idx="126">
                  <c:v>99.638571453352284</c:v>
                </c:pt>
                <c:pt idx="127">
                  <c:v>99.638571453352284</c:v>
                </c:pt>
                <c:pt idx="128">
                  <c:v>99.638571453352284</c:v>
                </c:pt>
                <c:pt idx="129">
                  <c:v>99.638571453352284</c:v>
                </c:pt>
                <c:pt idx="130">
                  <c:v>99.638571453352284</c:v>
                </c:pt>
                <c:pt idx="131">
                  <c:v>99.638571453352284</c:v>
                </c:pt>
                <c:pt idx="132">
                  <c:v>99.638571453352284</c:v>
                </c:pt>
                <c:pt idx="133">
                  <c:v>99.638571453352284</c:v>
                </c:pt>
                <c:pt idx="134">
                  <c:v>99.638571453352284</c:v>
                </c:pt>
                <c:pt idx="135">
                  <c:v>99.638571453352284</c:v>
                </c:pt>
                <c:pt idx="136">
                  <c:v>99.638571453352284</c:v>
                </c:pt>
                <c:pt idx="137">
                  <c:v>99.638571453352284</c:v>
                </c:pt>
                <c:pt idx="138">
                  <c:v>99.638571453352284</c:v>
                </c:pt>
                <c:pt idx="139">
                  <c:v>99.638571453352284</c:v>
                </c:pt>
                <c:pt idx="140">
                  <c:v>99.638571453352284</c:v>
                </c:pt>
                <c:pt idx="141">
                  <c:v>99.638571453352284</c:v>
                </c:pt>
                <c:pt idx="142">
                  <c:v>99.638571453352284</c:v>
                </c:pt>
                <c:pt idx="143">
                  <c:v>99.638571453352284</c:v>
                </c:pt>
                <c:pt idx="144">
                  <c:v>99.638571453352284</c:v>
                </c:pt>
                <c:pt idx="145">
                  <c:v>99.638571453352284</c:v>
                </c:pt>
                <c:pt idx="146">
                  <c:v>99.638571453352284</c:v>
                </c:pt>
                <c:pt idx="147">
                  <c:v>99.638571453352284</c:v>
                </c:pt>
                <c:pt idx="148">
                  <c:v>99.638571453352284</c:v>
                </c:pt>
                <c:pt idx="149">
                  <c:v>99.638571453352284</c:v>
                </c:pt>
                <c:pt idx="150">
                  <c:v>99.638571453352284</c:v>
                </c:pt>
                <c:pt idx="151">
                  <c:v>99.638571453352284</c:v>
                </c:pt>
                <c:pt idx="152">
                  <c:v>99.638571453352284</c:v>
                </c:pt>
                <c:pt idx="153">
                  <c:v>99.638571453352284</c:v>
                </c:pt>
                <c:pt idx="154">
                  <c:v>99.638571453352284</c:v>
                </c:pt>
                <c:pt idx="155">
                  <c:v>99.638571453352284</c:v>
                </c:pt>
                <c:pt idx="156">
                  <c:v>99.638571453352284</c:v>
                </c:pt>
                <c:pt idx="157">
                  <c:v>99.638571453352284</c:v>
                </c:pt>
                <c:pt idx="158">
                  <c:v>99.638571453352284</c:v>
                </c:pt>
                <c:pt idx="159">
                  <c:v>99.638571453352284</c:v>
                </c:pt>
                <c:pt idx="160">
                  <c:v>99.638571453352284</c:v>
                </c:pt>
                <c:pt idx="161">
                  <c:v>99.638571453352284</c:v>
                </c:pt>
                <c:pt idx="162">
                  <c:v>99.638571453352284</c:v>
                </c:pt>
                <c:pt idx="163">
                  <c:v>99.638571453352284</c:v>
                </c:pt>
                <c:pt idx="164">
                  <c:v>99.638571453352284</c:v>
                </c:pt>
                <c:pt idx="165">
                  <c:v>99.638571453352284</c:v>
                </c:pt>
                <c:pt idx="166">
                  <c:v>99.638571453352284</c:v>
                </c:pt>
                <c:pt idx="167">
                  <c:v>99.638571453352284</c:v>
                </c:pt>
                <c:pt idx="168">
                  <c:v>99.638571453352284</c:v>
                </c:pt>
                <c:pt idx="169">
                  <c:v>99.638571453352284</c:v>
                </c:pt>
                <c:pt idx="170">
                  <c:v>99.638571453352284</c:v>
                </c:pt>
                <c:pt idx="171">
                  <c:v>99.638571453352284</c:v>
                </c:pt>
                <c:pt idx="172">
                  <c:v>99.638571453352284</c:v>
                </c:pt>
                <c:pt idx="173">
                  <c:v>99.638571453352284</c:v>
                </c:pt>
                <c:pt idx="174">
                  <c:v>99.638571453352284</c:v>
                </c:pt>
                <c:pt idx="175">
                  <c:v>99.638571453352284</c:v>
                </c:pt>
                <c:pt idx="176">
                  <c:v>99.638571453352284</c:v>
                </c:pt>
                <c:pt idx="177">
                  <c:v>99.638571453352284</c:v>
                </c:pt>
                <c:pt idx="178">
                  <c:v>99.638571453352284</c:v>
                </c:pt>
                <c:pt idx="179">
                  <c:v>99.638571453352284</c:v>
                </c:pt>
                <c:pt idx="180">
                  <c:v>99.638571453352284</c:v>
                </c:pt>
                <c:pt idx="181">
                  <c:v>99.638571453352284</c:v>
                </c:pt>
                <c:pt idx="182">
                  <c:v>99.638571453352284</c:v>
                </c:pt>
                <c:pt idx="183">
                  <c:v>99.638571453352284</c:v>
                </c:pt>
                <c:pt idx="184">
                  <c:v>99.638571453352284</c:v>
                </c:pt>
                <c:pt idx="185">
                  <c:v>99.638571453352284</c:v>
                </c:pt>
                <c:pt idx="186">
                  <c:v>99.638571453352284</c:v>
                </c:pt>
                <c:pt idx="187">
                  <c:v>99.638571453352284</c:v>
                </c:pt>
                <c:pt idx="188">
                  <c:v>99.638571453352284</c:v>
                </c:pt>
                <c:pt idx="189">
                  <c:v>99.638571453352284</c:v>
                </c:pt>
                <c:pt idx="190">
                  <c:v>99.638571453352284</c:v>
                </c:pt>
                <c:pt idx="191">
                  <c:v>99.638571453352284</c:v>
                </c:pt>
                <c:pt idx="192">
                  <c:v>99.638571453352284</c:v>
                </c:pt>
                <c:pt idx="193">
                  <c:v>99.638571453352284</c:v>
                </c:pt>
                <c:pt idx="194">
                  <c:v>99.638571453352284</c:v>
                </c:pt>
                <c:pt idx="195">
                  <c:v>99.638571453352284</c:v>
                </c:pt>
                <c:pt idx="196">
                  <c:v>99.638571453352284</c:v>
                </c:pt>
                <c:pt idx="197">
                  <c:v>99.638571453352284</c:v>
                </c:pt>
                <c:pt idx="198">
                  <c:v>99.638571453352284</c:v>
                </c:pt>
                <c:pt idx="199">
                  <c:v>99.638571453352284</c:v>
                </c:pt>
                <c:pt idx="200">
                  <c:v>99.638571453352284</c:v>
                </c:pt>
                <c:pt idx="201">
                  <c:v>99.638571453352284</c:v>
                </c:pt>
                <c:pt idx="202">
                  <c:v>99.638571453352284</c:v>
                </c:pt>
                <c:pt idx="203">
                  <c:v>99.638571453352284</c:v>
                </c:pt>
                <c:pt idx="204">
                  <c:v>99.638571453352284</c:v>
                </c:pt>
                <c:pt idx="205">
                  <c:v>99.638571453352284</c:v>
                </c:pt>
                <c:pt idx="206">
                  <c:v>99.638571453352284</c:v>
                </c:pt>
                <c:pt idx="207">
                  <c:v>99.638571453352284</c:v>
                </c:pt>
                <c:pt idx="208">
                  <c:v>99.638571453352284</c:v>
                </c:pt>
                <c:pt idx="209">
                  <c:v>99.638571453352284</c:v>
                </c:pt>
                <c:pt idx="210">
                  <c:v>99.638571453352284</c:v>
                </c:pt>
                <c:pt idx="211">
                  <c:v>99.638571453352284</c:v>
                </c:pt>
                <c:pt idx="212">
                  <c:v>99.638571453352284</c:v>
                </c:pt>
                <c:pt idx="213">
                  <c:v>99.638571453352284</c:v>
                </c:pt>
                <c:pt idx="214">
                  <c:v>99.638571453352284</c:v>
                </c:pt>
                <c:pt idx="215">
                  <c:v>99.638571453352284</c:v>
                </c:pt>
                <c:pt idx="216">
                  <c:v>99.638571453352284</c:v>
                </c:pt>
                <c:pt idx="217">
                  <c:v>99.638571453352284</c:v>
                </c:pt>
                <c:pt idx="218">
                  <c:v>99.638571453352284</c:v>
                </c:pt>
                <c:pt idx="219">
                  <c:v>99.638571453352284</c:v>
                </c:pt>
                <c:pt idx="220">
                  <c:v>99.638571453352284</c:v>
                </c:pt>
                <c:pt idx="221">
                  <c:v>99.638571453352284</c:v>
                </c:pt>
                <c:pt idx="222">
                  <c:v>99.638571453352284</c:v>
                </c:pt>
                <c:pt idx="223">
                  <c:v>99.638571453352284</c:v>
                </c:pt>
                <c:pt idx="224">
                  <c:v>99.638571453352284</c:v>
                </c:pt>
                <c:pt idx="225">
                  <c:v>99.638571453352284</c:v>
                </c:pt>
                <c:pt idx="226">
                  <c:v>99.638571453352284</c:v>
                </c:pt>
                <c:pt idx="227">
                  <c:v>99.638571453352284</c:v>
                </c:pt>
                <c:pt idx="228">
                  <c:v>99.638571453352284</c:v>
                </c:pt>
                <c:pt idx="229">
                  <c:v>99.638571453352284</c:v>
                </c:pt>
                <c:pt idx="230">
                  <c:v>99.638571453352284</c:v>
                </c:pt>
                <c:pt idx="231">
                  <c:v>99.638571453352284</c:v>
                </c:pt>
                <c:pt idx="232">
                  <c:v>99.638571453352284</c:v>
                </c:pt>
                <c:pt idx="233">
                  <c:v>99.638571453352284</c:v>
                </c:pt>
                <c:pt idx="234">
                  <c:v>99.638571453352284</c:v>
                </c:pt>
                <c:pt idx="235">
                  <c:v>99.638571453352284</c:v>
                </c:pt>
                <c:pt idx="236">
                  <c:v>99.638571453352284</c:v>
                </c:pt>
                <c:pt idx="237">
                  <c:v>99.638571453352284</c:v>
                </c:pt>
                <c:pt idx="238">
                  <c:v>99.638571453352284</c:v>
                </c:pt>
                <c:pt idx="239">
                  <c:v>99.638571453352284</c:v>
                </c:pt>
                <c:pt idx="240">
                  <c:v>99.638571453352284</c:v>
                </c:pt>
                <c:pt idx="241">
                  <c:v>99.638571453352284</c:v>
                </c:pt>
                <c:pt idx="242">
                  <c:v>99.638571453352284</c:v>
                </c:pt>
                <c:pt idx="243">
                  <c:v>99.638571453352284</c:v>
                </c:pt>
                <c:pt idx="244">
                  <c:v>99.638571453352284</c:v>
                </c:pt>
                <c:pt idx="245">
                  <c:v>99.638571453352284</c:v>
                </c:pt>
                <c:pt idx="246">
                  <c:v>99.638571453352284</c:v>
                </c:pt>
                <c:pt idx="247">
                  <c:v>99.638571453352284</c:v>
                </c:pt>
                <c:pt idx="248">
                  <c:v>99.638571453352284</c:v>
                </c:pt>
                <c:pt idx="249">
                  <c:v>99.638571453352284</c:v>
                </c:pt>
                <c:pt idx="250">
                  <c:v>99.638571453352284</c:v>
                </c:pt>
                <c:pt idx="251">
                  <c:v>99.638571453352284</c:v>
                </c:pt>
                <c:pt idx="252">
                  <c:v>99.638571453352284</c:v>
                </c:pt>
                <c:pt idx="253">
                  <c:v>99.638571453352284</c:v>
                </c:pt>
                <c:pt idx="254">
                  <c:v>99.638571453352284</c:v>
                </c:pt>
                <c:pt idx="255">
                  <c:v>99.638571453352284</c:v>
                </c:pt>
                <c:pt idx="256">
                  <c:v>99.638571453352284</c:v>
                </c:pt>
                <c:pt idx="257">
                  <c:v>99.638571453352284</c:v>
                </c:pt>
                <c:pt idx="258">
                  <c:v>99.638571453352284</c:v>
                </c:pt>
                <c:pt idx="259">
                  <c:v>99.638571453352284</c:v>
                </c:pt>
                <c:pt idx="260">
                  <c:v>99.638571453352284</c:v>
                </c:pt>
                <c:pt idx="261">
                  <c:v>99.638571453352284</c:v>
                </c:pt>
                <c:pt idx="262">
                  <c:v>99.638571453352284</c:v>
                </c:pt>
                <c:pt idx="263">
                  <c:v>99.638571453352284</c:v>
                </c:pt>
                <c:pt idx="264">
                  <c:v>99.638571453352284</c:v>
                </c:pt>
                <c:pt idx="265">
                  <c:v>99.638571453352284</c:v>
                </c:pt>
                <c:pt idx="266">
                  <c:v>99.638571453352284</c:v>
                </c:pt>
                <c:pt idx="267">
                  <c:v>99.638571453352284</c:v>
                </c:pt>
                <c:pt idx="268">
                  <c:v>99.638571453352284</c:v>
                </c:pt>
                <c:pt idx="269">
                  <c:v>99.638571453352284</c:v>
                </c:pt>
                <c:pt idx="270">
                  <c:v>99.638571453352284</c:v>
                </c:pt>
                <c:pt idx="271">
                  <c:v>99.638571453352284</c:v>
                </c:pt>
                <c:pt idx="272">
                  <c:v>99.638571453352284</c:v>
                </c:pt>
                <c:pt idx="273">
                  <c:v>99.638571453352284</c:v>
                </c:pt>
                <c:pt idx="274">
                  <c:v>99.638571453352284</c:v>
                </c:pt>
                <c:pt idx="275">
                  <c:v>99.638571453352284</c:v>
                </c:pt>
                <c:pt idx="276">
                  <c:v>99.638571453352284</c:v>
                </c:pt>
                <c:pt idx="277">
                  <c:v>99.638571453352284</c:v>
                </c:pt>
                <c:pt idx="278">
                  <c:v>99.638571453352284</c:v>
                </c:pt>
                <c:pt idx="279">
                  <c:v>99.638571453352284</c:v>
                </c:pt>
                <c:pt idx="280">
                  <c:v>99.638571453352284</c:v>
                </c:pt>
                <c:pt idx="281">
                  <c:v>99.638571453352284</c:v>
                </c:pt>
                <c:pt idx="282">
                  <c:v>99.638571453352284</c:v>
                </c:pt>
                <c:pt idx="283">
                  <c:v>99.638571453352284</c:v>
                </c:pt>
                <c:pt idx="284">
                  <c:v>99.638571453352284</c:v>
                </c:pt>
                <c:pt idx="285">
                  <c:v>99.638571453352284</c:v>
                </c:pt>
                <c:pt idx="286">
                  <c:v>99.638571453352284</c:v>
                </c:pt>
                <c:pt idx="287">
                  <c:v>99.638571453352284</c:v>
                </c:pt>
                <c:pt idx="288">
                  <c:v>104.03954673445668</c:v>
                </c:pt>
                <c:pt idx="289">
                  <c:v>103.90949730103861</c:v>
                </c:pt>
                <c:pt idx="290">
                  <c:v>103.77961042941232</c:v>
                </c:pt>
                <c:pt idx="291">
                  <c:v>108.58775368774243</c:v>
                </c:pt>
                <c:pt idx="292">
                  <c:v>108.45201899563276</c:v>
                </c:pt>
                <c:pt idx="293">
                  <c:v>108.31645397188822</c:v>
                </c:pt>
                <c:pt idx="294">
                  <c:v>108.31645397188822</c:v>
                </c:pt>
                <c:pt idx="295">
                  <c:v>108.31645397188822</c:v>
                </c:pt>
                <c:pt idx="296">
                  <c:v>108.31645397188822</c:v>
                </c:pt>
                <c:pt idx="297">
                  <c:v>108.31645397188822</c:v>
                </c:pt>
                <c:pt idx="298">
                  <c:v>108.31645397188822</c:v>
                </c:pt>
                <c:pt idx="299">
                  <c:v>108.33706379843979</c:v>
                </c:pt>
                <c:pt idx="300">
                  <c:v>105.12153369656778</c:v>
                </c:pt>
                <c:pt idx="301">
                  <c:v>110.48802812955626</c:v>
                </c:pt>
                <c:pt idx="302">
                  <c:v>110.48802812955626</c:v>
                </c:pt>
                <c:pt idx="303">
                  <c:v>110.34991809439431</c:v>
                </c:pt>
                <c:pt idx="304">
                  <c:v>111.11163030916424</c:v>
                </c:pt>
                <c:pt idx="305">
                  <c:v>112.07474156470688</c:v>
                </c:pt>
                <c:pt idx="306">
                  <c:v>112.07474156470688</c:v>
                </c:pt>
                <c:pt idx="307">
                  <c:v>111.38016394899084</c:v>
                </c:pt>
                <c:pt idx="308">
                  <c:v>111.2409387440546</c:v>
                </c:pt>
                <c:pt idx="309">
                  <c:v>111.10188757062454</c:v>
                </c:pt>
                <c:pt idx="310">
                  <c:v>111.10188757062454</c:v>
                </c:pt>
                <c:pt idx="311">
                  <c:v>115.10713366090687</c:v>
                </c:pt>
                <c:pt idx="312">
                  <c:v>114.61683320456714</c:v>
                </c:pt>
                <c:pt idx="313">
                  <c:v>114.83800118927923</c:v>
                </c:pt>
                <c:pt idx="314">
                  <c:v>115.0752603921582</c:v>
                </c:pt>
                <c:pt idx="315">
                  <c:v>114.89992415334093</c:v>
                </c:pt>
                <c:pt idx="316">
                  <c:v>114.89992415334093</c:v>
                </c:pt>
                <c:pt idx="317">
                  <c:v>114.75629924814926</c:v>
                </c:pt>
                <c:pt idx="318">
                  <c:v>114.75629924814926</c:v>
                </c:pt>
                <c:pt idx="319">
                  <c:v>114.75629924814926</c:v>
                </c:pt>
                <c:pt idx="320">
                  <c:v>114.75629924814926</c:v>
                </c:pt>
                <c:pt idx="321">
                  <c:v>114.75629924814926</c:v>
                </c:pt>
                <c:pt idx="322">
                  <c:v>114.75629924814926</c:v>
                </c:pt>
                <c:pt idx="323">
                  <c:v>114.75629924814926</c:v>
                </c:pt>
                <c:pt idx="324">
                  <c:v>114.75629924814926</c:v>
                </c:pt>
                <c:pt idx="325">
                  <c:v>114.75629924814926</c:v>
                </c:pt>
                <c:pt idx="326">
                  <c:v>114.75629924814926</c:v>
                </c:pt>
                <c:pt idx="327">
                  <c:v>114.75629924814926</c:v>
                </c:pt>
                <c:pt idx="328">
                  <c:v>114.75629924814926</c:v>
                </c:pt>
                <c:pt idx="329">
                  <c:v>114.75629924814926</c:v>
                </c:pt>
                <c:pt idx="330">
                  <c:v>114.75629924814926</c:v>
                </c:pt>
                <c:pt idx="331">
                  <c:v>114.75629924814926</c:v>
                </c:pt>
                <c:pt idx="332">
                  <c:v>114.75629924814926</c:v>
                </c:pt>
                <c:pt idx="333">
                  <c:v>114.75629924814926</c:v>
                </c:pt>
                <c:pt idx="334">
                  <c:v>114.75629924814926</c:v>
                </c:pt>
                <c:pt idx="335">
                  <c:v>114.75629924814926</c:v>
                </c:pt>
                <c:pt idx="336">
                  <c:v>114.75629924814926</c:v>
                </c:pt>
                <c:pt idx="337">
                  <c:v>114.75629924814926</c:v>
                </c:pt>
                <c:pt idx="338">
                  <c:v>114.75629924814926</c:v>
                </c:pt>
                <c:pt idx="339">
                  <c:v>114.75629924814926</c:v>
                </c:pt>
                <c:pt idx="340">
                  <c:v>114.75629924814926</c:v>
                </c:pt>
                <c:pt idx="341">
                  <c:v>114.75629924814926</c:v>
                </c:pt>
                <c:pt idx="342">
                  <c:v>114.75629924814926</c:v>
                </c:pt>
                <c:pt idx="343">
                  <c:v>114.75629924814926</c:v>
                </c:pt>
                <c:pt idx="344">
                  <c:v>114.75629924814926</c:v>
                </c:pt>
                <c:pt idx="345">
                  <c:v>114.75629924814926</c:v>
                </c:pt>
                <c:pt idx="346">
                  <c:v>114.75629924814926</c:v>
                </c:pt>
                <c:pt idx="347">
                  <c:v>114.75629924814926</c:v>
                </c:pt>
                <c:pt idx="348">
                  <c:v>114.75629924814926</c:v>
                </c:pt>
                <c:pt idx="349">
                  <c:v>114.75629924814926</c:v>
                </c:pt>
                <c:pt idx="350">
                  <c:v>114.75629924814926</c:v>
                </c:pt>
                <c:pt idx="351">
                  <c:v>114.75629924814926</c:v>
                </c:pt>
                <c:pt idx="352">
                  <c:v>114.75629924814926</c:v>
                </c:pt>
                <c:pt idx="353">
                  <c:v>114.75629924814926</c:v>
                </c:pt>
                <c:pt idx="354">
                  <c:v>114.75629924814926</c:v>
                </c:pt>
                <c:pt idx="355">
                  <c:v>114.75629924814926</c:v>
                </c:pt>
                <c:pt idx="356">
                  <c:v>114.75629924814926</c:v>
                </c:pt>
                <c:pt idx="357">
                  <c:v>114.75629924814926</c:v>
                </c:pt>
                <c:pt idx="358">
                  <c:v>114.75629924814926</c:v>
                </c:pt>
                <c:pt idx="359">
                  <c:v>114.75629924814926</c:v>
                </c:pt>
                <c:pt idx="360">
                  <c:v>114.75629924814926</c:v>
                </c:pt>
                <c:pt idx="361">
                  <c:v>114.75629924814926</c:v>
                </c:pt>
                <c:pt idx="362">
                  <c:v>114.75629924814926</c:v>
                </c:pt>
                <c:pt idx="363">
                  <c:v>114.75629924814926</c:v>
                </c:pt>
                <c:pt idx="364">
                  <c:v>114.75629924814926</c:v>
                </c:pt>
                <c:pt idx="365">
                  <c:v>114.75629924814926</c:v>
                </c:pt>
                <c:pt idx="366">
                  <c:v>114.75629924814926</c:v>
                </c:pt>
                <c:pt idx="367">
                  <c:v>114.75629924814926</c:v>
                </c:pt>
                <c:pt idx="368">
                  <c:v>114.75629924814926</c:v>
                </c:pt>
                <c:pt idx="369">
                  <c:v>114.75629924814926</c:v>
                </c:pt>
                <c:pt idx="370">
                  <c:v>114.75629924814926</c:v>
                </c:pt>
                <c:pt idx="371">
                  <c:v>114.75629924814926</c:v>
                </c:pt>
                <c:pt idx="372">
                  <c:v>114.75629924814926</c:v>
                </c:pt>
                <c:pt idx="373">
                  <c:v>114.75629924814926</c:v>
                </c:pt>
                <c:pt idx="374">
                  <c:v>114.75629924814926</c:v>
                </c:pt>
                <c:pt idx="375">
                  <c:v>114.75629924814926</c:v>
                </c:pt>
                <c:pt idx="376">
                  <c:v>114.75629924814926</c:v>
                </c:pt>
                <c:pt idx="377">
                  <c:v>114.75629924814926</c:v>
                </c:pt>
                <c:pt idx="378">
                  <c:v>114.75629924814926</c:v>
                </c:pt>
                <c:pt idx="379">
                  <c:v>114.75629924814926</c:v>
                </c:pt>
                <c:pt idx="380">
                  <c:v>114.75629924814926</c:v>
                </c:pt>
                <c:pt idx="381">
                  <c:v>114.75629924814926</c:v>
                </c:pt>
                <c:pt idx="382">
                  <c:v>114.75629924814926</c:v>
                </c:pt>
                <c:pt idx="383">
                  <c:v>114.75629924814926</c:v>
                </c:pt>
                <c:pt idx="384">
                  <c:v>114.75629924814926</c:v>
                </c:pt>
                <c:pt idx="385">
                  <c:v>114.75629924814926</c:v>
                </c:pt>
                <c:pt idx="386">
                  <c:v>114.75629924814926</c:v>
                </c:pt>
                <c:pt idx="387">
                  <c:v>114.75629924814926</c:v>
                </c:pt>
                <c:pt idx="388">
                  <c:v>114.75629924814926</c:v>
                </c:pt>
                <c:pt idx="389">
                  <c:v>114.75629924814926</c:v>
                </c:pt>
                <c:pt idx="390">
                  <c:v>114.75629924814926</c:v>
                </c:pt>
                <c:pt idx="391">
                  <c:v>114.75629924814926</c:v>
                </c:pt>
                <c:pt idx="392">
                  <c:v>114.75629924814926</c:v>
                </c:pt>
                <c:pt idx="393">
                  <c:v>114.75629924814926</c:v>
                </c:pt>
                <c:pt idx="394">
                  <c:v>114.75629924814926</c:v>
                </c:pt>
                <c:pt idx="395">
                  <c:v>114.75629924814926</c:v>
                </c:pt>
                <c:pt idx="396">
                  <c:v>114.75629924814926</c:v>
                </c:pt>
                <c:pt idx="397">
                  <c:v>114.75629924814926</c:v>
                </c:pt>
                <c:pt idx="398">
                  <c:v>114.75629924814926</c:v>
                </c:pt>
                <c:pt idx="399">
                  <c:v>114.75629924814926</c:v>
                </c:pt>
                <c:pt idx="400">
                  <c:v>114.75629924814926</c:v>
                </c:pt>
                <c:pt idx="401">
                  <c:v>114.75629924814926</c:v>
                </c:pt>
                <c:pt idx="402">
                  <c:v>114.75629924814926</c:v>
                </c:pt>
                <c:pt idx="403">
                  <c:v>114.75629924814926</c:v>
                </c:pt>
                <c:pt idx="404">
                  <c:v>114.75629924814926</c:v>
                </c:pt>
                <c:pt idx="405">
                  <c:v>114.75629924814926</c:v>
                </c:pt>
                <c:pt idx="406">
                  <c:v>114.75629924814926</c:v>
                </c:pt>
                <c:pt idx="407">
                  <c:v>114.75629924814926</c:v>
                </c:pt>
                <c:pt idx="408">
                  <c:v>114.75629924814926</c:v>
                </c:pt>
                <c:pt idx="409">
                  <c:v>114.75629924814926</c:v>
                </c:pt>
                <c:pt idx="410">
                  <c:v>114.75629924814926</c:v>
                </c:pt>
                <c:pt idx="411">
                  <c:v>114.75629924814926</c:v>
                </c:pt>
                <c:pt idx="412">
                  <c:v>114.75629924814926</c:v>
                </c:pt>
                <c:pt idx="413">
                  <c:v>114.75629924814926</c:v>
                </c:pt>
                <c:pt idx="414">
                  <c:v>114.75629924814926</c:v>
                </c:pt>
                <c:pt idx="415">
                  <c:v>114.75629924814926</c:v>
                </c:pt>
                <c:pt idx="416">
                  <c:v>114.75629924814926</c:v>
                </c:pt>
                <c:pt idx="417">
                  <c:v>114.75629924814926</c:v>
                </c:pt>
                <c:pt idx="418">
                  <c:v>114.75629924814926</c:v>
                </c:pt>
                <c:pt idx="419">
                  <c:v>114.75629924814926</c:v>
                </c:pt>
                <c:pt idx="420">
                  <c:v>114.75629924814926</c:v>
                </c:pt>
                <c:pt idx="421">
                  <c:v>114.75629924814926</c:v>
                </c:pt>
                <c:pt idx="422">
                  <c:v>114.75629924814926</c:v>
                </c:pt>
                <c:pt idx="423">
                  <c:v>114.75629924814926</c:v>
                </c:pt>
                <c:pt idx="424">
                  <c:v>114.75629924814926</c:v>
                </c:pt>
                <c:pt idx="425">
                  <c:v>114.75629924814926</c:v>
                </c:pt>
                <c:pt idx="426">
                  <c:v>114.75629924814926</c:v>
                </c:pt>
                <c:pt idx="427">
                  <c:v>114.75629924814926</c:v>
                </c:pt>
                <c:pt idx="428">
                  <c:v>114.75629924814926</c:v>
                </c:pt>
                <c:pt idx="429">
                  <c:v>114.75629924814926</c:v>
                </c:pt>
                <c:pt idx="430">
                  <c:v>114.75629924814926</c:v>
                </c:pt>
                <c:pt idx="431">
                  <c:v>114.75629924814926</c:v>
                </c:pt>
                <c:pt idx="432">
                  <c:v>114.75629924814926</c:v>
                </c:pt>
                <c:pt idx="433">
                  <c:v>114.75629924814926</c:v>
                </c:pt>
                <c:pt idx="434">
                  <c:v>114.75629924814926</c:v>
                </c:pt>
                <c:pt idx="435">
                  <c:v>114.75629924814926</c:v>
                </c:pt>
                <c:pt idx="436">
                  <c:v>114.75629924814926</c:v>
                </c:pt>
                <c:pt idx="437">
                  <c:v>114.75629924814926</c:v>
                </c:pt>
                <c:pt idx="438">
                  <c:v>114.75629924814926</c:v>
                </c:pt>
                <c:pt idx="439">
                  <c:v>114.75629924814926</c:v>
                </c:pt>
                <c:pt idx="440">
                  <c:v>114.75629924814926</c:v>
                </c:pt>
                <c:pt idx="441">
                  <c:v>114.75629924814926</c:v>
                </c:pt>
                <c:pt idx="442">
                  <c:v>114.75629924814926</c:v>
                </c:pt>
                <c:pt idx="443">
                  <c:v>114.75629924814926</c:v>
                </c:pt>
                <c:pt idx="444">
                  <c:v>114.75629924814926</c:v>
                </c:pt>
                <c:pt idx="445">
                  <c:v>114.75629924814926</c:v>
                </c:pt>
                <c:pt idx="446">
                  <c:v>114.75629924814926</c:v>
                </c:pt>
                <c:pt idx="447">
                  <c:v>114.75629924814926</c:v>
                </c:pt>
                <c:pt idx="448">
                  <c:v>114.75629924814926</c:v>
                </c:pt>
                <c:pt idx="449">
                  <c:v>114.75629924814926</c:v>
                </c:pt>
                <c:pt idx="450">
                  <c:v>114.75629924814926</c:v>
                </c:pt>
                <c:pt idx="451">
                  <c:v>114.75629924814926</c:v>
                </c:pt>
                <c:pt idx="452">
                  <c:v>114.75629924814926</c:v>
                </c:pt>
                <c:pt idx="453">
                  <c:v>114.75629924814926</c:v>
                </c:pt>
                <c:pt idx="454">
                  <c:v>114.75629924814926</c:v>
                </c:pt>
                <c:pt idx="455">
                  <c:v>114.75629924814926</c:v>
                </c:pt>
                <c:pt idx="456">
                  <c:v>114.75629924814926</c:v>
                </c:pt>
                <c:pt idx="457">
                  <c:v>114.75629924814926</c:v>
                </c:pt>
                <c:pt idx="458">
                  <c:v>114.75629924814926</c:v>
                </c:pt>
                <c:pt idx="459">
                  <c:v>114.75629924814926</c:v>
                </c:pt>
                <c:pt idx="460">
                  <c:v>114.75629924814926</c:v>
                </c:pt>
                <c:pt idx="461">
                  <c:v>114.75629924814926</c:v>
                </c:pt>
                <c:pt idx="462">
                  <c:v>114.75629924814926</c:v>
                </c:pt>
                <c:pt idx="463">
                  <c:v>114.75629924814926</c:v>
                </c:pt>
                <c:pt idx="464">
                  <c:v>114.75629924814926</c:v>
                </c:pt>
                <c:pt idx="465">
                  <c:v>114.75629924814926</c:v>
                </c:pt>
                <c:pt idx="466">
                  <c:v>114.75629924814926</c:v>
                </c:pt>
                <c:pt idx="467">
                  <c:v>114.75629924814926</c:v>
                </c:pt>
                <c:pt idx="468">
                  <c:v>114.75629924814926</c:v>
                </c:pt>
                <c:pt idx="469">
                  <c:v>114.75629924814926</c:v>
                </c:pt>
                <c:pt idx="470">
                  <c:v>114.75629924814926</c:v>
                </c:pt>
                <c:pt idx="471">
                  <c:v>114.75629924814926</c:v>
                </c:pt>
                <c:pt idx="472">
                  <c:v>114.75629924814926</c:v>
                </c:pt>
                <c:pt idx="473">
                  <c:v>114.75629924814926</c:v>
                </c:pt>
                <c:pt idx="474">
                  <c:v>114.75629924814926</c:v>
                </c:pt>
                <c:pt idx="475">
                  <c:v>114.75629924814926</c:v>
                </c:pt>
                <c:pt idx="476">
                  <c:v>114.75629924814926</c:v>
                </c:pt>
                <c:pt idx="477">
                  <c:v>114.75629924814926</c:v>
                </c:pt>
                <c:pt idx="478">
                  <c:v>114.75629924814926</c:v>
                </c:pt>
                <c:pt idx="479">
                  <c:v>114.75629924814926</c:v>
                </c:pt>
                <c:pt idx="480">
                  <c:v>114.75629924814926</c:v>
                </c:pt>
                <c:pt idx="481">
                  <c:v>114.75629924814926</c:v>
                </c:pt>
                <c:pt idx="482">
                  <c:v>114.75629924814926</c:v>
                </c:pt>
                <c:pt idx="483">
                  <c:v>114.75629924814926</c:v>
                </c:pt>
                <c:pt idx="484">
                  <c:v>114.75629924814926</c:v>
                </c:pt>
                <c:pt idx="485">
                  <c:v>114.75629924814926</c:v>
                </c:pt>
                <c:pt idx="486">
                  <c:v>114.75629924814926</c:v>
                </c:pt>
                <c:pt idx="487">
                  <c:v>114.75629924814926</c:v>
                </c:pt>
                <c:pt idx="488">
                  <c:v>114.75629924814926</c:v>
                </c:pt>
                <c:pt idx="489">
                  <c:v>114.75629924814926</c:v>
                </c:pt>
                <c:pt idx="490">
                  <c:v>114.75629924814926</c:v>
                </c:pt>
                <c:pt idx="491">
                  <c:v>114.75629924814926</c:v>
                </c:pt>
                <c:pt idx="492">
                  <c:v>114.75629924814926</c:v>
                </c:pt>
                <c:pt idx="493">
                  <c:v>114.75629924814926</c:v>
                </c:pt>
                <c:pt idx="494">
                  <c:v>114.75629924814926</c:v>
                </c:pt>
                <c:pt idx="495">
                  <c:v>114.75629924814926</c:v>
                </c:pt>
                <c:pt idx="496">
                  <c:v>114.75629924814926</c:v>
                </c:pt>
                <c:pt idx="497">
                  <c:v>114.75629924814926</c:v>
                </c:pt>
                <c:pt idx="498">
                  <c:v>114.75629924814926</c:v>
                </c:pt>
                <c:pt idx="499">
                  <c:v>114.75629924814926</c:v>
                </c:pt>
                <c:pt idx="500">
                  <c:v>114.75629924814926</c:v>
                </c:pt>
                <c:pt idx="501">
                  <c:v>114.75629924814926</c:v>
                </c:pt>
                <c:pt idx="502">
                  <c:v>114.75629924814926</c:v>
                </c:pt>
                <c:pt idx="503">
                  <c:v>114.75629924814926</c:v>
                </c:pt>
                <c:pt idx="504">
                  <c:v>114.8573968128958</c:v>
                </c:pt>
                <c:pt idx="505">
                  <c:v>110.45046801115781</c:v>
                </c:pt>
                <c:pt idx="506">
                  <c:v>109.04863641221662</c:v>
                </c:pt>
                <c:pt idx="507">
                  <c:v>109.94108450296328</c:v>
                </c:pt>
                <c:pt idx="508">
                  <c:v>108.74517129663512</c:v>
                </c:pt>
                <c:pt idx="509">
                  <c:v>108.74517129663512</c:v>
                </c:pt>
                <c:pt idx="510">
                  <c:v>108.60923983251433</c:v>
                </c:pt>
                <c:pt idx="511">
                  <c:v>108.60923983251433</c:v>
                </c:pt>
                <c:pt idx="512">
                  <c:v>108.60923983251433</c:v>
                </c:pt>
                <c:pt idx="513">
                  <c:v>108.60923983251433</c:v>
                </c:pt>
                <c:pt idx="514">
                  <c:v>108.60923983251433</c:v>
                </c:pt>
                <c:pt idx="515">
                  <c:v>108.60923983251433</c:v>
                </c:pt>
                <c:pt idx="516">
                  <c:v>108.60923983251433</c:v>
                </c:pt>
                <c:pt idx="517">
                  <c:v>108.60923983251433</c:v>
                </c:pt>
                <c:pt idx="518">
                  <c:v>108.60923983251433</c:v>
                </c:pt>
                <c:pt idx="519">
                  <c:v>108.60923983251433</c:v>
                </c:pt>
                <c:pt idx="520">
                  <c:v>108.60923983251433</c:v>
                </c:pt>
                <c:pt idx="521">
                  <c:v>108.60923983251433</c:v>
                </c:pt>
                <c:pt idx="522">
                  <c:v>108.60923983251433</c:v>
                </c:pt>
                <c:pt idx="523">
                  <c:v>108.60923983251433</c:v>
                </c:pt>
                <c:pt idx="524">
                  <c:v>108.60923983251433</c:v>
                </c:pt>
                <c:pt idx="525">
                  <c:v>108.60923983251433</c:v>
                </c:pt>
                <c:pt idx="526">
                  <c:v>108.60923983251433</c:v>
                </c:pt>
                <c:pt idx="527">
                  <c:v>108.60923983251433</c:v>
                </c:pt>
                <c:pt idx="528">
                  <c:v>108.60923983251433</c:v>
                </c:pt>
                <c:pt idx="529">
                  <c:v>108.60923983251433</c:v>
                </c:pt>
                <c:pt idx="530">
                  <c:v>108.60923983251433</c:v>
                </c:pt>
                <c:pt idx="531">
                  <c:v>108.60923983251433</c:v>
                </c:pt>
                <c:pt idx="532">
                  <c:v>108.60923983251433</c:v>
                </c:pt>
                <c:pt idx="533">
                  <c:v>108.60923983251433</c:v>
                </c:pt>
                <c:pt idx="534">
                  <c:v>108.60923983251433</c:v>
                </c:pt>
                <c:pt idx="535">
                  <c:v>108.60923983251433</c:v>
                </c:pt>
                <c:pt idx="536">
                  <c:v>108.60923983251433</c:v>
                </c:pt>
                <c:pt idx="537">
                  <c:v>108.60923983251433</c:v>
                </c:pt>
                <c:pt idx="538">
                  <c:v>108.60923983251433</c:v>
                </c:pt>
                <c:pt idx="539">
                  <c:v>108.60923983251433</c:v>
                </c:pt>
                <c:pt idx="540">
                  <c:v>108.60923983251433</c:v>
                </c:pt>
                <c:pt idx="541">
                  <c:v>108.60923983251433</c:v>
                </c:pt>
                <c:pt idx="542">
                  <c:v>108.60923983251433</c:v>
                </c:pt>
                <c:pt idx="543">
                  <c:v>108.60923983251433</c:v>
                </c:pt>
                <c:pt idx="544">
                  <c:v>108.60923983251433</c:v>
                </c:pt>
                <c:pt idx="545">
                  <c:v>108.60923983251433</c:v>
                </c:pt>
                <c:pt idx="546">
                  <c:v>108.60923983251433</c:v>
                </c:pt>
                <c:pt idx="547">
                  <c:v>108.60923983251433</c:v>
                </c:pt>
                <c:pt idx="548">
                  <c:v>108.60923983251433</c:v>
                </c:pt>
                <c:pt idx="549">
                  <c:v>108.60923983251433</c:v>
                </c:pt>
                <c:pt idx="550">
                  <c:v>108.60923983251433</c:v>
                </c:pt>
                <c:pt idx="551">
                  <c:v>108.60923983251433</c:v>
                </c:pt>
                <c:pt idx="552">
                  <c:v>108.60923983251433</c:v>
                </c:pt>
                <c:pt idx="553">
                  <c:v>108.60923983251433</c:v>
                </c:pt>
                <c:pt idx="554">
                  <c:v>108.60923983251433</c:v>
                </c:pt>
                <c:pt idx="555">
                  <c:v>108.60923983251433</c:v>
                </c:pt>
                <c:pt idx="556">
                  <c:v>108.60923983251433</c:v>
                </c:pt>
                <c:pt idx="557">
                  <c:v>108.60923983251433</c:v>
                </c:pt>
                <c:pt idx="558">
                  <c:v>108.60923983251433</c:v>
                </c:pt>
                <c:pt idx="559">
                  <c:v>108.60923983251433</c:v>
                </c:pt>
                <c:pt idx="560">
                  <c:v>108.60923983251433</c:v>
                </c:pt>
                <c:pt idx="561">
                  <c:v>108.60923983251433</c:v>
                </c:pt>
                <c:pt idx="562">
                  <c:v>108.60923983251433</c:v>
                </c:pt>
                <c:pt idx="563">
                  <c:v>108.60923983251433</c:v>
                </c:pt>
                <c:pt idx="564">
                  <c:v>108.60923983251433</c:v>
                </c:pt>
                <c:pt idx="565">
                  <c:v>107.92075166880883</c:v>
                </c:pt>
                <c:pt idx="566">
                  <c:v>113.45844950179274</c:v>
                </c:pt>
                <c:pt idx="567">
                  <c:v>113.45844950179274</c:v>
                </c:pt>
                <c:pt idx="568">
                  <c:v>113.31662643991551</c:v>
                </c:pt>
                <c:pt idx="569">
                  <c:v>113.31662643991551</c:v>
                </c:pt>
                <c:pt idx="570">
                  <c:v>113.31662643991551</c:v>
                </c:pt>
                <c:pt idx="571">
                  <c:v>113.31662643991551</c:v>
                </c:pt>
                <c:pt idx="572">
                  <c:v>113.31662643991551</c:v>
                </c:pt>
                <c:pt idx="573">
                  <c:v>113.31662643991551</c:v>
                </c:pt>
                <c:pt idx="574">
                  <c:v>113.31662643991551</c:v>
                </c:pt>
                <c:pt idx="575">
                  <c:v>113.31662643991551</c:v>
                </c:pt>
                <c:pt idx="576">
                  <c:v>113.31662643991551</c:v>
                </c:pt>
                <c:pt idx="577">
                  <c:v>113.31662643991551</c:v>
                </c:pt>
                <c:pt idx="578">
                  <c:v>113.31662643991551</c:v>
                </c:pt>
                <c:pt idx="579">
                  <c:v>113.31662643991551</c:v>
                </c:pt>
                <c:pt idx="580">
                  <c:v>113.31662643991551</c:v>
                </c:pt>
                <c:pt idx="581">
                  <c:v>113.31662643991551</c:v>
                </c:pt>
                <c:pt idx="582">
                  <c:v>113.31662643991551</c:v>
                </c:pt>
                <c:pt idx="583">
                  <c:v>113.31662643991551</c:v>
                </c:pt>
                <c:pt idx="584">
                  <c:v>113.31662643991551</c:v>
                </c:pt>
                <c:pt idx="585">
                  <c:v>113.31662643991551</c:v>
                </c:pt>
                <c:pt idx="586">
                  <c:v>113.31662643991551</c:v>
                </c:pt>
                <c:pt idx="587">
                  <c:v>113.31662643991551</c:v>
                </c:pt>
                <c:pt idx="588">
                  <c:v>113.31662643991551</c:v>
                </c:pt>
                <c:pt idx="589">
                  <c:v>113.31662643991551</c:v>
                </c:pt>
                <c:pt idx="590">
                  <c:v>113.31662643991551</c:v>
                </c:pt>
                <c:pt idx="591">
                  <c:v>113.31662643991551</c:v>
                </c:pt>
                <c:pt idx="592">
                  <c:v>113.31662643991551</c:v>
                </c:pt>
                <c:pt idx="593">
                  <c:v>113.31662643991551</c:v>
                </c:pt>
                <c:pt idx="594">
                  <c:v>113.31662643991551</c:v>
                </c:pt>
                <c:pt idx="595">
                  <c:v>113.31662643991551</c:v>
                </c:pt>
                <c:pt idx="596">
                  <c:v>113.31662643991551</c:v>
                </c:pt>
                <c:pt idx="597">
                  <c:v>113.31662643991551</c:v>
                </c:pt>
                <c:pt idx="598">
                  <c:v>113.31662643991551</c:v>
                </c:pt>
                <c:pt idx="599">
                  <c:v>113.31662643991551</c:v>
                </c:pt>
                <c:pt idx="600">
                  <c:v>113.31662643991551</c:v>
                </c:pt>
                <c:pt idx="601">
                  <c:v>113.31662643991551</c:v>
                </c:pt>
                <c:pt idx="602">
                  <c:v>113.31662643991551</c:v>
                </c:pt>
                <c:pt idx="603">
                  <c:v>113.31662643991551</c:v>
                </c:pt>
                <c:pt idx="604">
                  <c:v>113.31662643991551</c:v>
                </c:pt>
                <c:pt idx="605">
                  <c:v>113.31662643991551</c:v>
                </c:pt>
                <c:pt idx="606">
                  <c:v>113.31662643991551</c:v>
                </c:pt>
                <c:pt idx="607">
                  <c:v>113.31662643991551</c:v>
                </c:pt>
                <c:pt idx="608">
                  <c:v>113.31662643991551</c:v>
                </c:pt>
                <c:pt idx="609">
                  <c:v>114.83704879936997</c:v>
                </c:pt>
                <c:pt idx="610">
                  <c:v>114.69350248837075</c:v>
                </c:pt>
                <c:pt idx="611">
                  <c:v>117.67378952168615</c:v>
                </c:pt>
                <c:pt idx="612">
                  <c:v>117.52669728478403</c:v>
                </c:pt>
                <c:pt idx="613">
                  <c:v>117.37978891317806</c:v>
                </c:pt>
                <c:pt idx="614">
                  <c:v>117.70526814575175</c:v>
                </c:pt>
                <c:pt idx="615">
                  <c:v>117.55813656056957</c:v>
                </c:pt>
                <c:pt idx="616">
                  <c:v>117.41118888986885</c:v>
                </c:pt>
                <c:pt idx="617">
                  <c:v>117.41118888986885</c:v>
                </c:pt>
                <c:pt idx="618">
                  <c:v>117.41118888986885</c:v>
                </c:pt>
                <c:pt idx="619">
                  <c:v>117.41118888986885</c:v>
                </c:pt>
                <c:pt idx="620">
                  <c:v>117.41118888986885</c:v>
                </c:pt>
                <c:pt idx="621">
                  <c:v>117.41118888986885</c:v>
                </c:pt>
                <c:pt idx="622">
                  <c:v>117.41118888986885</c:v>
                </c:pt>
                <c:pt idx="623">
                  <c:v>117.41118888986885</c:v>
                </c:pt>
                <c:pt idx="624">
                  <c:v>117.41118888986885</c:v>
                </c:pt>
                <c:pt idx="625">
                  <c:v>117.41118888986885</c:v>
                </c:pt>
                <c:pt idx="626">
                  <c:v>117.41118888986885</c:v>
                </c:pt>
                <c:pt idx="627">
                  <c:v>117.41118888986885</c:v>
                </c:pt>
                <c:pt idx="628">
                  <c:v>117.41118888986885</c:v>
                </c:pt>
                <c:pt idx="629">
                  <c:v>117.41118888986885</c:v>
                </c:pt>
                <c:pt idx="630">
                  <c:v>117.41118888986885</c:v>
                </c:pt>
                <c:pt idx="631">
                  <c:v>117.41118888986885</c:v>
                </c:pt>
                <c:pt idx="632">
                  <c:v>117.41118888986885</c:v>
                </c:pt>
                <c:pt idx="633">
                  <c:v>117.41118888986885</c:v>
                </c:pt>
                <c:pt idx="634">
                  <c:v>117.41118888986885</c:v>
                </c:pt>
                <c:pt idx="635">
                  <c:v>117.41118888986885</c:v>
                </c:pt>
                <c:pt idx="636">
                  <c:v>117.41118888986885</c:v>
                </c:pt>
                <c:pt idx="637">
                  <c:v>117.41118888986885</c:v>
                </c:pt>
                <c:pt idx="638">
                  <c:v>117.41118888986885</c:v>
                </c:pt>
                <c:pt idx="639">
                  <c:v>117.41118888986885</c:v>
                </c:pt>
                <c:pt idx="640">
                  <c:v>117.41118888986885</c:v>
                </c:pt>
                <c:pt idx="641">
                  <c:v>117.41118888986885</c:v>
                </c:pt>
                <c:pt idx="642">
                  <c:v>117.41118888986885</c:v>
                </c:pt>
                <c:pt idx="643">
                  <c:v>117.41118888986885</c:v>
                </c:pt>
                <c:pt idx="644">
                  <c:v>117.41118888986885</c:v>
                </c:pt>
                <c:pt idx="645">
                  <c:v>117.41118888986885</c:v>
                </c:pt>
                <c:pt idx="646">
                  <c:v>117.41118888986885</c:v>
                </c:pt>
                <c:pt idx="647">
                  <c:v>117.41118888986885</c:v>
                </c:pt>
                <c:pt idx="648">
                  <c:v>117.41118888986885</c:v>
                </c:pt>
                <c:pt idx="649">
                  <c:v>117.41118888986885</c:v>
                </c:pt>
                <c:pt idx="650">
                  <c:v>117.41118888986885</c:v>
                </c:pt>
                <c:pt idx="651">
                  <c:v>117.41118888986885</c:v>
                </c:pt>
                <c:pt idx="652">
                  <c:v>117.41118888986885</c:v>
                </c:pt>
                <c:pt idx="653">
                  <c:v>117.41118888986885</c:v>
                </c:pt>
                <c:pt idx="654">
                  <c:v>117.41118888986885</c:v>
                </c:pt>
                <c:pt idx="655">
                  <c:v>117.41118888986885</c:v>
                </c:pt>
                <c:pt idx="656">
                  <c:v>117.41118888986885</c:v>
                </c:pt>
                <c:pt idx="657">
                  <c:v>117.41118888986885</c:v>
                </c:pt>
                <c:pt idx="658">
                  <c:v>117.41118888986885</c:v>
                </c:pt>
                <c:pt idx="659">
                  <c:v>117.41118888986885</c:v>
                </c:pt>
                <c:pt idx="660">
                  <c:v>117.41118888986885</c:v>
                </c:pt>
                <c:pt idx="661">
                  <c:v>117.41118888986885</c:v>
                </c:pt>
                <c:pt idx="662">
                  <c:v>117.41118888986885</c:v>
                </c:pt>
                <c:pt idx="663">
                  <c:v>117.41118888986885</c:v>
                </c:pt>
                <c:pt idx="664">
                  <c:v>117.41118888986885</c:v>
                </c:pt>
                <c:pt idx="665">
                  <c:v>117.41118888986885</c:v>
                </c:pt>
                <c:pt idx="666">
                  <c:v>117.41118888986885</c:v>
                </c:pt>
                <c:pt idx="667">
                  <c:v>117.41118888986885</c:v>
                </c:pt>
                <c:pt idx="668">
                  <c:v>117.41118888986885</c:v>
                </c:pt>
                <c:pt idx="669">
                  <c:v>117.41118888986885</c:v>
                </c:pt>
                <c:pt idx="670">
                  <c:v>117.41118888986885</c:v>
                </c:pt>
                <c:pt idx="671">
                  <c:v>117.41118888986885</c:v>
                </c:pt>
                <c:pt idx="672">
                  <c:v>117.41118888986885</c:v>
                </c:pt>
                <c:pt idx="673">
                  <c:v>117.41118888986885</c:v>
                </c:pt>
                <c:pt idx="674">
                  <c:v>117.41118888986885</c:v>
                </c:pt>
                <c:pt idx="675">
                  <c:v>117.41118888986885</c:v>
                </c:pt>
                <c:pt idx="676">
                  <c:v>117.41118888986885</c:v>
                </c:pt>
                <c:pt idx="677">
                  <c:v>117.41118888986885</c:v>
                </c:pt>
                <c:pt idx="678">
                  <c:v>117.41118888986885</c:v>
                </c:pt>
                <c:pt idx="679">
                  <c:v>117.41118888986885</c:v>
                </c:pt>
                <c:pt idx="680">
                  <c:v>117.41118888986885</c:v>
                </c:pt>
                <c:pt idx="681">
                  <c:v>117.41118888986885</c:v>
                </c:pt>
                <c:pt idx="682">
                  <c:v>117.41118888986885</c:v>
                </c:pt>
                <c:pt idx="683">
                  <c:v>117.41118888986885</c:v>
                </c:pt>
                <c:pt idx="684">
                  <c:v>117.41118888986885</c:v>
                </c:pt>
                <c:pt idx="685">
                  <c:v>117.41118888986885</c:v>
                </c:pt>
                <c:pt idx="686">
                  <c:v>117.41118888986885</c:v>
                </c:pt>
                <c:pt idx="687">
                  <c:v>117.41118888986885</c:v>
                </c:pt>
                <c:pt idx="688">
                  <c:v>117.41118888986885</c:v>
                </c:pt>
                <c:pt idx="689">
                  <c:v>117.41118888986885</c:v>
                </c:pt>
                <c:pt idx="690">
                  <c:v>117.41118888986885</c:v>
                </c:pt>
                <c:pt idx="691">
                  <c:v>117.41118888986885</c:v>
                </c:pt>
                <c:pt idx="692">
                  <c:v>117.41118888986885</c:v>
                </c:pt>
                <c:pt idx="693">
                  <c:v>117.41118888986885</c:v>
                </c:pt>
                <c:pt idx="694">
                  <c:v>117.41118888986885</c:v>
                </c:pt>
                <c:pt idx="695">
                  <c:v>117.41118888986885</c:v>
                </c:pt>
                <c:pt idx="696">
                  <c:v>117.41118888986885</c:v>
                </c:pt>
                <c:pt idx="697">
                  <c:v>117.41118888986885</c:v>
                </c:pt>
                <c:pt idx="698">
                  <c:v>117.41118888986885</c:v>
                </c:pt>
                <c:pt idx="699">
                  <c:v>117.41118888986885</c:v>
                </c:pt>
                <c:pt idx="700">
                  <c:v>117.41118888986885</c:v>
                </c:pt>
                <c:pt idx="701">
                  <c:v>117.41118888986885</c:v>
                </c:pt>
                <c:pt idx="702">
                  <c:v>117.41118888986885</c:v>
                </c:pt>
                <c:pt idx="703">
                  <c:v>117.41118888986885</c:v>
                </c:pt>
                <c:pt idx="704">
                  <c:v>117.41118888986885</c:v>
                </c:pt>
                <c:pt idx="705">
                  <c:v>117.41118888986885</c:v>
                </c:pt>
                <c:pt idx="706">
                  <c:v>117.41118888986885</c:v>
                </c:pt>
                <c:pt idx="707">
                  <c:v>117.41118888986885</c:v>
                </c:pt>
                <c:pt idx="708">
                  <c:v>117.41118888986885</c:v>
                </c:pt>
                <c:pt idx="709">
                  <c:v>117.41118888986885</c:v>
                </c:pt>
                <c:pt idx="710">
                  <c:v>117.41118888986885</c:v>
                </c:pt>
                <c:pt idx="711">
                  <c:v>117.41118888986885</c:v>
                </c:pt>
                <c:pt idx="712">
                  <c:v>117.41118888986885</c:v>
                </c:pt>
                <c:pt idx="713">
                  <c:v>117.41118888986885</c:v>
                </c:pt>
                <c:pt idx="714">
                  <c:v>117.41118888986885</c:v>
                </c:pt>
                <c:pt idx="715">
                  <c:v>117.41118888986885</c:v>
                </c:pt>
                <c:pt idx="716">
                  <c:v>117.41118888986885</c:v>
                </c:pt>
                <c:pt idx="717">
                  <c:v>117.41118888986885</c:v>
                </c:pt>
                <c:pt idx="718">
                  <c:v>117.41118888986885</c:v>
                </c:pt>
                <c:pt idx="719">
                  <c:v>117.41118888986885</c:v>
                </c:pt>
                <c:pt idx="720">
                  <c:v>117.41118888986885</c:v>
                </c:pt>
                <c:pt idx="721">
                  <c:v>117.41118888986885</c:v>
                </c:pt>
                <c:pt idx="722">
                  <c:v>117.41118888986885</c:v>
                </c:pt>
                <c:pt idx="723">
                  <c:v>117.41118888986885</c:v>
                </c:pt>
                <c:pt idx="724">
                  <c:v>117.41118888986885</c:v>
                </c:pt>
                <c:pt idx="725">
                  <c:v>117.41118888986885</c:v>
                </c:pt>
                <c:pt idx="726">
                  <c:v>117.41118888986885</c:v>
                </c:pt>
                <c:pt idx="727">
                  <c:v>117.41118888986885</c:v>
                </c:pt>
                <c:pt idx="728">
                  <c:v>117.41118888986885</c:v>
                </c:pt>
                <c:pt idx="729">
                  <c:v>117.41118888986885</c:v>
                </c:pt>
                <c:pt idx="730">
                  <c:v>117.41118888986885</c:v>
                </c:pt>
                <c:pt idx="731">
                  <c:v>117.41118888986885</c:v>
                </c:pt>
                <c:pt idx="732">
                  <c:v>117.41118888986885</c:v>
                </c:pt>
                <c:pt idx="733">
                  <c:v>117.41118888986885</c:v>
                </c:pt>
                <c:pt idx="734">
                  <c:v>117.41118888986885</c:v>
                </c:pt>
                <c:pt idx="735">
                  <c:v>117.41118888986885</c:v>
                </c:pt>
                <c:pt idx="736">
                  <c:v>117.41118888986885</c:v>
                </c:pt>
                <c:pt idx="737">
                  <c:v>117.41118888986885</c:v>
                </c:pt>
                <c:pt idx="738">
                  <c:v>117.41118888986885</c:v>
                </c:pt>
                <c:pt idx="739">
                  <c:v>117.41118888986885</c:v>
                </c:pt>
                <c:pt idx="740">
                  <c:v>117.41118888986885</c:v>
                </c:pt>
                <c:pt idx="741">
                  <c:v>117.41118888986885</c:v>
                </c:pt>
                <c:pt idx="742">
                  <c:v>117.41118888986885</c:v>
                </c:pt>
                <c:pt idx="743">
                  <c:v>117.41118888986885</c:v>
                </c:pt>
                <c:pt idx="744">
                  <c:v>117.41118888986885</c:v>
                </c:pt>
                <c:pt idx="745">
                  <c:v>117.41118888986885</c:v>
                </c:pt>
                <c:pt idx="746">
                  <c:v>117.41118888986885</c:v>
                </c:pt>
                <c:pt idx="747">
                  <c:v>117.41118888986885</c:v>
                </c:pt>
                <c:pt idx="748">
                  <c:v>117.41118888986885</c:v>
                </c:pt>
                <c:pt idx="749">
                  <c:v>117.41118888986885</c:v>
                </c:pt>
                <c:pt idx="750">
                  <c:v>117.41118888986885</c:v>
                </c:pt>
                <c:pt idx="751">
                  <c:v>117.41118888986885</c:v>
                </c:pt>
                <c:pt idx="752">
                  <c:v>117.41118888986885</c:v>
                </c:pt>
                <c:pt idx="753">
                  <c:v>117.41118888986885</c:v>
                </c:pt>
                <c:pt idx="754">
                  <c:v>117.41118888986885</c:v>
                </c:pt>
                <c:pt idx="755">
                  <c:v>117.41118888986885</c:v>
                </c:pt>
                <c:pt idx="756">
                  <c:v>117.41118888986885</c:v>
                </c:pt>
                <c:pt idx="757">
                  <c:v>117.41118888986885</c:v>
                </c:pt>
                <c:pt idx="758">
                  <c:v>117.41118888986885</c:v>
                </c:pt>
                <c:pt idx="759">
                  <c:v>117.41118888986885</c:v>
                </c:pt>
                <c:pt idx="760">
                  <c:v>117.41118888986885</c:v>
                </c:pt>
                <c:pt idx="761">
                  <c:v>117.41118888986885</c:v>
                </c:pt>
                <c:pt idx="762">
                  <c:v>117.41118888986885</c:v>
                </c:pt>
                <c:pt idx="763">
                  <c:v>117.41118888986885</c:v>
                </c:pt>
                <c:pt idx="764">
                  <c:v>117.41118888986885</c:v>
                </c:pt>
                <c:pt idx="765">
                  <c:v>117.41118888986885</c:v>
                </c:pt>
                <c:pt idx="766">
                  <c:v>117.41118888986885</c:v>
                </c:pt>
                <c:pt idx="767">
                  <c:v>117.41118888986885</c:v>
                </c:pt>
                <c:pt idx="768">
                  <c:v>117.41118888986885</c:v>
                </c:pt>
                <c:pt idx="769">
                  <c:v>117.41118888986885</c:v>
                </c:pt>
                <c:pt idx="770">
                  <c:v>117.41118888986885</c:v>
                </c:pt>
                <c:pt idx="771">
                  <c:v>117.41118888986885</c:v>
                </c:pt>
                <c:pt idx="772">
                  <c:v>117.41118888986885</c:v>
                </c:pt>
                <c:pt idx="773">
                  <c:v>117.41118888986885</c:v>
                </c:pt>
                <c:pt idx="774">
                  <c:v>117.41118888986885</c:v>
                </c:pt>
                <c:pt idx="775">
                  <c:v>117.41118888986885</c:v>
                </c:pt>
                <c:pt idx="776">
                  <c:v>117.41118888986885</c:v>
                </c:pt>
                <c:pt idx="777">
                  <c:v>117.41118888986885</c:v>
                </c:pt>
                <c:pt idx="778">
                  <c:v>117.41118888986885</c:v>
                </c:pt>
                <c:pt idx="779">
                  <c:v>117.41118888986885</c:v>
                </c:pt>
                <c:pt idx="780">
                  <c:v>117.41118888986885</c:v>
                </c:pt>
                <c:pt idx="781">
                  <c:v>117.41118888986885</c:v>
                </c:pt>
                <c:pt idx="782">
                  <c:v>117.41118888986885</c:v>
                </c:pt>
                <c:pt idx="783">
                  <c:v>117.41118888986885</c:v>
                </c:pt>
                <c:pt idx="784">
                  <c:v>117.41118888986885</c:v>
                </c:pt>
                <c:pt idx="785">
                  <c:v>117.41118888986885</c:v>
                </c:pt>
                <c:pt idx="786">
                  <c:v>117.10015768420575</c:v>
                </c:pt>
                <c:pt idx="787">
                  <c:v>116.80714077227513</c:v>
                </c:pt>
                <c:pt idx="788">
                  <c:v>122.19482549990475</c:v>
                </c:pt>
                <c:pt idx="789">
                  <c:v>120.97191092620703</c:v>
                </c:pt>
                <c:pt idx="790">
                  <c:v>120.76904207561878</c:v>
                </c:pt>
                <c:pt idx="791">
                  <c:v>120.49015340982311</c:v>
                </c:pt>
                <c:pt idx="792">
                  <c:v>119.36871036945792</c:v>
                </c:pt>
                <c:pt idx="793">
                  <c:v>119.35062744293087</c:v>
                </c:pt>
                <c:pt idx="794">
                  <c:v>115.51664625087719</c:v>
                </c:pt>
                <c:pt idx="795">
                  <c:v>113.72306126420152</c:v>
                </c:pt>
                <c:pt idx="796">
                  <c:v>118.96398086968372</c:v>
                </c:pt>
                <c:pt idx="797">
                  <c:v>122.93618379188092</c:v>
                </c:pt>
                <c:pt idx="798">
                  <c:v>123.25268017224261</c:v>
                </c:pt>
                <c:pt idx="799">
                  <c:v>123.27383904142886</c:v>
                </c:pt>
                <c:pt idx="800">
                  <c:v>125.30915303172486</c:v>
                </c:pt>
                <c:pt idx="801">
                  <c:v>122.93653208750256</c:v>
                </c:pt>
                <c:pt idx="802">
                  <c:v>121.92235705051056</c:v>
                </c:pt>
                <c:pt idx="803">
                  <c:v>126.44011434211556</c:v>
                </c:pt>
                <c:pt idx="804">
                  <c:v>128.26173733982176</c:v>
                </c:pt>
                <c:pt idx="805">
                  <c:v>128.26173733982176</c:v>
                </c:pt>
                <c:pt idx="806">
                  <c:v>128.101410168147</c:v>
                </c:pt>
                <c:pt idx="807">
                  <c:v>128.101410168147</c:v>
                </c:pt>
                <c:pt idx="808">
                  <c:v>128.101410168147</c:v>
                </c:pt>
                <c:pt idx="809">
                  <c:v>128.101410168147</c:v>
                </c:pt>
                <c:pt idx="810">
                  <c:v>128.101410168147</c:v>
                </c:pt>
                <c:pt idx="811">
                  <c:v>128.101410168147</c:v>
                </c:pt>
                <c:pt idx="812">
                  <c:v>128.101410168147</c:v>
                </c:pt>
                <c:pt idx="813">
                  <c:v>131.16635624158096</c:v>
                </c:pt>
                <c:pt idx="814">
                  <c:v>131.00239829627898</c:v>
                </c:pt>
                <c:pt idx="815">
                  <c:v>130.83864529840864</c:v>
                </c:pt>
                <c:pt idx="816">
                  <c:v>130.83864529840864</c:v>
                </c:pt>
                <c:pt idx="817">
                  <c:v>130.83864529840864</c:v>
                </c:pt>
                <c:pt idx="818">
                  <c:v>130.83864529840864</c:v>
                </c:pt>
                <c:pt idx="819">
                  <c:v>130.83864529840864</c:v>
                </c:pt>
                <c:pt idx="820">
                  <c:v>130.83864529840864</c:v>
                </c:pt>
                <c:pt idx="821">
                  <c:v>130.83864529840864</c:v>
                </c:pt>
                <c:pt idx="822">
                  <c:v>130.83864529840864</c:v>
                </c:pt>
                <c:pt idx="823">
                  <c:v>130.83864529840864</c:v>
                </c:pt>
                <c:pt idx="824">
                  <c:v>130.83864529840864</c:v>
                </c:pt>
                <c:pt idx="825">
                  <c:v>130.83864529840864</c:v>
                </c:pt>
                <c:pt idx="826">
                  <c:v>130.83864529840864</c:v>
                </c:pt>
                <c:pt idx="827">
                  <c:v>130.83864529840864</c:v>
                </c:pt>
                <c:pt idx="828">
                  <c:v>130.83864529840864</c:v>
                </c:pt>
                <c:pt idx="829">
                  <c:v>130.83864529840864</c:v>
                </c:pt>
                <c:pt idx="830">
                  <c:v>130.83864529840864</c:v>
                </c:pt>
                <c:pt idx="831">
                  <c:v>130.83864529840864</c:v>
                </c:pt>
                <c:pt idx="832">
                  <c:v>130.83864529840864</c:v>
                </c:pt>
                <c:pt idx="833">
                  <c:v>130.83864529840864</c:v>
                </c:pt>
                <c:pt idx="834">
                  <c:v>130.83864529840864</c:v>
                </c:pt>
                <c:pt idx="835">
                  <c:v>130.83864529840864</c:v>
                </c:pt>
                <c:pt idx="836">
                  <c:v>130.83864529840864</c:v>
                </c:pt>
                <c:pt idx="837">
                  <c:v>130.83864529840864</c:v>
                </c:pt>
                <c:pt idx="838">
                  <c:v>130.83864529840864</c:v>
                </c:pt>
                <c:pt idx="839">
                  <c:v>130.83864529840864</c:v>
                </c:pt>
                <c:pt idx="840">
                  <c:v>130.83864529840864</c:v>
                </c:pt>
                <c:pt idx="841">
                  <c:v>130.83864529840864</c:v>
                </c:pt>
                <c:pt idx="842">
                  <c:v>130.83864529840864</c:v>
                </c:pt>
                <c:pt idx="843">
                  <c:v>130.83864529840864</c:v>
                </c:pt>
                <c:pt idx="844">
                  <c:v>130.83864529840864</c:v>
                </c:pt>
                <c:pt idx="845">
                  <c:v>130.83864529840864</c:v>
                </c:pt>
                <c:pt idx="846">
                  <c:v>130.83864529840864</c:v>
                </c:pt>
                <c:pt idx="847">
                  <c:v>130.83864529840864</c:v>
                </c:pt>
                <c:pt idx="848">
                  <c:v>130.83864529840864</c:v>
                </c:pt>
                <c:pt idx="849">
                  <c:v>130.83864529840864</c:v>
                </c:pt>
                <c:pt idx="850">
                  <c:v>130.83864529840864</c:v>
                </c:pt>
                <c:pt idx="851">
                  <c:v>130.83864529840864</c:v>
                </c:pt>
                <c:pt idx="852">
                  <c:v>130.83864529840864</c:v>
                </c:pt>
                <c:pt idx="853">
                  <c:v>130.83864529840864</c:v>
                </c:pt>
                <c:pt idx="854">
                  <c:v>130.83864529840864</c:v>
                </c:pt>
                <c:pt idx="855">
                  <c:v>130.83864529840864</c:v>
                </c:pt>
                <c:pt idx="856">
                  <c:v>130.83864529840864</c:v>
                </c:pt>
                <c:pt idx="857">
                  <c:v>130.83864529840864</c:v>
                </c:pt>
                <c:pt idx="858">
                  <c:v>130.83864529840864</c:v>
                </c:pt>
                <c:pt idx="859">
                  <c:v>130.83864529840864</c:v>
                </c:pt>
                <c:pt idx="860">
                  <c:v>130.83864529840864</c:v>
                </c:pt>
                <c:pt idx="861">
                  <c:v>130.83864529840864</c:v>
                </c:pt>
                <c:pt idx="862">
                  <c:v>130.83864529840864</c:v>
                </c:pt>
                <c:pt idx="863">
                  <c:v>130.83864529840864</c:v>
                </c:pt>
                <c:pt idx="864">
                  <c:v>130.83864529840864</c:v>
                </c:pt>
                <c:pt idx="865">
                  <c:v>130.83864529840864</c:v>
                </c:pt>
                <c:pt idx="866">
                  <c:v>130.83864529840864</c:v>
                </c:pt>
                <c:pt idx="867">
                  <c:v>130.83864529840864</c:v>
                </c:pt>
                <c:pt idx="868">
                  <c:v>130.83864529840864</c:v>
                </c:pt>
                <c:pt idx="869">
                  <c:v>130.83864529840864</c:v>
                </c:pt>
                <c:pt idx="870">
                  <c:v>130.83864529840864</c:v>
                </c:pt>
                <c:pt idx="871">
                  <c:v>130.83864529840864</c:v>
                </c:pt>
                <c:pt idx="872">
                  <c:v>130.83864529840864</c:v>
                </c:pt>
                <c:pt idx="873">
                  <c:v>130.83864529840864</c:v>
                </c:pt>
                <c:pt idx="874">
                  <c:v>130.83864529840864</c:v>
                </c:pt>
                <c:pt idx="875">
                  <c:v>130.83864529840864</c:v>
                </c:pt>
                <c:pt idx="876">
                  <c:v>130.83864529840864</c:v>
                </c:pt>
                <c:pt idx="877">
                  <c:v>130.83864529840864</c:v>
                </c:pt>
                <c:pt idx="878">
                  <c:v>130.83864529840864</c:v>
                </c:pt>
                <c:pt idx="879">
                  <c:v>130.83864529840864</c:v>
                </c:pt>
                <c:pt idx="880">
                  <c:v>130.83864529840864</c:v>
                </c:pt>
                <c:pt idx="881">
                  <c:v>130.83864529840864</c:v>
                </c:pt>
                <c:pt idx="882">
                  <c:v>130.83864529840864</c:v>
                </c:pt>
                <c:pt idx="883">
                  <c:v>130.83864529840864</c:v>
                </c:pt>
                <c:pt idx="884">
                  <c:v>130.83864529840864</c:v>
                </c:pt>
                <c:pt idx="885">
                  <c:v>130.83864529840864</c:v>
                </c:pt>
                <c:pt idx="886">
                  <c:v>130.83864529840864</c:v>
                </c:pt>
                <c:pt idx="887">
                  <c:v>130.83864529840864</c:v>
                </c:pt>
                <c:pt idx="888">
                  <c:v>130.83864529840864</c:v>
                </c:pt>
                <c:pt idx="889">
                  <c:v>130.83864529840864</c:v>
                </c:pt>
                <c:pt idx="890">
                  <c:v>130.83864529840864</c:v>
                </c:pt>
                <c:pt idx="891">
                  <c:v>130.83864529840864</c:v>
                </c:pt>
                <c:pt idx="892">
                  <c:v>130.83864529840864</c:v>
                </c:pt>
                <c:pt idx="893">
                  <c:v>130.83864529840864</c:v>
                </c:pt>
                <c:pt idx="894">
                  <c:v>130.83864529840864</c:v>
                </c:pt>
                <c:pt idx="895">
                  <c:v>130.83864529840864</c:v>
                </c:pt>
                <c:pt idx="896">
                  <c:v>130.83864529840864</c:v>
                </c:pt>
                <c:pt idx="897">
                  <c:v>130.83864529840864</c:v>
                </c:pt>
                <c:pt idx="898">
                  <c:v>130.83864529840864</c:v>
                </c:pt>
                <c:pt idx="899">
                  <c:v>130.83864529840864</c:v>
                </c:pt>
                <c:pt idx="900">
                  <c:v>130.83864529840864</c:v>
                </c:pt>
                <c:pt idx="901">
                  <c:v>130.83864529840864</c:v>
                </c:pt>
                <c:pt idx="902">
                  <c:v>130.83864529840864</c:v>
                </c:pt>
                <c:pt idx="903">
                  <c:v>130.83864529840864</c:v>
                </c:pt>
                <c:pt idx="904">
                  <c:v>130.83864529840864</c:v>
                </c:pt>
                <c:pt idx="905">
                  <c:v>130.83864529840864</c:v>
                </c:pt>
                <c:pt idx="906">
                  <c:v>130.83864529840864</c:v>
                </c:pt>
                <c:pt idx="907">
                  <c:v>130.83864529840864</c:v>
                </c:pt>
                <c:pt idx="908">
                  <c:v>130.83864529840864</c:v>
                </c:pt>
                <c:pt idx="909">
                  <c:v>130.83864529840864</c:v>
                </c:pt>
                <c:pt idx="910">
                  <c:v>130.83864529840864</c:v>
                </c:pt>
                <c:pt idx="911">
                  <c:v>130.83864529840864</c:v>
                </c:pt>
                <c:pt idx="912">
                  <c:v>130.83864529840864</c:v>
                </c:pt>
                <c:pt idx="913">
                  <c:v>130.83864529840864</c:v>
                </c:pt>
                <c:pt idx="914">
                  <c:v>130.83864529840864</c:v>
                </c:pt>
                <c:pt idx="915">
                  <c:v>130.83864529840864</c:v>
                </c:pt>
                <c:pt idx="916">
                  <c:v>130.83864529840864</c:v>
                </c:pt>
                <c:pt idx="917">
                  <c:v>130.83864529840864</c:v>
                </c:pt>
                <c:pt idx="918">
                  <c:v>130.83864529840864</c:v>
                </c:pt>
                <c:pt idx="919">
                  <c:v>130.83864529840864</c:v>
                </c:pt>
                <c:pt idx="920">
                  <c:v>130.83864529840864</c:v>
                </c:pt>
                <c:pt idx="921">
                  <c:v>130.83864529840864</c:v>
                </c:pt>
                <c:pt idx="922">
                  <c:v>130.83864529840864</c:v>
                </c:pt>
                <c:pt idx="923">
                  <c:v>130.83864529840864</c:v>
                </c:pt>
                <c:pt idx="924">
                  <c:v>130.83864529840864</c:v>
                </c:pt>
                <c:pt idx="925">
                  <c:v>130.83864529840864</c:v>
                </c:pt>
                <c:pt idx="926">
                  <c:v>130.83864529840864</c:v>
                </c:pt>
                <c:pt idx="927">
                  <c:v>130.83864529840864</c:v>
                </c:pt>
                <c:pt idx="928">
                  <c:v>130.83864529840864</c:v>
                </c:pt>
                <c:pt idx="929">
                  <c:v>130.83864529840864</c:v>
                </c:pt>
                <c:pt idx="930">
                  <c:v>130.83864529840864</c:v>
                </c:pt>
                <c:pt idx="931">
                  <c:v>130.83864529840864</c:v>
                </c:pt>
                <c:pt idx="932">
                  <c:v>130.83864529840864</c:v>
                </c:pt>
                <c:pt idx="933">
                  <c:v>130.83864529840864</c:v>
                </c:pt>
                <c:pt idx="934">
                  <c:v>130.83864529840864</c:v>
                </c:pt>
                <c:pt idx="935">
                  <c:v>130.83864529840864</c:v>
                </c:pt>
                <c:pt idx="936">
                  <c:v>130.83864529840864</c:v>
                </c:pt>
                <c:pt idx="937">
                  <c:v>130.83864529840864</c:v>
                </c:pt>
                <c:pt idx="938">
                  <c:v>130.83864529840864</c:v>
                </c:pt>
                <c:pt idx="939">
                  <c:v>130.83864529840864</c:v>
                </c:pt>
                <c:pt idx="940">
                  <c:v>130.83864529840864</c:v>
                </c:pt>
                <c:pt idx="941">
                  <c:v>130.83864529840864</c:v>
                </c:pt>
                <c:pt idx="942">
                  <c:v>130.83864529840864</c:v>
                </c:pt>
                <c:pt idx="943">
                  <c:v>130.83864529840864</c:v>
                </c:pt>
                <c:pt idx="944">
                  <c:v>130.83864529840864</c:v>
                </c:pt>
                <c:pt idx="945">
                  <c:v>130.83864529840864</c:v>
                </c:pt>
                <c:pt idx="946">
                  <c:v>130.83864529840864</c:v>
                </c:pt>
                <c:pt idx="947">
                  <c:v>130.83864529840864</c:v>
                </c:pt>
                <c:pt idx="948">
                  <c:v>130.83864529840864</c:v>
                </c:pt>
                <c:pt idx="949">
                  <c:v>130.83864529840864</c:v>
                </c:pt>
                <c:pt idx="950">
                  <c:v>130.83864529840864</c:v>
                </c:pt>
                <c:pt idx="951">
                  <c:v>130.83864529840864</c:v>
                </c:pt>
                <c:pt idx="952">
                  <c:v>130.83864529840864</c:v>
                </c:pt>
                <c:pt idx="953">
                  <c:v>130.83864529840864</c:v>
                </c:pt>
                <c:pt idx="954">
                  <c:v>130.83864529840864</c:v>
                </c:pt>
                <c:pt idx="955">
                  <c:v>130.83864529840864</c:v>
                </c:pt>
                <c:pt idx="956">
                  <c:v>130.83864529840864</c:v>
                </c:pt>
                <c:pt idx="957">
                  <c:v>130.83864529840864</c:v>
                </c:pt>
                <c:pt idx="958">
                  <c:v>130.83864529840864</c:v>
                </c:pt>
                <c:pt idx="959">
                  <c:v>130.83864529840864</c:v>
                </c:pt>
                <c:pt idx="960">
                  <c:v>130.83864529840864</c:v>
                </c:pt>
                <c:pt idx="961">
                  <c:v>130.83864529840864</c:v>
                </c:pt>
                <c:pt idx="962">
                  <c:v>130.83864529840864</c:v>
                </c:pt>
                <c:pt idx="963">
                  <c:v>130.83864529840864</c:v>
                </c:pt>
                <c:pt idx="964">
                  <c:v>130.83864529840864</c:v>
                </c:pt>
                <c:pt idx="965">
                  <c:v>130.83864529840864</c:v>
                </c:pt>
                <c:pt idx="966">
                  <c:v>130.83864529840864</c:v>
                </c:pt>
                <c:pt idx="967">
                  <c:v>130.83864529840864</c:v>
                </c:pt>
                <c:pt idx="968">
                  <c:v>130.83864529840864</c:v>
                </c:pt>
                <c:pt idx="969">
                  <c:v>130.83864529840864</c:v>
                </c:pt>
                <c:pt idx="970">
                  <c:v>130.83864529840864</c:v>
                </c:pt>
                <c:pt idx="971">
                  <c:v>130.83864529840864</c:v>
                </c:pt>
                <c:pt idx="972">
                  <c:v>130.83864529840864</c:v>
                </c:pt>
                <c:pt idx="973">
                  <c:v>130.83864529840864</c:v>
                </c:pt>
                <c:pt idx="974">
                  <c:v>130.83864529840864</c:v>
                </c:pt>
                <c:pt idx="975">
                  <c:v>130.83864529840864</c:v>
                </c:pt>
                <c:pt idx="976">
                  <c:v>130.83864529840864</c:v>
                </c:pt>
                <c:pt idx="977">
                  <c:v>130.83864529840864</c:v>
                </c:pt>
                <c:pt idx="978">
                  <c:v>130.83864529840864</c:v>
                </c:pt>
                <c:pt idx="979">
                  <c:v>130.83864529840864</c:v>
                </c:pt>
                <c:pt idx="980">
                  <c:v>130.83864529840864</c:v>
                </c:pt>
                <c:pt idx="981">
                  <c:v>130.83864529840864</c:v>
                </c:pt>
                <c:pt idx="982">
                  <c:v>130.83864529840864</c:v>
                </c:pt>
                <c:pt idx="983">
                  <c:v>130.83864529840864</c:v>
                </c:pt>
                <c:pt idx="984">
                  <c:v>130.83864529840864</c:v>
                </c:pt>
                <c:pt idx="985">
                  <c:v>130.83864529840864</c:v>
                </c:pt>
                <c:pt idx="986">
                  <c:v>130.83864529840864</c:v>
                </c:pt>
                <c:pt idx="987">
                  <c:v>130.83864529840864</c:v>
                </c:pt>
                <c:pt idx="988">
                  <c:v>130.83864529840864</c:v>
                </c:pt>
                <c:pt idx="989">
                  <c:v>130.83864529840864</c:v>
                </c:pt>
                <c:pt idx="990">
                  <c:v>130.83864529840864</c:v>
                </c:pt>
                <c:pt idx="991">
                  <c:v>130.83864529840864</c:v>
                </c:pt>
                <c:pt idx="992">
                  <c:v>130.83864529840864</c:v>
                </c:pt>
                <c:pt idx="993">
                  <c:v>130.83864529840864</c:v>
                </c:pt>
                <c:pt idx="994">
                  <c:v>130.83864529840864</c:v>
                </c:pt>
                <c:pt idx="995">
                  <c:v>130.83864529840864</c:v>
                </c:pt>
                <c:pt idx="996">
                  <c:v>130.83864529840864</c:v>
                </c:pt>
                <c:pt idx="997">
                  <c:v>130.83864529840864</c:v>
                </c:pt>
                <c:pt idx="998">
                  <c:v>130.83864529840864</c:v>
                </c:pt>
                <c:pt idx="999">
                  <c:v>130.83864529840864</c:v>
                </c:pt>
                <c:pt idx="1000">
                  <c:v>130.83864529840864</c:v>
                </c:pt>
                <c:pt idx="1001">
                  <c:v>130.83864529840864</c:v>
                </c:pt>
                <c:pt idx="1002">
                  <c:v>130.83864529840864</c:v>
                </c:pt>
                <c:pt idx="1003">
                  <c:v>130.83864529840864</c:v>
                </c:pt>
                <c:pt idx="1004">
                  <c:v>130.83864529840864</c:v>
                </c:pt>
                <c:pt idx="1005">
                  <c:v>130.83864529840864</c:v>
                </c:pt>
                <c:pt idx="1006">
                  <c:v>130.83864529840864</c:v>
                </c:pt>
                <c:pt idx="1007">
                  <c:v>130.83864529840864</c:v>
                </c:pt>
                <c:pt idx="1008">
                  <c:v>130.83864529840864</c:v>
                </c:pt>
                <c:pt idx="1009">
                  <c:v>130.83864529840864</c:v>
                </c:pt>
                <c:pt idx="1010">
                  <c:v>130.83864529840864</c:v>
                </c:pt>
                <c:pt idx="1011">
                  <c:v>130.83864529840864</c:v>
                </c:pt>
                <c:pt idx="1012">
                  <c:v>130.83864529840864</c:v>
                </c:pt>
                <c:pt idx="1013">
                  <c:v>130.83864529840864</c:v>
                </c:pt>
                <c:pt idx="1014">
                  <c:v>130.83864529840864</c:v>
                </c:pt>
                <c:pt idx="1015">
                  <c:v>130.83864529840864</c:v>
                </c:pt>
                <c:pt idx="1016">
                  <c:v>130.83864529840864</c:v>
                </c:pt>
                <c:pt idx="1017">
                  <c:v>130.83864529840864</c:v>
                </c:pt>
                <c:pt idx="1018">
                  <c:v>130.83864529840864</c:v>
                </c:pt>
                <c:pt idx="1019">
                  <c:v>130.83864529840864</c:v>
                </c:pt>
                <c:pt idx="1020">
                  <c:v>130.83864529840864</c:v>
                </c:pt>
                <c:pt idx="1021">
                  <c:v>130.83864529840864</c:v>
                </c:pt>
                <c:pt idx="1022">
                  <c:v>130.83864529840864</c:v>
                </c:pt>
                <c:pt idx="1023">
                  <c:v>130.83864529840864</c:v>
                </c:pt>
                <c:pt idx="1024">
                  <c:v>130.83864529840864</c:v>
                </c:pt>
                <c:pt idx="1025">
                  <c:v>130.83864529840864</c:v>
                </c:pt>
                <c:pt idx="1026">
                  <c:v>130.83864529840864</c:v>
                </c:pt>
                <c:pt idx="1027">
                  <c:v>130.83864529840864</c:v>
                </c:pt>
                <c:pt idx="1028">
                  <c:v>130.83864529840864</c:v>
                </c:pt>
                <c:pt idx="1029">
                  <c:v>130.83864529840864</c:v>
                </c:pt>
                <c:pt idx="1030">
                  <c:v>130.83864529840864</c:v>
                </c:pt>
                <c:pt idx="1031">
                  <c:v>130.83864529840864</c:v>
                </c:pt>
                <c:pt idx="1032">
                  <c:v>131.02618186337659</c:v>
                </c:pt>
                <c:pt idx="1033">
                  <c:v>132.12775143899287</c:v>
                </c:pt>
                <c:pt idx="1034">
                  <c:v>134.82730736131205</c:v>
                </c:pt>
                <c:pt idx="1035">
                  <c:v>136.36527941419936</c:v>
                </c:pt>
                <c:pt idx="1036">
                  <c:v>139.72249811455214</c:v>
                </c:pt>
                <c:pt idx="1037">
                  <c:v>139.72249811455214</c:v>
                </c:pt>
                <c:pt idx="1038">
                  <c:v>139.54784499190896</c:v>
                </c:pt>
                <c:pt idx="1039">
                  <c:v>137.18701836467284</c:v>
                </c:pt>
                <c:pt idx="1040">
                  <c:v>137.015534591717</c:v>
                </c:pt>
                <c:pt idx="1041">
                  <c:v>136.84426517347737</c:v>
                </c:pt>
                <c:pt idx="1042">
                  <c:v>139.16807313469067</c:v>
                </c:pt>
                <c:pt idx="1043">
                  <c:v>140.05314490304369</c:v>
                </c:pt>
                <c:pt idx="1044">
                  <c:v>140.05785334180297</c:v>
                </c:pt>
                <c:pt idx="1045">
                  <c:v>142.8311793853083</c:v>
                </c:pt>
                <c:pt idx="1046">
                  <c:v>142.8311793853083</c:v>
                </c:pt>
                <c:pt idx="1047">
                  <c:v>142.65264041107667</c:v>
                </c:pt>
                <c:pt idx="1048">
                  <c:v>142.65264041107667</c:v>
                </c:pt>
                <c:pt idx="1049">
                  <c:v>142.65264041107667</c:v>
                </c:pt>
                <c:pt idx="1050">
                  <c:v>142.65264041107667</c:v>
                </c:pt>
                <c:pt idx="1051">
                  <c:v>142.65264041107667</c:v>
                </c:pt>
                <c:pt idx="1052">
                  <c:v>142.65264041107667</c:v>
                </c:pt>
                <c:pt idx="1053">
                  <c:v>142.65264041107667</c:v>
                </c:pt>
                <c:pt idx="1054">
                  <c:v>142.65264041107667</c:v>
                </c:pt>
                <c:pt idx="1055">
                  <c:v>142.65264041107667</c:v>
                </c:pt>
                <c:pt idx="1056">
                  <c:v>142.65264041107667</c:v>
                </c:pt>
                <c:pt idx="1057">
                  <c:v>142.65264041107667</c:v>
                </c:pt>
                <c:pt idx="1058">
                  <c:v>142.65264041107667</c:v>
                </c:pt>
                <c:pt idx="1059">
                  <c:v>141.79804058112612</c:v>
                </c:pt>
                <c:pt idx="1060">
                  <c:v>143.76298112244407</c:v>
                </c:pt>
                <c:pt idx="1061">
                  <c:v>149.36180080160904</c:v>
                </c:pt>
                <c:pt idx="1062">
                  <c:v>158.6519894414385</c:v>
                </c:pt>
                <c:pt idx="1063">
                  <c:v>158.6519894414385</c:v>
                </c:pt>
                <c:pt idx="1064">
                  <c:v>158.45367445463671</c:v>
                </c:pt>
                <c:pt idx="1065">
                  <c:v>158.45367445463671</c:v>
                </c:pt>
                <c:pt idx="1066">
                  <c:v>158.45367445463671</c:v>
                </c:pt>
                <c:pt idx="1067">
                  <c:v>158.45367445463671</c:v>
                </c:pt>
                <c:pt idx="1068">
                  <c:v>158.45367445463671</c:v>
                </c:pt>
                <c:pt idx="1069">
                  <c:v>158.45367445463671</c:v>
                </c:pt>
                <c:pt idx="1070">
                  <c:v>158.45367445463671</c:v>
                </c:pt>
                <c:pt idx="1071">
                  <c:v>158.45367445463671</c:v>
                </c:pt>
                <c:pt idx="1072">
                  <c:v>158.45367445463671</c:v>
                </c:pt>
                <c:pt idx="1073">
                  <c:v>158.45367445463671</c:v>
                </c:pt>
                <c:pt idx="1074">
                  <c:v>158.45367445463671</c:v>
                </c:pt>
                <c:pt idx="1075">
                  <c:v>158.45367445463671</c:v>
                </c:pt>
                <c:pt idx="1076">
                  <c:v>158.45367445463671</c:v>
                </c:pt>
                <c:pt idx="1077">
                  <c:v>158.45367445463671</c:v>
                </c:pt>
                <c:pt idx="1078">
                  <c:v>158.45367445463671</c:v>
                </c:pt>
                <c:pt idx="1079">
                  <c:v>158.45367445463671</c:v>
                </c:pt>
                <c:pt idx="1080">
                  <c:v>158.45367445463671</c:v>
                </c:pt>
                <c:pt idx="1081">
                  <c:v>158.45367445463671</c:v>
                </c:pt>
                <c:pt idx="1082">
                  <c:v>158.45367445463671</c:v>
                </c:pt>
                <c:pt idx="1083">
                  <c:v>158.45367445463671</c:v>
                </c:pt>
                <c:pt idx="1084">
                  <c:v>158.45367445463671</c:v>
                </c:pt>
                <c:pt idx="1085">
                  <c:v>158.45367445463671</c:v>
                </c:pt>
                <c:pt idx="1086">
                  <c:v>158.45367445463671</c:v>
                </c:pt>
                <c:pt idx="1087">
                  <c:v>158.45367445463671</c:v>
                </c:pt>
                <c:pt idx="1088">
                  <c:v>158.45367445463671</c:v>
                </c:pt>
                <c:pt idx="1089">
                  <c:v>158.45367445463671</c:v>
                </c:pt>
                <c:pt idx="1090">
                  <c:v>158.45367445463671</c:v>
                </c:pt>
                <c:pt idx="1091">
                  <c:v>158.45367445463671</c:v>
                </c:pt>
                <c:pt idx="1092">
                  <c:v>158.45367445463671</c:v>
                </c:pt>
                <c:pt idx="1093">
                  <c:v>158.45367445463671</c:v>
                </c:pt>
                <c:pt idx="1094">
                  <c:v>158.45367445463671</c:v>
                </c:pt>
                <c:pt idx="1095">
                  <c:v>158.45367445463671</c:v>
                </c:pt>
                <c:pt idx="1096">
                  <c:v>158.45367445463671</c:v>
                </c:pt>
                <c:pt idx="1097">
                  <c:v>158.45367445463671</c:v>
                </c:pt>
                <c:pt idx="1098">
                  <c:v>158.45367445463671</c:v>
                </c:pt>
                <c:pt idx="1099">
                  <c:v>158.45367445463671</c:v>
                </c:pt>
                <c:pt idx="1100">
                  <c:v>158.45367445463671</c:v>
                </c:pt>
                <c:pt idx="1101">
                  <c:v>158.45367445463671</c:v>
                </c:pt>
                <c:pt idx="1102">
                  <c:v>158.45367445463671</c:v>
                </c:pt>
                <c:pt idx="1103">
                  <c:v>158.45367445463671</c:v>
                </c:pt>
                <c:pt idx="1104">
                  <c:v>158.45367445463671</c:v>
                </c:pt>
                <c:pt idx="1105">
                  <c:v>158.45367445463671</c:v>
                </c:pt>
                <c:pt idx="1106">
                  <c:v>158.45367445463671</c:v>
                </c:pt>
                <c:pt idx="1107">
                  <c:v>158.45367445463671</c:v>
                </c:pt>
                <c:pt idx="1108">
                  <c:v>158.45367445463671</c:v>
                </c:pt>
                <c:pt idx="1109">
                  <c:v>158.45367445463671</c:v>
                </c:pt>
                <c:pt idx="1110">
                  <c:v>158.45367445463671</c:v>
                </c:pt>
                <c:pt idx="1111">
                  <c:v>158.45367445463671</c:v>
                </c:pt>
                <c:pt idx="1112">
                  <c:v>158.45367445463671</c:v>
                </c:pt>
                <c:pt idx="1113">
                  <c:v>158.45367445463671</c:v>
                </c:pt>
                <c:pt idx="1114">
                  <c:v>158.45367445463671</c:v>
                </c:pt>
                <c:pt idx="1115">
                  <c:v>158.45367445463671</c:v>
                </c:pt>
                <c:pt idx="1116">
                  <c:v>158.45367445463671</c:v>
                </c:pt>
                <c:pt idx="1117">
                  <c:v>158.45367445463671</c:v>
                </c:pt>
                <c:pt idx="1118">
                  <c:v>158.45367445463671</c:v>
                </c:pt>
                <c:pt idx="1119">
                  <c:v>158.45367445463671</c:v>
                </c:pt>
                <c:pt idx="1120">
                  <c:v>158.45367445463671</c:v>
                </c:pt>
                <c:pt idx="1121">
                  <c:v>158.45367445463671</c:v>
                </c:pt>
                <c:pt idx="1122">
                  <c:v>158.45367445463671</c:v>
                </c:pt>
                <c:pt idx="1123">
                  <c:v>158.45367445463671</c:v>
                </c:pt>
                <c:pt idx="1124">
                  <c:v>158.45367445463671</c:v>
                </c:pt>
                <c:pt idx="1125">
                  <c:v>158.45367445463671</c:v>
                </c:pt>
                <c:pt idx="1126">
                  <c:v>158.45367445463671</c:v>
                </c:pt>
                <c:pt idx="1127">
                  <c:v>158.45367445463671</c:v>
                </c:pt>
                <c:pt idx="1128">
                  <c:v>158.45367445463671</c:v>
                </c:pt>
                <c:pt idx="1129">
                  <c:v>158.45367445463671</c:v>
                </c:pt>
                <c:pt idx="1130">
                  <c:v>158.45367445463671</c:v>
                </c:pt>
                <c:pt idx="1131">
                  <c:v>158.45367445463671</c:v>
                </c:pt>
                <c:pt idx="1132">
                  <c:v>158.45367445463671</c:v>
                </c:pt>
                <c:pt idx="1133">
                  <c:v>158.45367445463671</c:v>
                </c:pt>
                <c:pt idx="1134">
                  <c:v>158.45367445463671</c:v>
                </c:pt>
                <c:pt idx="1135">
                  <c:v>158.45367445463671</c:v>
                </c:pt>
                <c:pt idx="1136">
                  <c:v>158.45367445463671</c:v>
                </c:pt>
                <c:pt idx="1137">
                  <c:v>158.45367445463671</c:v>
                </c:pt>
                <c:pt idx="1138">
                  <c:v>158.45367445463671</c:v>
                </c:pt>
                <c:pt idx="1139">
                  <c:v>158.45367445463671</c:v>
                </c:pt>
                <c:pt idx="1140">
                  <c:v>158.45367445463671</c:v>
                </c:pt>
                <c:pt idx="1141">
                  <c:v>158.45367445463671</c:v>
                </c:pt>
                <c:pt idx="1142">
                  <c:v>158.45367445463671</c:v>
                </c:pt>
                <c:pt idx="1143">
                  <c:v>158.45367445463671</c:v>
                </c:pt>
                <c:pt idx="1144">
                  <c:v>158.45367445463671</c:v>
                </c:pt>
                <c:pt idx="1145">
                  <c:v>158.45367445463671</c:v>
                </c:pt>
                <c:pt idx="1146">
                  <c:v>158.45367445463671</c:v>
                </c:pt>
                <c:pt idx="1147">
                  <c:v>158.45367445463671</c:v>
                </c:pt>
                <c:pt idx="1148">
                  <c:v>158.45367445463671</c:v>
                </c:pt>
                <c:pt idx="1149">
                  <c:v>158.45367445463671</c:v>
                </c:pt>
                <c:pt idx="1150">
                  <c:v>158.45367445463671</c:v>
                </c:pt>
                <c:pt idx="1151">
                  <c:v>158.45367445463671</c:v>
                </c:pt>
                <c:pt idx="1152">
                  <c:v>158.45367445463671</c:v>
                </c:pt>
                <c:pt idx="1153">
                  <c:v>158.45367445463671</c:v>
                </c:pt>
                <c:pt idx="1154">
                  <c:v>158.45367445463671</c:v>
                </c:pt>
                <c:pt idx="1155">
                  <c:v>158.45367445463671</c:v>
                </c:pt>
                <c:pt idx="1156">
                  <c:v>158.45367445463671</c:v>
                </c:pt>
                <c:pt idx="1157">
                  <c:v>158.45367445463671</c:v>
                </c:pt>
                <c:pt idx="1158">
                  <c:v>158.45367445463671</c:v>
                </c:pt>
                <c:pt idx="1159">
                  <c:v>158.45367445463671</c:v>
                </c:pt>
                <c:pt idx="1160">
                  <c:v>158.45367445463671</c:v>
                </c:pt>
                <c:pt idx="1161">
                  <c:v>158.45367445463671</c:v>
                </c:pt>
                <c:pt idx="1162">
                  <c:v>158.45367445463671</c:v>
                </c:pt>
                <c:pt idx="1163">
                  <c:v>158.45367445463671</c:v>
                </c:pt>
                <c:pt idx="1164">
                  <c:v>158.45367445463671</c:v>
                </c:pt>
                <c:pt idx="1165">
                  <c:v>158.45367445463671</c:v>
                </c:pt>
                <c:pt idx="1166">
                  <c:v>158.45367445463671</c:v>
                </c:pt>
                <c:pt idx="1167">
                  <c:v>158.45367445463671</c:v>
                </c:pt>
                <c:pt idx="1168">
                  <c:v>158.45367445463671</c:v>
                </c:pt>
                <c:pt idx="1169">
                  <c:v>158.45367445463671</c:v>
                </c:pt>
                <c:pt idx="1170">
                  <c:v>158.45367445463671</c:v>
                </c:pt>
                <c:pt idx="1171">
                  <c:v>158.45367445463671</c:v>
                </c:pt>
                <c:pt idx="1172">
                  <c:v>158.45367445463671</c:v>
                </c:pt>
                <c:pt idx="1173">
                  <c:v>158.45367445463671</c:v>
                </c:pt>
                <c:pt idx="1174">
                  <c:v>158.45367445463671</c:v>
                </c:pt>
                <c:pt idx="1175">
                  <c:v>158.45367445463671</c:v>
                </c:pt>
                <c:pt idx="1176">
                  <c:v>158.45367445463671</c:v>
                </c:pt>
                <c:pt idx="1177">
                  <c:v>158.45367445463671</c:v>
                </c:pt>
                <c:pt idx="1178">
                  <c:v>158.45367445463671</c:v>
                </c:pt>
                <c:pt idx="1179">
                  <c:v>158.45367445463671</c:v>
                </c:pt>
                <c:pt idx="1180">
                  <c:v>158.45367445463671</c:v>
                </c:pt>
                <c:pt idx="1181">
                  <c:v>158.45367445463671</c:v>
                </c:pt>
                <c:pt idx="1182">
                  <c:v>158.45367445463671</c:v>
                </c:pt>
                <c:pt idx="1183">
                  <c:v>158.45367445463671</c:v>
                </c:pt>
                <c:pt idx="1184">
                  <c:v>158.45367445463671</c:v>
                </c:pt>
                <c:pt idx="1185">
                  <c:v>158.45367445463671</c:v>
                </c:pt>
                <c:pt idx="1186">
                  <c:v>158.45367445463671</c:v>
                </c:pt>
                <c:pt idx="1187">
                  <c:v>158.45367445463671</c:v>
                </c:pt>
                <c:pt idx="1188">
                  <c:v>158.45367445463671</c:v>
                </c:pt>
                <c:pt idx="1189">
                  <c:v>158.45367445463671</c:v>
                </c:pt>
                <c:pt idx="1190">
                  <c:v>158.45367445463671</c:v>
                </c:pt>
                <c:pt idx="1191">
                  <c:v>158.45367445463671</c:v>
                </c:pt>
                <c:pt idx="1192">
                  <c:v>158.45367445463671</c:v>
                </c:pt>
                <c:pt idx="1193">
                  <c:v>158.45367445463671</c:v>
                </c:pt>
                <c:pt idx="1194">
                  <c:v>158.45367445463671</c:v>
                </c:pt>
                <c:pt idx="1195">
                  <c:v>158.45367445463671</c:v>
                </c:pt>
                <c:pt idx="1196">
                  <c:v>158.45367445463671</c:v>
                </c:pt>
                <c:pt idx="1197">
                  <c:v>158.45367445463671</c:v>
                </c:pt>
                <c:pt idx="1198">
                  <c:v>158.45367445463671</c:v>
                </c:pt>
                <c:pt idx="1199">
                  <c:v>158.45367445463671</c:v>
                </c:pt>
                <c:pt idx="1200">
                  <c:v>158.45367445463671</c:v>
                </c:pt>
                <c:pt idx="1201">
                  <c:v>158.45367445463671</c:v>
                </c:pt>
                <c:pt idx="1202">
                  <c:v>158.45367445463671</c:v>
                </c:pt>
                <c:pt idx="1203">
                  <c:v>158.45367445463671</c:v>
                </c:pt>
                <c:pt idx="1204">
                  <c:v>158.45367445463671</c:v>
                </c:pt>
                <c:pt idx="1205">
                  <c:v>158.45367445463671</c:v>
                </c:pt>
                <c:pt idx="1206">
                  <c:v>158.45367445463671</c:v>
                </c:pt>
                <c:pt idx="1207">
                  <c:v>158.45367445463671</c:v>
                </c:pt>
                <c:pt idx="1208">
                  <c:v>158.45367445463671</c:v>
                </c:pt>
                <c:pt idx="1209">
                  <c:v>158.45367445463671</c:v>
                </c:pt>
                <c:pt idx="1210">
                  <c:v>158.45367445463671</c:v>
                </c:pt>
                <c:pt idx="1211">
                  <c:v>158.45367445463671</c:v>
                </c:pt>
                <c:pt idx="1212">
                  <c:v>158.45367445463671</c:v>
                </c:pt>
                <c:pt idx="1213">
                  <c:v>158.45367445463671</c:v>
                </c:pt>
                <c:pt idx="1214">
                  <c:v>158.45367445463671</c:v>
                </c:pt>
                <c:pt idx="1215">
                  <c:v>158.45367445463671</c:v>
                </c:pt>
                <c:pt idx="1216">
                  <c:v>158.45367445463671</c:v>
                </c:pt>
                <c:pt idx="1217">
                  <c:v>158.45367445463671</c:v>
                </c:pt>
                <c:pt idx="1218">
                  <c:v>158.45367445463671</c:v>
                </c:pt>
                <c:pt idx="1219">
                  <c:v>158.45367445463671</c:v>
                </c:pt>
                <c:pt idx="1220">
                  <c:v>158.45367445463671</c:v>
                </c:pt>
                <c:pt idx="1221">
                  <c:v>158.45367445463671</c:v>
                </c:pt>
                <c:pt idx="1222">
                  <c:v>158.45367445463671</c:v>
                </c:pt>
                <c:pt idx="1223">
                  <c:v>158.45367445463671</c:v>
                </c:pt>
                <c:pt idx="1224">
                  <c:v>158.45367445463671</c:v>
                </c:pt>
                <c:pt idx="1225">
                  <c:v>158.45367445463671</c:v>
                </c:pt>
                <c:pt idx="1226">
                  <c:v>158.45367445463671</c:v>
                </c:pt>
                <c:pt idx="1227">
                  <c:v>158.45367445463671</c:v>
                </c:pt>
                <c:pt idx="1228">
                  <c:v>158.45367445463671</c:v>
                </c:pt>
                <c:pt idx="1229">
                  <c:v>158.45367445463671</c:v>
                </c:pt>
                <c:pt idx="1230">
                  <c:v>158.45367445463671</c:v>
                </c:pt>
                <c:pt idx="1231">
                  <c:v>158.45367445463671</c:v>
                </c:pt>
                <c:pt idx="1232">
                  <c:v>158.45367445463671</c:v>
                </c:pt>
                <c:pt idx="1233">
                  <c:v>158.45367445463671</c:v>
                </c:pt>
                <c:pt idx="1234">
                  <c:v>158.45367445463671</c:v>
                </c:pt>
                <c:pt idx="1235">
                  <c:v>158.45367445463671</c:v>
                </c:pt>
                <c:pt idx="1236">
                  <c:v>158.45367445463671</c:v>
                </c:pt>
                <c:pt idx="1237">
                  <c:v>158.45367445463671</c:v>
                </c:pt>
                <c:pt idx="1238">
                  <c:v>158.45367445463671</c:v>
                </c:pt>
                <c:pt idx="1239">
                  <c:v>158.45367445463671</c:v>
                </c:pt>
                <c:pt idx="1240">
                  <c:v>158.45367445463671</c:v>
                </c:pt>
                <c:pt idx="1241">
                  <c:v>158.45367445463671</c:v>
                </c:pt>
                <c:pt idx="1242">
                  <c:v>158.45367445463671</c:v>
                </c:pt>
                <c:pt idx="1243">
                  <c:v>158.45367445463671</c:v>
                </c:pt>
                <c:pt idx="1244">
                  <c:v>158.45367445463671</c:v>
                </c:pt>
                <c:pt idx="1245">
                  <c:v>158.45367445463671</c:v>
                </c:pt>
                <c:pt idx="1246">
                  <c:v>158.45367445463671</c:v>
                </c:pt>
                <c:pt idx="1247">
                  <c:v>158.45367445463671</c:v>
                </c:pt>
                <c:pt idx="1248">
                  <c:v>158.45367445463671</c:v>
                </c:pt>
                <c:pt idx="1249">
                  <c:v>158.45367445463671</c:v>
                </c:pt>
                <c:pt idx="1250">
                  <c:v>158.45367445463671</c:v>
                </c:pt>
                <c:pt idx="1251">
                  <c:v>158.45367445463671</c:v>
                </c:pt>
                <c:pt idx="1252">
                  <c:v>158.45367445463671</c:v>
                </c:pt>
                <c:pt idx="1253">
                  <c:v>158.45367445463671</c:v>
                </c:pt>
                <c:pt idx="1254">
                  <c:v>158.45367445463671</c:v>
                </c:pt>
                <c:pt idx="1255">
                  <c:v>158.45367445463671</c:v>
                </c:pt>
                <c:pt idx="1256">
                  <c:v>158.45367445463671</c:v>
                </c:pt>
                <c:pt idx="1257">
                  <c:v>158.45367445463671</c:v>
                </c:pt>
                <c:pt idx="1258">
                  <c:v>158.45367445463671</c:v>
                </c:pt>
                <c:pt idx="1259">
                  <c:v>158.45367445463671</c:v>
                </c:pt>
                <c:pt idx="1260">
                  <c:v>158.45367445463671</c:v>
                </c:pt>
                <c:pt idx="1261">
                  <c:v>158.45367445463671</c:v>
                </c:pt>
                <c:pt idx="1262">
                  <c:v>158.45367445463671</c:v>
                </c:pt>
                <c:pt idx="1263">
                  <c:v>158.45367445463671</c:v>
                </c:pt>
                <c:pt idx="1264">
                  <c:v>158.45367445463671</c:v>
                </c:pt>
                <c:pt idx="1265">
                  <c:v>158.45367445463671</c:v>
                </c:pt>
                <c:pt idx="1266">
                  <c:v>158.45367445463671</c:v>
                </c:pt>
                <c:pt idx="1267">
                  <c:v>158.45367445463671</c:v>
                </c:pt>
                <c:pt idx="1268">
                  <c:v>158.45367445463671</c:v>
                </c:pt>
                <c:pt idx="1269">
                  <c:v>158.45367445463671</c:v>
                </c:pt>
                <c:pt idx="1270">
                  <c:v>158.45367445463671</c:v>
                </c:pt>
                <c:pt idx="1271">
                  <c:v>158.45367445463671</c:v>
                </c:pt>
                <c:pt idx="1272">
                  <c:v>158.45367445463671</c:v>
                </c:pt>
                <c:pt idx="1273">
                  <c:v>158.45367445463671</c:v>
                </c:pt>
                <c:pt idx="1274">
                  <c:v>158.45367445463671</c:v>
                </c:pt>
                <c:pt idx="1275">
                  <c:v>158.45367445463671</c:v>
                </c:pt>
                <c:pt idx="1276">
                  <c:v>158.45367445463671</c:v>
                </c:pt>
                <c:pt idx="1277">
                  <c:v>158.45367445463671</c:v>
                </c:pt>
                <c:pt idx="1278">
                  <c:v>158.45367445463671</c:v>
                </c:pt>
                <c:pt idx="1279">
                  <c:v>158.45367445463671</c:v>
                </c:pt>
                <c:pt idx="1280">
                  <c:v>158.45367445463671</c:v>
                </c:pt>
                <c:pt idx="1281">
                  <c:v>158.45367445463671</c:v>
                </c:pt>
                <c:pt idx="1282">
                  <c:v>158.45367445463671</c:v>
                </c:pt>
                <c:pt idx="1283">
                  <c:v>158.45367445463671</c:v>
                </c:pt>
                <c:pt idx="1284">
                  <c:v>158.45367445463671</c:v>
                </c:pt>
                <c:pt idx="1285">
                  <c:v>158.45367445463671</c:v>
                </c:pt>
                <c:pt idx="1286">
                  <c:v>158.45367445463671</c:v>
                </c:pt>
                <c:pt idx="1287">
                  <c:v>158.45367445463671</c:v>
                </c:pt>
                <c:pt idx="1288">
                  <c:v>158.45367445463671</c:v>
                </c:pt>
                <c:pt idx="1289">
                  <c:v>158.45367445463671</c:v>
                </c:pt>
                <c:pt idx="1290">
                  <c:v>158.45367445463671</c:v>
                </c:pt>
                <c:pt idx="1291">
                  <c:v>158.45367445463671</c:v>
                </c:pt>
                <c:pt idx="1292">
                  <c:v>158.45367445463671</c:v>
                </c:pt>
                <c:pt idx="1293">
                  <c:v>158.45367445463671</c:v>
                </c:pt>
                <c:pt idx="1294">
                  <c:v>158.45367445463671</c:v>
                </c:pt>
                <c:pt idx="1295">
                  <c:v>158.45367445463671</c:v>
                </c:pt>
                <c:pt idx="1296">
                  <c:v>158.45367445463671</c:v>
                </c:pt>
                <c:pt idx="1297">
                  <c:v>158.45367445463671</c:v>
                </c:pt>
                <c:pt idx="1298">
                  <c:v>158.45367445463671</c:v>
                </c:pt>
                <c:pt idx="1299">
                  <c:v>158.45367445463671</c:v>
                </c:pt>
                <c:pt idx="1300">
                  <c:v>158.45367445463671</c:v>
                </c:pt>
                <c:pt idx="1301">
                  <c:v>158.45367445463671</c:v>
                </c:pt>
                <c:pt idx="1302">
                  <c:v>158.45367445463671</c:v>
                </c:pt>
                <c:pt idx="1303">
                  <c:v>158.45367445463671</c:v>
                </c:pt>
                <c:pt idx="1304">
                  <c:v>158.45367445463671</c:v>
                </c:pt>
                <c:pt idx="1305">
                  <c:v>158.45367445463671</c:v>
                </c:pt>
                <c:pt idx="1306">
                  <c:v>158.45367445463671</c:v>
                </c:pt>
                <c:pt idx="1307">
                  <c:v>158.45367445463671</c:v>
                </c:pt>
                <c:pt idx="1308">
                  <c:v>158.45367445463671</c:v>
                </c:pt>
                <c:pt idx="1309">
                  <c:v>158.45367445463671</c:v>
                </c:pt>
                <c:pt idx="1310">
                  <c:v>158.45367445463671</c:v>
                </c:pt>
                <c:pt idx="1311">
                  <c:v>158.45367445463671</c:v>
                </c:pt>
                <c:pt idx="1312">
                  <c:v>158.45367445463671</c:v>
                </c:pt>
                <c:pt idx="1313">
                  <c:v>158.45367445463671</c:v>
                </c:pt>
                <c:pt idx="1314">
                  <c:v>158.45367445463671</c:v>
                </c:pt>
                <c:pt idx="1315">
                  <c:v>158.45367445463671</c:v>
                </c:pt>
                <c:pt idx="1316">
                  <c:v>158.45367445463671</c:v>
                </c:pt>
                <c:pt idx="1317">
                  <c:v>158.45367445463671</c:v>
                </c:pt>
                <c:pt idx="1318">
                  <c:v>158.45367445463671</c:v>
                </c:pt>
                <c:pt idx="1319">
                  <c:v>158.45367445463671</c:v>
                </c:pt>
                <c:pt idx="1320">
                  <c:v>158.45367445463671</c:v>
                </c:pt>
                <c:pt idx="1321">
                  <c:v>158.45367445463671</c:v>
                </c:pt>
                <c:pt idx="1322">
                  <c:v>158.45367445463671</c:v>
                </c:pt>
                <c:pt idx="1323">
                  <c:v>158.45367445463671</c:v>
                </c:pt>
                <c:pt idx="1324">
                  <c:v>158.45367445463671</c:v>
                </c:pt>
                <c:pt idx="1325">
                  <c:v>158.45367445463671</c:v>
                </c:pt>
                <c:pt idx="1326">
                  <c:v>158.45367445463671</c:v>
                </c:pt>
                <c:pt idx="1327">
                  <c:v>158.45367445463671</c:v>
                </c:pt>
                <c:pt idx="1328">
                  <c:v>158.45367445463671</c:v>
                </c:pt>
                <c:pt idx="1329">
                  <c:v>158.45367445463671</c:v>
                </c:pt>
                <c:pt idx="1330">
                  <c:v>158.45367445463671</c:v>
                </c:pt>
                <c:pt idx="1331">
                  <c:v>158.45367445463671</c:v>
                </c:pt>
                <c:pt idx="1332">
                  <c:v>158.45367445463671</c:v>
                </c:pt>
                <c:pt idx="1333">
                  <c:v>158.45367445463671</c:v>
                </c:pt>
                <c:pt idx="1334">
                  <c:v>158.45367445463671</c:v>
                </c:pt>
                <c:pt idx="1335">
                  <c:v>158.45367445463671</c:v>
                </c:pt>
                <c:pt idx="1336">
                  <c:v>158.45367445463671</c:v>
                </c:pt>
                <c:pt idx="1337">
                  <c:v>158.45367445463671</c:v>
                </c:pt>
                <c:pt idx="1338">
                  <c:v>158.45367445463671</c:v>
                </c:pt>
                <c:pt idx="1339">
                  <c:v>158.45367445463671</c:v>
                </c:pt>
                <c:pt idx="1340">
                  <c:v>158.45367445463671</c:v>
                </c:pt>
                <c:pt idx="1341">
                  <c:v>158.45367445463671</c:v>
                </c:pt>
                <c:pt idx="1342">
                  <c:v>158.45367445463671</c:v>
                </c:pt>
                <c:pt idx="1343">
                  <c:v>158.45367445463671</c:v>
                </c:pt>
                <c:pt idx="1344">
                  <c:v>158.45367445463671</c:v>
                </c:pt>
                <c:pt idx="1345">
                  <c:v>158.45367445463671</c:v>
                </c:pt>
                <c:pt idx="1346">
                  <c:v>158.45367445463671</c:v>
                </c:pt>
                <c:pt idx="1347">
                  <c:v>158.45367445463671</c:v>
                </c:pt>
                <c:pt idx="1348">
                  <c:v>158.45367445463671</c:v>
                </c:pt>
                <c:pt idx="1349">
                  <c:v>158.45367445463671</c:v>
                </c:pt>
                <c:pt idx="1350">
                  <c:v>158.45367445463671</c:v>
                </c:pt>
                <c:pt idx="1351">
                  <c:v>158.45367445463671</c:v>
                </c:pt>
                <c:pt idx="1352">
                  <c:v>158.45367445463671</c:v>
                </c:pt>
                <c:pt idx="1353">
                  <c:v>158.45367445463671</c:v>
                </c:pt>
                <c:pt idx="1354">
                  <c:v>158.45367445463671</c:v>
                </c:pt>
                <c:pt idx="1355">
                  <c:v>158.45367445463671</c:v>
                </c:pt>
                <c:pt idx="1356">
                  <c:v>158.45367445463671</c:v>
                </c:pt>
                <c:pt idx="1357">
                  <c:v>158.45367445463671</c:v>
                </c:pt>
                <c:pt idx="1358">
                  <c:v>158.45367445463671</c:v>
                </c:pt>
                <c:pt idx="1359">
                  <c:v>158.45367445463671</c:v>
                </c:pt>
                <c:pt idx="1360">
                  <c:v>158.45367445463671</c:v>
                </c:pt>
                <c:pt idx="1361">
                  <c:v>158.45367445463671</c:v>
                </c:pt>
                <c:pt idx="1362">
                  <c:v>158.45367445463671</c:v>
                </c:pt>
                <c:pt idx="1363">
                  <c:v>158.45367445463671</c:v>
                </c:pt>
                <c:pt idx="1364">
                  <c:v>158.45367445463671</c:v>
                </c:pt>
                <c:pt idx="1365">
                  <c:v>158.45367445463671</c:v>
                </c:pt>
                <c:pt idx="1366">
                  <c:v>158.45367445463671</c:v>
                </c:pt>
                <c:pt idx="1367">
                  <c:v>158.45367445463671</c:v>
                </c:pt>
                <c:pt idx="1368">
                  <c:v>158.45367445463671</c:v>
                </c:pt>
                <c:pt idx="1369">
                  <c:v>158.45367445463671</c:v>
                </c:pt>
                <c:pt idx="1370">
                  <c:v>158.45367445463671</c:v>
                </c:pt>
                <c:pt idx="1371">
                  <c:v>158.45367445463671</c:v>
                </c:pt>
                <c:pt idx="1372">
                  <c:v>158.45367445463671</c:v>
                </c:pt>
                <c:pt idx="1373">
                  <c:v>158.45367445463671</c:v>
                </c:pt>
                <c:pt idx="1374">
                  <c:v>158.45367445463671</c:v>
                </c:pt>
                <c:pt idx="1375">
                  <c:v>158.45367445463671</c:v>
                </c:pt>
                <c:pt idx="1376">
                  <c:v>158.45367445463671</c:v>
                </c:pt>
                <c:pt idx="1377">
                  <c:v>158.45367445463671</c:v>
                </c:pt>
                <c:pt idx="1378">
                  <c:v>158.45367445463671</c:v>
                </c:pt>
                <c:pt idx="1379">
                  <c:v>158.45367445463671</c:v>
                </c:pt>
                <c:pt idx="1380">
                  <c:v>158.45367445463671</c:v>
                </c:pt>
                <c:pt idx="1381">
                  <c:v>158.45367445463671</c:v>
                </c:pt>
                <c:pt idx="1382">
                  <c:v>158.45367445463671</c:v>
                </c:pt>
                <c:pt idx="1383">
                  <c:v>158.45367445463671</c:v>
                </c:pt>
                <c:pt idx="1384">
                  <c:v>158.45367445463671</c:v>
                </c:pt>
                <c:pt idx="1385">
                  <c:v>158.45367445463671</c:v>
                </c:pt>
                <c:pt idx="1386">
                  <c:v>158.45367445463671</c:v>
                </c:pt>
                <c:pt idx="1387">
                  <c:v>158.45367445463671</c:v>
                </c:pt>
                <c:pt idx="1388">
                  <c:v>158.45367445463671</c:v>
                </c:pt>
                <c:pt idx="1389">
                  <c:v>158.45367445463671</c:v>
                </c:pt>
                <c:pt idx="1390">
                  <c:v>158.45367445463671</c:v>
                </c:pt>
                <c:pt idx="1391">
                  <c:v>158.45367445463671</c:v>
                </c:pt>
                <c:pt idx="1392">
                  <c:v>158.45367445463671</c:v>
                </c:pt>
                <c:pt idx="1393">
                  <c:v>158.45367445463671</c:v>
                </c:pt>
                <c:pt idx="1394">
                  <c:v>158.45367445463671</c:v>
                </c:pt>
                <c:pt idx="1395">
                  <c:v>158.45367445463671</c:v>
                </c:pt>
                <c:pt idx="1396">
                  <c:v>158.45367445463671</c:v>
                </c:pt>
                <c:pt idx="1397">
                  <c:v>158.45367445463671</c:v>
                </c:pt>
                <c:pt idx="1398">
                  <c:v>158.45367445463671</c:v>
                </c:pt>
                <c:pt idx="1399">
                  <c:v>158.45367445463671</c:v>
                </c:pt>
                <c:pt idx="1400">
                  <c:v>158.45367445463671</c:v>
                </c:pt>
                <c:pt idx="1401">
                  <c:v>158.45367445463671</c:v>
                </c:pt>
                <c:pt idx="1402">
                  <c:v>158.45367445463671</c:v>
                </c:pt>
                <c:pt idx="1403">
                  <c:v>158.45367445463671</c:v>
                </c:pt>
                <c:pt idx="1404">
                  <c:v>158.45367445463671</c:v>
                </c:pt>
                <c:pt idx="1405">
                  <c:v>158.45367445463671</c:v>
                </c:pt>
                <c:pt idx="1406">
                  <c:v>158.45367445463671</c:v>
                </c:pt>
                <c:pt idx="1407">
                  <c:v>158.45367445463671</c:v>
                </c:pt>
                <c:pt idx="1408">
                  <c:v>158.45367445463671</c:v>
                </c:pt>
                <c:pt idx="1409">
                  <c:v>158.45367445463671</c:v>
                </c:pt>
                <c:pt idx="1410">
                  <c:v>158.45367445463671</c:v>
                </c:pt>
                <c:pt idx="1411">
                  <c:v>158.45367445463671</c:v>
                </c:pt>
                <c:pt idx="1412">
                  <c:v>158.45367445463671</c:v>
                </c:pt>
                <c:pt idx="1413">
                  <c:v>158.45367445463671</c:v>
                </c:pt>
                <c:pt idx="1414">
                  <c:v>158.45367445463671</c:v>
                </c:pt>
                <c:pt idx="1415">
                  <c:v>158.45367445463671</c:v>
                </c:pt>
                <c:pt idx="1416">
                  <c:v>158.45367445463671</c:v>
                </c:pt>
                <c:pt idx="1417">
                  <c:v>158.45367445463671</c:v>
                </c:pt>
                <c:pt idx="1418">
                  <c:v>158.45367445463671</c:v>
                </c:pt>
                <c:pt idx="1419">
                  <c:v>158.45367445463671</c:v>
                </c:pt>
                <c:pt idx="1420">
                  <c:v>158.45367445463671</c:v>
                </c:pt>
                <c:pt idx="1421">
                  <c:v>158.45367445463671</c:v>
                </c:pt>
                <c:pt idx="1422">
                  <c:v>158.45367445463671</c:v>
                </c:pt>
                <c:pt idx="1423">
                  <c:v>158.45367445463671</c:v>
                </c:pt>
                <c:pt idx="1424">
                  <c:v>158.45367445463671</c:v>
                </c:pt>
                <c:pt idx="1425">
                  <c:v>158.45367445463671</c:v>
                </c:pt>
                <c:pt idx="1426">
                  <c:v>158.45367445463671</c:v>
                </c:pt>
                <c:pt idx="1427">
                  <c:v>158.45367445463671</c:v>
                </c:pt>
                <c:pt idx="1428">
                  <c:v>158.45367445463671</c:v>
                </c:pt>
                <c:pt idx="1429">
                  <c:v>158.45367445463671</c:v>
                </c:pt>
                <c:pt idx="1430">
                  <c:v>158.45367445463671</c:v>
                </c:pt>
                <c:pt idx="1431">
                  <c:v>158.45367445463671</c:v>
                </c:pt>
                <c:pt idx="1432">
                  <c:v>158.45367445463671</c:v>
                </c:pt>
                <c:pt idx="1433">
                  <c:v>158.45367445463671</c:v>
                </c:pt>
                <c:pt idx="1434">
                  <c:v>158.45367445463671</c:v>
                </c:pt>
                <c:pt idx="1435">
                  <c:v>158.45367445463671</c:v>
                </c:pt>
                <c:pt idx="1436">
                  <c:v>158.45367445463671</c:v>
                </c:pt>
                <c:pt idx="1437">
                  <c:v>158.45367445463671</c:v>
                </c:pt>
                <c:pt idx="1438">
                  <c:v>158.45367445463671</c:v>
                </c:pt>
                <c:pt idx="1439">
                  <c:v>158.45367445463671</c:v>
                </c:pt>
                <c:pt idx="1440">
                  <c:v>158.45367445463671</c:v>
                </c:pt>
                <c:pt idx="1441">
                  <c:v>158.45367445463671</c:v>
                </c:pt>
                <c:pt idx="1442">
                  <c:v>158.45367445463671</c:v>
                </c:pt>
                <c:pt idx="1443">
                  <c:v>158.45367445463671</c:v>
                </c:pt>
                <c:pt idx="1444">
                  <c:v>158.45367445463671</c:v>
                </c:pt>
                <c:pt idx="1445">
                  <c:v>158.45367445463671</c:v>
                </c:pt>
                <c:pt idx="1446">
                  <c:v>158.45367445463671</c:v>
                </c:pt>
                <c:pt idx="1447">
                  <c:v>158.45367445463671</c:v>
                </c:pt>
                <c:pt idx="1448">
                  <c:v>158.45367445463671</c:v>
                </c:pt>
                <c:pt idx="1449">
                  <c:v>158.45367445463671</c:v>
                </c:pt>
                <c:pt idx="1450">
                  <c:v>158.45367445463671</c:v>
                </c:pt>
                <c:pt idx="1451">
                  <c:v>158.45367445463671</c:v>
                </c:pt>
                <c:pt idx="1452">
                  <c:v>158.45367445463671</c:v>
                </c:pt>
                <c:pt idx="1453">
                  <c:v>158.45367445463671</c:v>
                </c:pt>
                <c:pt idx="1454">
                  <c:v>157.70099629165392</c:v>
                </c:pt>
                <c:pt idx="1455">
                  <c:v>153.03899991568579</c:v>
                </c:pt>
                <c:pt idx="1456">
                  <c:v>152.65802248395201</c:v>
                </c:pt>
                <c:pt idx="1457">
                  <c:v>149.68576949076842</c:v>
                </c:pt>
                <c:pt idx="1458">
                  <c:v>153.76508607645962</c:v>
                </c:pt>
                <c:pt idx="1459">
                  <c:v>155.24148406391041</c:v>
                </c:pt>
                <c:pt idx="1460">
                  <c:v>147.43897844949512</c:v>
                </c:pt>
                <c:pt idx="1461">
                  <c:v>144.41662112804539</c:v>
                </c:pt>
                <c:pt idx="1462">
                  <c:v>144.41662112804539</c:v>
                </c:pt>
                <c:pt idx="1463">
                  <c:v>144.23610035163534</c:v>
                </c:pt>
                <c:pt idx="1464">
                  <c:v>144.23610035163534</c:v>
                </c:pt>
                <c:pt idx="1465">
                  <c:v>144.23610035163534</c:v>
                </c:pt>
                <c:pt idx="1466">
                  <c:v>150.23212523951537</c:v>
                </c:pt>
                <c:pt idx="1467">
                  <c:v>153.85355957188074</c:v>
                </c:pt>
                <c:pt idx="1468">
                  <c:v>153.85355957188074</c:v>
                </c:pt>
                <c:pt idx="1469">
                  <c:v>149.69549487702017</c:v>
                </c:pt>
                <c:pt idx="1470">
                  <c:v>144.19631840296475</c:v>
                </c:pt>
                <c:pt idx="1471">
                  <c:v>144.19631840296475</c:v>
                </c:pt>
                <c:pt idx="1472">
                  <c:v>145.22344022748584</c:v>
                </c:pt>
                <c:pt idx="1473">
                  <c:v>145.13257454682955</c:v>
                </c:pt>
                <c:pt idx="1474">
                  <c:v>146.72274985743243</c:v>
                </c:pt>
                <c:pt idx="1475">
                  <c:v>148.23084310548276</c:v>
                </c:pt>
                <c:pt idx="1476">
                  <c:v>148.23084310548276</c:v>
                </c:pt>
                <c:pt idx="1477">
                  <c:v>150.30527269221361</c:v>
                </c:pt>
                <c:pt idx="1478">
                  <c:v>147.18218260021939</c:v>
                </c:pt>
                <c:pt idx="1479">
                  <c:v>147.4029069282565</c:v>
                </c:pt>
                <c:pt idx="1480">
                  <c:v>143.30486708545712</c:v>
                </c:pt>
                <c:pt idx="1481">
                  <c:v>143.30486708545712</c:v>
                </c:pt>
                <c:pt idx="1482">
                  <c:v>141.69658437706488</c:v>
                </c:pt>
                <c:pt idx="1483">
                  <c:v>141.51946364659355</c:v>
                </c:pt>
                <c:pt idx="1484">
                  <c:v>141.34256431703531</c:v>
                </c:pt>
                <c:pt idx="1485">
                  <c:v>145.4352631546152</c:v>
                </c:pt>
                <c:pt idx="1486">
                  <c:v>145.25346907567194</c:v>
                </c:pt>
                <c:pt idx="1487">
                  <c:v>145.07190223932736</c:v>
                </c:pt>
                <c:pt idx="1488">
                  <c:v>145.07190223932736</c:v>
                </c:pt>
                <c:pt idx="1489">
                  <c:v>145.07190223932736</c:v>
                </c:pt>
                <c:pt idx="1490">
                  <c:v>145.07190223932736</c:v>
                </c:pt>
                <c:pt idx="1491">
                  <c:v>145.07190223932736</c:v>
                </c:pt>
                <c:pt idx="1492">
                  <c:v>145.07190223932736</c:v>
                </c:pt>
                <c:pt idx="1493">
                  <c:v>145.07190223932736</c:v>
                </c:pt>
                <c:pt idx="1494">
                  <c:v>145.07190223932736</c:v>
                </c:pt>
                <c:pt idx="1495">
                  <c:v>145.07190223932736</c:v>
                </c:pt>
                <c:pt idx="1496">
                  <c:v>145.07190223932736</c:v>
                </c:pt>
                <c:pt idx="1497">
                  <c:v>145.07190223932736</c:v>
                </c:pt>
                <c:pt idx="1498">
                  <c:v>145.07190223932736</c:v>
                </c:pt>
                <c:pt idx="1499">
                  <c:v>145.07190223932736</c:v>
                </c:pt>
                <c:pt idx="1500">
                  <c:v>145.07190223932736</c:v>
                </c:pt>
                <c:pt idx="1501">
                  <c:v>145.07190223932736</c:v>
                </c:pt>
                <c:pt idx="1502">
                  <c:v>145.07190223932736</c:v>
                </c:pt>
                <c:pt idx="1503">
                  <c:v>145.07190223932736</c:v>
                </c:pt>
                <c:pt idx="1504">
                  <c:v>145.07190223932736</c:v>
                </c:pt>
                <c:pt idx="1505">
                  <c:v>145.07190223932736</c:v>
                </c:pt>
                <c:pt idx="1506">
                  <c:v>145.07190223932736</c:v>
                </c:pt>
                <c:pt idx="1507">
                  <c:v>145.07190223932736</c:v>
                </c:pt>
                <c:pt idx="1508">
                  <c:v>145.07190223932736</c:v>
                </c:pt>
                <c:pt idx="1509">
                  <c:v>145.07190223932736</c:v>
                </c:pt>
                <c:pt idx="1510">
                  <c:v>145.07190223932736</c:v>
                </c:pt>
                <c:pt idx="1511">
                  <c:v>145.07190223932736</c:v>
                </c:pt>
                <c:pt idx="1512">
                  <c:v>145.07190223932736</c:v>
                </c:pt>
                <c:pt idx="1513">
                  <c:v>145.07190223932736</c:v>
                </c:pt>
                <c:pt idx="1514">
                  <c:v>145.07190223932736</c:v>
                </c:pt>
                <c:pt idx="1515">
                  <c:v>145.07190223932736</c:v>
                </c:pt>
                <c:pt idx="1516">
                  <c:v>145.07190223932736</c:v>
                </c:pt>
                <c:pt idx="1517">
                  <c:v>145.07190223932736</c:v>
                </c:pt>
                <c:pt idx="1518">
                  <c:v>145.07190223932736</c:v>
                </c:pt>
                <c:pt idx="1519">
                  <c:v>145.07190223932736</c:v>
                </c:pt>
                <c:pt idx="1520">
                  <c:v>145.07190223932736</c:v>
                </c:pt>
                <c:pt idx="1521">
                  <c:v>145.07190223932736</c:v>
                </c:pt>
                <c:pt idx="1522">
                  <c:v>145.07190223932736</c:v>
                </c:pt>
                <c:pt idx="1523">
                  <c:v>145.07190223932736</c:v>
                </c:pt>
                <c:pt idx="1524">
                  <c:v>145.07190223932736</c:v>
                </c:pt>
                <c:pt idx="1525">
                  <c:v>145.07190223932736</c:v>
                </c:pt>
                <c:pt idx="1526">
                  <c:v>145.07190223932736</c:v>
                </c:pt>
                <c:pt idx="1527">
                  <c:v>145.07190223932736</c:v>
                </c:pt>
                <c:pt idx="1528">
                  <c:v>145.07190223932736</c:v>
                </c:pt>
                <c:pt idx="1529">
                  <c:v>145.07190223932736</c:v>
                </c:pt>
                <c:pt idx="1530">
                  <c:v>145.07190223932736</c:v>
                </c:pt>
                <c:pt idx="1531">
                  <c:v>145.07190223932736</c:v>
                </c:pt>
                <c:pt idx="1532">
                  <c:v>145.07190223932736</c:v>
                </c:pt>
                <c:pt idx="1533">
                  <c:v>145.07190223932736</c:v>
                </c:pt>
                <c:pt idx="1534">
                  <c:v>145.07190223932736</c:v>
                </c:pt>
                <c:pt idx="1535">
                  <c:v>145.07190223932736</c:v>
                </c:pt>
                <c:pt idx="1536">
                  <c:v>165.36791184645875</c:v>
                </c:pt>
                <c:pt idx="1537">
                  <c:v>165.16120195665067</c:v>
                </c:pt>
                <c:pt idx="1538">
                  <c:v>164.95475045420486</c:v>
                </c:pt>
                <c:pt idx="1539">
                  <c:v>164.95475045420486</c:v>
                </c:pt>
                <c:pt idx="1540">
                  <c:v>164.95475045420486</c:v>
                </c:pt>
                <c:pt idx="1541">
                  <c:v>164.95475045420486</c:v>
                </c:pt>
                <c:pt idx="1542">
                  <c:v>164.95475045420486</c:v>
                </c:pt>
                <c:pt idx="1543">
                  <c:v>164.95475045420486</c:v>
                </c:pt>
                <c:pt idx="1544">
                  <c:v>164.95475045420486</c:v>
                </c:pt>
                <c:pt idx="1545">
                  <c:v>166.0035206228487</c:v>
                </c:pt>
                <c:pt idx="1546">
                  <c:v>170.64262387142972</c:v>
                </c:pt>
                <c:pt idx="1547">
                  <c:v>170.64262387142972</c:v>
                </c:pt>
                <c:pt idx="1548">
                  <c:v>170.42932059159043</c:v>
                </c:pt>
                <c:pt idx="1549">
                  <c:v>170.42932059159043</c:v>
                </c:pt>
                <c:pt idx="1550">
                  <c:v>170.42932059159043</c:v>
                </c:pt>
                <c:pt idx="1551">
                  <c:v>170.42932059159043</c:v>
                </c:pt>
                <c:pt idx="1552">
                  <c:v>170.42932059159043</c:v>
                </c:pt>
                <c:pt idx="1553">
                  <c:v>170.42932059159043</c:v>
                </c:pt>
                <c:pt idx="1554">
                  <c:v>170.42932059159043</c:v>
                </c:pt>
                <c:pt idx="1555">
                  <c:v>170.42932059159043</c:v>
                </c:pt>
                <c:pt idx="1556">
                  <c:v>170.42932059159043</c:v>
                </c:pt>
                <c:pt idx="1557">
                  <c:v>170.42932059159043</c:v>
                </c:pt>
                <c:pt idx="1558">
                  <c:v>170.42932059159043</c:v>
                </c:pt>
                <c:pt idx="1559">
                  <c:v>170.42932059159043</c:v>
                </c:pt>
                <c:pt idx="1560">
                  <c:v>170.42932059159043</c:v>
                </c:pt>
                <c:pt idx="1561">
                  <c:v>170.42932059159043</c:v>
                </c:pt>
                <c:pt idx="1562">
                  <c:v>170.42932059159043</c:v>
                </c:pt>
                <c:pt idx="1563">
                  <c:v>170.42932059159043</c:v>
                </c:pt>
                <c:pt idx="1564">
                  <c:v>170.42932059159043</c:v>
                </c:pt>
                <c:pt idx="1565">
                  <c:v>170.42932059159043</c:v>
                </c:pt>
                <c:pt idx="1566">
                  <c:v>170.42932059159043</c:v>
                </c:pt>
                <c:pt idx="1567">
                  <c:v>170.42932059159043</c:v>
                </c:pt>
                <c:pt idx="1568">
                  <c:v>170.42932059159043</c:v>
                </c:pt>
                <c:pt idx="1569">
                  <c:v>170.42932059159043</c:v>
                </c:pt>
                <c:pt idx="1570">
                  <c:v>170.42932059159043</c:v>
                </c:pt>
                <c:pt idx="1571">
                  <c:v>170.42932059159043</c:v>
                </c:pt>
                <c:pt idx="1572">
                  <c:v>170.42932059159043</c:v>
                </c:pt>
                <c:pt idx="1573">
                  <c:v>170.42932059159043</c:v>
                </c:pt>
                <c:pt idx="1574">
                  <c:v>170.42932059159043</c:v>
                </c:pt>
                <c:pt idx="1575">
                  <c:v>170.42932059159043</c:v>
                </c:pt>
                <c:pt idx="1576">
                  <c:v>170.42932059159043</c:v>
                </c:pt>
                <c:pt idx="1577">
                  <c:v>170.42932059159043</c:v>
                </c:pt>
                <c:pt idx="1578">
                  <c:v>170.42932059159043</c:v>
                </c:pt>
                <c:pt idx="1579">
                  <c:v>170.42932059159043</c:v>
                </c:pt>
                <c:pt idx="1580">
                  <c:v>170.42932059159043</c:v>
                </c:pt>
                <c:pt idx="1581">
                  <c:v>170.42932059159043</c:v>
                </c:pt>
                <c:pt idx="1582">
                  <c:v>170.42932059159043</c:v>
                </c:pt>
                <c:pt idx="1583">
                  <c:v>170.42932059159043</c:v>
                </c:pt>
                <c:pt idx="1584">
                  <c:v>170.42932059159043</c:v>
                </c:pt>
                <c:pt idx="1585">
                  <c:v>170.42932059159043</c:v>
                </c:pt>
                <c:pt idx="1586">
                  <c:v>170.42932059159043</c:v>
                </c:pt>
                <c:pt idx="1587">
                  <c:v>170.42932059159043</c:v>
                </c:pt>
                <c:pt idx="1588">
                  <c:v>170.42932059159043</c:v>
                </c:pt>
                <c:pt idx="1589">
                  <c:v>170.42932059159043</c:v>
                </c:pt>
                <c:pt idx="1590">
                  <c:v>170.42932059159043</c:v>
                </c:pt>
                <c:pt idx="1591">
                  <c:v>170.42932059159043</c:v>
                </c:pt>
                <c:pt idx="1592">
                  <c:v>170.42932059159043</c:v>
                </c:pt>
                <c:pt idx="1593">
                  <c:v>170.42932059159043</c:v>
                </c:pt>
                <c:pt idx="1594">
                  <c:v>170.42932059159043</c:v>
                </c:pt>
                <c:pt idx="1595">
                  <c:v>170.42932059159043</c:v>
                </c:pt>
                <c:pt idx="1596">
                  <c:v>170.42932059159043</c:v>
                </c:pt>
                <c:pt idx="1597">
                  <c:v>170.42932059159043</c:v>
                </c:pt>
                <c:pt idx="1598">
                  <c:v>170.42932059159043</c:v>
                </c:pt>
                <c:pt idx="1599">
                  <c:v>170.42932059159043</c:v>
                </c:pt>
                <c:pt idx="1600">
                  <c:v>170.42932059159043</c:v>
                </c:pt>
                <c:pt idx="1601">
                  <c:v>170.42932059159043</c:v>
                </c:pt>
                <c:pt idx="1602">
                  <c:v>170.42932059159043</c:v>
                </c:pt>
                <c:pt idx="1603">
                  <c:v>170.42932059159043</c:v>
                </c:pt>
                <c:pt idx="1604">
                  <c:v>170.42932059159043</c:v>
                </c:pt>
                <c:pt idx="1605">
                  <c:v>170.42932059159043</c:v>
                </c:pt>
                <c:pt idx="1606">
                  <c:v>170.42932059159043</c:v>
                </c:pt>
                <c:pt idx="1607">
                  <c:v>170.42932059159043</c:v>
                </c:pt>
                <c:pt idx="1608">
                  <c:v>170.42932059159043</c:v>
                </c:pt>
                <c:pt idx="1609">
                  <c:v>170.42932059159043</c:v>
                </c:pt>
                <c:pt idx="1610">
                  <c:v>170.42932059159043</c:v>
                </c:pt>
                <c:pt idx="1611">
                  <c:v>170.42932059159043</c:v>
                </c:pt>
                <c:pt idx="1612">
                  <c:v>170.42932059159043</c:v>
                </c:pt>
                <c:pt idx="1613">
                  <c:v>170.42932059159043</c:v>
                </c:pt>
                <c:pt idx="1614">
                  <c:v>170.42932059159043</c:v>
                </c:pt>
                <c:pt idx="1615">
                  <c:v>170.42932059159043</c:v>
                </c:pt>
                <c:pt idx="1616">
                  <c:v>170.42932059159043</c:v>
                </c:pt>
                <c:pt idx="1617">
                  <c:v>170.42932059159043</c:v>
                </c:pt>
                <c:pt idx="1618">
                  <c:v>170.42932059159043</c:v>
                </c:pt>
                <c:pt idx="1619">
                  <c:v>170.42932059159043</c:v>
                </c:pt>
                <c:pt idx="1620">
                  <c:v>170.42932059159043</c:v>
                </c:pt>
                <c:pt idx="1621">
                  <c:v>170.42932059159043</c:v>
                </c:pt>
                <c:pt idx="1622">
                  <c:v>170.42932059159043</c:v>
                </c:pt>
                <c:pt idx="1623">
                  <c:v>170.42932059159043</c:v>
                </c:pt>
                <c:pt idx="1624">
                  <c:v>170.42932059159043</c:v>
                </c:pt>
                <c:pt idx="1625">
                  <c:v>170.42932059159043</c:v>
                </c:pt>
                <c:pt idx="1626">
                  <c:v>170.42932059159043</c:v>
                </c:pt>
                <c:pt idx="1627">
                  <c:v>170.42932059159043</c:v>
                </c:pt>
                <c:pt idx="1628">
                  <c:v>170.42932059159043</c:v>
                </c:pt>
                <c:pt idx="1629">
                  <c:v>170.42932059159043</c:v>
                </c:pt>
                <c:pt idx="1630">
                  <c:v>170.42932059159043</c:v>
                </c:pt>
                <c:pt idx="1631">
                  <c:v>170.42932059159043</c:v>
                </c:pt>
                <c:pt idx="1632">
                  <c:v>170.42932059159043</c:v>
                </c:pt>
                <c:pt idx="1633">
                  <c:v>170.42932059159043</c:v>
                </c:pt>
                <c:pt idx="1634">
                  <c:v>170.42932059159043</c:v>
                </c:pt>
                <c:pt idx="1635">
                  <c:v>170.42932059159043</c:v>
                </c:pt>
                <c:pt idx="1636">
                  <c:v>170.42932059159043</c:v>
                </c:pt>
                <c:pt idx="1637">
                  <c:v>170.42932059159043</c:v>
                </c:pt>
                <c:pt idx="1638">
                  <c:v>170.42932059159043</c:v>
                </c:pt>
                <c:pt idx="1639">
                  <c:v>170.42932059159043</c:v>
                </c:pt>
                <c:pt idx="1640">
                  <c:v>170.42932059159043</c:v>
                </c:pt>
                <c:pt idx="1641">
                  <c:v>170.42932059159043</c:v>
                </c:pt>
                <c:pt idx="1642">
                  <c:v>170.42932059159043</c:v>
                </c:pt>
                <c:pt idx="1643">
                  <c:v>170.42932059159043</c:v>
                </c:pt>
                <c:pt idx="1644">
                  <c:v>170.42932059159043</c:v>
                </c:pt>
                <c:pt idx="1645">
                  <c:v>170.42932059159043</c:v>
                </c:pt>
                <c:pt idx="1646">
                  <c:v>170.42932059159043</c:v>
                </c:pt>
                <c:pt idx="1647">
                  <c:v>170.42932059159043</c:v>
                </c:pt>
                <c:pt idx="1648">
                  <c:v>170.42932059159043</c:v>
                </c:pt>
                <c:pt idx="1649">
                  <c:v>170.42932059159043</c:v>
                </c:pt>
                <c:pt idx="1650">
                  <c:v>170.42932059159043</c:v>
                </c:pt>
                <c:pt idx="1651">
                  <c:v>170.42932059159043</c:v>
                </c:pt>
                <c:pt idx="1652">
                  <c:v>170.42932059159043</c:v>
                </c:pt>
                <c:pt idx="1653">
                  <c:v>170.42932059159043</c:v>
                </c:pt>
                <c:pt idx="1654">
                  <c:v>170.42932059159043</c:v>
                </c:pt>
                <c:pt idx="1655">
                  <c:v>170.42932059159043</c:v>
                </c:pt>
                <c:pt idx="1656">
                  <c:v>170.42932059159043</c:v>
                </c:pt>
                <c:pt idx="1657">
                  <c:v>170.42932059159043</c:v>
                </c:pt>
                <c:pt idx="1658">
                  <c:v>170.42932059159043</c:v>
                </c:pt>
                <c:pt idx="1659">
                  <c:v>170.42932059159043</c:v>
                </c:pt>
                <c:pt idx="1660">
                  <c:v>170.42932059159043</c:v>
                </c:pt>
                <c:pt idx="1661">
                  <c:v>170.42932059159043</c:v>
                </c:pt>
                <c:pt idx="1662">
                  <c:v>170.42932059159043</c:v>
                </c:pt>
                <c:pt idx="1663">
                  <c:v>170.42932059159043</c:v>
                </c:pt>
                <c:pt idx="1664">
                  <c:v>170.42932059159043</c:v>
                </c:pt>
                <c:pt idx="1665">
                  <c:v>170.42932059159043</c:v>
                </c:pt>
                <c:pt idx="1666">
                  <c:v>170.42932059159043</c:v>
                </c:pt>
                <c:pt idx="1667">
                  <c:v>170.42932059159043</c:v>
                </c:pt>
                <c:pt idx="1668">
                  <c:v>170.42932059159043</c:v>
                </c:pt>
                <c:pt idx="1669">
                  <c:v>170.42932059159043</c:v>
                </c:pt>
                <c:pt idx="1670">
                  <c:v>170.42932059159043</c:v>
                </c:pt>
                <c:pt idx="1671">
                  <c:v>170.42932059159043</c:v>
                </c:pt>
                <c:pt idx="1672">
                  <c:v>170.42932059159043</c:v>
                </c:pt>
                <c:pt idx="1673">
                  <c:v>170.42932059159043</c:v>
                </c:pt>
                <c:pt idx="1674">
                  <c:v>170.42932059159043</c:v>
                </c:pt>
                <c:pt idx="1675">
                  <c:v>170.42932059159043</c:v>
                </c:pt>
                <c:pt idx="1676">
                  <c:v>170.42932059159043</c:v>
                </c:pt>
                <c:pt idx="1677">
                  <c:v>170.42932059159043</c:v>
                </c:pt>
                <c:pt idx="1678">
                  <c:v>170.42932059159043</c:v>
                </c:pt>
                <c:pt idx="1679">
                  <c:v>170.42932059159043</c:v>
                </c:pt>
                <c:pt idx="1680">
                  <c:v>170.42932059159043</c:v>
                </c:pt>
                <c:pt idx="1681">
                  <c:v>170.42932059159043</c:v>
                </c:pt>
                <c:pt idx="1682">
                  <c:v>170.42932059159043</c:v>
                </c:pt>
                <c:pt idx="1683">
                  <c:v>170.42932059159043</c:v>
                </c:pt>
                <c:pt idx="1684">
                  <c:v>170.42932059159043</c:v>
                </c:pt>
                <c:pt idx="1685">
                  <c:v>170.42932059159043</c:v>
                </c:pt>
                <c:pt idx="1686">
                  <c:v>170.42932059159043</c:v>
                </c:pt>
                <c:pt idx="1687">
                  <c:v>170.42932059159043</c:v>
                </c:pt>
                <c:pt idx="1688">
                  <c:v>170.42932059159043</c:v>
                </c:pt>
                <c:pt idx="1689">
                  <c:v>205.82398610883354</c:v>
                </c:pt>
                <c:pt idx="1690">
                  <c:v>205.56670612619749</c:v>
                </c:pt>
                <c:pt idx="1691">
                  <c:v>205.30974774353976</c:v>
                </c:pt>
                <c:pt idx="1692">
                  <c:v>205.30974774353976</c:v>
                </c:pt>
                <c:pt idx="1693">
                  <c:v>205.30974774353976</c:v>
                </c:pt>
                <c:pt idx="1694">
                  <c:v>205.30974774353976</c:v>
                </c:pt>
                <c:pt idx="1695">
                  <c:v>205.30974774353976</c:v>
                </c:pt>
                <c:pt idx="1696">
                  <c:v>205.30974774353976</c:v>
                </c:pt>
                <c:pt idx="1697">
                  <c:v>205.30974774353976</c:v>
                </c:pt>
                <c:pt idx="1698">
                  <c:v>205.30974774353976</c:v>
                </c:pt>
                <c:pt idx="1699">
                  <c:v>205.30974774353976</c:v>
                </c:pt>
                <c:pt idx="1700">
                  <c:v>205.30974774353976</c:v>
                </c:pt>
                <c:pt idx="1701">
                  <c:v>205.30974774353976</c:v>
                </c:pt>
                <c:pt idx="1702">
                  <c:v>205.30974774353976</c:v>
                </c:pt>
                <c:pt idx="1703">
                  <c:v>205.30974774353976</c:v>
                </c:pt>
                <c:pt idx="1704">
                  <c:v>205.30974774353976</c:v>
                </c:pt>
                <c:pt idx="1705">
                  <c:v>205.30974774353976</c:v>
                </c:pt>
                <c:pt idx="1706">
                  <c:v>205.30974774353976</c:v>
                </c:pt>
                <c:pt idx="1707">
                  <c:v>205.30974774353976</c:v>
                </c:pt>
                <c:pt idx="1708">
                  <c:v>205.30974774353976</c:v>
                </c:pt>
                <c:pt idx="1709">
                  <c:v>205.30974774353976</c:v>
                </c:pt>
                <c:pt idx="1710">
                  <c:v>205.30974774353976</c:v>
                </c:pt>
                <c:pt idx="1711">
                  <c:v>205.30974774353976</c:v>
                </c:pt>
                <c:pt idx="1712">
                  <c:v>205.30974774353976</c:v>
                </c:pt>
                <c:pt idx="1713">
                  <c:v>205.30974774353976</c:v>
                </c:pt>
                <c:pt idx="1714">
                  <c:v>205.30974774353976</c:v>
                </c:pt>
                <c:pt idx="1715">
                  <c:v>205.30974774353976</c:v>
                </c:pt>
                <c:pt idx="1716">
                  <c:v>205.30974774353976</c:v>
                </c:pt>
                <c:pt idx="1717">
                  <c:v>205.30974774353976</c:v>
                </c:pt>
                <c:pt idx="1718">
                  <c:v>205.30974774353976</c:v>
                </c:pt>
                <c:pt idx="1719">
                  <c:v>205.30974774353976</c:v>
                </c:pt>
                <c:pt idx="1720">
                  <c:v>205.30974774353976</c:v>
                </c:pt>
                <c:pt idx="1721">
                  <c:v>205.30974774353976</c:v>
                </c:pt>
                <c:pt idx="1722">
                  <c:v>205.30974774353976</c:v>
                </c:pt>
                <c:pt idx="1723">
                  <c:v>205.30974774353976</c:v>
                </c:pt>
                <c:pt idx="1724">
                  <c:v>205.30974774353976</c:v>
                </c:pt>
                <c:pt idx="1725">
                  <c:v>205.30974774353976</c:v>
                </c:pt>
                <c:pt idx="1726">
                  <c:v>205.30974774353976</c:v>
                </c:pt>
                <c:pt idx="1727">
                  <c:v>205.30974774353976</c:v>
                </c:pt>
                <c:pt idx="1728">
                  <c:v>205.30974774353976</c:v>
                </c:pt>
                <c:pt idx="1729">
                  <c:v>205.30974774353976</c:v>
                </c:pt>
                <c:pt idx="1730">
                  <c:v>205.30974774353976</c:v>
                </c:pt>
                <c:pt idx="1731">
                  <c:v>205.30974774353976</c:v>
                </c:pt>
                <c:pt idx="1732">
                  <c:v>205.30974774353976</c:v>
                </c:pt>
                <c:pt idx="1733">
                  <c:v>205.30974774353976</c:v>
                </c:pt>
                <c:pt idx="1734">
                  <c:v>205.30974774353976</c:v>
                </c:pt>
                <c:pt idx="1735">
                  <c:v>205.30974774353976</c:v>
                </c:pt>
                <c:pt idx="1736">
                  <c:v>205.30974774353976</c:v>
                </c:pt>
                <c:pt idx="1737">
                  <c:v>205.30974774353976</c:v>
                </c:pt>
                <c:pt idx="1738">
                  <c:v>205.30974774353976</c:v>
                </c:pt>
                <c:pt idx="1739">
                  <c:v>205.30974774353976</c:v>
                </c:pt>
                <c:pt idx="1740">
                  <c:v>205.30974774353976</c:v>
                </c:pt>
                <c:pt idx="1741">
                  <c:v>205.30974774353976</c:v>
                </c:pt>
                <c:pt idx="1742">
                  <c:v>205.30974774353976</c:v>
                </c:pt>
                <c:pt idx="1743">
                  <c:v>205.30974774353976</c:v>
                </c:pt>
                <c:pt idx="1744">
                  <c:v>205.30974774353976</c:v>
                </c:pt>
                <c:pt idx="1745">
                  <c:v>205.30974774353976</c:v>
                </c:pt>
                <c:pt idx="1746">
                  <c:v>205.30974774353976</c:v>
                </c:pt>
                <c:pt idx="1747">
                  <c:v>205.30974774353976</c:v>
                </c:pt>
                <c:pt idx="1748">
                  <c:v>205.30974774353976</c:v>
                </c:pt>
                <c:pt idx="1749">
                  <c:v>205.30974774353976</c:v>
                </c:pt>
                <c:pt idx="1750">
                  <c:v>205.30974774353976</c:v>
                </c:pt>
                <c:pt idx="1751">
                  <c:v>205.30974774353976</c:v>
                </c:pt>
                <c:pt idx="1752">
                  <c:v>205.30974774353976</c:v>
                </c:pt>
                <c:pt idx="1753">
                  <c:v>205.30974774353976</c:v>
                </c:pt>
                <c:pt idx="1754">
                  <c:v>205.30974774353976</c:v>
                </c:pt>
                <c:pt idx="1755">
                  <c:v>205.30974774353976</c:v>
                </c:pt>
                <c:pt idx="1756">
                  <c:v>205.30974774353976</c:v>
                </c:pt>
                <c:pt idx="1757">
                  <c:v>205.30974774353976</c:v>
                </c:pt>
                <c:pt idx="1758">
                  <c:v>205.30974774353976</c:v>
                </c:pt>
                <c:pt idx="1759">
                  <c:v>205.30974774353976</c:v>
                </c:pt>
                <c:pt idx="1760">
                  <c:v>205.30974774353976</c:v>
                </c:pt>
                <c:pt idx="1761">
                  <c:v>205.30974774353976</c:v>
                </c:pt>
                <c:pt idx="1762">
                  <c:v>205.30974774353976</c:v>
                </c:pt>
                <c:pt idx="1763">
                  <c:v>205.30974774353976</c:v>
                </c:pt>
                <c:pt idx="1764">
                  <c:v>205.30974774353976</c:v>
                </c:pt>
                <c:pt idx="1765">
                  <c:v>205.30974774353976</c:v>
                </c:pt>
                <c:pt idx="1766">
                  <c:v>205.30974774353976</c:v>
                </c:pt>
                <c:pt idx="1767">
                  <c:v>205.30974774353976</c:v>
                </c:pt>
                <c:pt idx="1768">
                  <c:v>205.30974774353976</c:v>
                </c:pt>
                <c:pt idx="1769">
                  <c:v>205.30974774353976</c:v>
                </c:pt>
                <c:pt idx="1770">
                  <c:v>205.30974774353976</c:v>
                </c:pt>
                <c:pt idx="1771">
                  <c:v>205.30974774353976</c:v>
                </c:pt>
                <c:pt idx="1772">
                  <c:v>205.30974774353976</c:v>
                </c:pt>
                <c:pt idx="1773">
                  <c:v>205.30974774353976</c:v>
                </c:pt>
                <c:pt idx="1774">
                  <c:v>205.30974774353976</c:v>
                </c:pt>
                <c:pt idx="1775">
                  <c:v>205.30974774353976</c:v>
                </c:pt>
                <c:pt idx="1776">
                  <c:v>205.30974774353976</c:v>
                </c:pt>
                <c:pt idx="1777">
                  <c:v>205.30974774353976</c:v>
                </c:pt>
                <c:pt idx="1778">
                  <c:v>205.30974774353976</c:v>
                </c:pt>
                <c:pt idx="1779">
                  <c:v>205.30974774353976</c:v>
                </c:pt>
                <c:pt idx="1780">
                  <c:v>205.30974774353976</c:v>
                </c:pt>
                <c:pt idx="1781">
                  <c:v>205.30974774353976</c:v>
                </c:pt>
                <c:pt idx="1782">
                  <c:v>205.30974774353976</c:v>
                </c:pt>
                <c:pt idx="1783">
                  <c:v>205.30974774353976</c:v>
                </c:pt>
                <c:pt idx="1784">
                  <c:v>205.30974774353976</c:v>
                </c:pt>
                <c:pt idx="1785">
                  <c:v>205.30974774353976</c:v>
                </c:pt>
                <c:pt idx="1786">
                  <c:v>205.30974774353976</c:v>
                </c:pt>
                <c:pt idx="1787">
                  <c:v>205.30974774353976</c:v>
                </c:pt>
                <c:pt idx="1788">
                  <c:v>205.30974774353976</c:v>
                </c:pt>
                <c:pt idx="1789">
                  <c:v>205.30974774353976</c:v>
                </c:pt>
                <c:pt idx="1790">
                  <c:v>205.30974774353976</c:v>
                </c:pt>
                <c:pt idx="1791">
                  <c:v>205.30974774353976</c:v>
                </c:pt>
                <c:pt idx="1792">
                  <c:v>205.30974774353976</c:v>
                </c:pt>
                <c:pt idx="1793">
                  <c:v>205.30974774353976</c:v>
                </c:pt>
                <c:pt idx="1794">
                  <c:v>205.30974774353976</c:v>
                </c:pt>
                <c:pt idx="1795">
                  <c:v>205.30974774353976</c:v>
                </c:pt>
                <c:pt idx="1796">
                  <c:v>205.30974774353976</c:v>
                </c:pt>
                <c:pt idx="1797">
                  <c:v>205.30974774353976</c:v>
                </c:pt>
                <c:pt idx="1798">
                  <c:v>205.30974774353976</c:v>
                </c:pt>
                <c:pt idx="1799">
                  <c:v>205.30974774353976</c:v>
                </c:pt>
                <c:pt idx="1800">
                  <c:v>205.30974774353976</c:v>
                </c:pt>
                <c:pt idx="1801">
                  <c:v>205.30974774353976</c:v>
                </c:pt>
                <c:pt idx="1802">
                  <c:v>205.30974774353976</c:v>
                </c:pt>
                <c:pt idx="1803">
                  <c:v>205.30974774353976</c:v>
                </c:pt>
                <c:pt idx="1804">
                  <c:v>205.30974774353976</c:v>
                </c:pt>
                <c:pt idx="1805">
                  <c:v>205.30974774353976</c:v>
                </c:pt>
                <c:pt idx="1806">
                  <c:v>205.30974774353976</c:v>
                </c:pt>
                <c:pt idx="1807">
                  <c:v>205.30974774353976</c:v>
                </c:pt>
                <c:pt idx="1808">
                  <c:v>205.30974774353976</c:v>
                </c:pt>
                <c:pt idx="1809">
                  <c:v>205.30974774353976</c:v>
                </c:pt>
                <c:pt idx="1810">
                  <c:v>205.30974774353976</c:v>
                </c:pt>
                <c:pt idx="1811">
                  <c:v>205.30974774353976</c:v>
                </c:pt>
                <c:pt idx="1812">
                  <c:v>205.30974774353976</c:v>
                </c:pt>
                <c:pt idx="1813">
                  <c:v>205.30974774353976</c:v>
                </c:pt>
                <c:pt idx="1814">
                  <c:v>205.30974774353976</c:v>
                </c:pt>
                <c:pt idx="1815">
                  <c:v>205.30974774353976</c:v>
                </c:pt>
                <c:pt idx="1816">
                  <c:v>205.30974774353976</c:v>
                </c:pt>
                <c:pt idx="1817">
                  <c:v>205.30974774353976</c:v>
                </c:pt>
                <c:pt idx="1818">
                  <c:v>205.30974774353976</c:v>
                </c:pt>
                <c:pt idx="1819">
                  <c:v>205.30974774353976</c:v>
                </c:pt>
                <c:pt idx="1820">
                  <c:v>205.30974774353976</c:v>
                </c:pt>
                <c:pt idx="1821">
                  <c:v>205.30974774353976</c:v>
                </c:pt>
                <c:pt idx="1822">
                  <c:v>205.30974774353976</c:v>
                </c:pt>
                <c:pt idx="1823">
                  <c:v>205.30974774353976</c:v>
                </c:pt>
                <c:pt idx="1824">
                  <c:v>205.30974774353976</c:v>
                </c:pt>
                <c:pt idx="1825">
                  <c:v>205.30974774353976</c:v>
                </c:pt>
                <c:pt idx="1826">
                  <c:v>205.30974774353976</c:v>
                </c:pt>
                <c:pt idx="1827">
                  <c:v>205.30974774353976</c:v>
                </c:pt>
                <c:pt idx="1828">
                  <c:v>205.30974774353976</c:v>
                </c:pt>
                <c:pt idx="1829">
                  <c:v>205.30974774353976</c:v>
                </c:pt>
                <c:pt idx="1830">
                  <c:v>205.30974774353976</c:v>
                </c:pt>
                <c:pt idx="1831">
                  <c:v>205.30974774353976</c:v>
                </c:pt>
                <c:pt idx="1832">
                  <c:v>205.30974774353976</c:v>
                </c:pt>
                <c:pt idx="1833">
                  <c:v>205.30974774353976</c:v>
                </c:pt>
                <c:pt idx="1834">
                  <c:v>205.30974774353976</c:v>
                </c:pt>
                <c:pt idx="1835">
                  <c:v>205.30974774353976</c:v>
                </c:pt>
                <c:pt idx="1836">
                  <c:v>205.30974774353976</c:v>
                </c:pt>
                <c:pt idx="1837">
                  <c:v>205.30974774353976</c:v>
                </c:pt>
                <c:pt idx="1838">
                  <c:v>205.30974774353976</c:v>
                </c:pt>
                <c:pt idx="1839">
                  <c:v>205.30974774353976</c:v>
                </c:pt>
                <c:pt idx="1840">
                  <c:v>205.30974774353976</c:v>
                </c:pt>
                <c:pt idx="1841">
                  <c:v>205.30974774353976</c:v>
                </c:pt>
                <c:pt idx="1842">
                  <c:v>205.30974774353976</c:v>
                </c:pt>
                <c:pt idx="1843">
                  <c:v>205.30974774353976</c:v>
                </c:pt>
                <c:pt idx="1844">
                  <c:v>205.30974774353976</c:v>
                </c:pt>
                <c:pt idx="1845">
                  <c:v>205.30974774353976</c:v>
                </c:pt>
                <c:pt idx="1846">
                  <c:v>205.30974774353976</c:v>
                </c:pt>
                <c:pt idx="1847">
                  <c:v>205.30974774353976</c:v>
                </c:pt>
                <c:pt idx="1848">
                  <c:v>205.30974774353976</c:v>
                </c:pt>
                <c:pt idx="1849">
                  <c:v>205.30974774353976</c:v>
                </c:pt>
                <c:pt idx="1850">
                  <c:v>205.30974774353976</c:v>
                </c:pt>
                <c:pt idx="1851">
                  <c:v>205.30974774353976</c:v>
                </c:pt>
                <c:pt idx="1852">
                  <c:v>205.30974774353976</c:v>
                </c:pt>
                <c:pt idx="1853">
                  <c:v>205.30974774353976</c:v>
                </c:pt>
                <c:pt idx="1854">
                  <c:v>205.30974774353976</c:v>
                </c:pt>
                <c:pt idx="1855">
                  <c:v>205.30974774353976</c:v>
                </c:pt>
                <c:pt idx="1856">
                  <c:v>205.30974774353976</c:v>
                </c:pt>
                <c:pt idx="1857">
                  <c:v>205.30974774353976</c:v>
                </c:pt>
                <c:pt idx="1858">
                  <c:v>205.30974774353976</c:v>
                </c:pt>
                <c:pt idx="1859">
                  <c:v>205.30974774353976</c:v>
                </c:pt>
                <c:pt idx="1860">
                  <c:v>205.30974774353976</c:v>
                </c:pt>
                <c:pt idx="1861">
                  <c:v>205.30974774353976</c:v>
                </c:pt>
                <c:pt idx="1862">
                  <c:v>205.30974774353976</c:v>
                </c:pt>
                <c:pt idx="1863">
                  <c:v>205.30974774353976</c:v>
                </c:pt>
                <c:pt idx="1864">
                  <c:v>205.30974774353976</c:v>
                </c:pt>
                <c:pt idx="1865">
                  <c:v>205.30974774353976</c:v>
                </c:pt>
                <c:pt idx="1866">
                  <c:v>205.30974774353976</c:v>
                </c:pt>
                <c:pt idx="1867">
                  <c:v>205.30974774353976</c:v>
                </c:pt>
                <c:pt idx="1868">
                  <c:v>205.30974774353976</c:v>
                </c:pt>
                <c:pt idx="1869">
                  <c:v>205.30974774353976</c:v>
                </c:pt>
                <c:pt idx="1870">
                  <c:v>205.30974774353976</c:v>
                </c:pt>
                <c:pt idx="1871">
                  <c:v>205.30974774353976</c:v>
                </c:pt>
                <c:pt idx="1872">
                  <c:v>205.30974774353976</c:v>
                </c:pt>
                <c:pt idx="1873">
                  <c:v>205.30974774353976</c:v>
                </c:pt>
                <c:pt idx="1874">
                  <c:v>205.30974774353976</c:v>
                </c:pt>
                <c:pt idx="1875">
                  <c:v>205.30974774353976</c:v>
                </c:pt>
                <c:pt idx="1876">
                  <c:v>205.30974774353976</c:v>
                </c:pt>
                <c:pt idx="1877">
                  <c:v>205.30974774353976</c:v>
                </c:pt>
                <c:pt idx="1878">
                  <c:v>205.30974774353976</c:v>
                </c:pt>
                <c:pt idx="1879">
                  <c:v>205.30974774353976</c:v>
                </c:pt>
                <c:pt idx="1880">
                  <c:v>205.30974774353976</c:v>
                </c:pt>
                <c:pt idx="1881">
                  <c:v>205.30974774353976</c:v>
                </c:pt>
                <c:pt idx="1882">
                  <c:v>205.30974774353976</c:v>
                </c:pt>
                <c:pt idx="1883">
                  <c:v>205.30974774353976</c:v>
                </c:pt>
                <c:pt idx="1884">
                  <c:v>205.30974774353976</c:v>
                </c:pt>
                <c:pt idx="1885">
                  <c:v>205.30974774353976</c:v>
                </c:pt>
                <c:pt idx="1886">
                  <c:v>205.30974774353976</c:v>
                </c:pt>
                <c:pt idx="1887">
                  <c:v>205.30974774353976</c:v>
                </c:pt>
                <c:pt idx="1888">
                  <c:v>205.30974774353976</c:v>
                </c:pt>
                <c:pt idx="1889">
                  <c:v>205.30974774353976</c:v>
                </c:pt>
                <c:pt idx="1890">
                  <c:v>205.30974774353976</c:v>
                </c:pt>
                <c:pt idx="1891">
                  <c:v>205.30974774353976</c:v>
                </c:pt>
                <c:pt idx="1892">
                  <c:v>205.30974774353976</c:v>
                </c:pt>
                <c:pt idx="1893">
                  <c:v>205.30974774353976</c:v>
                </c:pt>
                <c:pt idx="1894">
                  <c:v>205.30974774353976</c:v>
                </c:pt>
                <c:pt idx="1895">
                  <c:v>205.30974774353976</c:v>
                </c:pt>
                <c:pt idx="1896">
                  <c:v>205.30974774353976</c:v>
                </c:pt>
                <c:pt idx="1897">
                  <c:v>205.30974774353976</c:v>
                </c:pt>
                <c:pt idx="1898">
                  <c:v>205.30974774353976</c:v>
                </c:pt>
                <c:pt idx="1899">
                  <c:v>205.30974774353976</c:v>
                </c:pt>
                <c:pt idx="1900">
                  <c:v>205.30974774353976</c:v>
                </c:pt>
                <c:pt idx="1901">
                  <c:v>205.30974774353976</c:v>
                </c:pt>
                <c:pt idx="1902">
                  <c:v>205.30974774353976</c:v>
                </c:pt>
                <c:pt idx="1903">
                  <c:v>205.30974774353976</c:v>
                </c:pt>
                <c:pt idx="1904">
                  <c:v>205.30974774353976</c:v>
                </c:pt>
                <c:pt idx="1905">
                  <c:v>205.30974774353976</c:v>
                </c:pt>
                <c:pt idx="1906">
                  <c:v>205.30974774353976</c:v>
                </c:pt>
                <c:pt idx="1907">
                  <c:v>205.30974774353976</c:v>
                </c:pt>
                <c:pt idx="1908">
                  <c:v>205.30974774353976</c:v>
                </c:pt>
                <c:pt idx="1909">
                  <c:v>205.30974774353976</c:v>
                </c:pt>
                <c:pt idx="1910">
                  <c:v>205.30974774353976</c:v>
                </c:pt>
                <c:pt idx="1911">
                  <c:v>205.30974774353976</c:v>
                </c:pt>
                <c:pt idx="1912">
                  <c:v>205.30974774353976</c:v>
                </c:pt>
                <c:pt idx="1913">
                  <c:v>205.30974774353976</c:v>
                </c:pt>
                <c:pt idx="1914">
                  <c:v>205.30974774353976</c:v>
                </c:pt>
                <c:pt idx="1915">
                  <c:v>205.30974774353976</c:v>
                </c:pt>
                <c:pt idx="1916">
                  <c:v>205.30974774353976</c:v>
                </c:pt>
                <c:pt idx="1917">
                  <c:v>205.30974774353976</c:v>
                </c:pt>
                <c:pt idx="1918">
                  <c:v>205.30974774353976</c:v>
                </c:pt>
                <c:pt idx="1919">
                  <c:v>205.30974774353976</c:v>
                </c:pt>
                <c:pt idx="1920">
                  <c:v>205.30974774353976</c:v>
                </c:pt>
                <c:pt idx="1921">
                  <c:v>205.30974774353976</c:v>
                </c:pt>
                <c:pt idx="1922">
                  <c:v>205.30974774353976</c:v>
                </c:pt>
                <c:pt idx="1923">
                  <c:v>205.30974774353976</c:v>
                </c:pt>
                <c:pt idx="1924">
                  <c:v>205.30974774353976</c:v>
                </c:pt>
                <c:pt idx="1925">
                  <c:v>205.30974774353976</c:v>
                </c:pt>
                <c:pt idx="1926">
                  <c:v>205.30974774353976</c:v>
                </c:pt>
                <c:pt idx="1927">
                  <c:v>205.30974774353976</c:v>
                </c:pt>
                <c:pt idx="1928">
                  <c:v>205.30974774353976</c:v>
                </c:pt>
                <c:pt idx="1929">
                  <c:v>205.30974774353976</c:v>
                </c:pt>
                <c:pt idx="1930">
                  <c:v>205.30974774353976</c:v>
                </c:pt>
                <c:pt idx="1931">
                  <c:v>205.30974774353976</c:v>
                </c:pt>
                <c:pt idx="1932">
                  <c:v>205.30974774353976</c:v>
                </c:pt>
                <c:pt idx="1933">
                  <c:v>205.30974774353976</c:v>
                </c:pt>
                <c:pt idx="1934">
                  <c:v>205.30974774353976</c:v>
                </c:pt>
                <c:pt idx="1935">
                  <c:v>205.30974774353976</c:v>
                </c:pt>
                <c:pt idx="1936">
                  <c:v>205.30974774353976</c:v>
                </c:pt>
                <c:pt idx="1937">
                  <c:v>205.30974774353976</c:v>
                </c:pt>
                <c:pt idx="1938">
                  <c:v>205.30974774353976</c:v>
                </c:pt>
                <c:pt idx="1939">
                  <c:v>205.30974774353976</c:v>
                </c:pt>
                <c:pt idx="1940">
                  <c:v>205.30974774353976</c:v>
                </c:pt>
                <c:pt idx="1941">
                  <c:v>205.30974774353976</c:v>
                </c:pt>
                <c:pt idx="1942">
                  <c:v>205.30974774353976</c:v>
                </c:pt>
                <c:pt idx="1943">
                  <c:v>205.30974774353976</c:v>
                </c:pt>
                <c:pt idx="1944">
                  <c:v>205.30974774353976</c:v>
                </c:pt>
                <c:pt idx="1945">
                  <c:v>205.30974774353976</c:v>
                </c:pt>
                <c:pt idx="1946">
                  <c:v>205.30974774353976</c:v>
                </c:pt>
                <c:pt idx="1947">
                  <c:v>205.30974774353976</c:v>
                </c:pt>
                <c:pt idx="1948">
                  <c:v>205.30974774353976</c:v>
                </c:pt>
                <c:pt idx="1949">
                  <c:v>205.30974774353976</c:v>
                </c:pt>
                <c:pt idx="1950">
                  <c:v>205.30974774353976</c:v>
                </c:pt>
                <c:pt idx="1951">
                  <c:v>205.30974774353976</c:v>
                </c:pt>
                <c:pt idx="1952">
                  <c:v>205.30974774353976</c:v>
                </c:pt>
                <c:pt idx="1953">
                  <c:v>205.30974774353976</c:v>
                </c:pt>
                <c:pt idx="1954">
                  <c:v>205.30974774353976</c:v>
                </c:pt>
                <c:pt idx="1955">
                  <c:v>205.30974774353976</c:v>
                </c:pt>
                <c:pt idx="1956">
                  <c:v>205.30974774353976</c:v>
                </c:pt>
                <c:pt idx="1957">
                  <c:v>205.30974774353976</c:v>
                </c:pt>
                <c:pt idx="1958">
                  <c:v>205.30974774353976</c:v>
                </c:pt>
                <c:pt idx="1959">
                  <c:v>205.30974774353976</c:v>
                </c:pt>
                <c:pt idx="1960">
                  <c:v>205.30974774353976</c:v>
                </c:pt>
                <c:pt idx="1961">
                  <c:v>205.30974774353976</c:v>
                </c:pt>
                <c:pt idx="1962">
                  <c:v>205.30974774353976</c:v>
                </c:pt>
                <c:pt idx="1963">
                  <c:v>205.30974774353976</c:v>
                </c:pt>
                <c:pt idx="1964">
                  <c:v>211.15022684094902</c:v>
                </c:pt>
                <c:pt idx="1965">
                  <c:v>205.21207137707776</c:v>
                </c:pt>
                <c:pt idx="1966">
                  <c:v>228.23939309570324</c:v>
                </c:pt>
                <c:pt idx="1967">
                  <c:v>228.23939309570324</c:v>
                </c:pt>
                <c:pt idx="1968">
                  <c:v>227.95409385433362</c:v>
                </c:pt>
                <c:pt idx="1969">
                  <c:v>227.95409385433362</c:v>
                </c:pt>
                <c:pt idx="1970">
                  <c:v>227.95409385433362</c:v>
                </c:pt>
                <c:pt idx="1971">
                  <c:v>227.95409385433362</c:v>
                </c:pt>
                <c:pt idx="1972">
                  <c:v>227.95409385433362</c:v>
                </c:pt>
                <c:pt idx="1973">
                  <c:v>227.95409385433362</c:v>
                </c:pt>
                <c:pt idx="1974">
                  <c:v>227.95409385433362</c:v>
                </c:pt>
                <c:pt idx="1975">
                  <c:v>227.95409385433362</c:v>
                </c:pt>
                <c:pt idx="1976">
                  <c:v>227.95409385433362</c:v>
                </c:pt>
                <c:pt idx="1977">
                  <c:v>227.95409385433362</c:v>
                </c:pt>
                <c:pt idx="1978">
                  <c:v>227.95409385433362</c:v>
                </c:pt>
                <c:pt idx="1979">
                  <c:v>227.95409385433362</c:v>
                </c:pt>
                <c:pt idx="1980">
                  <c:v>227.95409385433362</c:v>
                </c:pt>
                <c:pt idx="1981">
                  <c:v>227.95409385433362</c:v>
                </c:pt>
                <c:pt idx="1982">
                  <c:v>227.95409385433362</c:v>
                </c:pt>
                <c:pt idx="1983">
                  <c:v>227.95409385433362</c:v>
                </c:pt>
                <c:pt idx="1984">
                  <c:v>227.95409385433362</c:v>
                </c:pt>
                <c:pt idx="1985">
                  <c:v>227.95409385433362</c:v>
                </c:pt>
                <c:pt idx="1986">
                  <c:v>227.95409385433362</c:v>
                </c:pt>
                <c:pt idx="1987">
                  <c:v>227.95409385433362</c:v>
                </c:pt>
                <c:pt idx="1988">
                  <c:v>227.95409385433362</c:v>
                </c:pt>
                <c:pt idx="1989">
                  <c:v>227.95409385433362</c:v>
                </c:pt>
                <c:pt idx="1990">
                  <c:v>227.95409385433362</c:v>
                </c:pt>
                <c:pt idx="1991">
                  <c:v>227.95409385433362</c:v>
                </c:pt>
                <c:pt idx="1992">
                  <c:v>227.95409385433362</c:v>
                </c:pt>
                <c:pt idx="1993">
                  <c:v>227.95409385433362</c:v>
                </c:pt>
                <c:pt idx="1994">
                  <c:v>227.95409385433362</c:v>
                </c:pt>
                <c:pt idx="1995">
                  <c:v>227.95409385433362</c:v>
                </c:pt>
                <c:pt idx="1996">
                  <c:v>227.95409385433362</c:v>
                </c:pt>
                <c:pt idx="1997">
                  <c:v>227.95409385433362</c:v>
                </c:pt>
                <c:pt idx="1998">
                  <c:v>227.95409385433362</c:v>
                </c:pt>
                <c:pt idx="1999">
                  <c:v>227.95409385433362</c:v>
                </c:pt>
                <c:pt idx="2000">
                  <c:v>227.95409385433362</c:v>
                </c:pt>
                <c:pt idx="2001">
                  <c:v>227.95409385433362</c:v>
                </c:pt>
                <c:pt idx="2002">
                  <c:v>227.95409385433362</c:v>
                </c:pt>
                <c:pt idx="2003">
                  <c:v>227.95409385433362</c:v>
                </c:pt>
                <c:pt idx="2004">
                  <c:v>227.95409385433362</c:v>
                </c:pt>
                <c:pt idx="2005">
                  <c:v>227.95409385433362</c:v>
                </c:pt>
                <c:pt idx="2006">
                  <c:v>227.95409385433362</c:v>
                </c:pt>
                <c:pt idx="2007">
                  <c:v>227.95409385433362</c:v>
                </c:pt>
                <c:pt idx="2008">
                  <c:v>227.95409385433362</c:v>
                </c:pt>
                <c:pt idx="2009">
                  <c:v>227.95409385433362</c:v>
                </c:pt>
                <c:pt idx="2010">
                  <c:v>227.95409385433362</c:v>
                </c:pt>
                <c:pt idx="2011">
                  <c:v>227.95409385433362</c:v>
                </c:pt>
                <c:pt idx="2012">
                  <c:v>227.95409385433362</c:v>
                </c:pt>
                <c:pt idx="2013">
                  <c:v>227.95409385433362</c:v>
                </c:pt>
                <c:pt idx="2014">
                  <c:v>227.95409385433362</c:v>
                </c:pt>
                <c:pt idx="2015">
                  <c:v>227.95409385433362</c:v>
                </c:pt>
                <c:pt idx="2016">
                  <c:v>227.95409385433362</c:v>
                </c:pt>
                <c:pt idx="2017">
                  <c:v>227.95409385433362</c:v>
                </c:pt>
                <c:pt idx="2018">
                  <c:v>227.95409385433362</c:v>
                </c:pt>
                <c:pt idx="2019">
                  <c:v>227.95409385433362</c:v>
                </c:pt>
                <c:pt idx="2020">
                  <c:v>227.95409385433362</c:v>
                </c:pt>
                <c:pt idx="2021">
                  <c:v>227.95409385433362</c:v>
                </c:pt>
                <c:pt idx="2022">
                  <c:v>227.95409385433362</c:v>
                </c:pt>
                <c:pt idx="2023">
                  <c:v>227.95409385433362</c:v>
                </c:pt>
                <c:pt idx="2024">
                  <c:v>227.95409385433362</c:v>
                </c:pt>
                <c:pt idx="2025">
                  <c:v>227.95409385433362</c:v>
                </c:pt>
                <c:pt idx="2026">
                  <c:v>227.95409385433362</c:v>
                </c:pt>
                <c:pt idx="2027">
                  <c:v>227.95409385433362</c:v>
                </c:pt>
                <c:pt idx="2028">
                  <c:v>227.95409385433362</c:v>
                </c:pt>
                <c:pt idx="2029">
                  <c:v>227.95409385433362</c:v>
                </c:pt>
                <c:pt idx="2030">
                  <c:v>227.95409385433362</c:v>
                </c:pt>
                <c:pt idx="2031">
                  <c:v>227.95409385433362</c:v>
                </c:pt>
                <c:pt idx="2032">
                  <c:v>227.95409385433362</c:v>
                </c:pt>
                <c:pt idx="2033">
                  <c:v>227.95409385433362</c:v>
                </c:pt>
                <c:pt idx="2034">
                  <c:v>227.95409385433362</c:v>
                </c:pt>
                <c:pt idx="2035">
                  <c:v>227.95409385433362</c:v>
                </c:pt>
                <c:pt idx="2036">
                  <c:v>227.95409385433362</c:v>
                </c:pt>
                <c:pt idx="2037">
                  <c:v>227.95409385433362</c:v>
                </c:pt>
                <c:pt idx="2038">
                  <c:v>227.95409385433362</c:v>
                </c:pt>
                <c:pt idx="2039">
                  <c:v>227.95409385433362</c:v>
                </c:pt>
                <c:pt idx="2040">
                  <c:v>227.95409385433362</c:v>
                </c:pt>
                <c:pt idx="2041">
                  <c:v>227.95409385433362</c:v>
                </c:pt>
                <c:pt idx="2042">
                  <c:v>227.95409385433362</c:v>
                </c:pt>
                <c:pt idx="2043">
                  <c:v>227.95409385433362</c:v>
                </c:pt>
                <c:pt idx="2044">
                  <c:v>227.95409385433362</c:v>
                </c:pt>
                <c:pt idx="2045">
                  <c:v>227.95409385433362</c:v>
                </c:pt>
                <c:pt idx="2046">
                  <c:v>227.95409385433362</c:v>
                </c:pt>
                <c:pt idx="2047">
                  <c:v>227.95409385433362</c:v>
                </c:pt>
                <c:pt idx="2048">
                  <c:v>227.95409385433362</c:v>
                </c:pt>
                <c:pt idx="2049">
                  <c:v>227.95409385433362</c:v>
                </c:pt>
                <c:pt idx="2050">
                  <c:v>227.95409385433362</c:v>
                </c:pt>
                <c:pt idx="2051">
                  <c:v>227.95409385433362</c:v>
                </c:pt>
                <c:pt idx="2052">
                  <c:v>227.95409385433362</c:v>
                </c:pt>
                <c:pt idx="2053">
                  <c:v>227.95409385433362</c:v>
                </c:pt>
                <c:pt idx="2054">
                  <c:v>227.95409385433362</c:v>
                </c:pt>
                <c:pt idx="2055">
                  <c:v>227.95409385433362</c:v>
                </c:pt>
                <c:pt idx="2056">
                  <c:v>227.95409385433362</c:v>
                </c:pt>
                <c:pt idx="2057">
                  <c:v>227.95409385433362</c:v>
                </c:pt>
                <c:pt idx="2058">
                  <c:v>227.95409385433362</c:v>
                </c:pt>
                <c:pt idx="2059">
                  <c:v>227.95409385433362</c:v>
                </c:pt>
                <c:pt idx="2060">
                  <c:v>227.95409385433362</c:v>
                </c:pt>
                <c:pt idx="2061">
                  <c:v>227.95409385433362</c:v>
                </c:pt>
                <c:pt idx="2062">
                  <c:v>227.95409385433362</c:v>
                </c:pt>
                <c:pt idx="2063">
                  <c:v>227.95409385433362</c:v>
                </c:pt>
                <c:pt idx="2064">
                  <c:v>227.95409385433362</c:v>
                </c:pt>
                <c:pt idx="2065">
                  <c:v>227.95409385433362</c:v>
                </c:pt>
                <c:pt idx="2066">
                  <c:v>227.95409385433362</c:v>
                </c:pt>
                <c:pt idx="2067">
                  <c:v>227.95409385433362</c:v>
                </c:pt>
                <c:pt idx="2068">
                  <c:v>227.95409385433362</c:v>
                </c:pt>
                <c:pt idx="2069">
                  <c:v>227.95409385433362</c:v>
                </c:pt>
                <c:pt idx="2070">
                  <c:v>227.95409385433362</c:v>
                </c:pt>
                <c:pt idx="2071">
                  <c:v>227.95409385433362</c:v>
                </c:pt>
                <c:pt idx="2072">
                  <c:v>227.95409385433362</c:v>
                </c:pt>
                <c:pt idx="2073">
                  <c:v>227.95409385433362</c:v>
                </c:pt>
                <c:pt idx="2074">
                  <c:v>227.95409385433362</c:v>
                </c:pt>
                <c:pt idx="2075">
                  <c:v>227.95409385433362</c:v>
                </c:pt>
                <c:pt idx="2076">
                  <c:v>227.95409385433362</c:v>
                </c:pt>
                <c:pt idx="2077">
                  <c:v>227.95409385433362</c:v>
                </c:pt>
                <c:pt idx="2078">
                  <c:v>227.95409385433362</c:v>
                </c:pt>
                <c:pt idx="2079">
                  <c:v>227.95409385433362</c:v>
                </c:pt>
                <c:pt idx="2080">
                  <c:v>227.95409385433362</c:v>
                </c:pt>
                <c:pt idx="2081">
                  <c:v>227.95409385433362</c:v>
                </c:pt>
                <c:pt idx="2082">
                  <c:v>227.95409385433362</c:v>
                </c:pt>
                <c:pt idx="2083">
                  <c:v>227.95409385433362</c:v>
                </c:pt>
                <c:pt idx="2084">
                  <c:v>227.95409385433362</c:v>
                </c:pt>
                <c:pt idx="2085">
                  <c:v>227.95409385433362</c:v>
                </c:pt>
                <c:pt idx="2086">
                  <c:v>227.95409385433362</c:v>
                </c:pt>
                <c:pt idx="2087">
                  <c:v>227.95409385433362</c:v>
                </c:pt>
                <c:pt idx="2088">
                  <c:v>227.95409385433362</c:v>
                </c:pt>
                <c:pt idx="2089">
                  <c:v>227.95409385433362</c:v>
                </c:pt>
                <c:pt idx="2090">
                  <c:v>227.95409385433362</c:v>
                </c:pt>
                <c:pt idx="2091">
                  <c:v>227.95409385433362</c:v>
                </c:pt>
                <c:pt idx="2092">
                  <c:v>227.95409385433362</c:v>
                </c:pt>
                <c:pt idx="2093">
                  <c:v>227.95409385433362</c:v>
                </c:pt>
                <c:pt idx="2094">
                  <c:v>227.95409385433362</c:v>
                </c:pt>
                <c:pt idx="2095">
                  <c:v>227.95409385433362</c:v>
                </c:pt>
                <c:pt idx="2096">
                  <c:v>227.95409385433362</c:v>
                </c:pt>
                <c:pt idx="2097">
                  <c:v>227.95409385433362</c:v>
                </c:pt>
                <c:pt idx="2098">
                  <c:v>227.95409385433362</c:v>
                </c:pt>
                <c:pt idx="2099">
                  <c:v>227.95409385433362</c:v>
                </c:pt>
                <c:pt idx="2100">
                  <c:v>227.95409385433362</c:v>
                </c:pt>
                <c:pt idx="2101">
                  <c:v>227.95409385433362</c:v>
                </c:pt>
                <c:pt idx="2102">
                  <c:v>227.95409385433362</c:v>
                </c:pt>
                <c:pt idx="2103">
                  <c:v>227.95409385433362</c:v>
                </c:pt>
                <c:pt idx="2104">
                  <c:v>227.95409385433362</c:v>
                </c:pt>
                <c:pt idx="2105">
                  <c:v>227.95409385433362</c:v>
                </c:pt>
                <c:pt idx="2106">
                  <c:v>227.95409385433362</c:v>
                </c:pt>
                <c:pt idx="2107">
                  <c:v>227.95409385433362</c:v>
                </c:pt>
                <c:pt idx="2108">
                  <c:v>227.95409385433362</c:v>
                </c:pt>
                <c:pt idx="2109">
                  <c:v>227.95409385433362</c:v>
                </c:pt>
                <c:pt idx="2110">
                  <c:v>227.95409385433362</c:v>
                </c:pt>
                <c:pt idx="2111">
                  <c:v>227.95409385433362</c:v>
                </c:pt>
                <c:pt idx="2112">
                  <c:v>227.95409385433362</c:v>
                </c:pt>
                <c:pt idx="2113">
                  <c:v>227.95409385433362</c:v>
                </c:pt>
                <c:pt idx="2114">
                  <c:v>227.95409385433362</c:v>
                </c:pt>
                <c:pt idx="2115">
                  <c:v>227.95409385433362</c:v>
                </c:pt>
                <c:pt idx="2116">
                  <c:v>227.95409385433362</c:v>
                </c:pt>
                <c:pt idx="2117">
                  <c:v>227.95409385433362</c:v>
                </c:pt>
                <c:pt idx="2118">
                  <c:v>227.95409385433362</c:v>
                </c:pt>
                <c:pt idx="2119">
                  <c:v>227.95409385433362</c:v>
                </c:pt>
                <c:pt idx="2120">
                  <c:v>227.95409385433362</c:v>
                </c:pt>
                <c:pt idx="2121">
                  <c:v>227.95409385433362</c:v>
                </c:pt>
                <c:pt idx="2122">
                  <c:v>227.95409385433362</c:v>
                </c:pt>
                <c:pt idx="2123">
                  <c:v>227.95409385433362</c:v>
                </c:pt>
                <c:pt idx="2124">
                  <c:v>227.95409385433362</c:v>
                </c:pt>
                <c:pt idx="2125">
                  <c:v>227.95409385433362</c:v>
                </c:pt>
                <c:pt idx="2126">
                  <c:v>227.95409385433362</c:v>
                </c:pt>
                <c:pt idx="2127">
                  <c:v>227.95409385433362</c:v>
                </c:pt>
                <c:pt idx="2128">
                  <c:v>227.95409385433362</c:v>
                </c:pt>
                <c:pt idx="2129">
                  <c:v>227.95409385433362</c:v>
                </c:pt>
                <c:pt idx="2130">
                  <c:v>227.95409385433362</c:v>
                </c:pt>
                <c:pt idx="2131">
                  <c:v>232.65621918894911</c:v>
                </c:pt>
                <c:pt idx="2132">
                  <c:v>232.36539891496292</c:v>
                </c:pt>
                <c:pt idx="2133">
                  <c:v>232.07494216631923</c:v>
                </c:pt>
                <c:pt idx="2134">
                  <c:v>232.07494216631923</c:v>
                </c:pt>
                <c:pt idx="2135">
                  <c:v>230.6100549588769</c:v>
                </c:pt>
                <c:pt idx="2136">
                  <c:v>230.3217923901783</c:v>
                </c:pt>
                <c:pt idx="2137">
                  <c:v>245.65151756572848</c:v>
                </c:pt>
                <c:pt idx="2138">
                  <c:v>245.34445316877134</c:v>
                </c:pt>
                <c:pt idx="2139">
                  <c:v>245.03777260231038</c:v>
                </c:pt>
                <c:pt idx="2140">
                  <c:v>245.03777260231038</c:v>
                </c:pt>
                <c:pt idx="2141">
                  <c:v>245.03777260231038</c:v>
                </c:pt>
                <c:pt idx="2142">
                  <c:v>245.03777260231038</c:v>
                </c:pt>
                <c:pt idx="2143">
                  <c:v>245.03777260231038</c:v>
                </c:pt>
                <c:pt idx="2144">
                  <c:v>245.03777260231038</c:v>
                </c:pt>
                <c:pt idx="2145">
                  <c:v>246.04059814213292</c:v>
                </c:pt>
                <c:pt idx="2146">
                  <c:v>245.73304739445527</c:v>
                </c:pt>
                <c:pt idx="2147">
                  <c:v>244.38089372009864</c:v>
                </c:pt>
                <c:pt idx="2148">
                  <c:v>243.97707166557157</c:v>
                </c:pt>
                <c:pt idx="2149">
                  <c:v>236.54012163936412</c:v>
                </c:pt>
                <c:pt idx="2150">
                  <c:v>239.59208763309414</c:v>
                </c:pt>
                <c:pt idx="2151">
                  <c:v>238.39955230333888</c:v>
                </c:pt>
                <c:pt idx="2152">
                  <c:v>236.87769350187736</c:v>
                </c:pt>
                <c:pt idx="2153">
                  <c:v>237.3339264762362</c:v>
                </c:pt>
                <c:pt idx="2154">
                  <c:v>237.00403520619693</c:v>
                </c:pt>
                <c:pt idx="2155">
                  <c:v>235.80743893141971</c:v>
                </c:pt>
                <c:pt idx="2156">
                  <c:v>235.80743893141971</c:v>
                </c:pt>
                <c:pt idx="2157">
                  <c:v>235.51267963275544</c:v>
                </c:pt>
                <c:pt idx="2158">
                  <c:v>235.51267963275544</c:v>
                </c:pt>
                <c:pt idx="2159">
                  <c:v>235.51267963275544</c:v>
                </c:pt>
                <c:pt idx="2160">
                  <c:v>235.51267963275544</c:v>
                </c:pt>
                <c:pt idx="2161">
                  <c:v>235.51267963275544</c:v>
                </c:pt>
                <c:pt idx="2162">
                  <c:v>235.51267963275544</c:v>
                </c:pt>
                <c:pt idx="2163">
                  <c:v>235.51267963275544</c:v>
                </c:pt>
                <c:pt idx="2164">
                  <c:v>235.51267963275544</c:v>
                </c:pt>
                <c:pt idx="2165">
                  <c:v>235.51267963275544</c:v>
                </c:pt>
                <c:pt idx="2166">
                  <c:v>235.51267963275544</c:v>
                </c:pt>
                <c:pt idx="2167">
                  <c:v>235.51267963275544</c:v>
                </c:pt>
                <c:pt idx="2168">
                  <c:v>235.51267963275544</c:v>
                </c:pt>
                <c:pt idx="2169">
                  <c:v>235.51267963275544</c:v>
                </c:pt>
                <c:pt idx="2170">
                  <c:v>235.51267963275544</c:v>
                </c:pt>
                <c:pt idx="2171">
                  <c:v>235.51267963275544</c:v>
                </c:pt>
                <c:pt idx="2172">
                  <c:v>235.51267963275544</c:v>
                </c:pt>
                <c:pt idx="2173">
                  <c:v>235.51267963275544</c:v>
                </c:pt>
                <c:pt idx="2174">
                  <c:v>235.51267963275544</c:v>
                </c:pt>
                <c:pt idx="2175">
                  <c:v>235.51267963275544</c:v>
                </c:pt>
                <c:pt idx="2176">
                  <c:v>235.51267963275544</c:v>
                </c:pt>
                <c:pt idx="2177">
                  <c:v>235.51267963275544</c:v>
                </c:pt>
                <c:pt idx="2178">
                  <c:v>235.51267963275544</c:v>
                </c:pt>
                <c:pt idx="2179">
                  <c:v>235.51267963275544</c:v>
                </c:pt>
                <c:pt idx="2180">
                  <c:v>235.51267963275544</c:v>
                </c:pt>
                <c:pt idx="2181">
                  <c:v>235.51267963275544</c:v>
                </c:pt>
                <c:pt idx="2182">
                  <c:v>235.51267963275544</c:v>
                </c:pt>
                <c:pt idx="2183">
                  <c:v>235.51267963275544</c:v>
                </c:pt>
                <c:pt idx="2184">
                  <c:v>235.51267963275544</c:v>
                </c:pt>
                <c:pt idx="2185">
                  <c:v>235.51267963275544</c:v>
                </c:pt>
                <c:pt idx="2186">
                  <c:v>235.51267963275544</c:v>
                </c:pt>
                <c:pt idx="2187">
                  <c:v>235.51267963275544</c:v>
                </c:pt>
                <c:pt idx="2188">
                  <c:v>235.51267963275544</c:v>
                </c:pt>
                <c:pt idx="2189">
                  <c:v>237.19747008011367</c:v>
                </c:pt>
                <c:pt idx="2190">
                  <c:v>233.0685971821103</c:v>
                </c:pt>
                <c:pt idx="2191">
                  <c:v>234.81622733145656</c:v>
                </c:pt>
                <c:pt idx="2192">
                  <c:v>237.56066930506395</c:v>
                </c:pt>
                <c:pt idx="2193">
                  <c:v>237.56066930506395</c:v>
                </c:pt>
                <c:pt idx="2194">
                  <c:v>237.26371846843264</c:v>
                </c:pt>
                <c:pt idx="2195">
                  <c:v>237.26371846843264</c:v>
                </c:pt>
                <c:pt idx="2196">
                  <c:v>237.26371846843264</c:v>
                </c:pt>
                <c:pt idx="2197">
                  <c:v>237.26371846843264</c:v>
                </c:pt>
                <c:pt idx="2198">
                  <c:v>237.26371846843264</c:v>
                </c:pt>
                <c:pt idx="2199">
                  <c:v>237.26371846843264</c:v>
                </c:pt>
                <c:pt idx="2200">
                  <c:v>237.26371846843264</c:v>
                </c:pt>
                <c:pt idx="2201">
                  <c:v>237.26371846843264</c:v>
                </c:pt>
                <c:pt idx="2202">
                  <c:v>237.26371846843264</c:v>
                </c:pt>
                <c:pt idx="2203">
                  <c:v>237.26371846843264</c:v>
                </c:pt>
                <c:pt idx="2204">
                  <c:v>237.26371846843264</c:v>
                </c:pt>
                <c:pt idx="2205">
                  <c:v>237.26371846843264</c:v>
                </c:pt>
                <c:pt idx="2206">
                  <c:v>237.26371846843264</c:v>
                </c:pt>
                <c:pt idx="2207">
                  <c:v>237.26371846843264</c:v>
                </c:pt>
                <c:pt idx="2208">
                  <c:v>237.26371846843264</c:v>
                </c:pt>
                <c:pt idx="2209">
                  <c:v>237.26371846843264</c:v>
                </c:pt>
                <c:pt idx="2210">
                  <c:v>237.26371846843264</c:v>
                </c:pt>
                <c:pt idx="2211">
                  <c:v>237.26371846843264</c:v>
                </c:pt>
                <c:pt idx="2212">
                  <c:v>237.26371846843264</c:v>
                </c:pt>
                <c:pt idx="2213">
                  <c:v>237.26371846843264</c:v>
                </c:pt>
                <c:pt idx="2214">
                  <c:v>237.26371846843264</c:v>
                </c:pt>
                <c:pt idx="2215">
                  <c:v>237.26371846843264</c:v>
                </c:pt>
                <c:pt idx="2216">
                  <c:v>237.26371846843264</c:v>
                </c:pt>
                <c:pt idx="2217">
                  <c:v>237.26371846843264</c:v>
                </c:pt>
                <c:pt idx="2218">
                  <c:v>237.26371846843264</c:v>
                </c:pt>
                <c:pt idx="2219">
                  <c:v>237.26371846843264</c:v>
                </c:pt>
                <c:pt idx="2220">
                  <c:v>237.26371846843264</c:v>
                </c:pt>
                <c:pt idx="2221">
                  <c:v>237.26371846843264</c:v>
                </c:pt>
                <c:pt idx="2222">
                  <c:v>237.26371846843264</c:v>
                </c:pt>
                <c:pt idx="2223">
                  <c:v>237.26371846843264</c:v>
                </c:pt>
                <c:pt idx="2224">
                  <c:v>237.26371846843264</c:v>
                </c:pt>
                <c:pt idx="2225">
                  <c:v>237.26371846843264</c:v>
                </c:pt>
                <c:pt idx="2226">
                  <c:v>237.26371846843264</c:v>
                </c:pt>
                <c:pt idx="2227">
                  <c:v>237.26371846843264</c:v>
                </c:pt>
                <c:pt idx="2228">
                  <c:v>238.2087416668202</c:v>
                </c:pt>
                <c:pt idx="2229">
                  <c:v>227.14102534697616</c:v>
                </c:pt>
                <c:pt idx="2230">
                  <c:v>227.14102534697616</c:v>
                </c:pt>
                <c:pt idx="2231">
                  <c:v>222.01548657622524</c:v>
                </c:pt>
                <c:pt idx="2232">
                  <c:v>221.73796721800497</c:v>
                </c:pt>
                <c:pt idx="2233">
                  <c:v>221.46079475898247</c:v>
                </c:pt>
                <c:pt idx="2234">
                  <c:v>221.46079475898247</c:v>
                </c:pt>
                <c:pt idx="2235">
                  <c:v>221.46079475898247</c:v>
                </c:pt>
                <c:pt idx="2236">
                  <c:v>221.46079475898247</c:v>
                </c:pt>
                <c:pt idx="2237">
                  <c:v>221.46079475898247</c:v>
                </c:pt>
                <c:pt idx="2238">
                  <c:v>216.5600683676501</c:v>
                </c:pt>
                <c:pt idx="2239">
                  <c:v>216.28936828219054</c:v>
                </c:pt>
                <c:pt idx="2240">
                  <c:v>216.01900657183779</c:v>
                </c:pt>
                <c:pt idx="2241">
                  <c:v>216.01900657183779</c:v>
                </c:pt>
                <c:pt idx="2242">
                  <c:v>216.01900657183779</c:v>
                </c:pt>
                <c:pt idx="2243">
                  <c:v>214.94580979355277</c:v>
                </c:pt>
                <c:pt idx="2244">
                  <c:v>214.67712753131084</c:v>
                </c:pt>
                <c:pt idx="2245">
                  <c:v>214.40878112189671</c:v>
                </c:pt>
                <c:pt idx="2246">
                  <c:v>214.40878112189671</c:v>
                </c:pt>
                <c:pt idx="2247">
                  <c:v>214.40878112189671</c:v>
                </c:pt>
                <c:pt idx="2248">
                  <c:v>214.40878112189671</c:v>
                </c:pt>
                <c:pt idx="2249">
                  <c:v>214.40878112189671</c:v>
                </c:pt>
                <c:pt idx="2250">
                  <c:v>214.40878112189671</c:v>
                </c:pt>
                <c:pt idx="2251">
                  <c:v>214.40878112189671</c:v>
                </c:pt>
                <c:pt idx="2252">
                  <c:v>214.40878112189671</c:v>
                </c:pt>
                <c:pt idx="2253">
                  <c:v>214.40878112189671</c:v>
                </c:pt>
                <c:pt idx="2254">
                  <c:v>214.40878112189671</c:v>
                </c:pt>
                <c:pt idx="2255">
                  <c:v>214.40878112189671</c:v>
                </c:pt>
                <c:pt idx="2256">
                  <c:v>214.40878112189671</c:v>
                </c:pt>
                <c:pt idx="2257">
                  <c:v>214.40878112189671</c:v>
                </c:pt>
                <c:pt idx="2258">
                  <c:v>214.40878112189671</c:v>
                </c:pt>
                <c:pt idx="2259">
                  <c:v>214.40878112189671</c:v>
                </c:pt>
                <c:pt idx="2260">
                  <c:v>214.40878112189671</c:v>
                </c:pt>
                <c:pt idx="2261">
                  <c:v>214.40878112189671</c:v>
                </c:pt>
                <c:pt idx="2262">
                  <c:v>214.40878112189671</c:v>
                </c:pt>
                <c:pt idx="2263">
                  <c:v>214.40878112189671</c:v>
                </c:pt>
                <c:pt idx="2264">
                  <c:v>214.40878112189671</c:v>
                </c:pt>
                <c:pt idx="2265">
                  <c:v>214.40878112189671</c:v>
                </c:pt>
                <c:pt idx="2266">
                  <c:v>214.40878112189671</c:v>
                </c:pt>
                <c:pt idx="2267">
                  <c:v>214.40878112189671</c:v>
                </c:pt>
                <c:pt idx="2268">
                  <c:v>214.40878112189671</c:v>
                </c:pt>
                <c:pt idx="2269">
                  <c:v>214.40878112189671</c:v>
                </c:pt>
                <c:pt idx="2270">
                  <c:v>214.40878112189671</c:v>
                </c:pt>
                <c:pt idx="2271">
                  <c:v>214.40878112189671</c:v>
                </c:pt>
                <c:pt idx="2272">
                  <c:v>214.40878112189671</c:v>
                </c:pt>
                <c:pt idx="2273">
                  <c:v>214.40878112189671</c:v>
                </c:pt>
                <c:pt idx="2274">
                  <c:v>214.40878112189671</c:v>
                </c:pt>
                <c:pt idx="2275">
                  <c:v>214.40878112189671</c:v>
                </c:pt>
                <c:pt idx="2276">
                  <c:v>214.40878112189671</c:v>
                </c:pt>
                <c:pt idx="2277">
                  <c:v>214.40878112189671</c:v>
                </c:pt>
                <c:pt idx="2278">
                  <c:v>214.40878112189671</c:v>
                </c:pt>
                <c:pt idx="2279">
                  <c:v>214.40878112189671</c:v>
                </c:pt>
                <c:pt idx="2280">
                  <c:v>214.40878112189671</c:v>
                </c:pt>
                <c:pt idx="2281">
                  <c:v>214.40878112189671</c:v>
                </c:pt>
                <c:pt idx="2282">
                  <c:v>214.40878112189671</c:v>
                </c:pt>
                <c:pt idx="2283">
                  <c:v>214.40878112189671</c:v>
                </c:pt>
                <c:pt idx="2284">
                  <c:v>214.40878112189671</c:v>
                </c:pt>
                <c:pt idx="2285">
                  <c:v>214.40878112189671</c:v>
                </c:pt>
                <c:pt idx="2286">
                  <c:v>214.40878112189671</c:v>
                </c:pt>
                <c:pt idx="2287">
                  <c:v>214.40878112189671</c:v>
                </c:pt>
                <c:pt idx="2288">
                  <c:v>214.40878112189671</c:v>
                </c:pt>
                <c:pt idx="2289">
                  <c:v>214.40878112189671</c:v>
                </c:pt>
                <c:pt idx="2290">
                  <c:v>214.40878112189671</c:v>
                </c:pt>
                <c:pt idx="2291">
                  <c:v>214.40878112189671</c:v>
                </c:pt>
                <c:pt idx="2292">
                  <c:v>214.40878112189671</c:v>
                </c:pt>
                <c:pt idx="2293">
                  <c:v>214.40878112189671</c:v>
                </c:pt>
                <c:pt idx="2294">
                  <c:v>214.40878112189671</c:v>
                </c:pt>
                <c:pt idx="2295">
                  <c:v>214.40878112189671</c:v>
                </c:pt>
                <c:pt idx="2296">
                  <c:v>214.40878112189671</c:v>
                </c:pt>
                <c:pt idx="2297">
                  <c:v>214.40878112189671</c:v>
                </c:pt>
                <c:pt idx="2298">
                  <c:v>214.40878112189671</c:v>
                </c:pt>
                <c:pt idx="2299">
                  <c:v>214.40878112189671</c:v>
                </c:pt>
                <c:pt idx="2300">
                  <c:v>214.40878112189671</c:v>
                </c:pt>
                <c:pt idx="2301">
                  <c:v>214.40878112189671</c:v>
                </c:pt>
                <c:pt idx="2302">
                  <c:v>214.40878112189671</c:v>
                </c:pt>
                <c:pt idx="2303">
                  <c:v>214.40878112189671</c:v>
                </c:pt>
                <c:pt idx="2304">
                  <c:v>214.40878112189671</c:v>
                </c:pt>
                <c:pt idx="2305">
                  <c:v>214.40878112189671</c:v>
                </c:pt>
                <c:pt idx="2306">
                  <c:v>214.40878112189671</c:v>
                </c:pt>
                <c:pt idx="2307">
                  <c:v>214.40878112189671</c:v>
                </c:pt>
                <c:pt idx="2308">
                  <c:v>214.40878112189671</c:v>
                </c:pt>
                <c:pt idx="2309">
                  <c:v>214.40878112189671</c:v>
                </c:pt>
                <c:pt idx="2310">
                  <c:v>214.40878112189671</c:v>
                </c:pt>
                <c:pt idx="2311">
                  <c:v>214.40878112189671</c:v>
                </c:pt>
                <c:pt idx="2312">
                  <c:v>214.40878112189671</c:v>
                </c:pt>
                <c:pt idx="2313">
                  <c:v>214.40878112189671</c:v>
                </c:pt>
                <c:pt idx="2314">
                  <c:v>214.40878112189671</c:v>
                </c:pt>
                <c:pt idx="2315">
                  <c:v>214.40878112189671</c:v>
                </c:pt>
                <c:pt idx="2316">
                  <c:v>214.40878112189671</c:v>
                </c:pt>
                <c:pt idx="2317">
                  <c:v>214.40878112189671</c:v>
                </c:pt>
                <c:pt idx="2318">
                  <c:v>214.40878112189671</c:v>
                </c:pt>
                <c:pt idx="2319">
                  <c:v>214.40878112189671</c:v>
                </c:pt>
                <c:pt idx="2320">
                  <c:v>214.40878112189671</c:v>
                </c:pt>
                <c:pt idx="2321">
                  <c:v>214.40878112189671</c:v>
                </c:pt>
                <c:pt idx="2322">
                  <c:v>214.40878112189671</c:v>
                </c:pt>
                <c:pt idx="2323">
                  <c:v>214.40878112189671</c:v>
                </c:pt>
                <c:pt idx="2324">
                  <c:v>214.40878112189671</c:v>
                </c:pt>
                <c:pt idx="2325">
                  <c:v>214.40878112189671</c:v>
                </c:pt>
                <c:pt idx="2326">
                  <c:v>214.40878112189671</c:v>
                </c:pt>
                <c:pt idx="2327">
                  <c:v>214.40878112189671</c:v>
                </c:pt>
                <c:pt idx="2328">
                  <c:v>214.40878112189671</c:v>
                </c:pt>
                <c:pt idx="2329">
                  <c:v>214.40878112189671</c:v>
                </c:pt>
                <c:pt idx="2330">
                  <c:v>214.40878112189671</c:v>
                </c:pt>
                <c:pt idx="2331">
                  <c:v>214.40878112189671</c:v>
                </c:pt>
                <c:pt idx="2332">
                  <c:v>214.40878112189671</c:v>
                </c:pt>
                <c:pt idx="2333">
                  <c:v>214.40878112189671</c:v>
                </c:pt>
                <c:pt idx="2334">
                  <c:v>214.40878112189671</c:v>
                </c:pt>
                <c:pt idx="2335">
                  <c:v>214.40878112189671</c:v>
                </c:pt>
                <c:pt idx="2336">
                  <c:v>214.40878112189671</c:v>
                </c:pt>
                <c:pt idx="2337">
                  <c:v>214.40878112189671</c:v>
                </c:pt>
                <c:pt idx="2338">
                  <c:v>214.40878112189671</c:v>
                </c:pt>
                <c:pt idx="2339">
                  <c:v>214.40878112189671</c:v>
                </c:pt>
                <c:pt idx="2340">
                  <c:v>214.40878112189671</c:v>
                </c:pt>
                <c:pt idx="2341">
                  <c:v>214.40878112189671</c:v>
                </c:pt>
                <c:pt idx="2342">
                  <c:v>214.40878112189671</c:v>
                </c:pt>
                <c:pt idx="2343">
                  <c:v>214.40878112189671</c:v>
                </c:pt>
                <c:pt idx="2344">
                  <c:v>214.40878112189671</c:v>
                </c:pt>
                <c:pt idx="2345">
                  <c:v>214.40878112189671</c:v>
                </c:pt>
                <c:pt idx="2346">
                  <c:v>214.40878112189671</c:v>
                </c:pt>
                <c:pt idx="2347">
                  <c:v>214.40878112189671</c:v>
                </c:pt>
                <c:pt idx="2348">
                  <c:v>214.40878112189671</c:v>
                </c:pt>
                <c:pt idx="2349">
                  <c:v>214.40878112189671</c:v>
                </c:pt>
                <c:pt idx="2350">
                  <c:v>214.40878112189671</c:v>
                </c:pt>
                <c:pt idx="2351">
                  <c:v>214.40878112189671</c:v>
                </c:pt>
                <c:pt idx="2352">
                  <c:v>214.40878112189671</c:v>
                </c:pt>
                <c:pt idx="2353">
                  <c:v>214.40878112189671</c:v>
                </c:pt>
                <c:pt idx="2354">
                  <c:v>214.40878112189671</c:v>
                </c:pt>
                <c:pt idx="2355">
                  <c:v>214.40878112189671</c:v>
                </c:pt>
                <c:pt idx="2356">
                  <c:v>212.57882283391464</c:v>
                </c:pt>
                <c:pt idx="2357">
                  <c:v>225.74016909672886</c:v>
                </c:pt>
                <c:pt idx="2358">
                  <c:v>221.42627680263115</c:v>
                </c:pt>
                <c:pt idx="2359">
                  <c:v>219.12690255319163</c:v>
                </c:pt>
                <c:pt idx="2360">
                  <c:v>201.18008813693606</c:v>
                </c:pt>
                <c:pt idx="2361">
                  <c:v>201.18008813693606</c:v>
                </c:pt>
                <c:pt idx="2362">
                  <c:v>200.92861302676491</c:v>
                </c:pt>
                <c:pt idx="2363">
                  <c:v>200.92861302676491</c:v>
                </c:pt>
                <c:pt idx="2364">
                  <c:v>200.92861302676491</c:v>
                </c:pt>
                <c:pt idx="2365">
                  <c:v>200.92861302676491</c:v>
                </c:pt>
                <c:pt idx="2366">
                  <c:v>198.1352318707826</c:v>
                </c:pt>
                <c:pt idx="2367">
                  <c:v>197.88756283094412</c:v>
                </c:pt>
                <c:pt idx="2368">
                  <c:v>197.60630836662696</c:v>
                </c:pt>
                <c:pt idx="2369">
                  <c:v>197.23287202968072</c:v>
                </c:pt>
                <c:pt idx="2370">
                  <c:v>191.8988932502879</c:v>
                </c:pt>
                <c:pt idx="2371">
                  <c:v>191.8988932502879</c:v>
                </c:pt>
                <c:pt idx="2372">
                  <c:v>191.65901963372505</c:v>
                </c:pt>
                <c:pt idx="2373">
                  <c:v>191.65901963372505</c:v>
                </c:pt>
                <c:pt idx="2374">
                  <c:v>186.64939015177421</c:v>
                </c:pt>
                <c:pt idx="2375">
                  <c:v>186.4160784140845</c:v>
                </c:pt>
                <c:pt idx="2376">
                  <c:v>184.4124147772456</c:v>
                </c:pt>
                <c:pt idx="2377">
                  <c:v>183.90436611248268</c:v>
                </c:pt>
                <c:pt idx="2378">
                  <c:v>184.00757692070232</c:v>
                </c:pt>
                <c:pt idx="2379">
                  <c:v>184.00757692070232</c:v>
                </c:pt>
                <c:pt idx="2380">
                  <c:v>183.77756744955144</c:v>
                </c:pt>
                <c:pt idx="2381">
                  <c:v>183.77756744955144</c:v>
                </c:pt>
                <c:pt idx="2382">
                  <c:v>183.77756744955144</c:v>
                </c:pt>
                <c:pt idx="2383">
                  <c:v>183.77756744955144</c:v>
                </c:pt>
                <c:pt idx="2384">
                  <c:v>183.98863552376559</c:v>
                </c:pt>
                <c:pt idx="2385">
                  <c:v>183.75864972936088</c:v>
                </c:pt>
                <c:pt idx="2386">
                  <c:v>178.80044558879618</c:v>
                </c:pt>
                <c:pt idx="2387">
                  <c:v>178.5769450318102</c:v>
                </c:pt>
                <c:pt idx="2388">
                  <c:v>178.35372385052045</c:v>
                </c:pt>
                <c:pt idx="2389">
                  <c:v>178.35372385052045</c:v>
                </c:pt>
                <c:pt idx="2390">
                  <c:v>178.35372385052045</c:v>
                </c:pt>
                <c:pt idx="2391">
                  <c:v>178.35372385052045</c:v>
                </c:pt>
                <c:pt idx="2392">
                  <c:v>178.35372385052045</c:v>
                </c:pt>
                <c:pt idx="2393">
                  <c:v>178.35372385052045</c:v>
                </c:pt>
                <c:pt idx="2394">
                  <c:v>178.35372385052045</c:v>
                </c:pt>
                <c:pt idx="2395">
                  <c:v>178.35372385052045</c:v>
                </c:pt>
                <c:pt idx="2396">
                  <c:v>178.35372385052045</c:v>
                </c:pt>
                <c:pt idx="2397">
                  <c:v>178.35372385052045</c:v>
                </c:pt>
                <c:pt idx="2398">
                  <c:v>178.35372385052045</c:v>
                </c:pt>
                <c:pt idx="2399">
                  <c:v>178.35372385052045</c:v>
                </c:pt>
                <c:pt idx="2400">
                  <c:v>178.35372385052045</c:v>
                </c:pt>
                <c:pt idx="2401">
                  <c:v>178.35372385052045</c:v>
                </c:pt>
                <c:pt idx="2402">
                  <c:v>178.35372385052045</c:v>
                </c:pt>
                <c:pt idx="2403">
                  <c:v>178.35372385052045</c:v>
                </c:pt>
                <c:pt idx="2404">
                  <c:v>178.35372385052045</c:v>
                </c:pt>
                <c:pt idx="2405">
                  <c:v>178.35372385052045</c:v>
                </c:pt>
                <c:pt idx="2406">
                  <c:v>178.35372385052045</c:v>
                </c:pt>
                <c:pt idx="2407">
                  <c:v>178.35372385052045</c:v>
                </c:pt>
                <c:pt idx="2408">
                  <c:v>178.35372385052045</c:v>
                </c:pt>
                <c:pt idx="2409">
                  <c:v>178.35372385052045</c:v>
                </c:pt>
                <c:pt idx="2410">
                  <c:v>178.35372385052045</c:v>
                </c:pt>
                <c:pt idx="2411">
                  <c:v>178.35372385052045</c:v>
                </c:pt>
                <c:pt idx="2412">
                  <c:v>178.35372385052045</c:v>
                </c:pt>
                <c:pt idx="2413">
                  <c:v>178.35372385052045</c:v>
                </c:pt>
                <c:pt idx="2414">
                  <c:v>194.08331140799686</c:v>
                </c:pt>
                <c:pt idx="2415">
                  <c:v>193.84070726873688</c:v>
                </c:pt>
                <c:pt idx="2416">
                  <c:v>193.59840638465096</c:v>
                </c:pt>
                <c:pt idx="2417">
                  <c:v>193.59840638465096</c:v>
                </c:pt>
                <c:pt idx="2418">
                  <c:v>193.59840638465096</c:v>
                </c:pt>
                <c:pt idx="2419">
                  <c:v>193.59840638465096</c:v>
                </c:pt>
                <c:pt idx="2420">
                  <c:v>193.59840638465096</c:v>
                </c:pt>
                <c:pt idx="2421">
                  <c:v>193.59840638465096</c:v>
                </c:pt>
                <c:pt idx="2422">
                  <c:v>193.59840638465096</c:v>
                </c:pt>
                <c:pt idx="2423">
                  <c:v>193.59840638465096</c:v>
                </c:pt>
                <c:pt idx="2424">
                  <c:v>193.59840638465096</c:v>
                </c:pt>
                <c:pt idx="2425">
                  <c:v>193.59840638465096</c:v>
                </c:pt>
                <c:pt idx="2426">
                  <c:v>193.59840638465096</c:v>
                </c:pt>
                <c:pt idx="2427">
                  <c:v>193.59840638465096</c:v>
                </c:pt>
                <c:pt idx="2428">
                  <c:v>193.59840638465096</c:v>
                </c:pt>
                <c:pt idx="2429">
                  <c:v>193.59840638465096</c:v>
                </c:pt>
                <c:pt idx="2430">
                  <c:v>193.59840638465096</c:v>
                </c:pt>
                <c:pt idx="2431">
                  <c:v>192.381707900305</c:v>
                </c:pt>
                <c:pt idx="2432">
                  <c:v>192.14123076542964</c:v>
                </c:pt>
                <c:pt idx="2433">
                  <c:v>191.90105422697286</c:v>
                </c:pt>
                <c:pt idx="2434">
                  <c:v>191.90105422697286</c:v>
                </c:pt>
                <c:pt idx="2435">
                  <c:v>191.90105422697286</c:v>
                </c:pt>
                <c:pt idx="2436">
                  <c:v>191.90105422697286</c:v>
                </c:pt>
                <c:pt idx="2437">
                  <c:v>191.90105422697286</c:v>
                </c:pt>
                <c:pt idx="2438">
                  <c:v>191.90105422697286</c:v>
                </c:pt>
                <c:pt idx="2439">
                  <c:v>191.90105422697286</c:v>
                </c:pt>
                <c:pt idx="2440">
                  <c:v>191.90105422697286</c:v>
                </c:pt>
                <c:pt idx="2441">
                  <c:v>191.90105422697286</c:v>
                </c:pt>
                <c:pt idx="2442">
                  <c:v>191.90105422697286</c:v>
                </c:pt>
                <c:pt idx="2443">
                  <c:v>191.90105422697286</c:v>
                </c:pt>
                <c:pt idx="2444">
                  <c:v>194.0209544062547</c:v>
                </c:pt>
                <c:pt idx="2445">
                  <c:v>193.77842821324688</c:v>
                </c:pt>
                <c:pt idx="2446">
                  <c:v>193.53620517798032</c:v>
                </c:pt>
                <c:pt idx="2447">
                  <c:v>193.53620517798032</c:v>
                </c:pt>
                <c:pt idx="2448">
                  <c:v>193.53620517798032</c:v>
                </c:pt>
                <c:pt idx="2449">
                  <c:v>193.53620517798032</c:v>
                </c:pt>
                <c:pt idx="2450">
                  <c:v>193.53620517798032</c:v>
                </c:pt>
                <c:pt idx="2451">
                  <c:v>193.53620517798032</c:v>
                </c:pt>
                <c:pt idx="2452">
                  <c:v>193.53620517798032</c:v>
                </c:pt>
                <c:pt idx="2453">
                  <c:v>193.53620517798032</c:v>
                </c:pt>
                <c:pt idx="2454">
                  <c:v>193.53620517798032</c:v>
                </c:pt>
                <c:pt idx="2455">
                  <c:v>193.53620517798032</c:v>
                </c:pt>
                <c:pt idx="2456">
                  <c:v>193.53620517798032</c:v>
                </c:pt>
                <c:pt idx="2457">
                  <c:v>193.53620517798032</c:v>
                </c:pt>
                <c:pt idx="2458">
                  <c:v>193.53620517798032</c:v>
                </c:pt>
                <c:pt idx="2459">
                  <c:v>193.53620517798032</c:v>
                </c:pt>
                <c:pt idx="2460">
                  <c:v>193.53620517798032</c:v>
                </c:pt>
                <c:pt idx="2461">
                  <c:v>193.53620517798032</c:v>
                </c:pt>
                <c:pt idx="2462">
                  <c:v>193.53620517798032</c:v>
                </c:pt>
                <c:pt idx="2463">
                  <c:v>193.53620517798032</c:v>
                </c:pt>
                <c:pt idx="2464">
                  <c:v>193.53620517798032</c:v>
                </c:pt>
                <c:pt idx="2465">
                  <c:v>193.53620517798032</c:v>
                </c:pt>
                <c:pt idx="2466">
                  <c:v>193.53620517798032</c:v>
                </c:pt>
                <c:pt idx="2467">
                  <c:v>193.53620517798032</c:v>
                </c:pt>
                <c:pt idx="2468">
                  <c:v>193.53620517798032</c:v>
                </c:pt>
                <c:pt idx="2469">
                  <c:v>193.53620517798032</c:v>
                </c:pt>
                <c:pt idx="2470">
                  <c:v>193.53620517798032</c:v>
                </c:pt>
                <c:pt idx="2471">
                  <c:v>193.53620517798032</c:v>
                </c:pt>
                <c:pt idx="2472">
                  <c:v>193.53620517798032</c:v>
                </c:pt>
                <c:pt idx="2473">
                  <c:v>193.53620517798032</c:v>
                </c:pt>
                <c:pt idx="2474">
                  <c:v>193.53620517798032</c:v>
                </c:pt>
                <c:pt idx="2475">
                  <c:v>193.53620517798032</c:v>
                </c:pt>
                <c:pt idx="2476">
                  <c:v>193.53620517798032</c:v>
                </c:pt>
                <c:pt idx="2477">
                  <c:v>193.53620517798032</c:v>
                </c:pt>
                <c:pt idx="2478">
                  <c:v>193.53620517798032</c:v>
                </c:pt>
                <c:pt idx="2479">
                  <c:v>193.53620517798032</c:v>
                </c:pt>
                <c:pt idx="2480">
                  <c:v>193.53620517798032</c:v>
                </c:pt>
              </c:numCache>
            </c:numRef>
          </c:val>
          <c:smooth val="0"/>
          <c:extLst xmlns:c16r2="http://schemas.microsoft.com/office/drawing/2015/06/chart">
            <c:ext xmlns:c16="http://schemas.microsoft.com/office/drawing/2014/chart" uri="{C3380CC4-5D6E-409C-BE32-E72D297353CC}">
              <c16:uniqueId val="{00000001-97CC-4024-B73E-64F79F873D55}"/>
            </c:ext>
          </c:extLst>
        </c:ser>
        <c:ser>
          <c:idx val="1"/>
          <c:order val="2"/>
          <c:tx>
            <c:strRef>
              <c:f>'12M'!$V$30</c:f>
              <c:strCache>
                <c:ptCount val="1"/>
                <c:pt idx="0">
                  <c:v>MR 0.4-0.5</c:v>
                </c:pt>
              </c:strCache>
            </c:strRef>
          </c:tx>
          <c:marker>
            <c:symbol val="none"/>
          </c:marker>
          <c:cat>
            <c:numRef>
              <c:f>'12M'!$N$283:$N$2763</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12M'!$V$283:$V$2763</c:f>
              <c:numCache>
                <c:formatCode>General</c:formatCode>
                <c:ptCount val="2481"/>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98.540502594212683</c:v>
                </c:pt>
                <c:pt idx="38">
                  <c:v>97.206175353549568</c:v>
                </c:pt>
                <c:pt idx="39">
                  <c:v>93.161644677779123</c:v>
                </c:pt>
                <c:pt idx="40">
                  <c:v>80.105817984907517</c:v>
                </c:pt>
                <c:pt idx="41">
                  <c:v>80.105817984907517</c:v>
                </c:pt>
                <c:pt idx="42">
                  <c:v>80.005685712426384</c:v>
                </c:pt>
                <c:pt idx="43">
                  <c:v>80.005685712426384</c:v>
                </c:pt>
                <c:pt idx="44">
                  <c:v>79.967076008454512</c:v>
                </c:pt>
                <c:pt idx="45">
                  <c:v>79.608460023238351</c:v>
                </c:pt>
                <c:pt idx="46">
                  <c:v>78.749657344773951</c:v>
                </c:pt>
                <c:pt idx="47">
                  <c:v>78.749657344773951</c:v>
                </c:pt>
                <c:pt idx="48">
                  <c:v>78.651220273092989</c:v>
                </c:pt>
                <c:pt idx="49">
                  <c:v>78.651220273092989</c:v>
                </c:pt>
                <c:pt idx="50">
                  <c:v>78.651220273092989</c:v>
                </c:pt>
                <c:pt idx="51">
                  <c:v>78.651220273092989</c:v>
                </c:pt>
                <c:pt idx="52">
                  <c:v>78.651220273092989</c:v>
                </c:pt>
                <c:pt idx="53">
                  <c:v>78.651220273092989</c:v>
                </c:pt>
                <c:pt idx="54">
                  <c:v>78.651220273092989</c:v>
                </c:pt>
                <c:pt idx="55">
                  <c:v>78.651220273092989</c:v>
                </c:pt>
                <c:pt idx="56">
                  <c:v>78.651220273092989</c:v>
                </c:pt>
                <c:pt idx="57">
                  <c:v>78.651220273092989</c:v>
                </c:pt>
                <c:pt idx="58">
                  <c:v>78.651220273092989</c:v>
                </c:pt>
                <c:pt idx="59">
                  <c:v>78.651220273092989</c:v>
                </c:pt>
                <c:pt idx="60">
                  <c:v>78.651220273092989</c:v>
                </c:pt>
                <c:pt idx="61">
                  <c:v>78.651220273092989</c:v>
                </c:pt>
                <c:pt idx="62">
                  <c:v>78.561202752031335</c:v>
                </c:pt>
                <c:pt idx="63">
                  <c:v>78.763829909967555</c:v>
                </c:pt>
                <c:pt idx="64">
                  <c:v>79.881741163400179</c:v>
                </c:pt>
                <c:pt idx="65">
                  <c:v>84.136214370984845</c:v>
                </c:pt>
                <c:pt idx="66">
                  <c:v>84.136214370984845</c:v>
                </c:pt>
                <c:pt idx="67">
                  <c:v>83.5072234386773</c:v>
                </c:pt>
                <c:pt idx="68">
                  <c:v>86.270176710037461</c:v>
                </c:pt>
                <c:pt idx="69">
                  <c:v>86.270176710037461</c:v>
                </c:pt>
                <c:pt idx="70">
                  <c:v>86.162338989149916</c:v>
                </c:pt>
                <c:pt idx="71">
                  <c:v>86.162338989149916</c:v>
                </c:pt>
                <c:pt idx="72">
                  <c:v>86.162338989149916</c:v>
                </c:pt>
                <c:pt idx="73">
                  <c:v>86.162338989149916</c:v>
                </c:pt>
                <c:pt idx="74">
                  <c:v>86.162338989149916</c:v>
                </c:pt>
                <c:pt idx="75">
                  <c:v>86.162338989149916</c:v>
                </c:pt>
                <c:pt idx="76">
                  <c:v>86.162338989149916</c:v>
                </c:pt>
                <c:pt idx="77">
                  <c:v>86.162338989149916</c:v>
                </c:pt>
                <c:pt idx="78">
                  <c:v>86.162338989149916</c:v>
                </c:pt>
                <c:pt idx="79">
                  <c:v>86.162338989149916</c:v>
                </c:pt>
                <c:pt idx="80">
                  <c:v>86.162338989149916</c:v>
                </c:pt>
                <c:pt idx="81">
                  <c:v>86.162338989149916</c:v>
                </c:pt>
                <c:pt idx="82">
                  <c:v>86.162338989149916</c:v>
                </c:pt>
                <c:pt idx="83">
                  <c:v>86.162338989149916</c:v>
                </c:pt>
                <c:pt idx="84">
                  <c:v>86.162338989149916</c:v>
                </c:pt>
                <c:pt idx="85">
                  <c:v>86.162338989149916</c:v>
                </c:pt>
                <c:pt idx="86">
                  <c:v>86.162338989149916</c:v>
                </c:pt>
                <c:pt idx="87">
                  <c:v>86.162338989149916</c:v>
                </c:pt>
                <c:pt idx="88">
                  <c:v>86.162338989149916</c:v>
                </c:pt>
                <c:pt idx="89">
                  <c:v>86.162338989149916</c:v>
                </c:pt>
                <c:pt idx="90">
                  <c:v>86.162338989149916</c:v>
                </c:pt>
                <c:pt idx="91">
                  <c:v>86.162338989149916</c:v>
                </c:pt>
                <c:pt idx="92">
                  <c:v>86.162338989149916</c:v>
                </c:pt>
                <c:pt idx="93">
                  <c:v>86.162338989149916</c:v>
                </c:pt>
                <c:pt idx="94">
                  <c:v>86.162338989149916</c:v>
                </c:pt>
                <c:pt idx="95">
                  <c:v>86.162338989149916</c:v>
                </c:pt>
                <c:pt idx="96">
                  <c:v>86.162338989149916</c:v>
                </c:pt>
                <c:pt idx="97">
                  <c:v>86.162338989149916</c:v>
                </c:pt>
                <c:pt idx="98">
                  <c:v>86.162338989149916</c:v>
                </c:pt>
                <c:pt idx="99">
                  <c:v>86.162338989149916</c:v>
                </c:pt>
                <c:pt idx="100">
                  <c:v>86.162338989149916</c:v>
                </c:pt>
                <c:pt idx="101">
                  <c:v>86.162338989149916</c:v>
                </c:pt>
                <c:pt idx="102">
                  <c:v>86.162338989149916</c:v>
                </c:pt>
                <c:pt idx="103">
                  <c:v>86.162338989149916</c:v>
                </c:pt>
                <c:pt idx="104">
                  <c:v>86.162338989149916</c:v>
                </c:pt>
                <c:pt idx="105">
                  <c:v>86.162338989149916</c:v>
                </c:pt>
                <c:pt idx="106">
                  <c:v>86.162338989149916</c:v>
                </c:pt>
                <c:pt idx="107">
                  <c:v>86.162338989149916</c:v>
                </c:pt>
                <c:pt idx="108">
                  <c:v>86.162338989149916</c:v>
                </c:pt>
                <c:pt idx="109">
                  <c:v>86.162338989149916</c:v>
                </c:pt>
                <c:pt idx="110">
                  <c:v>86.162338989149916</c:v>
                </c:pt>
                <c:pt idx="111">
                  <c:v>86.162338989149916</c:v>
                </c:pt>
                <c:pt idx="112">
                  <c:v>86.162338989149916</c:v>
                </c:pt>
                <c:pt idx="113">
                  <c:v>86.162338989149916</c:v>
                </c:pt>
                <c:pt idx="114">
                  <c:v>86.162338989149916</c:v>
                </c:pt>
                <c:pt idx="115">
                  <c:v>86.162338989149916</c:v>
                </c:pt>
                <c:pt idx="116">
                  <c:v>86.162338989149916</c:v>
                </c:pt>
                <c:pt idx="117">
                  <c:v>86.162338989149916</c:v>
                </c:pt>
                <c:pt idx="118">
                  <c:v>86.162338989149916</c:v>
                </c:pt>
                <c:pt idx="119">
                  <c:v>86.162338989149916</c:v>
                </c:pt>
                <c:pt idx="120">
                  <c:v>86.162338989149916</c:v>
                </c:pt>
                <c:pt idx="121">
                  <c:v>86.162338989149916</c:v>
                </c:pt>
                <c:pt idx="122">
                  <c:v>86.162338989149916</c:v>
                </c:pt>
                <c:pt idx="123">
                  <c:v>86.162338989149916</c:v>
                </c:pt>
                <c:pt idx="124">
                  <c:v>86.162338989149916</c:v>
                </c:pt>
                <c:pt idx="125">
                  <c:v>86.162338989149916</c:v>
                </c:pt>
                <c:pt idx="126">
                  <c:v>86.162338989149916</c:v>
                </c:pt>
                <c:pt idx="127">
                  <c:v>86.162338989149916</c:v>
                </c:pt>
                <c:pt idx="128">
                  <c:v>86.162338989149916</c:v>
                </c:pt>
                <c:pt idx="129">
                  <c:v>86.162338989149916</c:v>
                </c:pt>
                <c:pt idx="130">
                  <c:v>86.162338989149916</c:v>
                </c:pt>
                <c:pt idx="131">
                  <c:v>86.162338989149916</c:v>
                </c:pt>
                <c:pt idx="132">
                  <c:v>86.162338989149916</c:v>
                </c:pt>
                <c:pt idx="133">
                  <c:v>86.162338989149916</c:v>
                </c:pt>
                <c:pt idx="134">
                  <c:v>86.162338989149916</c:v>
                </c:pt>
                <c:pt idx="135">
                  <c:v>86.162338989149916</c:v>
                </c:pt>
                <c:pt idx="136">
                  <c:v>86.162338989149916</c:v>
                </c:pt>
                <c:pt idx="137">
                  <c:v>86.162338989149916</c:v>
                </c:pt>
                <c:pt idx="138">
                  <c:v>86.162338989149916</c:v>
                </c:pt>
                <c:pt idx="139">
                  <c:v>86.162338989149916</c:v>
                </c:pt>
                <c:pt idx="140">
                  <c:v>86.162338989149916</c:v>
                </c:pt>
                <c:pt idx="141">
                  <c:v>86.162338989149916</c:v>
                </c:pt>
                <c:pt idx="142">
                  <c:v>86.162338989149916</c:v>
                </c:pt>
                <c:pt idx="143">
                  <c:v>86.162338989149916</c:v>
                </c:pt>
                <c:pt idx="144">
                  <c:v>86.162338989149916</c:v>
                </c:pt>
                <c:pt idx="145">
                  <c:v>86.162338989149916</c:v>
                </c:pt>
                <c:pt idx="146">
                  <c:v>86.162338989149916</c:v>
                </c:pt>
                <c:pt idx="147">
                  <c:v>86.162338989149916</c:v>
                </c:pt>
                <c:pt idx="148">
                  <c:v>86.162338989149916</c:v>
                </c:pt>
                <c:pt idx="149">
                  <c:v>86.162338989149916</c:v>
                </c:pt>
                <c:pt idx="150">
                  <c:v>86.162338989149916</c:v>
                </c:pt>
                <c:pt idx="151">
                  <c:v>86.162338989149916</c:v>
                </c:pt>
                <c:pt idx="152">
                  <c:v>86.162338989149916</c:v>
                </c:pt>
                <c:pt idx="153">
                  <c:v>86.162338989149916</c:v>
                </c:pt>
                <c:pt idx="154">
                  <c:v>86.162338989149916</c:v>
                </c:pt>
                <c:pt idx="155">
                  <c:v>86.162338989149916</c:v>
                </c:pt>
                <c:pt idx="156">
                  <c:v>86.162338989149916</c:v>
                </c:pt>
                <c:pt idx="157">
                  <c:v>86.162338989149916</c:v>
                </c:pt>
                <c:pt idx="158">
                  <c:v>86.162338989149916</c:v>
                </c:pt>
                <c:pt idx="159">
                  <c:v>86.162338989149916</c:v>
                </c:pt>
                <c:pt idx="160">
                  <c:v>86.162338989149916</c:v>
                </c:pt>
                <c:pt idx="161">
                  <c:v>86.162338989149916</c:v>
                </c:pt>
                <c:pt idx="162">
                  <c:v>86.162338989149916</c:v>
                </c:pt>
                <c:pt idx="163">
                  <c:v>86.162338989149916</c:v>
                </c:pt>
                <c:pt idx="164">
                  <c:v>86.162338989149916</c:v>
                </c:pt>
                <c:pt idx="165">
                  <c:v>86.162338989149916</c:v>
                </c:pt>
                <c:pt idx="166">
                  <c:v>86.162338989149916</c:v>
                </c:pt>
                <c:pt idx="167">
                  <c:v>86.162338989149916</c:v>
                </c:pt>
                <c:pt idx="168">
                  <c:v>86.162338989149916</c:v>
                </c:pt>
                <c:pt idx="169">
                  <c:v>86.162338989149916</c:v>
                </c:pt>
                <c:pt idx="170">
                  <c:v>86.162338989149916</c:v>
                </c:pt>
                <c:pt idx="171">
                  <c:v>86.162338989149916</c:v>
                </c:pt>
                <c:pt idx="172">
                  <c:v>86.162338989149916</c:v>
                </c:pt>
                <c:pt idx="173">
                  <c:v>86.162338989149916</c:v>
                </c:pt>
                <c:pt idx="174">
                  <c:v>86.162338989149916</c:v>
                </c:pt>
                <c:pt idx="175">
                  <c:v>86.162338989149916</c:v>
                </c:pt>
                <c:pt idx="176">
                  <c:v>86.162338989149916</c:v>
                </c:pt>
                <c:pt idx="177">
                  <c:v>86.162338989149916</c:v>
                </c:pt>
                <c:pt idx="178">
                  <c:v>86.162338989149916</c:v>
                </c:pt>
                <c:pt idx="179">
                  <c:v>86.162338989149916</c:v>
                </c:pt>
                <c:pt idx="180">
                  <c:v>86.162338989149916</c:v>
                </c:pt>
                <c:pt idx="181">
                  <c:v>86.162338989149916</c:v>
                </c:pt>
                <c:pt idx="182">
                  <c:v>86.162338989149916</c:v>
                </c:pt>
                <c:pt idx="183">
                  <c:v>86.162338989149916</c:v>
                </c:pt>
                <c:pt idx="184">
                  <c:v>86.162338989149916</c:v>
                </c:pt>
                <c:pt idx="185">
                  <c:v>86.162338989149916</c:v>
                </c:pt>
                <c:pt idx="186">
                  <c:v>86.162338989149916</c:v>
                </c:pt>
                <c:pt idx="187">
                  <c:v>86.162338989149916</c:v>
                </c:pt>
                <c:pt idx="188">
                  <c:v>86.162338989149916</c:v>
                </c:pt>
                <c:pt idx="189">
                  <c:v>86.162338989149916</c:v>
                </c:pt>
                <c:pt idx="190">
                  <c:v>86.162338989149916</c:v>
                </c:pt>
                <c:pt idx="191">
                  <c:v>86.162338989149916</c:v>
                </c:pt>
                <c:pt idx="192">
                  <c:v>86.162338989149916</c:v>
                </c:pt>
                <c:pt idx="193">
                  <c:v>86.162338989149916</c:v>
                </c:pt>
                <c:pt idx="194">
                  <c:v>86.162338989149916</c:v>
                </c:pt>
                <c:pt idx="195">
                  <c:v>86.162338989149916</c:v>
                </c:pt>
                <c:pt idx="196">
                  <c:v>86.162338989149916</c:v>
                </c:pt>
                <c:pt idx="197">
                  <c:v>86.162338989149916</c:v>
                </c:pt>
                <c:pt idx="198">
                  <c:v>86.162338989149916</c:v>
                </c:pt>
                <c:pt idx="199">
                  <c:v>86.162338989149916</c:v>
                </c:pt>
                <c:pt idx="200">
                  <c:v>86.162338989149916</c:v>
                </c:pt>
                <c:pt idx="201">
                  <c:v>86.162338989149916</c:v>
                </c:pt>
                <c:pt idx="202">
                  <c:v>86.162338989149916</c:v>
                </c:pt>
                <c:pt idx="203">
                  <c:v>86.162338989149916</c:v>
                </c:pt>
                <c:pt idx="204">
                  <c:v>86.162338989149916</c:v>
                </c:pt>
                <c:pt idx="205">
                  <c:v>86.162338989149916</c:v>
                </c:pt>
                <c:pt idx="206">
                  <c:v>86.162338989149916</c:v>
                </c:pt>
                <c:pt idx="207">
                  <c:v>86.162338989149916</c:v>
                </c:pt>
                <c:pt idx="208">
                  <c:v>86.162338989149916</c:v>
                </c:pt>
                <c:pt idx="209">
                  <c:v>86.162338989149916</c:v>
                </c:pt>
                <c:pt idx="210">
                  <c:v>86.162338989149916</c:v>
                </c:pt>
                <c:pt idx="211">
                  <c:v>86.162338989149916</c:v>
                </c:pt>
                <c:pt idx="212">
                  <c:v>86.162338989149916</c:v>
                </c:pt>
                <c:pt idx="213">
                  <c:v>86.162338989149916</c:v>
                </c:pt>
                <c:pt idx="214">
                  <c:v>86.162338989149916</c:v>
                </c:pt>
                <c:pt idx="215">
                  <c:v>86.162338989149916</c:v>
                </c:pt>
                <c:pt idx="216">
                  <c:v>86.162338989149916</c:v>
                </c:pt>
                <c:pt idx="217">
                  <c:v>86.162338989149916</c:v>
                </c:pt>
                <c:pt idx="218">
                  <c:v>86.162338989149916</c:v>
                </c:pt>
                <c:pt idx="219">
                  <c:v>86.162338989149916</c:v>
                </c:pt>
                <c:pt idx="220">
                  <c:v>86.162338989149916</c:v>
                </c:pt>
                <c:pt idx="221">
                  <c:v>86.162338989149916</c:v>
                </c:pt>
                <c:pt idx="222">
                  <c:v>86.162338989149916</c:v>
                </c:pt>
                <c:pt idx="223">
                  <c:v>86.162338989149916</c:v>
                </c:pt>
                <c:pt idx="224">
                  <c:v>86.162338989149916</c:v>
                </c:pt>
                <c:pt idx="225">
                  <c:v>86.162338989149916</c:v>
                </c:pt>
                <c:pt idx="226">
                  <c:v>86.162338989149916</c:v>
                </c:pt>
                <c:pt idx="227">
                  <c:v>86.162338989149916</c:v>
                </c:pt>
                <c:pt idx="228">
                  <c:v>86.162338989149916</c:v>
                </c:pt>
                <c:pt idx="229">
                  <c:v>86.162338989149916</c:v>
                </c:pt>
                <c:pt idx="230">
                  <c:v>86.162338989149916</c:v>
                </c:pt>
                <c:pt idx="231">
                  <c:v>86.162338989149916</c:v>
                </c:pt>
                <c:pt idx="232">
                  <c:v>86.162338989149916</c:v>
                </c:pt>
                <c:pt idx="233">
                  <c:v>86.162338989149916</c:v>
                </c:pt>
                <c:pt idx="234">
                  <c:v>86.162338989149916</c:v>
                </c:pt>
                <c:pt idx="235">
                  <c:v>86.162338989149916</c:v>
                </c:pt>
                <c:pt idx="236">
                  <c:v>86.162338989149916</c:v>
                </c:pt>
                <c:pt idx="237">
                  <c:v>86.162338989149916</c:v>
                </c:pt>
                <c:pt idx="238">
                  <c:v>86.162338989149916</c:v>
                </c:pt>
                <c:pt idx="239">
                  <c:v>86.162338989149916</c:v>
                </c:pt>
                <c:pt idx="240">
                  <c:v>86.162338989149916</c:v>
                </c:pt>
                <c:pt idx="241">
                  <c:v>86.162338989149916</c:v>
                </c:pt>
                <c:pt idx="242">
                  <c:v>86.162338989149916</c:v>
                </c:pt>
                <c:pt idx="243">
                  <c:v>86.162338989149916</c:v>
                </c:pt>
                <c:pt idx="244">
                  <c:v>86.162338989149916</c:v>
                </c:pt>
                <c:pt idx="245">
                  <c:v>86.162338989149916</c:v>
                </c:pt>
                <c:pt idx="246">
                  <c:v>86.162338989149916</c:v>
                </c:pt>
                <c:pt idx="247">
                  <c:v>86.162338989149916</c:v>
                </c:pt>
                <c:pt idx="248">
                  <c:v>86.162338989149916</c:v>
                </c:pt>
                <c:pt idx="249">
                  <c:v>86.162338989149916</c:v>
                </c:pt>
                <c:pt idx="250">
                  <c:v>86.162338989149916</c:v>
                </c:pt>
                <c:pt idx="251">
                  <c:v>86.162338989149916</c:v>
                </c:pt>
                <c:pt idx="252">
                  <c:v>86.162338989149916</c:v>
                </c:pt>
                <c:pt idx="253">
                  <c:v>86.162338989149916</c:v>
                </c:pt>
                <c:pt idx="254">
                  <c:v>86.162338989149916</c:v>
                </c:pt>
                <c:pt idx="255">
                  <c:v>86.162338989149916</c:v>
                </c:pt>
                <c:pt idx="256">
                  <c:v>86.162338989149916</c:v>
                </c:pt>
                <c:pt idx="257">
                  <c:v>86.162338989149916</c:v>
                </c:pt>
                <c:pt idx="258">
                  <c:v>86.162338989149916</c:v>
                </c:pt>
                <c:pt idx="259">
                  <c:v>86.162338989149916</c:v>
                </c:pt>
                <c:pt idx="260">
                  <c:v>86.162338989149916</c:v>
                </c:pt>
                <c:pt idx="261">
                  <c:v>86.162338989149916</c:v>
                </c:pt>
                <c:pt idx="262">
                  <c:v>86.162338989149916</c:v>
                </c:pt>
                <c:pt idx="263">
                  <c:v>86.162338989149916</c:v>
                </c:pt>
                <c:pt idx="264">
                  <c:v>86.162338989149916</c:v>
                </c:pt>
                <c:pt idx="265">
                  <c:v>86.162338989149916</c:v>
                </c:pt>
                <c:pt idx="266">
                  <c:v>86.162338989149916</c:v>
                </c:pt>
                <c:pt idx="267">
                  <c:v>86.162338989149916</c:v>
                </c:pt>
                <c:pt idx="268">
                  <c:v>86.162338989149916</c:v>
                </c:pt>
                <c:pt idx="269">
                  <c:v>86.162338989149916</c:v>
                </c:pt>
                <c:pt idx="270">
                  <c:v>86.162338989149916</c:v>
                </c:pt>
                <c:pt idx="271">
                  <c:v>86.162338989149916</c:v>
                </c:pt>
                <c:pt idx="272">
                  <c:v>86.162338989149916</c:v>
                </c:pt>
                <c:pt idx="273">
                  <c:v>86.162338989149916</c:v>
                </c:pt>
                <c:pt idx="274">
                  <c:v>86.162338989149916</c:v>
                </c:pt>
                <c:pt idx="275">
                  <c:v>86.162338989149916</c:v>
                </c:pt>
                <c:pt idx="276">
                  <c:v>86.162338989149916</c:v>
                </c:pt>
                <c:pt idx="277">
                  <c:v>86.162338989149916</c:v>
                </c:pt>
                <c:pt idx="278">
                  <c:v>86.162338989149916</c:v>
                </c:pt>
                <c:pt idx="279">
                  <c:v>86.162338989149916</c:v>
                </c:pt>
                <c:pt idx="280">
                  <c:v>86.162338989149916</c:v>
                </c:pt>
                <c:pt idx="281">
                  <c:v>86.162338989149916</c:v>
                </c:pt>
                <c:pt idx="282">
                  <c:v>86.162338989149916</c:v>
                </c:pt>
                <c:pt idx="283">
                  <c:v>86.162338989149916</c:v>
                </c:pt>
                <c:pt idx="284">
                  <c:v>86.162338989149916</c:v>
                </c:pt>
                <c:pt idx="285">
                  <c:v>86.162338989149916</c:v>
                </c:pt>
                <c:pt idx="286">
                  <c:v>86.162338989149916</c:v>
                </c:pt>
                <c:pt idx="287">
                  <c:v>86.162338989149916</c:v>
                </c:pt>
                <c:pt idx="288">
                  <c:v>86.162338989149916</c:v>
                </c:pt>
                <c:pt idx="289">
                  <c:v>86.162338989149916</c:v>
                </c:pt>
                <c:pt idx="290">
                  <c:v>86.162338989149916</c:v>
                </c:pt>
                <c:pt idx="291">
                  <c:v>86.162338989149916</c:v>
                </c:pt>
                <c:pt idx="292">
                  <c:v>86.162338989149916</c:v>
                </c:pt>
                <c:pt idx="293">
                  <c:v>86.162338989149916</c:v>
                </c:pt>
                <c:pt idx="294">
                  <c:v>86.162338989149916</c:v>
                </c:pt>
                <c:pt idx="295">
                  <c:v>86.162338989149916</c:v>
                </c:pt>
                <c:pt idx="296">
                  <c:v>86.162338989149916</c:v>
                </c:pt>
                <c:pt idx="297">
                  <c:v>86.162338989149916</c:v>
                </c:pt>
                <c:pt idx="298">
                  <c:v>86.162338989149916</c:v>
                </c:pt>
                <c:pt idx="299">
                  <c:v>86.162338989149916</c:v>
                </c:pt>
                <c:pt idx="300">
                  <c:v>86.162338989149916</c:v>
                </c:pt>
                <c:pt idx="301">
                  <c:v>86.162338989149916</c:v>
                </c:pt>
                <c:pt idx="302">
                  <c:v>86.162338989149916</c:v>
                </c:pt>
                <c:pt idx="303">
                  <c:v>86.162338989149916</c:v>
                </c:pt>
                <c:pt idx="304">
                  <c:v>86.162338989149916</c:v>
                </c:pt>
                <c:pt idx="305">
                  <c:v>86.162338989149916</c:v>
                </c:pt>
                <c:pt idx="306">
                  <c:v>86.162338989149916</c:v>
                </c:pt>
                <c:pt idx="307">
                  <c:v>86.162338989149916</c:v>
                </c:pt>
                <c:pt idx="308">
                  <c:v>86.162338989149916</c:v>
                </c:pt>
                <c:pt idx="309">
                  <c:v>86.162338989149916</c:v>
                </c:pt>
                <c:pt idx="310">
                  <c:v>85.239682712657341</c:v>
                </c:pt>
                <c:pt idx="311">
                  <c:v>85.133133109266524</c:v>
                </c:pt>
                <c:pt idx="312">
                  <c:v>85.026716692879944</c:v>
                </c:pt>
                <c:pt idx="313">
                  <c:v>85.026716692879944</c:v>
                </c:pt>
                <c:pt idx="314">
                  <c:v>85.026716692879944</c:v>
                </c:pt>
                <c:pt idx="315">
                  <c:v>85.026716692879944</c:v>
                </c:pt>
                <c:pt idx="316">
                  <c:v>85.159397954313292</c:v>
                </c:pt>
                <c:pt idx="317">
                  <c:v>83.243642849281628</c:v>
                </c:pt>
                <c:pt idx="318">
                  <c:v>83.538637895272345</c:v>
                </c:pt>
                <c:pt idx="319">
                  <c:v>80.851793423266912</c:v>
                </c:pt>
                <c:pt idx="320">
                  <c:v>81.072495299042728</c:v>
                </c:pt>
                <c:pt idx="321">
                  <c:v>75.162759683957574</c:v>
                </c:pt>
                <c:pt idx="322">
                  <c:v>75.162759683957574</c:v>
                </c:pt>
                <c:pt idx="323">
                  <c:v>75.068806234352635</c:v>
                </c:pt>
                <c:pt idx="324">
                  <c:v>75.068806234352635</c:v>
                </c:pt>
                <c:pt idx="325">
                  <c:v>75.068806234352635</c:v>
                </c:pt>
                <c:pt idx="326">
                  <c:v>75.068806234352635</c:v>
                </c:pt>
                <c:pt idx="327">
                  <c:v>75.068806234352635</c:v>
                </c:pt>
                <c:pt idx="328">
                  <c:v>75.068806234352635</c:v>
                </c:pt>
                <c:pt idx="329">
                  <c:v>75.068806234352635</c:v>
                </c:pt>
                <c:pt idx="330">
                  <c:v>75.068806234352635</c:v>
                </c:pt>
                <c:pt idx="331">
                  <c:v>75.068806234352635</c:v>
                </c:pt>
                <c:pt idx="332">
                  <c:v>75.068806234352635</c:v>
                </c:pt>
                <c:pt idx="333">
                  <c:v>75.068806234352635</c:v>
                </c:pt>
                <c:pt idx="334">
                  <c:v>75.068806234352635</c:v>
                </c:pt>
                <c:pt idx="335">
                  <c:v>75.068806234352635</c:v>
                </c:pt>
                <c:pt idx="336">
                  <c:v>75.068806234352635</c:v>
                </c:pt>
                <c:pt idx="337">
                  <c:v>75.068806234352635</c:v>
                </c:pt>
                <c:pt idx="338">
                  <c:v>75.068806234352635</c:v>
                </c:pt>
                <c:pt idx="339">
                  <c:v>75.068806234352635</c:v>
                </c:pt>
                <c:pt idx="340">
                  <c:v>75.068806234352635</c:v>
                </c:pt>
                <c:pt idx="341">
                  <c:v>75.068806234352635</c:v>
                </c:pt>
                <c:pt idx="342">
                  <c:v>75.068806234352635</c:v>
                </c:pt>
                <c:pt idx="343">
                  <c:v>75.068806234352635</c:v>
                </c:pt>
                <c:pt idx="344">
                  <c:v>75.068806234352635</c:v>
                </c:pt>
                <c:pt idx="345">
                  <c:v>75.068806234352635</c:v>
                </c:pt>
                <c:pt idx="346">
                  <c:v>75.068806234352635</c:v>
                </c:pt>
                <c:pt idx="347">
                  <c:v>75.068806234352635</c:v>
                </c:pt>
                <c:pt idx="348">
                  <c:v>75.068806234352635</c:v>
                </c:pt>
                <c:pt idx="349">
                  <c:v>75.068806234352635</c:v>
                </c:pt>
                <c:pt idx="350">
                  <c:v>75.068806234352635</c:v>
                </c:pt>
                <c:pt idx="351">
                  <c:v>75.068806234352635</c:v>
                </c:pt>
                <c:pt idx="352">
                  <c:v>75.068806234352635</c:v>
                </c:pt>
                <c:pt idx="353">
                  <c:v>75.068806234352635</c:v>
                </c:pt>
                <c:pt idx="354">
                  <c:v>75.068806234352635</c:v>
                </c:pt>
                <c:pt idx="355">
                  <c:v>75.068806234352635</c:v>
                </c:pt>
                <c:pt idx="356">
                  <c:v>75.068806234352635</c:v>
                </c:pt>
                <c:pt idx="357">
                  <c:v>75.068806234352635</c:v>
                </c:pt>
                <c:pt idx="358">
                  <c:v>75.068806234352635</c:v>
                </c:pt>
                <c:pt idx="359">
                  <c:v>75.068806234352635</c:v>
                </c:pt>
                <c:pt idx="360">
                  <c:v>75.068806234352635</c:v>
                </c:pt>
                <c:pt idx="361">
                  <c:v>75.068806234352635</c:v>
                </c:pt>
                <c:pt idx="362">
                  <c:v>75.068806234352635</c:v>
                </c:pt>
                <c:pt idx="363">
                  <c:v>75.068806234352635</c:v>
                </c:pt>
                <c:pt idx="364">
                  <c:v>75.068806234352635</c:v>
                </c:pt>
                <c:pt idx="365">
                  <c:v>75.068806234352635</c:v>
                </c:pt>
                <c:pt idx="366">
                  <c:v>75.068806234352635</c:v>
                </c:pt>
                <c:pt idx="367">
                  <c:v>75.068806234352635</c:v>
                </c:pt>
                <c:pt idx="368">
                  <c:v>75.068806234352635</c:v>
                </c:pt>
                <c:pt idx="369">
                  <c:v>75.068806234352635</c:v>
                </c:pt>
                <c:pt idx="370">
                  <c:v>75.068806234352635</c:v>
                </c:pt>
                <c:pt idx="371">
                  <c:v>75.068806234352635</c:v>
                </c:pt>
                <c:pt idx="372">
                  <c:v>75.068806234352635</c:v>
                </c:pt>
                <c:pt idx="373">
                  <c:v>75.068806234352635</c:v>
                </c:pt>
                <c:pt idx="374">
                  <c:v>75.068806234352635</c:v>
                </c:pt>
                <c:pt idx="375">
                  <c:v>75.068806234352635</c:v>
                </c:pt>
                <c:pt idx="376">
                  <c:v>75.068806234352635</c:v>
                </c:pt>
                <c:pt idx="377">
                  <c:v>75.068806234352635</c:v>
                </c:pt>
                <c:pt idx="378">
                  <c:v>75.068806234352635</c:v>
                </c:pt>
                <c:pt idx="379">
                  <c:v>75.068806234352635</c:v>
                </c:pt>
                <c:pt idx="380">
                  <c:v>75.068806234352635</c:v>
                </c:pt>
                <c:pt idx="381">
                  <c:v>75.068806234352635</c:v>
                </c:pt>
                <c:pt idx="382">
                  <c:v>75.068806234352635</c:v>
                </c:pt>
                <c:pt idx="383">
                  <c:v>75.068806234352635</c:v>
                </c:pt>
                <c:pt idx="384">
                  <c:v>75.068806234352635</c:v>
                </c:pt>
                <c:pt idx="385">
                  <c:v>75.068806234352635</c:v>
                </c:pt>
                <c:pt idx="386">
                  <c:v>75.068806234352635</c:v>
                </c:pt>
                <c:pt idx="387">
                  <c:v>75.068806234352635</c:v>
                </c:pt>
                <c:pt idx="388">
                  <c:v>75.068806234352635</c:v>
                </c:pt>
                <c:pt idx="389">
                  <c:v>75.068806234352635</c:v>
                </c:pt>
                <c:pt idx="390">
                  <c:v>75.068806234352635</c:v>
                </c:pt>
                <c:pt idx="391">
                  <c:v>75.068806234352635</c:v>
                </c:pt>
                <c:pt idx="392">
                  <c:v>75.068806234352635</c:v>
                </c:pt>
                <c:pt idx="393">
                  <c:v>75.068806234352635</c:v>
                </c:pt>
                <c:pt idx="394">
                  <c:v>75.068806234352635</c:v>
                </c:pt>
                <c:pt idx="395">
                  <c:v>75.068806234352635</c:v>
                </c:pt>
                <c:pt idx="396">
                  <c:v>75.068806234352635</c:v>
                </c:pt>
                <c:pt idx="397">
                  <c:v>75.068806234352635</c:v>
                </c:pt>
                <c:pt idx="398">
                  <c:v>75.068806234352635</c:v>
                </c:pt>
                <c:pt idx="399">
                  <c:v>75.068806234352635</c:v>
                </c:pt>
                <c:pt idx="400">
                  <c:v>75.068806234352635</c:v>
                </c:pt>
                <c:pt idx="401">
                  <c:v>75.068806234352635</c:v>
                </c:pt>
                <c:pt idx="402">
                  <c:v>75.068806234352635</c:v>
                </c:pt>
                <c:pt idx="403">
                  <c:v>75.068806234352635</c:v>
                </c:pt>
                <c:pt idx="404">
                  <c:v>75.068806234352635</c:v>
                </c:pt>
                <c:pt idx="405">
                  <c:v>75.068806234352635</c:v>
                </c:pt>
                <c:pt idx="406">
                  <c:v>75.068806234352635</c:v>
                </c:pt>
                <c:pt idx="407">
                  <c:v>75.068806234352635</c:v>
                </c:pt>
                <c:pt idx="408">
                  <c:v>75.068806234352635</c:v>
                </c:pt>
                <c:pt idx="409">
                  <c:v>75.068806234352635</c:v>
                </c:pt>
                <c:pt idx="410">
                  <c:v>75.068806234352635</c:v>
                </c:pt>
                <c:pt idx="411">
                  <c:v>75.068806234352635</c:v>
                </c:pt>
                <c:pt idx="412">
                  <c:v>75.068806234352635</c:v>
                </c:pt>
                <c:pt idx="413">
                  <c:v>75.068806234352635</c:v>
                </c:pt>
                <c:pt idx="414">
                  <c:v>75.068806234352635</c:v>
                </c:pt>
                <c:pt idx="415">
                  <c:v>75.068806234352635</c:v>
                </c:pt>
                <c:pt idx="416">
                  <c:v>75.068806234352635</c:v>
                </c:pt>
                <c:pt idx="417">
                  <c:v>75.068806234352635</c:v>
                </c:pt>
                <c:pt idx="418">
                  <c:v>75.068806234352635</c:v>
                </c:pt>
                <c:pt idx="419">
                  <c:v>75.068806234352635</c:v>
                </c:pt>
                <c:pt idx="420">
                  <c:v>75.068806234352635</c:v>
                </c:pt>
                <c:pt idx="421">
                  <c:v>75.068806234352635</c:v>
                </c:pt>
                <c:pt idx="422">
                  <c:v>75.068806234352635</c:v>
                </c:pt>
                <c:pt idx="423">
                  <c:v>75.068806234352635</c:v>
                </c:pt>
                <c:pt idx="424">
                  <c:v>75.068806234352635</c:v>
                </c:pt>
                <c:pt idx="425">
                  <c:v>75.068806234352635</c:v>
                </c:pt>
                <c:pt idx="426">
                  <c:v>75.068806234352635</c:v>
                </c:pt>
                <c:pt idx="427">
                  <c:v>75.068806234352635</c:v>
                </c:pt>
                <c:pt idx="428">
                  <c:v>75.068806234352635</c:v>
                </c:pt>
                <c:pt idx="429">
                  <c:v>75.068806234352635</c:v>
                </c:pt>
                <c:pt idx="430">
                  <c:v>75.068806234352635</c:v>
                </c:pt>
                <c:pt idx="431">
                  <c:v>75.068806234352635</c:v>
                </c:pt>
                <c:pt idx="432">
                  <c:v>75.068806234352635</c:v>
                </c:pt>
                <c:pt idx="433">
                  <c:v>75.068806234352635</c:v>
                </c:pt>
                <c:pt idx="434">
                  <c:v>75.068806234352635</c:v>
                </c:pt>
                <c:pt idx="435">
                  <c:v>75.068806234352635</c:v>
                </c:pt>
                <c:pt idx="436">
                  <c:v>75.068806234352635</c:v>
                </c:pt>
                <c:pt idx="437">
                  <c:v>75.068806234352635</c:v>
                </c:pt>
                <c:pt idx="438">
                  <c:v>75.068806234352635</c:v>
                </c:pt>
                <c:pt idx="439">
                  <c:v>75.068806234352635</c:v>
                </c:pt>
                <c:pt idx="440">
                  <c:v>75.068806234352635</c:v>
                </c:pt>
                <c:pt idx="441">
                  <c:v>75.068806234352635</c:v>
                </c:pt>
                <c:pt idx="442">
                  <c:v>75.068806234352635</c:v>
                </c:pt>
                <c:pt idx="443">
                  <c:v>75.068806234352635</c:v>
                </c:pt>
                <c:pt idx="444">
                  <c:v>75.068806234352635</c:v>
                </c:pt>
                <c:pt idx="445">
                  <c:v>75.068806234352635</c:v>
                </c:pt>
                <c:pt idx="446">
                  <c:v>75.068806234352635</c:v>
                </c:pt>
                <c:pt idx="447">
                  <c:v>75.068806234352635</c:v>
                </c:pt>
                <c:pt idx="448">
                  <c:v>75.068806234352635</c:v>
                </c:pt>
                <c:pt idx="449">
                  <c:v>75.068806234352635</c:v>
                </c:pt>
                <c:pt idx="450">
                  <c:v>75.068806234352635</c:v>
                </c:pt>
                <c:pt idx="451">
                  <c:v>75.068806234352635</c:v>
                </c:pt>
                <c:pt idx="452">
                  <c:v>75.068806234352635</c:v>
                </c:pt>
                <c:pt idx="453">
                  <c:v>75.068806234352635</c:v>
                </c:pt>
                <c:pt idx="454">
                  <c:v>75.068806234352635</c:v>
                </c:pt>
                <c:pt idx="455">
                  <c:v>75.068806234352635</c:v>
                </c:pt>
                <c:pt idx="456">
                  <c:v>75.068806234352635</c:v>
                </c:pt>
                <c:pt idx="457">
                  <c:v>75.068806234352635</c:v>
                </c:pt>
                <c:pt idx="458">
                  <c:v>75.068806234352635</c:v>
                </c:pt>
                <c:pt idx="459">
                  <c:v>75.068806234352635</c:v>
                </c:pt>
                <c:pt idx="460">
                  <c:v>75.068806234352635</c:v>
                </c:pt>
                <c:pt idx="461">
                  <c:v>75.068806234352635</c:v>
                </c:pt>
                <c:pt idx="462">
                  <c:v>75.068806234352635</c:v>
                </c:pt>
                <c:pt idx="463">
                  <c:v>75.068806234352635</c:v>
                </c:pt>
                <c:pt idx="464">
                  <c:v>75.068806234352635</c:v>
                </c:pt>
                <c:pt idx="465">
                  <c:v>75.068806234352635</c:v>
                </c:pt>
                <c:pt idx="466">
                  <c:v>75.068806234352635</c:v>
                </c:pt>
                <c:pt idx="467">
                  <c:v>75.068806234352635</c:v>
                </c:pt>
                <c:pt idx="468">
                  <c:v>75.068806234352635</c:v>
                </c:pt>
                <c:pt idx="469">
                  <c:v>75.068806234352635</c:v>
                </c:pt>
                <c:pt idx="470">
                  <c:v>75.068806234352635</c:v>
                </c:pt>
                <c:pt idx="471">
                  <c:v>75.068806234352635</c:v>
                </c:pt>
                <c:pt idx="472">
                  <c:v>75.068806234352635</c:v>
                </c:pt>
                <c:pt idx="473">
                  <c:v>75.068806234352635</c:v>
                </c:pt>
                <c:pt idx="474">
                  <c:v>75.068806234352635</c:v>
                </c:pt>
                <c:pt idx="475">
                  <c:v>75.068806234352635</c:v>
                </c:pt>
                <c:pt idx="476">
                  <c:v>75.068806234352635</c:v>
                </c:pt>
                <c:pt idx="477">
                  <c:v>75.068806234352635</c:v>
                </c:pt>
                <c:pt idx="478">
                  <c:v>75.068806234352635</c:v>
                </c:pt>
                <c:pt idx="479">
                  <c:v>75.068806234352635</c:v>
                </c:pt>
                <c:pt idx="480">
                  <c:v>75.068806234352635</c:v>
                </c:pt>
                <c:pt idx="481">
                  <c:v>75.068806234352635</c:v>
                </c:pt>
                <c:pt idx="482">
                  <c:v>75.068806234352635</c:v>
                </c:pt>
                <c:pt idx="483">
                  <c:v>75.068806234352635</c:v>
                </c:pt>
                <c:pt idx="484">
                  <c:v>75.068806234352635</c:v>
                </c:pt>
                <c:pt idx="485">
                  <c:v>75.068806234352635</c:v>
                </c:pt>
                <c:pt idx="486">
                  <c:v>75.068806234352635</c:v>
                </c:pt>
                <c:pt idx="487">
                  <c:v>75.068806234352635</c:v>
                </c:pt>
                <c:pt idx="488">
                  <c:v>75.068806234352635</c:v>
                </c:pt>
                <c:pt idx="489">
                  <c:v>75.068806234352635</c:v>
                </c:pt>
                <c:pt idx="490">
                  <c:v>75.068806234352635</c:v>
                </c:pt>
                <c:pt idx="491">
                  <c:v>75.068806234352635</c:v>
                </c:pt>
                <c:pt idx="492">
                  <c:v>75.068806234352635</c:v>
                </c:pt>
                <c:pt idx="493">
                  <c:v>75.068806234352635</c:v>
                </c:pt>
                <c:pt idx="494">
                  <c:v>75.068806234352635</c:v>
                </c:pt>
                <c:pt idx="495">
                  <c:v>75.068806234352635</c:v>
                </c:pt>
                <c:pt idx="496">
                  <c:v>72.292066459420269</c:v>
                </c:pt>
                <c:pt idx="497">
                  <c:v>72.215878049825534</c:v>
                </c:pt>
                <c:pt idx="498">
                  <c:v>74.129432374719798</c:v>
                </c:pt>
                <c:pt idx="499">
                  <c:v>71.678184444284128</c:v>
                </c:pt>
                <c:pt idx="500">
                  <c:v>73.045380685495786</c:v>
                </c:pt>
                <c:pt idx="501">
                  <c:v>72.713239659099614</c:v>
                </c:pt>
                <c:pt idx="502">
                  <c:v>72.170536908632016</c:v>
                </c:pt>
                <c:pt idx="503">
                  <c:v>71.224214349432259</c:v>
                </c:pt>
                <c:pt idx="504">
                  <c:v>71.224214349432259</c:v>
                </c:pt>
                <c:pt idx="505">
                  <c:v>71.135184081495467</c:v>
                </c:pt>
                <c:pt idx="506">
                  <c:v>71.135184081495467</c:v>
                </c:pt>
                <c:pt idx="507">
                  <c:v>71.135184081495467</c:v>
                </c:pt>
                <c:pt idx="508">
                  <c:v>71.135184081495467</c:v>
                </c:pt>
                <c:pt idx="509">
                  <c:v>71.135184081495467</c:v>
                </c:pt>
                <c:pt idx="510">
                  <c:v>71.135184081495467</c:v>
                </c:pt>
                <c:pt idx="511">
                  <c:v>71.135184081495467</c:v>
                </c:pt>
                <c:pt idx="512">
                  <c:v>71.135184081495467</c:v>
                </c:pt>
                <c:pt idx="513">
                  <c:v>71.135184081495467</c:v>
                </c:pt>
                <c:pt idx="514">
                  <c:v>71.135184081495467</c:v>
                </c:pt>
                <c:pt idx="515">
                  <c:v>71.135184081495467</c:v>
                </c:pt>
                <c:pt idx="516">
                  <c:v>71.135184081495467</c:v>
                </c:pt>
                <c:pt idx="517">
                  <c:v>71.135184081495467</c:v>
                </c:pt>
                <c:pt idx="518">
                  <c:v>71.135184081495467</c:v>
                </c:pt>
                <c:pt idx="519">
                  <c:v>71.135184081495467</c:v>
                </c:pt>
                <c:pt idx="520">
                  <c:v>71.135184081495467</c:v>
                </c:pt>
                <c:pt idx="521">
                  <c:v>71.135184081495467</c:v>
                </c:pt>
                <c:pt idx="522">
                  <c:v>71.135184081495467</c:v>
                </c:pt>
                <c:pt idx="523">
                  <c:v>71.135184081495467</c:v>
                </c:pt>
                <c:pt idx="524">
                  <c:v>71.135184081495467</c:v>
                </c:pt>
                <c:pt idx="525">
                  <c:v>71.135184081495467</c:v>
                </c:pt>
                <c:pt idx="526">
                  <c:v>71.135184081495467</c:v>
                </c:pt>
                <c:pt idx="527">
                  <c:v>71.135184081495467</c:v>
                </c:pt>
                <c:pt idx="528">
                  <c:v>71.135184081495467</c:v>
                </c:pt>
                <c:pt idx="529">
                  <c:v>71.135184081495467</c:v>
                </c:pt>
                <c:pt idx="530">
                  <c:v>71.135184081495467</c:v>
                </c:pt>
                <c:pt idx="531">
                  <c:v>71.135184081495467</c:v>
                </c:pt>
                <c:pt idx="532">
                  <c:v>71.135184081495467</c:v>
                </c:pt>
                <c:pt idx="533">
                  <c:v>71.135184081495467</c:v>
                </c:pt>
                <c:pt idx="534">
                  <c:v>71.135184081495467</c:v>
                </c:pt>
                <c:pt idx="535">
                  <c:v>71.135184081495467</c:v>
                </c:pt>
                <c:pt idx="536">
                  <c:v>71.135184081495467</c:v>
                </c:pt>
                <c:pt idx="537">
                  <c:v>71.135184081495467</c:v>
                </c:pt>
                <c:pt idx="538">
                  <c:v>71.135184081495467</c:v>
                </c:pt>
                <c:pt idx="539">
                  <c:v>71.135184081495467</c:v>
                </c:pt>
                <c:pt idx="540">
                  <c:v>71.135184081495467</c:v>
                </c:pt>
                <c:pt idx="541">
                  <c:v>71.135184081495467</c:v>
                </c:pt>
                <c:pt idx="542">
                  <c:v>71.135184081495467</c:v>
                </c:pt>
                <c:pt idx="543">
                  <c:v>71.135184081495467</c:v>
                </c:pt>
                <c:pt idx="544">
                  <c:v>71.135184081495467</c:v>
                </c:pt>
                <c:pt idx="545">
                  <c:v>71.135184081495467</c:v>
                </c:pt>
                <c:pt idx="546">
                  <c:v>71.135184081495467</c:v>
                </c:pt>
                <c:pt idx="547">
                  <c:v>71.135184081495467</c:v>
                </c:pt>
                <c:pt idx="548">
                  <c:v>71.135184081495467</c:v>
                </c:pt>
                <c:pt idx="549">
                  <c:v>71.135184081495467</c:v>
                </c:pt>
                <c:pt idx="550">
                  <c:v>71.135184081495467</c:v>
                </c:pt>
                <c:pt idx="551">
                  <c:v>71.135184081495467</c:v>
                </c:pt>
                <c:pt idx="552">
                  <c:v>71.135184081495467</c:v>
                </c:pt>
                <c:pt idx="553">
                  <c:v>71.135184081495467</c:v>
                </c:pt>
                <c:pt idx="554">
                  <c:v>71.135184081495467</c:v>
                </c:pt>
                <c:pt idx="555">
                  <c:v>71.135184081495467</c:v>
                </c:pt>
                <c:pt idx="556">
                  <c:v>71.135184081495467</c:v>
                </c:pt>
                <c:pt idx="557">
                  <c:v>71.135184081495467</c:v>
                </c:pt>
                <c:pt idx="558">
                  <c:v>71.135184081495467</c:v>
                </c:pt>
                <c:pt idx="559">
                  <c:v>71.135184081495467</c:v>
                </c:pt>
                <c:pt idx="560">
                  <c:v>71.135184081495467</c:v>
                </c:pt>
                <c:pt idx="561">
                  <c:v>71.135184081495467</c:v>
                </c:pt>
                <c:pt idx="562">
                  <c:v>71.135184081495467</c:v>
                </c:pt>
                <c:pt idx="563">
                  <c:v>71.135184081495467</c:v>
                </c:pt>
                <c:pt idx="564">
                  <c:v>71.135184081495467</c:v>
                </c:pt>
                <c:pt idx="565">
                  <c:v>71.135184081495467</c:v>
                </c:pt>
                <c:pt idx="566">
                  <c:v>71.135184081495467</c:v>
                </c:pt>
                <c:pt idx="567">
                  <c:v>71.135184081495467</c:v>
                </c:pt>
                <c:pt idx="568">
                  <c:v>71.135184081495467</c:v>
                </c:pt>
                <c:pt idx="569">
                  <c:v>71.135184081495467</c:v>
                </c:pt>
                <c:pt idx="570">
                  <c:v>71.135184081495467</c:v>
                </c:pt>
                <c:pt idx="571">
                  <c:v>71.135184081495467</c:v>
                </c:pt>
                <c:pt idx="572">
                  <c:v>71.135184081495467</c:v>
                </c:pt>
                <c:pt idx="573">
                  <c:v>71.135184081495467</c:v>
                </c:pt>
                <c:pt idx="574">
                  <c:v>71.135184081495467</c:v>
                </c:pt>
                <c:pt idx="575">
                  <c:v>71.135184081495467</c:v>
                </c:pt>
                <c:pt idx="576">
                  <c:v>71.135184081495467</c:v>
                </c:pt>
                <c:pt idx="577">
                  <c:v>71.135184081495467</c:v>
                </c:pt>
                <c:pt idx="578">
                  <c:v>71.135184081495467</c:v>
                </c:pt>
                <c:pt idx="579">
                  <c:v>71.135184081495467</c:v>
                </c:pt>
                <c:pt idx="580">
                  <c:v>71.135184081495467</c:v>
                </c:pt>
                <c:pt idx="581">
                  <c:v>71.135184081495467</c:v>
                </c:pt>
                <c:pt idx="582">
                  <c:v>71.135184081495467</c:v>
                </c:pt>
                <c:pt idx="583">
                  <c:v>71.135184081495467</c:v>
                </c:pt>
                <c:pt idx="584">
                  <c:v>71.135184081495467</c:v>
                </c:pt>
                <c:pt idx="585">
                  <c:v>71.135184081495467</c:v>
                </c:pt>
                <c:pt idx="586">
                  <c:v>71.135184081495467</c:v>
                </c:pt>
                <c:pt idx="587">
                  <c:v>71.135184081495467</c:v>
                </c:pt>
                <c:pt idx="588">
                  <c:v>71.135184081495467</c:v>
                </c:pt>
                <c:pt idx="589">
                  <c:v>71.135184081495467</c:v>
                </c:pt>
                <c:pt idx="590">
                  <c:v>71.135184081495467</c:v>
                </c:pt>
                <c:pt idx="591">
                  <c:v>71.135184081495467</c:v>
                </c:pt>
                <c:pt idx="592">
                  <c:v>71.135184081495467</c:v>
                </c:pt>
                <c:pt idx="593">
                  <c:v>71.135184081495467</c:v>
                </c:pt>
                <c:pt idx="594">
                  <c:v>71.135184081495467</c:v>
                </c:pt>
                <c:pt idx="595">
                  <c:v>71.135184081495467</c:v>
                </c:pt>
                <c:pt idx="596">
                  <c:v>71.135184081495467</c:v>
                </c:pt>
                <c:pt idx="597">
                  <c:v>71.135184081495467</c:v>
                </c:pt>
                <c:pt idx="598">
                  <c:v>71.135184081495467</c:v>
                </c:pt>
                <c:pt idx="599">
                  <c:v>71.135184081495467</c:v>
                </c:pt>
                <c:pt idx="600">
                  <c:v>71.135184081495467</c:v>
                </c:pt>
                <c:pt idx="601">
                  <c:v>71.135184081495467</c:v>
                </c:pt>
                <c:pt idx="602">
                  <c:v>71.135184081495467</c:v>
                </c:pt>
                <c:pt idx="603">
                  <c:v>71.135184081495467</c:v>
                </c:pt>
                <c:pt idx="604">
                  <c:v>71.135184081495467</c:v>
                </c:pt>
                <c:pt idx="605">
                  <c:v>71.135184081495467</c:v>
                </c:pt>
                <c:pt idx="606">
                  <c:v>71.135184081495467</c:v>
                </c:pt>
                <c:pt idx="607">
                  <c:v>71.135184081495467</c:v>
                </c:pt>
                <c:pt idx="608">
                  <c:v>71.135184081495467</c:v>
                </c:pt>
                <c:pt idx="609">
                  <c:v>71.135184081495467</c:v>
                </c:pt>
                <c:pt idx="610">
                  <c:v>71.135184081495467</c:v>
                </c:pt>
                <c:pt idx="611">
                  <c:v>71.135184081495467</c:v>
                </c:pt>
                <c:pt idx="612">
                  <c:v>71.135184081495467</c:v>
                </c:pt>
                <c:pt idx="613">
                  <c:v>71.135184081495467</c:v>
                </c:pt>
                <c:pt idx="614">
                  <c:v>71.135184081495467</c:v>
                </c:pt>
                <c:pt idx="615">
                  <c:v>71.573680491077326</c:v>
                </c:pt>
                <c:pt idx="616">
                  <c:v>73.692324968923728</c:v>
                </c:pt>
                <c:pt idx="617">
                  <c:v>71.389412811389946</c:v>
                </c:pt>
                <c:pt idx="618">
                  <c:v>66.179859490619364</c:v>
                </c:pt>
                <c:pt idx="619">
                  <c:v>66.179859490619364</c:v>
                </c:pt>
                <c:pt idx="620">
                  <c:v>66.097134666256096</c:v>
                </c:pt>
                <c:pt idx="621">
                  <c:v>66.097134666256096</c:v>
                </c:pt>
                <c:pt idx="622">
                  <c:v>66.097134666256096</c:v>
                </c:pt>
                <c:pt idx="623">
                  <c:v>66.097134666256096</c:v>
                </c:pt>
                <c:pt idx="624">
                  <c:v>66.097134666256096</c:v>
                </c:pt>
                <c:pt idx="625">
                  <c:v>66.097134666256096</c:v>
                </c:pt>
                <c:pt idx="626">
                  <c:v>66.097134666256096</c:v>
                </c:pt>
                <c:pt idx="627">
                  <c:v>66.097134666256096</c:v>
                </c:pt>
                <c:pt idx="628">
                  <c:v>66.097134666256096</c:v>
                </c:pt>
                <c:pt idx="629">
                  <c:v>66.097134666256096</c:v>
                </c:pt>
                <c:pt idx="630">
                  <c:v>66.097134666256096</c:v>
                </c:pt>
                <c:pt idx="631">
                  <c:v>66.097134666256096</c:v>
                </c:pt>
                <c:pt idx="632">
                  <c:v>66.097134666256096</c:v>
                </c:pt>
                <c:pt idx="633">
                  <c:v>66.097134666256096</c:v>
                </c:pt>
                <c:pt idx="634">
                  <c:v>66.097134666256096</c:v>
                </c:pt>
                <c:pt idx="635">
                  <c:v>66.097134666256096</c:v>
                </c:pt>
                <c:pt idx="636">
                  <c:v>66.097134666256096</c:v>
                </c:pt>
                <c:pt idx="637">
                  <c:v>66.097134666256096</c:v>
                </c:pt>
                <c:pt idx="638">
                  <c:v>66.097134666256096</c:v>
                </c:pt>
                <c:pt idx="639">
                  <c:v>66.097134666256096</c:v>
                </c:pt>
                <c:pt idx="640">
                  <c:v>66.097134666256096</c:v>
                </c:pt>
                <c:pt idx="641">
                  <c:v>66.097134666256096</c:v>
                </c:pt>
                <c:pt idx="642">
                  <c:v>66.097134666256096</c:v>
                </c:pt>
                <c:pt idx="643">
                  <c:v>66.097134666256096</c:v>
                </c:pt>
                <c:pt idx="644">
                  <c:v>66.097134666256096</c:v>
                </c:pt>
                <c:pt idx="645">
                  <c:v>66.097134666256096</c:v>
                </c:pt>
                <c:pt idx="646">
                  <c:v>66.097134666256096</c:v>
                </c:pt>
                <c:pt idx="647">
                  <c:v>66.097134666256096</c:v>
                </c:pt>
                <c:pt idx="648">
                  <c:v>66.097134666256096</c:v>
                </c:pt>
                <c:pt idx="649">
                  <c:v>66.097134666256096</c:v>
                </c:pt>
                <c:pt idx="650">
                  <c:v>66.097134666256096</c:v>
                </c:pt>
                <c:pt idx="651">
                  <c:v>66.097134666256096</c:v>
                </c:pt>
                <c:pt idx="652">
                  <c:v>66.097134666256096</c:v>
                </c:pt>
                <c:pt idx="653">
                  <c:v>66.097134666256096</c:v>
                </c:pt>
                <c:pt idx="654">
                  <c:v>66.097134666256096</c:v>
                </c:pt>
                <c:pt idx="655">
                  <c:v>66.097134666256096</c:v>
                </c:pt>
                <c:pt idx="656">
                  <c:v>66.097134666256096</c:v>
                </c:pt>
                <c:pt idx="657">
                  <c:v>66.097134666256096</c:v>
                </c:pt>
                <c:pt idx="658">
                  <c:v>66.097134666256096</c:v>
                </c:pt>
                <c:pt idx="659">
                  <c:v>66.097134666256096</c:v>
                </c:pt>
                <c:pt idx="660">
                  <c:v>66.097134666256096</c:v>
                </c:pt>
                <c:pt idx="661">
                  <c:v>66.097134666256096</c:v>
                </c:pt>
                <c:pt idx="662">
                  <c:v>66.097134666256096</c:v>
                </c:pt>
                <c:pt idx="663">
                  <c:v>66.097134666256096</c:v>
                </c:pt>
                <c:pt idx="664">
                  <c:v>66.097134666256096</c:v>
                </c:pt>
                <c:pt idx="665">
                  <c:v>66.097134666256096</c:v>
                </c:pt>
                <c:pt idx="666">
                  <c:v>66.097134666256096</c:v>
                </c:pt>
                <c:pt idx="667">
                  <c:v>66.097134666256096</c:v>
                </c:pt>
                <c:pt idx="668">
                  <c:v>66.097134666256096</c:v>
                </c:pt>
                <c:pt idx="669">
                  <c:v>66.097134666256096</c:v>
                </c:pt>
                <c:pt idx="670">
                  <c:v>66.097134666256096</c:v>
                </c:pt>
                <c:pt idx="671">
                  <c:v>66.097134666256096</c:v>
                </c:pt>
                <c:pt idx="672">
                  <c:v>66.097134666256096</c:v>
                </c:pt>
                <c:pt idx="673">
                  <c:v>66.097134666256096</c:v>
                </c:pt>
                <c:pt idx="674">
                  <c:v>66.097134666256096</c:v>
                </c:pt>
                <c:pt idx="675">
                  <c:v>66.097134666256096</c:v>
                </c:pt>
                <c:pt idx="676">
                  <c:v>66.097134666256096</c:v>
                </c:pt>
                <c:pt idx="677">
                  <c:v>66.097134666256096</c:v>
                </c:pt>
                <c:pt idx="678">
                  <c:v>66.097134666256096</c:v>
                </c:pt>
                <c:pt idx="679">
                  <c:v>66.097134666256096</c:v>
                </c:pt>
                <c:pt idx="680">
                  <c:v>66.097134666256096</c:v>
                </c:pt>
                <c:pt idx="681">
                  <c:v>66.097134666256096</c:v>
                </c:pt>
                <c:pt idx="682">
                  <c:v>66.097134666256096</c:v>
                </c:pt>
                <c:pt idx="683">
                  <c:v>66.097134666256096</c:v>
                </c:pt>
                <c:pt idx="684">
                  <c:v>66.097134666256096</c:v>
                </c:pt>
                <c:pt idx="685">
                  <c:v>66.097134666256096</c:v>
                </c:pt>
                <c:pt idx="686">
                  <c:v>66.097134666256096</c:v>
                </c:pt>
                <c:pt idx="687">
                  <c:v>66.097134666256096</c:v>
                </c:pt>
                <c:pt idx="688">
                  <c:v>66.097134666256096</c:v>
                </c:pt>
                <c:pt idx="689">
                  <c:v>66.097134666256096</c:v>
                </c:pt>
                <c:pt idx="690">
                  <c:v>66.097134666256096</c:v>
                </c:pt>
                <c:pt idx="691">
                  <c:v>66.097134666256096</c:v>
                </c:pt>
                <c:pt idx="692">
                  <c:v>66.097134666256096</c:v>
                </c:pt>
                <c:pt idx="693">
                  <c:v>66.097134666256096</c:v>
                </c:pt>
                <c:pt idx="694">
                  <c:v>66.097134666256096</c:v>
                </c:pt>
                <c:pt idx="695">
                  <c:v>66.097134666256096</c:v>
                </c:pt>
                <c:pt idx="696">
                  <c:v>66.097134666256096</c:v>
                </c:pt>
                <c:pt idx="697">
                  <c:v>66.097134666256096</c:v>
                </c:pt>
                <c:pt idx="698">
                  <c:v>66.097134666256096</c:v>
                </c:pt>
                <c:pt idx="699">
                  <c:v>66.097134666256096</c:v>
                </c:pt>
                <c:pt idx="700">
                  <c:v>66.097134666256096</c:v>
                </c:pt>
                <c:pt idx="701">
                  <c:v>66.097134666256096</c:v>
                </c:pt>
                <c:pt idx="702">
                  <c:v>66.097134666256096</c:v>
                </c:pt>
                <c:pt idx="703">
                  <c:v>66.097134666256096</c:v>
                </c:pt>
                <c:pt idx="704">
                  <c:v>66.097134666256096</c:v>
                </c:pt>
                <c:pt idx="705">
                  <c:v>66.097134666256096</c:v>
                </c:pt>
                <c:pt idx="706">
                  <c:v>66.097134666256096</c:v>
                </c:pt>
                <c:pt idx="707">
                  <c:v>66.097134666256096</c:v>
                </c:pt>
                <c:pt idx="708">
                  <c:v>66.097134666256096</c:v>
                </c:pt>
                <c:pt idx="709">
                  <c:v>66.097134666256096</c:v>
                </c:pt>
                <c:pt idx="710">
                  <c:v>66.097134666256096</c:v>
                </c:pt>
                <c:pt idx="711">
                  <c:v>66.097134666256096</c:v>
                </c:pt>
                <c:pt idx="712">
                  <c:v>66.097134666256096</c:v>
                </c:pt>
                <c:pt idx="713">
                  <c:v>66.097134666256096</c:v>
                </c:pt>
                <c:pt idx="714">
                  <c:v>66.097134666256096</c:v>
                </c:pt>
                <c:pt idx="715">
                  <c:v>66.097134666256096</c:v>
                </c:pt>
                <c:pt idx="716">
                  <c:v>66.097134666256096</c:v>
                </c:pt>
                <c:pt idx="717">
                  <c:v>66.097134666256096</c:v>
                </c:pt>
                <c:pt idx="718">
                  <c:v>66.097134666256096</c:v>
                </c:pt>
                <c:pt idx="719">
                  <c:v>66.097134666256096</c:v>
                </c:pt>
                <c:pt idx="720">
                  <c:v>66.097134666256096</c:v>
                </c:pt>
                <c:pt idx="721">
                  <c:v>66.097134666256096</c:v>
                </c:pt>
                <c:pt idx="722">
                  <c:v>66.097134666256096</c:v>
                </c:pt>
                <c:pt idx="723">
                  <c:v>66.097134666256096</c:v>
                </c:pt>
                <c:pt idx="724">
                  <c:v>66.097134666256096</c:v>
                </c:pt>
                <c:pt idx="725">
                  <c:v>66.097134666256096</c:v>
                </c:pt>
                <c:pt idx="726">
                  <c:v>66.097134666256096</c:v>
                </c:pt>
                <c:pt idx="727">
                  <c:v>66.097134666256096</c:v>
                </c:pt>
                <c:pt idx="728">
                  <c:v>66.097134666256096</c:v>
                </c:pt>
                <c:pt idx="729">
                  <c:v>66.097134666256096</c:v>
                </c:pt>
                <c:pt idx="730">
                  <c:v>66.097134666256096</c:v>
                </c:pt>
                <c:pt idx="731">
                  <c:v>66.097134666256096</c:v>
                </c:pt>
                <c:pt idx="732">
                  <c:v>66.097134666256096</c:v>
                </c:pt>
                <c:pt idx="733">
                  <c:v>66.097134666256096</c:v>
                </c:pt>
                <c:pt idx="734">
                  <c:v>66.097134666256096</c:v>
                </c:pt>
                <c:pt idx="735">
                  <c:v>66.097134666256096</c:v>
                </c:pt>
                <c:pt idx="736">
                  <c:v>66.097134666256096</c:v>
                </c:pt>
                <c:pt idx="737">
                  <c:v>66.097134666256096</c:v>
                </c:pt>
                <c:pt idx="738">
                  <c:v>66.097134666256096</c:v>
                </c:pt>
                <c:pt idx="739">
                  <c:v>66.097134666256096</c:v>
                </c:pt>
                <c:pt idx="740">
                  <c:v>66.097134666256096</c:v>
                </c:pt>
                <c:pt idx="741">
                  <c:v>66.097134666256096</c:v>
                </c:pt>
                <c:pt idx="742">
                  <c:v>66.097134666256096</c:v>
                </c:pt>
                <c:pt idx="743">
                  <c:v>66.097134666256096</c:v>
                </c:pt>
                <c:pt idx="744">
                  <c:v>66.097134666256096</c:v>
                </c:pt>
                <c:pt idx="745">
                  <c:v>66.097134666256096</c:v>
                </c:pt>
                <c:pt idx="746">
                  <c:v>66.097134666256096</c:v>
                </c:pt>
                <c:pt idx="747">
                  <c:v>66.097134666256096</c:v>
                </c:pt>
                <c:pt idx="748">
                  <c:v>66.097134666256096</c:v>
                </c:pt>
                <c:pt idx="749">
                  <c:v>66.097134666256096</c:v>
                </c:pt>
                <c:pt idx="750">
                  <c:v>66.097134666256096</c:v>
                </c:pt>
                <c:pt idx="751">
                  <c:v>66.097134666256096</c:v>
                </c:pt>
                <c:pt idx="752">
                  <c:v>66.097134666256096</c:v>
                </c:pt>
                <c:pt idx="753">
                  <c:v>66.097134666256096</c:v>
                </c:pt>
                <c:pt idx="754">
                  <c:v>66.097134666256096</c:v>
                </c:pt>
                <c:pt idx="755">
                  <c:v>66.097134666256096</c:v>
                </c:pt>
                <c:pt idx="756">
                  <c:v>66.097134666256096</c:v>
                </c:pt>
                <c:pt idx="757">
                  <c:v>66.097134666256096</c:v>
                </c:pt>
                <c:pt idx="758">
                  <c:v>66.097134666256096</c:v>
                </c:pt>
                <c:pt idx="759">
                  <c:v>66.097134666256096</c:v>
                </c:pt>
                <c:pt idx="760">
                  <c:v>66.097134666256096</c:v>
                </c:pt>
                <c:pt idx="761">
                  <c:v>66.097134666256096</c:v>
                </c:pt>
                <c:pt idx="762">
                  <c:v>66.097134666256096</c:v>
                </c:pt>
                <c:pt idx="763">
                  <c:v>66.097134666256096</c:v>
                </c:pt>
                <c:pt idx="764">
                  <c:v>66.097134666256096</c:v>
                </c:pt>
                <c:pt idx="765">
                  <c:v>66.012298284642199</c:v>
                </c:pt>
                <c:pt idx="766">
                  <c:v>64.791808355059928</c:v>
                </c:pt>
                <c:pt idx="767">
                  <c:v>63.102470026359569</c:v>
                </c:pt>
                <c:pt idx="768">
                  <c:v>62.684180605937229</c:v>
                </c:pt>
                <c:pt idx="769">
                  <c:v>59.874160767935869</c:v>
                </c:pt>
                <c:pt idx="770">
                  <c:v>61.045818276017265</c:v>
                </c:pt>
                <c:pt idx="771">
                  <c:v>58.326003608209007</c:v>
                </c:pt>
                <c:pt idx="772">
                  <c:v>58.773134435920156</c:v>
                </c:pt>
                <c:pt idx="773">
                  <c:v>57.866531474960915</c:v>
                </c:pt>
                <c:pt idx="774">
                  <c:v>60.490748275515415</c:v>
                </c:pt>
                <c:pt idx="775">
                  <c:v>57.224729916623687</c:v>
                </c:pt>
                <c:pt idx="776">
                  <c:v>57.546115128880217</c:v>
                </c:pt>
                <c:pt idx="777">
                  <c:v>53.388152946806713</c:v>
                </c:pt>
                <c:pt idx="778">
                  <c:v>52.992462400224916</c:v>
                </c:pt>
                <c:pt idx="779">
                  <c:v>53.09997766523442</c:v>
                </c:pt>
                <c:pt idx="780">
                  <c:v>56.059265446441465</c:v>
                </c:pt>
                <c:pt idx="781">
                  <c:v>57.009923977921247</c:v>
                </c:pt>
                <c:pt idx="782">
                  <c:v>56.704571411418293</c:v>
                </c:pt>
                <c:pt idx="783">
                  <c:v>56.171194353862589</c:v>
                </c:pt>
                <c:pt idx="784">
                  <c:v>55.577682049518899</c:v>
                </c:pt>
                <c:pt idx="785">
                  <c:v>55.649546837845932</c:v>
                </c:pt>
                <c:pt idx="786">
                  <c:v>55.649546837845932</c:v>
                </c:pt>
                <c:pt idx="787">
                  <c:v>55.579984904298627</c:v>
                </c:pt>
                <c:pt idx="788">
                  <c:v>55.579984904298627</c:v>
                </c:pt>
                <c:pt idx="789">
                  <c:v>55.579984904298627</c:v>
                </c:pt>
                <c:pt idx="790">
                  <c:v>55.579984904298627</c:v>
                </c:pt>
                <c:pt idx="791">
                  <c:v>55.579984904298627</c:v>
                </c:pt>
                <c:pt idx="792">
                  <c:v>55.579984904298627</c:v>
                </c:pt>
                <c:pt idx="793">
                  <c:v>55.579984904298627</c:v>
                </c:pt>
                <c:pt idx="794">
                  <c:v>55.579984904298627</c:v>
                </c:pt>
                <c:pt idx="795">
                  <c:v>55.579984904298627</c:v>
                </c:pt>
                <c:pt idx="796">
                  <c:v>55.579984904298627</c:v>
                </c:pt>
                <c:pt idx="797">
                  <c:v>55.579984904298627</c:v>
                </c:pt>
                <c:pt idx="798">
                  <c:v>55.579984904298627</c:v>
                </c:pt>
                <c:pt idx="799">
                  <c:v>55.579984904298627</c:v>
                </c:pt>
                <c:pt idx="800">
                  <c:v>55.579984904298627</c:v>
                </c:pt>
                <c:pt idx="801">
                  <c:v>55.579984904298627</c:v>
                </c:pt>
                <c:pt idx="802">
                  <c:v>55.579984904298627</c:v>
                </c:pt>
                <c:pt idx="803">
                  <c:v>55.579984904298627</c:v>
                </c:pt>
                <c:pt idx="804">
                  <c:v>55.579984904298627</c:v>
                </c:pt>
                <c:pt idx="805">
                  <c:v>55.579984904298627</c:v>
                </c:pt>
                <c:pt idx="806">
                  <c:v>55.579984904298627</c:v>
                </c:pt>
                <c:pt idx="807">
                  <c:v>55.579984904298627</c:v>
                </c:pt>
                <c:pt idx="808">
                  <c:v>55.579984904298627</c:v>
                </c:pt>
                <c:pt idx="809">
                  <c:v>55.579984904298627</c:v>
                </c:pt>
                <c:pt idx="810">
                  <c:v>55.579984904298627</c:v>
                </c:pt>
                <c:pt idx="811">
                  <c:v>55.579984904298627</c:v>
                </c:pt>
                <c:pt idx="812">
                  <c:v>55.579984904298627</c:v>
                </c:pt>
                <c:pt idx="813">
                  <c:v>55.579984904298627</c:v>
                </c:pt>
                <c:pt idx="814">
                  <c:v>55.579984904298627</c:v>
                </c:pt>
                <c:pt idx="815">
                  <c:v>55.579984904298627</c:v>
                </c:pt>
                <c:pt idx="816">
                  <c:v>55.579984904298627</c:v>
                </c:pt>
                <c:pt idx="817">
                  <c:v>55.579984904298627</c:v>
                </c:pt>
                <c:pt idx="818">
                  <c:v>55.579984904298627</c:v>
                </c:pt>
                <c:pt idx="819">
                  <c:v>55.579984904298627</c:v>
                </c:pt>
                <c:pt idx="820">
                  <c:v>55.579984904298627</c:v>
                </c:pt>
                <c:pt idx="821">
                  <c:v>55.579984904298627</c:v>
                </c:pt>
                <c:pt idx="822">
                  <c:v>55.579984904298627</c:v>
                </c:pt>
                <c:pt idx="823">
                  <c:v>55.579984904298627</c:v>
                </c:pt>
                <c:pt idx="824">
                  <c:v>55.579984904298627</c:v>
                </c:pt>
                <c:pt idx="825">
                  <c:v>55.579984904298627</c:v>
                </c:pt>
                <c:pt idx="826">
                  <c:v>55.579984904298627</c:v>
                </c:pt>
                <c:pt idx="827">
                  <c:v>55.579984904298627</c:v>
                </c:pt>
                <c:pt idx="828">
                  <c:v>55.579984904298627</c:v>
                </c:pt>
                <c:pt idx="829">
                  <c:v>55.579984904298627</c:v>
                </c:pt>
                <c:pt idx="830">
                  <c:v>55.579984904298627</c:v>
                </c:pt>
                <c:pt idx="831">
                  <c:v>55.579984904298627</c:v>
                </c:pt>
                <c:pt idx="832">
                  <c:v>55.579984904298627</c:v>
                </c:pt>
                <c:pt idx="833">
                  <c:v>55.579984904298627</c:v>
                </c:pt>
                <c:pt idx="834">
                  <c:v>55.579984904298627</c:v>
                </c:pt>
                <c:pt idx="835">
                  <c:v>55.579984904298627</c:v>
                </c:pt>
                <c:pt idx="836">
                  <c:v>55.579984904298627</c:v>
                </c:pt>
                <c:pt idx="837">
                  <c:v>55.579984904298627</c:v>
                </c:pt>
                <c:pt idx="838">
                  <c:v>55.579984904298627</c:v>
                </c:pt>
                <c:pt idx="839">
                  <c:v>55.579984904298627</c:v>
                </c:pt>
                <c:pt idx="840">
                  <c:v>55.579984904298627</c:v>
                </c:pt>
                <c:pt idx="841">
                  <c:v>55.579984904298627</c:v>
                </c:pt>
                <c:pt idx="842">
                  <c:v>55.579984904298627</c:v>
                </c:pt>
                <c:pt idx="843">
                  <c:v>55.579984904298627</c:v>
                </c:pt>
                <c:pt idx="844">
                  <c:v>55.579984904298627</c:v>
                </c:pt>
                <c:pt idx="845">
                  <c:v>55.579984904298627</c:v>
                </c:pt>
                <c:pt idx="846">
                  <c:v>55.579984904298627</c:v>
                </c:pt>
                <c:pt idx="847">
                  <c:v>55.579984904298627</c:v>
                </c:pt>
                <c:pt idx="848">
                  <c:v>55.579984904298627</c:v>
                </c:pt>
                <c:pt idx="849">
                  <c:v>55.579984904298627</c:v>
                </c:pt>
                <c:pt idx="850">
                  <c:v>55.579984904298627</c:v>
                </c:pt>
                <c:pt idx="851">
                  <c:v>55.579984904298627</c:v>
                </c:pt>
                <c:pt idx="852">
                  <c:v>55.579984904298627</c:v>
                </c:pt>
                <c:pt idx="853">
                  <c:v>55.579984904298627</c:v>
                </c:pt>
                <c:pt idx="854">
                  <c:v>55.579984904298627</c:v>
                </c:pt>
                <c:pt idx="855">
                  <c:v>55.579984904298627</c:v>
                </c:pt>
                <c:pt idx="856">
                  <c:v>55.579984904298627</c:v>
                </c:pt>
                <c:pt idx="857">
                  <c:v>55.579984904298627</c:v>
                </c:pt>
                <c:pt idx="858">
                  <c:v>55.579984904298627</c:v>
                </c:pt>
                <c:pt idx="859">
                  <c:v>55.579984904298627</c:v>
                </c:pt>
                <c:pt idx="860">
                  <c:v>55.579984904298627</c:v>
                </c:pt>
                <c:pt idx="861">
                  <c:v>55.579984904298627</c:v>
                </c:pt>
                <c:pt idx="862">
                  <c:v>55.579984904298627</c:v>
                </c:pt>
                <c:pt idx="863">
                  <c:v>55.579984904298627</c:v>
                </c:pt>
                <c:pt idx="864">
                  <c:v>55.579984904298627</c:v>
                </c:pt>
                <c:pt idx="865">
                  <c:v>55.579984904298627</c:v>
                </c:pt>
                <c:pt idx="866">
                  <c:v>55.579984904298627</c:v>
                </c:pt>
                <c:pt idx="867">
                  <c:v>55.579984904298627</c:v>
                </c:pt>
                <c:pt idx="868">
                  <c:v>55.579984904298627</c:v>
                </c:pt>
                <c:pt idx="869">
                  <c:v>55.579984904298627</c:v>
                </c:pt>
                <c:pt idx="870">
                  <c:v>55.579984904298627</c:v>
                </c:pt>
                <c:pt idx="871">
                  <c:v>55.579984904298627</c:v>
                </c:pt>
                <c:pt idx="872">
                  <c:v>55.579984904298627</c:v>
                </c:pt>
                <c:pt idx="873">
                  <c:v>55.579984904298627</c:v>
                </c:pt>
                <c:pt idx="874">
                  <c:v>55.579984904298627</c:v>
                </c:pt>
                <c:pt idx="875">
                  <c:v>55.579984904298627</c:v>
                </c:pt>
                <c:pt idx="876">
                  <c:v>55.579984904298627</c:v>
                </c:pt>
                <c:pt idx="877">
                  <c:v>55.579984904298627</c:v>
                </c:pt>
                <c:pt idx="878">
                  <c:v>55.579984904298627</c:v>
                </c:pt>
                <c:pt idx="879">
                  <c:v>55.579984904298627</c:v>
                </c:pt>
                <c:pt idx="880">
                  <c:v>55.579984904298627</c:v>
                </c:pt>
                <c:pt idx="881">
                  <c:v>55.579984904298627</c:v>
                </c:pt>
                <c:pt idx="882">
                  <c:v>55.579984904298627</c:v>
                </c:pt>
                <c:pt idx="883">
                  <c:v>55.579984904298627</c:v>
                </c:pt>
                <c:pt idx="884">
                  <c:v>55.579984904298627</c:v>
                </c:pt>
                <c:pt idx="885">
                  <c:v>55.579984904298627</c:v>
                </c:pt>
                <c:pt idx="886">
                  <c:v>55.579984904298627</c:v>
                </c:pt>
                <c:pt idx="887">
                  <c:v>55.579984904298627</c:v>
                </c:pt>
                <c:pt idx="888">
                  <c:v>55.579984904298627</c:v>
                </c:pt>
                <c:pt idx="889">
                  <c:v>55.579984904298627</c:v>
                </c:pt>
                <c:pt idx="890">
                  <c:v>55.579984904298627</c:v>
                </c:pt>
                <c:pt idx="891">
                  <c:v>55.579984904298627</c:v>
                </c:pt>
                <c:pt idx="892">
                  <c:v>55.579984904298627</c:v>
                </c:pt>
                <c:pt idx="893">
                  <c:v>55.579984904298627</c:v>
                </c:pt>
                <c:pt idx="894">
                  <c:v>55.579984904298627</c:v>
                </c:pt>
                <c:pt idx="895">
                  <c:v>55.579984904298627</c:v>
                </c:pt>
                <c:pt idx="896">
                  <c:v>55.579984904298627</c:v>
                </c:pt>
                <c:pt idx="897">
                  <c:v>55.579984904298627</c:v>
                </c:pt>
                <c:pt idx="898">
                  <c:v>55.579984904298627</c:v>
                </c:pt>
                <c:pt idx="899">
                  <c:v>55.579984904298627</c:v>
                </c:pt>
                <c:pt idx="900">
                  <c:v>55.579984904298627</c:v>
                </c:pt>
                <c:pt idx="901">
                  <c:v>55.579984904298627</c:v>
                </c:pt>
                <c:pt idx="902">
                  <c:v>55.579984904298627</c:v>
                </c:pt>
                <c:pt idx="903">
                  <c:v>55.579984904298627</c:v>
                </c:pt>
                <c:pt idx="904">
                  <c:v>55.579984904298627</c:v>
                </c:pt>
                <c:pt idx="905">
                  <c:v>55.579984904298627</c:v>
                </c:pt>
                <c:pt idx="906">
                  <c:v>55.579984904298627</c:v>
                </c:pt>
                <c:pt idx="907">
                  <c:v>55.579984904298627</c:v>
                </c:pt>
                <c:pt idx="908">
                  <c:v>55.579984904298627</c:v>
                </c:pt>
                <c:pt idx="909">
                  <c:v>55.579984904298627</c:v>
                </c:pt>
                <c:pt idx="910">
                  <c:v>55.579984904298627</c:v>
                </c:pt>
                <c:pt idx="911">
                  <c:v>55.579984904298627</c:v>
                </c:pt>
                <c:pt idx="912">
                  <c:v>55.579984904298627</c:v>
                </c:pt>
                <c:pt idx="913">
                  <c:v>55.579984904298627</c:v>
                </c:pt>
                <c:pt idx="914">
                  <c:v>55.579984904298627</c:v>
                </c:pt>
                <c:pt idx="915">
                  <c:v>55.579984904298627</c:v>
                </c:pt>
                <c:pt idx="916">
                  <c:v>55.579984904298627</c:v>
                </c:pt>
                <c:pt idx="917">
                  <c:v>55.579984904298627</c:v>
                </c:pt>
                <c:pt idx="918">
                  <c:v>55.579984904298627</c:v>
                </c:pt>
                <c:pt idx="919">
                  <c:v>55.579984904298627</c:v>
                </c:pt>
                <c:pt idx="920">
                  <c:v>55.579984904298627</c:v>
                </c:pt>
                <c:pt idx="921">
                  <c:v>55.579984904298627</c:v>
                </c:pt>
                <c:pt idx="922">
                  <c:v>55.579984904298627</c:v>
                </c:pt>
                <c:pt idx="923">
                  <c:v>55.579984904298627</c:v>
                </c:pt>
                <c:pt idx="924">
                  <c:v>55.579984904298627</c:v>
                </c:pt>
                <c:pt idx="925">
                  <c:v>55.579984904298627</c:v>
                </c:pt>
                <c:pt idx="926">
                  <c:v>55.579984904298627</c:v>
                </c:pt>
                <c:pt idx="927">
                  <c:v>55.579984904298627</c:v>
                </c:pt>
                <c:pt idx="928">
                  <c:v>55.579984904298627</c:v>
                </c:pt>
                <c:pt idx="929">
                  <c:v>55.579984904298627</c:v>
                </c:pt>
                <c:pt idx="930">
                  <c:v>55.579984904298627</c:v>
                </c:pt>
                <c:pt idx="931">
                  <c:v>55.579984904298627</c:v>
                </c:pt>
                <c:pt idx="932">
                  <c:v>55.579984904298627</c:v>
                </c:pt>
                <c:pt idx="933">
                  <c:v>55.579984904298627</c:v>
                </c:pt>
                <c:pt idx="934">
                  <c:v>55.579984904298627</c:v>
                </c:pt>
                <c:pt idx="935">
                  <c:v>55.579984904298627</c:v>
                </c:pt>
                <c:pt idx="936">
                  <c:v>55.579984904298627</c:v>
                </c:pt>
                <c:pt idx="937">
                  <c:v>55.579984904298627</c:v>
                </c:pt>
                <c:pt idx="938">
                  <c:v>55.579984904298627</c:v>
                </c:pt>
                <c:pt idx="939">
                  <c:v>55.579984904298627</c:v>
                </c:pt>
                <c:pt idx="940">
                  <c:v>55.579984904298627</c:v>
                </c:pt>
                <c:pt idx="941">
                  <c:v>55.579984904298627</c:v>
                </c:pt>
                <c:pt idx="942">
                  <c:v>55.579984904298627</c:v>
                </c:pt>
                <c:pt idx="943">
                  <c:v>55.579984904298627</c:v>
                </c:pt>
                <c:pt idx="944">
                  <c:v>55.579984904298627</c:v>
                </c:pt>
                <c:pt idx="945">
                  <c:v>55.579984904298627</c:v>
                </c:pt>
                <c:pt idx="946">
                  <c:v>55.579984904298627</c:v>
                </c:pt>
                <c:pt idx="947">
                  <c:v>55.579984904298627</c:v>
                </c:pt>
                <c:pt idx="948">
                  <c:v>55.579984904298627</c:v>
                </c:pt>
                <c:pt idx="949">
                  <c:v>55.579984904298627</c:v>
                </c:pt>
                <c:pt idx="950">
                  <c:v>55.579984904298627</c:v>
                </c:pt>
                <c:pt idx="951">
                  <c:v>55.579984904298627</c:v>
                </c:pt>
                <c:pt idx="952">
                  <c:v>55.579984904298627</c:v>
                </c:pt>
                <c:pt idx="953">
                  <c:v>55.579984904298627</c:v>
                </c:pt>
                <c:pt idx="954">
                  <c:v>55.579984904298627</c:v>
                </c:pt>
                <c:pt idx="955">
                  <c:v>55.579984904298627</c:v>
                </c:pt>
                <c:pt idx="956">
                  <c:v>55.579984904298627</c:v>
                </c:pt>
                <c:pt idx="957">
                  <c:v>55.579984904298627</c:v>
                </c:pt>
                <c:pt idx="958">
                  <c:v>55.579984904298627</c:v>
                </c:pt>
                <c:pt idx="959">
                  <c:v>55.579984904298627</c:v>
                </c:pt>
                <c:pt idx="960">
                  <c:v>55.579984904298627</c:v>
                </c:pt>
                <c:pt idx="961">
                  <c:v>55.579984904298627</c:v>
                </c:pt>
                <c:pt idx="962">
                  <c:v>55.579984904298627</c:v>
                </c:pt>
                <c:pt idx="963">
                  <c:v>55.579984904298627</c:v>
                </c:pt>
                <c:pt idx="964">
                  <c:v>55.579984904298627</c:v>
                </c:pt>
                <c:pt idx="965">
                  <c:v>55.579984904298627</c:v>
                </c:pt>
                <c:pt idx="966">
                  <c:v>55.579984904298627</c:v>
                </c:pt>
                <c:pt idx="967">
                  <c:v>55.579984904298627</c:v>
                </c:pt>
                <c:pt idx="968">
                  <c:v>55.579984904298627</c:v>
                </c:pt>
                <c:pt idx="969">
                  <c:v>55.579984904298627</c:v>
                </c:pt>
                <c:pt idx="970">
                  <c:v>55.579984904298627</c:v>
                </c:pt>
                <c:pt idx="971">
                  <c:v>55.579984904298627</c:v>
                </c:pt>
                <c:pt idx="972">
                  <c:v>55.579984904298627</c:v>
                </c:pt>
                <c:pt idx="973">
                  <c:v>55.579984904298627</c:v>
                </c:pt>
                <c:pt idx="974">
                  <c:v>55.579984904298627</c:v>
                </c:pt>
                <c:pt idx="975">
                  <c:v>55.579984904298627</c:v>
                </c:pt>
                <c:pt idx="976">
                  <c:v>55.579984904298627</c:v>
                </c:pt>
                <c:pt idx="977">
                  <c:v>55.579984904298627</c:v>
                </c:pt>
                <c:pt idx="978">
                  <c:v>55.579984904298627</c:v>
                </c:pt>
                <c:pt idx="979">
                  <c:v>55.579984904298627</c:v>
                </c:pt>
                <c:pt idx="980">
                  <c:v>55.579984904298627</c:v>
                </c:pt>
                <c:pt idx="981">
                  <c:v>55.579984904298627</c:v>
                </c:pt>
                <c:pt idx="982">
                  <c:v>55.579984904298627</c:v>
                </c:pt>
                <c:pt idx="983">
                  <c:v>55.579984904298627</c:v>
                </c:pt>
                <c:pt idx="984">
                  <c:v>55.579984904298627</c:v>
                </c:pt>
                <c:pt idx="985">
                  <c:v>55.579984904298627</c:v>
                </c:pt>
                <c:pt idx="986">
                  <c:v>55.579984904298627</c:v>
                </c:pt>
                <c:pt idx="987">
                  <c:v>55.579984904298627</c:v>
                </c:pt>
                <c:pt idx="988">
                  <c:v>55.579984904298627</c:v>
                </c:pt>
                <c:pt idx="989">
                  <c:v>55.579984904298627</c:v>
                </c:pt>
                <c:pt idx="990">
                  <c:v>55.579984904298627</c:v>
                </c:pt>
                <c:pt idx="991">
                  <c:v>55.579984904298627</c:v>
                </c:pt>
                <c:pt idx="992">
                  <c:v>55.579984904298627</c:v>
                </c:pt>
                <c:pt idx="993">
                  <c:v>55.579984904298627</c:v>
                </c:pt>
                <c:pt idx="994">
                  <c:v>55.579984904298627</c:v>
                </c:pt>
                <c:pt idx="995">
                  <c:v>55.579984904298627</c:v>
                </c:pt>
                <c:pt idx="996">
                  <c:v>55.579984904298627</c:v>
                </c:pt>
                <c:pt idx="997">
                  <c:v>55.579984904298627</c:v>
                </c:pt>
                <c:pt idx="998">
                  <c:v>55.579984904298627</c:v>
                </c:pt>
                <c:pt idx="999">
                  <c:v>55.579984904298627</c:v>
                </c:pt>
                <c:pt idx="1000">
                  <c:v>55.579984904298627</c:v>
                </c:pt>
                <c:pt idx="1001">
                  <c:v>55.579984904298627</c:v>
                </c:pt>
                <c:pt idx="1002">
                  <c:v>55.579984904298627</c:v>
                </c:pt>
                <c:pt idx="1003">
                  <c:v>55.579984904298627</c:v>
                </c:pt>
                <c:pt idx="1004">
                  <c:v>55.579984904298627</c:v>
                </c:pt>
                <c:pt idx="1005">
                  <c:v>55.579984904298627</c:v>
                </c:pt>
                <c:pt idx="1006">
                  <c:v>55.579984904298627</c:v>
                </c:pt>
                <c:pt idx="1007">
                  <c:v>55.579984904298627</c:v>
                </c:pt>
                <c:pt idx="1008">
                  <c:v>55.579984904298627</c:v>
                </c:pt>
                <c:pt idx="1009">
                  <c:v>55.579984904298627</c:v>
                </c:pt>
                <c:pt idx="1010">
                  <c:v>55.579984904298627</c:v>
                </c:pt>
                <c:pt idx="1011">
                  <c:v>55.579984904298627</c:v>
                </c:pt>
                <c:pt idx="1012">
                  <c:v>55.579984904298627</c:v>
                </c:pt>
                <c:pt idx="1013">
                  <c:v>55.579984904298627</c:v>
                </c:pt>
                <c:pt idx="1014">
                  <c:v>55.579984904298627</c:v>
                </c:pt>
                <c:pt idx="1015">
                  <c:v>55.579984904298627</c:v>
                </c:pt>
                <c:pt idx="1016">
                  <c:v>55.579984904298627</c:v>
                </c:pt>
                <c:pt idx="1017">
                  <c:v>55.579984904298627</c:v>
                </c:pt>
                <c:pt idx="1018">
                  <c:v>55.579984904298627</c:v>
                </c:pt>
                <c:pt idx="1019">
                  <c:v>55.579984904298627</c:v>
                </c:pt>
                <c:pt idx="1020">
                  <c:v>55.579984904298627</c:v>
                </c:pt>
                <c:pt idx="1021">
                  <c:v>55.579984904298627</c:v>
                </c:pt>
                <c:pt idx="1022">
                  <c:v>55.579984904298627</c:v>
                </c:pt>
                <c:pt idx="1023">
                  <c:v>55.579984904298627</c:v>
                </c:pt>
                <c:pt idx="1024">
                  <c:v>55.579984904298627</c:v>
                </c:pt>
                <c:pt idx="1025">
                  <c:v>55.579984904298627</c:v>
                </c:pt>
                <c:pt idx="1026">
                  <c:v>55.579984904298627</c:v>
                </c:pt>
                <c:pt idx="1027">
                  <c:v>55.579984904298627</c:v>
                </c:pt>
                <c:pt idx="1028">
                  <c:v>55.579984904298627</c:v>
                </c:pt>
                <c:pt idx="1029">
                  <c:v>55.579984904298627</c:v>
                </c:pt>
                <c:pt idx="1030">
                  <c:v>55.579984904298627</c:v>
                </c:pt>
                <c:pt idx="1031">
                  <c:v>55.579984904298627</c:v>
                </c:pt>
                <c:pt idx="1032">
                  <c:v>55.579984904298627</c:v>
                </c:pt>
                <c:pt idx="1033">
                  <c:v>55.579984904298627</c:v>
                </c:pt>
                <c:pt idx="1034">
                  <c:v>55.579984904298627</c:v>
                </c:pt>
                <c:pt idx="1035">
                  <c:v>55.579984904298627</c:v>
                </c:pt>
                <c:pt idx="1036">
                  <c:v>55.579984904298627</c:v>
                </c:pt>
                <c:pt idx="1037">
                  <c:v>55.579984904298627</c:v>
                </c:pt>
                <c:pt idx="1038">
                  <c:v>55.579984904298627</c:v>
                </c:pt>
                <c:pt idx="1039">
                  <c:v>55.579984904298627</c:v>
                </c:pt>
                <c:pt idx="1040">
                  <c:v>55.579984904298627</c:v>
                </c:pt>
                <c:pt idx="1041">
                  <c:v>55.579984904298627</c:v>
                </c:pt>
                <c:pt idx="1042">
                  <c:v>55.579984904298627</c:v>
                </c:pt>
                <c:pt idx="1043">
                  <c:v>55.579984904298627</c:v>
                </c:pt>
                <c:pt idx="1044">
                  <c:v>55.579984904298627</c:v>
                </c:pt>
                <c:pt idx="1045">
                  <c:v>55.579984904298627</c:v>
                </c:pt>
                <c:pt idx="1046">
                  <c:v>55.579984904298627</c:v>
                </c:pt>
                <c:pt idx="1047">
                  <c:v>55.579984904298627</c:v>
                </c:pt>
                <c:pt idx="1048">
                  <c:v>55.579984904298627</c:v>
                </c:pt>
                <c:pt idx="1049">
                  <c:v>55.579984904298627</c:v>
                </c:pt>
                <c:pt idx="1050">
                  <c:v>55.579984904298627</c:v>
                </c:pt>
                <c:pt idx="1051">
                  <c:v>55.579984904298627</c:v>
                </c:pt>
                <c:pt idx="1052">
                  <c:v>55.579984904298627</c:v>
                </c:pt>
                <c:pt idx="1053">
                  <c:v>55.579984904298627</c:v>
                </c:pt>
                <c:pt idx="1054">
                  <c:v>55.579984904298627</c:v>
                </c:pt>
                <c:pt idx="1055">
                  <c:v>55.579984904298627</c:v>
                </c:pt>
                <c:pt idx="1056">
                  <c:v>55.579984904298627</c:v>
                </c:pt>
                <c:pt idx="1057">
                  <c:v>55.579984904298627</c:v>
                </c:pt>
                <c:pt idx="1058">
                  <c:v>55.579984904298627</c:v>
                </c:pt>
                <c:pt idx="1059">
                  <c:v>55.579984904298627</c:v>
                </c:pt>
                <c:pt idx="1060">
                  <c:v>55.579984904298627</c:v>
                </c:pt>
                <c:pt idx="1061">
                  <c:v>55.579984904298627</c:v>
                </c:pt>
                <c:pt idx="1062">
                  <c:v>55.579984904298627</c:v>
                </c:pt>
                <c:pt idx="1063">
                  <c:v>55.579984904298627</c:v>
                </c:pt>
                <c:pt idx="1064">
                  <c:v>55.579984904298627</c:v>
                </c:pt>
                <c:pt idx="1065">
                  <c:v>55.579984904298627</c:v>
                </c:pt>
                <c:pt idx="1066">
                  <c:v>55.579984904298627</c:v>
                </c:pt>
                <c:pt idx="1067">
                  <c:v>55.579984904298627</c:v>
                </c:pt>
                <c:pt idx="1068">
                  <c:v>55.579984904298627</c:v>
                </c:pt>
                <c:pt idx="1069">
                  <c:v>55.579984904298627</c:v>
                </c:pt>
                <c:pt idx="1070">
                  <c:v>55.579984904298627</c:v>
                </c:pt>
                <c:pt idx="1071">
                  <c:v>55.579984904298627</c:v>
                </c:pt>
                <c:pt idx="1072">
                  <c:v>55.579984904298627</c:v>
                </c:pt>
                <c:pt idx="1073">
                  <c:v>55.579984904298627</c:v>
                </c:pt>
                <c:pt idx="1074">
                  <c:v>55.579984904298627</c:v>
                </c:pt>
                <c:pt idx="1075">
                  <c:v>55.579984904298627</c:v>
                </c:pt>
                <c:pt idx="1076">
                  <c:v>55.579984904298627</c:v>
                </c:pt>
                <c:pt idx="1077">
                  <c:v>55.579984904298627</c:v>
                </c:pt>
                <c:pt idx="1078">
                  <c:v>55.579984904298627</c:v>
                </c:pt>
                <c:pt idx="1079">
                  <c:v>55.579984904298627</c:v>
                </c:pt>
                <c:pt idx="1080">
                  <c:v>55.579984904298627</c:v>
                </c:pt>
                <c:pt idx="1081">
                  <c:v>55.579984904298627</c:v>
                </c:pt>
                <c:pt idx="1082">
                  <c:v>55.579984904298627</c:v>
                </c:pt>
                <c:pt idx="1083">
                  <c:v>55.579984904298627</c:v>
                </c:pt>
                <c:pt idx="1084">
                  <c:v>55.579984904298627</c:v>
                </c:pt>
                <c:pt idx="1085">
                  <c:v>55.579984904298627</c:v>
                </c:pt>
                <c:pt idx="1086">
                  <c:v>55.579984904298627</c:v>
                </c:pt>
                <c:pt idx="1087">
                  <c:v>55.579984904298627</c:v>
                </c:pt>
                <c:pt idx="1088">
                  <c:v>55.579984904298627</c:v>
                </c:pt>
                <c:pt idx="1089">
                  <c:v>55.579984904298627</c:v>
                </c:pt>
                <c:pt idx="1090">
                  <c:v>55.579984904298627</c:v>
                </c:pt>
                <c:pt idx="1091">
                  <c:v>55.579984904298627</c:v>
                </c:pt>
                <c:pt idx="1092">
                  <c:v>55.579984904298627</c:v>
                </c:pt>
                <c:pt idx="1093">
                  <c:v>55.579984904298627</c:v>
                </c:pt>
                <c:pt idx="1094">
                  <c:v>55.579984904298627</c:v>
                </c:pt>
                <c:pt idx="1095">
                  <c:v>55.579984904298627</c:v>
                </c:pt>
                <c:pt idx="1096">
                  <c:v>55.579984904298627</c:v>
                </c:pt>
                <c:pt idx="1097">
                  <c:v>55.579984904298627</c:v>
                </c:pt>
                <c:pt idx="1098">
                  <c:v>55.579984904298627</c:v>
                </c:pt>
                <c:pt idx="1099">
                  <c:v>55.579984904298627</c:v>
                </c:pt>
                <c:pt idx="1100">
                  <c:v>55.579984904298627</c:v>
                </c:pt>
                <c:pt idx="1101">
                  <c:v>55.579984904298627</c:v>
                </c:pt>
                <c:pt idx="1102">
                  <c:v>55.579984904298627</c:v>
                </c:pt>
                <c:pt idx="1103">
                  <c:v>55.579984904298627</c:v>
                </c:pt>
                <c:pt idx="1104">
                  <c:v>55.579984904298627</c:v>
                </c:pt>
                <c:pt idx="1105">
                  <c:v>55.579984904298627</c:v>
                </c:pt>
                <c:pt idx="1106">
                  <c:v>55.579984904298627</c:v>
                </c:pt>
                <c:pt idx="1107">
                  <c:v>55.579984904298627</c:v>
                </c:pt>
                <c:pt idx="1108">
                  <c:v>55.579984904298627</c:v>
                </c:pt>
                <c:pt idx="1109">
                  <c:v>55.579984904298627</c:v>
                </c:pt>
                <c:pt idx="1110">
                  <c:v>55.579984904298627</c:v>
                </c:pt>
                <c:pt idx="1111">
                  <c:v>55.579984904298627</c:v>
                </c:pt>
                <c:pt idx="1112">
                  <c:v>55.579984904298627</c:v>
                </c:pt>
                <c:pt idx="1113">
                  <c:v>55.579984904298627</c:v>
                </c:pt>
                <c:pt idx="1114">
                  <c:v>55.579984904298627</c:v>
                </c:pt>
                <c:pt idx="1115">
                  <c:v>55.579984904298627</c:v>
                </c:pt>
                <c:pt idx="1116">
                  <c:v>55.579984904298627</c:v>
                </c:pt>
                <c:pt idx="1117">
                  <c:v>55.579984904298627</c:v>
                </c:pt>
                <c:pt idx="1118">
                  <c:v>55.579984904298627</c:v>
                </c:pt>
                <c:pt idx="1119">
                  <c:v>55.579984904298627</c:v>
                </c:pt>
                <c:pt idx="1120">
                  <c:v>55.579984904298627</c:v>
                </c:pt>
                <c:pt idx="1121">
                  <c:v>55.579984904298627</c:v>
                </c:pt>
                <c:pt idx="1122">
                  <c:v>55.579984904298627</c:v>
                </c:pt>
                <c:pt idx="1123">
                  <c:v>55.579984904298627</c:v>
                </c:pt>
                <c:pt idx="1124">
                  <c:v>55.579984904298627</c:v>
                </c:pt>
                <c:pt idx="1125">
                  <c:v>55.579984904298627</c:v>
                </c:pt>
                <c:pt idx="1126">
                  <c:v>55.579984904298627</c:v>
                </c:pt>
                <c:pt idx="1127">
                  <c:v>55.579984904298627</c:v>
                </c:pt>
                <c:pt idx="1128">
                  <c:v>55.579984904298627</c:v>
                </c:pt>
                <c:pt idx="1129">
                  <c:v>55.579984904298627</c:v>
                </c:pt>
                <c:pt idx="1130">
                  <c:v>55.579984904298627</c:v>
                </c:pt>
                <c:pt idx="1131">
                  <c:v>55.579984904298627</c:v>
                </c:pt>
                <c:pt idx="1132">
                  <c:v>55.579984904298627</c:v>
                </c:pt>
                <c:pt idx="1133">
                  <c:v>55.579984904298627</c:v>
                </c:pt>
                <c:pt idx="1134">
                  <c:v>55.579984904298627</c:v>
                </c:pt>
                <c:pt idx="1135">
                  <c:v>55.579984904298627</c:v>
                </c:pt>
                <c:pt idx="1136">
                  <c:v>55.579984904298627</c:v>
                </c:pt>
                <c:pt idx="1137">
                  <c:v>55.579984904298627</c:v>
                </c:pt>
                <c:pt idx="1138">
                  <c:v>55.579984904298627</c:v>
                </c:pt>
                <c:pt idx="1139">
                  <c:v>55.579984904298627</c:v>
                </c:pt>
                <c:pt idx="1140">
                  <c:v>55.579984904298627</c:v>
                </c:pt>
                <c:pt idx="1141">
                  <c:v>55.579984904298627</c:v>
                </c:pt>
                <c:pt idx="1142">
                  <c:v>55.579984904298627</c:v>
                </c:pt>
                <c:pt idx="1143">
                  <c:v>55.579984904298627</c:v>
                </c:pt>
                <c:pt idx="1144">
                  <c:v>55.579984904298627</c:v>
                </c:pt>
                <c:pt idx="1145">
                  <c:v>55.579984904298627</c:v>
                </c:pt>
                <c:pt idx="1146">
                  <c:v>55.579984904298627</c:v>
                </c:pt>
                <c:pt idx="1147">
                  <c:v>55.579984904298627</c:v>
                </c:pt>
                <c:pt idx="1148">
                  <c:v>55.579984904298627</c:v>
                </c:pt>
                <c:pt idx="1149">
                  <c:v>55.579984904298627</c:v>
                </c:pt>
                <c:pt idx="1150">
                  <c:v>55.579984904298627</c:v>
                </c:pt>
                <c:pt idx="1151">
                  <c:v>55.579984904298627</c:v>
                </c:pt>
                <c:pt idx="1152">
                  <c:v>55.579984904298627</c:v>
                </c:pt>
                <c:pt idx="1153">
                  <c:v>55.579984904298627</c:v>
                </c:pt>
                <c:pt idx="1154">
                  <c:v>55.579984904298627</c:v>
                </c:pt>
                <c:pt idx="1155">
                  <c:v>55.579984904298627</c:v>
                </c:pt>
                <c:pt idx="1156">
                  <c:v>55.579984904298627</c:v>
                </c:pt>
                <c:pt idx="1157">
                  <c:v>55.579984904298627</c:v>
                </c:pt>
                <c:pt idx="1158">
                  <c:v>55.579984904298627</c:v>
                </c:pt>
                <c:pt idx="1159">
                  <c:v>55.579984904298627</c:v>
                </c:pt>
                <c:pt idx="1160">
                  <c:v>55.579984904298627</c:v>
                </c:pt>
                <c:pt idx="1161">
                  <c:v>55.579984904298627</c:v>
                </c:pt>
                <c:pt idx="1162">
                  <c:v>55.579984904298627</c:v>
                </c:pt>
                <c:pt idx="1163">
                  <c:v>55.579984904298627</c:v>
                </c:pt>
                <c:pt idx="1164">
                  <c:v>55.579984904298627</c:v>
                </c:pt>
                <c:pt idx="1165">
                  <c:v>55.579984904298627</c:v>
                </c:pt>
                <c:pt idx="1166">
                  <c:v>55.579984904298627</c:v>
                </c:pt>
                <c:pt idx="1167">
                  <c:v>55.579984904298627</c:v>
                </c:pt>
                <c:pt idx="1168">
                  <c:v>55.579984904298627</c:v>
                </c:pt>
                <c:pt idx="1169">
                  <c:v>55.579984904298627</c:v>
                </c:pt>
                <c:pt idx="1170">
                  <c:v>55.579984904298627</c:v>
                </c:pt>
                <c:pt idx="1171">
                  <c:v>55.579984904298627</c:v>
                </c:pt>
                <c:pt idx="1172">
                  <c:v>55.579984904298627</c:v>
                </c:pt>
                <c:pt idx="1173">
                  <c:v>55.579984904298627</c:v>
                </c:pt>
                <c:pt idx="1174">
                  <c:v>55.579984904298627</c:v>
                </c:pt>
                <c:pt idx="1175">
                  <c:v>55.579984904298627</c:v>
                </c:pt>
                <c:pt idx="1176">
                  <c:v>55.579984904298627</c:v>
                </c:pt>
                <c:pt idx="1177">
                  <c:v>55.579984904298627</c:v>
                </c:pt>
                <c:pt idx="1178">
                  <c:v>55.579984904298627</c:v>
                </c:pt>
                <c:pt idx="1179">
                  <c:v>55.579984904298627</c:v>
                </c:pt>
                <c:pt idx="1180">
                  <c:v>55.579984904298627</c:v>
                </c:pt>
                <c:pt idx="1181">
                  <c:v>55.579984904298627</c:v>
                </c:pt>
                <c:pt idx="1182">
                  <c:v>55.579984904298627</c:v>
                </c:pt>
                <c:pt idx="1183">
                  <c:v>55.579984904298627</c:v>
                </c:pt>
                <c:pt idx="1184">
                  <c:v>55.579984904298627</c:v>
                </c:pt>
                <c:pt idx="1185">
                  <c:v>55.579984904298627</c:v>
                </c:pt>
                <c:pt idx="1186">
                  <c:v>55.579984904298627</c:v>
                </c:pt>
                <c:pt idx="1187">
                  <c:v>55.579984904298627</c:v>
                </c:pt>
                <c:pt idx="1188">
                  <c:v>55.579984904298627</c:v>
                </c:pt>
                <c:pt idx="1189">
                  <c:v>55.579984904298627</c:v>
                </c:pt>
                <c:pt idx="1190">
                  <c:v>55.579984904298627</c:v>
                </c:pt>
                <c:pt idx="1191">
                  <c:v>55.579984904298627</c:v>
                </c:pt>
                <c:pt idx="1192">
                  <c:v>55.579984904298627</c:v>
                </c:pt>
                <c:pt idx="1193">
                  <c:v>55.579984904298627</c:v>
                </c:pt>
                <c:pt idx="1194">
                  <c:v>55.579984904298627</c:v>
                </c:pt>
                <c:pt idx="1195">
                  <c:v>55.579984904298627</c:v>
                </c:pt>
                <c:pt idx="1196">
                  <c:v>55.579984904298627</c:v>
                </c:pt>
                <c:pt idx="1197">
                  <c:v>55.579984904298627</c:v>
                </c:pt>
                <c:pt idx="1198">
                  <c:v>55.579984904298627</c:v>
                </c:pt>
                <c:pt idx="1199">
                  <c:v>55.579984904298627</c:v>
                </c:pt>
                <c:pt idx="1200">
                  <c:v>55.579984904298627</c:v>
                </c:pt>
                <c:pt idx="1201">
                  <c:v>55.579984904298627</c:v>
                </c:pt>
                <c:pt idx="1202">
                  <c:v>55.579984904298627</c:v>
                </c:pt>
                <c:pt idx="1203">
                  <c:v>55.579984904298627</c:v>
                </c:pt>
                <c:pt idx="1204">
                  <c:v>55.579984904298627</c:v>
                </c:pt>
                <c:pt idx="1205">
                  <c:v>55.579984904298627</c:v>
                </c:pt>
                <c:pt idx="1206">
                  <c:v>55.579984904298627</c:v>
                </c:pt>
                <c:pt idx="1207">
                  <c:v>55.579984904298627</c:v>
                </c:pt>
                <c:pt idx="1208">
                  <c:v>55.579984904298627</c:v>
                </c:pt>
                <c:pt idx="1209">
                  <c:v>55.579984904298627</c:v>
                </c:pt>
                <c:pt idx="1210">
                  <c:v>55.579984904298627</c:v>
                </c:pt>
                <c:pt idx="1211">
                  <c:v>55.579984904298627</c:v>
                </c:pt>
                <c:pt idx="1212">
                  <c:v>55.579984904298627</c:v>
                </c:pt>
                <c:pt idx="1213">
                  <c:v>55.579984904298627</c:v>
                </c:pt>
                <c:pt idx="1214">
                  <c:v>55.579984904298627</c:v>
                </c:pt>
                <c:pt idx="1215">
                  <c:v>55.579984904298627</c:v>
                </c:pt>
                <c:pt idx="1216">
                  <c:v>55.579984904298627</c:v>
                </c:pt>
                <c:pt idx="1217">
                  <c:v>55.579984904298627</c:v>
                </c:pt>
                <c:pt idx="1218">
                  <c:v>55.579984904298627</c:v>
                </c:pt>
                <c:pt idx="1219">
                  <c:v>55.579984904298627</c:v>
                </c:pt>
                <c:pt idx="1220">
                  <c:v>55.579984904298627</c:v>
                </c:pt>
                <c:pt idx="1221">
                  <c:v>55.579984904298627</c:v>
                </c:pt>
                <c:pt idx="1222">
                  <c:v>55.579984904298627</c:v>
                </c:pt>
                <c:pt idx="1223">
                  <c:v>55.579984904298627</c:v>
                </c:pt>
                <c:pt idx="1224">
                  <c:v>55.579984904298627</c:v>
                </c:pt>
                <c:pt idx="1225">
                  <c:v>55.579984904298627</c:v>
                </c:pt>
                <c:pt idx="1226">
                  <c:v>55.579984904298627</c:v>
                </c:pt>
                <c:pt idx="1227">
                  <c:v>55.579984904298627</c:v>
                </c:pt>
                <c:pt idx="1228">
                  <c:v>55.579984904298627</c:v>
                </c:pt>
                <c:pt idx="1229">
                  <c:v>55.579984904298627</c:v>
                </c:pt>
                <c:pt idx="1230">
                  <c:v>55.579984904298627</c:v>
                </c:pt>
                <c:pt idx="1231">
                  <c:v>55.579984904298627</c:v>
                </c:pt>
                <c:pt idx="1232">
                  <c:v>55.579984904298627</c:v>
                </c:pt>
                <c:pt idx="1233">
                  <c:v>55.579984904298627</c:v>
                </c:pt>
                <c:pt idx="1234">
                  <c:v>55.579984904298627</c:v>
                </c:pt>
                <c:pt idx="1235">
                  <c:v>55.579984904298627</c:v>
                </c:pt>
                <c:pt idx="1236">
                  <c:v>55.579984904298627</c:v>
                </c:pt>
                <c:pt idx="1237">
                  <c:v>55.579984904298627</c:v>
                </c:pt>
                <c:pt idx="1238">
                  <c:v>55.579984904298627</c:v>
                </c:pt>
                <c:pt idx="1239">
                  <c:v>55.579984904298627</c:v>
                </c:pt>
                <c:pt idx="1240">
                  <c:v>55.579984904298627</c:v>
                </c:pt>
                <c:pt idx="1241">
                  <c:v>55.579984904298627</c:v>
                </c:pt>
                <c:pt idx="1242">
                  <c:v>55.579984904298627</c:v>
                </c:pt>
                <c:pt idx="1243">
                  <c:v>55.579984904298627</c:v>
                </c:pt>
                <c:pt idx="1244">
                  <c:v>55.579984904298627</c:v>
                </c:pt>
                <c:pt idx="1245">
                  <c:v>55.579984904298627</c:v>
                </c:pt>
                <c:pt idx="1246">
                  <c:v>55.579984904298627</c:v>
                </c:pt>
                <c:pt idx="1247">
                  <c:v>55.579984904298627</c:v>
                </c:pt>
                <c:pt idx="1248">
                  <c:v>55.579984904298627</c:v>
                </c:pt>
                <c:pt idx="1249">
                  <c:v>55.579984904298627</c:v>
                </c:pt>
                <c:pt idx="1250">
                  <c:v>55.579984904298627</c:v>
                </c:pt>
                <c:pt idx="1251">
                  <c:v>55.579984904298627</c:v>
                </c:pt>
                <c:pt idx="1252">
                  <c:v>55.579984904298627</c:v>
                </c:pt>
                <c:pt idx="1253">
                  <c:v>55.579984904298627</c:v>
                </c:pt>
                <c:pt idx="1254">
                  <c:v>55.579984904298627</c:v>
                </c:pt>
                <c:pt idx="1255">
                  <c:v>55.579984904298627</c:v>
                </c:pt>
                <c:pt idx="1256">
                  <c:v>55.579984904298627</c:v>
                </c:pt>
                <c:pt idx="1257">
                  <c:v>55.579984904298627</c:v>
                </c:pt>
                <c:pt idx="1258">
                  <c:v>55.579984904298627</c:v>
                </c:pt>
                <c:pt idx="1259">
                  <c:v>55.579984904298627</c:v>
                </c:pt>
                <c:pt idx="1260">
                  <c:v>55.579984904298627</c:v>
                </c:pt>
                <c:pt idx="1261">
                  <c:v>55.579984904298627</c:v>
                </c:pt>
                <c:pt idx="1262">
                  <c:v>55.579984904298627</c:v>
                </c:pt>
                <c:pt idx="1263">
                  <c:v>55.579984904298627</c:v>
                </c:pt>
                <c:pt idx="1264">
                  <c:v>55.579984904298627</c:v>
                </c:pt>
                <c:pt idx="1265">
                  <c:v>55.579984904298627</c:v>
                </c:pt>
                <c:pt idx="1266">
                  <c:v>55.579984904298627</c:v>
                </c:pt>
                <c:pt idx="1267">
                  <c:v>55.579984904298627</c:v>
                </c:pt>
                <c:pt idx="1268">
                  <c:v>55.579984904298627</c:v>
                </c:pt>
                <c:pt idx="1269">
                  <c:v>55.579984904298627</c:v>
                </c:pt>
                <c:pt idx="1270">
                  <c:v>55.579984904298627</c:v>
                </c:pt>
                <c:pt idx="1271">
                  <c:v>55.579984904298627</c:v>
                </c:pt>
                <c:pt idx="1272">
                  <c:v>55.579984904298627</c:v>
                </c:pt>
                <c:pt idx="1273">
                  <c:v>55.579984904298627</c:v>
                </c:pt>
                <c:pt idx="1274">
                  <c:v>55.579984904298627</c:v>
                </c:pt>
                <c:pt idx="1275">
                  <c:v>55.579984904298627</c:v>
                </c:pt>
                <c:pt idx="1276">
                  <c:v>55.579984904298627</c:v>
                </c:pt>
                <c:pt idx="1277">
                  <c:v>55.579984904298627</c:v>
                </c:pt>
                <c:pt idx="1278">
                  <c:v>55.579984904298627</c:v>
                </c:pt>
                <c:pt idx="1279">
                  <c:v>55.579984904298627</c:v>
                </c:pt>
                <c:pt idx="1280">
                  <c:v>55.579984904298627</c:v>
                </c:pt>
                <c:pt idx="1281">
                  <c:v>55.579984904298627</c:v>
                </c:pt>
                <c:pt idx="1282">
                  <c:v>55.579984904298627</c:v>
                </c:pt>
                <c:pt idx="1283">
                  <c:v>55.579984904298627</c:v>
                </c:pt>
                <c:pt idx="1284">
                  <c:v>55.579984904298627</c:v>
                </c:pt>
                <c:pt idx="1285">
                  <c:v>55.579984904298627</c:v>
                </c:pt>
                <c:pt idx="1286">
                  <c:v>55.579984904298627</c:v>
                </c:pt>
                <c:pt idx="1287">
                  <c:v>55.579984904298627</c:v>
                </c:pt>
                <c:pt idx="1288">
                  <c:v>55.579984904298627</c:v>
                </c:pt>
                <c:pt idx="1289">
                  <c:v>55.579984904298627</c:v>
                </c:pt>
                <c:pt idx="1290">
                  <c:v>55.579984904298627</c:v>
                </c:pt>
                <c:pt idx="1291">
                  <c:v>55.579984904298627</c:v>
                </c:pt>
                <c:pt idx="1292">
                  <c:v>55.579984904298627</c:v>
                </c:pt>
                <c:pt idx="1293">
                  <c:v>55.579984904298627</c:v>
                </c:pt>
                <c:pt idx="1294">
                  <c:v>55.579984904298627</c:v>
                </c:pt>
                <c:pt idx="1295">
                  <c:v>55.579984904298627</c:v>
                </c:pt>
                <c:pt idx="1296">
                  <c:v>55.579984904298627</c:v>
                </c:pt>
                <c:pt idx="1297">
                  <c:v>55.579984904298627</c:v>
                </c:pt>
                <c:pt idx="1298">
                  <c:v>55.579984904298627</c:v>
                </c:pt>
                <c:pt idx="1299">
                  <c:v>55.579984904298627</c:v>
                </c:pt>
                <c:pt idx="1300">
                  <c:v>55.579984904298627</c:v>
                </c:pt>
                <c:pt idx="1301">
                  <c:v>55.579984904298627</c:v>
                </c:pt>
                <c:pt idx="1302">
                  <c:v>55.579984904298627</c:v>
                </c:pt>
                <c:pt idx="1303">
                  <c:v>55.579984904298627</c:v>
                </c:pt>
                <c:pt idx="1304">
                  <c:v>55.579984904298627</c:v>
                </c:pt>
                <c:pt idx="1305">
                  <c:v>55.579984904298627</c:v>
                </c:pt>
                <c:pt idx="1306">
                  <c:v>55.579984904298627</c:v>
                </c:pt>
                <c:pt idx="1307">
                  <c:v>55.579984904298627</c:v>
                </c:pt>
                <c:pt idx="1308">
                  <c:v>55.579984904298627</c:v>
                </c:pt>
                <c:pt idx="1309">
                  <c:v>55.579984904298627</c:v>
                </c:pt>
                <c:pt idx="1310">
                  <c:v>55.579984904298627</c:v>
                </c:pt>
                <c:pt idx="1311">
                  <c:v>55.579984904298627</c:v>
                </c:pt>
                <c:pt idx="1312">
                  <c:v>55.579984904298627</c:v>
                </c:pt>
                <c:pt idx="1313">
                  <c:v>55.579984904298627</c:v>
                </c:pt>
                <c:pt idx="1314">
                  <c:v>55.579984904298627</c:v>
                </c:pt>
                <c:pt idx="1315">
                  <c:v>55.579984904298627</c:v>
                </c:pt>
                <c:pt idx="1316">
                  <c:v>55.579984904298627</c:v>
                </c:pt>
                <c:pt idx="1317">
                  <c:v>55.579984904298627</c:v>
                </c:pt>
                <c:pt idx="1318">
                  <c:v>55.579984904298627</c:v>
                </c:pt>
                <c:pt idx="1319">
                  <c:v>55.579984904298627</c:v>
                </c:pt>
                <c:pt idx="1320">
                  <c:v>55.579984904298627</c:v>
                </c:pt>
                <c:pt idx="1321">
                  <c:v>55.579984904298627</c:v>
                </c:pt>
                <c:pt idx="1322">
                  <c:v>55.579984904298627</c:v>
                </c:pt>
                <c:pt idx="1323">
                  <c:v>55.579984904298627</c:v>
                </c:pt>
                <c:pt idx="1324">
                  <c:v>55.579984904298627</c:v>
                </c:pt>
                <c:pt idx="1325">
                  <c:v>55.579984904298627</c:v>
                </c:pt>
                <c:pt idx="1326">
                  <c:v>55.579984904298627</c:v>
                </c:pt>
                <c:pt idx="1327">
                  <c:v>55.579984904298627</c:v>
                </c:pt>
                <c:pt idx="1328">
                  <c:v>55.579984904298627</c:v>
                </c:pt>
                <c:pt idx="1329">
                  <c:v>55.579984904298627</c:v>
                </c:pt>
                <c:pt idx="1330">
                  <c:v>55.579984904298627</c:v>
                </c:pt>
                <c:pt idx="1331">
                  <c:v>55.579984904298627</c:v>
                </c:pt>
                <c:pt idx="1332">
                  <c:v>55.579984904298627</c:v>
                </c:pt>
                <c:pt idx="1333">
                  <c:v>55.579984904298627</c:v>
                </c:pt>
                <c:pt idx="1334">
                  <c:v>55.579984904298627</c:v>
                </c:pt>
                <c:pt idx="1335">
                  <c:v>55.579984904298627</c:v>
                </c:pt>
                <c:pt idx="1336">
                  <c:v>55.579984904298627</c:v>
                </c:pt>
                <c:pt idx="1337">
                  <c:v>52.368528336645319</c:v>
                </c:pt>
                <c:pt idx="1338">
                  <c:v>52.303067676224515</c:v>
                </c:pt>
                <c:pt idx="1339">
                  <c:v>52.237688841629236</c:v>
                </c:pt>
                <c:pt idx="1340">
                  <c:v>52.237688841629236</c:v>
                </c:pt>
                <c:pt idx="1341">
                  <c:v>52.237688841629236</c:v>
                </c:pt>
                <c:pt idx="1342">
                  <c:v>52.237688841629236</c:v>
                </c:pt>
                <c:pt idx="1343">
                  <c:v>52.237688841629236</c:v>
                </c:pt>
                <c:pt idx="1344">
                  <c:v>52.237688841629236</c:v>
                </c:pt>
                <c:pt idx="1345">
                  <c:v>52.237688841629236</c:v>
                </c:pt>
                <c:pt idx="1346">
                  <c:v>52.237688841629236</c:v>
                </c:pt>
                <c:pt idx="1347">
                  <c:v>52.237688841629236</c:v>
                </c:pt>
                <c:pt idx="1348">
                  <c:v>52.237688841629236</c:v>
                </c:pt>
                <c:pt idx="1349">
                  <c:v>52.237688841629236</c:v>
                </c:pt>
                <c:pt idx="1350">
                  <c:v>52.237688841629236</c:v>
                </c:pt>
                <c:pt idx="1351">
                  <c:v>52.237688841629236</c:v>
                </c:pt>
                <c:pt idx="1352">
                  <c:v>52.237688841629236</c:v>
                </c:pt>
                <c:pt idx="1353">
                  <c:v>52.237688841629236</c:v>
                </c:pt>
                <c:pt idx="1354">
                  <c:v>52.237688841629236</c:v>
                </c:pt>
                <c:pt idx="1355">
                  <c:v>52.237688841629236</c:v>
                </c:pt>
                <c:pt idx="1356">
                  <c:v>52.237688841629236</c:v>
                </c:pt>
                <c:pt idx="1357">
                  <c:v>52.237688841629236</c:v>
                </c:pt>
                <c:pt idx="1358">
                  <c:v>52.237688841629236</c:v>
                </c:pt>
                <c:pt idx="1359">
                  <c:v>52.237688841629236</c:v>
                </c:pt>
                <c:pt idx="1360">
                  <c:v>52.237688841629236</c:v>
                </c:pt>
                <c:pt idx="1361">
                  <c:v>52.237688841629236</c:v>
                </c:pt>
                <c:pt idx="1362">
                  <c:v>52.237688841629236</c:v>
                </c:pt>
                <c:pt idx="1363">
                  <c:v>52.237688841629236</c:v>
                </c:pt>
                <c:pt idx="1364">
                  <c:v>52.237688841629236</c:v>
                </c:pt>
                <c:pt idx="1365">
                  <c:v>52.237688841629236</c:v>
                </c:pt>
                <c:pt idx="1366">
                  <c:v>52.237688841629236</c:v>
                </c:pt>
                <c:pt idx="1367">
                  <c:v>52.237688841629236</c:v>
                </c:pt>
                <c:pt idx="1368">
                  <c:v>52.237688841629236</c:v>
                </c:pt>
                <c:pt idx="1369">
                  <c:v>52.237688841629236</c:v>
                </c:pt>
                <c:pt idx="1370">
                  <c:v>52.237688841629236</c:v>
                </c:pt>
                <c:pt idx="1371">
                  <c:v>52.237688841629236</c:v>
                </c:pt>
                <c:pt idx="1372">
                  <c:v>52.237688841629236</c:v>
                </c:pt>
                <c:pt idx="1373">
                  <c:v>52.237688841629236</c:v>
                </c:pt>
                <c:pt idx="1374">
                  <c:v>52.237688841629236</c:v>
                </c:pt>
                <c:pt idx="1375">
                  <c:v>52.237688841629236</c:v>
                </c:pt>
                <c:pt idx="1376">
                  <c:v>52.237688841629236</c:v>
                </c:pt>
                <c:pt idx="1377">
                  <c:v>52.237688841629236</c:v>
                </c:pt>
                <c:pt idx="1378">
                  <c:v>52.237688841629236</c:v>
                </c:pt>
                <c:pt idx="1379">
                  <c:v>52.237688841629236</c:v>
                </c:pt>
                <c:pt idx="1380">
                  <c:v>52.237688841629236</c:v>
                </c:pt>
                <c:pt idx="1381">
                  <c:v>52.237688841629236</c:v>
                </c:pt>
                <c:pt idx="1382">
                  <c:v>52.237688841629236</c:v>
                </c:pt>
                <c:pt idx="1383">
                  <c:v>52.237688841629236</c:v>
                </c:pt>
                <c:pt idx="1384">
                  <c:v>52.237688841629236</c:v>
                </c:pt>
                <c:pt idx="1385">
                  <c:v>52.237688841629236</c:v>
                </c:pt>
                <c:pt idx="1386">
                  <c:v>52.237688841629236</c:v>
                </c:pt>
                <c:pt idx="1387">
                  <c:v>52.237688841629236</c:v>
                </c:pt>
                <c:pt idx="1388">
                  <c:v>52.237688841629236</c:v>
                </c:pt>
                <c:pt idx="1389">
                  <c:v>52.237688841629236</c:v>
                </c:pt>
                <c:pt idx="1390">
                  <c:v>52.237688841629236</c:v>
                </c:pt>
                <c:pt idx="1391">
                  <c:v>52.237688841629236</c:v>
                </c:pt>
                <c:pt idx="1392">
                  <c:v>52.237688841629236</c:v>
                </c:pt>
                <c:pt idx="1393">
                  <c:v>52.237688841629236</c:v>
                </c:pt>
                <c:pt idx="1394">
                  <c:v>52.237688841629236</c:v>
                </c:pt>
                <c:pt idx="1395">
                  <c:v>52.237688841629236</c:v>
                </c:pt>
                <c:pt idx="1396">
                  <c:v>52.237688841629236</c:v>
                </c:pt>
                <c:pt idx="1397">
                  <c:v>52.237688841629236</c:v>
                </c:pt>
                <c:pt idx="1398">
                  <c:v>52.237688841629236</c:v>
                </c:pt>
                <c:pt idx="1399">
                  <c:v>52.237688841629236</c:v>
                </c:pt>
                <c:pt idx="1400">
                  <c:v>52.237688841629236</c:v>
                </c:pt>
                <c:pt idx="1401">
                  <c:v>52.237688841629236</c:v>
                </c:pt>
                <c:pt idx="1402">
                  <c:v>52.237688841629236</c:v>
                </c:pt>
                <c:pt idx="1403">
                  <c:v>52.237688841629236</c:v>
                </c:pt>
                <c:pt idx="1404">
                  <c:v>52.237688841629236</c:v>
                </c:pt>
                <c:pt idx="1405">
                  <c:v>52.237688841629236</c:v>
                </c:pt>
                <c:pt idx="1406">
                  <c:v>52.237688841629236</c:v>
                </c:pt>
                <c:pt idx="1407">
                  <c:v>52.237688841629236</c:v>
                </c:pt>
                <c:pt idx="1408">
                  <c:v>52.237688841629236</c:v>
                </c:pt>
                <c:pt idx="1409">
                  <c:v>52.237688841629236</c:v>
                </c:pt>
                <c:pt idx="1410">
                  <c:v>52.237688841629236</c:v>
                </c:pt>
                <c:pt idx="1411">
                  <c:v>52.237688841629236</c:v>
                </c:pt>
                <c:pt idx="1412">
                  <c:v>52.237688841629236</c:v>
                </c:pt>
                <c:pt idx="1413">
                  <c:v>52.237688841629236</c:v>
                </c:pt>
                <c:pt idx="1414">
                  <c:v>52.237688841629236</c:v>
                </c:pt>
                <c:pt idx="1415">
                  <c:v>52.237688841629236</c:v>
                </c:pt>
                <c:pt idx="1416">
                  <c:v>52.237688841629236</c:v>
                </c:pt>
                <c:pt idx="1417">
                  <c:v>52.237688841629236</c:v>
                </c:pt>
                <c:pt idx="1418">
                  <c:v>52.237688841629236</c:v>
                </c:pt>
                <c:pt idx="1419">
                  <c:v>52.237688841629236</c:v>
                </c:pt>
                <c:pt idx="1420">
                  <c:v>52.237688841629236</c:v>
                </c:pt>
                <c:pt idx="1421">
                  <c:v>52.237688841629236</c:v>
                </c:pt>
                <c:pt idx="1422">
                  <c:v>52.237688841629236</c:v>
                </c:pt>
                <c:pt idx="1423">
                  <c:v>52.237688841629236</c:v>
                </c:pt>
                <c:pt idx="1424">
                  <c:v>52.237688841629236</c:v>
                </c:pt>
                <c:pt idx="1425">
                  <c:v>52.237688841629236</c:v>
                </c:pt>
                <c:pt idx="1426">
                  <c:v>52.237688841629236</c:v>
                </c:pt>
                <c:pt idx="1427">
                  <c:v>52.237688841629236</c:v>
                </c:pt>
                <c:pt idx="1428">
                  <c:v>52.237688841629236</c:v>
                </c:pt>
                <c:pt idx="1429">
                  <c:v>52.237688841629236</c:v>
                </c:pt>
                <c:pt idx="1430">
                  <c:v>52.237688841629236</c:v>
                </c:pt>
                <c:pt idx="1431">
                  <c:v>52.237688841629236</c:v>
                </c:pt>
                <c:pt idx="1432">
                  <c:v>52.237688841629236</c:v>
                </c:pt>
                <c:pt idx="1433">
                  <c:v>52.237688841629236</c:v>
                </c:pt>
                <c:pt idx="1434">
                  <c:v>52.237688841629236</c:v>
                </c:pt>
                <c:pt idx="1435">
                  <c:v>52.237688841629236</c:v>
                </c:pt>
                <c:pt idx="1436">
                  <c:v>52.237688841629236</c:v>
                </c:pt>
                <c:pt idx="1437">
                  <c:v>52.237688841629236</c:v>
                </c:pt>
                <c:pt idx="1438">
                  <c:v>52.237688841629236</c:v>
                </c:pt>
                <c:pt idx="1439">
                  <c:v>52.237688841629236</c:v>
                </c:pt>
                <c:pt idx="1440">
                  <c:v>52.237688841629236</c:v>
                </c:pt>
                <c:pt idx="1441">
                  <c:v>52.237688841629236</c:v>
                </c:pt>
                <c:pt idx="1442">
                  <c:v>52.237688841629236</c:v>
                </c:pt>
                <c:pt idx="1443">
                  <c:v>52.237688841629236</c:v>
                </c:pt>
                <c:pt idx="1444">
                  <c:v>52.237688841629236</c:v>
                </c:pt>
                <c:pt idx="1445">
                  <c:v>52.237688841629236</c:v>
                </c:pt>
                <c:pt idx="1446">
                  <c:v>52.237688841629236</c:v>
                </c:pt>
                <c:pt idx="1447">
                  <c:v>52.237688841629236</c:v>
                </c:pt>
                <c:pt idx="1448">
                  <c:v>52.237688841629236</c:v>
                </c:pt>
                <c:pt idx="1449">
                  <c:v>52.237688841629236</c:v>
                </c:pt>
                <c:pt idx="1450">
                  <c:v>52.237688841629236</c:v>
                </c:pt>
                <c:pt idx="1451">
                  <c:v>51.392765474123131</c:v>
                </c:pt>
                <c:pt idx="1452">
                  <c:v>49.910819906091731</c:v>
                </c:pt>
                <c:pt idx="1453">
                  <c:v>48.636831567792179</c:v>
                </c:pt>
                <c:pt idx="1454">
                  <c:v>48.636831567792179</c:v>
                </c:pt>
                <c:pt idx="1455">
                  <c:v>48.57603552833244</c:v>
                </c:pt>
                <c:pt idx="1456">
                  <c:v>48.57603552833244</c:v>
                </c:pt>
                <c:pt idx="1457">
                  <c:v>48.57603552833244</c:v>
                </c:pt>
                <c:pt idx="1458">
                  <c:v>48.57603552833244</c:v>
                </c:pt>
                <c:pt idx="1459">
                  <c:v>48.57603552833244</c:v>
                </c:pt>
                <c:pt idx="1460">
                  <c:v>48.57603552833244</c:v>
                </c:pt>
                <c:pt idx="1461">
                  <c:v>48.57603552833244</c:v>
                </c:pt>
                <c:pt idx="1462">
                  <c:v>48.57603552833244</c:v>
                </c:pt>
                <c:pt idx="1463">
                  <c:v>48.57603552833244</c:v>
                </c:pt>
                <c:pt idx="1464">
                  <c:v>48.57603552833244</c:v>
                </c:pt>
                <c:pt idx="1465">
                  <c:v>48.57603552833244</c:v>
                </c:pt>
                <c:pt idx="1466">
                  <c:v>48.57603552833244</c:v>
                </c:pt>
                <c:pt idx="1467">
                  <c:v>48.57603552833244</c:v>
                </c:pt>
                <c:pt idx="1468">
                  <c:v>51.011971734284302</c:v>
                </c:pt>
                <c:pt idx="1469">
                  <c:v>50.948206769616448</c:v>
                </c:pt>
                <c:pt idx="1470">
                  <c:v>50.884521511154432</c:v>
                </c:pt>
                <c:pt idx="1471">
                  <c:v>53.488032592790411</c:v>
                </c:pt>
                <c:pt idx="1472">
                  <c:v>53.421172552049427</c:v>
                </c:pt>
                <c:pt idx="1473">
                  <c:v>53.354396086359365</c:v>
                </c:pt>
                <c:pt idx="1474">
                  <c:v>53.354396086359365</c:v>
                </c:pt>
                <c:pt idx="1475">
                  <c:v>53.354396086359365</c:v>
                </c:pt>
                <c:pt idx="1476">
                  <c:v>53.354396086359365</c:v>
                </c:pt>
                <c:pt idx="1477">
                  <c:v>53.354396086359365</c:v>
                </c:pt>
                <c:pt idx="1478">
                  <c:v>53.354396086359365</c:v>
                </c:pt>
                <c:pt idx="1479">
                  <c:v>53.354396086359365</c:v>
                </c:pt>
                <c:pt idx="1480">
                  <c:v>53.354396086359365</c:v>
                </c:pt>
                <c:pt idx="1481">
                  <c:v>53.354396086359365</c:v>
                </c:pt>
                <c:pt idx="1482">
                  <c:v>53.354396086359365</c:v>
                </c:pt>
                <c:pt idx="1483">
                  <c:v>53.354396086359365</c:v>
                </c:pt>
                <c:pt idx="1484">
                  <c:v>51.123173461141718</c:v>
                </c:pt>
                <c:pt idx="1485">
                  <c:v>51.059269494315295</c:v>
                </c:pt>
                <c:pt idx="1486">
                  <c:v>50.995445407447406</c:v>
                </c:pt>
                <c:pt idx="1487">
                  <c:v>50.995445407447406</c:v>
                </c:pt>
                <c:pt idx="1488">
                  <c:v>50.995445407447406</c:v>
                </c:pt>
                <c:pt idx="1489">
                  <c:v>50.995445407447406</c:v>
                </c:pt>
                <c:pt idx="1490">
                  <c:v>50.995445407447406</c:v>
                </c:pt>
                <c:pt idx="1491">
                  <c:v>50.995445407447406</c:v>
                </c:pt>
                <c:pt idx="1492">
                  <c:v>50.995445407447406</c:v>
                </c:pt>
                <c:pt idx="1493">
                  <c:v>50.995445407447406</c:v>
                </c:pt>
                <c:pt idx="1494">
                  <c:v>50.995445407447406</c:v>
                </c:pt>
                <c:pt idx="1495">
                  <c:v>50.995445407447406</c:v>
                </c:pt>
                <c:pt idx="1496">
                  <c:v>50.995445407447406</c:v>
                </c:pt>
                <c:pt idx="1497">
                  <c:v>50.995445407447406</c:v>
                </c:pt>
                <c:pt idx="1498">
                  <c:v>50.995445407447406</c:v>
                </c:pt>
                <c:pt idx="1499">
                  <c:v>50.995445407447406</c:v>
                </c:pt>
                <c:pt idx="1500">
                  <c:v>50.995445407447406</c:v>
                </c:pt>
                <c:pt idx="1501">
                  <c:v>50.995445407447406</c:v>
                </c:pt>
                <c:pt idx="1502">
                  <c:v>50.995445407447406</c:v>
                </c:pt>
                <c:pt idx="1503">
                  <c:v>50.995445407447406</c:v>
                </c:pt>
                <c:pt idx="1504">
                  <c:v>50.995445407447406</c:v>
                </c:pt>
                <c:pt idx="1505">
                  <c:v>50.995445407447406</c:v>
                </c:pt>
                <c:pt idx="1506">
                  <c:v>50.995445407447406</c:v>
                </c:pt>
                <c:pt idx="1507">
                  <c:v>50.995445407447406</c:v>
                </c:pt>
                <c:pt idx="1508">
                  <c:v>50.995445407447406</c:v>
                </c:pt>
                <c:pt idx="1509">
                  <c:v>50.995445407447406</c:v>
                </c:pt>
                <c:pt idx="1510">
                  <c:v>50.995445407447406</c:v>
                </c:pt>
                <c:pt idx="1511">
                  <c:v>50.995445407447406</c:v>
                </c:pt>
                <c:pt idx="1512">
                  <c:v>50.995445407447406</c:v>
                </c:pt>
                <c:pt idx="1513">
                  <c:v>50.995445407447406</c:v>
                </c:pt>
                <c:pt idx="1514">
                  <c:v>50.995445407447406</c:v>
                </c:pt>
                <c:pt idx="1515">
                  <c:v>50.995445407447406</c:v>
                </c:pt>
                <c:pt idx="1516">
                  <c:v>50.995445407447406</c:v>
                </c:pt>
                <c:pt idx="1517">
                  <c:v>50.995445407447406</c:v>
                </c:pt>
                <c:pt idx="1518">
                  <c:v>50.995445407447406</c:v>
                </c:pt>
                <c:pt idx="1519">
                  <c:v>50.995445407447406</c:v>
                </c:pt>
                <c:pt idx="1520">
                  <c:v>50.995445407447406</c:v>
                </c:pt>
                <c:pt idx="1521">
                  <c:v>50.995445407447406</c:v>
                </c:pt>
                <c:pt idx="1522">
                  <c:v>50.995445407447406</c:v>
                </c:pt>
                <c:pt idx="1523">
                  <c:v>50.995445407447406</c:v>
                </c:pt>
                <c:pt idx="1524">
                  <c:v>50.995445407447406</c:v>
                </c:pt>
                <c:pt idx="1525">
                  <c:v>50.995445407447406</c:v>
                </c:pt>
                <c:pt idx="1526">
                  <c:v>50.995445407447406</c:v>
                </c:pt>
                <c:pt idx="1527">
                  <c:v>50.995445407447406</c:v>
                </c:pt>
                <c:pt idx="1528">
                  <c:v>50.995445407447406</c:v>
                </c:pt>
                <c:pt idx="1529">
                  <c:v>50.995445407447406</c:v>
                </c:pt>
                <c:pt idx="1530">
                  <c:v>50.995445407447406</c:v>
                </c:pt>
                <c:pt idx="1531">
                  <c:v>50.995445407447406</c:v>
                </c:pt>
                <c:pt idx="1532">
                  <c:v>50.995445407447406</c:v>
                </c:pt>
                <c:pt idx="1533">
                  <c:v>50.995445407447406</c:v>
                </c:pt>
                <c:pt idx="1534">
                  <c:v>50.995445407447406</c:v>
                </c:pt>
                <c:pt idx="1535">
                  <c:v>50.995445407447406</c:v>
                </c:pt>
                <c:pt idx="1536">
                  <c:v>50.995445407447406</c:v>
                </c:pt>
                <c:pt idx="1537">
                  <c:v>50.995445407447406</c:v>
                </c:pt>
                <c:pt idx="1538">
                  <c:v>50.995445407447406</c:v>
                </c:pt>
                <c:pt idx="1539">
                  <c:v>50.995445407447406</c:v>
                </c:pt>
                <c:pt idx="1540">
                  <c:v>50.995445407447406</c:v>
                </c:pt>
                <c:pt idx="1541">
                  <c:v>50.995445407447406</c:v>
                </c:pt>
                <c:pt idx="1542">
                  <c:v>50.995445407447406</c:v>
                </c:pt>
                <c:pt idx="1543">
                  <c:v>50.995445407447406</c:v>
                </c:pt>
                <c:pt idx="1544">
                  <c:v>50.995445407447406</c:v>
                </c:pt>
                <c:pt idx="1545">
                  <c:v>50.995445407447406</c:v>
                </c:pt>
                <c:pt idx="1546">
                  <c:v>50.995445407447406</c:v>
                </c:pt>
                <c:pt idx="1547">
                  <c:v>50.995445407447406</c:v>
                </c:pt>
                <c:pt idx="1548">
                  <c:v>50.995445407447406</c:v>
                </c:pt>
                <c:pt idx="1549">
                  <c:v>50.995445407447406</c:v>
                </c:pt>
                <c:pt idx="1550">
                  <c:v>50.995445407447406</c:v>
                </c:pt>
                <c:pt idx="1551">
                  <c:v>50.995445407447406</c:v>
                </c:pt>
                <c:pt idx="1552">
                  <c:v>50.995445407447406</c:v>
                </c:pt>
                <c:pt idx="1553">
                  <c:v>50.995445407447406</c:v>
                </c:pt>
                <c:pt idx="1554">
                  <c:v>50.995445407447406</c:v>
                </c:pt>
                <c:pt idx="1555">
                  <c:v>50.995445407447406</c:v>
                </c:pt>
                <c:pt idx="1556">
                  <c:v>50.995445407447406</c:v>
                </c:pt>
                <c:pt idx="1557">
                  <c:v>50.995445407447406</c:v>
                </c:pt>
                <c:pt idx="1558">
                  <c:v>50.995445407447406</c:v>
                </c:pt>
                <c:pt idx="1559">
                  <c:v>50.995445407447406</c:v>
                </c:pt>
                <c:pt idx="1560">
                  <c:v>50.995445407447406</c:v>
                </c:pt>
                <c:pt idx="1561">
                  <c:v>50.995445407447406</c:v>
                </c:pt>
                <c:pt idx="1562">
                  <c:v>50.995445407447406</c:v>
                </c:pt>
                <c:pt idx="1563">
                  <c:v>50.995445407447406</c:v>
                </c:pt>
                <c:pt idx="1564">
                  <c:v>50.995445407447406</c:v>
                </c:pt>
                <c:pt idx="1565">
                  <c:v>50.995445407447406</c:v>
                </c:pt>
                <c:pt idx="1566">
                  <c:v>50.995445407447406</c:v>
                </c:pt>
                <c:pt idx="1567">
                  <c:v>50.995445407447406</c:v>
                </c:pt>
                <c:pt idx="1568">
                  <c:v>50.995445407447406</c:v>
                </c:pt>
                <c:pt idx="1569">
                  <c:v>50.995445407447406</c:v>
                </c:pt>
                <c:pt idx="1570">
                  <c:v>50.995445407447406</c:v>
                </c:pt>
                <c:pt idx="1571">
                  <c:v>50.995445407447406</c:v>
                </c:pt>
                <c:pt idx="1572">
                  <c:v>50.995445407447406</c:v>
                </c:pt>
                <c:pt idx="1573">
                  <c:v>50.995445407447406</c:v>
                </c:pt>
                <c:pt idx="1574">
                  <c:v>50.995445407447406</c:v>
                </c:pt>
                <c:pt idx="1575">
                  <c:v>50.995445407447406</c:v>
                </c:pt>
                <c:pt idx="1576">
                  <c:v>50.995445407447406</c:v>
                </c:pt>
                <c:pt idx="1577">
                  <c:v>50.995445407447406</c:v>
                </c:pt>
                <c:pt idx="1578">
                  <c:v>50.995445407447406</c:v>
                </c:pt>
                <c:pt idx="1579">
                  <c:v>50.995445407447406</c:v>
                </c:pt>
                <c:pt idx="1580">
                  <c:v>50.995445407447406</c:v>
                </c:pt>
                <c:pt idx="1581">
                  <c:v>50.995445407447406</c:v>
                </c:pt>
                <c:pt idx="1582">
                  <c:v>50.995445407447406</c:v>
                </c:pt>
                <c:pt idx="1583">
                  <c:v>50.995445407447406</c:v>
                </c:pt>
                <c:pt idx="1584">
                  <c:v>50.995445407447406</c:v>
                </c:pt>
                <c:pt idx="1585">
                  <c:v>50.995445407447406</c:v>
                </c:pt>
                <c:pt idx="1586">
                  <c:v>50.995445407447406</c:v>
                </c:pt>
                <c:pt idx="1587">
                  <c:v>50.995445407447406</c:v>
                </c:pt>
                <c:pt idx="1588">
                  <c:v>50.995445407447406</c:v>
                </c:pt>
                <c:pt idx="1589">
                  <c:v>50.995445407447406</c:v>
                </c:pt>
                <c:pt idx="1590">
                  <c:v>50.995445407447406</c:v>
                </c:pt>
                <c:pt idx="1591">
                  <c:v>50.995445407447406</c:v>
                </c:pt>
                <c:pt idx="1592">
                  <c:v>50.995445407447406</c:v>
                </c:pt>
                <c:pt idx="1593">
                  <c:v>50.995445407447406</c:v>
                </c:pt>
                <c:pt idx="1594">
                  <c:v>50.995445407447406</c:v>
                </c:pt>
                <c:pt idx="1595">
                  <c:v>50.995445407447406</c:v>
                </c:pt>
                <c:pt idx="1596">
                  <c:v>50.995445407447406</c:v>
                </c:pt>
                <c:pt idx="1597">
                  <c:v>50.995445407447406</c:v>
                </c:pt>
                <c:pt idx="1598">
                  <c:v>50.995445407447406</c:v>
                </c:pt>
                <c:pt idx="1599">
                  <c:v>50.995445407447406</c:v>
                </c:pt>
                <c:pt idx="1600">
                  <c:v>50.995445407447406</c:v>
                </c:pt>
                <c:pt idx="1601">
                  <c:v>50.995445407447406</c:v>
                </c:pt>
                <c:pt idx="1602">
                  <c:v>50.995445407447406</c:v>
                </c:pt>
                <c:pt idx="1603">
                  <c:v>50.995445407447406</c:v>
                </c:pt>
                <c:pt idx="1604">
                  <c:v>50.995445407447406</c:v>
                </c:pt>
                <c:pt idx="1605">
                  <c:v>50.995445407447406</c:v>
                </c:pt>
                <c:pt idx="1606">
                  <c:v>50.995445407447406</c:v>
                </c:pt>
                <c:pt idx="1607">
                  <c:v>50.995445407447406</c:v>
                </c:pt>
                <c:pt idx="1608">
                  <c:v>50.995445407447406</c:v>
                </c:pt>
                <c:pt idx="1609">
                  <c:v>50.995445407447406</c:v>
                </c:pt>
                <c:pt idx="1610">
                  <c:v>50.995445407447406</c:v>
                </c:pt>
                <c:pt idx="1611">
                  <c:v>50.995445407447406</c:v>
                </c:pt>
                <c:pt idx="1612">
                  <c:v>50.995445407447406</c:v>
                </c:pt>
                <c:pt idx="1613">
                  <c:v>50.995445407447406</c:v>
                </c:pt>
                <c:pt idx="1614">
                  <c:v>50.995445407447406</c:v>
                </c:pt>
                <c:pt idx="1615">
                  <c:v>50.995445407447406</c:v>
                </c:pt>
                <c:pt idx="1616">
                  <c:v>50.995445407447406</c:v>
                </c:pt>
                <c:pt idx="1617">
                  <c:v>50.995445407447406</c:v>
                </c:pt>
                <c:pt idx="1618">
                  <c:v>50.995445407447406</c:v>
                </c:pt>
                <c:pt idx="1619">
                  <c:v>50.995445407447406</c:v>
                </c:pt>
                <c:pt idx="1620">
                  <c:v>50.995445407447406</c:v>
                </c:pt>
                <c:pt idx="1621">
                  <c:v>50.995445407447406</c:v>
                </c:pt>
                <c:pt idx="1622">
                  <c:v>50.995445407447406</c:v>
                </c:pt>
                <c:pt idx="1623">
                  <c:v>50.995445407447406</c:v>
                </c:pt>
                <c:pt idx="1624">
                  <c:v>50.995445407447406</c:v>
                </c:pt>
                <c:pt idx="1625">
                  <c:v>50.995445407447406</c:v>
                </c:pt>
                <c:pt idx="1626">
                  <c:v>50.995445407447406</c:v>
                </c:pt>
                <c:pt idx="1627">
                  <c:v>50.995445407447406</c:v>
                </c:pt>
                <c:pt idx="1628">
                  <c:v>50.995445407447406</c:v>
                </c:pt>
                <c:pt idx="1629">
                  <c:v>50.995445407447406</c:v>
                </c:pt>
                <c:pt idx="1630">
                  <c:v>50.995445407447406</c:v>
                </c:pt>
                <c:pt idx="1631">
                  <c:v>50.995445407447406</c:v>
                </c:pt>
                <c:pt idx="1632">
                  <c:v>50.995445407447406</c:v>
                </c:pt>
                <c:pt idx="1633">
                  <c:v>50.995445407447406</c:v>
                </c:pt>
                <c:pt idx="1634">
                  <c:v>50.995445407447406</c:v>
                </c:pt>
                <c:pt idx="1635">
                  <c:v>50.995445407447406</c:v>
                </c:pt>
                <c:pt idx="1636">
                  <c:v>50.995445407447406</c:v>
                </c:pt>
                <c:pt idx="1637">
                  <c:v>50.995445407447406</c:v>
                </c:pt>
                <c:pt idx="1638">
                  <c:v>50.995445407447406</c:v>
                </c:pt>
                <c:pt idx="1639">
                  <c:v>50.995445407447406</c:v>
                </c:pt>
                <c:pt idx="1640">
                  <c:v>50.995445407447406</c:v>
                </c:pt>
                <c:pt idx="1641">
                  <c:v>50.995445407447406</c:v>
                </c:pt>
                <c:pt idx="1642">
                  <c:v>50.995445407447406</c:v>
                </c:pt>
                <c:pt idx="1643">
                  <c:v>50.995445407447406</c:v>
                </c:pt>
                <c:pt idx="1644">
                  <c:v>50.995445407447406</c:v>
                </c:pt>
                <c:pt idx="1645">
                  <c:v>50.995445407447406</c:v>
                </c:pt>
                <c:pt idx="1646">
                  <c:v>50.995445407447406</c:v>
                </c:pt>
                <c:pt idx="1647">
                  <c:v>50.995445407447406</c:v>
                </c:pt>
                <c:pt idx="1648">
                  <c:v>50.995445407447406</c:v>
                </c:pt>
                <c:pt idx="1649">
                  <c:v>50.995445407447406</c:v>
                </c:pt>
                <c:pt idx="1650">
                  <c:v>50.995445407447406</c:v>
                </c:pt>
                <c:pt idx="1651">
                  <c:v>50.995445407447406</c:v>
                </c:pt>
                <c:pt idx="1652">
                  <c:v>50.995445407447406</c:v>
                </c:pt>
                <c:pt idx="1653">
                  <c:v>50.995445407447406</c:v>
                </c:pt>
                <c:pt idx="1654">
                  <c:v>50.995445407447406</c:v>
                </c:pt>
                <c:pt idx="1655">
                  <c:v>50.995445407447406</c:v>
                </c:pt>
                <c:pt idx="1656">
                  <c:v>50.995445407447406</c:v>
                </c:pt>
                <c:pt idx="1657">
                  <c:v>50.995445407447406</c:v>
                </c:pt>
                <c:pt idx="1658">
                  <c:v>50.995445407447406</c:v>
                </c:pt>
                <c:pt idx="1659">
                  <c:v>50.995445407447406</c:v>
                </c:pt>
                <c:pt idx="1660">
                  <c:v>50.995445407447406</c:v>
                </c:pt>
                <c:pt idx="1661">
                  <c:v>50.995445407447406</c:v>
                </c:pt>
                <c:pt idx="1662">
                  <c:v>50.995445407447406</c:v>
                </c:pt>
                <c:pt idx="1663">
                  <c:v>50.995445407447406</c:v>
                </c:pt>
                <c:pt idx="1664">
                  <c:v>50.995445407447406</c:v>
                </c:pt>
                <c:pt idx="1665">
                  <c:v>50.995445407447406</c:v>
                </c:pt>
                <c:pt idx="1666">
                  <c:v>50.995445407447406</c:v>
                </c:pt>
                <c:pt idx="1667">
                  <c:v>50.995445407447406</c:v>
                </c:pt>
                <c:pt idx="1668">
                  <c:v>50.995445407447406</c:v>
                </c:pt>
                <c:pt idx="1669">
                  <c:v>50.995445407447406</c:v>
                </c:pt>
                <c:pt idx="1670">
                  <c:v>50.995445407447406</c:v>
                </c:pt>
                <c:pt idx="1671">
                  <c:v>50.995445407447406</c:v>
                </c:pt>
                <c:pt idx="1672">
                  <c:v>50.995445407447406</c:v>
                </c:pt>
                <c:pt idx="1673">
                  <c:v>50.995445407447406</c:v>
                </c:pt>
                <c:pt idx="1674">
                  <c:v>50.995445407447406</c:v>
                </c:pt>
                <c:pt idx="1675">
                  <c:v>50.995445407447406</c:v>
                </c:pt>
                <c:pt idx="1676">
                  <c:v>50.995445407447406</c:v>
                </c:pt>
                <c:pt idx="1677">
                  <c:v>50.995445407447406</c:v>
                </c:pt>
                <c:pt idx="1678">
                  <c:v>50.995445407447406</c:v>
                </c:pt>
                <c:pt idx="1679">
                  <c:v>50.995445407447406</c:v>
                </c:pt>
                <c:pt idx="1680">
                  <c:v>50.995445407447406</c:v>
                </c:pt>
                <c:pt idx="1681">
                  <c:v>50.995445407447406</c:v>
                </c:pt>
                <c:pt idx="1682">
                  <c:v>50.995445407447406</c:v>
                </c:pt>
                <c:pt idx="1683">
                  <c:v>50.995445407447406</c:v>
                </c:pt>
                <c:pt idx="1684">
                  <c:v>50.995445407447406</c:v>
                </c:pt>
                <c:pt idx="1685">
                  <c:v>50.995445407447406</c:v>
                </c:pt>
                <c:pt idx="1686">
                  <c:v>50.995445407447406</c:v>
                </c:pt>
                <c:pt idx="1687">
                  <c:v>50.995445407447406</c:v>
                </c:pt>
                <c:pt idx="1688">
                  <c:v>50.995445407447406</c:v>
                </c:pt>
                <c:pt idx="1689">
                  <c:v>50.995445407447406</c:v>
                </c:pt>
                <c:pt idx="1690">
                  <c:v>50.995445407447406</c:v>
                </c:pt>
                <c:pt idx="1691">
                  <c:v>50.995445407447406</c:v>
                </c:pt>
                <c:pt idx="1692">
                  <c:v>50.995445407447406</c:v>
                </c:pt>
                <c:pt idx="1693">
                  <c:v>50.995445407447406</c:v>
                </c:pt>
                <c:pt idx="1694">
                  <c:v>50.995445407447406</c:v>
                </c:pt>
                <c:pt idx="1695">
                  <c:v>50.995445407447406</c:v>
                </c:pt>
                <c:pt idx="1696">
                  <c:v>50.995445407447406</c:v>
                </c:pt>
                <c:pt idx="1697">
                  <c:v>50.995445407447406</c:v>
                </c:pt>
                <c:pt idx="1698">
                  <c:v>50.995445407447406</c:v>
                </c:pt>
                <c:pt idx="1699">
                  <c:v>50.995445407447406</c:v>
                </c:pt>
                <c:pt idx="1700">
                  <c:v>50.995445407447406</c:v>
                </c:pt>
                <c:pt idx="1701">
                  <c:v>50.995445407447406</c:v>
                </c:pt>
                <c:pt idx="1702">
                  <c:v>50.995445407447406</c:v>
                </c:pt>
                <c:pt idx="1703">
                  <c:v>50.995445407447406</c:v>
                </c:pt>
                <c:pt idx="1704">
                  <c:v>50.995445407447406</c:v>
                </c:pt>
                <c:pt idx="1705">
                  <c:v>50.995445407447406</c:v>
                </c:pt>
                <c:pt idx="1706">
                  <c:v>50.995445407447406</c:v>
                </c:pt>
                <c:pt idx="1707">
                  <c:v>50.995445407447406</c:v>
                </c:pt>
                <c:pt idx="1708">
                  <c:v>50.995445407447406</c:v>
                </c:pt>
                <c:pt idx="1709">
                  <c:v>50.995445407447406</c:v>
                </c:pt>
                <c:pt idx="1710">
                  <c:v>50.995445407447406</c:v>
                </c:pt>
                <c:pt idx="1711">
                  <c:v>50.995445407447406</c:v>
                </c:pt>
                <c:pt idx="1712">
                  <c:v>50.995445407447406</c:v>
                </c:pt>
                <c:pt idx="1713">
                  <c:v>50.995445407447406</c:v>
                </c:pt>
                <c:pt idx="1714">
                  <c:v>50.995445407447406</c:v>
                </c:pt>
                <c:pt idx="1715">
                  <c:v>50.995445407447406</c:v>
                </c:pt>
                <c:pt idx="1716">
                  <c:v>50.995445407447406</c:v>
                </c:pt>
                <c:pt idx="1717">
                  <c:v>50.995445407447406</c:v>
                </c:pt>
                <c:pt idx="1718">
                  <c:v>50.995445407447406</c:v>
                </c:pt>
                <c:pt idx="1719">
                  <c:v>50.995445407447406</c:v>
                </c:pt>
                <c:pt idx="1720">
                  <c:v>50.995445407447406</c:v>
                </c:pt>
                <c:pt idx="1721">
                  <c:v>50.995445407447406</c:v>
                </c:pt>
                <c:pt idx="1722">
                  <c:v>50.995445407447406</c:v>
                </c:pt>
                <c:pt idx="1723">
                  <c:v>50.995445407447406</c:v>
                </c:pt>
                <c:pt idx="1724">
                  <c:v>50.995445407447406</c:v>
                </c:pt>
                <c:pt idx="1725">
                  <c:v>50.995445407447406</c:v>
                </c:pt>
                <c:pt idx="1726">
                  <c:v>50.995445407447406</c:v>
                </c:pt>
                <c:pt idx="1727">
                  <c:v>50.995445407447406</c:v>
                </c:pt>
                <c:pt idx="1728">
                  <c:v>50.995445407447406</c:v>
                </c:pt>
                <c:pt idx="1729">
                  <c:v>50.995445407447406</c:v>
                </c:pt>
                <c:pt idx="1730">
                  <c:v>50.995445407447406</c:v>
                </c:pt>
                <c:pt idx="1731">
                  <c:v>50.995445407447406</c:v>
                </c:pt>
                <c:pt idx="1732">
                  <c:v>50.995445407447406</c:v>
                </c:pt>
                <c:pt idx="1733">
                  <c:v>50.995445407447406</c:v>
                </c:pt>
                <c:pt idx="1734">
                  <c:v>50.995445407447406</c:v>
                </c:pt>
                <c:pt idx="1735">
                  <c:v>50.995445407447406</c:v>
                </c:pt>
                <c:pt idx="1736">
                  <c:v>50.995445407447406</c:v>
                </c:pt>
                <c:pt idx="1737">
                  <c:v>50.995445407447406</c:v>
                </c:pt>
                <c:pt idx="1738">
                  <c:v>50.995445407447406</c:v>
                </c:pt>
                <c:pt idx="1739">
                  <c:v>50.995445407447406</c:v>
                </c:pt>
                <c:pt idx="1740">
                  <c:v>50.995445407447406</c:v>
                </c:pt>
                <c:pt idx="1741">
                  <c:v>50.995445407447406</c:v>
                </c:pt>
                <c:pt idx="1742">
                  <c:v>50.995445407447406</c:v>
                </c:pt>
                <c:pt idx="1743">
                  <c:v>50.995445407447406</c:v>
                </c:pt>
                <c:pt idx="1744">
                  <c:v>50.995445407447406</c:v>
                </c:pt>
                <c:pt idx="1745">
                  <c:v>50.995445407447406</c:v>
                </c:pt>
                <c:pt idx="1746">
                  <c:v>50.995445407447406</c:v>
                </c:pt>
                <c:pt idx="1747">
                  <c:v>50.995445407447406</c:v>
                </c:pt>
                <c:pt idx="1748">
                  <c:v>50.995445407447406</c:v>
                </c:pt>
                <c:pt idx="1749">
                  <c:v>50.995445407447406</c:v>
                </c:pt>
                <c:pt idx="1750">
                  <c:v>50.995445407447406</c:v>
                </c:pt>
                <c:pt idx="1751">
                  <c:v>50.995445407447406</c:v>
                </c:pt>
                <c:pt idx="1752">
                  <c:v>50.995445407447406</c:v>
                </c:pt>
                <c:pt idx="1753">
                  <c:v>50.995445407447406</c:v>
                </c:pt>
                <c:pt idx="1754">
                  <c:v>50.995445407447406</c:v>
                </c:pt>
                <c:pt idx="1755">
                  <c:v>50.995445407447406</c:v>
                </c:pt>
                <c:pt idx="1756">
                  <c:v>50.995445407447406</c:v>
                </c:pt>
                <c:pt idx="1757">
                  <c:v>50.995445407447406</c:v>
                </c:pt>
                <c:pt idx="1758">
                  <c:v>50.995445407447406</c:v>
                </c:pt>
                <c:pt idx="1759">
                  <c:v>50.995445407447406</c:v>
                </c:pt>
                <c:pt idx="1760">
                  <c:v>50.995445407447406</c:v>
                </c:pt>
                <c:pt idx="1761">
                  <c:v>50.995445407447406</c:v>
                </c:pt>
                <c:pt idx="1762">
                  <c:v>50.995445407447406</c:v>
                </c:pt>
                <c:pt idx="1763">
                  <c:v>50.995445407447406</c:v>
                </c:pt>
                <c:pt idx="1764">
                  <c:v>50.995445407447406</c:v>
                </c:pt>
                <c:pt idx="1765">
                  <c:v>50.995445407447406</c:v>
                </c:pt>
                <c:pt idx="1766">
                  <c:v>50.995445407447406</c:v>
                </c:pt>
                <c:pt idx="1767">
                  <c:v>50.995445407447406</c:v>
                </c:pt>
                <c:pt idx="1768">
                  <c:v>50.995445407447406</c:v>
                </c:pt>
                <c:pt idx="1769">
                  <c:v>50.995445407447406</c:v>
                </c:pt>
                <c:pt idx="1770">
                  <c:v>50.995445407447406</c:v>
                </c:pt>
                <c:pt idx="1771">
                  <c:v>50.995445407447406</c:v>
                </c:pt>
                <c:pt idx="1772">
                  <c:v>50.995445407447406</c:v>
                </c:pt>
                <c:pt idx="1773">
                  <c:v>50.995445407447406</c:v>
                </c:pt>
                <c:pt idx="1774">
                  <c:v>50.995445407447406</c:v>
                </c:pt>
                <c:pt idx="1775">
                  <c:v>50.995445407447406</c:v>
                </c:pt>
                <c:pt idx="1776">
                  <c:v>50.995445407447406</c:v>
                </c:pt>
                <c:pt idx="1777">
                  <c:v>50.995445407447406</c:v>
                </c:pt>
                <c:pt idx="1778">
                  <c:v>50.995445407447406</c:v>
                </c:pt>
                <c:pt idx="1779">
                  <c:v>50.995445407447406</c:v>
                </c:pt>
                <c:pt idx="1780">
                  <c:v>50.995445407447406</c:v>
                </c:pt>
                <c:pt idx="1781">
                  <c:v>50.995445407447406</c:v>
                </c:pt>
                <c:pt idx="1782">
                  <c:v>50.995445407447406</c:v>
                </c:pt>
                <c:pt idx="1783">
                  <c:v>50.995445407447406</c:v>
                </c:pt>
                <c:pt idx="1784">
                  <c:v>50.995445407447406</c:v>
                </c:pt>
                <c:pt idx="1785">
                  <c:v>50.995445407447406</c:v>
                </c:pt>
                <c:pt idx="1786">
                  <c:v>50.995445407447406</c:v>
                </c:pt>
                <c:pt idx="1787">
                  <c:v>50.995445407447406</c:v>
                </c:pt>
                <c:pt idx="1788">
                  <c:v>50.995445407447406</c:v>
                </c:pt>
                <c:pt idx="1789">
                  <c:v>50.995445407447406</c:v>
                </c:pt>
                <c:pt idx="1790">
                  <c:v>50.995445407447406</c:v>
                </c:pt>
                <c:pt idx="1791">
                  <c:v>50.995445407447406</c:v>
                </c:pt>
                <c:pt idx="1792">
                  <c:v>50.995445407447406</c:v>
                </c:pt>
                <c:pt idx="1793">
                  <c:v>50.995445407447406</c:v>
                </c:pt>
                <c:pt idx="1794">
                  <c:v>50.995445407447406</c:v>
                </c:pt>
                <c:pt idx="1795">
                  <c:v>50.995445407447406</c:v>
                </c:pt>
                <c:pt idx="1796">
                  <c:v>50.995445407447406</c:v>
                </c:pt>
                <c:pt idx="1797">
                  <c:v>50.995445407447406</c:v>
                </c:pt>
                <c:pt idx="1798">
                  <c:v>50.995445407447406</c:v>
                </c:pt>
                <c:pt idx="1799">
                  <c:v>50.995445407447406</c:v>
                </c:pt>
                <c:pt idx="1800">
                  <c:v>50.995445407447406</c:v>
                </c:pt>
                <c:pt idx="1801">
                  <c:v>50.995445407447406</c:v>
                </c:pt>
                <c:pt idx="1802">
                  <c:v>50.995445407447406</c:v>
                </c:pt>
                <c:pt idx="1803">
                  <c:v>50.995445407447406</c:v>
                </c:pt>
                <c:pt idx="1804">
                  <c:v>50.995445407447406</c:v>
                </c:pt>
                <c:pt idx="1805">
                  <c:v>50.995445407447406</c:v>
                </c:pt>
                <c:pt idx="1806">
                  <c:v>50.995445407447406</c:v>
                </c:pt>
                <c:pt idx="1807">
                  <c:v>50.995445407447406</c:v>
                </c:pt>
                <c:pt idx="1808">
                  <c:v>50.995445407447406</c:v>
                </c:pt>
                <c:pt idx="1809">
                  <c:v>50.995445407447406</c:v>
                </c:pt>
                <c:pt idx="1810">
                  <c:v>50.995445407447406</c:v>
                </c:pt>
                <c:pt idx="1811">
                  <c:v>50.995445407447406</c:v>
                </c:pt>
                <c:pt idx="1812">
                  <c:v>50.995445407447406</c:v>
                </c:pt>
                <c:pt idx="1813">
                  <c:v>50.995445407447406</c:v>
                </c:pt>
                <c:pt idx="1814">
                  <c:v>50.995445407447406</c:v>
                </c:pt>
                <c:pt idx="1815">
                  <c:v>50.995445407447406</c:v>
                </c:pt>
                <c:pt idx="1816">
                  <c:v>50.995445407447406</c:v>
                </c:pt>
                <c:pt idx="1817">
                  <c:v>50.995445407447406</c:v>
                </c:pt>
                <c:pt idx="1818">
                  <c:v>50.995445407447406</c:v>
                </c:pt>
                <c:pt idx="1819">
                  <c:v>50.995445407447406</c:v>
                </c:pt>
                <c:pt idx="1820">
                  <c:v>50.995445407447406</c:v>
                </c:pt>
                <c:pt idx="1821">
                  <c:v>50.995445407447406</c:v>
                </c:pt>
                <c:pt idx="1822">
                  <c:v>50.995445407447406</c:v>
                </c:pt>
                <c:pt idx="1823">
                  <c:v>50.995445407447406</c:v>
                </c:pt>
                <c:pt idx="1824">
                  <c:v>50.995445407447406</c:v>
                </c:pt>
                <c:pt idx="1825">
                  <c:v>50.995445407447406</c:v>
                </c:pt>
                <c:pt idx="1826">
                  <c:v>50.995445407447406</c:v>
                </c:pt>
                <c:pt idx="1827">
                  <c:v>50.995445407447406</c:v>
                </c:pt>
                <c:pt idx="1828">
                  <c:v>50.995445407447406</c:v>
                </c:pt>
                <c:pt idx="1829">
                  <c:v>50.995445407447406</c:v>
                </c:pt>
                <c:pt idx="1830">
                  <c:v>50.995445407447406</c:v>
                </c:pt>
                <c:pt idx="1831">
                  <c:v>50.995445407447406</c:v>
                </c:pt>
                <c:pt idx="1832">
                  <c:v>50.995445407447406</c:v>
                </c:pt>
                <c:pt idx="1833">
                  <c:v>50.995445407447406</c:v>
                </c:pt>
                <c:pt idx="1834">
                  <c:v>50.995445407447406</c:v>
                </c:pt>
                <c:pt idx="1835">
                  <c:v>50.995445407447406</c:v>
                </c:pt>
                <c:pt idx="1836">
                  <c:v>50.995445407447406</c:v>
                </c:pt>
                <c:pt idx="1837">
                  <c:v>50.995445407447406</c:v>
                </c:pt>
                <c:pt idx="1838">
                  <c:v>50.995445407447406</c:v>
                </c:pt>
                <c:pt idx="1839">
                  <c:v>50.995445407447406</c:v>
                </c:pt>
                <c:pt idx="1840">
                  <c:v>50.995445407447406</c:v>
                </c:pt>
                <c:pt idx="1841">
                  <c:v>50.995445407447406</c:v>
                </c:pt>
                <c:pt idx="1842">
                  <c:v>50.995445407447406</c:v>
                </c:pt>
                <c:pt idx="1843">
                  <c:v>50.995445407447406</c:v>
                </c:pt>
                <c:pt idx="1844">
                  <c:v>50.995445407447406</c:v>
                </c:pt>
                <c:pt idx="1845">
                  <c:v>50.995445407447406</c:v>
                </c:pt>
                <c:pt idx="1846">
                  <c:v>50.995445407447406</c:v>
                </c:pt>
                <c:pt idx="1847">
                  <c:v>50.995445407447406</c:v>
                </c:pt>
                <c:pt idx="1848">
                  <c:v>50.995445407447406</c:v>
                </c:pt>
                <c:pt idx="1849">
                  <c:v>50.995445407447406</c:v>
                </c:pt>
                <c:pt idx="1850">
                  <c:v>50.995445407447406</c:v>
                </c:pt>
                <c:pt idx="1851">
                  <c:v>50.995445407447406</c:v>
                </c:pt>
                <c:pt idx="1852">
                  <c:v>50.995445407447406</c:v>
                </c:pt>
                <c:pt idx="1853">
                  <c:v>50.995445407447406</c:v>
                </c:pt>
                <c:pt idx="1854">
                  <c:v>50.995445407447406</c:v>
                </c:pt>
                <c:pt idx="1855">
                  <c:v>50.995445407447406</c:v>
                </c:pt>
                <c:pt idx="1856">
                  <c:v>50.995445407447406</c:v>
                </c:pt>
                <c:pt idx="1857">
                  <c:v>50.995445407447406</c:v>
                </c:pt>
                <c:pt idx="1858">
                  <c:v>50.995445407447406</c:v>
                </c:pt>
                <c:pt idx="1859">
                  <c:v>50.995445407447406</c:v>
                </c:pt>
                <c:pt idx="1860">
                  <c:v>50.995445407447406</c:v>
                </c:pt>
                <c:pt idx="1861">
                  <c:v>50.995445407447406</c:v>
                </c:pt>
                <c:pt idx="1862">
                  <c:v>50.995445407447406</c:v>
                </c:pt>
                <c:pt idx="1863">
                  <c:v>50.995445407447406</c:v>
                </c:pt>
                <c:pt idx="1864">
                  <c:v>50.995445407447406</c:v>
                </c:pt>
                <c:pt idx="1865">
                  <c:v>50.995445407447406</c:v>
                </c:pt>
                <c:pt idx="1866">
                  <c:v>50.995445407447406</c:v>
                </c:pt>
                <c:pt idx="1867">
                  <c:v>50.995445407447406</c:v>
                </c:pt>
                <c:pt idx="1868">
                  <c:v>50.995445407447406</c:v>
                </c:pt>
                <c:pt idx="1869">
                  <c:v>50.995445407447406</c:v>
                </c:pt>
                <c:pt idx="1870">
                  <c:v>50.995445407447406</c:v>
                </c:pt>
                <c:pt idx="1871">
                  <c:v>50.995445407447406</c:v>
                </c:pt>
                <c:pt idx="1872">
                  <c:v>50.995445407447406</c:v>
                </c:pt>
                <c:pt idx="1873">
                  <c:v>50.995445407447406</c:v>
                </c:pt>
                <c:pt idx="1874">
                  <c:v>50.995445407447406</c:v>
                </c:pt>
                <c:pt idx="1875">
                  <c:v>50.995445407447406</c:v>
                </c:pt>
                <c:pt idx="1876">
                  <c:v>50.995445407447406</c:v>
                </c:pt>
                <c:pt idx="1877">
                  <c:v>50.995445407447406</c:v>
                </c:pt>
                <c:pt idx="1878">
                  <c:v>50.995445407447406</c:v>
                </c:pt>
                <c:pt idx="1879">
                  <c:v>50.995445407447406</c:v>
                </c:pt>
                <c:pt idx="1880">
                  <c:v>50.995445407447406</c:v>
                </c:pt>
                <c:pt idx="1881">
                  <c:v>50.995445407447406</c:v>
                </c:pt>
                <c:pt idx="1882">
                  <c:v>50.995445407447406</c:v>
                </c:pt>
                <c:pt idx="1883">
                  <c:v>50.995445407447406</c:v>
                </c:pt>
                <c:pt idx="1884">
                  <c:v>50.995445407447406</c:v>
                </c:pt>
                <c:pt idx="1885">
                  <c:v>50.995445407447406</c:v>
                </c:pt>
                <c:pt idx="1886">
                  <c:v>50.995445407447406</c:v>
                </c:pt>
                <c:pt idx="1887">
                  <c:v>50.995445407447406</c:v>
                </c:pt>
                <c:pt idx="1888">
                  <c:v>50.995445407447406</c:v>
                </c:pt>
                <c:pt idx="1889">
                  <c:v>50.995445407447406</c:v>
                </c:pt>
                <c:pt idx="1890">
                  <c:v>50.995445407447406</c:v>
                </c:pt>
                <c:pt idx="1891">
                  <c:v>50.995445407447406</c:v>
                </c:pt>
                <c:pt idx="1892">
                  <c:v>50.995445407447406</c:v>
                </c:pt>
                <c:pt idx="1893">
                  <c:v>50.995445407447406</c:v>
                </c:pt>
                <c:pt idx="1894">
                  <c:v>50.995445407447406</c:v>
                </c:pt>
                <c:pt idx="1895">
                  <c:v>50.995445407447406</c:v>
                </c:pt>
                <c:pt idx="1896">
                  <c:v>50.995445407447406</c:v>
                </c:pt>
                <c:pt idx="1897">
                  <c:v>50.995445407447406</c:v>
                </c:pt>
                <c:pt idx="1898">
                  <c:v>50.995445407447406</c:v>
                </c:pt>
                <c:pt idx="1899">
                  <c:v>50.995445407447406</c:v>
                </c:pt>
                <c:pt idx="1900">
                  <c:v>50.995445407447406</c:v>
                </c:pt>
                <c:pt idx="1901">
                  <c:v>50.995445407447406</c:v>
                </c:pt>
                <c:pt idx="1902">
                  <c:v>50.995445407447406</c:v>
                </c:pt>
                <c:pt idx="1903">
                  <c:v>50.995445407447406</c:v>
                </c:pt>
                <c:pt idx="1904">
                  <c:v>50.995445407447406</c:v>
                </c:pt>
                <c:pt idx="1905">
                  <c:v>50.995445407447406</c:v>
                </c:pt>
                <c:pt idx="1906">
                  <c:v>50.995445407447406</c:v>
                </c:pt>
                <c:pt idx="1907">
                  <c:v>50.995445407447406</c:v>
                </c:pt>
                <c:pt idx="1908">
                  <c:v>50.995445407447406</c:v>
                </c:pt>
                <c:pt idx="1909">
                  <c:v>50.995445407447406</c:v>
                </c:pt>
                <c:pt idx="1910">
                  <c:v>50.995445407447406</c:v>
                </c:pt>
                <c:pt idx="1911">
                  <c:v>50.995445407447406</c:v>
                </c:pt>
                <c:pt idx="1912">
                  <c:v>50.995445407447406</c:v>
                </c:pt>
                <c:pt idx="1913">
                  <c:v>50.995445407447406</c:v>
                </c:pt>
                <c:pt idx="1914">
                  <c:v>50.995445407447406</c:v>
                </c:pt>
                <c:pt idx="1915">
                  <c:v>50.995445407447406</c:v>
                </c:pt>
                <c:pt idx="1916">
                  <c:v>50.995445407447406</c:v>
                </c:pt>
                <c:pt idx="1917">
                  <c:v>50.995445407447406</c:v>
                </c:pt>
                <c:pt idx="1918">
                  <c:v>50.995445407447406</c:v>
                </c:pt>
                <c:pt idx="1919">
                  <c:v>50.995445407447406</c:v>
                </c:pt>
                <c:pt idx="1920">
                  <c:v>50.995445407447406</c:v>
                </c:pt>
                <c:pt idx="1921">
                  <c:v>50.995445407447406</c:v>
                </c:pt>
                <c:pt idx="1922">
                  <c:v>50.995445407447406</c:v>
                </c:pt>
                <c:pt idx="1923">
                  <c:v>50.995445407447406</c:v>
                </c:pt>
                <c:pt idx="1924">
                  <c:v>50.995445407447406</c:v>
                </c:pt>
                <c:pt idx="1925">
                  <c:v>50.995445407447406</c:v>
                </c:pt>
                <c:pt idx="1926">
                  <c:v>50.995445407447406</c:v>
                </c:pt>
                <c:pt idx="1927">
                  <c:v>50.995445407447406</c:v>
                </c:pt>
                <c:pt idx="1928">
                  <c:v>50.995445407447406</c:v>
                </c:pt>
                <c:pt idx="1929">
                  <c:v>50.995445407447406</c:v>
                </c:pt>
                <c:pt idx="1930">
                  <c:v>50.995445407447406</c:v>
                </c:pt>
                <c:pt idx="1931">
                  <c:v>50.995445407447406</c:v>
                </c:pt>
                <c:pt idx="1932">
                  <c:v>50.995445407447406</c:v>
                </c:pt>
                <c:pt idx="1933">
                  <c:v>50.995445407447406</c:v>
                </c:pt>
                <c:pt idx="1934">
                  <c:v>50.995445407447406</c:v>
                </c:pt>
                <c:pt idx="1935">
                  <c:v>50.995445407447406</c:v>
                </c:pt>
                <c:pt idx="1936">
                  <c:v>50.995445407447406</c:v>
                </c:pt>
                <c:pt idx="1937">
                  <c:v>50.995445407447406</c:v>
                </c:pt>
                <c:pt idx="1938">
                  <c:v>50.995445407447406</c:v>
                </c:pt>
                <c:pt idx="1939">
                  <c:v>50.995445407447406</c:v>
                </c:pt>
                <c:pt idx="1940">
                  <c:v>50.995445407447406</c:v>
                </c:pt>
                <c:pt idx="1941">
                  <c:v>50.995445407447406</c:v>
                </c:pt>
                <c:pt idx="1942">
                  <c:v>50.995445407447406</c:v>
                </c:pt>
                <c:pt idx="1943">
                  <c:v>50.995445407447406</c:v>
                </c:pt>
                <c:pt idx="1944">
                  <c:v>50.995445407447406</c:v>
                </c:pt>
                <c:pt idx="1945">
                  <c:v>50.995445407447406</c:v>
                </c:pt>
                <c:pt idx="1946">
                  <c:v>50.995445407447406</c:v>
                </c:pt>
                <c:pt idx="1947">
                  <c:v>50.995445407447406</c:v>
                </c:pt>
                <c:pt idx="1948">
                  <c:v>50.995445407447406</c:v>
                </c:pt>
                <c:pt idx="1949">
                  <c:v>50.995445407447406</c:v>
                </c:pt>
                <c:pt idx="1950">
                  <c:v>50.995445407447406</c:v>
                </c:pt>
                <c:pt idx="1951">
                  <c:v>50.995445407447406</c:v>
                </c:pt>
                <c:pt idx="1952">
                  <c:v>50.995445407447406</c:v>
                </c:pt>
                <c:pt idx="1953">
                  <c:v>50.995445407447406</c:v>
                </c:pt>
                <c:pt idx="1954">
                  <c:v>50.995445407447406</c:v>
                </c:pt>
                <c:pt idx="1955">
                  <c:v>50.995445407447406</c:v>
                </c:pt>
                <c:pt idx="1956">
                  <c:v>50.995445407447406</c:v>
                </c:pt>
                <c:pt idx="1957">
                  <c:v>50.995445407447406</c:v>
                </c:pt>
                <c:pt idx="1958">
                  <c:v>50.995445407447406</c:v>
                </c:pt>
                <c:pt idx="1959">
                  <c:v>50.995445407447406</c:v>
                </c:pt>
                <c:pt idx="1960">
                  <c:v>50.995445407447406</c:v>
                </c:pt>
                <c:pt idx="1961">
                  <c:v>50.995445407447406</c:v>
                </c:pt>
                <c:pt idx="1962">
                  <c:v>50.995445407447406</c:v>
                </c:pt>
                <c:pt idx="1963">
                  <c:v>50.995445407447406</c:v>
                </c:pt>
                <c:pt idx="1964">
                  <c:v>50.995445407447406</c:v>
                </c:pt>
                <c:pt idx="1965">
                  <c:v>50.995445407447406</c:v>
                </c:pt>
                <c:pt idx="1966">
                  <c:v>50.995445407447406</c:v>
                </c:pt>
                <c:pt idx="1967">
                  <c:v>50.995445407447406</c:v>
                </c:pt>
                <c:pt idx="1968">
                  <c:v>50.995445407447406</c:v>
                </c:pt>
                <c:pt idx="1969">
                  <c:v>50.995445407447406</c:v>
                </c:pt>
                <c:pt idx="1970">
                  <c:v>50.995445407447406</c:v>
                </c:pt>
                <c:pt idx="1971">
                  <c:v>50.995445407447406</c:v>
                </c:pt>
                <c:pt idx="1972">
                  <c:v>50.995445407447406</c:v>
                </c:pt>
                <c:pt idx="1973">
                  <c:v>50.995445407447406</c:v>
                </c:pt>
                <c:pt idx="1974">
                  <c:v>50.995445407447406</c:v>
                </c:pt>
                <c:pt idx="1975">
                  <c:v>50.995445407447406</c:v>
                </c:pt>
                <c:pt idx="1976">
                  <c:v>50.995445407447406</c:v>
                </c:pt>
                <c:pt idx="1977">
                  <c:v>50.995445407447406</c:v>
                </c:pt>
                <c:pt idx="1978">
                  <c:v>50.995445407447406</c:v>
                </c:pt>
                <c:pt idx="1979">
                  <c:v>50.995445407447406</c:v>
                </c:pt>
                <c:pt idx="1980">
                  <c:v>50.995445407447406</c:v>
                </c:pt>
                <c:pt idx="1981">
                  <c:v>50.995445407447406</c:v>
                </c:pt>
                <c:pt idx="1982">
                  <c:v>50.995445407447406</c:v>
                </c:pt>
                <c:pt idx="1983">
                  <c:v>50.995445407447406</c:v>
                </c:pt>
                <c:pt idx="1984">
                  <c:v>50.995445407447406</c:v>
                </c:pt>
                <c:pt idx="1985">
                  <c:v>50.995445407447406</c:v>
                </c:pt>
                <c:pt idx="1986">
                  <c:v>50.995445407447406</c:v>
                </c:pt>
                <c:pt idx="1987">
                  <c:v>50.995445407447406</c:v>
                </c:pt>
                <c:pt idx="1988">
                  <c:v>50.995445407447406</c:v>
                </c:pt>
                <c:pt idx="1989">
                  <c:v>50.995445407447406</c:v>
                </c:pt>
                <c:pt idx="1990">
                  <c:v>50.995445407447406</c:v>
                </c:pt>
                <c:pt idx="1991">
                  <c:v>50.995445407447406</c:v>
                </c:pt>
                <c:pt idx="1992">
                  <c:v>50.995445407447406</c:v>
                </c:pt>
                <c:pt idx="1993">
                  <c:v>50.995445407447406</c:v>
                </c:pt>
                <c:pt idx="1994">
                  <c:v>50.995445407447406</c:v>
                </c:pt>
                <c:pt idx="1995">
                  <c:v>50.995445407447406</c:v>
                </c:pt>
                <c:pt idx="1996">
                  <c:v>50.995445407447406</c:v>
                </c:pt>
                <c:pt idx="1997">
                  <c:v>50.995445407447406</c:v>
                </c:pt>
                <c:pt idx="1998">
                  <c:v>50.995445407447406</c:v>
                </c:pt>
                <c:pt idx="1999">
                  <c:v>50.995445407447406</c:v>
                </c:pt>
                <c:pt idx="2000">
                  <c:v>50.995445407447406</c:v>
                </c:pt>
                <c:pt idx="2001">
                  <c:v>50.995445407447406</c:v>
                </c:pt>
                <c:pt idx="2002">
                  <c:v>50.995445407447406</c:v>
                </c:pt>
                <c:pt idx="2003">
                  <c:v>50.995445407447406</c:v>
                </c:pt>
                <c:pt idx="2004">
                  <c:v>50.995445407447406</c:v>
                </c:pt>
                <c:pt idx="2005">
                  <c:v>50.995445407447406</c:v>
                </c:pt>
                <c:pt idx="2006">
                  <c:v>50.995445407447406</c:v>
                </c:pt>
                <c:pt idx="2007">
                  <c:v>50.995445407447406</c:v>
                </c:pt>
                <c:pt idx="2008">
                  <c:v>50.995445407447406</c:v>
                </c:pt>
                <c:pt idx="2009">
                  <c:v>50.995445407447406</c:v>
                </c:pt>
                <c:pt idx="2010">
                  <c:v>50.995445407447406</c:v>
                </c:pt>
                <c:pt idx="2011">
                  <c:v>50.995445407447406</c:v>
                </c:pt>
                <c:pt idx="2012">
                  <c:v>50.995445407447406</c:v>
                </c:pt>
                <c:pt idx="2013">
                  <c:v>50.995445407447406</c:v>
                </c:pt>
                <c:pt idx="2014">
                  <c:v>50.995445407447406</c:v>
                </c:pt>
                <c:pt idx="2015">
                  <c:v>50.995445407447406</c:v>
                </c:pt>
                <c:pt idx="2016">
                  <c:v>50.995445407447406</c:v>
                </c:pt>
                <c:pt idx="2017">
                  <c:v>50.995445407447406</c:v>
                </c:pt>
                <c:pt idx="2018">
                  <c:v>50.995445407447406</c:v>
                </c:pt>
                <c:pt idx="2019">
                  <c:v>50.995445407447406</c:v>
                </c:pt>
                <c:pt idx="2020">
                  <c:v>50.995445407447406</c:v>
                </c:pt>
                <c:pt idx="2021">
                  <c:v>50.995445407447406</c:v>
                </c:pt>
                <c:pt idx="2022">
                  <c:v>50.995445407447406</c:v>
                </c:pt>
                <c:pt idx="2023">
                  <c:v>50.995445407447406</c:v>
                </c:pt>
                <c:pt idx="2024">
                  <c:v>50.995445407447406</c:v>
                </c:pt>
                <c:pt idx="2025">
                  <c:v>50.995445407447406</c:v>
                </c:pt>
                <c:pt idx="2026">
                  <c:v>50.995445407447406</c:v>
                </c:pt>
                <c:pt idx="2027">
                  <c:v>50.995445407447406</c:v>
                </c:pt>
                <c:pt idx="2028">
                  <c:v>50.995445407447406</c:v>
                </c:pt>
                <c:pt idx="2029">
                  <c:v>50.995445407447406</c:v>
                </c:pt>
                <c:pt idx="2030">
                  <c:v>50.995445407447406</c:v>
                </c:pt>
                <c:pt idx="2031">
                  <c:v>50.995445407447406</c:v>
                </c:pt>
                <c:pt idx="2032">
                  <c:v>50.995445407447406</c:v>
                </c:pt>
                <c:pt idx="2033">
                  <c:v>50.995445407447406</c:v>
                </c:pt>
                <c:pt idx="2034">
                  <c:v>50.995445407447406</c:v>
                </c:pt>
                <c:pt idx="2035">
                  <c:v>50.995445407447406</c:v>
                </c:pt>
                <c:pt idx="2036">
                  <c:v>50.995445407447406</c:v>
                </c:pt>
                <c:pt idx="2037">
                  <c:v>50.995445407447406</c:v>
                </c:pt>
                <c:pt idx="2038">
                  <c:v>50.995445407447406</c:v>
                </c:pt>
                <c:pt idx="2039">
                  <c:v>50.995445407447406</c:v>
                </c:pt>
                <c:pt idx="2040">
                  <c:v>50.995445407447406</c:v>
                </c:pt>
                <c:pt idx="2041">
                  <c:v>50.995445407447406</c:v>
                </c:pt>
                <c:pt idx="2042">
                  <c:v>50.995445407447406</c:v>
                </c:pt>
                <c:pt idx="2043">
                  <c:v>50.995445407447406</c:v>
                </c:pt>
                <c:pt idx="2044">
                  <c:v>50.995445407447406</c:v>
                </c:pt>
                <c:pt idx="2045">
                  <c:v>50.995445407447406</c:v>
                </c:pt>
                <c:pt idx="2046">
                  <c:v>50.995445407447406</c:v>
                </c:pt>
                <c:pt idx="2047">
                  <c:v>50.995445407447406</c:v>
                </c:pt>
                <c:pt idx="2048">
                  <c:v>50.995445407447406</c:v>
                </c:pt>
                <c:pt idx="2049">
                  <c:v>50.995445407447406</c:v>
                </c:pt>
                <c:pt idx="2050">
                  <c:v>50.995445407447406</c:v>
                </c:pt>
                <c:pt idx="2051">
                  <c:v>50.995445407447406</c:v>
                </c:pt>
                <c:pt idx="2052">
                  <c:v>50.995445407447406</c:v>
                </c:pt>
                <c:pt idx="2053">
                  <c:v>50.995445407447406</c:v>
                </c:pt>
                <c:pt idx="2054">
                  <c:v>50.995445407447406</c:v>
                </c:pt>
                <c:pt idx="2055">
                  <c:v>50.995445407447406</c:v>
                </c:pt>
                <c:pt idx="2056">
                  <c:v>50.995445407447406</c:v>
                </c:pt>
                <c:pt idx="2057">
                  <c:v>50.995445407447406</c:v>
                </c:pt>
                <c:pt idx="2058">
                  <c:v>50.995445407447406</c:v>
                </c:pt>
                <c:pt idx="2059">
                  <c:v>50.995445407447406</c:v>
                </c:pt>
                <c:pt idx="2060">
                  <c:v>50.995445407447406</c:v>
                </c:pt>
                <c:pt idx="2061">
                  <c:v>50.995445407447406</c:v>
                </c:pt>
                <c:pt idx="2062">
                  <c:v>50.995445407447406</c:v>
                </c:pt>
                <c:pt idx="2063">
                  <c:v>50.995445407447406</c:v>
                </c:pt>
                <c:pt idx="2064">
                  <c:v>50.995445407447406</c:v>
                </c:pt>
                <c:pt idx="2065">
                  <c:v>50.995445407447406</c:v>
                </c:pt>
                <c:pt idx="2066">
                  <c:v>50.995445407447406</c:v>
                </c:pt>
                <c:pt idx="2067">
                  <c:v>50.995445407447406</c:v>
                </c:pt>
                <c:pt idx="2068">
                  <c:v>50.995445407447406</c:v>
                </c:pt>
                <c:pt idx="2069">
                  <c:v>50.995445407447406</c:v>
                </c:pt>
                <c:pt idx="2070">
                  <c:v>50.995445407447406</c:v>
                </c:pt>
                <c:pt idx="2071">
                  <c:v>50.995445407447406</c:v>
                </c:pt>
                <c:pt idx="2072">
                  <c:v>50.995445407447406</c:v>
                </c:pt>
                <c:pt idx="2073">
                  <c:v>50.995445407447406</c:v>
                </c:pt>
                <c:pt idx="2074">
                  <c:v>50.995445407447406</c:v>
                </c:pt>
                <c:pt idx="2075">
                  <c:v>50.995445407447406</c:v>
                </c:pt>
                <c:pt idx="2076">
                  <c:v>50.995445407447406</c:v>
                </c:pt>
                <c:pt idx="2077">
                  <c:v>50.995445407447406</c:v>
                </c:pt>
                <c:pt idx="2078">
                  <c:v>50.995445407447406</c:v>
                </c:pt>
                <c:pt idx="2079">
                  <c:v>50.995445407447406</c:v>
                </c:pt>
                <c:pt idx="2080">
                  <c:v>50.995445407447406</c:v>
                </c:pt>
                <c:pt idx="2081">
                  <c:v>50.995445407447406</c:v>
                </c:pt>
                <c:pt idx="2082">
                  <c:v>50.995445407447406</c:v>
                </c:pt>
                <c:pt idx="2083">
                  <c:v>50.995445407447406</c:v>
                </c:pt>
                <c:pt idx="2084">
                  <c:v>50.995445407447406</c:v>
                </c:pt>
                <c:pt idx="2085">
                  <c:v>50.995445407447406</c:v>
                </c:pt>
                <c:pt idx="2086">
                  <c:v>50.995445407447406</c:v>
                </c:pt>
                <c:pt idx="2087">
                  <c:v>50.995445407447406</c:v>
                </c:pt>
                <c:pt idx="2088">
                  <c:v>50.995445407447406</c:v>
                </c:pt>
                <c:pt idx="2089">
                  <c:v>50.995445407447406</c:v>
                </c:pt>
                <c:pt idx="2090">
                  <c:v>50.995445407447406</c:v>
                </c:pt>
                <c:pt idx="2091">
                  <c:v>50.995445407447406</c:v>
                </c:pt>
                <c:pt idx="2092">
                  <c:v>50.995445407447406</c:v>
                </c:pt>
                <c:pt idx="2093">
                  <c:v>50.995445407447406</c:v>
                </c:pt>
                <c:pt idx="2094">
                  <c:v>50.995445407447406</c:v>
                </c:pt>
                <c:pt idx="2095">
                  <c:v>50.995445407447406</c:v>
                </c:pt>
                <c:pt idx="2096">
                  <c:v>50.995445407447406</c:v>
                </c:pt>
                <c:pt idx="2097">
                  <c:v>50.995445407447406</c:v>
                </c:pt>
                <c:pt idx="2098">
                  <c:v>50.995445407447406</c:v>
                </c:pt>
                <c:pt idx="2099">
                  <c:v>50.995445407447406</c:v>
                </c:pt>
                <c:pt idx="2100">
                  <c:v>50.995445407447406</c:v>
                </c:pt>
                <c:pt idx="2101">
                  <c:v>50.995445407447406</c:v>
                </c:pt>
                <c:pt idx="2102">
                  <c:v>50.995445407447406</c:v>
                </c:pt>
                <c:pt idx="2103">
                  <c:v>50.995445407447406</c:v>
                </c:pt>
                <c:pt idx="2104">
                  <c:v>50.995445407447406</c:v>
                </c:pt>
                <c:pt idx="2105">
                  <c:v>50.995445407447406</c:v>
                </c:pt>
                <c:pt idx="2106">
                  <c:v>50.995445407447406</c:v>
                </c:pt>
                <c:pt idx="2107">
                  <c:v>50.995445407447406</c:v>
                </c:pt>
                <c:pt idx="2108">
                  <c:v>50.995445407447406</c:v>
                </c:pt>
                <c:pt idx="2109">
                  <c:v>50.995445407447406</c:v>
                </c:pt>
                <c:pt idx="2110">
                  <c:v>50.995445407447406</c:v>
                </c:pt>
                <c:pt idx="2111">
                  <c:v>50.995445407447406</c:v>
                </c:pt>
                <c:pt idx="2112">
                  <c:v>50.995445407447406</c:v>
                </c:pt>
                <c:pt idx="2113">
                  <c:v>50.995445407447406</c:v>
                </c:pt>
                <c:pt idx="2114">
                  <c:v>50.995445407447406</c:v>
                </c:pt>
                <c:pt idx="2115">
                  <c:v>50.995445407447406</c:v>
                </c:pt>
                <c:pt idx="2116">
                  <c:v>50.995445407447406</c:v>
                </c:pt>
                <c:pt idx="2117">
                  <c:v>50.995445407447406</c:v>
                </c:pt>
                <c:pt idx="2118">
                  <c:v>50.995445407447406</c:v>
                </c:pt>
                <c:pt idx="2119">
                  <c:v>50.995445407447406</c:v>
                </c:pt>
                <c:pt idx="2120">
                  <c:v>50.995445407447406</c:v>
                </c:pt>
                <c:pt idx="2121">
                  <c:v>50.995445407447406</c:v>
                </c:pt>
                <c:pt idx="2122">
                  <c:v>50.995445407447406</c:v>
                </c:pt>
                <c:pt idx="2123">
                  <c:v>50.995445407447406</c:v>
                </c:pt>
                <c:pt idx="2124">
                  <c:v>50.995445407447406</c:v>
                </c:pt>
                <c:pt idx="2125">
                  <c:v>50.995445407447406</c:v>
                </c:pt>
                <c:pt idx="2126">
                  <c:v>50.995445407447406</c:v>
                </c:pt>
                <c:pt idx="2127">
                  <c:v>50.995445407447406</c:v>
                </c:pt>
                <c:pt idx="2128">
                  <c:v>50.995445407447406</c:v>
                </c:pt>
                <c:pt idx="2129">
                  <c:v>50.995445407447406</c:v>
                </c:pt>
                <c:pt idx="2130">
                  <c:v>50.995445407447406</c:v>
                </c:pt>
                <c:pt idx="2131">
                  <c:v>50.995445407447406</c:v>
                </c:pt>
                <c:pt idx="2132">
                  <c:v>50.995445407447406</c:v>
                </c:pt>
                <c:pt idx="2133">
                  <c:v>50.995445407447406</c:v>
                </c:pt>
                <c:pt idx="2134">
                  <c:v>50.995445407447406</c:v>
                </c:pt>
                <c:pt idx="2135">
                  <c:v>50.995445407447406</c:v>
                </c:pt>
                <c:pt idx="2136">
                  <c:v>50.995445407447406</c:v>
                </c:pt>
                <c:pt idx="2137">
                  <c:v>50.995445407447406</c:v>
                </c:pt>
                <c:pt idx="2138">
                  <c:v>47.445748306022367</c:v>
                </c:pt>
                <c:pt idx="2139">
                  <c:v>47.386441120639837</c:v>
                </c:pt>
                <c:pt idx="2140">
                  <c:v>40.403383763185936</c:v>
                </c:pt>
                <c:pt idx="2141">
                  <c:v>40.352879533481953</c:v>
                </c:pt>
                <c:pt idx="2142">
                  <c:v>40.302438434065103</c:v>
                </c:pt>
                <c:pt idx="2143">
                  <c:v>40.302438434065103</c:v>
                </c:pt>
                <c:pt idx="2144">
                  <c:v>41.193070417549819</c:v>
                </c:pt>
                <c:pt idx="2145">
                  <c:v>41.14157907952788</c:v>
                </c:pt>
                <c:pt idx="2146">
                  <c:v>40.446425711336353</c:v>
                </c:pt>
                <c:pt idx="2147">
                  <c:v>40.395867679197181</c:v>
                </c:pt>
                <c:pt idx="2148">
                  <c:v>40.345372844598188</c:v>
                </c:pt>
                <c:pt idx="2149">
                  <c:v>40.345372844598188</c:v>
                </c:pt>
                <c:pt idx="2150">
                  <c:v>40.345372844598188</c:v>
                </c:pt>
                <c:pt idx="2151">
                  <c:v>40.345372844598188</c:v>
                </c:pt>
                <c:pt idx="2152">
                  <c:v>40.345372844598188</c:v>
                </c:pt>
                <c:pt idx="2153">
                  <c:v>40.345372844598188</c:v>
                </c:pt>
                <c:pt idx="2154">
                  <c:v>40.345372844598188</c:v>
                </c:pt>
                <c:pt idx="2155">
                  <c:v>40.345372844598188</c:v>
                </c:pt>
                <c:pt idx="2156">
                  <c:v>40.345372844598188</c:v>
                </c:pt>
                <c:pt idx="2157">
                  <c:v>40.345372844598188</c:v>
                </c:pt>
                <c:pt idx="2158">
                  <c:v>40.345372844598188</c:v>
                </c:pt>
                <c:pt idx="2159">
                  <c:v>40.345372844598188</c:v>
                </c:pt>
                <c:pt idx="2160">
                  <c:v>40.345372844598188</c:v>
                </c:pt>
                <c:pt idx="2161">
                  <c:v>40.345372844598188</c:v>
                </c:pt>
                <c:pt idx="2162">
                  <c:v>40.345372844598188</c:v>
                </c:pt>
                <c:pt idx="2163">
                  <c:v>40.345372844598188</c:v>
                </c:pt>
                <c:pt idx="2164">
                  <c:v>40.345372844598188</c:v>
                </c:pt>
                <c:pt idx="2165">
                  <c:v>40.345372844598188</c:v>
                </c:pt>
                <c:pt idx="2166">
                  <c:v>40.345372844598188</c:v>
                </c:pt>
                <c:pt idx="2167">
                  <c:v>40.345372844598188</c:v>
                </c:pt>
                <c:pt idx="2168">
                  <c:v>40.345372844598188</c:v>
                </c:pt>
                <c:pt idx="2169">
                  <c:v>40.345372844598188</c:v>
                </c:pt>
                <c:pt idx="2170">
                  <c:v>40.345372844598188</c:v>
                </c:pt>
                <c:pt idx="2171">
                  <c:v>40.345372844598188</c:v>
                </c:pt>
                <c:pt idx="2172">
                  <c:v>40.345372844598188</c:v>
                </c:pt>
                <c:pt idx="2173">
                  <c:v>40.345372844598188</c:v>
                </c:pt>
                <c:pt idx="2174">
                  <c:v>40.345372844598188</c:v>
                </c:pt>
                <c:pt idx="2175">
                  <c:v>40.345372844598188</c:v>
                </c:pt>
                <c:pt idx="2176">
                  <c:v>40.345372844598188</c:v>
                </c:pt>
                <c:pt idx="2177">
                  <c:v>40.345372844598188</c:v>
                </c:pt>
                <c:pt idx="2178">
                  <c:v>40.345372844598188</c:v>
                </c:pt>
                <c:pt idx="2179">
                  <c:v>40.345372844598188</c:v>
                </c:pt>
                <c:pt idx="2180">
                  <c:v>37.954322995013229</c:v>
                </c:pt>
                <c:pt idx="2181">
                  <c:v>37.906880091269464</c:v>
                </c:pt>
                <c:pt idx="2182">
                  <c:v>37.859496491155376</c:v>
                </c:pt>
                <c:pt idx="2183">
                  <c:v>37.859496491155376</c:v>
                </c:pt>
                <c:pt idx="2184">
                  <c:v>37.859496491155376</c:v>
                </c:pt>
                <c:pt idx="2185">
                  <c:v>38.814534513435966</c:v>
                </c:pt>
                <c:pt idx="2186">
                  <c:v>39.303557339416493</c:v>
                </c:pt>
                <c:pt idx="2187">
                  <c:v>39.307703045526807</c:v>
                </c:pt>
                <c:pt idx="2188">
                  <c:v>38.955077004712976</c:v>
                </c:pt>
                <c:pt idx="2189">
                  <c:v>38.955077004712976</c:v>
                </c:pt>
                <c:pt idx="2190">
                  <c:v>38.906383158457089</c:v>
                </c:pt>
                <c:pt idx="2191">
                  <c:v>38.906383158457089</c:v>
                </c:pt>
                <c:pt idx="2192">
                  <c:v>38.906383158457089</c:v>
                </c:pt>
                <c:pt idx="2193">
                  <c:v>40.216996902989507</c:v>
                </c:pt>
                <c:pt idx="2194">
                  <c:v>40.16672565686077</c:v>
                </c:pt>
                <c:pt idx="2195">
                  <c:v>40.116517249789695</c:v>
                </c:pt>
                <c:pt idx="2196">
                  <c:v>40.116517249789695</c:v>
                </c:pt>
                <c:pt idx="2197">
                  <c:v>40.116517249789695</c:v>
                </c:pt>
                <c:pt idx="2198">
                  <c:v>40.116517249789695</c:v>
                </c:pt>
                <c:pt idx="2199">
                  <c:v>40.116517249789695</c:v>
                </c:pt>
                <c:pt idx="2200">
                  <c:v>40.116517249789695</c:v>
                </c:pt>
                <c:pt idx="2201">
                  <c:v>40.116517249789695</c:v>
                </c:pt>
                <c:pt idx="2202">
                  <c:v>40.116517249789695</c:v>
                </c:pt>
                <c:pt idx="2203">
                  <c:v>40.116517249789695</c:v>
                </c:pt>
                <c:pt idx="2204">
                  <c:v>40.116517249789695</c:v>
                </c:pt>
                <c:pt idx="2205">
                  <c:v>40.116517249789695</c:v>
                </c:pt>
                <c:pt idx="2206">
                  <c:v>40.116517249789695</c:v>
                </c:pt>
                <c:pt idx="2207">
                  <c:v>40.116517249789695</c:v>
                </c:pt>
                <c:pt idx="2208">
                  <c:v>40.116517249789695</c:v>
                </c:pt>
                <c:pt idx="2209">
                  <c:v>40.116517249789695</c:v>
                </c:pt>
                <c:pt idx="2210">
                  <c:v>40.116517249789695</c:v>
                </c:pt>
                <c:pt idx="2211">
                  <c:v>40.116517249789695</c:v>
                </c:pt>
                <c:pt idx="2212">
                  <c:v>40.116517249789695</c:v>
                </c:pt>
                <c:pt idx="2213">
                  <c:v>40.116517249789695</c:v>
                </c:pt>
                <c:pt idx="2214">
                  <c:v>40.116517249789695</c:v>
                </c:pt>
                <c:pt idx="2215">
                  <c:v>40.116517249789695</c:v>
                </c:pt>
                <c:pt idx="2216">
                  <c:v>40.116517249789695</c:v>
                </c:pt>
                <c:pt idx="2217">
                  <c:v>40.116517249789695</c:v>
                </c:pt>
                <c:pt idx="2218">
                  <c:v>40.116517249789695</c:v>
                </c:pt>
                <c:pt idx="2219">
                  <c:v>40.116517249789695</c:v>
                </c:pt>
                <c:pt idx="2220">
                  <c:v>40.116517249789695</c:v>
                </c:pt>
                <c:pt idx="2221">
                  <c:v>40.116517249789695</c:v>
                </c:pt>
                <c:pt idx="2222">
                  <c:v>40.116517249789695</c:v>
                </c:pt>
                <c:pt idx="2223">
                  <c:v>40.116517249789695</c:v>
                </c:pt>
                <c:pt idx="2224">
                  <c:v>40.251427374988793</c:v>
                </c:pt>
                <c:pt idx="2225">
                  <c:v>40.201113090770058</c:v>
                </c:pt>
                <c:pt idx="2226">
                  <c:v>39.77129191351505</c:v>
                </c:pt>
                <c:pt idx="2227">
                  <c:v>38.628207023314388</c:v>
                </c:pt>
                <c:pt idx="2228">
                  <c:v>38.628207023314388</c:v>
                </c:pt>
                <c:pt idx="2229">
                  <c:v>38.57992176453525</c:v>
                </c:pt>
                <c:pt idx="2230">
                  <c:v>38.57992176453525</c:v>
                </c:pt>
                <c:pt idx="2231">
                  <c:v>38.57992176453525</c:v>
                </c:pt>
                <c:pt idx="2232">
                  <c:v>38.57992176453525</c:v>
                </c:pt>
                <c:pt idx="2233">
                  <c:v>38.57992176453525</c:v>
                </c:pt>
                <c:pt idx="2234">
                  <c:v>38.57992176453525</c:v>
                </c:pt>
                <c:pt idx="2235">
                  <c:v>38.57992176453525</c:v>
                </c:pt>
                <c:pt idx="2236">
                  <c:v>38.57992176453525</c:v>
                </c:pt>
                <c:pt idx="2237">
                  <c:v>38.57992176453525</c:v>
                </c:pt>
                <c:pt idx="2238">
                  <c:v>38.57992176453525</c:v>
                </c:pt>
                <c:pt idx="2239">
                  <c:v>38.57992176453525</c:v>
                </c:pt>
                <c:pt idx="2240">
                  <c:v>38.575433310561365</c:v>
                </c:pt>
                <c:pt idx="2241">
                  <c:v>41.462283860622549</c:v>
                </c:pt>
                <c:pt idx="2242">
                  <c:v>41.462283860622549</c:v>
                </c:pt>
                <c:pt idx="2243">
                  <c:v>41.410456005796775</c:v>
                </c:pt>
                <c:pt idx="2244">
                  <c:v>41.410456005796775</c:v>
                </c:pt>
                <c:pt idx="2245">
                  <c:v>41.410456005796775</c:v>
                </c:pt>
                <c:pt idx="2246">
                  <c:v>41.410456005796775</c:v>
                </c:pt>
                <c:pt idx="2247">
                  <c:v>41.410456005796775</c:v>
                </c:pt>
                <c:pt idx="2248">
                  <c:v>41.410456005796775</c:v>
                </c:pt>
                <c:pt idx="2249">
                  <c:v>41.410456005796775</c:v>
                </c:pt>
                <c:pt idx="2250">
                  <c:v>41.410456005796775</c:v>
                </c:pt>
                <c:pt idx="2251">
                  <c:v>41.410456005796775</c:v>
                </c:pt>
                <c:pt idx="2252">
                  <c:v>41.410456005796775</c:v>
                </c:pt>
                <c:pt idx="2253">
                  <c:v>41.410456005796775</c:v>
                </c:pt>
                <c:pt idx="2254">
                  <c:v>41.410456005796775</c:v>
                </c:pt>
                <c:pt idx="2255">
                  <c:v>41.410456005796775</c:v>
                </c:pt>
                <c:pt idx="2256">
                  <c:v>41.410456005796775</c:v>
                </c:pt>
                <c:pt idx="2257">
                  <c:v>41.410456005796775</c:v>
                </c:pt>
                <c:pt idx="2258">
                  <c:v>41.410456005796775</c:v>
                </c:pt>
                <c:pt idx="2259">
                  <c:v>41.410456005796775</c:v>
                </c:pt>
                <c:pt idx="2260">
                  <c:v>41.410456005796775</c:v>
                </c:pt>
                <c:pt idx="2261">
                  <c:v>41.410456005796775</c:v>
                </c:pt>
                <c:pt idx="2262">
                  <c:v>41.410456005796775</c:v>
                </c:pt>
                <c:pt idx="2263">
                  <c:v>41.410456005796775</c:v>
                </c:pt>
                <c:pt idx="2264">
                  <c:v>41.410456005796775</c:v>
                </c:pt>
                <c:pt idx="2265">
                  <c:v>41.410456005796775</c:v>
                </c:pt>
                <c:pt idx="2266">
                  <c:v>41.410456005796775</c:v>
                </c:pt>
                <c:pt idx="2267">
                  <c:v>41.410456005796775</c:v>
                </c:pt>
                <c:pt idx="2268">
                  <c:v>41.410456005796775</c:v>
                </c:pt>
                <c:pt idx="2269">
                  <c:v>41.410456005796775</c:v>
                </c:pt>
                <c:pt idx="2270">
                  <c:v>41.410456005796775</c:v>
                </c:pt>
                <c:pt idx="2271">
                  <c:v>41.410456005796775</c:v>
                </c:pt>
                <c:pt idx="2272">
                  <c:v>41.410456005796775</c:v>
                </c:pt>
                <c:pt idx="2273">
                  <c:v>41.410456005796775</c:v>
                </c:pt>
                <c:pt idx="2274">
                  <c:v>41.410456005796775</c:v>
                </c:pt>
                <c:pt idx="2275">
                  <c:v>41.410456005796775</c:v>
                </c:pt>
                <c:pt idx="2276">
                  <c:v>41.410456005796775</c:v>
                </c:pt>
                <c:pt idx="2277">
                  <c:v>41.410456005796775</c:v>
                </c:pt>
                <c:pt idx="2278">
                  <c:v>41.410456005796775</c:v>
                </c:pt>
                <c:pt idx="2279">
                  <c:v>41.410456005796775</c:v>
                </c:pt>
                <c:pt idx="2280">
                  <c:v>41.410456005796775</c:v>
                </c:pt>
                <c:pt idx="2281">
                  <c:v>41.410456005796775</c:v>
                </c:pt>
                <c:pt idx="2282">
                  <c:v>41.410456005796775</c:v>
                </c:pt>
                <c:pt idx="2283">
                  <c:v>41.410456005796775</c:v>
                </c:pt>
                <c:pt idx="2284">
                  <c:v>41.410456005796775</c:v>
                </c:pt>
                <c:pt idx="2285">
                  <c:v>41.410456005796775</c:v>
                </c:pt>
                <c:pt idx="2286">
                  <c:v>41.410456005796775</c:v>
                </c:pt>
                <c:pt idx="2287">
                  <c:v>41.410456005796775</c:v>
                </c:pt>
                <c:pt idx="2288">
                  <c:v>41.410456005796775</c:v>
                </c:pt>
                <c:pt idx="2289">
                  <c:v>41.410456005796775</c:v>
                </c:pt>
                <c:pt idx="2290">
                  <c:v>41.410456005796775</c:v>
                </c:pt>
                <c:pt idx="2291">
                  <c:v>41.410456005796775</c:v>
                </c:pt>
                <c:pt idx="2292">
                  <c:v>41.410456005796775</c:v>
                </c:pt>
                <c:pt idx="2293">
                  <c:v>41.410456005796775</c:v>
                </c:pt>
                <c:pt idx="2294">
                  <c:v>41.410456005796775</c:v>
                </c:pt>
                <c:pt idx="2295">
                  <c:v>41.410456005796775</c:v>
                </c:pt>
                <c:pt idx="2296">
                  <c:v>41.410456005796775</c:v>
                </c:pt>
                <c:pt idx="2297">
                  <c:v>41.410456005796775</c:v>
                </c:pt>
                <c:pt idx="2298">
                  <c:v>41.410456005796775</c:v>
                </c:pt>
                <c:pt idx="2299">
                  <c:v>41.410456005796775</c:v>
                </c:pt>
                <c:pt idx="2300">
                  <c:v>41.410456005796775</c:v>
                </c:pt>
                <c:pt idx="2301">
                  <c:v>41.410456005796775</c:v>
                </c:pt>
                <c:pt idx="2302">
                  <c:v>41.410456005796775</c:v>
                </c:pt>
                <c:pt idx="2303">
                  <c:v>41.410456005796775</c:v>
                </c:pt>
                <c:pt idx="2304">
                  <c:v>41.410456005796775</c:v>
                </c:pt>
                <c:pt idx="2305">
                  <c:v>41.410456005796775</c:v>
                </c:pt>
                <c:pt idx="2306">
                  <c:v>41.410456005796775</c:v>
                </c:pt>
                <c:pt idx="2307">
                  <c:v>41.410456005796775</c:v>
                </c:pt>
                <c:pt idx="2308">
                  <c:v>41.410456005796775</c:v>
                </c:pt>
                <c:pt idx="2309">
                  <c:v>41.410456005796775</c:v>
                </c:pt>
                <c:pt idx="2310">
                  <c:v>41.410456005796775</c:v>
                </c:pt>
                <c:pt idx="2311">
                  <c:v>41.410456005796775</c:v>
                </c:pt>
                <c:pt idx="2312">
                  <c:v>41.410456005796775</c:v>
                </c:pt>
                <c:pt idx="2313">
                  <c:v>41.410456005796775</c:v>
                </c:pt>
                <c:pt idx="2314">
                  <c:v>41.410456005796775</c:v>
                </c:pt>
                <c:pt idx="2315">
                  <c:v>41.410456005796775</c:v>
                </c:pt>
                <c:pt idx="2316">
                  <c:v>41.410456005796775</c:v>
                </c:pt>
                <c:pt idx="2317">
                  <c:v>41.410456005796775</c:v>
                </c:pt>
                <c:pt idx="2318">
                  <c:v>41.410456005796775</c:v>
                </c:pt>
                <c:pt idx="2319">
                  <c:v>41.410456005796775</c:v>
                </c:pt>
                <c:pt idx="2320">
                  <c:v>41.410456005796775</c:v>
                </c:pt>
                <c:pt idx="2321">
                  <c:v>41.410456005796775</c:v>
                </c:pt>
                <c:pt idx="2322">
                  <c:v>41.410456005796775</c:v>
                </c:pt>
                <c:pt idx="2323">
                  <c:v>41.410456005796775</c:v>
                </c:pt>
                <c:pt idx="2324">
                  <c:v>41.410456005796775</c:v>
                </c:pt>
                <c:pt idx="2325">
                  <c:v>41.410456005796775</c:v>
                </c:pt>
                <c:pt idx="2326">
                  <c:v>41.410456005796775</c:v>
                </c:pt>
                <c:pt idx="2327">
                  <c:v>41.410456005796775</c:v>
                </c:pt>
                <c:pt idx="2328">
                  <c:v>41.410456005796775</c:v>
                </c:pt>
                <c:pt idx="2329">
                  <c:v>41.410456005796775</c:v>
                </c:pt>
                <c:pt idx="2330">
                  <c:v>41.410456005796775</c:v>
                </c:pt>
                <c:pt idx="2331">
                  <c:v>41.410456005796775</c:v>
                </c:pt>
                <c:pt idx="2332">
                  <c:v>41.410456005796775</c:v>
                </c:pt>
                <c:pt idx="2333">
                  <c:v>41.410456005796775</c:v>
                </c:pt>
                <c:pt idx="2334">
                  <c:v>41.410456005796775</c:v>
                </c:pt>
                <c:pt idx="2335">
                  <c:v>41.410456005796775</c:v>
                </c:pt>
                <c:pt idx="2336">
                  <c:v>41.410456005796775</c:v>
                </c:pt>
                <c:pt idx="2337">
                  <c:v>41.410456005796775</c:v>
                </c:pt>
                <c:pt idx="2338">
                  <c:v>41.410456005796775</c:v>
                </c:pt>
                <c:pt idx="2339">
                  <c:v>41.410456005796775</c:v>
                </c:pt>
                <c:pt idx="2340">
                  <c:v>41.410456005796775</c:v>
                </c:pt>
                <c:pt idx="2341">
                  <c:v>41.410456005796775</c:v>
                </c:pt>
                <c:pt idx="2342">
                  <c:v>41.410456005796775</c:v>
                </c:pt>
                <c:pt idx="2343">
                  <c:v>41.410456005796775</c:v>
                </c:pt>
                <c:pt idx="2344">
                  <c:v>41.410456005796775</c:v>
                </c:pt>
                <c:pt idx="2345">
                  <c:v>41.410456005796775</c:v>
                </c:pt>
                <c:pt idx="2346">
                  <c:v>41.410456005796775</c:v>
                </c:pt>
                <c:pt idx="2347">
                  <c:v>41.410456005796775</c:v>
                </c:pt>
                <c:pt idx="2348">
                  <c:v>41.410456005796775</c:v>
                </c:pt>
                <c:pt idx="2349">
                  <c:v>41.410456005796775</c:v>
                </c:pt>
                <c:pt idx="2350">
                  <c:v>41.410456005796775</c:v>
                </c:pt>
                <c:pt idx="2351">
                  <c:v>41.410456005796775</c:v>
                </c:pt>
                <c:pt idx="2352">
                  <c:v>41.410456005796775</c:v>
                </c:pt>
                <c:pt idx="2353">
                  <c:v>41.410456005796775</c:v>
                </c:pt>
                <c:pt idx="2354">
                  <c:v>41.410456005796775</c:v>
                </c:pt>
                <c:pt idx="2355">
                  <c:v>41.410456005796775</c:v>
                </c:pt>
                <c:pt idx="2356">
                  <c:v>41.410456005796775</c:v>
                </c:pt>
                <c:pt idx="2357">
                  <c:v>41.410456005796775</c:v>
                </c:pt>
                <c:pt idx="2358">
                  <c:v>41.410456005796775</c:v>
                </c:pt>
                <c:pt idx="2359">
                  <c:v>41.410456005796775</c:v>
                </c:pt>
                <c:pt idx="2360">
                  <c:v>41.410456005796775</c:v>
                </c:pt>
                <c:pt idx="2361">
                  <c:v>36.574396378078028</c:v>
                </c:pt>
                <c:pt idx="2362">
                  <c:v>36.528678382605435</c:v>
                </c:pt>
                <c:pt idx="2363">
                  <c:v>36.963609749771308</c:v>
                </c:pt>
                <c:pt idx="2364">
                  <c:v>35.887805020147347</c:v>
                </c:pt>
                <c:pt idx="2365">
                  <c:v>35.887805020147347</c:v>
                </c:pt>
                <c:pt idx="2366">
                  <c:v>35.842945263872167</c:v>
                </c:pt>
                <c:pt idx="2367">
                  <c:v>35.597973632494359</c:v>
                </c:pt>
                <c:pt idx="2368">
                  <c:v>35.553476165453745</c:v>
                </c:pt>
                <c:pt idx="2369">
                  <c:v>35.509034320246926</c:v>
                </c:pt>
                <c:pt idx="2370">
                  <c:v>35.509034320246926</c:v>
                </c:pt>
                <c:pt idx="2371">
                  <c:v>35.509034320246926</c:v>
                </c:pt>
                <c:pt idx="2372">
                  <c:v>35.509034320246926</c:v>
                </c:pt>
                <c:pt idx="2373">
                  <c:v>35.509034320246926</c:v>
                </c:pt>
                <c:pt idx="2374">
                  <c:v>35.509034320246926</c:v>
                </c:pt>
                <c:pt idx="2375">
                  <c:v>35.509034320246926</c:v>
                </c:pt>
                <c:pt idx="2376">
                  <c:v>35.509034320246926</c:v>
                </c:pt>
                <c:pt idx="2377">
                  <c:v>35.509034320246926</c:v>
                </c:pt>
                <c:pt idx="2378">
                  <c:v>35.509034320246926</c:v>
                </c:pt>
                <c:pt idx="2379">
                  <c:v>35.096509094975687</c:v>
                </c:pt>
                <c:pt idx="2380">
                  <c:v>35.115485806171527</c:v>
                </c:pt>
                <c:pt idx="2381">
                  <c:v>35.721980291413715</c:v>
                </c:pt>
                <c:pt idx="2382">
                  <c:v>36.250783085581155</c:v>
                </c:pt>
                <c:pt idx="2383">
                  <c:v>36.657850047787726</c:v>
                </c:pt>
                <c:pt idx="2384">
                  <c:v>36.657850047787726</c:v>
                </c:pt>
                <c:pt idx="2385">
                  <c:v>36.61202773522799</c:v>
                </c:pt>
                <c:pt idx="2386">
                  <c:v>36.61202773522799</c:v>
                </c:pt>
                <c:pt idx="2387">
                  <c:v>36.61202773522799</c:v>
                </c:pt>
                <c:pt idx="2388">
                  <c:v>36.61202773522799</c:v>
                </c:pt>
                <c:pt idx="2389">
                  <c:v>36.61202773522799</c:v>
                </c:pt>
                <c:pt idx="2390">
                  <c:v>36.61202773522799</c:v>
                </c:pt>
                <c:pt idx="2391">
                  <c:v>36.61202773522799</c:v>
                </c:pt>
                <c:pt idx="2392">
                  <c:v>36.61202773522799</c:v>
                </c:pt>
                <c:pt idx="2393">
                  <c:v>36.61202773522799</c:v>
                </c:pt>
                <c:pt idx="2394">
                  <c:v>36.61202773522799</c:v>
                </c:pt>
                <c:pt idx="2395">
                  <c:v>36.61202773522799</c:v>
                </c:pt>
                <c:pt idx="2396">
                  <c:v>36.61202773522799</c:v>
                </c:pt>
                <c:pt idx="2397">
                  <c:v>36.61202773522799</c:v>
                </c:pt>
                <c:pt idx="2398">
                  <c:v>36.61202773522799</c:v>
                </c:pt>
                <c:pt idx="2399">
                  <c:v>36.61202773522799</c:v>
                </c:pt>
                <c:pt idx="2400">
                  <c:v>36.61202773522799</c:v>
                </c:pt>
                <c:pt idx="2401">
                  <c:v>36.61202773522799</c:v>
                </c:pt>
                <c:pt idx="2402">
                  <c:v>36.61202773522799</c:v>
                </c:pt>
                <c:pt idx="2403">
                  <c:v>36.61202773522799</c:v>
                </c:pt>
                <c:pt idx="2404">
                  <c:v>36.61202773522799</c:v>
                </c:pt>
                <c:pt idx="2405">
                  <c:v>36.61202773522799</c:v>
                </c:pt>
                <c:pt idx="2406">
                  <c:v>36.61202773522799</c:v>
                </c:pt>
                <c:pt idx="2407">
                  <c:v>36.61202773522799</c:v>
                </c:pt>
                <c:pt idx="2408">
                  <c:v>36.61202773522799</c:v>
                </c:pt>
                <c:pt idx="2409">
                  <c:v>36.61202773522799</c:v>
                </c:pt>
                <c:pt idx="2410">
                  <c:v>36.61202773522799</c:v>
                </c:pt>
                <c:pt idx="2411">
                  <c:v>36.61202773522799</c:v>
                </c:pt>
                <c:pt idx="2412">
                  <c:v>36.61202773522799</c:v>
                </c:pt>
                <c:pt idx="2413">
                  <c:v>36.61202773522799</c:v>
                </c:pt>
                <c:pt idx="2414">
                  <c:v>36.61202773522799</c:v>
                </c:pt>
                <c:pt idx="2415">
                  <c:v>36.61202773522799</c:v>
                </c:pt>
                <c:pt idx="2416">
                  <c:v>36.61202773522799</c:v>
                </c:pt>
                <c:pt idx="2417">
                  <c:v>36.61202773522799</c:v>
                </c:pt>
                <c:pt idx="2418">
                  <c:v>36.61202773522799</c:v>
                </c:pt>
                <c:pt idx="2419">
                  <c:v>36.61202773522799</c:v>
                </c:pt>
                <c:pt idx="2420">
                  <c:v>36.61202773522799</c:v>
                </c:pt>
                <c:pt idx="2421">
                  <c:v>36.61202773522799</c:v>
                </c:pt>
                <c:pt idx="2422">
                  <c:v>36.61202773522799</c:v>
                </c:pt>
                <c:pt idx="2423">
                  <c:v>36.61202773522799</c:v>
                </c:pt>
                <c:pt idx="2424">
                  <c:v>36.61202773522799</c:v>
                </c:pt>
                <c:pt idx="2425">
                  <c:v>36.61202773522799</c:v>
                </c:pt>
                <c:pt idx="2426">
                  <c:v>36.61202773522799</c:v>
                </c:pt>
                <c:pt idx="2427">
                  <c:v>36.61202773522799</c:v>
                </c:pt>
                <c:pt idx="2428">
                  <c:v>36.61202773522799</c:v>
                </c:pt>
                <c:pt idx="2429">
                  <c:v>36.61202773522799</c:v>
                </c:pt>
                <c:pt idx="2430">
                  <c:v>36.61202773522799</c:v>
                </c:pt>
                <c:pt idx="2431">
                  <c:v>36.61202773522799</c:v>
                </c:pt>
                <c:pt idx="2432">
                  <c:v>31.377104976951806</c:v>
                </c:pt>
                <c:pt idx="2433">
                  <c:v>31.337883595730617</c:v>
                </c:pt>
                <c:pt idx="2434">
                  <c:v>31.298711241235953</c:v>
                </c:pt>
                <c:pt idx="2435">
                  <c:v>32.323482137401754</c:v>
                </c:pt>
                <c:pt idx="2436">
                  <c:v>31.488035943092854</c:v>
                </c:pt>
                <c:pt idx="2437">
                  <c:v>31.27952223608067</c:v>
                </c:pt>
                <c:pt idx="2438">
                  <c:v>31.27952223608067</c:v>
                </c:pt>
                <c:pt idx="2439">
                  <c:v>31.975078726370551</c:v>
                </c:pt>
                <c:pt idx="2440">
                  <c:v>31.905715594861022</c:v>
                </c:pt>
                <c:pt idx="2441">
                  <c:v>32.069821178600776</c:v>
                </c:pt>
                <c:pt idx="2442">
                  <c:v>31.865679490896913</c:v>
                </c:pt>
                <c:pt idx="2443">
                  <c:v>31.726693161003737</c:v>
                </c:pt>
                <c:pt idx="2444">
                  <c:v>31.726693161003737</c:v>
                </c:pt>
                <c:pt idx="2445">
                  <c:v>31.758860007899212</c:v>
                </c:pt>
                <c:pt idx="2446">
                  <c:v>31.732081167237649</c:v>
                </c:pt>
                <c:pt idx="2447">
                  <c:v>31.732081167237649</c:v>
                </c:pt>
                <c:pt idx="2448">
                  <c:v>31.692416065778602</c:v>
                </c:pt>
                <c:pt idx="2449">
                  <c:v>31.692416065778602</c:v>
                </c:pt>
                <c:pt idx="2450">
                  <c:v>31.692416065778602</c:v>
                </c:pt>
                <c:pt idx="2451">
                  <c:v>31.692416065778602</c:v>
                </c:pt>
                <c:pt idx="2452">
                  <c:v>31.692416065778602</c:v>
                </c:pt>
                <c:pt idx="2453">
                  <c:v>31.692416065778602</c:v>
                </c:pt>
                <c:pt idx="2454">
                  <c:v>31.692416065778602</c:v>
                </c:pt>
                <c:pt idx="2455">
                  <c:v>31.692416065778602</c:v>
                </c:pt>
                <c:pt idx="2456">
                  <c:v>31.692416065778602</c:v>
                </c:pt>
                <c:pt idx="2457">
                  <c:v>31.692416065778602</c:v>
                </c:pt>
                <c:pt idx="2458">
                  <c:v>31.692416065778602</c:v>
                </c:pt>
                <c:pt idx="2459">
                  <c:v>31.692416065778602</c:v>
                </c:pt>
                <c:pt idx="2460">
                  <c:v>31.692416065778602</c:v>
                </c:pt>
                <c:pt idx="2461">
                  <c:v>31.692416065778602</c:v>
                </c:pt>
                <c:pt idx="2462">
                  <c:v>31.692416065778602</c:v>
                </c:pt>
                <c:pt idx="2463">
                  <c:v>31.692416065778602</c:v>
                </c:pt>
                <c:pt idx="2464">
                  <c:v>31.692416065778602</c:v>
                </c:pt>
                <c:pt idx="2465">
                  <c:v>31.692416065778602</c:v>
                </c:pt>
                <c:pt idx="2466">
                  <c:v>31.692416065778602</c:v>
                </c:pt>
                <c:pt idx="2467">
                  <c:v>31.692416065778602</c:v>
                </c:pt>
                <c:pt idx="2468">
                  <c:v>31.692416065778602</c:v>
                </c:pt>
                <c:pt idx="2469">
                  <c:v>31.692416065778602</c:v>
                </c:pt>
                <c:pt idx="2470">
                  <c:v>31.692416065778602</c:v>
                </c:pt>
                <c:pt idx="2471">
                  <c:v>31.692416065778602</c:v>
                </c:pt>
                <c:pt idx="2472">
                  <c:v>31.692416065778602</c:v>
                </c:pt>
                <c:pt idx="2473">
                  <c:v>31.692416065778602</c:v>
                </c:pt>
                <c:pt idx="2474">
                  <c:v>31.692416065778602</c:v>
                </c:pt>
                <c:pt idx="2475">
                  <c:v>31.692416065778602</c:v>
                </c:pt>
                <c:pt idx="2476">
                  <c:v>31.692416065778602</c:v>
                </c:pt>
                <c:pt idx="2477">
                  <c:v>31.692416065778602</c:v>
                </c:pt>
                <c:pt idx="2478">
                  <c:v>31.692416065778602</c:v>
                </c:pt>
                <c:pt idx="2479">
                  <c:v>31.692416065778602</c:v>
                </c:pt>
                <c:pt idx="2480">
                  <c:v>31.692416065778602</c:v>
                </c:pt>
              </c:numCache>
            </c:numRef>
          </c:val>
          <c:smooth val="0"/>
          <c:extLst xmlns:c16r2="http://schemas.microsoft.com/office/drawing/2015/06/chart">
            <c:ext xmlns:c16="http://schemas.microsoft.com/office/drawing/2014/chart" uri="{C3380CC4-5D6E-409C-BE32-E72D297353CC}">
              <c16:uniqueId val="{00000002-97CC-4024-B73E-64F79F873D55}"/>
            </c:ext>
          </c:extLst>
        </c:ser>
        <c:ser>
          <c:idx val="2"/>
          <c:order val="3"/>
          <c:tx>
            <c:strRef>
              <c:f>'12M'!$P$30</c:f>
              <c:strCache>
                <c:ptCount val="1"/>
                <c:pt idx="0">
                  <c:v>SPX Index</c:v>
                </c:pt>
              </c:strCache>
            </c:strRef>
          </c:tx>
          <c:spPr>
            <a:ln>
              <a:solidFill>
                <a:schemeClr val="tx1"/>
              </a:solidFill>
            </a:ln>
          </c:spPr>
          <c:marker>
            <c:symbol val="none"/>
          </c:marker>
          <c:cat>
            <c:numRef>
              <c:f>'12M'!$N$283:$N$2763</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12M'!$P$283:$P$2763</c:f>
              <c:numCache>
                <c:formatCode>General</c:formatCode>
                <c:ptCount val="2481"/>
                <c:pt idx="0">
                  <c:v>100</c:v>
                </c:pt>
                <c:pt idx="1">
                  <c:v>101.73651902624231</c:v>
                </c:pt>
                <c:pt idx="2">
                  <c:v>101.91390537838532</c:v>
                </c:pt>
                <c:pt idx="3">
                  <c:v>102.03294095679711</c:v>
                </c:pt>
                <c:pt idx="4">
                  <c:v>102.01893677110159</c:v>
                </c:pt>
                <c:pt idx="5">
                  <c:v>101.77230750079748</c:v>
                </c:pt>
                <c:pt idx="6">
                  <c:v>101.27671492924</c:v>
                </c:pt>
                <c:pt idx="7">
                  <c:v>101.56224471536495</c:v>
                </c:pt>
                <c:pt idx="8">
                  <c:v>101.8975671617406</c:v>
                </c:pt>
                <c:pt idx="9">
                  <c:v>101.96681007990169</c:v>
                </c:pt>
                <c:pt idx="10">
                  <c:v>101.5451284884038</c:v>
                </c:pt>
                <c:pt idx="11">
                  <c:v>102.1690927621701</c:v>
                </c:pt>
                <c:pt idx="12">
                  <c:v>101.75207923257068</c:v>
                </c:pt>
                <c:pt idx="13">
                  <c:v>102.09440377179408</c:v>
                </c:pt>
                <c:pt idx="14">
                  <c:v>103.14549570927316</c:v>
                </c:pt>
                <c:pt idx="15">
                  <c:v>103.05991457446733</c:v>
                </c:pt>
                <c:pt idx="16">
                  <c:v>103.09725906965532</c:v>
                </c:pt>
                <c:pt idx="17">
                  <c:v>102.91909470719587</c:v>
                </c:pt>
                <c:pt idx="18">
                  <c:v>101.60192324150225</c:v>
                </c:pt>
                <c:pt idx="19">
                  <c:v>100.4598040970024</c:v>
                </c:pt>
                <c:pt idx="20">
                  <c:v>100.71343546015429</c:v>
                </c:pt>
                <c:pt idx="21">
                  <c:v>100.52515696358141</c:v>
                </c:pt>
                <c:pt idx="22">
                  <c:v>98.832206515058459</c:v>
                </c:pt>
                <c:pt idx="23">
                  <c:v>98.170119735787765</c:v>
                </c:pt>
                <c:pt idx="24">
                  <c:v>98.576241120957334</c:v>
                </c:pt>
                <c:pt idx="25">
                  <c:v>98.190348004014609</c:v>
                </c:pt>
                <c:pt idx="26">
                  <c:v>97.763220340301785</c:v>
                </c:pt>
                <c:pt idx="27">
                  <c:v>97.918044393268744</c:v>
                </c:pt>
                <c:pt idx="28">
                  <c:v>99.031377156061183</c:v>
                </c:pt>
                <c:pt idx="29">
                  <c:v>99.597768666412591</c:v>
                </c:pt>
                <c:pt idx="30">
                  <c:v>98.016851703453639</c:v>
                </c:pt>
                <c:pt idx="31">
                  <c:v>98.814312277780871</c:v>
                </c:pt>
                <c:pt idx="32">
                  <c:v>100.02956439202393</c:v>
                </c:pt>
                <c:pt idx="33">
                  <c:v>100.22484498144455</c:v>
                </c:pt>
                <c:pt idx="34">
                  <c:v>98.44086732590084</c:v>
                </c:pt>
                <c:pt idx="35">
                  <c:v>98.328833840336827</c:v>
                </c:pt>
                <c:pt idx="36">
                  <c:v>97.729765896695923</c:v>
                </c:pt>
                <c:pt idx="37">
                  <c:v>97.868251733018113</c:v>
                </c:pt>
                <c:pt idx="38">
                  <c:v>97.430231924875443</c:v>
                </c:pt>
                <c:pt idx="39">
                  <c:v>96.193195521772736</c:v>
                </c:pt>
                <c:pt idx="40">
                  <c:v>95.204344409606989</c:v>
                </c:pt>
                <c:pt idx="41">
                  <c:v>95.698380960531651</c:v>
                </c:pt>
                <c:pt idx="42">
                  <c:v>97.730543907012333</c:v>
                </c:pt>
                <c:pt idx="43">
                  <c:v>97.371103140827771</c:v>
                </c:pt>
                <c:pt idx="44">
                  <c:v>96.484171380112642</c:v>
                </c:pt>
                <c:pt idx="45">
                  <c:v>96.482615359479794</c:v>
                </c:pt>
                <c:pt idx="46">
                  <c:v>97.422451821711277</c:v>
                </c:pt>
                <c:pt idx="47">
                  <c:v>96.908965012876166</c:v>
                </c:pt>
                <c:pt idx="48">
                  <c:v>96.823383878070331</c:v>
                </c:pt>
                <c:pt idx="49">
                  <c:v>97.294858129818905</c:v>
                </c:pt>
                <c:pt idx="50">
                  <c:v>96.411038410369414</c:v>
                </c:pt>
                <c:pt idx="51">
                  <c:v>96.940085425532843</c:v>
                </c:pt>
                <c:pt idx="52">
                  <c:v>99.030599145744759</c:v>
                </c:pt>
                <c:pt idx="53">
                  <c:v>98.822870391261503</c:v>
                </c:pt>
                <c:pt idx="54">
                  <c:v>99.600102697361876</c:v>
                </c:pt>
                <c:pt idx="55">
                  <c:v>98.878109123727086</c:v>
                </c:pt>
                <c:pt idx="56">
                  <c:v>99.124738394031198</c:v>
                </c:pt>
                <c:pt idx="57">
                  <c:v>98.455649521912747</c:v>
                </c:pt>
                <c:pt idx="58">
                  <c:v>98.60035944076624</c:v>
                </c:pt>
                <c:pt idx="59">
                  <c:v>99.00336878467013</c:v>
                </c:pt>
                <c:pt idx="60">
                  <c:v>97.920378424217944</c:v>
                </c:pt>
                <c:pt idx="61">
                  <c:v>96.651443598142151</c:v>
                </c:pt>
                <c:pt idx="62">
                  <c:v>96.177635315444334</c:v>
                </c:pt>
                <c:pt idx="63">
                  <c:v>96.044595551337068</c:v>
                </c:pt>
                <c:pt idx="64">
                  <c:v>96.228983996327841</c:v>
                </c:pt>
                <c:pt idx="65">
                  <c:v>98.014517672504411</c:v>
                </c:pt>
                <c:pt idx="66">
                  <c:v>97.183602654571288</c:v>
                </c:pt>
                <c:pt idx="67">
                  <c:v>96.49584153485884</c:v>
                </c:pt>
                <c:pt idx="68">
                  <c:v>98.100098807310275</c:v>
                </c:pt>
                <c:pt idx="69">
                  <c:v>98.720173029494447</c:v>
                </c:pt>
                <c:pt idx="70">
                  <c:v>98.682828534306438</c:v>
                </c:pt>
                <c:pt idx="71">
                  <c:v>98.278263169769687</c:v>
                </c:pt>
                <c:pt idx="72">
                  <c:v>99.472509005469462</c:v>
                </c:pt>
                <c:pt idx="73">
                  <c:v>99.325465055666683</c:v>
                </c:pt>
                <c:pt idx="74">
                  <c:v>98.878887134043438</c:v>
                </c:pt>
                <c:pt idx="75">
                  <c:v>99.472509005469448</c:v>
                </c:pt>
                <c:pt idx="76">
                  <c:v>99.606326779893124</c:v>
                </c:pt>
                <c:pt idx="77">
                  <c:v>99.535527841099196</c:v>
                </c:pt>
                <c:pt idx="78">
                  <c:v>99.256222137505588</c:v>
                </c:pt>
                <c:pt idx="79">
                  <c:v>98.92245571176278</c:v>
                </c:pt>
                <c:pt idx="80">
                  <c:v>98.49221600678429</c:v>
                </c:pt>
                <c:pt idx="81">
                  <c:v>98.948130052204533</c:v>
                </c:pt>
                <c:pt idx="82">
                  <c:v>98.553678821781233</c:v>
                </c:pt>
                <c:pt idx="83">
                  <c:v>98.668046338294502</c:v>
                </c:pt>
                <c:pt idx="84">
                  <c:v>100.01945025791046</c:v>
                </c:pt>
                <c:pt idx="85">
                  <c:v>100.78579041958102</c:v>
                </c:pt>
                <c:pt idx="86">
                  <c:v>100.94528253444645</c:v>
                </c:pt>
                <c:pt idx="87">
                  <c:v>101.32028350695933</c:v>
                </c:pt>
                <c:pt idx="88">
                  <c:v>100.94839457571209</c:v>
                </c:pt>
                <c:pt idx="89">
                  <c:v>101.04953591684627</c:v>
                </c:pt>
                <c:pt idx="90">
                  <c:v>100.59595590237528</c:v>
                </c:pt>
                <c:pt idx="91">
                  <c:v>100.83480506951524</c:v>
                </c:pt>
                <c:pt idx="92">
                  <c:v>100.7593380688228</c:v>
                </c:pt>
                <c:pt idx="93">
                  <c:v>101.27982697050562</c:v>
                </c:pt>
                <c:pt idx="94">
                  <c:v>101.47432954960983</c:v>
                </c:pt>
                <c:pt idx="95">
                  <c:v>101.47355153929341</c:v>
                </c:pt>
                <c:pt idx="96">
                  <c:v>101.43854107505466</c:v>
                </c:pt>
                <c:pt idx="97">
                  <c:v>101.99793049255832</c:v>
                </c:pt>
                <c:pt idx="98">
                  <c:v>102.17220480343568</c:v>
                </c:pt>
                <c:pt idx="99">
                  <c:v>101.16156940241025</c:v>
                </c:pt>
                <c:pt idx="100">
                  <c:v>100.67609096496618</c:v>
                </c:pt>
                <c:pt idx="101">
                  <c:v>101.05731602001042</c:v>
                </c:pt>
                <c:pt idx="102">
                  <c:v>101.10555265962824</c:v>
                </c:pt>
                <c:pt idx="103">
                  <c:v>102.16131265900582</c:v>
                </c:pt>
                <c:pt idx="104">
                  <c:v>102.54720577594854</c:v>
                </c:pt>
                <c:pt idx="105">
                  <c:v>102.40794192930994</c:v>
                </c:pt>
                <c:pt idx="106">
                  <c:v>102.68724763290358</c:v>
                </c:pt>
                <c:pt idx="107">
                  <c:v>102.7891669843542</c:v>
                </c:pt>
                <c:pt idx="108">
                  <c:v>102.56587802354255</c:v>
                </c:pt>
                <c:pt idx="109">
                  <c:v>103.10037111092088</c:v>
                </c:pt>
                <c:pt idx="110">
                  <c:v>102.54409373468286</c:v>
                </c:pt>
                <c:pt idx="111">
                  <c:v>102.29124038184742</c:v>
                </c:pt>
                <c:pt idx="112">
                  <c:v>103.19295433857448</c:v>
                </c:pt>
                <c:pt idx="113">
                  <c:v>103.96863062404204</c:v>
                </c:pt>
                <c:pt idx="114">
                  <c:v>103.98808088195244</c:v>
                </c:pt>
                <c:pt idx="115">
                  <c:v>104.18725152295514</c:v>
                </c:pt>
                <c:pt idx="116">
                  <c:v>103.93050811853757</c:v>
                </c:pt>
                <c:pt idx="117">
                  <c:v>103.57806944520077</c:v>
                </c:pt>
                <c:pt idx="118">
                  <c:v>103.79513432348105</c:v>
                </c:pt>
                <c:pt idx="119">
                  <c:v>105.04850894322851</c:v>
                </c:pt>
                <c:pt idx="120">
                  <c:v>105.28191203815354</c:v>
                </c:pt>
                <c:pt idx="121">
                  <c:v>104.99871628297781</c:v>
                </c:pt>
                <c:pt idx="122">
                  <c:v>105.08274139715084</c:v>
                </c:pt>
                <c:pt idx="123">
                  <c:v>105.29747224448187</c:v>
                </c:pt>
                <c:pt idx="124">
                  <c:v>105.02750266468523</c:v>
                </c:pt>
                <c:pt idx="125">
                  <c:v>106.02957995223004</c:v>
                </c:pt>
                <c:pt idx="126">
                  <c:v>106.24664483051031</c:v>
                </c:pt>
                <c:pt idx="127">
                  <c:v>106.51350236904128</c:v>
                </c:pt>
                <c:pt idx="128">
                  <c:v>106.12449721083287</c:v>
                </c:pt>
                <c:pt idx="129">
                  <c:v>106.27309718126848</c:v>
                </c:pt>
                <c:pt idx="130">
                  <c:v>106.35089821291015</c:v>
                </c:pt>
                <c:pt idx="131">
                  <c:v>106.4784919048025</c:v>
                </c:pt>
                <c:pt idx="132">
                  <c:v>107.13357659122545</c:v>
                </c:pt>
                <c:pt idx="133">
                  <c:v>107.16158496261647</c:v>
                </c:pt>
                <c:pt idx="134">
                  <c:v>107.53814195576219</c:v>
                </c:pt>
                <c:pt idx="135">
                  <c:v>108.0718570328241</c:v>
                </c:pt>
                <c:pt idx="136">
                  <c:v>107.15847292135078</c:v>
                </c:pt>
                <c:pt idx="137">
                  <c:v>107.20437553001938</c:v>
                </c:pt>
                <c:pt idx="138">
                  <c:v>107.2051535403358</c:v>
                </c:pt>
                <c:pt idx="139">
                  <c:v>106.41702908980558</c:v>
                </c:pt>
                <c:pt idx="140">
                  <c:v>106.380462604934</c:v>
                </c:pt>
                <c:pt idx="141">
                  <c:v>106.14394746874329</c:v>
                </c:pt>
                <c:pt idx="142">
                  <c:v>107.3483074385565</c:v>
                </c:pt>
                <c:pt idx="143">
                  <c:v>107.58637859538003</c:v>
                </c:pt>
                <c:pt idx="144">
                  <c:v>107.81044556650806</c:v>
                </c:pt>
                <c:pt idx="145">
                  <c:v>107.23549594267604</c:v>
                </c:pt>
                <c:pt idx="146">
                  <c:v>107.43544459399517</c:v>
                </c:pt>
                <c:pt idx="147">
                  <c:v>107.70930422537388</c:v>
                </c:pt>
                <c:pt idx="148">
                  <c:v>108.39395330382065</c:v>
                </c:pt>
                <c:pt idx="149">
                  <c:v>108.65458675982028</c:v>
                </c:pt>
                <c:pt idx="150">
                  <c:v>108.90277205075724</c:v>
                </c:pt>
                <c:pt idx="151">
                  <c:v>109.01480553632125</c:v>
                </c:pt>
                <c:pt idx="152">
                  <c:v>108.96034481417206</c:v>
                </c:pt>
                <c:pt idx="153">
                  <c:v>109.14006519726432</c:v>
                </c:pt>
                <c:pt idx="154">
                  <c:v>109.39525258104902</c:v>
                </c:pt>
                <c:pt idx="155">
                  <c:v>108.99535527841081</c:v>
                </c:pt>
                <c:pt idx="156">
                  <c:v>107.51324562563683</c:v>
                </c:pt>
                <c:pt idx="157">
                  <c:v>107.88824659814972</c:v>
                </c:pt>
                <c:pt idx="158">
                  <c:v>108.88098776189756</c:v>
                </c:pt>
                <c:pt idx="159">
                  <c:v>108.97045894828551</c:v>
                </c:pt>
                <c:pt idx="160">
                  <c:v>108.66547890425011</c:v>
                </c:pt>
                <c:pt idx="161">
                  <c:v>109.63098970692333</c:v>
                </c:pt>
                <c:pt idx="162">
                  <c:v>110.06978752538241</c:v>
                </c:pt>
                <c:pt idx="163">
                  <c:v>109.9250776065289</c:v>
                </c:pt>
                <c:pt idx="164">
                  <c:v>109.48861381901908</c:v>
                </c:pt>
                <c:pt idx="165">
                  <c:v>109.68700644970535</c:v>
                </c:pt>
                <c:pt idx="166">
                  <c:v>109.93596975095872</c:v>
                </c:pt>
                <c:pt idx="167">
                  <c:v>109.82082422412904</c:v>
                </c:pt>
                <c:pt idx="168">
                  <c:v>109.94919592633779</c:v>
                </c:pt>
                <c:pt idx="169">
                  <c:v>110.90459259489761</c:v>
                </c:pt>
                <c:pt idx="170">
                  <c:v>111.02907424552428</c:v>
                </c:pt>
                <c:pt idx="171">
                  <c:v>110.67041148965615</c:v>
                </c:pt>
                <c:pt idx="172">
                  <c:v>110.90926065679611</c:v>
                </c:pt>
                <c:pt idx="173">
                  <c:v>110.75210257287993</c:v>
                </c:pt>
                <c:pt idx="174">
                  <c:v>110.34520317739396</c:v>
                </c:pt>
                <c:pt idx="175">
                  <c:v>109.7585833988157</c:v>
                </c:pt>
                <c:pt idx="176">
                  <c:v>110.23628173309562</c:v>
                </c:pt>
                <c:pt idx="177">
                  <c:v>111.00962398761389</c:v>
                </c:pt>
                <c:pt idx="178">
                  <c:v>110.84546381084995</c:v>
                </c:pt>
                <c:pt idx="179">
                  <c:v>110.34520317739396</c:v>
                </c:pt>
                <c:pt idx="180">
                  <c:v>110.2129414236031</c:v>
                </c:pt>
                <c:pt idx="181">
                  <c:v>110.34831521865964</c:v>
                </c:pt>
                <c:pt idx="182">
                  <c:v>109.67689231559196</c:v>
                </c:pt>
                <c:pt idx="183">
                  <c:v>109.92040954463039</c:v>
                </c:pt>
                <c:pt idx="184">
                  <c:v>109.86361479153196</c:v>
                </c:pt>
                <c:pt idx="185">
                  <c:v>110.07678961823017</c:v>
                </c:pt>
                <c:pt idx="186">
                  <c:v>110.77466487205604</c:v>
                </c:pt>
                <c:pt idx="187">
                  <c:v>111.31227000070005</c:v>
                </c:pt>
                <c:pt idx="188">
                  <c:v>111.40329720772081</c:v>
                </c:pt>
                <c:pt idx="189">
                  <c:v>111.30371188721945</c:v>
                </c:pt>
                <c:pt idx="190">
                  <c:v>110.97305750274231</c:v>
                </c:pt>
                <c:pt idx="191">
                  <c:v>111.29437576342245</c:v>
                </c:pt>
                <c:pt idx="192">
                  <c:v>110.70697797452776</c:v>
                </c:pt>
                <c:pt idx="193">
                  <c:v>111.09909517400182</c:v>
                </c:pt>
                <c:pt idx="194">
                  <c:v>112.04359969813183</c:v>
                </c:pt>
                <c:pt idx="195">
                  <c:v>110.78088895458737</c:v>
                </c:pt>
                <c:pt idx="196">
                  <c:v>110.64707118016368</c:v>
                </c:pt>
                <c:pt idx="197">
                  <c:v>110.52570157080264</c:v>
                </c:pt>
                <c:pt idx="198">
                  <c:v>111.1636700302644</c:v>
                </c:pt>
                <c:pt idx="199">
                  <c:v>111.89655574832902</c:v>
                </c:pt>
                <c:pt idx="200">
                  <c:v>112.49562369196995</c:v>
                </c:pt>
                <c:pt idx="201">
                  <c:v>112.68623621949207</c:v>
                </c:pt>
                <c:pt idx="202">
                  <c:v>112.57731477519371</c:v>
                </c:pt>
                <c:pt idx="203">
                  <c:v>112.65589381715179</c:v>
                </c:pt>
                <c:pt idx="204">
                  <c:v>112.81305190106798</c:v>
                </c:pt>
                <c:pt idx="205">
                  <c:v>112.68001213696071</c:v>
                </c:pt>
                <c:pt idx="206">
                  <c:v>111.88255156263349</c:v>
                </c:pt>
                <c:pt idx="207">
                  <c:v>111.51766472423401</c:v>
                </c:pt>
                <c:pt idx="208">
                  <c:v>112.36491795881192</c:v>
                </c:pt>
                <c:pt idx="209">
                  <c:v>113.22384134813605</c:v>
                </c:pt>
                <c:pt idx="210">
                  <c:v>113.34132090591497</c:v>
                </c:pt>
                <c:pt idx="211">
                  <c:v>113.24251359573003</c:v>
                </c:pt>
                <c:pt idx="212">
                  <c:v>113.56460986672658</c:v>
                </c:pt>
                <c:pt idx="213">
                  <c:v>113.40511775186114</c:v>
                </c:pt>
                <c:pt idx="214">
                  <c:v>113.30786646230905</c:v>
                </c:pt>
                <c:pt idx="215">
                  <c:v>112.90407910808874</c:v>
                </c:pt>
                <c:pt idx="216">
                  <c:v>112.76248123050087</c:v>
                </c:pt>
                <c:pt idx="217">
                  <c:v>108.84675530797516</c:v>
                </c:pt>
                <c:pt idx="218">
                  <c:v>109.45204733414744</c:v>
                </c:pt>
                <c:pt idx="219">
                  <c:v>109.16807356865532</c:v>
                </c:pt>
                <c:pt idx="220">
                  <c:v>107.92325706238846</c:v>
                </c:pt>
                <c:pt idx="221">
                  <c:v>106.90795359946452</c:v>
                </c:pt>
                <c:pt idx="222">
                  <c:v>108.5643375631159</c:v>
                </c:pt>
                <c:pt idx="223">
                  <c:v>108.29670201426852</c:v>
                </c:pt>
                <c:pt idx="224">
                  <c:v>109.068488248154</c:v>
                </c:pt>
                <c:pt idx="225">
                  <c:v>109.14317723853</c:v>
                </c:pt>
                <c:pt idx="226">
                  <c:v>109.43493110718629</c:v>
                </c:pt>
                <c:pt idx="227">
                  <c:v>107.20593155065218</c:v>
                </c:pt>
                <c:pt idx="228">
                  <c:v>107.92325706238847</c:v>
                </c:pt>
                <c:pt idx="229">
                  <c:v>108.32082033407744</c:v>
                </c:pt>
                <c:pt idx="230">
                  <c:v>107.90614083542731</c:v>
                </c:pt>
                <c:pt idx="231">
                  <c:v>109.08171442353307</c:v>
                </c:pt>
                <c:pt idx="232">
                  <c:v>109.77258758451119</c:v>
                </c:pt>
                <c:pt idx="233">
                  <c:v>111.64759244707565</c:v>
                </c:pt>
                <c:pt idx="234">
                  <c:v>111.60869193125481</c:v>
                </c:pt>
                <c:pt idx="235">
                  <c:v>111.73083955093223</c:v>
                </c:pt>
                <c:pt idx="236">
                  <c:v>111.8389829849142</c:v>
                </c:pt>
                <c:pt idx="237">
                  <c:v>111.14733181361967</c:v>
                </c:pt>
                <c:pt idx="238">
                  <c:v>110.26195607353736</c:v>
                </c:pt>
                <c:pt idx="239">
                  <c:v>110.67430154123826</c:v>
                </c:pt>
                <c:pt idx="240">
                  <c:v>110.54437381839665</c:v>
                </c:pt>
                <c:pt idx="241">
                  <c:v>110.83145962515445</c:v>
                </c:pt>
                <c:pt idx="242">
                  <c:v>111.85998926345746</c:v>
                </c:pt>
                <c:pt idx="243">
                  <c:v>111.98447091408413</c:v>
                </c:pt>
                <c:pt idx="244">
                  <c:v>112.32601744299109</c:v>
                </c:pt>
                <c:pt idx="245">
                  <c:v>112.39214831988652</c:v>
                </c:pt>
                <c:pt idx="246">
                  <c:v>112.68623621949209</c:v>
                </c:pt>
                <c:pt idx="247">
                  <c:v>111.94557039826329</c:v>
                </c:pt>
                <c:pt idx="248">
                  <c:v>112.64033361082349</c:v>
                </c:pt>
                <c:pt idx="249">
                  <c:v>113.03322882061396</c:v>
                </c:pt>
                <c:pt idx="250">
                  <c:v>114.24848093485701</c:v>
                </c:pt>
                <c:pt idx="251">
                  <c:v>114.48266204009848</c:v>
                </c:pt>
                <c:pt idx="252">
                  <c:v>114.56201909237299</c:v>
                </c:pt>
                <c:pt idx="253">
                  <c:v>114.42431126636721</c:v>
                </c:pt>
                <c:pt idx="254">
                  <c:v>115.48396131732687</c:v>
                </c:pt>
                <c:pt idx="255">
                  <c:v>115.21788178911235</c:v>
                </c:pt>
                <c:pt idx="256">
                  <c:v>115.17742525265868</c:v>
                </c:pt>
                <c:pt idx="257">
                  <c:v>116.34521873760029</c:v>
                </c:pt>
                <c:pt idx="258">
                  <c:v>116.25419153057952</c:v>
                </c:pt>
                <c:pt idx="259">
                  <c:v>116.24018734488402</c:v>
                </c:pt>
                <c:pt idx="260">
                  <c:v>115.32991527467635</c:v>
                </c:pt>
                <c:pt idx="261">
                  <c:v>115.63567332902817</c:v>
                </c:pt>
                <c:pt idx="262">
                  <c:v>116.38411925342112</c:v>
                </c:pt>
                <c:pt idx="263">
                  <c:v>116.88749192814281</c:v>
                </c:pt>
                <c:pt idx="264">
                  <c:v>117.13878926034542</c:v>
                </c:pt>
                <c:pt idx="265">
                  <c:v>117.43910124248232</c:v>
                </c:pt>
                <c:pt idx="266">
                  <c:v>117.30217142679297</c:v>
                </c:pt>
                <c:pt idx="267">
                  <c:v>117.68028444057153</c:v>
                </c:pt>
                <c:pt idx="268">
                  <c:v>116.03790466261569</c:v>
                </c:pt>
                <c:pt idx="269">
                  <c:v>117.15668349762302</c:v>
                </c:pt>
                <c:pt idx="270">
                  <c:v>116.94662071219049</c:v>
                </c:pt>
                <c:pt idx="271">
                  <c:v>116.79413069017281</c:v>
                </c:pt>
                <c:pt idx="272">
                  <c:v>117.80165404993255</c:v>
                </c:pt>
                <c:pt idx="273">
                  <c:v>117.6935106159506</c:v>
                </c:pt>
                <c:pt idx="274">
                  <c:v>118.47152093236738</c:v>
                </c:pt>
                <c:pt idx="275">
                  <c:v>118.65435335672531</c:v>
                </c:pt>
                <c:pt idx="276">
                  <c:v>118.57810834571647</c:v>
                </c:pt>
                <c:pt idx="277">
                  <c:v>118.43495444749578</c:v>
                </c:pt>
                <c:pt idx="278">
                  <c:v>117.28583321014818</c:v>
                </c:pt>
                <c:pt idx="279">
                  <c:v>117.92535769024279</c:v>
                </c:pt>
                <c:pt idx="280">
                  <c:v>118.11052414554999</c:v>
                </c:pt>
                <c:pt idx="281">
                  <c:v>119.05347264904717</c:v>
                </c:pt>
                <c:pt idx="282">
                  <c:v>119.0838150513874</c:v>
                </c:pt>
                <c:pt idx="283">
                  <c:v>119.52883695237779</c:v>
                </c:pt>
                <c:pt idx="284">
                  <c:v>119.74979188224017</c:v>
                </c:pt>
                <c:pt idx="285">
                  <c:v>119.10948939182916</c:v>
                </c:pt>
                <c:pt idx="286">
                  <c:v>118.05372939245157</c:v>
                </c:pt>
                <c:pt idx="287">
                  <c:v>115.97955388888438</c:v>
                </c:pt>
                <c:pt idx="288">
                  <c:v>117.29828137521086</c:v>
                </c:pt>
                <c:pt idx="289">
                  <c:v>117.41109287109128</c:v>
                </c:pt>
                <c:pt idx="290">
                  <c:v>116.15694024102741</c:v>
                </c:pt>
                <c:pt idx="291">
                  <c:v>117.92068962834429</c:v>
                </c:pt>
                <c:pt idx="292">
                  <c:v>118.48863715932856</c:v>
                </c:pt>
                <c:pt idx="293">
                  <c:v>119.26197941384684</c:v>
                </c:pt>
                <c:pt idx="294">
                  <c:v>119.11726949499331</c:v>
                </c:pt>
                <c:pt idx="295">
                  <c:v>119.32344222884379</c:v>
                </c:pt>
                <c:pt idx="296">
                  <c:v>117.70051270879836</c:v>
                </c:pt>
                <c:pt idx="297">
                  <c:v>118.42795235464808</c:v>
                </c:pt>
                <c:pt idx="298">
                  <c:v>116.90071810352191</c:v>
                </c:pt>
                <c:pt idx="299">
                  <c:v>116.52571713100902</c:v>
                </c:pt>
                <c:pt idx="300">
                  <c:v>116.14838212754687</c:v>
                </c:pt>
                <c:pt idx="301">
                  <c:v>117.19480600312744</c:v>
                </c:pt>
                <c:pt idx="302">
                  <c:v>117.14579135319318</c:v>
                </c:pt>
                <c:pt idx="303">
                  <c:v>116.96218091851881</c:v>
                </c:pt>
                <c:pt idx="304">
                  <c:v>118.21322150731703</c:v>
                </c:pt>
                <c:pt idx="305">
                  <c:v>118.63645911944774</c:v>
                </c:pt>
                <c:pt idx="306">
                  <c:v>118.67769366621786</c:v>
                </c:pt>
                <c:pt idx="307">
                  <c:v>119.06981086569193</c:v>
                </c:pt>
                <c:pt idx="308">
                  <c:v>119.1795103203067</c:v>
                </c:pt>
                <c:pt idx="309">
                  <c:v>117.48889390273301</c:v>
                </c:pt>
                <c:pt idx="310">
                  <c:v>118.16109481611713</c:v>
                </c:pt>
                <c:pt idx="311">
                  <c:v>120.41265667182735</c:v>
                </c:pt>
                <c:pt idx="312">
                  <c:v>120.78610162370741</c:v>
                </c:pt>
                <c:pt idx="313">
                  <c:v>120.55425454941522</c:v>
                </c:pt>
                <c:pt idx="314">
                  <c:v>120.54258439466898</c:v>
                </c:pt>
                <c:pt idx="315">
                  <c:v>120.29362109341562</c:v>
                </c:pt>
                <c:pt idx="316">
                  <c:v>120.83122622205963</c:v>
                </c:pt>
                <c:pt idx="317">
                  <c:v>119.35456264150055</c:v>
                </c:pt>
                <c:pt idx="318">
                  <c:v>119.93573634786391</c:v>
                </c:pt>
                <c:pt idx="319">
                  <c:v>117.56047085184343</c:v>
                </c:pt>
                <c:pt idx="320">
                  <c:v>118.10896812491728</c:v>
                </c:pt>
                <c:pt idx="321">
                  <c:v>115.35247757385258</c:v>
                </c:pt>
                <c:pt idx="322">
                  <c:v>113.50781511362837</c:v>
                </c:pt>
                <c:pt idx="323">
                  <c:v>114.6717185469879</c:v>
                </c:pt>
                <c:pt idx="324">
                  <c:v>113.22150731718699</c:v>
                </c:pt>
                <c:pt idx="325">
                  <c:v>114.04153019069028</c:v>
                </c:pt>
                <c:pt idx="326">
                  <c:v>114.53867878288064</c:v>
                </c:pt>
                <c:pt idx="327">
                  <c:v>111.4935464044253</c:v>
                </c:pt>
                <c:pt idx="328">
                  <c:v>114.18624010954383</c:v>
                </c:pt>
                <c:pt idx="329">
                  <c:v>114.88956143558461</c:v>
                </c:pt>
                <c:pt idx="330">
                  <c:v>116.50626687309872</c:v>
                </c:pt>
                <c:pt idx="331">
                  <c:v>113.05190106820815</c:v>
                </c:pt>
                <c:pt idx="332">
                  <c:v>113.09469163561108</c:v>
                </c:pt>
                <c:pt idx="333">
                  <c:v>113.03867489282908</c:v>
                </c:pt>
                <c:pt idx="334">
                  <c:v>110.98628367812155</c:v>
                </c:pt>
                <c:pt idx="335">
                  <c:v>109.44271121035064</c:v>
                </c:pt>
                <c:pt idx="336">
                  <c:v>109.7982619249531</c:v>
                </c:pt>
                <c:pt idx="337">
                  <c:v>112.49562369197012</c:v>
                </c:pt>
                <c:pt idx="338">
                  <c:v>112.46528128962986</c:v>
                </c:pt>
                <c:pt idx="339">
                  <c:v>112.58742890930729</c:v>
                </c:pt>
                <c:pt idx="340">
                  <c:v>113.90615639563379</c:v>
                </c:pt>
                <c:pt idx="341">
                  <c:v>113.78400877595635</c:v>
                </c:pt>
                <c:pt idx="342">
                  <c:v>115.09651217975149</c:v>
                </c:pt>
                <c:pt idx="343">
                  <c:v>114.11777520169916</c:v>
                </c:pt>
                <c:pt idx="344">
                  <c:v>111.43908568227612</c:v>
                </c:pt>
                <c:pt idx="345">
                  <c:v>113.88203807582485</c:v>
                </c:pt>
                <c:pt idx="346">
                  <c:v>113.40589576217778</c:v>
                </c:pt>
                <c:pt idx="347">
                  <c:v>114.67794262951925</c:v>
                </c:pt>
                <c:pt idx="348">
                  <c:v>115.87841254775036</c:v>
                </c:pt>
                <c:pt idx="349">
                  <c:v>114.54568087572838</c:v>
                </c:pt>
                <c:pt idx="350">
                  <c:v>115.0327153338053</c:v>
                </c:pt>
                <c:pt idx="351">
                  <c:v>113.08768954276331</c:v>
                </c:pt>
                <c:pt idx="352">
                  <c:v>112.94375763422622</c:v>
                </c:pt>
                <c:pt idx="353">
                  <c:v>114.48344005041506</c:v>
                </c:pt>
                <c:pt idx="354">
                  <c:v>114.48888612262998</c:v>
                </c:pt>
                <c:pt idx="355">
                  <c:v>115.45284090467041</c:v>
                </c:pt>
                <c:pt idx="356">
                  <c:v>115.47618121416289</c:v>
                </c:pt>
                <c:pt idx="357">
                  <c:v>114.88489337368613</c:v>
                </c:pt>
                <c:pt idx="358">
                  <c:v>118.24045186839173</c:v>
                </c:pt>
                <c:pt idx="359">
                  <c:v>118.96011141107728</c:v>
                </c:pt>
                <c:pt idx="360">
                  <c:v>118.16031680580082</c:v>
                </c:pt>
                <c:pt idx="361">
                  <c:v>118.70492402729258</c:v>
                </c:pt>
                <c:pt idx="362">
                  <c:v>118.0809597535263</c:v>
                </c:pt>
                <c:pt idx="363">
                  <c:v>118.04050321707263</c:v>
                </c:pt>
                <c:pt idx="364">
                  <c:v>118.67924968685082</c:v>
                </c:pt>
                <c:pt idx="365">
                  <c:v>119.14294383543522</c:v>
                </c:pt>
                <c:pt idx="366">
                  <c:v>118.78272505893425</c:v>
                </c:pt>
                <c:pt idx="367">
                  <c:v>120.36130799094391</c:v>
                </c:pt>
                <c:pt idx="368">
                  <c:v>120.32940956797083</c:v>
                </c:pt>
                <c:pt idx="369">
                  <c:v>119.78169030521339</c:v>
                </c:pt>
                <c:pt idx="370">
                  <c:v>120.03454365804886</c:v>
                </c:pt>
                <c:pt idx="371">
                  <c:v>121.18210887476361</c:v>
                </c:pt>
                <c:pt idx="372">
                  <c:v>120.7923257062388</c:v>
                </c:pt>
                <c:pt idx="373">
                  <c:v>121.77028467397471</c:v>
                </c:pt>
                <c:pt idx="374">
                  <c:v>121.56177790917499</c:v>
                </c:pt>
                <c:pt idx="375">
                  <c:v>120.93470159414306</c:v>
                </c:pt>
                <c:pt idx="376">
                  <c:v>121.50965121797506</c:v>
                </c:pt>
                <c:pt idx="377">
                  <c:v>120.49123571378546</c:v>
                </c:pt>
                <c:pt idx="378">
                  <c:v>119.69922121167316</c:v>
                </c:pt>
                <c:pt idx="379">
                  <c:v>119.91006200742211</c:v>
                </c:pt>
                <c:pt idx="380">
                  <c:v>119.81981281071774</c:v>
                </c:pt>
                <c:pt idx="381">
                  <c:v>116.75056211245348</c:v>
                </c:pt>
                <c:pt idx="382">
                  <c:v>117.19402799281103</c:v>
                </c:pt>
                <c:pt idx="383">
                  <c:v>118.22566967237971</c:v>
                </c:pt>
                <c:pt idx="384">
                  <c:v>117.93702784498909</c:v>
                </c:pt>
                <c:pt idx="385">
                  <c:v>117.8218823181594</c:v>
                </c:pt>
                <c:pt idx="386">
                  <c:v>119.44636785883766</c:v>
                </c:pt>
                <c:pt idx="387">
                  <c:v>119.88983373919525</c:v>
                </c:pt>
                <c:pt idx="388">
                  <c:v>119.11493546404414</c:v>
                </c:pt>
                <c:pt idx="389">
                  <c:v>120.54336240498537</c:v>
                </c:pt>
                <c:pt idx="390">
                  <c:v>117.358188169575</c:v>
                </c:pt>
                <c:pt idx="391">
                  <c:v>117.45232741786145</c:v>
                </c:pt>
                <c:pt idx="392">
                  <c:v>116.8703757011817</c:v>
                </c:pt>
                <c:pt idx="393">
                  <c:v>118.27857437389611</c:v>
                </c:pt>
                <c:pt idx="394">
                  <c:v>114.8047583110951</c:v>
                </c:pt>
                <c:pt idx="395">
                  <c:v>114.73862743419966</c:v>
                </c:pt>
                <c:pt idx="396">
                  <c:v>113.09935969750947</c:v>
                </c:pt>
                <c:pt idx="397">
                  <c:v>111.96968871807228</c:v>
                </c:pt>
                <c:pt idx="398">
                  <c:v>115.22721791290941</c:v>
                </c:pt>
                <c:pt idx="399">
                  <c:v>114.41264111162103</c:v>
                </c:pt>
                <c:pt idx="400">
                  <c:v>112.9009670668232</c:v>
                </c:pt>
                <c:pt idx="401">
                  <c:v>113.49147689698354</c:v>
                </c:pt>
                <c:pt idx="402">
                  <c:v>111.50988462106997</c:v>
                </c:pt>
                <c:pt idx="403">
                  <c:v>112.01014525452598</c:v>
                </c:pt>
                <c:pt idx="404">
                  <c:v>110.22616759898226</c:v>
                </c:pt>
                <c:pt idx="405">
                  <c:v>112.08794628616764</c:v>
                </c:pt>
                <c:pt idx="406">
                  <c:v>109.4831677468042</c:v>
                </c:pt>
                <c:pt idx="407">
                  <c:v>111.11776742159589</c:v>
                </c:pt>
                <c:pt idx="408">
                  <c:v>114.29127150226</c:v>
                </c:pt>
                <c:pt idx="409">
                  <c:v>114.34573222440918</c:v>
                </c:pt>
                <c:pt idx="410">
                  <c:v>115.23422000575715</c:v>
                </c:pt>
                <c:pt idx="411">
                  <c:v>114.5557950098417</c:v>
                </c:pt>
                <c:pt idx="412">
                  <c:v>113.80657107513233</c:v>
                </c:pt>
                <c:pt idx="413">
                  <c:v>115.53530999821042</c:v>
                </c:pt>
                <c:pt idx="414">
                  <c:v>117.27260703476911</c:v>
                </c:pt>
                <c:pt idx="415">
                  <c:v>117.06410026996942</c:v>
                </c:pt>
                <c:pt idx="416">
                  <c:v>117.94325192752038</c:v>
                </c:pt>
                <c:pt idx="417">
                  <c:v>114.96269440532765</c:v>
                </c:pt>
                <c:pt idx="418">
                  <c:v>115.65823562820425</c:v>
                </c:pt>
                <c:pt idx="419">
                  <c:v>115.79983350579211</c:v>
                </c:pt>
                <c:pt idx="420">
                  <c:v>114.20802439840334</c:v>
                </c:pt>
                <c:pt idx="421">
                  <c:v>112.4925116507043</c:v>
                </c:pt>
                <c:pt idx="422">
                  <c:v>113.19894501801073</c:v>
                </c:pt>
                <c:pt idx="423">
                  <c:v>113.04489897536021</c:v>
                </c:pt>
                <c:pt idx="424">
                  <c:v>113.59884232064897</c:v>
                </c:pt>
                <c:pt idx="425">
                  <c:v>115.49251943080746</c:v>
                </c:pt>
                <c:pt idx="426">
                  <c:v>116.42535380019117</c:v>
                </c:pt>
                <c:pt idx="427">
                  <c:v>116.51949304847761</c:v>
                </c:pt>
                <c:pt idx="428">
                  <c:v>114.86310908482623</c:v>
                </c:pt>
                <c:pt idx="429">
                  <c:v>115.0280472719066</c:v>
                </c:pt>
                <c:pt idx="430">
                  <c:v>114.23992282137637</c:v>
                </c:pt>
                <c:pt idx="431">
                  <c:v>112.59054095057279</c:v>
                </c:pt>
                <c:pt idx="432">
                  <c:v>112.59054095057279</c:v>
                </c:pt>
                <c:pt idx="433">
                  <c:v>109.82627029634392</c:v>
                </c:pt>
                <c:pt idx="434">
                  <c:v>110.18026499031355</c:v>
                </c:pt>
                <c:pt idx="435">
                  <c:v>108.1582161779463</c:v>
                </c:pt>
                <c:pt idx="436">
                  <c:v>109.63176771723973</c:v>
                </c:pt>
                <c:pt idx="437">
                  <c:v>110.50313927162651</c:v>
                </c:pt>
                <c:pt idx="438">
                  <c:v>109.00080135062568</c:v>
                </c:pt>
                <c:pt idx="439">
                  <c:v>110.18571106252847</c:v>
                </c:pt>
                <c:pt idx="440">
                  <c:v>107.4393346455772</c:v>
                </c:pt>
                <c:pt idx="441">
                  <c:v>106.83637665035418</c:v>
                </c:pt>
                <c:pt idx="442">
                  <c:v>103.7282254362691</c:v>
                </c:pt>
                <c:pt idx="443">
                  <c:v>103.10114912123716</c:v>
                </c:pt>
                <c:pt idx="444">
                  <c:v>101.95825196642089</c:v>
                </c:pt>
                <c:pt idx="445">
                  <c:v>104.14446095555206</c:v>
                </c:pt>
                <c:pt idx="446">
                  <c:v>105.19244085176548</c:v>
                </c:pt>
                <c:pt idx="447">
                  <c:v>103.52283071273503</c:v>
                </c:pt>
                <c:pt idx="448">
                  <c:v>105.34026281188467</c:v>
                </c:pt>
                <c:pt idx="449">
                  <c:v>105.98834540545987</c:v>
                </c:pt>
                <c:pt idx="450">
                  <c:v>105.48341671010539</c:v>
                </c:pt>
                <c:pt idx="451">
                  <c:v>107.25261216963717</c:v>
                </c:pt>
                <c:pt idx="452">
                  <c:v>108.56511557343232</c:v>
                </c:pt>
                <c:pt idx="453">
                  <c:v>107.4292205114638</c:v>
                </c:pt>
                <c:pt idx="454">
                  <c:v>103.9919709335344</c:v>
                </c:pt>
                <c:pt idx="455">
                  <c:v>103.19917842110569</c:v>
                </c:pt>
                <c:pt idx="456">
                  <c:v>104.01297721207766</c:v>
                </c:pt>
                <c:pt idx="457">
                  <c:v>103.57573541425141</c:v>
                </c:pt>
                <c:pt idx="458">
                  <c:v>104.18569550232219</c:v>
                </c:pt>
                <c:pt idx="459">
                  <c:v>104.94269954019572</c:v>
                </c:pt>
                <c:pt idx="460">
                  <c:v>106.37034847082055</c:v>
                </c:pt>
                <c:pt idx="461">
                  <c:v>104.9426995401957</c:v>
                </c:pt>
                <c:pt idx="462">
                  <c:v>105.03061470595081</c:v>
                </c:pt>
                <c:pt idx="463">
                  <c:v>104.93647545766437</c:v>
                </c:pt>
                <c:pt idx="464">
                  <c:v>105.81173706363327</c:v>
                </c:pt>
                <c:pt idx="465">
                  <c:v>104.45021900990388</c:v>
                </c:pt>
                <c:pt idx="466">
                  <c:v>105.27335392467283</c:v>
                </c:pt>
                <c:pt idx="467">
                  <c:v>106.72745520605584</c:v>
                </c:pt>
                <c:pt idx="468">
                  <c:v>107.46578699633537</c:v>
                </c:pt>
                <c:pt idx="469">
                  <c:v>107.36697968615043</c:v>
                </c:pt>
                <c:pt idx="470">
                  <c:v>106.40691495569212</c:v>
                </c:pt>
                <c:pt idx="471">
                  <c:v>103.52438673336789</c:v>
                </c:pt>
                <c:pt idx="472">
                  <c:v>103.57962546583347</c:v>
                </c:pt>
                <c:pt idx="473">
                  <c:v>103.22251873059817</c:v>
                </c:pt>
                <c:pt idx="474">
                  <c:v>103.76323590050784</c:v>
                </c:pt>
                <c:pt idx="475">
                  <c:v>101.47899761150812</c:v>
                </c:pt>
                <c:pt idx="476">
                  <c:v>100.62552029439888</c:v>
                </c:pt>
                <c:pt idx="477">
                  <c:v>99.069499661565288</c:v>
                </c:pt>
                <c:pt idx="478">
                  <c:v>102.7479324375839</c:v>
                </c:pt>
                <c:pt idx="479">
                  <c:v>101.82365618168073</c:v>
                </c:pt>
                <c:pt idx="480">
                  <c:v>102.34570110399639</c:v>
                </c:pt>
                <c:pt idx="481">
                  <c:v>100.21862089891289</c:v>
                </c:pt>
                <c:pt idx="482">
                  <c:v>99.320796993767885</c:v>
                </c:pt>
                <c:pt idx="483">
                  <c:v>103.53294484684841</c:v>
                </c:pt>
                <c:pt idx="484">
                  <c:v>101.01841550418935</c:v>
                </c:pt>
                <c:pt idx="485">
                  <c:v>103.43724957792917</c:v>
                </c:pt>
                <c:pt idx="486">
                  <c:v>105.02205659247018</c:v>
                </c:pt>
                <c:pt idx="487">
                  <c:v>105.26401780087581</c:v>
                </c:pt>
                <c:pt idx="488">
                  <c:v>104.3412975656055</c:v>
                </c:pt>
                <c:pt idx="489">
                  <c:v>103.14549570927289</c:v>
                </c:pt>
                <c:pt idx="490">
                  <c:v>102.3254728357696</c:v>
                </c:pt>
                <c:pt idx="491">
                  <c:v>102.90742455244937</c:v>
                </c:pt>
                <c:pt idx="492">
                  <c:v>106.6014175347963</c:v>
                </c:pt>
                <c:pt idx="493">
                  <c:v>106.39524480094583</c:v>
                </c:pt>
                <c:pt idx="494">
                  <c:v>106.53373063726804</c:v>
                </c:pt>
                <c:pt idx="495">
                  <c:v>106.61853376175749</c:v>
                </c:pt>
                <c:pt idx="496">
                  <c:v>106.78502796947069</c:v>
                </c:pt>
                <c:pt idx="497">
                  <c:v>106.24042074797893</c:v>
                </c:pt>
                <c:pt idx="498">
                  <c:v>105.38071934833839</c:v>
                </c:pt>
                <c:pt idx="499">
                  <c:v>105.85219360008698</c:v>
                </c:pt>
                <c:pt idx="500">
                  <c:v>103.69554900297963</c:v>
                </c:pt>
                <c:pt idx="501">
                  <c:v>103.34466635027566</c:v>
                </c:pt>
                <c:pt idx="502">
                  <c:v>103.82003065360634</c:v>
                </c:pt>
                <c:pt idx="503">
                  <c:v>106.17584589171638</c:v>
                </c:pt>
                <c:pt idx="504">
                  <c:v>106.24197676861179</c:v>
                </c:pt>
                <c:pt idx="505">
                  <c:v>108.1691083223762</c:v>
                </c:pt>
                <c:pt idx="506">
                  <c:v>108.00105809403018</c:v>
                </c:pt>
                <c:pt idx="507">
                  <c:v>107.04955147705245</c:v>
                </c:pt>
                <c:pt idx="508">
                  <c:v>107.35997759330274</c:v>
                </c:pt>
                <c:pt idx="509">
                  <c:v>108.05162876459727</c:v>
                </c:pt>
                <c:pt idx="510">
                  <c:v>108.75339407000523</c:v>
                </c:pt>
                <c:pt idx="511">
                  <c:v>108.63902655349196</c:v>
                </c:pt>
                <c:pt idx="512">
                  <c:v>108.21656695167766</c:v>
                </c:pt>
                <c:pt idx="513">
                  <c:v>107.80033143239467</c:v>
                </c:pt>
                <c:pt idx="514">
                  <c:v>109.64810593388455</c:v>
                </c:pt>
                <c:pt idx="515">
                  <c:v>110.00287863817063</c:v>
                </c:pt>
                <c:pt idx="516">
                  <c:v>109.50417402534747</c:v>
                </c:pt>
                <c:pt idx="517">
                  <c:v>110.34209113612835</c:v>
                </c:pt>
                <c:pt idx="518">
                  <c:v>108.3433826332536</c:v>
                </c:pt>
                <c:pt idx="519">
                  <c:v>108.74094590494259</c:v>
                </c:pt>
                <c:pt idx="520">
                  <c:v>108.0096162075108</c:v>
                </c:pt>
                <c:pt idx="521">
                  <c:v>109.19997199162849</c:v>
                </c:pt>
                <c:pt idx="522">
                  <c:v>109.15795943454199</c:v>
                </c:pt>
                <c:pt idx="523">
                  <c:v>109.59520123236824</c:v>
                </c:pt>
                <c:pt idx="524">
                  <c:v>110.75521461414567</c:v>
                </c:pt>
                <c:pt idx="525">
                  <c:v>110.89370045046785</c:v>
                </c:pt>
                <c:pt idx="526">
                  <c:v>110.99328577096922</c:v>
                </c:pt>
                <c:pt idx="527">
                  <c:v>109.9639781223498</c:v>
                </c:pt>
                <c:pt idx="528">
                  <c:v>108.19867271440009</c:v>
                </c:pt>
                <c:pt idx="529">
                  <c:v>108.4818684695758</c:v>
                </c:pt>
                <c:pt idx="530">
                  <c:v>107.04877346673607</c:v>
                </c:pt>
                <c:pt idx="531">
                  <c:v>107.78165918480069</c:v>
                </c:pt>
                <c:pt idx="532">
                  <c:v>108.20878684851351</c:v>
                </c:pt>
                <c:pt idx="533">
                  <c:v>108.78607050329475</c:v>
                </c:pt>
                <c:pt idx="534">
                  <c:v>108.95100869037513</c:v>
                </c:pt>
                <c:pt idx="535">
                  <c:v>107.80655551492602</c:v>
                </c:pt>
                <c:pt idx="536">
                  <c:v>107.18259124115974</c:v>
                </c:pt>
                <c:pt idx="537">
                  <c:v>107.14758077692098</c:v>
                </c:pt>
                <c:pt idx="538">
                  <c:v>109.23653847650007</c:v>
                </c:pt>
                <c:pt idx="539">
                  <c:v>105.86230773420043</c:v>
                </c:pt>
                <c:pt idx="540">
                  <c:v>105.94633284837344</c:v>
                </c:pt>
                <c:pt idx="541">
                  <c:v>105.68803342332306</c:v>
                </c:pt>
                <c:pt idx="542">
                  <c:v>103.90249974714652</c:v>
                </c:pt>
                <c:pt idx="543">
                  <c:v>104.24326826573706</c:v>
                </c:pt>
                <c:pt idx="544">
                  <c:v>105.81173706363333</c:v>
                </c:pt>
                <c:pt idx="545">
                  <c:v>105.82029517711392</c:v>
                </c:pt>
                <c:pt idx="546">
                  <c:v>105.10374767569404</c:v>
                </c:pt>
                <c:pt idx="547">
                  <c:v>104.0829981405552</c:v>
                </c:pt>
                <c:pt idx="548">
                  <c:v>104.47355931939643</c:v>
                </c:pt>
                <c:pt idx="549">
                  <c:v>102.53631363151861</c:v>
                </c:pt>
                <c:pt idx="550">
                  <c:v>102.54175970373352</c:v>
                </c:pt>
                <c:pt idx="551">
                  <c:v>102.25311787634287</c:v>
                </c:pt>
                <c:pt idx="552">
                  <c:v>102.85062979935098</c:v>
                </c:pt>
                <c:pt idx="553">
                  <c:v>99.830393751020992</c:v>
                </c:pt>
                <c:pt idx="554">
                  <c:v>99.459282830090189</c:v>
                </c:pt>
                <c:pt idx="555">
                  <c:v>99.585320501349699</c:v>
                </c:pt>
                <c:pt idx="556">
                  <c:v>99.967323566710334</c:v>
                </c:pt>
                <c:pt idx="557">
                  <c:v>98.14755743661145</c:v>
                </c:pt>
                <c:pt idx="558">
                  <c:v>98.254922860276977</c:v>
                </c:pt>
                <c:pt idx="559">
                  <c:v>97.431009935191582</c:v>
                </c:pt>
                <c:pt idx="560">
                  <c:v>99.095174002007113</c:v>
                </c:pt>
                <c:pt idx="561">
                  <c:v>96.838166074081983</c:v>
                </c:pt>
                <c:pt idx="562">
                  <c:v>97.515035049364599</c:v>
                </c:pt>
                <c:pt idx="563">
                  <c:v>96.43360070954526</c:v>
                </c:pt>
                <c:pt idx="564">
                  <c:v>95.563007165474843</c:v>
                </c:pt>
                <c:pt idx="565">
                  <c:v>94.52125135179277</c:v>
                </c:pt>
                <c:pt idx="566">
                  <c:v>96.890292765281899</c:v>
                </c:pt>
                <c:pt idx="567">
                  <c:v>98.054196198641435</c:v>
                </c:pt>
                <c:pt idx="568">
                  <c:v>98.082204570032459</c:v>
                </c:pt>
                <c:pt idx="569">
                  <c:v>98.029299868516119</c:v>
                </c:pt>
                <c:pt idx="570">
                  <c:v>99.35191740642469</c:v>
                </c:pt>
                <c:pt idx="571">
                  <c:v>99.755704760644988</c:v>
                </c:pt>
                <c:pt idx="572">
                  <c:v>97.448904172469184</c:v>
                </c:pt>
                <c:pt idx="573">
                  <c:v>97.85502555763874</c:v>
                </c:pt>
                <c:pt idx="574">
                  <c:v>96.035259427539856</c:v>
                </c:pt>
                <c:pt idx="575">
                  <c:v>98.278263169769488</c:v>
                </c:pt>
                <c:pt idx="576">
                  <c:v>99.916752896143237</c:v>
                </c:pt>
                <c:pt idx="577">
                  <c:v>98.603471482031694</c:v>
                </c:pt>
                <c:pt idx="578">
                  <c:v>98.053418188325011</c:v>
                </c:pt>
                <c:pt idx="579">
                  <c:v>97.174266530774048</c:v>
                </c:pt>
                <c:pt idx="580">
                  <c:v>99.964989535761106</c:v>
                </c:pt>
                <c:pt idx="581">
                  <c:v>100.30031198213676</c:v>
                </c:pt>
                <c:pt idx="582">
                  <c:v>98.501552130581132</c:v>
                </c:pt>
                <c:pt idx="583">
                  <c:v>100.85503333774193</c:v>
                </c:pt>
                <c:pt idx="584">
                  <c:v>101.55524262251703</c:v>
                </c:pt>
                <c:pt idx="585">
                  <c:v>100.3314323947934</c:v>
                </c:pt>
                <c:pt idx="586">
                  <c:v>100.03890051582069</c:v>
                </c:pt>
                <c:pt idx="587">
                  <c:v>100.59128784047662</c:v>
                </c:pt>
                <c:pt idx="588">
                  <c:v>101.0012992772283</c:v>
                </c:pt>
                <c:pt idx="589">
                  <c:v>99.476399057051367</c:v>
                </c:pt>
                <c:pt idx="590">
                  <c:v>98.549788770198973</c:v>
                </c:pt>
                <c:pt idx="591">
                  <c:v>99.16052686858616</c:v>
                </c:pt>
                <c:pt idx="592">
                  <c:v>99.40793414920671</c:v>
                </c:pt>
                <c:pt idx="593">
                  <c:v>100.53449308737824</c:v>
                </c:pt>
                <c:pt idx="594">
                  <c:v>98.561458924945242</c:v>
                </c:pt>
                <c:pt idx="595">
                  <c:v>98.924789742711894</c:v>
                </c:pt>
                <c:pt idx="596">
                  <c:v>99.714470213874947</c:v>
                </c:pt>
                <c:pt idx="597">
                  <c:v>101.1942458356997</c:v>
                </c:pt>
                <c:pt idx="598">
                  <c:v>99.805497420895705</c:v>
                </c:pt>
                <c:pt idx="599">
                  <c:v>99.397042004776907</c:v>
                </c:pt>
                <c:pt idx="600">
                  <c:v>99.19475932250856</c:v>
                </c:pt>
                <c:pt idx="601">
                  <c:v>96.226649965378485</c:v>
                </c:pt>
                <c:pt idx="602">
                  <c:v>96.652999618774899</c:v>
                </c:pt>
                <c:pt idx="603">
                  <c:v>98.635369905004893</c:v>
                </c:pt>
                <c:pt idx="604">
                  <c:v>95.268141255553019</c:v>
                </c:pt>
                <c:pt idx="605">
                  <c:v>95.853983023814877</c:v>
                </c:pt>
                <c:pt idx="606">
                  <c:v>97.177378572039842</c:v>
                </c:pt>
                <c:pt idx="607">
                  <c:v>97.383551305890293</c:v>
                </c:pt>
                <c:pt idx="608">
                  <c:v>92.793290439031196</c:v>
                </c:pt>
                <c:pt idx="609">
                  <c:v>94.418553990025885</c:v>
                </c:pt>
                <c:pt idx="610">
                  <c:v>89.96833498012181</c:v>
                </c:pt>
                <c:pt idx="611">
                  <c:v>93.867722686002779</c:v>
                </c:pt>
                <c:pt idx="612">
                  <c:v>97.646518792839146</c:v>
                </c:pt>
                <c:pt idx="613">
                  <c:v>93.912847284354939</c:v>
                </c:pt>
                <c:pt idx="614">
                  <c:v>92.444741817276451</c:v>
                </c:pt>
                <c:pt idx="615">
                  <c:v>92.261909392918497</c:v>
                </c:pt>
                <c:pt idx="616">
                  <c:v>94.075451440486049</c:v>
                </c:pt>
                <c:pt idx="617">
                  <c:v>94.373429391673682</c:v>
                </c:pt>
                <c:pt idx="618">
                  <c:v>86.078283398037811</c:v>
                </c:pt>
                <c:pt idx="619">
                  <c:v>90.744011265589322</c:v>
                </c:pt>
                <c:pt idx="620">
                  <c:v>90.331665797888419</c:v>
                </c:pt>
                <c:pt idx="621">
                  <c:v>86.692133537690665</c:v>
                </c:pt>
                <c:pt idx="622">
                  <c:v>85.521228011483387</c:v>
                </c:pt>
                <c:pt idx="623">
                  <c:v>82.227132331774683</c:v>
                </c:pt>
                <c:pt idx="624">
                  <c:v>77.507721752390395</c:v>
                </c:pt>
                <c:pt idx="625">
                  <c:v>76.629348105155842</c:v>
                </c:pt>
                <c:pt idx="626">
                  <c:v>70.792714711397025</c:v>
                </c:pt>
                <c:pt idx="627">
                  <c:v>69.960243672831055</c:v>
                </c:pt>
                <c:pt idx="628">
                  <c:v>78.061665097679153</c:v>
                </c:pt>
                <c:pt idx="629">
                  <c:v>77.646207588712585</c:v>
                </c:pt>
                <c:pt idx="630">
                  <c:v>70.630888565582339</c:v>
                </c:pt>
                <c:pt idx="631">
                  <c:v>73.633230376634742</c:v>
                </c:pt>
                <c:pt idx="632">
                  <c:v>73.175760310581666</c:v>
                </c:pt>
                <c:pt idx="633">
                  <c:v>76.665136579710989</c:v>
                </c:pt>
                <c:pt idx="634">
                  <c:v>74.303875269386012</c:v>
                </c:pt>
                <c:pt idx="635">
                  <c:v>69.770409155625359</c:v>
                </c:pt>
                <c:pt idx="636">
                  <c:v>70.651894844125579</c:v>
                </c:pt>
                <c:pt idx="637">
                  <c:v>68.213610512475341</c:v>
                </c:pt>
                <c:pt idx="638">
                  <c:v>66.046851781254574</c:v>
                </c:pt>
                <c:pt idx="639">
                  <c:v>73.172648269315999</c:v>
                </c:pt>
                <c:pt idx="640">
                  <c:v>72.361961519609693</c:v>
                </c:pt>
                <c:pt idx="641">
                  <c:v>74.229186279009994</c:v>
                </c:pt>
                <c:pt idx="642">
                  <c:v>75.369749402877019</c:v>
                </c:pt>
                <c:pt idx="643">
                  <c:v>75.179136875354899</c:v>
                </c:pt>
                <c:pt idx="644">
                  <c:v>78.248387573619155</c:v>
                </c:pt>
                <c:pt idx="645">
                  <c:v>74.126488917242966</c:v>
                </c:pt>
                <c:pt idx="646">
                  <c:v>70.400597511922939</c:v>
                </c:pt>
                <c:pt idx="647">
                  <c:v>72.431982448087197</c:v>
                </c:pt>
                <c:pt idx="648">
                  <c:v>71.515486295348211</c:v>
                </c:pt>
                <c:pt idx="649">
                  <c:v>69.939237394287773</c:v>
                </c:pt>
                <c:pt idx="650">
                  <c:v>66.309819268203427</c:v>
                </c:pt>
                <c:pt idx="651">
                  <c:v>70.8993021247461</c:v>
                </c:pt>
                <c:pt idx="652">
                  <c:v>67.942862922362295</c:v>
                </c:pt>
                <c:pt idx="653">
                  <c:v>66.189227669158839</c:v>
                </c:pt>
                <c:pt idx="654">
                  <c:v>66.840422303999702</c:v>
                </c:pt>
                <c:pt idx="655">
                  <c:v>62.75275610154587</c:v>
                </c:pt>
                <c:pt idx="656">
                  <c:v>58.540608248465347</c:v>
                </c:pt>
                <c:pt idx="657">
                  <c:v>62.243159344292856</c:v>
                </c:pt>
                <c:pt idx="658">
                  <c:v>66.271696762699023</c:v>
                </c:pt>
                <c:pt idx="659">
                  <c:v>66.705826519259602</c:v>
                </c:pt>
                <c:pt idx="660">
                  <c:v>69.06241976768608</c:v>
                </c:pt>
                <c:pt idx="661">
                  <c:v>69.728396598538851</c:v>
                </c:pt>
                <c:pt idx="662">
                  <c:v>63.501980036255247</c:v>
                </c:pt>
                <c:pt idx="663">
                  <c:v>66.038293667773985</c:v>
                </c:pt>
                <c:pt idx="664">
                  <c:v>67.744470291676024</c:v>
                </c:pt>
                <c:pt idx="665">
                  <c:v>65.758987964180378</c:v>
                </c:pt>
                <c:pt idx="666">
                  <c:v>68.159149790326197</c:v>
                </c:pt>
                <c:pt idx="667">
                  <c:v>70.775598484435875</c:v>
                </c:pt>
                <c:pt idx="668">
                  <c:v>69.139442789011355</c:v>
                </c:pt>
                <c:pt idx="669">
                  <c:v>69.961799693463902</c:v>
                </c:pt>
                <c:pt idx="670">
                  <c:v>67.96620323185482</c:v>
                </c:pt>
                <c:pt idx="671">
                  <c:v>68.443901566134727</c:v>
                </c:pt>
                <c:pt idx="672">
                  <c:v>67.575642053013581</c:v>
                </c:pt>
                <c:pt idx="673">
                  <c:v>71.046346074548907</c:v>
                </c:pt>
                <c:pt idx="674">
                  <c:v>70.364809037367792</c:v>
                </c:pt>
                <c:pt idx="675">
                  <c:v>68.875697291746036</c:v>
                </c:pt>
                <c:pt idx="676">
                  <c:v>69.077979974014397</c:v>
                </c:pt>
                <c:pt idx="677">
                  <c:v>67.813713209837118</c:v>
                </c:pt>
                <c:pt idx="678">
                  <c:v>67.15473847183209</c:v>
                </c:pt>
                <c:pt idx="679">
                  <c:v>67.542965619724072</c:v>
                </c:pt>
                <c:pt idx="680">
                  <c:v>67.904740416857862</c:v>
                </c:pt>
                <c:pt idx="681">
                  <c:v>67.641772929908981</c:v>
                </c:pt>
                <c:pt idx="682">
                  <c:v>69.292710821345423</c:v>
                </c:pt>
                <c:pt idx="683">
                  <c:v>70.273781830347005</c:v>
                </c:pt>
                <c:pt idx="684">
                  <c:v>72.495001283716945</c:v>
                </c:pt>
                <c:pt idx="685">
                  <c:v>72.156566796075637</c:v>
                </c:pt>
                <c:pt idx="686">
                  <c:v>72.720624275477817</c:v>
                </c:pt>
                <c:pt idx="687">
                  <c:v>70.538305337928705</c:v>
                </c:pt>
                <c:pt idx="688">
                  <c:v>70.777932515385075</c:v>
                </c:pt>
                <c:pt idx="689">
                  <c:v>69.270148522169336</c:v>
                </c:pt>
                <c:pt idx="690">
                  <c:v>67.707125796487986</c:v>
                </c:pt>
                <c:pt idx="691">
                  <c:v>67.826161374899769</c:v>
                </c:pt>
                <c:pt idx="692">
                  <c:v>65.556705281911974</c:v>
                </c:pt>
                <c:pt idx="693">
                  <c:v>65.643842437350656</c:v>
                </c:pt>
                <c:pt idx="694">
                  <c:v>66.140213019224575</c:v>
                </c:pt>
                <c:pt idx="695">
                  <c:v>62.646946698513176</c:v>
                </c:pt>
                <c:pt idx="696">
                  <c:v>65.371538826604791</c:v>
                </c:pt>
                <c:pt idx="697">
                  <c:v>64.380353683489787</c:v>
                </c:pt>
                <c:pt idx="698">
                  <c:v>64.726568274295275</c:v>
                </c:pt>
                <c:pt idx="699">
                  <c:v>65.086009040479837</c:v>
                </c:pt>
                <c:pt idx="700">
                  <c:v>65.797110469684796</c:v>
                </c:pt>
                <c:pt idx="701">
                  <c:v>68.005103747675648</c:v>
                </c:pt>
                <c:pt idx="702">
                  <c:v>65.752763881649017</c:v>
                </c:pt>
                <c:pt idx="703">
                  <c:v>64.254316012230277</c:v>
                </c:pt>
                <c:pt idx="704">
                  <c:v>64.220083558307948</c:v>
                </c:pt>
                <c:pt idx="705">
                  <c:v>65.236943041864691</c:v>
                </c:pt>
                <c:pt idx="706">
                  <c:v>64.748352563154953</c:v>
                </c:pt>
                <c:pt idx="707">
                  <c:v>65.808002614114628</c:v>
                </c:pt>
                <c:pt idx="708">
                  <c:v>67.577976083962852</c:v>
                </c:pt>
                <c:pt idx="709">
                  <c:v>67.678339414780623</c:v>
                </c:pt>
                <c:pt idx="710">
                  <c:v>64.353901332731652</c:v>
                </c:pt>
                <c:pt idx="711">
                  <c:v>64.865832120933916</c:v>
                </c:pt>
                <c:pt idx="712">
                  <c:v>64.978643616814352</c:v>
                </c:pt>
                <c:pt idx="713">
                  <c:v>64.329005002606337</c:v>
                </c:pt>
                <c:pt idx="714">
                  <c:v>61.398240140664257</c:v>
                </c:pt>
                <c:pt idx="715">
                  <c:v>61.339889366932994</c:v>
                </c:pt>
                <c:pt idx="716">
                  <c:v>60.602335586969879</c:v>
                </c:pt>
                <c:pt idx="717">
                  <c:v>59.910684415675334</c:v>
                </c:pt>
                <c:pt idx="718">
                  <c:v>57.831840850209659</c:v>
                </c:pt>
                <c:pt idx="719">
                  <c:v>60.151089603448114</c:v>
                </c:pt>
                <c:pt idx="720">
                  <c:v>59.510009102720673</c:v>
                </c:pt>
                <c:pt idx="721">
                  <c:v>58.570950650805607</c:v>
                </c:pt>
                <c:pt idx="722">
                  <c:v>57.190760349482218</c:v>
                </c:pt>
                <c:pt idx="723">
                  <c:v>54.524518995121866</c:v>
                </c:pt>
                <c:pt idx="724">
                  <c:v>54.175192363050726</c:v>
                </c:pt>
                <c:pt idx="725">
                  <c:v>55.462021426404107</c:v>
                </c:pt>
                <c:pt idx="726">
                  <c:v>53.103094147028379</c:v>
                </c:pt>
                <c:pt idx="727">
                  <c:v>53.167669003290982</c:v>
                </c:pt>
                <c:pt idx="728">
                  <c:v>52.634731936545478</c:v>
                </c:pt>
                <c:pt idx="729">
                  <c:v>55.985622369352619</c:v>
                </c:pt>
                <c:pt idx="730">
                  <c:v>56.122552185041975</c:v>
                </c:pt>
                <c:pt idx="731">
                  <c:v>58.408346494674518</c:v>
                </c:pt>
                <c:pt idx="732">
                  <c:v>58.860370488512686</c:v>
                </c:pt>
                <c:pt idx="733">
                  <c:v>58.653419744345818</c:v>
                </c:pt>
                <c:pt idx="734">
                  <c:v>60.538538741023714</c:v>
                </c:pt>
                <c:pt idx="735">
                  <c:v>61.801249484568167</c:v>
                </c:pt>
                <c:pt idx="736">
                  <c:v>60.99912084834245</c:v>
                </c:pt>
                <c:pt idx="737">
                  <c:v>59.793204857896406</c:v>
                </c:pt>
                <c:pt idx="738">
                  <c:v>64.024024958570948</c:v>
                </c:pt>
                <c:pt idx="739">
                  <c:v>62.716967626990744</c:v>
                </c:pt>
                <c:pt idx="740">
                  <c:v>63.32070363253019</c:v>
                </c:pt>
                <c:pt idx="741">
                  <c:v>64.797367213089288</c:v>
                </c:pt>
                <c:pt idx="742">
                  <c:v>63.480973757712071</c:v>
                </c:pt>
                <c:pt idx="743">
                  <c:v>61.270646448771949</c:v>
                </c:pt>
                <c:pt idx="744">
                  <c:v>62.075109115946915</c:v>
                </c:pt>
                <c:pt idx="745">
                  <c:v>63.102860743933505</c:v>
                </c:pt>
                <c:pt idx="746">
                  <c:v>64.915624781184633</c:v>
                </c:pt>
                <c:pt idx="747">
                  <c:v>65.547369158115075</c:v>
                </c:pt>
                <c:pt idx="748">
                  <c:v>65.001205915990482</c:v>
                </c:pt>
                <c:pt idx="749">
                  <c:v>63.450631355371804</c:v>
                </c:pt>
                <c:pt idx="750">
                  <c:v>64.198299269448356</c:v>
                </c:pt>
                <c:pt idx="751">
                  <c:v>66.641251662997092</c:v>
                </c:pt>
                <c:pt idx="752">
                  <c:v>66.810079901659535</c:v>
                </c:pt>
                <c:pt idx="753">
                  <c:v>65.469568126473391</c:v>
                </c:pt>
                <c:pt idx="754">
                  <c:v>66.291147020609515</c:v>
                </c:pt>
                <c:pt idx="755">
                  <c:v>67.321232679545346</c:v>
                </c:pt>
                <c:pt idx="756">
                  <c:v>67.655777115604565</c:v>
                </c:pt>
                <c:pt idx="757">
                  <c:v>64.76080072821766</c:v>
                </c:pt>
                <c:pt idx="758">
                  <c:v>66.13710097795898</c:v>
                </c:pt>
                <c:pt idx="759">
                  <c:v>65.629060241338806</c:v>
                </c:pt>
                <c:pt idx="760">
                  <c:v>66.280254876179654</c:v>
                </c:pt>
                <c:pt idx="761">
                  <c:v>67.393587638972093</c:v>
                </c:pt>
                <c:pt idx="762">
                  <c:v>66.715162643056644</c:v>
                </c:pt>
                <c:pt idx="763">
                  <c:v>66.532330218698689</c:v>
                </c:pt>
                <c:pt idx="764">
                  <c:v>67.970093283436938</c:v>
                </c:pt>
                <c:pt idx="765">
                  <c:v>67.905518427174357</c:v>
                </c:pt>
                <c:pt idx="766">
                  <c:v>68.271961286206661</c:v>
                </c:pt>
                <c:pt idx="767">
                  <c:v>70.584207946597388</c:v>
                </c:pt>
                <c:pt idx="768">
                  <c:v>70.316572397750008</c:v>
                </c:pt>
                <c:pt idx="769">
                  <c:v>71.54038262547364</c:v>
                </c:pt>
                <c:pt idx="770">
                  <c:v>70.595878101343644</c:v>
                </c:pt>
                <c:pt idx="771">
                  <c:v>72.295052632397926</c:v>
                </c:pt>
                <c:pt idx="772">
                  <c:v>70.739810009880756</c:v>
                </c:pt>
                <c:pt idx="773">
                  <c:v>70.670567091719661</c:v>
                </c:pt>
                <c:pt idx="774">
                  <c:v>68.769887888713427</c:v>
                </c:pt>
                <c:pt idx="775">
                  <c:v>69.48176732823481</c:v>
                </c:pt>
                <c:pt idx="776">
                  <c:v>68.688974815806105</c:v>
                </c:pt>
                <c:pt idx="777">
                  <c:v>70.77637649475237</c:v>
                </c:pt>
                <c:pt idx="778">
                  <c:v>70.653450864758511</c:v>
                </c:pt>
                <c:pt idx="779">
                  <c:v>70.290898057308283</c:v>
                </c:pt>
                <c:pt idx="780">
                  <c:v>69.112990438253249</c:v>
                </c:pt>
                <c:pt idx="781">
                  <c:v>69.009515066169811</c:v>
                </c:pt>
                <c:pt idx="782">
                  <c:v>70.82461313437021</c:v>
                </c:pt>
                <c:pt idx="783">
                  <c:v>69.4809893179184</c:v>
                </c:pt>
                <c:pt idx="784">
                  <c:v>70.552309523624331</c:v>
                </c:pt>
                <c:pt idx="785">
                  <c:v>71.510040223133402</c:v>
                </c:pt>
                <c:pt idx="786">
                  <c:v>73.356258703990463</c:v>
                </c:pt>
                <c:pt idx="787">
                  <c:v>73.501746633160394</c:v>
                </c:pt>
                <c:pt idx="788">
                  <c:v>72.491889242451393</c:v>
                </c:pt>
                <c:pt idx="789">
                  <c:v>73.324360281017363</c:v>
                </c:pt>
                <c:pt idx="790">
                  <c:v>73.139971836026589</c:v>
                </c:pt>
                <c:pt idx="791">
                  <c:v>73.066060855966995</c:v>
                </c:pt>
                <c:pt idx="792">
                  <c:v>73.32202625006812</c:v>
                </c:pt>
                <c:pt idx="793">
                  <c:v>73.066838866283419</c:v>
                </c:pt>
                <c:pt idx="794">
                  <c:v>73.51341678790665</c:v>
                </c:pt>
                <c:pt idx="795">
                  <c:v>73.616114149673678</c:v>
                </c:pt>
                <c:pt idx="796">
                  <c:v>71.866368948052283</c:v>
                </c:pt>
                <c:pt idx="797">
                  <c:v>70.95220682626254</c:v>
                </c:pt>
                <c:pt idx="798">
                  <c:v>70.854177526394025</c:v>
                </c:pt>
                <c:pt idx="799">
                  <c:v>71.450133428769291</c:v>
                </c:pt>
                <c:pt idx="800">
                  <c:v>71.672644379264497</c:v>
                </c:pt>
                <c:pt idx="801">
                  <c:v>69.479433297285553</c:v>
                </c:pt>
                <c:pt idx="802">
                  <c:v>69.63970342246742</c:v>
                </c:pt>
                <c:pt idx="803">
                  <c:v>70.094061447254816</c:v>
                </c:pt>
                <c:pt idx="804">
                  <c:v>71.59717737857207</c:v>
                </c:pt>
                <c:pt idx="805">
                  <c:v>71.49136797553939</c:v>
                </c:pt>
                <c:pt idx="806">
                  <c:v>72.139450569114587</c:v>
                </c:pt>
                <c:pt idx="807">
                  <c:v>71.524044408828914</c:v>
                </c:pt>
                <c:pt idx="808">
                  <c:v>71.836026545712045</c:v>
                </c:pt>
                <c:pt idx="809">
                  <c:v>69.742400784234434</c:v>
                </c:pt>
                <c:pt idx="810">
                  <c:v>69.921343157010284</c:v>
                </c:pt>
                <c:pt idx="811">
                  <c:v>68.545042907268979</c:v>
                </c:pt>
                <c:pt idx="812">
                  <c:v>68.430675390755695</c:v>
                </c:pt>
                <c:pt idx="813">
                  <c:v>68.673414609477732</c:v>
                </c:pt>
                <c:pt idx="814">
                  <c:v>68.397220947149762</c:v>
                </c:pt>
                <c:pt idx="815">
                  <c:v>70.102619560735363</c:v>
                </c:pt>
                <c:pt idx="816">
                  <c:v>70.475286502298999</c:v>
                </c:pt>
                <c:pt idx="817">
                  <c:v>72.563466191561673</c:v>
                </c:pt>
                <c:pt idx="818">
                  <c:v>73.190542506593616</c:v>
                </c:pt>
                <c:pt idx="819">
                  <c:v>73.16253413520262</c:v>
                </c:pt>
                <c:pt idx="820">
                  <c:v>73.998895225350694</c:v>
                </c:pt>
                <c:pt idx="821">
                  <c:v>74.267308784514498</c:v>
                </c:pt>
                <c:pt idx="822">
                  <c:v>74.227630258377246</c:v>
                </c:pt>
                <c:pt idx="823">
                  <c:v>75.956369181455358</c:v>
                </c:pt>
                <c:pt idx="824">
                  <c:v>76.187438245431153</c:v>
                </c:pt>
                <c:pt idx="825">
                  <c:v>76.414617257824858</c:v>
                </c:pt>
                <c:pt idx="826">
                  <c:v>76.215446616822163</c:v>
                </c:pt>
                <c:pt idx="827">
                  <c:v>75.867676005383856</c:v>
                </c:pt>
                <c:pt idx="828">
                  <c:v>76.77016797242733</c:v>
                </c:pt>
                <c:pt idx="829">
                  <c:v>76.82696272552576</c:v>
                </c:pt>
                <c:pt idx="830">
                  <c:v>78.005648354897218</c:v>
                </c:pt>
                <c:pt idx="831">
                  <c:v>78.240607470455075</c:v>
                </c:pt>
                <c:pt idx="832">
                  <c:v>78.012650447744946</c:v>
                </c:pt>
                <c:pt idx="833">
                  <c:v>77.573852629285881</c:v>
                </c:pt>
                <c:pt idx="834">
                  <c:v>78.616386453284392</c:v>
                </c:pt>
                <c:pt idx="835">
                  <c:v>78.353418966335511</c:v>
                </c:pt>
                <c:pt idx="836">
                  <c:v>77.361455812904111</c:v>
                </c:pt>
                <c:pt idx="837">
                  <c:v>78.253055635517754</c:v>
                </c:pt>
                <c:pt idx="838">
                  <c:v>78.791438774478166</c:v>
                </c:pt>
                <c:pt idx="839">
                  <c:v>78.119237861094049</c:v>
                </c:pt>
                <c:pt idx="840">
                  <c:v>76.224004730302738</c:v>
                </c:pt>
                <c:pt idx="841">
                  <c:v>76.997346984821036</c:v>
                </c:pt>
                <c:pt idx="842">
                  <c:v>77.52561598966804</c:v>
                </c:pt>
                <c:pt idx="843">
                  <c:v>78.374425244878765</c:v>
                </c:pt>
                <c:pt idx="844">
                  <c:v>79.833972598476691</c:v>
                </c:pt>
                <c:pt idx="845">
                  <c:v>79.790404020757336</c:v>
                </c:pt>
                <c:pt idx="846">
                  <c:v>79.979460527646623</c:v>
                </c:pt>
                <c:pt idx="847">
                  <c:v>79.988796651443607</c:v>
                </c:pt>
                <c:pt idx="848">
                  <c:v>80.211307601938827</c:v>
                </c:pt>
                <c:pt idx="849">
                  <c:v>80.051815487073398</c:v>
                </c:pt>
                <c:pt idx="850">
                  <c:v>79.405288914131035</c:v>
                </c:pt>
                <c:pt idx="851">
                  <c:v>77.648541619661898</c:v>
                </c:pt>
                <c:pt idx="852">
                  <c:v>77.392576225560774</c:v>
                </c:pt>
                <c:pt idx="853">
                  <c:v>78.053106984198635</c:v>
                </c:pt>
                <c:pt idx="854">
                  <c:v>79.076968560603135</c:v>
                </c:pt>
                <c:pt idx="855">
                  <c:v>79.776399835061838</c:v>
                </c:pt>
                <c:pt idx="856">
                  <c:v>80.397252067562434</c:v>
                </c:pt>
                <c:pt idx="857">
                  <c:v>81.235169178343341</c:v>
                </c:pt>
                <c:pt idx="858">
                  <c:v>81.125469723728557</c:v>
                </c:pt>
                <c:pt idx="859">
                  <c:v>81.639734542880035</c:v>
                </c:pt>
                <c:pt idx="860">
                  <c:v>81.895699936981174</c:v>
                </c:pt>
                <c:pt idx="861">
                  <c:v>83.150630577361454</c:v>
                </c:pt>
                <c:pt idx="862">
                  <c:v>82.896221203893163</c:v>
                </c:pt>
                <c:pt idx="863">
                  <c:v>83.114842102806278</c:v>
                </c:pt>
                <c:pt idx="864">
                  <c:v>82.831646347630567</c:v>
                </c:pt>
                <c:pt idx="865">
                  <c:v>83.376253569122326</c:v>
                </c:pt>
                <c:pt idx="866">
                  <c:v>82.536780437708586</c:v>
                </c:pt>
                <c:pt idx="867">
                  <c:v>81.751768028444062</c:v>
                </c:pt>
                <c:pt idx="868">
                  <c:v>81.253841425937324</c:v>
                </c:pt>
                <c:pt idx="869">
                  <c:v>82.700940614472557</c:v>
                </c:pt>
                <c:pt idx="870">
                  <c:v>82.51655216948177</c:v>
                </c:pt>
                <c:pt idx="871">
                  <c:v>82.241914527786648</c:v>
                </c:pt>
                <c:pt idx="872">
                  <c:v>80.123392436183721</c:v>
                </c:pt>
                <c:pt idx="873">
                  <c:v>79.762395649366326</c:v>
                </c:pt>
                <c:pt idx="874">
                  <c:v>80.948861381901949</c:v>
                </c:pt>
                <c:pt idx="875">
                  <c:v>82.058304093112284</c:v>
                </c:pt>
                <c:pt idx="876">
                  <c:v>82.280815043607475</c:v>
                </c:pt>
                <c:pt idx="877">
                  <c:v>82.895443193576753</c:v>
                </c:pt>
                <c:pt idx="878">
                  <c:v>83.363027393743238</c:v>
                </c:pt>
                <c:pt idx="879">
                  <c:v>83.728692242459147</c:v>
                </c:pt>
                <c:pt idx="880">
                  <c:v>83.495289147534095</c:v>
                </c:pt>
                <c:pt idx="881">
                  <c:v>84.960282573346902</c:v>
                </c:pt>
                <c:pt idx="882">
                  <c:v>85.313499257000117</c:v>
                </c:pt>
                <c:pt idx="883">
                  <c:v>84.622626096022017</c:v>
                </c:pt>
                <c:pt idx="884">
                  <c:v>85.418530649716416</c:v>
                </c:pt>
                <c:pt idx="885">
                  <c:v>84.885593582970898</c:v>
                </c:pt>
                <c:pt idx="886">
                  <c:v>84.134035617312293</c:v>
                </c:pt>
                <c:pt idx="887">
                  <c:v>85.029525491508025</c:v>
                </c:pt>
                <c:pt idx="888">
                  <c:v>83.993993760357256</c:v>
                </c:pt>
                <c:pt idx="889">
                  <c:v>83.009810710090022</c:v>
                </c:pt>
                <c:pt idx="890">
                  <c:v>82.734395058078476</c:v>
                </c:pt>
                <c:pt idx="891">
                  <c:v>81.117689620564391</c:v>
                </c:pt>
                <c:pt idx="892">
                  <c:v>82.944457843511017</c:v>
                </c:pt>
                <c:pt idx="893">
                  <c:v>80.616650976791973</c:v>
                </c:pt>
                <c:pt idx="894">
                  <c:v>81.137139878474812</c:v>
                </c:pt>
                <c:pt idx="895">
                  <c:v>81.333976488528251</c:v>
                </c:pt>
                <c:pt idx="896">
                  <c:v>81.418779613017676</c:v>
                </c:pt>
                <c:pt idx="897">
                  <c:v>82.984914379964692</c:v>
                </c:pt>
                <c:pt idx="898">
                  <c:v>83.192643134447977</c:v>
                </c:pt>
                <c:pt idx="899">
                  <c:v>85.042751666887099</c:v>
                </c:pt>
                <c:pt idx="900">
                  <c:v>85.037305594672191</c:v>
                </c:pt>
                <c:pt idx="901">
                  <c:v>85.465211268701424</c:v>
                </c:pt>
                <c:pt idx="902">
                  <c:v>84.588393642099703</c:v>
                </c:pt>
                <c:pt idx="903">
                  <c:v>85.07387207954379</c:v>
                </c:pt>
                <c:pt idx="904">
                  <c:v>86.30468440011515</c:v>
                </c:pt>
                <c:pt idx="905">
                  <c:v>86.384041452389667</c:v>
                </c:pt>
                <c:pt idx="906">
                  <c:v>86.343584915935992</c:v>
                </c:pt>
                <c:pt idx="907">
                  <c:v>85.184349544474969</c:v>
                </c:pt>
                <c:pt idx="908">
                  <c:v>84.910489913096256</c:v>
                </c:pt>
                <c:pt idx="909">
                  <c:v>86.066613243291613</c:v>
                </c:pt>
                <c:pt idx="910">
                  <c:v>86.020710634623029</c:v>
                </c:pt>
                <c:pt idx="911">
                  <c:v>86.408159772198601</c:v>
                </c:pt>
                <c:pt idx="912">
                  <c:v>84.919048026576846</c:v>
                </c:pt>
                <c:pt idx="913">
                  <c:v>85.241144297573413</c:v>
                </c:pt>
                <c:pt idx="914">
                  <c:v>86.270451946192821</c:v>
                </c:pt>
                <c:pt idx="915">
                  <c:v>86.300016338216665</c:v>
                </c:pt>
                <c:pt idx="916">
                  <c:v>85.574910723316208</c:v>
                </c:pt>
                <c:pt idx="917">
                  <c:v>86.046384975064782</c:v>
                </c:pt>
                <c:pt idx="918">
                  <c:v>85.833988158682999</c:v>
                </c:pt>
                <c:pt idx="919">
                  <c:v>84.954058490815612</c:v>
                </c:pt>
                <c:pt idx="920">
                  <c:v>85.266040627698743</c:v>
                </c:pt>
                <c:pt idx="921">
                  <c:v>85.763967230205481</c:v>
                </c:pt>
                <c:pt idx="922">
                  <c:v>86.079839418670716</c:v>
                </c:pt>
                <c:pt idx="923">
                  <c:v>86.67890736231162</c:v>
                </c:pt>
                <c:pt idx="924">
                  <c:v>86.19809698676606</c:v>
                </c:pt>
                <c:pt idx="925">
                  <c:v>86.295348276318137</c:v>
                </c:pt>
                <c:pt idx="926">
                  <c:v>85.276154761812123</c:v>
                </c:pt>
                <c:pt idx="927">
                  <c:v>85.773303354002465</c:v>
                </c:pt>
                <c:pt idx="928">
                  <c:v>86.674239300413106</c:v>
                </c:pt>
                <c:pt idx="929">
                  <c:v>86.983109396030557</c:v>
                </c:pt>
                <c:pt idx="930">
                  <c:v>87.183058047349675</c:v>
                </c:pt>
                <c:pt idx="931">
                  <c:v>87.641306123719176</c:v>
                </c:pt>
                <c:pt idx="932">
                  <c:v>87.742447464853356</c:v>
                </c:pt>
                <c:pt idx="933">
                  <c:v>87.619521834859512</c:v>
                </c:pt>
                <c:pt idx="934">
                  <c:v>87.63663806182069</c:v>
                </c:pt>
                <c:pt idx="935">
                  <c:v>86.755930383636866</c:v>
                </c:pt>
                <c:pt idx="936">
                  <c:v>88.147790839706531</c:v>
                </c:pt>
                <c:pt idx="937">
                  <c:v>88.422428481401653</c:v>
                </c:pt>
                <c:pt idx="938">
                  <c:v>88.470665121019493</c:v>
                </c:pt>
                <c:pt idx="939">
                  <c:v>88.824659814989147</c:v>
                </c:pt>
                <c:pt idx="940">
                  <c:v>89.080625209090257</c:v>
                </c:pt>
                <c:pt idx="941">
                  <c:v>89.236227272373625</c:v>
                </c:pt>
                <c:pt idx="942">
                  <c:v>88.399088171909156</c:v>
                </c:pt>
                <c:pt idx="943">
                  <c:v>89.135085931239431</c:v>
                </c:pt>
                <c:pt idx="944">
                  <c:v>89.351372799203304</c:v>
                </c:pt>
                <c:pt idx="945">
                  <c:v>88.38430597589722</c:v>
                </c:pt>
                <c:pt idx="946">
                  <c:v>89.48908062520907</c:v>
                </c:pt>
                <c:pt idx="947">
                  <c:v>88.540686049496983</c:v>
                </c:pt>
                <c:pt idx="948">
                  <c:v>86.863295807302379</c:v>
                </c:pt>
                <c:pt idx="949">
                  <c:v>84.940054305120043</c:v>
                </c:pt>
                <c:pt idx="950">
                  <c:v>85.330615483961267</c:v>
                </c:pt>
                <c:pt idx="951">
                  <c:v>84.971952728093129</c:v>
                </c:pt>
                <c:pt idx="952">
                  <c:v>85.386632226743259</c:v>
                </c:pt>
                <c:pt idx="953">
                  <c:v>84.377552846350682</c:v>
                </c:pt>
                <c:pt idx="954">
                  <c:v>83.548193849050378</c:v>
                </c:pt>
                <c:pt idx="955">
                  <c:v>84.74010565380091</c:v>
                </c:pt>
                <c:pt idx="956">
                  <c:v>85.839434230897822</c:v>
                </c:pt>
                <c:pt idx="957">
                  <c:v>85.369515999782081</c:v>
                </c:pt>
                <c:pt idx="958">
                  <c:v>82.711054748585894</c:v>
                </c:pt>
                <c:pt idx="959">
                  <c:v>82.950681926042265</c:v>
                </c:pt>
                <c:pt idx="960">
                  <c:v>82.215462177028385</c:v>
                </c:pt>
                <c:pt idx="961">
                  <c:v>83.28756039305074</c:v>
                </c:pt>
                <c:pt idx="962">
                  <c:v>83.101615927427133</c:v>
                </c:pt>
                <c:pt idx="963">
                  <c:v>83.906078594602093</c:v>
                </c:pt>
                <c:pt idx="964">
                  <c:v>83.675787540942707</c:v>
                </c:pt>
                <c:pt idx="965">
                  <c:v>85.182015513525613</c:v>
                </c:pt>
                <c:pt idx="966">
                  <c:v>85.543012300343008</c:v>
                </c:pt>
                <c:pt idx="967">
                  <c:v>86.106291769428765</c:v>
                </c:pt>
                <c:pt idx="968">
                  <c:v>86.294570266001642</c:v>
                </c:pt>
                <c:pt idx="969">
                  <c:v>86.204321069297293</c:v>
                </c:pt>
                <c:pt idx="970">
                  <c:v>85.161009234982359</c:v>
                </c:pt>
                <c:pt idx="971">
                  <c:v>85.988812211649844</c:v>
                </c:pt>
                <c:pt idx="972">
                  <c:v>85.809869838873979</c:v>
                </c:pt>
                <c:pt idx="973">
                  <c:v>85.930461437918595</c:v>
                </c:pt>
                <c:pt idx="974">
                  <c:v>86.803389012938226</c:v>
                </c:pt>
                <c:pt idx="975">
                  <c:v>87.005671695206587</c:v>
                </c:pt>
                <c:pt idx="976">
                  <c:v>87.043016190394596</c:v>
                </c:pt>
                <c:pt idx="977">
                  <c:v>87.368224502656815</c:v>
                </c:pt>
                <c:pt idx="978">
                  <c:v>88.592034730380433</c:v>
                </c:pt>
                <c:pt idx="979">
                  <c:v>88.576474524052088</c:v>
                </c:pt>
                <c:pt idx="980">
                  <c:v>88.728186535753366</c:v>
                </c:pt>
                <c:pt idx="981">
                  <c:v>89.129639859024408</c:v>
                </c:pt>
                <c:pt idx="982">
                  <c:v>89.489858635525394</c:v>
                </c:pt>
                <c:pt idx="983">
                  <c:v>89.470408377614987</c:v>
                </c:pt>
                <c:pt idx="984">
                  <c:v>89.510864914068662</c:v>
                </c:pt>
                <c:pt idx="985">
                  <c:v>90.2071841472617</c:v>
                </c:pt>
                <c:pt idx="986">
                  <c:v>90.732341110843024</c:v>
                </c:pt>
                <c:pt idx="987">
                  <c:v>90.70277671881918</c:v>
                </c:pt>
                <c:pt idx="988">
                  <c:v>90.241416601184028</c:v>
                </c:pt>
                <c:pt idx="989">
                  <c:v>90.701220698186333</c:v>
                </c:pt>
                <c:pt idx="990">
                  <c:v>91.351637322710786</c:v>
                </c:pt>
                <c:pt idx="991">
                  <c:v>90.849820668621959</c:v>
                </c:pt>
                <c:pt idx="992">
                  <c:v>90.694996615655029</c:v>
                </c:pt>
                <c:pt idx="993">
                  <c:v>90.761905502866867</c:v>
                </c:pt>
                <c:pt idx="994">
                  <c:v>91.277726342651221</c:v>
                </c:pt>
                <c:pt idx="995">
                  <c:v>91.281616394233296</c:v>
                </c:pt>
                <c:pt idx="996">
                  <c:v>90.982860432729254</c:v>
                </c:pt>
                <c:pt idx="997">
                  <c:v>91.657395377062599</c:v>
                </c:pt>
                <c:pt idx="998">
                  <c:v>92.384057012595889</c:v>
                </c:pt>
                <c:pt idx="999">
                  <c:v>92.539659075879257</c:v>
                </c:pt>
                <c:pt idx="1000">
                  <c:v>91.995829864703907</c:v>
                </c:pt>
                <c:pt idx="1001">
                  <c:v>92.306255980954205</c:v>
                </c:pt>
                <c:pt idx="1002">
                  <c:v>92.923218161872711</c:v>
                </c:pt>
                <c:pt idx="1003">
                  <c:v>93.087378338636654</c:v>
                </c:pt>
                <c:pt idx="1004">
                  <c:v>93.151175184582812</c:v>
                </c:pt>
                <c:pt idx="1005">
                  <c:v>94.189818956999233</c:v>
                </c:pt>
                <c:pt idx="1006">
                  <c:v>94.269176009273735</c:v>
                </c:pt>
                <c:pt idx="1007">
                  <c:v>92.748943850995332</c:v>
                </c:pt>
                <c:pt idx="1008">
                  <c:v>93.168291411543962</c:v>
                </c:pt>
                <c:pt idx="1009">
                  <c:v>93.919071366886186</c:v>
                </c:pt>
                <c:pt idx="1010">
                  <c:v>93.823376097966914</c:v>
                </c:pt>
                <c:pt idx="1011">
                  <c:v>94.035772914348698</c:v>
                </c:pt>
                <c:pt idx="1012">
                  <c:v>94.705639796783544</c:v>
                </c:pt>
                <c:pt idx="1013">
                  <c:v>94.298740401297565</c:v>
                </c:pt>
                <c:pt idx="1014">
                  <c:v>92.093859164572379</c:v>
                </c:pt>
                <c:pt idx="1015">
                  <c:v>92.689037056631221</c:v>
                </c:pt>
                <c:pt idx="1016">
                  <c:v>93.888728964545919</c:v>
                </c:pt>
                <c:pt idx="1017">
                  <c:v>92.325706238864598</c:v>
                </c:pt>
                <c:pt idx="1018">
                  <c:v>93.537068301525537</c:v>
                </c:pt>
                <c:pt idx="1019">
                  <c:v>91.307290734674993</c:v>
                </c:pt>
                <c:pt idx="1020">
                  <c:v>90.708222791034075</c:v>
                </c:pt>
                <c:pt idx="1021">
                  <c:v>87.771233846560662</c:v>
                </c:pt>
                <c:pt idx="1022">
                  <c:v>86.427610030108866</c:v>
                </c:pt>
                <c:pt idx="1023">
                  <c:v>90.228190425804897</c:v>
                </c:pt>
                <c:pt idx="1024">
                  <c:v>89.921654361136675</c:v>
                </c:pt>
                <c:pt idx="1025">
                  <c:v>91.157134743606534</c:v>
                </c:pt>
                <c:pt idx="1026">
                  <c:v>90.050026063345427</c:v>
                </c:pt>
                <c:pt idx="1027">
                  <c:v>88.357075614822477</c:v>
                </c:pt>
                <c:pt idx="1028">
                  <c:v>88.455104914690992</c:v>
                </c:pt>
                <c:pt idx="1029">
                  <c:v>87.199396263994274</c:v>
                </c:pt>
                <c:pt idx="1030">
                  <c:v>86.752040332054619</c:v>
                </c:pt>
                <c:pt idx="1031">
                  <c:v>83.370807496907233</c:v>
                </c:pt>
                <c:pt idx="1032">
                  <c:v>84.62340410633827</c:v>
                </c:pt>
                <c:pt idx="1033">
                  <c:v>83.531077622089086</c:v>
                </c:pt>
                <c:pt idx="1034">
                  <c:v>83.560642014112901</c:v>
                </c:pt>
                <c:pt idx="1035">
                  <c:v>83.087611741731507</c:v>
                </c:pt>
                <c:pt idx="1036">
                  <c:v>85.819205962670864</c:v>
                </c:pt>
                <c:pt idx="1037">
                  <c:v>84.757221880761946</c:v>
                </c:pt>
                <c:pt idx="1038">
                  <c:v>83.302342589062548</c:v>
                </c:pt>
                <c:pt idx="1039">
                  <c:v>85.455097134587817</c:v>
                </c:pt>
                <c:pt idx="1040">
                  <c:v>85.801311725393262</c:v>
                </c:pt>
                <c:pt idx="1041">
                  <c:v>82.848762574591547</c:v>
                </c:pt>
                <c:pt idx="1042">
                  <c:v>81.727649708634942</c:v>
                </c:pt>
                <c:pt idx="1043">
                  <c:v>82.624695603463508</c:v>
                </c:pt>
                <c:pt idx="1044">
                  <c:v>82.133771093804512</c:v>
                </c:pt>
                <c:pt idx="1045">
                  <c:v>84.557273229442799</c:v>
                </c:pt>
                <c:pt idx="1046">
                  <c:v>84.927606140057193</c:v>
                </c:pt>
                <c:pt idx="1047">
                  <c:v>84.774338107723096</c:v>
                </c:pt>
                <c:pt idx="1048">
                  <c:v>86.766044517750061</c:v>
                </c:pt>
                <c:pt idx="1049">
                  <c:v>86.71780787813222</c:v>
                </c:pt>
                <c:pt idx="1050">
                  <c:v>86.829063353379809</c:v>
                </c:pt>
                <c:pt idx="1051">
                  <c:v>86.943430869893078</c:v>
                </c:pt>
                <c:pt idx="1052">
                  <c:v>86.60810842351745</c:v>
                </c:pt>
                <c:pt idx="1053">
                  <c:v>85.216247967447785</c:v>
                </c:pt>
                <c:pt idx="1054">
                  <c:v>84.961838593979493</c:v>
                </c:pt>
                <c:pt idx="1055">
                  <c:v>83.534189663354681</c:v>
                </c:pt>
                <c:pt idx="1056">
                  <c:v>83.773038830494627</c:v>
                </c:pt>
                <c:pt idx="1057">
                  <c:v>83.602654571199352</c:v>
                </c:pt>
                <c:pt idx="1058">
                  <c:v>81.009546186582185</c:v>
                </c:pt>
                <c:pt idx="1059">
                  <c:v>80.190301323395303</c:v>
                </c:pt>
                <c:pt idx="1060">
                  <c:v>79.930445877712089</c:v>
                </c:pt>
                <c:pt idx="1061">
                  <c:v>79.557778936148452</c:v>
                </c:pt>
                <c:pt idx="1062">
                  <c:v>79.984128589544838</c:v>
                </c:pt>
                <c:pt idx="1063">
                  <c:v>82.490099818723323</c:v>
                </c:pt>
                <c:pt idx="1064">
                  <c:v>83.266554114507301</c:v>
                </c:pt>
                <c:pt idx="1065">
                  <c:v>83.866400068464642</c:v>
                </c:pt>
                <c:pt idx="1066">
                  <c:v>83.927862883461572</c:v>
                </c:pt>
                <c:pt idx="1067">
                  <c:v>85.218581998397028</c:v>
                </c:pt>
                <c:pt idx="1068">
                  <c:v>85.205355823017953</c:v>
                </c:pt>
                <c:pt idx="1069">
                  <c:v>85.307275174468558</c:v>
                </c:pt>
                <c:pt idx="1070">
                  <c:v>82.84876257459149</c:v>
                </c:pt>
                <c:pt idx="1071">
                  <c:v>83.34435514614897</c:v>
                </c:pt>
                <c:pt idx="1072">
                  <c:v>84.295861763126723</c:v>
                </c:pt>
                <c:pt idx="1073">
                  <c:v>83.21520543362378</c:v>
                </c:pt>
                <c:pt idx="1074">
                  <c:v>85.088654275555427</c:v>
                </c:pt>
                <c:pt idx="1075">
                  <c:v>85.788085550014117</c:v>
                </c:pt>
                <c:pt idx="1076">
                  <c:v>86.748928290788854</c:v>
                </c:pt>
                <c:pt idx="1077">
                  <c:v>86.657901083768081</c:v>
                </c:pt>
                <c:pt idx="1078">
                  <c:v>86.058055129810739</c:v>
                </c:pt>
                <c:pt idx="1079">
                  <c:v>85.700170384258996</c:v>
                </c:pt>
                <c:pt idx="1080">
                  <c:v>85.705616456473905</c:v>
                </c:pt>
                <c:pt idx="1081">
                  <c:v>87.593069484101036</c:v>
                </c:pt>
                <c:pt idx="1082">
                  <c:v>87.172943913235969</c:v>
                </c:pt>
                <c:pt idx="1083">
                  <c:v>87.700434907766549</c:v>
                </c:pt>
                <c:pt idx="1084">
                  <c:v>87.589179432518947</c:v>
                </c:pt>
                <c:pt idx="1085">
                  <c:v>87.264749130573151</c:v>
                </c:pt>
                <c:pt idx="1086">
                  <c:v>87.743225475169467</c:v>
                </c:pt>
                <c:pt idx="1087">
                  <c:v>87.219624532220962</c:v>
                </c:pt>
                <c:pt idx="1088">
                  <c:v>84.761889942660318</c:v>
                </c:pt>
                <c:pt idx="1089">
                  <c:v>84.30597589724006</c:v>
                </c:pt>
                <c:pt idx="1090">
                  <c:v>83.966763399282343</c:v>
                </c:pt>
                <c:pt idx="1091">
                  <c:v>83.976877533395765</c:v>
                </c:pt>
                <c:pt idx="1092">
                  <c:v>85.000739109800264</c:v>
                </c:pt>
                <c:pt idx="1093">
                  <c:v>85.126776781059803</c:v>
                </c:pt>
                <c:pt idx="1094">
                  <c:v>83.685123664739478</c:v>
                </c:pt>
                <c:pt idx="1095">
                  <c:v>83.378587600071256</c:v>
                </c:pt>
                <c:pt idx="1096">
                  <c:v>83.041709133062767</c:v>
                </c:pt>
                <c:pt idx="1097">
                  <c:v>81.836571152933161</c:v>
                </c:pt>
                <c:pt idx="1098">
                  <c:v>82.105762722413374</c:v>
                </c:pt>
                <c:pt idx="1099">
                  <c:v>81.47479635579937</c:v>
                </c:pt>
                <c:pt idx="1100">
                  <c:v>82.826200275415331</c:v>
                </c:pt>
                <c:pt idx="1101">
                  <c:v>81.607058109590227</c:v>
                </c:pt>
                <c:pt idx="1102">
                  <c:v>81.638956532563313</c:v>
                </c:pt>
                <c:pt idx="1103">
                  <c:v>84.047676472189707</c:v>
                </c:pt>
                <c:pt idx="1104">
                  <c:v>84.810904592594582</c:v>
                </c:pt>
                <c:pt idx="1105">
                  <c:v>85.932017458551186</c:v>
                </c:pt>
                <c:pt idx="1106">
                  <c:v>84.94627838765112</c:v>
                </c:pt>
                <c:pt idx="1107">
                  <c:v>85.493219640092136</c:v>
                </c:pt>
                <c:pt idx="1108">
                  <c:v>85.906343118109476</c:v>
                </c:pt>
                <c:pt idx="1109">
                  <c:v>86.324134658025301</c:v>
                </c:pt>
                <c:pt idx="1110">
                  <c:v>87.284977398800066</c:v>
                </c:pt>
                <c:pt idx="1111">
                  <c:v>87.222736573486699</c:v>
                </c:pt>
                <c:pt idx="1112">
                  <c:v>87.531606669104178</c:v>
                </c:pt>
                <c:pt idx="1113">
                  <c:v>87.499708246131107</c:v>
                </c:pt>
                <c:pt idx="1114">
                  <c:v>87.572063205557853</c:v>
                </c:pt>
                <c:pt idx="1115">
                  <c:v>88.904016867263422</c:v>
                </c:pt>
                <c:pt idx="1116">
                  <c:v>88.676059844553293</c:v>
                </c:pt>
                <c:pt idx="1117">
                  <c:v>88.24815417052406</c:v>
                </c:pt>
                <c:pt idx="1118">
                  <c:v>87.512934421510195</c:v>
                </c:pt>
                <c:pt idx="1119">
                  <c:v>89.367711015847846</c:v>
                </c:pt>
                <c:pt idx="1120">
                  <c:v>88.861226299860505</c:v>
                </c:pt>
                <c:pt idx="1121">
                  <c:v>89.29224401515539</c:v>
                </c:pt>
                <c:pt idx="1122">
                  <c:v>89.061174951179595</c:v>
                </c:pt>
                <c:pt idx="1123">
                  <c:v>88.786537309484473</c:v>
                </c:pt>
                <c:pt idx="1124">
                  <c:v>89.178654508958545</c:v>
                </c:pt>
                <c:pt idx="1125">
                  <c:v>88.462107007538677</c:v>
                </c:pt>
                <c:pt idx="1126">
                  <c:v>90.307547478079314</c:v>
                </c:pt>
                <c:pt idx="1127">
                  <c:v>90.246862673398809</c:v>
                </c:pt>
                <c:pt idx="1128">
                  <c:v>90.098262702963197</c:v>
                </c:pt>
                <c:pt idx="1129">
                  <c:v>90.649872017302727</c:v>
                </c:pt>
                <c:pt idx="1130">
                  <c:v>90.663098192681801</c:v>
                </c:pt>
                <c:pt idx="1131">
                  <c:v>91.009312783487275</c:v>
                </c:pt>
                <c:pt idx="1132">
                  <c:v>91.657395377062471</c:v>
                </c:pt>
                <c:pt idx="1133">
                  <c:v>91.323628951319662</c:v>
                </c:pt>
                <c:pt idx="1134">
                  <c:v>91.508795406626859</c:v>
                </c:pt>
                <c:pt idx="1135">
                  <c:v>92.171660196213978</c:v>
                </c:pt>
                <c:pt idx="1136">
                  <c:v>90.70822279103399</c:v>
                </c:pt>
                <c:pt idx="1137">
                  <c:v>91.662841449277408</c:v>
                </c:pt>
                <c:pt idx="1138">
                  <c:v>91.825445605408518</c:v>
                </c:pt>
                <c:pt idx="1139">
                  <c:v>92.044844514638058</c:v>
                </c:pt>
                <c:pt idx="1140">
                  <c:v>92.24245913500792</c:v>
                </c:pt>
                <c:pt idx="1141">
                  <c:v>92.244015155640767</c:v>
                </c:pt>
                <c:pt idx="1142">
                  <c:v>91.995829864703794</c:v>
                </c:pt>
                <c:pt idx="1143">
                  <c:v>92.099305236787217</c:v>
                </c:pt>
                <c:pt idx="1144">
                  <c:v>92.058848700333556</c:v>
                </c:pt>
                <c:pt idx="1145">
                  <c:v>92.145985855772253</c:v>
                </c:pt>
                <c:pt idx="1146">
                  <c:v>92.860977336559273</c:v>
                </c:pt>
                <c:pt idx="1147">
                  <c:v>93.202523865466247</c:v>
                </c:pt>
                <c:pt idx="1148">
                  <c:v>94.99972769638903</c:v>
                </c:pt>
                <c:pt idx="1149">
                  <c:v>95.372394637952681</c:v>
                </c:pt>
                <c:pt idx="1150">
                  <c:v>95.17011195568432</c:v>
                </c:pt>
                <c:pt idx="1151">
                  <c:v>94.403771794013778</c:v>
                </c:pt>
                <c:pt idx="1152">
                  <c:v>94.81689527203109</c:v>
                </c:pt>
                <c:pt idx="1153">
                  <c:v>94.414663938443596</c:v>
                </c:pt>
                <c:pt idx="1154">
                  <c:v>93.299775155018338</c:v>
                </c:pt>
                <c:pt idx="1155">
                  <c:v>93.186185648821478</c:v>
                </c:pt>
                <c:pt idx="1156">
                  <c:v>91.676067624656483</c:v>
                </c:pt>
                <c:pt idx="1157">
                  <c:v>91.695517882566918</c:v>
                </c:pt>
                <c:pt idx="1158">
                  <c:v>93.103716555281324</c:v>
                </c:pt>
                <c:pt idx="1159">
                  <c:v>93.340231691472027</c:v>
                </c:pt>
                <c:pt idx="1160">
                  <c:v>93.193187741669249</c:v>
                </c:pt>
                <c:pt idx="1161">
                  <c:v>91.862012090280118</c:v>
                </c:pt>
                <c:pt idx="1162">
                  <c:v>93.232866267806514</c:v>
                </c:pt>
                <c:pt idx="1163">
                  <c:v>92.536547034613506</c:v>
                </c:pt>
                <c:pt idx="1164">
                  <c:v>92.408953342721148</c:v>
                </c:pt>
                <c:pt idx="1165">
                  <c:v>91.848007904584634</c:v>
                </c:pt>
                <c:pt idx="1166">
                  <c:v>93.83349023208028</c:v>
                </c:pt>
                <c:pt idx="1167">
                  <c:v>95.036294181260658</c:v>
                </c:pt>
                <c:pt idx="1168">
                  <c:v>95.283701461881193</c:v>
                </c:pt>
                <c:pt idx="1169">
                  <c:v>95.159997821570911</c:v>
                </c:pt>
                <c:pt idx="1170">
                  <c:v>95.20901247150519</c:v>
                </c:pt>
                <c:pt idx="1171">
                  <c:v>95.561451144841996</c:v>
                </c:pt>
                <c:pt idx="1172">
                  <c:v>95.928672014190724</c:v>
                </c:pt>
                <c:pt idx="1173">
                  <c:v>96.50439964833916</c:v>
                </c:pt>
                <c:pt idx="1174">
                  <c:v>96.509067710237659</c:v>
                </c:pt>
                <c:pt idx="1175">
                  <c:v>96.596982875992751</c:v>
                </c:pt>
                <c:pt idx="1176">
                  <c:v>96.10216831475168</c:v>
                </c:pt>
                <c:pt idx="1177">
                  <c:v>96.696568196494098</c:v>
                </c:pt>
                <c:pt idx="1178">
                  <c:v>96.777481269401449</c:v>
                </c:pt>
                <c:pt idx="1179">
                  <c:v>97.024110539705575</c:v>
                </c:pt>
                <c:pt idx="1180">
                  <c:v>97.609174297650995</c:v>
                </c:pt>
                <c:pt idx="1181">
                  <c:v>97.939050671811714</c:v>
                </c:pt>
                <c:pt idx="1182">
                  <c:v>97.778002536313423</c:v>
                </c:pt>
                <c:pt idx="1183">
                  <c:v>97.837909330677505</c:v>
                </c:pt>
                <c:pt idx="1184">
                  <c:v>97.913376331369932</c:v>
                </c:pt>
                <c:pt idx="1185">
                  <c:v>98.01218364155487</c:v>
                </c:pt>
                <c:pt idx="1186">
                  <c:v>97.864361681435682</c:v>
                </c:pt>
                <c:pt idx="1187">
                  <c:v>97.845689433841656</c:v>
                </c:pt>
                <c:pt idx="1188">
                  <c:v>98.952798114102748</c:v>
                </c:pt>
                <c:pt idx="1189">
                  <c:v>98.822870391261148</c:v>
                </c:pt>
                <c:pt idx="1190">
                  <c:v>99.317684952502233</c:v>
                </c:pt>
                <c:pt idx="1191">
                  <c:v>99.106844156753297</c:v>
                </c:pt>
                <c:pt idx="1192">
                  <c:v>98.924011732395357</c:v>
                </c:pt>
                <c:pt idx="1193">
                  <c:v>98.787859927022424</c:v>
                </c:pt>
                <c:pt idx="1194">
                  <c:v>99.15585880668759</c:v>
                </c:pt>
                <c:pt idx="1195">
                  <c:v>100.04901464993407</c:v>
                </c:pt>
                <c:pt idx="1196">
                  <c:v>99.877852380322381</c:v>
                </c:pt>
                <c:pt idx="1197">
                  <c:v>100.6154061602855</c:v>
                </c:pt>
                <c:pt idx="1198">
                  <c:v>100.75389199660769</c:v>
                </c:pt>
                <c:pt idx="1199">
                  <c:v>99.734698482101692</c:v>
                </c:pt>
                <c:pt idx="1200">
                  <c:v>99.605548769576501</c:v>
                </c:pt>
                <c:pt idx="1201">
                  <c:v>99.84595395734928</c:v>
                </c:pt>
                <c:pt idx="1202">
                  <c:v>100.42868368434546</c:v>
                </c:pt>
                <c:pt idx="1203">
                  <c:v>100.45513603510364</c:v>
                </c:pt>
                <c:pt idx="1204">
                  <c:v>100.87915165755079</c:v>
                </c:pt>
                <c:pt idx="1205">
                  <c:v>101.10555265962807</c:v>
                </c:pt>
                <c:pt idx="1206">
                  <c:v>99.300568725541112</c:v>
                </c:pt>
                <c:pt idx="1207">
                  <c:v>100.06146281499673</c:v>
                </c:pt>
                <c:pt idx="1208">
                  <c:v>101.73185096434358</c:v>
                </c:pt>
                <c:pt idx="1209">
                  <c:v>101.4548792916992</c:v>
                </c:pt>
                <c:pt idx="1210">
                  <c:v>101.69372845883915</c:v>
                </c:pt>
                <c:pt idx="1211">
                  <c:v>101.98703834812827</c:v>
                </c:pt>
                <c:pt idx="1212">
                  <c:v>102.62345078695721</c:v>
                </c:pt>
                <c:pt idx="1213">
                  <c:v>103.05291248161929</c:v>
                </c:pt>
                <c:pt idx="1214">
                  <c:v>102.7658266748615</c:v>
                </c:pt>
                <c:pt idx="1215">
                  <c:v>102.84284969618675</c:v>
                </c:pt>
                <c:pt idx="1216">
                  <c:v>103.40924120653817</c:v>
                </c:pt>
                <c:pt idx="1217">
                  <c:v>103.65587047684227</c:v>
                </c:pt>
                <c:pt idx="1218">
                  <c:v>103.32054803046661</c:v>
                </c:pt>
                <c:pt idx="1219">
                  <c:v>103.96707460340895</c:v>
                </c:pt>
                <c:pt idx="1220">
                  <c:v>104.28683684345627</c:v>
                </c:pt>
                <c:pt idx="1221">
                  <c:v>104.48756350509179</c:v>
                </c:pt>
                <c:pt idx="1222">
                  <c:v>102.3425890627307</c:v>
                </c:pt>
                <c:pt idx="1223">
                  <c:v>101.7170687683316</c:v>
                </c:pt>
                <c:pt idx="1224">
                  <c:v>101.61592742719739</c:v>
                </c:pt>
                <c:pt idx="1225">
                  <c:v>102.68802564321975</c:v>
                </c:pt>
                <c:pt idx="1226">
                  <c:v>103.25908521546965</c:v>
                </c:pt>
                <c:pt idx="1227">
                  <c:v>101.63382166447497</c:v>
                </c:pt>
                <c:pt idx="1228">
                  <c:v>101.79798184123892</c:v>
                </c:pt>
                <c:pt idx="1229">
                  <c:v>103.55083908412597</c:v>
                </c:pt>
                <c:pt idx="1230">
                  <c:v>102.78683295340468</c:v>
                </c:pt>
                <c:pt idx="1231">
                  <c:v>101.9294655847134</c:v>
                </c:pt>
                <c:pt idx="1232">
                  <c:v>102.8389596446046</c:v>
                </c:pt>
                <c:pt idx="1233">
                  <c:v>102.69891778764956</c:v>
                </c:pt>
                <c:pt idx="1234">
                  <c:v>100.76089408945532</c:v>
                </c:pt>
                <c:pt idx="1235">
                  <c:v>101.47432954960954</c:v>
                </c:pt>
                <c:pt idx="1236">
                  <c:v>100.8604794099567</c:v>
                </c:pt>
                <c:pt idx="1237">
                  <c:v>99.730808430519502</c:v>
                </c:pt>
                <c:pt idx="1238">
                  <c:v>97.786560649793941</c:v>
                </c:pt>
                <c:pt idx="1239">
                  <c:v>99.096730022639818</c:v>
                </c:pt>
                <c:pt idx="1240">
                  <c:v>99.523079676036232</c:v>
                </c:pt>
                <c:pt idx="1241">
                  <c:v>101.01530346292364</c:v>
                </c:pt>
                <c:pt idx="1242">
                  <c:v>100.65664070705549</c:v>
                </c:pt>
                <c:pt idx="1243">
                  <c:v>100.94995059634462</c:v>
                </c:pt>
                <c:pt idx="1244">
                  <c:v>101.89289909984178</c:v>
                </c:pt>
                <c:pt idx="1245">
                  <c:v>102.21499537083834</c:v>
                </c:pt>
                <c:pt idx="1246">
                  <c:v>101.93413364661188</c:v>
                </c:pt>
                <c:pt idx="1247">
                  <c:v>102.65379318929742</c:v>
                </c:pt>
                <c:pt idx="1248">
                  <c:v>103.33999828837702</c:v>
                </c:pt>
                <c:pt idx="1249">
                  <c:v>103.15094178148772</c:v>
                </c:pt>
                <c:pt idx="1250">
                  <c:v>103.66287256968998</c:v>
                </c:pt>
                <c:pt idx="1251">
                  <c:v>103.69866104424514</c:v>
                </c:pt>
                <c:pt idx="1252">
                  <c:v>103.67998879665116</c:v>
                </c:pt>
                <c:pt idx="1253">
                  <c:v>103.90638979872844</c:v>
                </c:pt>
                <c:pt idx="1254">
                  <c:v>103.74845370449584</c:v>
                </c:pt>
                <c:pt idx="1255">
                  <c:v>103.33299619552928</c:v>
                </c:pt>
                <c:pt idx="1256">
                  <c:v>103.04435436813864</c:v>
                </c:pt>
                <c:pt idx="1257">
                  <c:v>102.24300374222933</c:v>
                </c:pt>
                <c:pt idx="1258">
                  <c:v>102.26245400013975</c:v>
                </c:pt>
                <c:pt idx="1259">
                  <c:v>102.27101211362033</c:v>
                </c:pt>
                <c:pt idx="1260">
                  <c:v>102.67246543689141</c:v>
                </c:pt>
                <c:pt idx="1261">
                  <c:v>101.5412384368214</c:v>
                </c:pt>
                <c:pt idx="1262">
                  <c:v>102.12319015350114</c:v>
                </c:pt>
                <c:pt idx="1263">
                  <c:v>103.50338045482454</c:v>
                </c:pt>
                <c:pt idx="1264">
                  <c:v>104.04954369694916</c:v>
                </c:pt>
                <c:pt idx="1265">
                  <c:v>103.88382749955237</c:v>
                </c:pt>
                <c:pt idx="1266">
                  <c:v>104.81666186893611</c:v>
                </c:pt>
                <c:pt idx="1267">
                  <c:v>105.47174655535905</c:v>
                </c:pt>
                <c:pt idx="1268">
                  <c:v>105.84674752787193</c:v>
                </c:pt>
                <c:pt idx="1269">
                  <c:v>106.09026475691037</c:v>
                </c:pt>
                <c:pt idx="1270">
                  <c:v>105.90432029128677</c:v>
                </c:pt>
                <c:pt idx="1271">
                  <c:v>105.54643554573502</c:v>
                </c:pt>
                <c:pt idx="1272">
                  <c:v>104.8228859514674</c:v>
                </c:pt>
                <c:pt idx="1273">
                  <c:v>103.87215734480608</c:v>
                </c:pt>
                <c:pt idx="1274">
                  <c:v>104.26894260617868</c:v>
                </c:pt>
                <c:pt idx="1275">
                  <c:v>104.74275088887651</c:v>
                </c:pt>
                <c:pt idx="1276">
                  <c:v>105.58844810282159</c:v>
                </c:pt>
                <c:pt idx="1277">
                  <c:v>104.41520854566505</c:v>
                </c:pt>
                <c:pt idx="1278">
                  <c:v>104.92636132355092</c:v>
                </c:pt>
                <c:pt idx="1279">
                  <c:v>104.07988609928944</c:v>
                </c:pt>
                <c:pt idx="1280">
                  <c:v>103.4341375366635</c:v>
                </c:pt>
                <c:pt idx="1281">
                  <c:v>103.3960150311591</c:v>
                </c:pt>
                <c:pt idx="1282">
                  <c:v>104.30628710136675</c:v>
                </c:pt>
                <c:pt idx="1283">
                  <c:v>104.53346611376044</c:v>
                </c:pt>
                <c:pt idx="1284">
                  <c:v>103.72978145690189</c:v>
                </c:pt>
                <c:pt idx="1285">
                  <c:v>102.49274505379918</c:v>
                </c:pt>
                <c:pt idx="1286">
                  <c:v>102.40794192930976</c:v>
                </c:pt>
                <c:pt idx="1287">
                  <c:v>102.73392825188839</c:v>
                </c:pt>
                <c:pt idx="1288">
                  <c:v>103.14004963705796</c:v>
                </c:pt>
                <c:pt idx="1289">
                  <c:v>103.56095321823943</c:v>
                </c:pt>
                <c:pt idx="1290">
                  <c:v>104.65794776438713</c:v>
                </c:pt>
                <c:pt idx="1291">
                  <c:v>102.27334614456966</c:v>
                </c:pt>
                <c:pt idx="1292">
                  <c:v>102.14808648362656</c:v>
                </c:pt>
                <c:pt idx="1293">
                  <c:v>101.15378929924589</c:v>
                </c:pt>
                <c:pt idx="1294">
                  <c:v>100.06535286657879</c:v>
                </c:pt>
                <c:pt idx="1295">
                  <c:v>99.969657597659506</c:v>
                </c:pt>
                <c:pt idx="1296">
                  <c:v>99.551088047427243</c:v>
                </c:pt>
                <c:pt idx="1297">
                  <c:v>100.28552978612468</c:v>
                </c:pt>
                <c:pt idx="1298">
                  <c:v>98.883555195941625</c:v>
                </c:pt>
                <c:pt idx="1299">
                  <c:v>98.949686072837039</c:v>
                </c:pt>
                <c:pt idx="1300">
                  <c:v>100.19761462036959</c:v>
                </c:pt>
                <c:pt idx="1301">
                  <c:v>98.450981460013892</c:v>
                </c:pt>
                <c:pt idx="1302">
                  <c:v>98.623699750258425</c:v>
                </c:pt>
                <c:pt idx="1303">
                  <c:v>98.924011732395286</c:v>
                </c:pt>
                <c:pt idx="1304">
                  <c:v>99.457726809457213</c:v>
                </c:pt>
                <c:pt idx="1305">
                  <c:v>100.79279251242843</c:v>
                </c:pt>
                <c:pt idx="1306">
                  <c:v>100.14081986727118</c:v>
                </c:pt>
                <c:pt idx="1307">
                  <c:v>99.857624112095465</c:v>
                </c:pt>
                <c:pt idx="1308">
                  <c:v>98.686718585888201</c:v>
                </c:pt>
                <c:pt idx="1309">
                  <c:v>99.593100604513751</c:v>
                </c:pt>
                <c:pt idx="1310">
                  <c:v>100.8822636988164</c:v>
                </c:pt>
                <c:pt idx="1311">
                  <c:v>101.71784677864804</c:v>
                </c:pt>
                <c:pt idx="1312">
                  <c:v>102.74715442726745</c:v>
                </c:pt>
                <c:pt idx="1313">
                  <c:v>104.22770805940858</c:v>
                </c:pt>
                <c:pt idx="1314">
                  <c:v>104.08844421276999</c:v>
                </c:pt>
                <c:pt idx="1315">
                  <c:v>104.19269759516982</c:v>
                </c:pt>
                <c:pt idx="1316">
                  <c:v>105.28191203815332</c:v>
                </c:pt>
                <c:pt idx="1317">
                  <c:v>104.5490263200887</c:v>
                </c:pt>
                <c:pt idx="1318">
                  <c:v>102.65768324087948</c:v>
                </c:pt>
                <c:pt idx="1319">
                  <c:v>102.20254720577567</c:v>
                </c:pt>
                <c:pt idx="1320">
                  <c:v>102.51997541487371</c:v>
                </c:pt>
                <c:pt idx="1321">
                  <c:v>101.83143628484484</c:v>
                </c:pt>
                <c:pt idx="1322">
                  <c:v>102.39704978487987</c:v>
                </c:pt>
                <c:pt idx="1323">
                  <c:v>101.56457874631391</c:v>
                </c:pt>
                <c:pt idx="1324">
                  <c:v>103.22096270996526</c:v>
                </c:pt>
                <c:pt idx="1325">
                  <c:v>103.15171979180417</c:v>
                </c:pt>
                <c:pt idx="1326">
                  <c:v>104.54902632008873</c:v>
                </c:pt>
                <c:pt idx="1327">
                  <c:v>104.64394357869158</c:v>
                </c:pt>
                <c:pt idx="1328">
                  <c:v>104.05343374853123</c:v>
                </c:pt>
                <c:pt idx="1329">
                  <c:v>103.62630608481842</c:v>
                </c:pt>
                <c:pt idx="1330">
                  <c:v>101.52178817891101</c:v>
                </c:pt>
                <c:pt idx="1331">
                  <c:v>101.19346782538312</c:v>
                </c:pt>
                <c:pt idx="1332">
                  <c:v>100.54071716990943</c:v>
                </c:pt>
                <c:pt idx="1333">
                  <c:v>100.12525966094286</c:v>
                </c:pt>
                <c:pt idx="1334">
                  <c:v>97.56638373024802</c:v>
                </c:pt>
                <c:pt idx="1335">
                  <c:v>98.055752219274183</c:v>
                </c:pt>
                <c:pt idx="1336">
                  <c:v>93.366684042230162</c:v>
                </c:pt>
                <c:pt idx="1337">
                  <c:v>93.313001330397412</c:v>
                </c:pt>
                <c:pt idx="1338">
                  <c:v>87.095142881594398</c:v>
                </c:pt>
                <c:pt idx="1339">
                  <c:v>91.224043630818329</c:v>
                </c:pt>
                <c:pt idx="1340">
                  <c:v>87.196284222728579</c:v>
                </c:pt>
                <c:pt idx="1341">
                  <c:v>91.232601744298904</c:v>
                </c:pt>
                <c:pt idx="1342">
                  <c:v>91.712634109528054</c:v>
                </c:pt>
                <c:pt idx="1343">
                  <c:v>93.710564602086379</c:v>
                </c:pt>
                <c:pt idx="1344">
                  <c:v>92.797958500929482</c:v>
                </c:pt>
                <c:pt idx="1345">
                  <c:v>92.885873666684589</c:v>
                </c:pt>
                <c:pt idx="1346">
                  <c:v>88.743746742081584</c:v>
                </c:pt>
                <c:pt idx="1347">
                  <c:v>87.411793080376029</c:v>
                </c:pt>
                <c:pt idx="1348">
                  <c:v>87.434355379552102</c:v>
                </c:pt>
                <c:pt idx="1349">
                  <c:v>90.432029128706006</c:v>
                </c:pt>
                <c:pt idx="1350">
                  <c:v>91.618494861241601</c:v>
                </c:pt>
                <c:pt idx="1351">
                  <c:v>90.192401951249622</c:v>
                </c:pt>
                <c:pt idx="1352">
                  <c:v>91.556254035928262</c:v>
                </c:pt>
                <c:pt idx="1353">
                  <c:v>94.145472368963354</c:v>
                </c:pt>
                <c:pt idx="1354">
                  <c:v>94.366427298825755</c:v>
                </c:pt>
                <c:pt idx="1355">
                  <c:v>94.830899457726588</c:v>
                </c:pt>
                <c:pt idx="1356">
                  <c:v>93.705118529871498</c:v>
                </c:pt>
                <c:pt idx="1357">
                  <c:v>91.336077116382356</c:v>
                </c:pt>
                <c:pt idx="1358">
                  <c:v>90.656874110150497</c:v>
                </c:pt>
                <c:pt idx="1359">
                  <c:v>93.25387254634974</c:v>
                </c:pt>
                <c:pt idx="1360">
                  <c:v>92.264243423867597</c:v>
                </c:pt>
                <c:pt idx="1361">
                  <c:v>89.800284751775607</c:v>
                </c:pt>
                <c:pt idx="1362">
                  <c:v>90.425805046174716</c:v>
                </c:pt>
                <c:pt idx="1363">
                  <c:v>91.25049598157652</c:v>
                </c:pt>
                <c:pt idx="1364">
                  <c:v>92.480530291831485</c:v>
                </c:pt>
                <c:pt idx="1365">
                  <c:v>94.070005368270969</c:v>
                </c:pt>
                <c:pt idx="1366">
                  <c:v>94.606832486598549</c:v>
                </c:pt>
                <c:pt idx="1367">
                  <c:v>93.679444189429717</c:v>
                </c:pt>
                <c:pt idx="1368">
                  <c:v>93.523842126146349</c:v>
                </c:pt>
                <c:pt idx="1369">
                  <c:v>90.775131678245828</c:v>
                </c:pt>
                <c:pt idx="1370">
                  <c:v>87.880933301175361</c:v>
                </c:pt>
                <c:pt idx="1371">
                  <c:v>88.415426388553712</c:v>
                </c:pt>
                <c:pt idx="1372">
                  <c:v>90.478709747691042</c:v>
                </c:pt>
                <c:pt idx="1373">
                  <c:v>91.445776570997126</c:v>
                </c:pt>
                <c:pt idx="1374">
                  <c:v>89.553655481471466</c:v>
                </c:pt>
                <c:pt idx="1375">
                  <c:v>90.280317117004756</c:v>
                </c:pt>
                <c:pt idx="1376">
                  <c:v>88.025643220028897</c:v>
                </c:pt>
                <c:pt idx="1377">
                  <c:v>85.521228011483231</c:v>
                </c:pt>
                <c:pt idx="1378">
                  <c:v>87.444469513665538</c:v>
                </c:pt>
                <c:pt idx="1379">
                  <c:v>89.006714229030436</c:v>
                </c:pt>
                <c:pt idx="1380">
                  <c:v>90.635867831607214</c:v>
                </c:pt>
                <c:pt idx="1381">
                  <c:v>89.89598002069485</c:v>
                </c:pt>
                <c:pt idx="1382">
                  <c:v>92.963674698326287</c:v>
                </c:pt>
                <c:pt idx="1383">
                  <c:v>93.01424536889337</c:v>
                </c:pt>
                <c:pt idx="1384">
                  <c:v>93.925295449417447</c:v>
                </c:pt>
                <c:pt idx="1385">
                  <c:v>93.645989745823826</c:v>
                </c:pt>
                <c:pt idx="1386">
                  <c:v>95.273587327767743</c:v>
                </c:pt>
                <c:pt idx="1387">
                  <c:v>93.428146857227091</c:v>
                </c:pt>
                <c:pt idx="1388">
                  <c:v>95.335828153081081</c:v>
                </c:pt>
                <c:pt idx="1389">
                  <c:v>94.129912162635051</c:v>
                </c:pt>
                <c:pt idx="1390">
                  <c:v>94.558595846980694</c:v>
                </c:pt>
                <c:pt idx="1391">
                  <c:v>96.337127430309479</c:v>
                </c:pt>
                <c:pt idx="1392">
                  <c:v>97.577275874677852</c:v>
                </c:pt>
                <c:pt idx="1393">
                  <c:v>95.621357939206035</c:v>
                </c:pt>
                <c:pt idx="1394">
                  <c:v>96.62888129896578</c:v>
                </c:pt>
                <c:pt idx="1395">
                  <c:v>99.942427236584905</c:v>
                </c:pt>
                <c:pt idx="1396">
                  <c:v>99.981327752405747</c:v>
                </c:pt>
                <c:pt idx="1397">
                  <c:v>97.508032956516757</c:v>
                </c:pt>
                <c:pt idx="1398">
                  <c:v>94.783440828425142</c:v>
                </c:pt>
                <c:pt idx="1399">
                  <c:v>96.309897069234907</c:v>
                </c:pt>
                <c:pt idx="1400">
                  <c:v>98.118771054903959</c:v>
                </c:pt>
                <c:pt idx="1401">
                  <c:v>97.502586884301849</c:v>
                </c:pt>
                <c:pt idx="1402">
                  <c:v>98.116437023954703</c:v>
                </c:pt>
                <c:pt idx="1403">
                  <c:v>99.267892292251574</c:v>
                </c:pt>
                <c:pt idx="1404">
                  <c:v>95.625247990788139</c:v>
                </c:pt>
                <c:pt idx="1405">
                  <c:v>96.449160915873549</c:v>
                </c:pt>
                <c:pt idx="1406">
                  <c:v>98.328833840336515</c:v>
                </c:pt>
                <c:pt idx="1407">
                  <c:v>97.389775388421455</c:v>
                </c:pt>
                <c:pt idx="1408">
                  <c:v>97.858915609220801</c:v>
                </c:pt>
                <c:pt idx="1409">
                  <c:v>96.232874047909718</c:v>
                </c:pt>
                <c:pt idx="1410">
                  <c:v>94.616168610395619</c:v>
                </c:pt>
                <c:pt idx="1411">
                  <c:v>94.57882411520761</c:v>
                </c:pt>
                <c:pt idx="1412">
                  <c:v>92.815074727890746</c:v>
                </c:pt>
                <c:pt idx="1413">
                  <c:v>92.430737631580854</c:v>
                </c:pt>
                <c:pt idx="1414">
                  <c:v>90.388460550986764</c:v>
                </c:pt>
                <c:pt idx="1415">
                  <c:v>90.145721332264742</c:v>
                </c:pt>
                <c:pt idx="1416">
                  <c:v>92.781620284284841</c:v>
                </c:pt>
                <c:pt idx="1417">
                  <c:v>92.987015007818897</c:v>
                </c:pt>
                <c:pt idx="1418">
                  <c:v>97.014774415908647</c:v>
                </c:pt>
                <c:pt idx="1419">
                  <c:v>96.82960796060145</c:v>
                </c:pt>
                <c:pt idx="1420">
                  <c:v>96.806267651108953</c:v>
                </c:pt>
                <c:pt idx="1421">
                  <c:v>97.802120856122428</c:v>
                </c:pt>
                <c:pt idx="1422">
                  <c:v>97.910264290104365</c:v>
                </c:pt>
                <c:pt idx="1423">
                  <c:v>98.107878910474227</c:v>
                </c:pt>
                <c:pt idx="1424">
                  <c:v>96.033703406907037</c:v>
                </c:pt>
                <c:pt idx="1425">
                  <c:v>97.655076906319664</c:v>
                </c:pt>
                <c:pt idx="1426">
                  <c:v>96.198641593987432</c:v>
                </c:pt>
                <c:pt idx="1427">
                  <c:v>95.363058514155796</c:v>
                </c:pt>
                <c:pt idx="1428">
                  <c:v>94.280846164020033</c:v>
                </c:pt>
                <c:pt idx="1429">
                  <c:v>94.586604218371832</c:v>
                </c:pt>
                <c:pt idx="1430">
                  <c:v>94.890806252090826</c:v>
                </c:pt>
                <c:pt idx="1431">
                  <c:v>93.777473489298373</c:v>
                </c:pt>
                <c:pt idx="1432">
                  <c:v>96.574420576816763</c:v>
                </c:pt>
                <c:pt idx="1433">
                  <c:v>96.762699073389612</c:v>
                </c:pt>
                <c:pt idx="1434">
                  <c:v>97.562493678666073</c:v>
                </c:pt>
                <c:pt idx="1435">
                  <c:v>98.443979367166293</c:v>
                </c:pt>
                <c:pt idx="1436">
                  <c:v>98.451759470330472</c:v>
                </c:pt>
                <c:pt idx="1437">
                  <c:v>97.223281180708369</c:v>
                </c:pt>
                <c:pt idx="1438">
                  <c:v>98.264258984074047</c:v>
                </c:pt>
                <c:pt idx="1439">
                  <c:v>97.842577392576132</c:v>
                </c:pt>
                <c:pt idx="1440">
                  <c:v>99.356585468323217</c:v>
                </c:pt>
                <c:pt idx="1441">
                  <c:v>99.375257715917201</c:v>
                </c:pt>
                <c:pt idx="1442">
                  <c:v>99.667789594889911</c:v>
                </c:pt>
                <c:pt idx="1443">
                  <c:v>99.414936242054452</c:v>
                </c:pt>
                <c:pt idx="1444">
                  <c:v>99.6397812234989</c:v>
                </c:pt>
                <c:pt idx="1445">
                  <c:v>100.5251569635812</c:v>
                </c:pt>
                <c:pt idx="1446">
                  <c:v>100.55627737623787</c:v>
                </c:pt>
                <c:pt idx="1447">
                  <c:v>100.79123649179574</c:v>
                </c:pt>
                <c:pt idx="1448">
                  <c:v>100.29253187897257</c:v>
                </c:pt>
                <c:pt idx="1449">
                  <c:v>100.64886060389146</c:v>
                </c:pt>
                <c:pt idx="1450">
                  <c:v>101.76686142858239</c:v>
                </c:pt>
                <c:pt idx="1451">
                  <c:v>102.26945609298764</c:v>
                </c:pt>
                <c:pt idx="1452">
                  <c:v>102.33792100083234</c:v>
                </c:pt>
                <c:pt idx="1453">
                  <c:v>102.38615764045016</c:v>
                </c:pt>
                <c:pt idx="1454">
                  <c:v>102.28112624773389</c:v>
                </c:pt>
                <c:pt idx="1455">
                  <c:v>103.16805800844902</c:v>
                </c:pt>
                <c:pt idx="1456">
                  <c:v>102.57521414733942</c:v>
                </c:pt>
                <c:pt idx="1457">
                  <c:v>102.41183198089189</c:v>
                </c:pt>
                <c:pt idx="1458">
                  <c:v>102.15353255584152</c:v>
                </c:pt>
                <c:pt idx="1459">
                  <c:v>102.10685193685653</c:v>
                </c:pt>
                <c:pt idx="1460">
                  <c:v>103.01556798643135</c:v>
                </c:pt>
                <c:pt idx="1461">
                  <c:v>103.12837948231179</c:v>
                </c:pt>
                <c:pt idx="1462">
                  <c:v>104.63460745489472</c:v>
                </c:pt>
                <c:pt idx="1463">
                  <c:v>104.59026086685896</c:v>
                </c:pt>
                <c:pt idx="1464">
                  <c:v>104.80187967292433</c:v>
                </c:pt>
                <c:pt idx="1465">
                  <c:v>105.02828067500162</c:v>
                </c:pt>
                <c:pt idx="1466">
                  <c:v>105.18310472796857</c:v>
                </c:pt>
                <c:pt idx="1467">
                  <c:v>104.45877712338454</c:v>
                </c:pt>
                <c:pt idx="1468">
                  <c:v>105.16910054227306</c:v>
                </c:pt>
                <c:pt idx="1469">
                  <c:v>105.07029323208812</c:v>
                </c:pt>
                <c:pt idx="1470">
                  <c:v>104.50467973205312</c:v>
                </c:pt>
                <c:pt idx="1471">
                  <c:v>105.65691301066639</c:v>
                </c:pt>
                <c:pt idx="1472">
                  <c:v>105.90509830160335</c:v>
                </c:pt>
                <c:pt idx="1473">
                  <c:v>105.98134331261218</c:v>
                </c:pt>
                <c:pt idx="1474">
                  <c:v>105.62734861864254</c:v>
                </c:pt>
                <c:pt idx="1475">
                  <c:v>106.07859460216429</c:v>
                </c:pt>
                <c:pt idx="1476">
                  <c:v>106.25598095430729</c:v>
                </c:pt>
                <c:pt idx="1477">
                  <c:v>106.3999128628444</c:v>
                </c:pt>
                <c:pt idx="1478">
                  <c:v>106.75701959807972</c:v>
                </c:pt>
                <c:pt idx="1479">
                  <c:v>106.25131289240882</c:v>
                </c:pt>
                <c:pt idx="1480">
                  <c:v>106.90561956851532</c:v>
                </c:pt>
                <c:pt idx="1481">
                  <c:v>106.55862696739345</c:v>
                </c:pt>
                <c:pt idx="1482">
                  <c:v>106.14628149969253</c:v>
                </c:pt>
                <c:pt idx="1483">
                  <c:v>104.51479386616651</c:v>
                </c:pt>
                <c:pt idx="1484">
                  <c:v>105.23600942948488</c:v>
                </c:pt>
                <c:pt idx="1485">
                  <c:v>106.26920712968638</c:v>
                </c:pt>
                <c:pt idx="1486">
                  <c:v>106.6551002466291</c:v>
                </c:pt>
                <c:pt idx="1487">
                  <c:v>106.67221647359028</c:v>
                </c:pt>
                <c:pt idx="1488">
                  <c:v>108.60635012020245</c:v>
                </c:pt>
                <c:pt idx="1489">
                  <c:v>108.47642239736084</c:v>
                </c:pt>
                <c:pt idx="1490">
                  <c:v>109.12372698061959</c:v>
                </c:pt>
                <c:pt idx="1491">
                  <c:v>109.24587460029703</c:v>
                </c:pt>
                <c:pt idx="1492">
                  <c:v>109.68000435685761</c:v>
                </c:pt>
                <c:pt idx="1493">
                  <c:v>109.3509059930133</c:v>
                </c:pt>
                <c:pt idx="1494">
                  <c:v>109.14628927979571</c:v>
                </c:pt>
                <c:pt idx="1495">
                  <c:v>108.35972084989832</c:v>
                </c:pt>
                <c:pt idx="1496">
                  <c:v>108.69659931690678</c:v>
                </c:pt>
                <c:pt idx="1497">
                  <c:v>110.20593933075538</c:v>
                </c:pt>
                <c:pt idx="1498">
                  <c:v>109.89551321450507</c:v>
                </c:pt>
                <c:pt idx="1499">
                  <c:v>109.35246201364613</c:v>
                </c:pt>
                <c:pt idx="1500">
                  <c:v>109.17663168213593</c:v>
                </c:pt>
                <c:pt idx="1501">
                  <c:v>109.58041903635628</c:v>
                </c:pt>
                <c:pt idx="1502">
                  <c:v>110.40277594080882</c:v>
                </c:pt>
                <c:pt idx="1503">
                  <c:v>109.96242210171692</c:v>
                </c:pt>
                <c:pt idx="1504">
                  <c:v>108.8405312254439</c:v>
                </c:pt>
                <c:pt idx="1505">
                  <c:v>108.77206631759921</c:v>
                </c:pt>
                <c:pt idx="1506">
                  <c:v>107.53658593512935</c:v>
                </c:pt>
                <c:pt idx="1507">
                  <c:v>105.6997035780693</c:v>
                </c:pt>
                <c:pt idx="1508">
                  <c:v>106.4870500182831</c:v>
                </c:pt>
                <c:pt idx="1509">
                  <c:v>107.95437747504516</c:v>
                </c:pt>
                <c:pt idx="1510">
                  <c:v>106.6076416173277</c:v>
                </c:pt>
                <c:pt idx="1511">
                  <c:v>106.55395890549494</c:v>
                </c:pt>
                <c:pt idx="1512">
                  <c:v>108.20411878661494</c:v>
                </c:pt>
                <c:pt idx="1513">
                  <c:v>107.76532096815588</c:v>
                </c:pt>
                <c:pt idx="1514">
                  <c:v>107.12579648806127</c:v>
                </c:pt>
                <c:pt idx="1515">
                  <c:v>107.25105614900437</c:v>
                </c:pt>
                <c:pt idx="1516">
                  <c:v>106.34934219227731</c:v>
                </c:pt>
                <c:pt idx="1517">
                  <c:v>106.74068138143495</c:v>
                </c:pt>
                <c:pt idx="1518">
                  <c:v>108.19711669376717</c:v>
                </c:pt>
                <c:pt idx="1519">
                  <c:v>108.91988827771839</c:v>
                </c:pt>
                <c:pt idx="1520">
                  <c:v>109.18285576466727</c:v>
                </c:pt>
                <c:pt idx="1521">
                  <c:v>108.75884014222012</c:v>
                </c:pt>
                <c:pt idx="1522">
                  <c:v>109.3742463025058</c:v>
                </c:pt>
                <c:pt idx="1523">
                  <c:v>109.10116468144349</c:v>
                </c:pt>
                <c:pt idx="1524">
                  <c:v>108.26558160161187</c:v>
                </c:pt>
                <c:pt idx="1525">
                  <c:v>106.51739242062334</c:v>
                </c:pt>
                <c:pt idx="1526">
                  <c:v>106.55473691581133</c:v>
                </c:pt>
                <c:pt idx="1527">
                  <c:v>106.09882287039109</c:v>
                </c:pt>
                <c:pt idx="1528">
                  <c:v>105.38772144118613</c:v>
                </c:pt>
                <c:pt idx="1529">
                  <c:v>105.65302295908427</c:v>
                </c:pt>
                <c:pt idx="1530">
                  <c:v>105.29513821353254</c:v>
                </c:pt>
                <c:pt idx="1531">
                  <c:v>104.12501069764167</c:v>
                </c:pt>
                <c:pt idx="1532">
                  <c:v>103.52672076431715</c:v>
                </c:pt>
                <c:pt idx="1533">
                  <c:v>103.0708067188969</c:v>
                </c:pt>
                <c:pt idx="1534">
                  <c:v>101.51945414796182</c:v>
                </c:pt>
                <c:pt idx="1535">
                  <c:v>100.76945220293605</c:v>
                </c:pt>
                <c:pt idx="1536">
                  <c:v>102.38537963013374</c:v>
                </c:pt>
                <c:pt idx="1537">
                  <c:v>102.43517229038443</c:v>
                </c:pt>
                <c:pt idx="1538">
                  <c:v>102.60866859094537</c:v>
                </c:pt>
                <c:pt idx="1539">
                  <c:v>102.75026646853324</c:v>
                </c:pt>
                <c:pt idx="1540">
                  <c:v>102.52775551803803</c:v>
                </c:pt>
                <c:pt idx="1541">
                  <c:v>103.66365058000656</c:v>
                </c:pt>
                <c:pt idx="1542">
                  <c:v>102.17765087565046</c:v>
                </c:pt>
                <c:pt idx="1543">
                  <c:v>101.94502579104183</c:v>
                </c:pt>
                <c:pt idx="1544">
                  <c:v>99.432830479331997</c:v>
                </c:pt>
                <c:pt idx="1545">
                  <c:v>99.443722623761843</c:v>
                </c:pt>
                <c:pt idx="1546">
                  <c:v>100.01322617537893</c:v>
                </c:pt>
                <c:pt idx="1547">
                  <c:v>102.31847074292189</c:v>
                </c:pt>
                <c:pt idx="1548">
                  <c:v>102.30757859849204</c:v>
                </c:pt>
                <c:pt idx="1549">
                  <c:v>103.13771560610878</c:v>
                </c:pt>
                <c:pt idx="1550">
                  <c:v>101.83610434674348</c:v>
                </c:pt>
                <c:pt idx="1551">
                  <c:v>103.02257007927909</c:v>
                </c:pt>
                <c:pt idx="1552">
                  <c:v>102.29902048501147</c:v>
                </c:pt>
                <c:pt idx="1553">
                  <c:v>103.40535115495612</c:v>
                </c:pt>
                <c:pt idx="1554">
                  <c:v>104.4743373297128</c:v>
                </c:pt>
                <c:pt idx="1555">
                  <c:v>104.62527133109764</c:v>
                </c:pt>
                <c:pt idx="1556">
                  <c:v>105.65224494876779</c:v>
                </c:pt>
                <c:pt idx="1557">
                  <c:v>105.47408058630833</c:v>
                </c:pt>
                <c:pt idx="1558">
                  <c:v>103.12604545136246</c:v>
                </c:pt>
                <c:pt idx="1559">
                  <c:v>103.86593326227484</c:v>
                </c:pt>
                <c:pt idx="1560">
                  <c:v>102.20877128830706</c:v>
                </c:pt>
                <c:pt idx="1561">
                  <c:v>102.69658375670039</c:v>
                </c:pt>
                <c:pt idx="1562">
                  <c:v>103.61930399197071</c:v>
                </c:pt>
                <c:pt idx="1563">
                  <c:v>103.40068309305759</c:v>
                </c:pt>
                <c:pt idx="1564">
                  <c:v>105.97745326103002</c:v>
                </c:pt>
                <c:pt idx="1565">
                  <c:v>106.23808671702965</c:v>
                </c:pt>
                <c:pt idx="1566">
                  <c:v>106.90017349630033</c:v>
                </c:pt>
                <c:pt idx="1567">
                  <c:v>106.39913485252792</c:v>
                </c:pt>
                <c:pt idx="1568">
                  <c:v>105.39550154435027</c:v>
                </c:pt>
                <c:pt idx="1569">
                  <c:v>105.22278325410572</c:v>
                </c:pt>
                <c:pt idx="1570">
                  <c:v>104.36774991636366</c:v>
                </c:pt>
                <c:pt idx="1571">
                  <c:v>104.36619389573082</c:v>
                </c:pt>
                <c:pt idx="1572">
                  <c:v>103.84570499404799</c:v>
                </c:pt>
                <c:pt idx="1573">
                  <c:v>105.55888371079779</c:v>
                </c:pt>
                <c:pt idx="1574">
                  <c:v>105.31458847144292</c:v>
                </c:pt>
                <c:pt idx="1575">
                  <c:v>106.09493281880897</c:v>
                </c:pt>
                <c:pt idx="1576">
                  <c:v>106.80370021706466</c:v>
                </c:pt>
                <c:pt idx="1577">
                  <c:v>107.09389806508811</c:v>
                </c:pt>
                <c:pt idx="1578">
                  <c:v>106.01635377685086</c:v>
                </c:pt>
                <c:pt idx="1579">
                  <c:v>105.07184925272088</c:v>
                </c:pt>
                <c:pt idx="1580">
                  <c:v>104.12189865637596</c:v>
                </c:pt>
                <c:pt idx="1581">
                  <c:v>104.08922222308645</c:v>
                </c:pt>
                <c:pt idx="1582">
                  <c:v>105.81095905331679</c:v>
                </c:pt>
                <c:pt idx="1583">
                  <c:v>107.82989582441839</c:v>
                </c:pt>
                <c:pt idx="1584">
                  <c:v>107.77776913321846</c:v>
                </c:pt>
                <c:pt idx="1585">
                  <c:v>107.31251896400121</c:v>
                </c:pt>
                <c:pt idx="1586">
                  <c:v>106.98731065173901</c:v>
                </c:pt>
                <c:pt idx="1587">
                  <c:v>106.19840819089238</c:v>
                </c:pt>
                <c:pt idx="1588">
                  <c:v>108.22045700325961</c:v>
                </c:pt>
                <c:pt idx="1589">
                  <c:v>108.47253234577865</c:v>
                </c:pt>
                <c:pt idx="1590">
                  <c:v>109.0264756910674</c:v>
                </c:pt>
                <c:pt idx="1591">
                  <c:v>109.09416258859568</c:v>
                </c:pt>
                <c:pt idx="1592">
                  <c:v>109.13928718694785</c:v>
                </c:pt>
                <c:pt idx="1593">
                  <c:v>109.3781363540878</c:v>
                </c:pt>
                <c:pt idx="1594">
                  <c:v>109.24120653839844</c:v>
                </c:pt>
                <c:pt idx="1595">
                  <c:v>109.22720235270295</c:v>
                </c:pt>
                <c:pt idx="1596">
                  <c:v>109.35168400332962</c:v>
                </c:pt>
                <c:pt idx="1597">
                  <c:v>110.12813829911359</c:v>
                </c:pt>
                <c:pt idx="1598">
                  <c:v>110.33431103296407</c:v>
                </c:pt>
                <c:pt idx="1599">
                  <c:v>110.33197700201482</c:v>
                </c:pt>
                <c:pt idx="1600">
                  <c:v>109.9460838850721</c:v>
                </c:pt>
                <c:pt idx="1601">
                  <c:v>109.97098021519743</c:v>
                </c:pt>
                <c:pt idx="1602">
                  <c:v>109.08327044416586</c:v>
                </c:pt>
                <c:pt idx="1603">
                  <c:v>109.78736978052308</c:v>
                </c:pt>
                <c:pt idx="1604">
                  <c:v>109.73368706869032</c:v>
                </c:pt>
                <c:pt idx="1605">
                  <c:v>109.6449938926188</c:v>
                </c:pt>
                <c:pt idx="1606">
                  <c:v>109.73757712027241</c:v>
                </c:pt>
                <c:pt idx="1607">
                  <c:v>108.88098776189752</c:v>
                </c:pt>
                <c:pt idx="1608">
                  <c:v>109.43337508655343</c:v>
                </c:pt>
                <c:pt idx="1609">
                  <c:v>109.3057813946611</c:v>
                </c:pt>
                <c:pt idx="1610">
                  <c:v>109.18907984719856</c:v>
                </c:pt>
                <c:pt idx="1611">
                  <c:v>111.42041343468192</c:v>
                </c:pt>
                <c:pt idx="1612">
                  <c:v>111.87165941820368</c:v>
                </c:pt>
                <c:pt idx="1613">
                  <c:v>111.18389829849121</c:v>
                </c:pt>
                <c:pt idx="1614">
                  <c:v>111.53244692024596</c:v>
                </c:pt>
                <c:pt idx="1615">
                  <c:v>111.76585001517101</c:v>
                </c:pt>
                <c:pt idx="1616">
                  <c:v>113.58872818653556</c:v>
                </c:pt>
                <c:pt idx="1617">
                  <c:v>114.03841814942447</c:v>
                </c:pt>
                <c:pt idx="1618">
                  <c:v>113.68208942450559</c:v>
                </c:pt>
                <c:pt idx="1619">
                  <c:v>113.53660149533565</c:v>
                </c:pt>
                <c:pt idx="1620">
                  <c:v>113.67119728007573</c:v>
                </c:pt>
                <c:pt idx="1621">
                  <c:v>113.60973446507882</c:v>
                </c:pt>
                <c:pt idx="1622">
                  <c:v>113.60117635159823</c:v>
                </c:pt>
                <c:pt idx="1623">
                  <c:v>113.34754498844636</c:v>
                </c:pt>
                <c:pt idx="1624">
                  <c:v>112.15718920432865</c:v>
                </c:pt>
                <c:pt idx="1625">
                  <c:v>111.51377467265195</c:v>
                </c:pt>
                <c:pt idx="1626">
                  <c:v>112.58976294025638</c:v>
                </c:pt>
                <c:pt idx="1627">
                  <c:v>112.08561225521828</c:v>
                </c:pt>
                <c:pt idx="1628">
                  <c:v>112.38281219608947</c:v>
                </c:pt>
                <c:pt idx="1629">
                  <c:v>112.48084149595799</c:v>
                </c:pt>
                <c:pt idx="1630">
                  <c:v>112.88851890176038</c:v>
                </c:pt>
                <c:pt idx="1631">
                  <c:v>113.69842764115027</c:v>
                </c:pt>
                <c:pt idx="1632">
                  <c:v>113.66186115627869</c:v>
                </c:pt>
                <c:pt idx="1633">
                  <c:v>113.26896594648821</c:v>
                </c:pt>
                <c:pt idx="1634">
                  <c:v>112.14863109084803</c:v>
                </c:pt>
                <c:pt idx="1635">
                  <c:v>111.45464588860423</c:v>
                </c:pt>
                <c:pt idx="1636">
                  <c:v>111.47643017746391</c:v>
                </c:pt>
                <c:pt idx="1637">
                  <c:v>111.14577579298677</c:v>
                </c:pt>
                <c:pt idx="1638">
                  <c:v>112.04359969813179</c:v>
                </c:pt>
                <c:pt idx="1639">
                  <c:v>113.19427695611222</c:v>
                </c:pt>
                <c:pt idx="1640">
                  <c:v>113.6603051356459</c:v>
                </c:pt>
                <c:pt idx="1641">
                  <c:v>113.3825554526851</c:v>
                </c:pt>
                <c:pt idx="1642">
                  <c:v>111.50366053853855</c:v>
                </c:pt>
                <c:pt idx="1643">
                  <c:v>111.55267518847282</c:v>
                </c:pt>
                <c:pt idx="1644">
                  <c:v>109.94141582317363</c:v>
                </c:pt>
                <c:pt idx="1645">
                  <c:v>109.60220332521591</c:v>
                </c:pt>
                <c:pt idx="1646">
                  <c:v>109.93052367874378</c:v>
                </c:pt>
                <c:pt idx="1647">
                  <c:v>109.85038861615284</c:v>
                </c:pt>
                <c:pt idx="1648">
                  <c:v>109.86750484311401</c:v>
                </c:pt>
                <c:pt idx="1649">
                  <c:v>111.06797476134511</c:v>
                </c:pt>
                <c:pt idx="1650">
                  <c:v>110.02621894766303</c:v>
                </c:pt>
                <c:pt idx="1651">
                  <c:v>110.26429010448656</c:v>
                </c:pt>
                <c:pt idx="1652">
                  <c:v>111.13021558665848</c:v>
                </c:pt>
                <c:pt idx="1653">
                  <c:v>108.4958726552712</c:v>
                </c:pt>
                <c:pt idx="1654">
                  <c:v>107.17169909672981</c:v>
                </c:pt>
                <c:pt idx="1655">
                  <c:v>107.35375351077134</c:v>
                </c:pt>
                <c:pt idx="1656">
                  <c:v>107.36775769646684</c:v>
                </c:pt>
                <c:pt idx="1657">
                  <c:v>106.93985202243762</c:v>
                </c:pt>
                <c:pt idx="1658">
                  <c:v>105.45852037998003</c:v>
                </c:pt>
                <c:pt idx="1659">
                  <c:v>105.290470151634</c:v>
                </c:pt>
                <c:pt idx="1660">
                  <c:v>105.80006690888702</c:v>
                </c:pt>
                <c:pt idx="1661">
                  <c:v>107.90147277352877</c:v>
                </c:pt>
                <c:pt idx="1662">
                  <c:v>107.9730497226391</c:v>
                </c:pt>
                <c:pt idx="1663">
                  <c:v>108.22356904452532</c:v>
                </c:pt>
                <c:pt idx="1664">
                  <c:v>109.63332373787256</c:v>
                </c:pt>
                <c:pt idx="1665">
                  <c:v>109.41081278737734</c:v>
                </c:pt>
                <c:pt idx="1666">
                  <c:v>108.83897520481099</c:v>
                </c:pt>
                <c:pt idx="1667">
                  <c:v>109.69400854255304</c:v>
                </c:pt>
                <c:pt idx="1668">
                  <c:v>110.16237075303593</c:v>
                </c:pt>
                <c:pt idx="1669">
                  <c:v>110.1802649903135</c:v>
                </c:pt>
                <c:pt idx="1670">
                  <c:v>109.65744205768139</c:v>
                </c:pt>
                <c:pt idx="1671">
                  <c:v>109.46994157142494</c:v>
                </c:pt>
                <c:pt idx="1672">
                  <c:v>109.64343787198591</c:v>
                </c:pt>
                <c:pt idx="1673">
                  <c:v>110.00599067943612</c:v>
                </c:pt>
                <c:pt idx="1674">
                  <c:v>110.32730894011625</c:v>
                </c:pt>
                <c:pt idx="1675">
                  <c:v>110.36465343530426</c:v>
                </c:pt>
                <c:pt idx="1676">
                  <c:v>111.08742501925545</c:v>
                </c:pt>
                <c:pt idx="1677">
                  <c:v>111.13721767950615</c:v>
                </c:pt>
                <c:pt idx="1678">
                  <c:v>110.4346743637818</c:v>
                </c:pt>
                <c:pt idx="1679">
                  <c:v>109.97798230804511</c:v>
                </c:pt>
                <c:pt idx="1680">
                  <c:v>111.28348361899248</c:v>
                </c:pt>
                <c:pt idx="1681">
                  <c:v>112.56175456886528</c:v>
                </c:pt>
                <c:pt idx="1682">
                  <c:v>111.70749924143965</c:v>
                </c:pt>
                <c:pt idx="1683">
                  <c:v>112.32057137077609</c:v>
                </c:pt>
                <c:pt idx="1684">
                  <c:v>111.26714540234777</c:v>
                </c:pt>
                <c:pt idx="1685">
                  <c:v>110.99561980191831</c:v>
                </c:pt>
                <c:pt idx="1686">
                  <c:v>110.46423875580562</c:v>
                </c:pt>
                <c:pt idx="1687">
                  <c:v>110.32964297106552</c:v>
                </c:pt>
                <c:pt idx="1688">
                  <c:v>109.11050080524043</c:v>
                </c:pt>
                <c:pt idx="1689">
                  <c:v>110.95905331704674</c:v>
                </c:pt>
                <c:pt idx="1690">
                  <c:v>113.77778469342478</c:v>
                </c:pt>
                <c:pt idx="1691">
                  <c:v>113.54049154691764</c:v>
                </c:pt>
                <c:pt idx="1692">
                  <c:v>114.09287887157357</c:v>
                </c:pt>
                <c:pt idx="1693">
                  <c:v>113.73655014665468</c:v>
                </c:pt>
                <c:pt idx="1694">
                  <c:v>113.36777325667313</c:v>
                </c:pt>
                <c:pt idx="1695">
                  <c:v>113.66886324912642</c:v>
                </c:pt>
                <c:pt idx="1696">
                  <c:v>114.53245470034905</c:v>
                </c:pt>
                <c:pt idx="1697">
                  <c:v>114.52700862813414</c:v>
                </c:pt>
                <c:pt idx="1698">
                  <c:v>114.42042121478505</c:v>
                </c:pt>
                <c:pt idx="1699">
                  <c:v>114.54957092731021</c:v>
                </c:pt>
                <c:pt idx="1700">
                  <c:v>114.5721332264863</c:v>
                </c:pt>
                <c:pt idx="1701">
                  <c:v>115.21865979942866</c:v>
                </c:pt>
                <c:pt idx="1702">
                  <c:v>115.61077699890272</c:v>
                </c:pt>
                <c:pt idx="1703">
                  <c:v>116.12270778710496</c:v>
                </c:pt>
                <c:pt idx="1704">
                  <c:v>116.29776010829875</c:v>
                </c:pt>
                <c:pt idx="1705">
                  <c:v>116.29853811861517</c:v>
                </c:pt>
                <c:pt idx="1706">
                  <c:v>116.93183851617846</c:v>
                </c:pt>
                <c:pt idx="1707">
                  <c:v>116.71555164821459</c:v>
                </c:pt>
                <c:pt idx="1708">
                  <c:v>117.31150755058984</c:v>
                </c:pt>
                <c:pt idx="1709">
                  <c:v>116.85403748453678</c:v>
                </c:pt>
                <c:pt idx="1710">
                  <c:v>116.55450351271629</c:v>
                </c:pt>
                <c:pt idx="1711">
                  <c:v>117.72618704924</c:v>
                </c:pt>
                <c:pt idx="1712">
                  <c:v>116.36778103677626</c:v>
                </c:pt>
                <c:pt idx="1713">
                  <c:v>117.5799211097536</c:v>
                </c:pt>
                <c:pt idx="1714">
                  <c:v>117.64449596601618</c:v>
                </c:pt>
                <c:pt idx="1715">
                  <c:v>117.43209914963441</c:v>
                </c:pt>
                <c:pt idx="1716">
                  <c:v>118.09651995985435</c:v>
                </c:pt>
                <c:pt idx="1717">
                  <c:v>118.024943010744</c:v>
                </c:pt>
                <c:pt idx="1718">
                  <c:v>118.21322150731686</c:v>
                </c:pt>
                <c:pt idx="1719">
                  <c:v>118.28324243579435</c:v>
                </c:pt>
                <c:pt idx="1720">
                  <c:v>118.36493351901814</c:v>
                </c:pt>
                <c:pt idx="1721">
                  <c:v>118.24122987870786</c:v>
                </c:pt>
                <c:pt idx="1722">
                  <c:v>119.10871138151259</c:v>
                </c:pt>
                <c:pt idx="1723">
                  <c:v>117.63126979063709</c:v>
                </c:pt>
                <c:pt idx="1724">
                  <c:v>116.88982595909189</c:v>
                </c:pt>
                <c:pt idx="1725">
                  <c:v>117.91524355612921</c:v>
                </c:pt>
                <c:pt idx="1726">
                  <c:v>115.7562649280726</c:v>
                </c:pt>
                <c:pt idx="1727">
                  <c:v>116.46347630569548</c:v>
                </c:pt>
                <c:pt idx="1728">
                  <c:v>117.94558595846948</c:v>
                </c:pt>
                <c:pt idx="1729">
                  <c:v>117.84366660701889</c:v>
                </c:pt>
                <c:pt idx="1730">
                  <c:v>118.11752623839759</c:v>
                </c:pt>
                <c:pt idx="1731">
                  <c:v>118.66213345988935</c:v>
                </c:pt>
                <c:pt idx="1732">
                  <c:v>119.79725051154145</c:v>
                </c:pt>
                <c:pt idx="1733">
                  <c:v>119.92717823438306</c:v>
                </c:pt>
                <c:pt idx="1734">
                  <c:v>120.14502112297976</c:v>
                </c:pt>
                <c:pt idx="1735">
                  <c:v>120.6834042619402</c:v>
                </c:pt>
                <c:pt idx="1736">
                  <c:v>121.07552146141425</c:v>
                </c:pt>
                <c:pt idx="1737">
                  <c:v>120.78454560307438</c:v>
                </c:pt>
                <c:pt idx="1738">
                  <c:v>120.94325970762343</c:v>
                </c:pt>
                <c:pt idx="1739">
                  <c:v>121.62090669322247</c:v>
                </c:pt>
                <c:pt idx="1740">
                  <c:v>121.42407008316901</c:v>
                </c:pt>
                <c:pt idx="1741">
                  <c:v>120.75498121105056</c:v>
                </c:pt>
                <c:pt idx="1742">
                  <c:v>120.46244933207785</c:v>
                </c:pt>
                <c:pt idx="1743">
                  <c:v>121.2692460302021</c:v>
                </c:pt>
                <c:pt idx="1744">
                  <c:v>120.26483471170802</c:v>
                </c:pt>
                <c:pt idx="1745">
                  <c:v>121.12764815261426</c:v>
                </c:pt>
                <c:pt idx="1746">
                  <c:v>120.72308278807752</c:v>
                </c:pt>
                <c:pt idx="1747">
                  <c:v>121.66291925030899</c:v>
                </c:pt>
                <c:pt idx="1748">
                  <c:v>121.59134230119864</c:v>
                </c:pt>
                <c:pt idx="1749">
                  <c:v>122.08460084180689</c:v>
                </c:pt>
                <c:pt idx="1750">
                  <c:v>121.53843759968231</c:v>
                </c:pt>
                <c:pt idx="1751">
                  <c:v>122.16706993534707</c:v>
                </c:pt>
                <c:pt idx="1752">
                  <c:v>120.87868485136087</c:v>
                </c:pt>
                <c:pt idx="1753">
                  <c:v>121.36805334038705</c:v>
                </c:pt>
                <c:pt idx="1754">
                  <c:v>120.84678642838779</c:v>
                </c:pt>
                <c:pt idx="1755">
                  <c:v>121.6084585281598</c:v>
                </c:pt>
                <c:pt idx="1756">
                  <c:v>122.03947624345469</c:v>
                </c:pt>
                <c:pt idx="1757">
                  <c:v>123.52703196844361</c:v>
                </c:pt>
                <c:pt idx="1758">
                  <c:v>123.96582978690267</c:v>
                </c:pt>
                <c:pt idx="1759">
                  <c:v>123.61416912388228</c:v>
                </c:pt>
                <c:pt idx="1760">
                  <c:v>120.77520947927739</c:v>
                </c:pt>
                <c:pt idx="1761">
                  <c:v>122.5031703920391</c:v>
                </c:pt>
                <c:pt idx="1762">
                  <c:v>120.74797911820281</c:v>
                </c:pt>
                <c:pt idx="1763">
                  <c:v>119.93884838912933</c:v>
                </c:pt>
                <c:pt idx="1764">
                  <c:v>121.00005446072183</c:v>
                </c:pt>
                <c:pt idx="1765">
                  <c:v>121.56411194012401</c:v>
                </c:pt>
                <c:pt idx="1766">
                  <c:v>122.83071273525056</c:v>
                </c:pt>
                <c:pt idx="1767">
                  <c:v>122.83149074556697</c:v>
                </c:pt>
                <c:pt idx="1768">
                  <c:v>123.32708331712446</c:v>
                </c:pt>
                <c:pt idx="1769">
                  <c:v>123.09990430473076</c:v>
                </c:pt>
                <c:pt idx="1770">
                  <c:v>123.98450203449663</c:v>
                </c:pt>
                <c:pt idx="1771">
                  <c:v>124.29259411979768</c:v>
                </c:pt>
                <c:pt idx="1772">
                  <c:v>123.13569277928592</c:v>
                </c:pt>
                <c:pt idx="1773">
                  <c:v>124.2941501404305</c:v>
                </c:pt>
                <c:pt idx="1774">
                  <c:v>125.60354150295998</c:v>
                </c:pt>
                <c:pt idx="1775">
                  <c:v>125.84316868041635</c:v>
                </c:pt>
                <c:pt idx="1776">
                  <c:v>126.50136540810495</c:v>
                </c:pt>
                <c:pt idx="1777">
                  <c:v>127.02496635105346</c:v>
                </c:pt>
                <c:pt idx="1778">
                  <c:v>126.55660414057056</c:v>
                </c:pt>
                <c:pt idx="1779">
                  <c:v>127.10354539301156</c:v>
                </c:pt>
                <c:pt idx="1780">
                  <c:v>127.10899146522645</c:v>
                </c:pt>
                <c:pt idx="1781">
                  <c:v>128.39815455952905</c:v>
                </c:pt>
                <c:pt idx="1782">
                  <c:v>129.05479526658482</c:v>
                </c:pt>
                <c:pt idx="1783">
                  <c:v>128.40826869364247</c:v>
                </c:pt>
                <c:pt idx="1784">
                  <c:v>129.73088623155101</c:v>
                </c:pt>
                <c:pt idx="1785">
                  <c:v>129.63908101421382</c:v>
                </c:pt>
                <c:pt idx="1786">
                  <c:v>129.86236997502544</c:v>
                </c:pt>
                <c:pt idx="1787">
                  <c:v>128.78793772805386</c:v>
                </c:pt>
                <c:pt idx="1788">
                  <c:v>128.41138073490814</c:v>
                </c:pt>
                <c:pt idx="1789">
                  <c:v>128.34058179611418</c:v>
                </c:pt>
                <c:pt idx="1790">
                  <c:v>129.15438058708611</c:v>
                </c:pt>
                <c:pt idx="1791">
                  <c:v>128.24410851687847</c:v>
                </c:pt>
                <c:pt idx="1792">
                  <c:v>128.71480475831063</c:v>
                </c:pt>
                <c:pt idx="1793">
                  <c:v>126.87325433935207</c:v>
                </c:pt>
                <c:pt idx="1794">
                  <c:v>127.62636832564354</c:v>
                </c:pt>
                <c:pt idx="1795">
                  <c:v>126.92304699960278</c:v>
                </c:pt>
                <c:pt idx="1796">
                  <c:v>125.17407980829782</c:v>
                </c:pt>
                <c:pt idx="1797">
                  <c:v>126.23684190052315</c:v>
                </c:pt>
                <c:pt idx="1798">
                  <c:v>127.85665937930291</c:v>
                </c:pt>
                <c:pt idx="1799">
                  <c:v>127.81231279126713</c:v>
                </c:pt>
                <c:pt idx="1800">
                  <c:v>126.51459158348393</c:v>
                </c:pt>
                <c:pt idx="1801">
                  <c:v>125.45571954284067</c:v>
                </c:pt>
                <c:pt idx="1802">
                  <c:v>127.3104961371783</c:v>
                </c:pt>
                <c:pt idx="1803">
                  <c:v>126.56127220246894</c:v>
                </c:pt>
                <c:pt idx="1804">
                  <c:v>127.51900290197801</c:v>
                </c:pt>
                <c:pt idx="1805">
                  <c:v>128.51252207604225</c:v>
                </c:pt>
                <c:pt idx="1806">
                  <c:v>126.73243447208063</c:v>
                </c:pt>
                <c:pt idx="1807">
                  <c:v>123.56282044299863</c:v>
                </c:pt>
                <c:pt idx="1808">
                  <c:v>123.89269681715933</c:v>
                </c:pt>
                <c:pt idx="1809">
                  <c:v>122.38802486520925</c:v>
                </c:pt>
                <c:pt idx="1810">
                  <c:v>123.55037227793592</c:v>
                </c:pt>
                <c:pt idx="1811">
                  <c:v>124.73528198983871</c:v>
                </c:pt>
                <c:pt idx="1812">
                  <c:v>125.50862424435702</c:v>
                </c:pt>
                <c:pt idx="1813">
                  <c:v>124.97024110539661</c:v>
                </c:pt>
                <c:pt idx="1814">
                  <c:v>125.64555406004639</c:v>
                </c:pt>
                <c:pt idx="1815">
                  <c:v>125.57708915220169</c:v>
                </c:pt>
                <c:pt idx="1816">
                  <c:v>125.68056452428513</c:v>
                </c:pt>
                <c:pt idx="1817">
                  <c:v>126.96272552574003</c:v>
                </c:pt>
                <c:pt idx="1818">
                  <c:v>127.62948036690922</c:v>
                </c:pt>
                <c:pt idx="1819">
                  <c:v>128.55220060217954</c:v>
                </c:pt>
                <c:pt idx="1820">
                  <c:v>128.57554091167205</c:v>
                </c:pt>
                <c:pt idx="1821">
                  <c:v>130.31828402044567</c:v>
                </c:pt>
                <c:pt idx="1822">
                  <c:v>130.72051535403315</c:v>
                </c:pt>
                <c:pt idx="1823">
                  <c:v>130.9002357371254</c:v>
                </c:pt>
                <c:pt idx="1824">
                  <c:v>130.4147572996813</c:v>
                </c:pt>
                <c:pt idx="1825">
                  <c:v>130.77653209681509</c:v>
                </c:pt>
                <c:pt idx="1826">
                  <c:v>131.43472882450368</c:v>
                </c:pt>
                <c:pt idx="1827">
                  <c:v>131.64634763056907</c:v>
                </c:pt>
                <c:pt idx="1828">
                  <c:v>131.91398317941645</c:v>
                </c:pt>
                <c:pt idx="1829">
                  <c:v>131.66968794006158</c:v>
                </c:pt>
                <c:pt idx="1830">
                  <c:v>131.16787128597275</c:v>
                </c:pt>
                <c:pt idx="1831">
                  <c:v>131.50319373234836</c:v>
                </c:pt>
                <c:pt idx="1832">
                  <c:v>131.61211517664671</c:v>
                </c:pt>
                <c:pt idx="1833">
                  <c:v>131.12041265667128</c:v>
                </c:pt>
                <c:pt idx="1834">
                  <c:v>131.16942730660554</c:v>
                </c:pt>
                <c:pt idx="1835">
                  <c:v>131.15153306932797</c:v>
                </c:pt>
                <c:pt idx="1836">
                  <c:v>132.79624687823303</c:v>
                </c:pt>
                <c:pt idx="1837">
                  <c:v>133.01408976682973</c:v>
                </c:pt>
                <c:pt idx="1838">
                  <c:v>132.8172531567763</c:v>
                </c:pt>
                <c:pt idx="1839">
                  <c:v>132.05713707763707</c:v>
                </c:pt>
                <c:pt idx="1840">
                  <c:v>131.55454241323184</c:v>
                </c:pt>
                <c:pt idx="1841">
                  <c:v>132.06569519111764</c:v>
                </c:pt>
                <c:pt idx="1842">
                  <c:v>131.59422093936905</c:v>
                </c:pt>
                <c:pt idx="1843">
                  <c:v>131.44250892766777</c:v>
                </c:pt>
                <c:pt idx="1844">
                  <c:v>131.80739576606726</c:v>
                </c:pt>
                <c:pt idx="1845">
                  <c:v>131.12508071856973</c:v>
                </c:pt>
                <c:pt idx="1846">
                  <c:v>129.2524098869545</c:v>
                </c:pt>
                <c:pt idx="1847">
                  <c:v>128.82528222324166</c:v>
                </c:pt>
                <c:pt idx="1848">
                  <c:v>128.06516614410245</c:v>
                </c:pt>
                <c:pt idx="1849">
                  <c:v>128.55453463312861</c:v>
                </c:pt>
                <c:pt idx="1850">
                  <c:v>127.81153478095058</c:v>
                </c:pt>
                <c:pt idx="1851">
                  <c:v>128.91319738899676</c:v>
                </c:pt>
                <c:pt idx="1852">
                  <c:v>129.42201613593338</c:v>
                </c:pt>
                <c:pt idx="1853">
                  <c:v>128.89919320330131</c:v>
                </c:pt>
                <c:pt idx="1854">
                  <c:v>126.85302607112516</c:v>
                </c:pt>
                <c:pt idx="1855">
                  <c:v>127.20157469287989</c:v>
                </c:pt>
                <c:pt idx="1856">
                  <c:v>127.45131600444967</c:v>
                </c:pt>
                <c:pt idx="1857">
                  <c:v>127.04675063991293</c:v>
                </c:pt>
                <c:pt idx="1858">
                  <c:v>127.57579765507633</c:v>
                </c:pt>
                <c:pt idx="1859">
                  <c:v>128.61132938622708</c:v>
                </c:pt>
                <c:pt idx="1860">
                  <c:v>128.76693144951042</c:v>
                </c:pt>
                <c:pt idx="1861">
                  <c:v>128.77393354235818</c:v>
                </c:pt>
                <c:pt idx="1862">
                  <c:v>130.06076260571152</c:v>
                </c:pt>
                <c:pt idx="1863">
                  <c:v>131.01615927427133</c:v>
                </c:pt>
                <c:pt idx="1864">
                  <c:v>131.41605657690957</c:v>
                </c:pt>
                <c:pt idx="1865">
                  <c:v>130.97181268623558</c:v>
                </c:pt>
                <c:pt idx="1866">
                  <c:v>131.32736340083807</c:v>
                </c:pt>
                <c:pt idx="1867">
                  <c:v>132.07503131491461</c:v>
                </c:pt>
                <c:pt idx="1868">
                  <c:v>132.63208670146904</c:v>
                </c:pt>
                <c:pt idx="1869">
                  <c:v>134.24723611835029</c:v>
                </c:pt>
                <c:pt idx="1870">
                  <c:v>133.99982883772975</c:v>
                </c:pt>
                <c:pt idx="1871">
                  <c:v>133.03276201442367</c:v>
                </c:pt>
                <c:pt idx="1872">
                  <c:v>132.40490768907532</c:v>
                </c:pt>
                <c:pt idx="1873">
                  <c:v>132.0610271292191</c:v>
                </c:pt>
                <c:pt idx="1874">
                  <c:v>131.69925233208528</c:v>
                </c:pt>
                <c:pt idx="1875">
                  <c:v>132.1582784187712</c:v>
                </c:pt>
                <c:pt idx="1876">
                  <c:v>131.61989527981078</c:v>
                </c:pt>
                <c:pt idx="1877">
                  <c:v>130.82632475706563</c:v>
                </c:pt>
                <c:pt idx="1878">
                  <c:v>131.87274863264622</c:v>
                </c:pt>
                <c:pt idx="1879">
                  <c:v>131.78483346689111</c:v>
                </c:pt>
                <c:pt idx="1880">
                  <c:v>130.60147977562119</c:v>
                </c:pt>
                <c:pt idx="1881">
                  <c:v>131.52264399025864</c:v>
                </c:pt>
                <c:pt idx="1882">
                  <c:v>130.40386515525128</c:v>
                </c:pt>
                <c:pt idx="1883">
                  <c:v>128.79571783121779</c:v>
                </c:pt>
                <c:pt idx="1884">
                  <c:v>128.86962881127741</c:v>
                </c:pt>
                <c:pt idx="1885">
                  <c:v>131.6829141154405</c:v>
                </c:pt>
                <c:pt idx="1886">
                  <c:v>132.51071709210794</c:v>
                </c:pt>
                <c:pt idx="1887">
                  <c:v>133.05065625170118</c:v>
                </c:pt>
                <c:pt idx="1888">
                  <c:v>132.1108197894697</c:v>
                </c:pt>
                <c:pt idx="1889">
                  <c:v>133.93758801241634</c:v>
                </c:pt>
                <c:pt idx="1890">
                  <c:v>134.84085798977623</c:v>
                </c:pt>
                <c:pt idx="1891">
                  <c:v>135.72389969890926</c:v>
                </c:pt>
                <c:pt idx="1892">
                  <c:v>135.73634786397193</c:v>
                </c:pt>
                <c:pt idx="1893">
                  <c:v>136.51513619070514</c:v>
                </c:pt>
                <c:pt idx="1894">
                  <c:v>135.87016563839563</c:v>
                </c:pt>
                <c:pt idx="1895">
                  <c:v>136.31285350843677</c:v>
                </c:pt>
                <c:pt idx="1896">
                  <c:v>136.91192145207771</c:v>
                </c:pt>
                <c:pt idx="1897">
                  <c:v>137.09397586611922</c:v>
                </c:pt>
                <c:pt idx="1898">
                  <c:v>137.85953801747334</c:v>
                </c:pt>
                <c:pt idx="1899">
                  <c:v>137.18733710408924</c:v>
                </c:pt>
                <c:pt idx="1900">
                  <c:v>136.66062411987505</c:v>
                </c:pt>
                <c:pt idx="1901">
                  <c:v>137.0574093812476</c:v>
                </c:pt>
                <c:pt idx="1902">
                  <c:v>137.54677787027376</c:v>
                </c:pt>
                <c:pt idx="1903">
                  <c:v>137.160884753331</c:v>
                </c:pt>
                <c:pt idx="1904">
                  <c:v>137.74594851127642</c:v>
                </c:pt>
                <c:pt idx="1905">
                  <c:v>135.93007243275963</c:v>
                </c:pt>
                <c:pt idx="1906">
                  <c:v>137.75528463507339</c:v>
                </c:pt>
                <c:pt idx="1907">
                  <c:v>137.85486995557477</c:v>
                </c:pt>
                <c:pt idx="1908">
                  <c:v>137.5281056226797</c:v>
                </c:pt>
                <c:pt idx="1909">
                  <c:v>138.64143838547213</c:v>
                </c:pt>
                <c:pt idx="1910">
                  <c:v>139.31208327822338</c:v>
                </c:pt>
                <c:pt idx="1911">
                  <c:v>139.9002590774345</c:v>
                </c:pt>
                <c:pt idx="1912">
                  <c:v>139.38288221701737</c:v>
                </c:pt>
                <c:pt idx="1913">
                  <c:v>139.09813044120881</c:v>
                </c:pt>
                <c:pt idx="1914">
                  <c:v>138.59242373553789</c:v>
                </c:pt>
                <c:pt idx="1915">
                  <c:v>139.71898267370941</c:v>
                </c:pt>
                <c:pt idx="1916">
                  <c:v>140.41218986563678</c:v>
                </c:pt>
                <c:pt idx="1917">
                  <c:v>140.23480351349377</c:v>
                </c:pt>
                <c:pt idx="1918">
                  <c:v>140.25580979203701</c:v>
                </c:pt>
                <c:pt idx="1919">
                  <c:v>140.60435841379174</c:v>
                </c:pt>
                <c:pt idx="1920">
                  <c:v>140.49388094886055</c:v>
                </c:pt>
                <c:pt idx="1921">
                  <c:v>140.11187788349994</c:v>
                </c:pt>
                <c:pt idx="1922">
                  <c:v>139.66452195156029</c:v>
                </c:pt>
                <c:pt idx="1923">
                  <c:v>139.48246753751874</c:v>
                </c:pt>
                <c:pt idx="1924">
                  <c:v>138.87717551134648</c:v>
                </c:pt>
                <c:pt idx="1925">
                  <c:v>140.43786420607853</c:v>
                </c:pt>
                <c:pt idx="1926">
                  <c:v>140.69305158986322</c:v>
                </c:pt>
                <c:pt idx="1927">
                  <c:v>140.24569565792356</c:v>
                </c:pt>
                <c:pt idx="1928">
                  <c:v>138.65855461243331</c:v>
                </c:pt>
                <c:pt idx="1929">
                  <c:v>138.13573167980121</c:v>
                </c:pt>
                <c:pt idx="1930">
                  <c:v>138.1217274941057</c:v>
                </c:pt>
                <c:pt idx="1931">
                  <c:v>138.99465506912534</c:v>
                </c:pt>
                <c:pt idx="1932">
                  <c:v>138.56363735383044</c:v>
                </c:pt>
                <c:pt idx="1933">
                  <c:v>140.87043794200628</c:v>
                </c:pt>
                <c:pt idx="1934">
                  <c:v>140.78874685878247</c:v>
                </c:pt>
                <c:pt idx="1935">
                  <c:v>141.46717185469794</c:v>
                </c:pt>
                <c:pt idx="1936">
                  <c:v>142.21950783067297</c:v>
                </c:pt>
                <c:pt idx="1937">
                  <c:v>142.63418732932308</c:v>
                </c:pt>
                <c:pt idx="1938">
                  <c:v>143.31105630460573</c:v>
                </c:pt>
                <c:pt idx="1939">
                  <c:v>143.26281966498789</c:v>
                </c:pt>
                <c:pt idx="1940">
                  <c:v>143.23714532454613</c:v>
                </c:pt>
                <c:pt idx="1941">
                  <c:v>143.80431484521395</c:v>
                </c:pt>
                <c:pt idx="1942">
                  <c:v>142.52993394692325</c:v>
                </c:pt>
                <c:pt idx="1943">
                  <c:v>142.48247531762181</c:v>
                </c:pt>
                <c:pt idx="1944">
                  <c:v>142.12459057207008</c:v>
                </c:pt>
                <c:pt idx="1945">
                  <c:v>142.98896003360915</c:v>
                </c:pt>
                <c:pt idx="1946">
                  <c:v>142.95861763126888</c:v>
                </c:pt>
                <c:pt idx="1947">
                  <c:v>143.0084102915196</c:v>
                </c:pt>
                <c:pt idx="1948">
                  <c:v>143.3382866656803</c:v>
                </c:pt>
                <c:pt idx="1949">
                  <c:v>141.53563676254259</c:v>
                </c:pt>
                <c:pt idx="1950">
                  <c:v>143.06676106525086</c:v>
                </c:pt>
                <c:pt idx="1951">
                  <c:v>143.8058708658468</c:v>
                </c:pt>
                <c:pt idx="1952">
                  <c:v>143.61214629705901</c:v>
                </c:pt>
                <c:pt idx="1953">
                  <c:v>143.05275687955535</c:v>
                </c:pt>
                <c:pt idx="1954">
                  <c:v>143.44954214092792</c:v>
                </c:pt>
                <c:pt idx="1955">
                  <c:v>143.53201123446809</c:v>
                </c:pt>
                <c:pt idx="1956">
                  <c:v>142.25607431554457</c:v>
                </c:pt>
                <c:pt idx="1957">
                  <c:v>139.28640893778166</c:v>
                </c:pt>
                <c:pt idx="1958">
                  <c:v>138.6072059315498</c:v>
                </c:pt>
                <c:pt idx="1959">
                  <c:v>139.45834921770975</c:v>
                </c:pt>
                <c:pt idx="1960">
                  <c:v>138.03459033866702</c:v>
                </c:pt>
                <c:pt idx="1961">
                  <c:v>139.58983296118419</c:v>
                </c:pt>
                <c:pt idx="1962">
                  <c:v>138.68734099414067</c:v>
                </c:pt>
                <c:pt idx="1963">
                  <c:v>135.52083900632434</c:v>
                </c:pt>
                <c:pt idx="1964">
                  <c:v>136.55637073747508</c:v>
                </c:pt>
                <c:pt idx="1965">
                  <c:v>136.2793990648307</c:v>
                </c:pt>
                <c:pt idx="1966">
                  <c:v>137.97468354430288</c:v>
                </c:pt>
                <c:pt idx="1967">
                  <c:v>139.81000988073009</c:v>
                </c:pt>
                <c:pt idx="1968">
                  <c:v>140.02940878995963</c:v>
                </c:pt>
                <c:pt idx="1969">
                  <c:v>141.57842732994547</c:v>
                </c:pt>
                <c:pt idx="1970">
                  <c:v>141.54030482444102</c:v>
                </c:pt>
                <c:pt idx="1971">
                  <c:v>142.36266172889358</c:v>
                </c:pt>
                <c:pt idx="1972">
                  <c:v>143.04731080734038</c:v>
                </c:pt>
                <c:pt idx="1973">
                  <c:v>143.21302700473717</c:v>
                </c:pt>
                <c:pt idx="1974">
                  <c:v>142.27863661472063</c:v>
                </c:pt>
                <c:pt idx="1975">
                  <c:v>143.13678199372833</c:v>
                </c:pt>
                <c:pt idx="1976">
                  <c:v>142.86214435203323</c:v>
                </c:pt>
                <c:pt idx="1977">
                  <c:v>143.74596407148269</c:v>
                </c:pt>
                <c:pt idx="1978">
                  <c:v>143.5522395026949</c:v>
                </c:pt>
                <c:pt idx="1979">
                  <c:v>143.5553515439606</c:v>
                </c:pt>
                <c:pt idx="1980">
                  <c:v>144.26567496284912</c:v>
                </c:pt>
                <c:pt idx="1981">
                  <c:v>144.66712828612017</c:v>
                </c:pt>
                <c:pt idx="1982">
                  <c:v>143.59969813199632</c:v>
                </c:pt>
                <c:pt idx="1983">
                  <c:v>145.79213120365884</c:v>
                </c:pt>
                <c:pt idx="1984">
                  <c:v>145.78435110049466</c:v>
                </c:pt>
                <c:pt idx="1985">
                  <c:v>146.03487042238089</c:v>
                </c:pt>
                <c:pt idx="1986">
                  <c:v>146.113449464339</c:v>
                </c:pt>
                <c:pt idx="1987">
                  <c:v>146.04576256681074</c:v>
                </c:pt>
                <c:pt idx="1988">
                  <c:v>145.3035407249491</c:v>
                </c:pt>
                <c:pt idx="1989">
                  <c:v>145.34788731298485</c:v>
                </c:pt>
                <c:pt idx="1990">
                  <c:v>143.64715676129774</c:v>
                </c:pt>
                <c:pt idx="1991">
                  <c:v>143.24181338644462</c:v>
                </c:pt>
                <c:pt idx="1992">
                  <c:v>144.61889164650231</c:v>
                </c:pt>
                <c:pt idx="1993">
                  <c:v>145.66298149113362</c:v>
                </c:pt>
                <c:pt idx="1994">
                  <c:v>144.76982564788713</c:v>
                </c:pt>
                <c:pt idx="1995">
                  <c:v>145.6443092435396</c:v>
                </c:pt>
                <c:pt idx="1996">
                  <c:v>145.21718157982679</c:v>
                </c:pt>
                <c:pt idx="1997">
                  <c:v>144.51074821252035</c:v>
                </c:pt>
                <c:pt idx="1998">
                  <c:v>145.14716065134925</c:v>
                </c:pt>
                <c:pt idx="1999">
                  <c:v>144.13107917810893</c:v>
                </c:pt>
                <c:pt idx="2000">
                  <c:v>143.85721954673022</c:v>
                </c:pt>
                <c:pt idx="2001">
                  <c:v>144.52475239821581</c:v>
                </c:pt>
                <c:pt idx="2002">
                  <c:v>145.66998358398132</c:v>
                </c:pt>
                <c:pt idx="2003">
                  <c:v>146.69540118101867</c:v>
                </c:pt>
                <c:pt idx="2004">
                  <c:v>147.1139707312509</c:v>
                </c:pt>
                <c:pt idx="2005">
                  <c:v>146.94825453385411</c:v>
                </c:pt>
                <c:pt idx="2006">
                  <c:v>145.10592610457917</c:v>
                </c:pt>
                <c:pt idx="2007">
                  <c:v>143.54601542016349</c:v>
                </c:pt>
                <c:pt idx="2008">
                  <c:v>144.08439855912388</c:v>
                </c:pt>
                <c:pt idx="2009">
                  <c:v>145.65753541891863</c:v>
                </c:pt>
                <c:pt idx="2010">
                  <c:v>142.61551508172894</c:v>
                </c:pt>
                <c:pt idx="2011">
                  <c:v>141.26255514148016</c:v>
                </c:pt>
                <c:pt idx="2012">
                  <c:v>142.423346533574</c:v>
                </c:pt>
                <c:pt idx="2013">
                  <c:v>143.38574529498158</c:v>
                </c:pt>
                <c:pt idx="2014">
                  <c:v>144.88963923661521</c:v>
                </c:pt>
                <c:pt idx="2015">
                  <c:v>145.08725385698509</c:v>
                </c:pt>
                <c:pt idx="2016">
                  <c:v>145.63497311974254</c:v>
                </c:pt>
                <c:pt idx="2017">
                  <c:v>146.23092902211781</c:v>
                </c:pt>
                <c:pt idx="2018">
                  <c:v>145.90727673048843</c:v>
                </c:pt>
                <c:pt idx="2019">
                  <c:v>146.15779605237461</c:v>
                </c:pt>
                <c:pt idx="2020">
                  <c:v>144.97444236110471</c:v>
                </c:pt>
                <c:pt idx="2021">
                  <c:v>145.44358258190402</c:v>
                </c:pt>
                <c:pt idx="2022">
                  <c:v>146.13601176351497</c:v>
                </c:pt>
                <c:pt idx="2023">
                  <c:v>146.57325356134123</c:v>
                </c:pt>
                <c:pt idx="2024">
                  <c:v>146.55224728279796</c:v>
                </c:pt>
                <c:pt idx="2025">
                  <c:v>146.35463266242809</c:v>
                </c:pt>
                <c:pt idx="2026">
                  <c:v>146.6284922938068</c:v>
                </c:pt>
                <c:pt idx="2027">
                  <c:v>145.31054281779674</c:v>
                </c:pt>
                <c:pt idx="2028">
                  <c:v>146.12667563971794</c:v>
                </c:pt>
                <c:pt idx="2029">
                  <c:v>145.9259489780824</c:v>
                </c:pt>
                <c:pt idx="2030">
                  <c:v>146.14768191826118</c:v>
                </c:pt>
                <c:pt idx="2031">
                  <c:v>147.5613266631905</c:v>
                </c:pt>
                <c:pt idx="2032">
                  <c:v>147.62356748850385</c:v>
                </c:pt>
                <c:pt idx="2033">
                  <c:v>146.92958228626009</c:v>
                </c:pt>
                <c:pt idx="2034">
                  <c:v>145.55406004683522</c:v>
                </c:pt>
                <c:pt idx="2035">
                  <c:v>146.09944527864337</c:v>
                </c:pt>
                <c:pt idx="2036">
                  <c:v>146.66116872709628</c:v>
                </c:pt>
                <c:pt idx="2037">
                  <c:v>145.70810608948571</c:v>
                </c:pt>
                <c:pt idx="2038">
                  <c:v>146.89068177043924</c:v>
                </c:pt>
                <c:pt idx="2039">
                  <c:v>147.23767437156113</c:v>
                </c:pt>
                <c:pt idx="2040">
                  <c:v>147.86319466596021</c:v>
                </c:pt>
                <c:pt idx="2041">
                  <c:v>148.74857040604252</c:v>
                </c:pt>
                <c:pt idx="2042">
                  <c:v>148.58285420864576</c:v>
                </c:pt>
                <c:pt idx="2043">
                  <c:v>149.38031478297293</c:v>
                </c:pt>
                <c:pt idx="2044">
                  <c:v>149.65573043498449</c:v>
                </c:pt>
                <c:pt idx="2045">
                  <c:v>149.76465187928287</c:v>
                </c:pt>
                <c:pt idx="2046">
                  <c:v>149.70785712618442</c:v>
                </c:pt>
                <c:pt idx="2047">
                  <c:v>149.99105288136016</c:v>
                </c:pt>
                <c:pt idx="2048">
                  <c:v>150.96978985941249</c:v>
                </c:pt>
                <c:pt idx="2049">
                  <c:v>151.66844312355477</c:v>
                </c:pt>
                <c:pt idx="2050">
                  <c:v>151.81081901145905</c:v>
                </c:pt>
                <c:pt idx="2051">
                  <c:v>151.77347451627102</c:v>
                </c:pt>
                <c:pt idx="2052">
                  <c:v>151.23664739794344</c:v>
                </c:pt>
                <c:pt idx="2053">
                  <c:v>150.16454918192107</c:v>
                </c:pt>
                <c:pt idx="2054">
                  <c:v>150.63524542335327</c:v>
                </c:pt>
                <c:pt idx="2055">
                  <c:v>150.76128309461279</c:v>
                </c:pt>
                <c:pt idx="2056">
                  <c:v>151.08882543782426</c:v>
                </c:pt>
                <c:pt idx="2057">
                  <c:v>152.25506290213301</c:v>
                </c:pt>
                <c:pt idx="2058">
                  <c:v>152.44956548123722</c:v>
                </c:pt>
                <c:pt idx="2059">
                  <c:v>152.71331097850251</c:v>
                </c:pt>
                <c:pt idx="2060">
                  <c:v>152.69308271027566</c:v>
                </c:pt>
                <c:pt idx="2061">
                  <c:v>151.71045568064127</c:v>
                </c:pt>
                <c:pt idx="2062">
                  <c:v>152.45345553281931</c:v>
                </c:pt>
                <c:pt idx="2063">
                  <c:v>152.273735149727</c:v>
                </c:pt>
                <c:pt idx="2064">
                  <c:v>152.56471100806687</c:v>
                </c:pt>
                <c:pt idx="2065">
                  <c:v>152.50791625496842</c:v>
                </c:pt>
                <c:pt idx="2066">
                  <c:v>153.52633175915798</c:v>
                </c:pt>
                <c:pt idx="2067">
                  <c:v>153.62747310029215</c:v>
                </c:pt>
                <c:pt idx="2068">
                  <c:v>154.46928026265513</c:v>
                </c:pt>
                <c:pt idx="2069">
                  <c:v>153.86321022616644</c:v>
                </c:pt>
                <c:pt idx="2070">
                  <c:v>152.77866384508144</c:v>
                </c:pt>
                <c:pt idx="2071">
                  <c:v>153.48820925365351</c:v>
                </c:pt>
                <c:pt idx="2072">
                  <c:v>152.85413084577382</c:v>
                </c:pt>
                <c:pt idx="2073">
                  <c:v>153.07897582721827</c:v>
                </c:pt>
                <c:pt idx="2074">
                  <c:v>153.82041965876348</c:v>
                </c:pt>
                <c:pt idx="2075">
                  <c:v>153.52321971789226</c:v>
                </c:pt>
                <c:pt idx="2076">
                  <c:v>154.16819027020176</c:v>
                </c:pt>
                <c:pt idx="2077">
                  <c:v>152.34375607820436</c:v>
                </c:pt>
                <c:pt idx="2078">
                  <c:v>153.90755681420211</c:v>
                </c:pt>
                <c:pt idx="2079">
                  <c:v>153.55045007896683</c:v>
                </c:pt>
                <c:pt idx="2080">
                  <c:v>154.32068029221946</c:v>
                </c:pt>
                <c:pt idx="2081">
                  <c:v>154.59142788233251</c:v>
                </c:pt>
                <c:pt idx="2082">
                  <c:v>154.66689488302492</c:v>
                </c:pt>
                <c:pt idx="2083">
                  <c:v>153.91689293799914</c:v>
                </c:pt>
                <c:pt idx="2084">
                  <c:v>153.96123952603492</c:v>
                </c:pt>
                <c:pt idx="2085">
                  <c:v>153.26414228252546</c:v>
                </c:pt>
                <c:pt idx="2086">
                  <c:v>153.27347840632245</c:v>
                </c:pt>
                <c:pt idx="2087">
                  <c:v>150.20811775964032</c:v>
                </c:pt>
                <c:pt idx="2088">
                  <c:v>149.77865606497826</c:v>
                </c:pt>
                <c:pt idx="2089">
                  <c:v>150.85542234289912</c:v>
                </c:pt>
                <c:pt idx="2090">
                  <c:v>149.39431896866839</c:v>
                </c:pt>
                <c:pt idx="2091">
                  <c:v>149.39665299961763</c:v>
                </c:pt>
                <c:pt idx="2092">
                  <c:v>148.56651599200092</c:v>
                </c:pt>
                <c:pt idx="2093">
                  <c:v>150.27969470875072</c:v>
                </c:pt>
                <c:pt idx="2094">
                  <c:v>150.6943742074009</c:v>
                </c:pt>
                <c:pt idx="2095">
                  <c:v>150.44774493709676</c:v>
                </c:pt>
                <c:pt idx="2096">
                  <c:v>151.45682431748935</c:v>
                </c:pt>
                <c:pt idx="2097">
                  <c:v>152.11502104517797</c:v>
                </c:pt>
                <c:pt idx="2098">
                  <c:v>152.10568492138094</c:v>
                </c:pt>
                <c:pt idx="2099">
                  <c:v>153.40340612916413</c:v>
                </c:pt>
                <c:pt idx="2100">
                  <c:v>154.17052430115106</c:v>
                </c:pt>
                <c:pt idx="2101">
                  <c:v>154.5525273665117</c:v>
                </c:pt>
                <c:pt idx="2102">
                  <c:v>155.00844141193193</c:v>
                </c:pt>
                <c:pt idx="2103">
                  <c:v>154.69957131631446</c:v>
                </c:pt>
                <c:pt idx="2104">
                  <c:v>155.44023713754322</c:v>
                </c:pt>
                <c:pt idx="2105">
                  <c:v>155.60361930399074</c:v>
                </c:pt>
                <c:pt idx="2106">
                  <c:v>155.61139940715489</c:v>
                </c:pt>
                <c:pt idx="2107">
                  <c:v>155.34843192020602</c:v>
                </c:pt>
                <c:pt idx="2108">
                  <c:v>155.86425275999034</c:v>
                </c:pt>
                <c:pt idx="2109">
                  <c:v>155.77944963550092</c:v>
                </c:pt>
                <c:pt idx="2110">
                  <c:v>155.65808002613988</c:v>
                </c:pt>
                <c:pt idx="2111">
                  <c:v>155.41923085899995</c:v>
                </c:pt>
                <c:pt idx="2112">
                  <c:v>156.20190923731525</c:v>
                </c:pt>
                <c:pt idx="2113">
                  <c:v>155.72187687208609</c:v>
                </c:pt>
                <c:pt idx="2114">
                  <c:v>154.7026833575801</c:v>
                </c:pt>
                <c:pt idx="2115">
                  <c:v>155.26674083698228</c:v>
                </c:pt>
                <c:pt idx="2116">
                  <c:v>155.40367065267165</c:v>
                </c:pt>
                <c:pt idx="2117">
                  <c:v>154.47706036581926</c:v>
                </c:pt>
                <c:pt idx="2118">
                  <c:v>154.36736091120451</c:v>
                </c:pt>
                <c:pt idx="2119">
                  <c:v>155.52270623108345</c:v>
                </c:pt>
                <c:pt idx="2120">
                  <c:v>155.72421090303538</c:v>
                </c:pt>
                <c:pt idx="2121">
                  <c:v>156.48588300280741</c:v>
                </c:pt>
                <c:pt idx="2122">
                  <c:v>156.41119401243142</c:v>
                </c:pt>
                <c:pt idx="2123">
                  <c:v>155.15781939268399</c:v>
                </c:pt>
                <c:pt idx="2124">
                  <c:v>154.26155150817183</c:v>
                </c:pt>
                <c:pt idx="2125">
                  <c:v>155.46980152956709</c:v>
                </c:pt>
                <c:pt idx="2126">
                  <c:v>152.95605019722444</c:v>
                </c:pt>
                <c:pt idx="2127">
                  <c:v>154.26777559070314</c:v>
                </c:pt>
                <c:pt idx="2128">
                  <c:v>153.87488038091266</c:v>
                </c:pt>
                <c:pt idx="2129">
                  <c:v>153.446196696567</c:v>
                </c:pt>
                <c:pt idx="2130">
                  <c:v>151.41325573976994</c:v>
                </c:pt>
                <c:pt idx="2131">
                  <c:v>151.41403375008633</c:v>
                </c:pt>
                <c:pt idx="2132">
                  <c:v>153.10465016766003</c:v>
                </c:pt>
                <c:pt idx="2133">
                  <c:v>152.86502299020367</c:v>
                </c:pt>
                <c:pt idx="2134">
                  <c:v>150.55277632981296</c:v>
                </c:pt>
                <c:pt idx="2135">
                  <c:v>153.18167318898531</c:v>
                </c:pt>
                <c:pt idx="2136">
                  <c:v>150.0167272218018</c:v>
                </c:pt>
                <c:pt idx="2137">
                  <c:v>148.29888044315354</c:v>
                </c:pt>
                <c:pt idx="2138">
                  <c:v>145.85670605992121</c:v>
                </c:pt>
                <c:pt idx="2139">
                  <c:v>146.08699711358057</c:v>
                </c:pt>
                <c:pt idx="2140">
                  <c:v>144.90364342231061</c:v>
                </c:pt>
                <c:pt idx="2141">
                  <c:v>144.92464970085391</c:v>
                </c:pt>
                <c:pt idx="2142">
                  <c:v>146.79187446025421</c:v>
                </c:pt>
                <c:pt idx="2143">
                  <c:v>148.13394225607317</c:v>
                </c:pt>
                <c:pt idx="2144">
                  <c:v>151.03358670535852</c:v>
                </c:pt>
                <c:pt idx="2145">
                  <c:v>149.93114608699591</c:v>
                </c:pt>
                <c:pt idx="2146">
                  <c:v>151.77580854722009</c:v>
                </c:pt>
                <c:pt idx="2147">
                  <c:v>152.84635074260959</c:v>
                </c:pt>
                <c:pt idx="2148">
                  <c:v>152.61683769926663</c:v>
                </c:pt>
                <c:pt idx="2149">
                  <c:v>154.43893786031472</c:v>
                </c:pt>
                <c:pt idx="2150">
                  <c:v>154.22498502330012</c:v>
                </c:pt>
                <c:pt idx="2151">
                  <c:v>155.18582776407487</c:v>
                </c:pt>
                <c:pt idx="2152">
                  <c:v>157.00637190449015</c:v>
                </c:pt>
                <c:pt idx="2153">
                  <c:v>156.98769965689615</c:v>
                </c:pt>
                <c:pt idx="2154">
                  <c:v>156.54345576622217</c:v>
                </c:pt>
                <c:pt idx="2155">
                  <c:v>157.43583359915223</c:v>
                </c:pt>
                <c:pt idx="2156">
                  <c:v>158.03023348089468</c:v>
                </c:pt>
                <c:pt idx="2157">
                  <c:v>158.0854722133603</c:v>
                </c:pt>
                <c:pt idx="2158">
                  <c:v>158.57873075396853</c:v>
                </c:pt>
                <c:pt idx="2159">
                  <c:v>158.68920821889972</c:v>
                </c:pt>
                <c:pt idx="2160">
                  <c:v>158.57795274365213</c:v>
                </c:pt>
                <c:pt idx="2161">
                  <c:v>158.66197785782512</c:v>
                </c:pt>
                <c:pt idx="2162">
                  <c:v>158.70010036332957</c:v>
                </c:pt>
                <c:pt idx="2163">
                  <c:v>158.81680191079209</c:v>
                </c:pt>
                <c:pt idx="2164">
                  <c:v>159.63215672239693</c:v>
                </c:pt>
                <c:pt idx="2165">
                  <c:v>159.39252954494052</c:v>
                </c:pt>
                <c:pt idx="2166">
                  <c:v>159.70606770245649</c:v>
                </c:pt>
                <c:pt idx="2167">
                  <c:v>160.54242879260454</c:v>
                </c:pt>
                <c:pt idx="2168">
                  <c:v>161.00223288960683</c:v>
                </c:pt>
                <c:pt idx="2169">
                  <c:v>160.81706643429965</c:v>
                </c:pt>
                <c:pt idx="2170">
                  <c:v>161.26831241782136</c:v>
                </c:pt>
                <c:pt idx="2171">
                  <c:v>160.85830098106973</c:v>
                </c:pt>
                <c:pt idx="2172">
                  <c:v>159.75975041428921</c:v>
                </c:pt>
                <c:pt idx="2173">
                  <c:v>160.77972193911165</c:v>
                </c:pt>
                <c:pt idx="2174">
                  <c:v>161.38501396528389</c:v>
                </c:pt>
                <c:pt idx="2175">
                  <c:v>161.19751347902744</c:v>
                </c:pt>
                <c:pt idx="2176">
                  <c:v>161.46592703819121</c:v>
                </c:pt>
                <c:pt idx="2177">
                  <c:v>160.29424350166752</c:v>
                </c:pt>
                <c:pt idx="2178">
                  <c:v>160.25612099616313</c:v>
                </c:pt>
                <c:pt idx="2179">
                  <c:v>157.63578225047138</c:v>
                </c:pt>
                <c:pt idx="2180">
                  <c:v>158.35077373125839</c:v>
                </c:pt>
                <c:pt idx="2181">
                  <c:v>155.78333968708299</c:v>
                </c:pt>
                <c:pt idx="2182">
                  <c:v>154.79526658523366</c:v>
                </c:pt>
                <c:pt idx="2183">
                  <c:v>153.48120716080572</c:v>
                </c:pt>
                <c:pt idx="2184">
                  <c:v>156.60491858121912</c:v>
                </c:pt>
                <c:pt idx="2185">
                  <c:v>160.36582045077787</c:v>
                </c:pt>
                <c:pt idx="2186">
                  <c:v>161.09870616884245</c:v>
                </c:pt>
                <c:pt idx="2187">
                  <c:v>161.71255630849527</c:v>
                </c:pt>
                <c:pt idx="2188">
                  <c:v>161.99497405335458</c:v>
                </c:pt>
                <c:pt idx="2189">
                  <c:v>161.97241175417849</c:v>
                </c:pt>
                <c:pt idx="2190">
                  <c:v>162.50846086218968</c:v>
                </c:pt>
                <c:pt idx="2191">
                  <c:v>162.64850271914472</c:v>
                </c:pt>
                <c:pt idx="2192">
                  <c:v>161.85337617576673</c:v>
                </c:pt>
                <c:pt idx="2193">
                  <c:v>160.18454404705273</c:v>
                </c:pt>
                <c:pt idx="2194">
                  <c:v>160.13008332490352</c:v>
                </c:pt>
                <c:pt idx="2195">
                  <c:v>157.20320851454358</c:v>
                </c:pt>
                <c:pt idx="2196">
                  <c:v>155.80512397594259</c:v>
                </c:pt>
                <c:pt idx="2197">
                  <c:v>157.61711000287733</c:v>
                </c:pt>
                <c:pt idx="2198">
                  <c:v>160.43661938957175</c:v>
                </c:pt>
                <c:pt idx="2199">
                  <c:v>159.08832751122145</c:v>
                </c:pt>
                <c:pt idx="2200">
                  <c:v>157.80072043755166</c:v>
                </c:pt>
                <c:pt idx="2201">
                  <c:v>157.39382104206567</c:v>
                </c:pt>
                <c:pt idx="2202">
                  <c:v>156.47888090995951</c:v>
                </c:pt>
                <c:pt idx="2203">
                  <c:v>155.0317817214243</c:v>
                </c:pt>
                <c:pt idx="2204">
                  <c:v>157.1129593178392</c:v>
                </c:pt>
                <c:pt idx="2205">
                  <c:v>157.35647654687762</c:v>
                </c:pt>
                <c:pt idx="2206">
                  <c:v>158.10103241968849</c:v>
                </c:pt>
                <c:pt idx="2207">
                  <c:v>160.5151984315298</c:v>
                </c:pt>
                <c:pt idx="2208">
                  <c:v>159.63371274302961</c:v>
                </c:pt>
                <c:pt idx="2209">
                  <c:v>160.04372417978121</c:v>
                </c:pt>
                <c:pt idx="2210">
                  <c:v>157.90108376836935</c:v>
                </c:pt>
                <c:pt idx="2211">
                  <c:v>155.77011351170378</c:v>
                </c:pt>
                <c:pt idx="2212">
                  <c:v>157.25533520574342</c:v>
                </c:pt>
                <c:pt idx="2213">
                  <c:v>155.21228011483296</c:v>
                </c:pt>
                <c:pt idx="2214">
                  <c:v>157.22421479308679</c:v>
                </c:pt>
                <c:pt idx="2215">
                  <c:v>159.49444889639102</c:v>
                </c:pt>
                <c:pt idx="2216">
                  <c:v>158.83158410680392</c:v>
                </c:pt>
                <c:pt idx="2217">
                  <c:v>160.46618378159556</c:v>
                </c:pt>
                <c:pt idx="2218">
                  <c:v>159.91768650852171</c:v>
                </c:pt>
                <c:pt idx="2219">
                  <c:v>159.23848350228988</c:v>
                </c:pt>
                <c:pt idx="2220">
                  <c:v>160.93843604366057</c:v>
                </c:pt>
                <c:pt idx="2221">
                  <c:v>160.93376798176209</c:v>
                </c:pt>
                <c:pt idx="2222">
                  <c:v>162.48589856301356</c:v>
                </c:pt>
                <c:pt idx="2223">
                  <c:v>163.14798534228424</c:v>
                </c:pt>
                <c:pt idx="2224">
                  <c:v>163.40861879828392</c:v>
                </c:pt>
                <c:pt idx="2225">
                  <c:v>163.35727011740039</c:v>
                </c:pt>
                <c:pt idx="2226">
                  <c:v>163.18377381683945</c:v>
                </c:pt>
                <c:pt idx="2227">
                  <c:v>164.18351707343501</c:v>
                </c:pt>
                <c:pt idx="2228">
                  <c:v>164.1337244131843</c:v>
                </c:pt>
                <c:pt idx="2229">
                  <c:v>164.58652641733889</c:v>
                </c:pt>
                <c:pt idx="2230">
                  <c:v>164.46048874607936</c:v>
                </c:pt>
                <c:pt idx="2231">
                  <c:v>164.21774952735731</c:v>
                </c:pt>
                <c:pt idx="2232">
                  <c:v>163.73227108991324</c:v>
                </c:pt>
                <c:pt idx="2233">
                  <c:v>164.73512638777447</c:v>
                </c:pt>
                <c:pt idx="2234">
                  <c:v>163.98745847369796</c:v>
                </c:pt>
                <c:pt idx="2235">
                  <c:v>163.26779893101244</c:v>
                </c:pt>
                <c:pt idx="2236">
                  <c:v>163.46307952043304</c:v>
                </c:pt>
                <c:pt idx="2237">
                  <c:v>161.14616479814384</c:v>
                </c:pt>
                <c:pt idx="2238">
                  <c:v>161.78179922665632</c:v>
                </c:pt>
                <c:pt idx="2239">
                  <c:v>159.03775684065434</c:v>
                </c:pt>
                <c:pt idx="2240">
                  <c:v>158.73277679661894</c:v>
                </c:pt>
                <c:pt idx="2241">
                  <c:v>160.73304132012649</c:v>
                </c:pt>
                <c:pt idx="2242">
                  <c:v>159.75663837302346</c:v>
                </c:pt>
                <c:pt idx="2243">
                  <c:v>161.91872904234572</c:v>
                </c:pt>
                <c:pt idx="2244">
                  <c:v>161.38112391370174</c:v>
                </c:pt>
                <c:pt idx="2245">
                  <c:v>163.34326593170488</c:v>
                </c:pt>
                <c:pt idx="2246">
                  <c:v>162.54736137801049</c:v>
                </c:pt>
                <c:pt idx="2247">
                  <c:v>164.01235480382329</c:v>
                </c:pt>
                <c:pt idx="2248">
                  <c:v>163.72604700738191</c:v>
                </c:pt>
                <c:pt idx="2249">
                  <c:v>162.72085767857141</c:v>
                </c:pt>
                <c:pt idx="2250">
                  <c:v>160.35181626508231</c:v>
                </c:pt>
                <c:pt idx="2251">
                  <c:v>159.97059121003809</c:v>
                </c:pt>
                <c:pt idx="2252">
                  <c:v>160.34948223413303</c:v>
                </c:pt>
                <c:pt idx="2253">
                  <c:v>162.31162425213614</c:v>
                </c:pt>
                <c:pt idx="2254">
                  <c:v>160.88397532151134</c:v>
                </c:pt>
                <c:pt idx="2255">
                  <c:v>160.24600686204957</c:v>
                </c:pt>
                <c:pt idx="2256">
                  <c:v>160.81162036208457</c:v>
                </c:pt>
                <c:pt idx="2257">
                  <c:v>161.87438245430991</c:v>
                </c:pt>
                <c:pt idx="2258">
                  <c:v>161.54061602856711</c:v>
                </c:pt>
                <c:pt idx="2259">
                  <c:v>161.97396777481126</c:v>
                </c:pt>
                <c:pt idx="2260">
                  <c:v>162.69596134844599</c:v>
                </c:pt>
                <c:pt idx="2261">
                  <c:v>163.54243657270746</c:v>
                </c:pt>
                <c:pt idx="2262">
                  <c:v>162.7932126379981</c:v>
                </c:pt>
                <c:pt idx="2263">
                  <c:v>163.05851415589626</c:v>
                </c:pt>
                <c:pt idx="2264">
                  <c:v>163.89798728730997</c:v>
                </c:pt>
                <c:pt idx="2265">
                  <c:v>163.7703935954176</c:v>
                </c:pt>
                <c:pt idx="2266">
                  <c:v>161.91795103202921</c:v>
                </c:pt>
                <c:pt idx="2267">
                  <c:v>163.4132868601823</c:v>
                </c:pt>
                <c:pt idx="2268">
                  <c:v>163.17132565177664</c:v>
                </c:pt>
                <c:pt idx="2269">
                  <c:v>164.00146265939335</c:v>
                </c:pt>
                <c:pt idx="2270">
                  <c:v>164.38813378665247</c:v>
                </c:pt>
                <c:pt idx="2271">
                  <c:v>164.7584666972669</c:v>
                </c:pt>
                <c:pt idx="2272">
                  <c:v>164.07615164976937</c:v>
                </c:pt>
                <c:pt idx="2273">
                  <c:v>164.53050967455678</c:v>
                </c:pt>
                <c:pt idx="2274">
                  <c:v>163.9151035142711</c:v>
                </c:pt>
                <c:pt idx="2275">
                  <c:v>162.2548294990377</c:v>
                </c:pt>
                <c:pt idx="2276">
                  <c:v>164.02713699983508</c:v>
                </c:pt>
                <c:pt idx="2277">
                  <c:v>164.50950339601349</c:v>
                </c:pt>
                <c:pt idx="2278">
                  <c:v>162.56214357402229</c:v>
                </c:pt>
                <c:pt idx="2279">
                  <c:v>161.83781596943828</c:v>
                </c:pt>
                <c:pt idx="2280">
                  <c:v>162.44855406782546</c:v>
                </c:pt>
                <c:pt idx="2281">
                  <c:v>164.63476305695661</c:v>
                </c:pt>
                <c:pt idx="2282">
                  <c:v>163.79684594617572</c:v>
                </c:pt>
                <c:pt idx="2283">
                  <c:v>163.31370153968089</c:v>
                </c:pt>
                <c:pt idx="2284">
                  <c:v>163.26390887943023</c:v>
                </c:pt>
                <c:pt idx="2285">
                  <c:v>165.02376821516498</c:v>
                </c:pt>
                <c:pt idx="2286">
                  <c:v>165.1505838967409</c:v>
                </c:pt>
                <c:pt idx="2287">
                  <c:v>165.65395657146257</c:v>
                </c:pt>
                <c:pt idx="2288">
                  <c:v>165.5473691581135</c:v>
                </c:pt>
                <c:pt idx="2289">
                  <c:v>165.39332311546298</c:v>
                </c:pt>
                <c:pt idx="2290">
                  <c:v>165.77999424272213</c:v>
                </c:pt>
                <c:pt idx="2291">
                  <c:v>165.4096613321077</c:v>
                </c:pt>
                <c:pt idx="2292">
                  <c:v>163.70893078042059</c:v>
                </c:pt>
                <c:pt idx="2293">
                  <c:v>165.20893467047213</c:v>
                </c:pt>
                <c:pt idx="2294">
                  <c:v>164.99964989535601</c:v>
                </c:pt>
                <c:pt idx="2295">
                  <c:v>163.95711607135752</c:v>
                </c:pt>
                <c:pt idx="2296">
                  <c:v>164.2947725486824</c:v>
                </c:pt>
                <c:pt idx="2297">
                  <c:v>164.12905635128558</c:v>
                </c:pt>
                <c:pt idx="2298">
                  <c:v>164.47682696272389</c:v>
                </c:pt>
                <c:pt idx="2299">
                  <c:v>163.05851415589606</c:v>
                </c:pt>
                <c:pt idx="2300">
                  <c:v>162.82433305065459</c:v>
                </c:pt>
                <c:pt idx="2301">
                  <c:v>161.77012907190985</c:v>
                </c:pt>
                <c:pt idx="2302">
                  <c:v>161.83781596943808</c:v>
                </c:pt>
                <c:pt idx="2303">
                  <c:v>163.78673181206213</c:v>
                </c:pt>
                <c:pt idx="2304">
                  <c:v>164.07148358787072</c:v>
                </c:pt>
                <c:pt idx="2305">
                  <c:v>162.92391837115593</c:v>
                </c:pt>
                <c:pt idx="2306">
                  <c:v>162.17080438486445</c:v>
                </c:pt>
                <c:pt idx="2307">
                  <c:v>163.09352462013479</c:v>
                </c:pt>
                <c:pt idx="2308">
                  <c:v>163.41639890144774</c:v>
                </c:pt>
                <c:pt idx="2309">
                  <c:v>165.03466035959462</c:v>
                </c:pt>
                <c:pt idx="2310">
                  <c:v>164.15939875362574</c:v>
                </c:pt>
                <c:pt idx="2311">
                  <c:v>165.15992002053775</c:v>
                </c:pt>
                <c:pt idx="2312">
                  <c:v>165.26495141325401</c:v>
                </c:pt>
                <c:pt idx="2313">
                  <c:v>164.04969929901102</c:v>
                </c:pt>
                <c:pt idx="2314">
                  <c:v>163.56188683061768</c:v>
                </c:pt>
                <c:pt idx="2315">
                  <c:v>163.49808998467151</c:v>
                </c:pt>
                <c:pt idx="2316">
                  <c:v>160.08651474718391</c:v>
                </c:pt>
                <c:pt idx="2317">
                  <c:v>160.5120863902639</c:v>
                </c:pt>
                <c:pt idx="2318">
                  <c:v>161.62541915305633</c:v>
                </c:pt>
                <c:pt idx="2319">
                  <c:v>161.57562649280564</c:v>
                </c:pt>
                <c:pt idx="2320">
                  <c:v>160.95166221903938</c:v>
                </c:pt>
                <c:pt idx="2321">
                  <c:v>161.93039919709167</c:v>
                </c:pt>
                <c:pt idx="2322">
                  <c:v>159.23381544039108</c:v>
                </c:pt>
                <c:pt idx="2323">
                  <c:v>159.59403421689206</c:v>
                </c:pt>
                <c:pt idx="2324">
                  <c:v>161.56317832774295</c:v>
                </c:pt>
                <c:pt idx="2325">
                  <c:v>163.35104603486872</c:v>
                </c:pt>
                <c:pt idx="2326">
                  <c:v>164.07848568071842</c:v>
                </c:pt>
                <c:pt idx="2327">
                  <c:v>163.95789408167386</c:v>
                </c:pt>
                <c:pt idx="2328">
                  <c:v>165.2719535061018</c:v>
                </c:pt>
                <c:pt idx="2329">
                  <c:v>165.45478593045974</c:v>
                </c:pt>
                <c:pt idx="2330">
                  <c:v>165.58237962235211</c:v>
                </c:pt>
                <c:pt idx="2331">
                  <c:v>164.8767242653621</c:v>
                </c:pt>
                <c:pt idx="2332">
                  <c:v>164.48305104525519</c:v>
                </c:pt>
                <c:pt idx="2333">
                  <c:v>163.54943866555502</c:v>
                </c:pt>
                <c:pt idx="2334">
                  <c:v>161.79891545361724</c:v>
                </c:pt>
                <c:pt idx="2335">
                  <c:v>160.86452506360067</c:v>
                </c:pt>
                <c:pt idx="2336">
                  <c:v>162.85700948394404</c:v>
                </c:pt>
                <c:pt idx="2337">
                  <c:v>164.04892128869457</c:v>
                </c:pt>
                <c:pt idx="2338">
                  <c:v>164.05358935059306</c:v>
                </c:pt>
                <c:pt idx="2339">
                  <c:v>163.68092240902942</c:v>
                </c:pt>
                <c:pt idx="2340">
                  <c:v>163.22967642550768</c:v>
                </c:pt>
                <c:pt idx="2341">
                  <c:v>162.86245555615898</c:v>
                </c:pt>
                <c:pt idx="2342">
                  <c:v>163.36971828246271</c:v>
                </c:pt>
                <c:pt idx="2343">
                  <c:v>162.10311748733619</c:v>
                </c:pt>
                <c:pt idx="2344">
                  <c:v>161.63708930780257</c:v>
                </c:pt>
                <c:pt idx="2345">
                  <c:v>163.7073747597876</c:v>
                </c:pt>
                <c:pt idx="2346">
                  <c:v>162.14279601347346</c:v>
                </c:pt>
                <c:pt idx="2347">
                  <c:v>162.29684205612395</c:v>
                </c:pt>
                <c:pt idx="2348">
                  <c:v>162.08989131195708</c:v>
                </c:pt>
                <c:pt idx="2349">
                  <c:v>162.72396971983676</c:v>
                </c:pt>
                <c:pt idx="2350">
                  <c:v>163.57200096473107</c:v>
                </c:pt>
                <c:pt idx="2351">
                  <c:v>163.14253927006899</c:v>
                </c:pt>
                <c:pt idx="2352">
                  <c:v>161.79580341235152</c:v>
                </c:pt>
                <c:pt idx="2353">
                  <c:v>158.38189414391462</c:v>
                </c:pt>
                <c:pt idx="2354">
                  <c:v>153.3372752522682</c:v>
                </c:pt>
                <c:pt idx="2355">
                  <c:v>147.29369111434258</c:v>
                </c:pt>
                <c:pt idx="2356">
                  <c:v>145.3019847043156</c:v>
                </c:pt>
                <c:pt idx="2357">
                  <c:v>150.97367991099398</c:v>
                </c:pt>
                <c:pt idx="2358">
                  <c:v>154.64199855289914</c:v>
                </c:pt>
                <c:pt idx="2359">
                  <c:v>154.73613780118555</c:v>
                </c:pt>
                <c:pt idx="2360">
                  <c:v>153.43763858308594</c:v>
                </c:pt>
                <c:pt idx="2361">
                  <c:v>148.89950440742678</c:v>
                </c:pt>
                <c:pt idx="2362">
                  <c:v>151.62331852520194</c:v>
                </c:pt>
                <c:pt idx="2363">
                  <c:v>151.79992686702857</c:v>
                </c:pt>
                <c:pt idx="2364">
                  <c:v>149.47289801062595</c:v>
                </c:pt>
                <c:pt idx="2365">
                  <c:v>153.22212972543846</c:v>
                </c:pt>
                <c:pt idx="2366">
                  <c:v>151.09271548940572</c:v>
                </c:pt>
                <c:pt idx="2367">
                  <c:v>151.89017606373292</c:v>
                </c:pt>
                <c:pt idx="2368">
                  <c:v>152.57171310091405</c:v>
                </c:pt>
                <c:pt idx="2369">
                  <c:v>151.94774882714779</c:v>
                </c:pt>
                <c:pt idx="2370">
                  <c:v>153.89744268008823</c:v>
                </c:pt>
                <c:pt idx="2371">
                  <c:v>155.23717644495792</c:v>
                </c:pt>
                <c:pt idx="2372">
                  <c:v>154.83961317326896</c:v>
                </c:pt>
                <c:pt idx="2373">
                  <c:v>152.33675398535613</c:v>
                </c:pt>
                <c:pt idx="2374">
                  <c:v>153.03229520823274</c:v>
                </c:pt>
                <c:pt idx="2375">
                  <c:v>151.14717621155486</c:v>
                </c:pt>
                <c:pt idx="2376">
                  <c:v>150.83752810562098</c:v>
                </c:pt>
                <c:pt idx="2377">
                  <c:v>150.33026537931724</c:v>
                </c:pt>
                <c:pt idx="2378">
                  <c:v>150.26024445083974</c:v>
                </c:pt>
                <c:pt idx="2379">
                  <c:v>146.40364731236173</c:v>
                </c:pt>
                <c:pt idx="2380">
                  <c:v>146.58414570577042</c:v>
                </c:pt>
                <c:pt idx="2381">
                  <c:v>149.38031478297233</c:v>
                </c:pt>
                <c:pt idx="2382">
                  <c:v>149.67518069289429</c:v>
                </c:pt>
                <c:pt idx="2383">
                  <c:v>151.81782110430612</c:v>
                </c:pt>
                <c:pt idx="2384">
                  <c:v>154.59453992359767</c:v>
                </c:pt>
                <c:pt idx="2385">
                  <c:v>154.03981856799251</c:v>
                </c:pt>
                <c:pt idx="2386">
                  <c:v>155.27763298141161</c:v>
                </c:pt>
                <c:pt idx="2387">
                  <c:v>156.64693113830518</c:v>
                </c:pt>
                <c:pt idx="2388">
                  <c:v>156.76052064450204</c:v>
                </c:pt>
                <c:pt idx="2389">
                  <c:v>156.96046929582113</c:v>
                </c:pt>
                <c:pt idx="2390">
                  <c:v>155.88914909011521</c:v>
                </c:pt>
                <c:pt idx="2391">
                  <c:v>155.15392934110136</c:v>
                </c:pt>
                <c:pt idx="2392">
                  <c:v>157.45839589832786</c:v>
                </c:pt>
                <c:pt idx="2393">
                  <c:v>158.17805544101338</c:v>
                </c:pt>
                <c:pt idx="2394">
                  <c:v>158.22084600841632</c:v>
                </c:pt>
                <c:pt idx="2395">
                  <c:v>157.99600102697184</c:v>
                </c:pt>
                <c:pt idx="2396">
                  <c:v>157.07561482265078</c:v>
                </c:pt>
                <c:pt idx="2397">
                  <c:v>159.68739545486193</c:v>
                </c:pt>
                <c:pt idx="2398">
                  <c:v>161.44881081122952</c:v>
                </c:pt>
                <c:pt idx="2399">
                  <c:v>161.13994071561203</c:v>
                </c:pt>
                <c:pt idx="2400">
                  <c:v>160.72837325822755</c:v>
                </c:pt>
                <c:pt idx="2401">
                  <c:v>162.63138649218305</c:v>
                </c:pt>
                <c:pt idx="2402">
                  <c:v>162.55825352243986</c:v>
                </c:pt>
                <c:pt idx="2403">
                  <c:v>161.77635315444101</c:v>
                </c:pt>
                <c:pt idx="2404">
                  <c:v>163.69726062567406</c:v>
                </c:pt>
                <c:pt idx="2405">
                  <c:v>164.14383854729729</c:v>
                </c:pt>
                <c:pt idx="2406">
                  <c:v>163.56188683061754</c:v>
                </c:pt>
                <c:pt idx="2407">
                  <c:v>163.37672037531033</c:v>
                </c:pt>
                <c:pt idx="2408">
                  <c:v>163.31992562221188</c:v>
                </c:pt>
                <c:pt idx="2409">
                  <c:v>161.71566834976045</c:v>
                </c:pt>
                <c:pt idx="2410">
                  <c:v>161.95996358911529</c:v>
                </c:pt>
                <c:pt idx="2411">
                  <c:v>161.43714065648322</c:v>
                </c:pt>
                <c:pt idx="2412">
                  <c:v>159.17857670792529</c:v>
                </c:pt>
                <c:pt idx="2413">
                  <c:v>157.39459905238161</c:v>
                </c:pt>
                <c:pt idx="2414">
                  <c:v>159.74030015637823</c:v>
                </c:pt>
                <c:pt idx="2415">
                  <c:v>159.52634731936359</c:v>
                </c:pt>
                <c:pt idx="2416">
                  <c:v>162.10467350796884</c:v>
                </c:pt>
                <c:pt idx="2417">
                  <c:v>161.9226190939273</c:v>
                </c:pt>
                <c:pt idx="2418">
                  <c:v>162.5395812748458</c:v>
                </c:pt>
                <c:pt idx="2419">
                  <c:v>162.33885461321026</c:v>
                </c:pt>
                <c:pt idx="2420">
                  <c:v>162.53724724389656</c:v>
                </c:pt>
                <c:pt idx="2421">
                  <c:v>162.51624096535332</c:v>
                </c:pt>
                <c:pt idx="2422">
                  <c:v>162.61271424458903</c:v>
                </c:pt>
                <c:pt idx="2423">
                  <c:v>161.8580442376647</c:v>
                </c:pt>
                <c:pt idx="2424">
                  <c:v>163.58678316074281</c:v>
                </c:pt>
                <c:pt idx="2425">
                  <c:v>161.7880233091872</c:v>
                </c:pt>
                <c:pt idx="2426">
                  <c:v>159.46255047341739</c:v>
                </c:pt>
                <c:pt idx="2427">
                  <c:v>162.73563987458283</c:v>
                </c:pt>
                <c:pt idx="2428">
                  <c:v>161.5981887919815</c:v>
                </c:pt>
                <c:pt idx="2429">
                  <c:v>160.54943088545167</c:v>
                </c:pt>
                <c:pt idx="2430">
                  <c:v>159.30694841013405</c:v>
                </c:pt>
                <c:pt idx="2431">
                  <c:v>159.66561116600224</c:v>
                </c:pt>
                <c:pt idx="2432">
                  <c:v>156.56446204476492</c:v>
                </c:pt>
                <c:pt idx="2433">
                  <c:v>157.3090179175758</c:v>
                </c:pt>
                <c:pt idx="2434">
                  <c:v>158.97940606692268</c:v>
                </c:pt>
                <c:pt idx="2435">
                  <c:v>161.28698466541485</c:v>
                </c:pt>
                <c:pt idx="2436">
                  <c:v>158.8611484988273</c:v>
                </c:pt>
                <c:pt idx="2437">
                  <c:v>156.03385900896868</c:v>
                </c:pt>
                <c:pt idx="2438">
                  <c:v>157.2475551025789</c:v>
                </c:pt>
                <c:pt idx="2439">
                  <c:v>158.63396948643364</c:v>
                </c:pt>
                <c:pt idx="2440">
                  <c:v>160.60389160760093</c:v>
                </c:pt>
                <c:pt idx="2441">
                  <c:v>160.34714820318339</c:v>
                </c:pt>
                <c:pt idx="2442">
                  <c:v>159.9978215711123</c:v>
                </c:pt>
                <c:pt idx="2443">
                  <c:v>161.69855212279938</c:v>
                </c:pt>
                <c:pt idx="2444">
                  <c:v>160.53153664817418</c:v>
                </c:pt>
                <c:pt idx="2445">
                  <c:v>159.02064061369276</c:v>
                </c:pt>
                <c:pt idx="2446">
                  <c:v>156.58702434394107</c:v>
                </c:pt>
                <c:pt idx="2447">
                  <c:v>156.90211852208986</c:v>
                </c:pt>
                <c:pt idx="2448">
                  <c:v>154.84428123516747</c:v>
                </c:pt>
                <c:pt idx="2449">
                  <c:v>151.17440657262949</c:v>
                </c:pt>
                <c:pt idx="2450">
                  <c:v>149.53591684625573</c:v>
                </c:pt>
                <c:pt idx="2451">
                  <c:v>149.6635105381481</c:v>
                </c:pt>
                <c:pt idx="2452">
                  <c:v>150.8313040230897</c:v>
                </c:pt>
                <c:pt idx="2453">
                  <c:v>147.06573409163244</c:v>
                </c:pt>
                <c:pt idx="2454">
                  <c:v>149.52113465024379</c:v>
                </c:pt>
                <c:pt idx="2455">
                  <c:v>146.29161382679771</c:v>
                </c:pt>
                <c:pt idx="2456">
                  <c:v>146.3694148584394</c:v>
                </c:pt>
                <c:pt idx="2457">
                  <c:v>144.65779216232247</c:v>
                </c:pt>
                <c:pt idx="2458">
                  <c:v>145.4093501279811</c:v>
                </c:pt>
                <c:pt idx="2459">
                  <c:v>148.35878723751716</c:v>
                </c:pt>
                <c:pt idx="2460">
                  <c:v>146.03876047396233</c:v>
                </c:pt>
                <c:pt idx="2461">
                  <c:v>148.10437786404893</c:v>
                </c:pt>
                <c:pt idx="2462">
                  <c:v>146.49545252969901</c:v>
                </c:pt>
                <c:pt idx="2463">
                  <c:v>147.30536126908891</c:v>
                </c:pt>
                <c:pt idx="2464">
                  <c:v>150.95267363245082</c:v>
                </c:pt>
                <c:pt idx="2465">
                  <c:v>150.88576474523902</c:v>
                </c:pt>
                <c:pt idx="2466">
                  <c:v>148.05769724506399</c:v>
                </c:pt>
                <c:pt idx="2467">
                  <c:v>148.79680704565996</c:v>
                </c:pt>
                <c:pt idx="2468">
                  <c:v>149.02398605805365</c:v>
                </c:pt>
                <c:pt idx="2469">
                  <c:v>146.26982953793822</c:v>
                </c:pt>
                <c:pt idx="2470">
                  <c:v>144.19954408595314</c:v>
                </c:pt>
                <c:pt idx="2471">
                  <c:v>144.10384881703388</c:v>
                </c:pt>
                <c:pt idx="2472">
                  <c:v>144.07661845595928</c:v>
                </c:pt>
                <c:pt idx="2473">
                  <c:v>142.30431095516181</c:v>
                </c:pt>
                <c:pt idx="2474">
                  <c:v>145.08180778476978</c:v>
                </c:pt>
                <c:pt idx="2475">
                  <c:v>147.47807955933348</c:v>
                </c:pt>
                <c:pt idx="2476">
                  <c:v>149.90858378781951</c:v>
                </c:pt>
                <c:pt idx="2477">
                  <c:v>149.20915251336081</c:v>
                </c:pt>
                <c:pt idx="2478">
                  <c:v>149.20526246177874</c:v>
                </c:pt>
                <c:pt idx="2479">
                  <c:v>151.36190705888606</c:v>
                </c:pt>
                <c:pt idx="2480">
                  <c:v>149.47678806220816</c:v>
                </c:pt>
              </c:numCache>
            </c:numRef>
          </c:val>
          <c:smooth val="0"/>
          <c:extLst xmlns:c16r2="http://schemas.microsoft.com/office/drawing/2015/06/chart">
            <c:ext xmlns:c16="http://schemas.microsoft.com/office/drawing/2014/chart" uri="{C3380CC4-5D6E-409C-BE32-E72D297353CC}">
              <c16:uniqueId val="{00000003-97CC-4024-B73E-64F79F873D55}"/>
            </c:ext>
          </c:extLst>
        </c:ser>
        <c:ser>
          <c:idx val="3"/>
          <c:order val="4"/>
          <c:tx>
            <c:strRef>
              <c:f>'12M'!$R$30</c:f>
              <c:strCache>
                <c:ptCount val="1"/>
                <c:pt idx="0">
                  <c:v>MR 0-0.1</c:v>
                </c:pt>
              </c:strCache>
            </c:strRef>
          </c:tx>
          <c:spPr>
            <a:ln>
              <a:solidFill>
                <a:schemeClr val="accent2">
                  <a:lumMod val="60000"/>
                  <a:lumOff val="40000"/>
                </a:schemeClr>
              </a:solidFill>
            </a:ln>
          </c:spPr>
          <c:marker>
            <c:symbol val="none"/>
          </c:marker>
          <c:cat>
            <c:numRef>
              <c:f>'12M'!$N$283:$N$2763</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12M'!$R$31:$R$2763</c:f>
              <c:numCache>
                <c:formatCode>General</c:formatCode>
                <c:ptCount val="2733"/>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pt idx="42">
                  <c:v>100</c:v>
                </c:pt>
                <c:pt idx="43">
                  <c:v>100</c:v>
                </c:pt>
                <c:pt idx="44">
                  <c:v>100</c:v>
                </c:pt>
                <c:pt idx="45">
                  <c:v>100</c:v>
                </c:pt>
                <c:pt idx="46">
                  <c:v>100</c:v>
                </c:pt>
                <c:pt idx="47">
                  <c:v>100</c:v>
                </c:pt>
                <c:pt idx="48">
                  <c:v>100</c:v>
                </c:pt>
                <c:pt idx="49">
                  <c:v>100</c:v>
                </c:pt>
                <c:pt idx="50">
                  <c:v>100</c:v>
                </c:pt>
                <c:pt idx="51">
                  <c:v>100</c:v>
                </c:pt>
                <c:pt idx="52">
                  <c:v>100</c:v>
                </c:pt>
                <c:pt idx="53">
                  <c:v>100</c:v>
                </c:pt>
                <c:pt idx="54">
                  <c:v>100</c:v>
                </c:pt>
                <c:pt idx="55">
                  <c:v>100</c:v>
                </c:pt>
                <c:pt idx="56">
                  <c:v>100</c:v>
                </c:pt>
                <c:pt idx="57">
                  <c:v>100</c:v>
                </c:pt>
                <c:pt idx="58">
                  <c:v>100</c:v>
                </c:pt>
                <c:pt idx="59">
                  <c:v>100</c:v>
                </c:pt>
                <c:pt idx="60">
                  <c:v>100</c:v>
                </c:pt>
                <c:pt idx="61">
                  <c:v>100</c:v>
                </c:pt>
                <c:pt idx="62">
                  <c:v>100</c:v>
                </c:pt>
                <c:pt idx="63">
                  <c:v>100</c:v>
                </c:pt>
                <c:pt idx="64">
                  <c:v>100</c:v>
                </c:pt>
                <c:pt idx="65">
                  <c:v>100</c:v>
                </c:pt>
                <c:pt idx="66">
                  <c:v>100</c:v>
                </c:pt>
                <c:pt idx="67">
                  <c:v>100</c:v>
                </c:pt>
                <c:pt idx="68">
                  <c:v>100</c:v>
                </c:pt>
                <c:pt idx="69">
                  <c:v>100</c:v>
                </c:pt>
                <c:pt idx="70">
                  <c:v>100</c:v>
                </c:pt>
                <c:pt idx="71">
                  <c:v>100</c:v>
                </c:pt>
                <c:pt idx="72">
                  <c:v>100</c:v>
                </c:pt>
                <c:pt idx="73">
                  <c:v>100</c:v>
                </c:pt>
                <c:pt idx="74">
                  <c:v>100</c:v>
                </c:pt>
                <c:pt idx="75">
                  <c:v>100</c:v>
                </c:pt>
                <c:pt idx="76">
                  <c:v>100</c:v>
                </c:pt>
                <c:pt idx="77">
                  <c:v>100</c:v>
                </c:pt>
                <c:pt idx="78">
                  <c:v>100</c:v>
                </c:pt>
                <c:pt idx="79">
                  <c:v>100</c:v>
                </c:pt>
                <c:pt idx="80">
                  <c:v>100</c:v>
                </c:pt>
                <c:pt idx="81">
                  <c:v>100</c:v>
                </c:pt>
                <c:pt idx="82">
                  <c:v>100</c:v>
                </c:pt>
                <c:pt idx="83">
                  <c:v>100</c:v>
                </c:pt>
                <c:pt idx="84">
                  <c:v>100</c:v>
                </c:pt>
                <c:pt idx="85">
                  <c:v>100</c:v>
                </c:pt>
                <c:pt idx="86">
                  <c:v>100</c:v>
                </c:pt>
                <c:pt idx="87">
                  <c:v>100</c:v>
                </c:pt>
                <c:pt idx="88">
                  <c:v>100</c:v>
                </c:pt>
                <c:pt idx="89">
                  <c:v>100</c:v>
                </c:pt>
                <c:pt idx="90">
                  <c:v>100</c:v>
                </c:pt>
                <c:pt idx="91">
                  <c:v>100</c:v>
                </c:pt>
                <c:pt idx="92">
                  <c:v>100</c:v>
                </c:pt>
                <c:pt idx="93">
                  <c:v>100</c:v>
                </c:pt>
                <c:pt idx="94">
                  <c:v>100</c:v>
                </c:pt>
                <c:pt idx="95">
                  <c:v>100</c:v>
                </c:pt>
                <c:pt idx="96">
                  <c:v>100</c:v>
                </c:pt>
                <c:pt idx="97">
                  <c:v>100</c:v>
                </c:pt>
                <c:pt idx="98">
                  <c:v>100</c:v>
                </c:pt>
                <c:pt idx="99">
                  <c:v>100</c:v>
                </c:pt>
                <c:pt idx="100">
                  <c:v>100</c:v>
                </c:pt>
                <c:pt idx="101">
                  <c:v>100</c:v>
                </c:pt>
                <c:pt idx="102">
                  <c:v>100</c:v>
                </c:pt>
                <c:pt idx="103">
                  <c:v>100</c:v>
                </c:pt>
                <c:pt idx="104">
                  <c:v>100</c:v>
                </c:pt>
                <c:pt idx="105">
                  <c:v>100</c:v>
                </c:pt>
                <c:pt idx="106">
                  <c:v>100</c:v>
                </c:pt>
                <c:pt idx="107">
                  <c:v>100</c:v>
                </c:pt>
                <c:pt idx="108">
                  <c:v>100</c:v>
                </c:pt>
                <c:pt idx="109">
                  <c:v>100</c:v>
                </c:pt>
                <c:pt idx="110">
                  <c:v>100</c:v>
                </c:pt>
                <c:pt idx="111">
                  <c:v>100</c:v>
                </c:pt>
                <c:pt idx="112">
                  <c:v>100</c:v>
                </c:pt>
                <c:pt idx="113">
                  <c:v>100</c:v>
                </c:pt>
                <c:pt idx="114">
                  <c:v>100</c:v>
                </c:pt>
                <c:pt idx="115">
                  <c:v>100</c:v>
                </c:pt>
                <c:pt idx="116">
                  <c:v>100</c:v>
                </c:pt>
                <c:pt idx="117">
                  <c:v>100</c:v>
                </c:pt>
                <c:pt idx="118">
                  <c:v>100</c:v>
                </c:pt>
                <c:pt idx="119">
                  <c:v>100</c:v>
                </c:pt>
                <c:pt idx="120">
                  <c:v>100</c:v>
                </c:pt>
                <c:pt idx="121">
                  <c:v>100</c:v>
                </c:pt>
                <c:pt idx="122">
                  <c:v>100</c:v>
                </c:pt>
                <c:pt idx="123">
                  <c:v>100</c:v>
                </c:pt>
                <c:pt idx="124">
                  <c:v>100</c:v>
                </c:pt>
                <c:pt idx="125">
                  <c:v>100</c:v>
                </c:pt>
                <c:pt idx="126">
                  <c:v>100</c:v>
                </c:pt>
                <c:pt idx="127">
                  <c:v>100</c:v>
                </c:pt>
                <c:pt idx="128">
                  <c:v>100</c:v>
                </c:pt>
                <c:pt idx="129">
                  <c:v>100</c:v>
                </c:pt>
                <c:pt idx="130">
                  <c:v>100</c:v>
                </c:pt>
                <c:pt idx="131">
                  <c:v>100</c:v>
                </c:pt>
                <c:pt idx="132">
                  <c:v>100</c:v>
                </c:pt>
                <c:pt idx="133">
                  <c:v>100</c:v>
                </c:pt>
                <c:pt idx="134">
                  <c:v>100</c:v>
                </c:pt>
                <c:pt idx="135">
                  <c:v>100</c:v>
                </c:pt>
                <c:pt idx="136">
                  <c:v>100</c:v>
                </c:pt>
                <c:pt idx="137">
                  <c:v>100</c:v>
                </c:pt>
                <c:pt idx="138">
                  <c:v>100</c:v>
                </c:pt>
                <c:pt idx="139">
                  <c:v>100</c:v>
                </c:pt>
                <c:pt idx="140">
                  <c:v>100</c:v>
                </c:pt>
                <c:pt idx="141">
                  <c:v>100</c:v>
                </c:pt>
                <c:pt idx="142">
                  <c:v>100</c:v>
                </c:pt>
                <c:pt idx="143">
                  <c:v>100</c:v>
                </c:pt>
                <c:pt idx="144">
                  <c:v>100</c:v>
                </c:pt>
                <c:pt idx="145">
                  <c:v>100</c:v>
                </c:pt>
                <c:pt idx="146">
                  <c:v>100</c:v>
                </c:pt>
                <c:pt idx="147">
                  <c:v>100</c:v>
                </c:pt>
                <c:pt idx="148">
                  <c:v>100</c:v>
                </c:pt>
                <c:pt idx="149">
                  <c:v>100</c:v>
                </c:pt>
                <c:pt idx="150">
                  <c:v>100</c:v>
                </c:pt>
                <c:pt idx="151">
                  <c:v>100</c:v>
                </c:pt>
                <c:pt idx="152">
                  <c:v>100</c:v>
                </c:pt>
                <c:pt idx="153">
                  <c:v>100</c:v>
                </c:pt>
                <c:pt idx="154">
                  <c:v>100</c:v>
                </c:pt>
                <c:pt idx="155">
                  <c:v>100</c:v>
                </c:pt>
                <c:pt idx="156">
                  <c:v>100</c:v>
                </c:pt>
                <c:pt idx="157">
                  <c:v>100</c:v>
                </c:pt>
                <c:pt idx="158">
                  <c:v>100</c:v>
                </c:pt>
                <c:pt idx="159">
                  <c:v>100</c:v>
                </c:pt>
                <c:pt idx="160">
                  <c:v>100</c:v>
                </c:pt>
                <c:pt idx="161">
                  <c:v>100</c:v>
                </c:pt>
                <c:pt idx="162">
                  <c:v>100</c:v>
                </c:pt>
                <c:pt idx="163">
                  <c:v>100</c:v>
                </c:pt>
                <c:pt idx="164">
                  <c:v>100</c:v>
                </c:pt>
                <c:pt idx="165">
                  <c:v>100</c:v>
                </c:pt>
                <c:pt idx="166">
                  <c:v>100</c:v>
                </c:pt>
                <c:pt idx="167">
                  <c:v>100</c:v>
                </c:pt>
                <c:pt idx="168">
                  <c:v>100</c:v>
                </c:pt>
                <c:pt idx="169">
                  <c:v>100</c:v>
                </c:pt>
                <c:pt idx="170">
                  <c:v>100</c:v>
                </c:pt>
                <c:pt idx="171">
                  <c:v>100</c:v>
                </c:pt>
                <c:pt idx="172">
                  <c:v>100</c:v>
                </c:pt>
                <c:pt idx="173">
                  <c:v>100</c:v>
                </c:pt>
                <c:pt idx="174">
                  <c:v>100</c:v>
                </c:pt>
                <c:pt idx="175">
                  <c:v>100</c:v>
                </c:pt>
                <c:pt idx="176">
                  <c:v>100</c:v>
                </c:pt>
                <c:pt idx="177">
                  <c:v>100</c:v>
                </c:pt>
                <c:pt idx="178">
                  <c:v>100</c:v>
                </c:pt>
                <c:pt idx="179">
                  <c:v>100</c:v>
                </c:pt>
                <c:pt idx="180">
                  <c:v>100</c:v>
                </c:pt>
                <c:pt idx="181">
                  <c:v>100</c:v>
                </c:pt>
                <c:pt idx="182">
                  <c:v>100</c:v>
                </c:pt>
                <c:pt idx="183">
                  <c:v>100</c:v>
                </c:pt>
                <c:pt idx="184">
                  <c:v>100</c:v>
                </c:pt>
                <c:pt idx="185">
                  <c:v>100</c:v>
                </c:pt>
                <c:pt idx="186">
                  <c:v>100</c:v>
                </c:pt>
                <c:pt idx="187">
                  <c:v>100</c:v>
                </c:pt>
                <c:pt idx="188">
                  <c:v>100</c:v>
                </c:pt>
                <c:pt idx="189">
                  <c:v>100</c:v>
                </c:pt>
                <c:pt idx="190">
                  <c:v>100</c:v>
                </c:pt>
                <c:pt idx="191">
                  <c:v>100</c:v>
                </c:pt>
                <c:pt idx="192">
                  <c:v>100</c:v>
                </c:pt>
                <c:pt idx="193">
                  <c:v>100</c:v>
                </c:pt>
                <c:pt idx="194">
                  <c:v>100</c:v>
                </c:pt>
                <c:pt idx="195">
                  <c:v>100</c:v>
                </c:pt>
                <c:pt idx="196">
                  <c:v>100</c:v>
                </c:pt>
                <c:pt idx="197">
                  <c:v>100</c:v>
                </c:pt>
                <c:pt idx="198">
                  <c:v>100</c:v>
                </c:pt>
                <c:pt idx="199">
                  <c:v>100</c:v>
                </c:pt>
                <c:pt idx="200">
                  <c:v>100</c:v>
                </c:pt>
                <c:pt idx="201">
                  <c:v>100</c:v>
                </c:pt>
                <c:pt idx="202">
                  <c:v>100</c:v>
                </c:pt>
                <c:pt idx="203">
                  <c:v>100</c:v>
                </c:pt>
                <c:pt idx="204">
                  <c:v>100</c:v>
                </c:pt>
                <c:pt idx="205">
                  <c:v>100</c:v>
                </c:pt>
                <c:pt idx="206">
                  <c:v>100</c:v>
                </c:pt>
                <c:pt idx="207">
                  <c:v>100</c:v>
                </c:pt>
                <c:pt idx="208">
                  <c:v>100</c:v>
                </c:pt>
                <c:pt idx="209">
                  <c:v>100</c:v>
                </c:pt>
                <c:pt idx="210">
                  <c:v>100</c:v>
                </c:pt>
                <c:pt idx="211">
                  <c:v>100</c:v>
                </c:pt>
                <c:pt idx="212">
                  <c:v>100</c:v>
                </c:pt>
                <c:pt idx="213">
                  <c:v>100</c:v>
                </c:pt>
                <c:pt idx="214">
                  <c:v>100</c:v>
                </c:pt>
                <c:pt idx="215">
                  <c:v>100</c:v>
                </c:pt>
                <c:pt idx="216">
                  <c:v>100</c:v>
                </c:pt>
                <c:pt idx="217">
                  <c:v>100</c:v>
                </c:pt>
                <c:pt idx="218">
                  <c:v>100</c:v>
                </c:pt>
                <c:pt idx="219">
                  <c:v>100</c:v>
                </c:pt>
                <c:pt idx="220">
                  <c:v>100</c:v>
                </c:pt>
                <c:pt idx="221">
                  <c:v>100</c:v>
                </c:pt>
                <c:pt idx="222">
                  <c:v>100</c:v>
                </c:pt>
                <c:pt idx="223">
                  <c:v>100</c:v>
                </c:pt>
                <c:pt idx="224">
                  <c:v>100</c:v>
                </c:pt>
                <c:pt idx="225">
                  <c:v>100</c:v>
                </c:pt>
                <c:pt idx="226">
                  <c:v>100</c:v>
                </c:pt>
                <c:pt idx="227">
                  <c:v>100</c:v>
                </c:pt>
                <c:pt idx="228">
                  <c:v>100</c:v>
                </c:pt>
                <c:pt idx="229">
                  <c:v>100</c:v>
                </c:pt>
                <c:pt idx="230">
                  <c:v>100</c:v>
                </c:pt>
                <c:pt idx="231">
                  <c:v>100</c:v>
                </c:pt>
                <c:pt idx="232">
                  <c:v>100</c:v>
                </c:pt>
                <c:pt idx="233">
                  <c:v>100</c:v>
                </c:pt>
                <c:pt idx="234">
                  <c:v>100</c:v>
                </c:pt>
                <c:pt idx="235">
                  <c:v>100</c:v>
                </c:pt>
                <c:pt idx="236">
                  <c:v>100</c:v>
                </c:pt>
                <c:pt idx="237">
                  <c:v>100</c:v>
                </c:pt>
                <c:pt idx="238">
                  <c:v>100</c:v>
                </c:pt>
                <c:pt idx="239">
                  <c:v>100</c:v>
                </c:pt>
                <c:pt idx="240">
                  <c:v>100</c:v>
                </c:pt>
                <c:pt idx="241">
                  <c:v>100</c:v>
                </c:pt>
                <c:pt idx="242">
                  <c:v>100</c:v>
                </c:pt>
                <c:pt idx="243">
                  <c:v>100</c:v>
                </c:pt>
                <c:pt idx="244">
                  <c:v>100</c:v>
                </c:pt>
                <c:pt idx="245">
                  <c:v>100</c:v>
                </c:pt>
                <c:pt idx="246">
                  <c:v>100</c:v>
                </c:pt>
                <c:pt idx="247">
                  <c:v>100</c:v>
                </c:pt>
                <c:pt idx="248">
                  <c:v>100</c:v>
                </c:pt>
                <c:pt idx="249">
                  <c:v>100</c:v>
                </c:pt>
                <c:pt idx="250">
                  <c:v>100</c:v>
                </c:pt>
                <c:pt idx="251">
                  <c:v>100</c:v>
                </c:pt>
                <c:pt idx="252">
                  <c:v>100</c:v>
                </c:pt>
                <c:pt idx="253">
                  <c:v>102.84766358834962</c:v>
                </c:pt>
                <c:pt idx="254">
                  <c:v>102.79415367056978</c:v>
                </c:pt>
                <c:pt idx="255">
                  <c:v>101.91441727249229</c:v>
                </c:pt>
                <c:pt idx="256">
                  <c:v>103.18034135923884</c:v>
                </c:pt>
                <c:pt idx="257">
                  <c:v>102.73701541236549</c:v>
                </c:pt>
                <c:pt idx="258">
                  <c:v>102.7361213395164</c:v>
                </c:pt>
                <c:pt idx="259">
                  <c:v>101.34889455608655</c:v>
                </c:pt>
                <c:pt idx="260">
                  <c:v>100.77467659537686</c:v>
                </c:pt>
                <c:pt idx="261">
                  <c:v>99.794243601621318</c:v>
                </c:pt>
                <c:pt idx="262">
                  <c:v>102.24004611800257</c:v>
                </c:pt>
                <c:pt idx="263">
                  <c:v>100.43941001085648</c:v>
                </c:pt>
                <c:pt idx="264">
                  <c:v>99.898250801524838</c:v>
                </c:pt>
                <c:pt idx="265">
                  <c:v>98.40175466960217</c:v>
                </c:pt>
                <c:pt idx="266">
                  <c:v>97.754536989561799</c:v>
                </c:pt>
                <c:pt idx="267">
                  <c:v>97.464048526033494</c:v>
                </c:pt>
                <c:pt idx="268">
                  <c:v>96.495505044949212</c:v>
                </c:pt>
                <c:pt idx="269">
                  <c:v>96.654764146975282</c:v>
                </c:pt>
                <c:pt idx="270">
                  <c:v>99.720247382966946</c:v>
                </c:pt>
                <c:pt idx="271">
                  <c:v>104.16090291464462</c:v>
                </c:pt>
                <c:pt idx="272">
                  <c:v>104.16090291464462</c:v>
                </c:pt>
                <c:pt idx="273">
                  <c:v>104.03070178600132</c:v>
                </c:pt>
                <c:pt idx="274">
                  <c:v>104.03070178600132</c:v>
                </c:pt>
                <c:pt idx="275">
                  <c:v>104.03070178600132</c:v>
                </c:pt>
                <c:pt idx="276">
                  <c:v>104.03070178600132</c:v>
                </c:pt>
                <c:pt idx="277">
                  <c:v>104.03070178600132</c:v>
                </c:pt>
                <c:pt idx="278">
                  <c:v>104.03070178600132</c:v>
                </c:pt>
                <c:pt idx="279">
                  <c:v>104.03070178600132</c:v>
                </c:pt>
                <c:pt idx="280">
                  <c:v>104.03070178600132</c:v>
                </c:pt>
                <c:pt idx="281">
                  <c:v>104.03070178600132</c:v>
                </c:pt>
                <c:pt idx="282">
                  <c:v>104.03070178600132</c:v>
                </c:pt>
                <c:pt idx="283">
                  <c:v>104.03070178600132</c:v>
                </c:pt>
                <c:pt idx="284">
                  <c:v>104.03070178600132</c:v>
                </c:pt>
                <c:pt idx="285">
                  <c:v>104.03070178600132</c:v>
                </c:pt>
                <c:pt idx="286">
                  <c:v>104.03070178600132</c:v>
                </c:pt>
                <c:pt idx="287">
                  <c:v>104.03070178600132</c:v>
                </c:pt>
                <c:pt idx="288">
                  <c:v>104.03070178600132</c:v>
                </c:pt>
                <c:pt idx="289">
                  <c:v>104.03070178600132</c:v>
                </c:pt>
                <c:pt idx="290">
                  <c:v>104.03070178600132</c:v>
                </c:pt>
                <c:pt idx="291">
                  <c:v>104.03070178600132</c:v>
                </c:pt>
                <c:pt idx="292">
                  <c:v>104.03070178600132</c:v>
                </c:pt>
                <c:pt idx="293">
                  <c:v>104.03070178600132</c:v>
                </c:pt>
                <c:pt idx="294">
                  <c:v>104.03070178600132</c:v>
                </c:pt>
                <c:pt idx="295">
                  <c:v>104.03070178600132</c:v>
                </c:pt>
                <c:pt idx="296">
                  <c:v>104.03070178600132</c:v>
                </c:pt>
                <c:pt idx="297">
                  <c:v>104.03070178600132</c:v>
                </c:pt>
                <c:pt idx="298">
                  <c:v>104.03070178600132</c:v>
                </c:pt>
                <c:pt idx="299">
                  <c:v>104.03070178600132</c:v>
                </c:pt>
                <c:pt idx="300">
                  <c:v>104.03070178600132</c:v>
                </c:pt>
                <c:pt idx="301">
                  <c:v>104.03070178600132</c:v>
                </c:pt>
                <c:pt idx="302">
                  <c:v>104.03070178600132</c:v>
                </c:pt>
                <c:pt idx="303">
                  <c:v>104.03070178600132</c:v>
                </c:pt>
                <c:pt idx="304">
                  <c:v>104.03070178600132</c:v>
                </c:pt>
                <c:pt idx="305">
                  <c:v>104.03070178600132</c:v>
                </c:pt>
                <c:pt idx="306">
                  <c:v>104.03070178600132</c:v>
                </c:pt>
                <c:pt idx="307">
                  <c:v>104.03070178600132</c:v>
                </c:pt>
                <c:pt idx="308">
                  <c:v>104.03070178600132</c:v>
                </c:pt>
                <c:pt idx="309">
                  <c:v>104.03070178600132</c:v>
                </c:pt>
                <c:pt idx="310">
                  <c:v>104.03070178600132</c:v>
                </c:pt>
                <c:pt idx="311">
                  <c:v>104.03070178600132</c:v>
                </c:pt>
                <c:pt idx="312">
                  <c:v>104.03070178600132</c:v>
                </c:pt>
                <c:pt idx="313">
                  <c:v>104.03070178600132</c:v>
                </c:pt>
                <c:pt idx="314">
                  <c:v>104.03070178600132</c:v>
                </c:pt>
                <c:pt idx="315">
                  <c:v>104.03070178600132</c:v>
                </c:pt>
                <c:pt idx="316">
                  <c:v>104.03070178600132</c:v>
                </c:pt>
                <c:pt idx="317">
                  <c:v>104.03070178600132</c:v>
                </c:pt>
                <c:pt idx="318">
                  <c:v>104.03070178600132</c:v>
                </c:pt>
                <c:pt idx="319">
                  <c:v>104.03070178600132</c:v>
                </c:pt>
                <c:pt idx="320">
                  <c:v>104.03070178600132</c:v>
                </c:pt>
                <c:pt idx="321">
                  <c:v>104.03070178600132</c:v>
                </c:pt>
                <c:pt idx="322">
                  <c:v>104.03070178600132</c:v>
                </c:pt>
                <c:pt idx="323">
                  <c:v>104.03070178600132</c:v>
                </c:pt>
                <c:pt idx="324">
                  <c:v>104.03070178600132</c:v>
                </c:pt>
                <c:pt idx="325">
                  <c:v>104.03070178600132</c:v>
                </c:pt>
                <c:pt idx="326">
                  <c:v>104.03070178600132</c:v>
                </c:pt>
                <c:pt idx="327">
                  <c:v>104.03070178600132</c:v>
                </c:pt>
                <c:pt idx="328">
                  <c:v>104.03070178600132</c:v>
                </c:pt>
                <c:pt idx="329">
                  <c:v>104.03070178600132</c:v>
                </c:pt>
                <c:pt idx="330">
                  <c:v>104.03070178600132</c:v>
                </c:pt>
                <c:pt idx="331">
                  <c:v>104.03070178600132</c:v>
                </c:pt>
                <c:pt idx="332">
                  <c:v>104.03070178600132</c:v>
                </c:pt>
                <c:pt idx="333">
                  <c:v>104.03070178600132</c:v>
                </c:pt>
                <c:pt idx="334">
                  <c:v>104.03070178600132</c:v>
                </c:pt>
                <c:pt idx="335">
                  <c:v>104.03070178600132</c:v>
                </c:pt>
                <c:pt idx="336">
                  <c:v>104.03070178600132</c:v>
                </c:pt>
                <c:pt idx="337">
                  <c:v>104.03070178600132</c:v>
                </c:pt>
                <c:pt idx="338">
                  <c:v>104.03070178600132</c:v>
                </c:pt>
                <c:pt idx="339">
                  <c:v>102.32956014328789</c:v>
                </c:pt>
                <c:pt idx="340">
                  <c:v>101.01581910500067</c:v>
                </c:pt>
                <c:pt idx="341">
                  <c:v>100.3491638773862</c:v>
                </c:pt>
                <c:pt idx="342">
                  <c:v>102.78265775209921</c:v>
                </c:pt>
                <c:pt idx="343">
                  <c:v>102.26067790051799</c:v>
                </c:pt>
                <c:pt idx="344">
                  <c:v>99.898542211213297</c:v>
                </c:pt>
                <c:pt idx="345">
                  <c:v>98.196528840967531</c:v>
                </c:pt>
                <c:pt idx="346">
                  <c:v>100.03727234634258</c:v>
                </c:pt>
                <c:pt idx="347">
                  <c:v>99.295400718477779</c:v>
                </c:pt>
                <c:pt idx="348">
                  <c:v>97.718229661145642</c:v>
                </c:pt>
                <c:pt idx="349">
                  <c:v>95.629582870338069</c:v>
                </c:pt>
                <c:pt idx="350">
                  <c:v>95.920507686282079</c:v>
                </c:pt>
                <c:pt idx="351">
                  <c:v>101.08878187256825</c:v>
                </c:pt>
                <c:pt idx="352">
                  <c:v>102.11058304196288</c:v>
                </c:pt>
                <c:pt idx="353">
                  <c:v>102.62596603907781</c:v>
                </c:pt>
                <c:pt idx="354">
                  <c:v>103.1881254942849</c:v>
                </c:pt>
                <c:pt idx="355">
                  <c:v>110.17570929131868</c:v>
                </c:pt>
                <c:pt idx="356">
                  <c:v>111.9638450105947</c:v>
                </c:pt>
                <c:pt idx="357">
                  <c:v>112.30661984245369</c:v>
                </c:pt>
                <c:pt idx="358">
                  <c:v>112.06571194681671</c:v>
                </c:pt>
                <c:pt idx="359">
                  <c:v>111.02827661656532</c:v>
                </c:pt>
                <c:pt idx="360">
                  <c:v>110.5474535798494</c:v>
                </c:pt>
                <c:pt idx="361">
                  <c:v>108.39287284784986</c:v>
                </c:pt>
                <c:pt idx="362">
                  <c:v>111.33933218141142</c:v>
                </c:pt>
                <c:pt idx="363">
                  <c:v>111.57192107513188</c:v>
                </c:pt>
                <c:pt idx="364">
                  <c:v>108.25421897087544</c:v>
                </c:pt>
                <c:pt idx="365">
                  <c:v>107.34124641076986</c:v>
                </c:pt>
                <c:pt idx="366">
                  <c:v>107.10688685615156</c:v>
                </c:pt>
                <c:pt idx="367">
                  <c:v>106.86346525054951</c:v>
                </c:pt>
                <c:pt idx="368">
                  <c:v>106.21428925916609</c:v>
                </c:pt>
                <c:pt idx="369">
                  <c:v>108.40201812295965</c:v>
                </c:pt>
                <c:pt idx="370">
                  <c:v>109.37004389641773</c:v>
                </c:pt>
                <c:pt idx="371">
                  <c:v>107.16319097937871</c:v>
                </c:pt>
                <c:pt idx="372">
                  <c:v>107.16999537372868</c:v>
                </c:pt>
                <c:pt idx="373">
                  <c:v>106.06265796204787</c:v>
                </c:pt>
                <c:pt idx="374">
                  <c:v>103.93615116063152</c:v>
                </c:pt>
                <c:pt idx="375">
                  <c:v>99.597350793890982</c:v>
                </c:pt>
                <c:pt idx="376">
                  <c:v>98.738406560639021</c:v>
                </c:pt>
                <c:pt idx="377">
                  <c:v>96.527262580938341</c:v>
                </c:pt>
                <c:pt idx="378">
                  <c:v>95.255359391686852</c:v>
                </c:pt>
                <c:pt idx="379">
                  <c:v>93.240168207327812</c:v>
                </c:pt>
                <c:pt idx="380">
                  <c:v>94.279290707707119</c:v>
                </c:pt>
                <c:pt idx="381">
                  <c:v>93.82979587385617</c:v>
                </c:pt>
                <c:pt idx="382">
                  <c:v>93.307123266121181</c:v>
                </c:pt>
                <c:pt idx="383">
                  <c:v>91.517350363683491</c:v>
                </c:pt>
                <c:pt idx="384">
                  <c:v>89.054146214392631</c:v>
                </c:pt>
                <c:pt idx="385">
                  <c:v>87.782003858607737</c:v>
                </c:pt>
                <c:pt idx="386">
                  <c:v>85.618238255140582</c:v>
                </c:pt>
                <c:pt idx="387">
                  <c:v>83.825229502724142</c:v>
                </c:pt>
                <c:pt idx="388">
                  <c:v>84.268444523484476</c:v>
                </c:pt>
                <c:pt idx="389">
                  <c:v>84.565488381623069</c:v>
                </c:pt>
                <c:pt idx="390">
                  <c:v>84.266801277235203</c:v>
                </c:pt>
                <c:pt idx="391">
                  <c:v>86.054304095488334</c:v>
                </c:pt>
                <c:pt idx="392">
                  <c:v>86.795345732842293</c:v>
                </c:pt>
                <c:pt idx="393">
                  <c:v>85.91184417147764</c:v>
                </c:pt>
                <c:pt idx="394">
                  <c:v>86.790135591067113</c:v>
                </c:pt>
                <c:pt idx="395">
                  <c:v>86.739697149005949</c:v>
                </c:pt>
                <c:pt idx="396">
                  <c:v>84.545807156475021</c:v>
                </c:pt>
                <c:pt idx="397">
                  <c:v>85.083447207174515</c:v>
                </c:pt>
                <c:pt idx="398">
                  <c:v>85.655683605812357</c:v>
                </c:pt>
                <c:pt idx="399">
                  <c:v>85.797767642268255</c:v>
                </c:pt>
                <c:pt idx="400">
                  <c:v>84.005518797577054</c:v>
                </c:pt>
                <c:pt idx="401">
                  <c:v>83.28488745824842</c:v>
                </c:pt>
                <c:pt idx="402">
                  <c:v>82.996634535188988</c:v>
                </c:pt>
                <c:pt idx="403">
                  <c:v>83.641052513622213</c:v>
                </c:pt>
                <c:pt idx="404">
                  <c:v>81.91950411728422</c:v>
                </c:pt>
                <c:pt idx="405">
                  <c:v>82.417489654458279</c:v>
                </c:pt>
                <c:pt idx="406">
                  <c:v>83.204717450934154</c:v>
                </c:pt>
                <c:pt idx="407">
                  <c:v>83.847966499039273</c:v>
                </c:pt>
                <c:pt idx="408">
                  <c:v>88.155771772242602</c:v>
                </c:pt>
                <c:pt idx="409">
                  <c:v>88.861607099740993</c:v>
                </c:pt>
                <c:pt idx="410">
                  <c:v>92.718444922038856</c:v>
                </c:pt>
                <c:pt idx="411">
                  <c:v>93.437423535426163</c:v>
                </c:pt>
                <c:pt idx="412">
                  <c:v>95.077071909799571</c:v>
                </c:pt>
                <c:pt idx="413">
                  <c:v>93.750684271933864</c:v>
                </c:pt>
                <c:pt idx="414">
                  <c:v>93.597660966678717</c:v>
                </c:pt>
                <c:pt idx="415">
                  <c:v>93.644426007776104</c:v>
                </c:pt>
                <c:pt idx="416">
                  <c:v>95.867307524815601</c:v>
                </c:pt>
                <c:pt idx="417">
                  <c:v>95.75968588787093</c:v>
                </c:pt>
                <c:pt idx="418">
                  <c:v>99.837958490319906</c:v>
                </c:pt>
                <c:pt idx="419">
                  <c:v>101.68883777498552</c:v>
                </c:pt>
                <c:pt idx="420">
                  <c:v>97.494919855504747</c:v>
                </c:pt>
                <c:pt idx="421">
                  <c:v>95.841945078481118</c:v>
                </c:pt>
                <c:pt idx="422">
                  <c:v>97.215359633832506</c:v>
                </c:pt>
                <c:pt idx="423">
                  <c:v>97.441751522979317</c:v>
                </c:pt>
                <c:pt idx="424">
                  <c:v>94.764274296389942</c:v>
                </c:pt>
                <c:pt idx="425">
                  <c:v>94.452605680703073</c:v>
                </c:pt>
                <c:pt idx="426">
                  <c:v>95.1402544081526</c:v>
                </c:pt>
                <c:pt idx="427">
                  <c:v>96.51535546114458</c:v>
                </c:pt>
                <c:pt idx="428">
                  <c:v>93.835549669782893</c:v>
                </c:pt>
                <c:pt idx="429">
                  <c:v>92.889248728456522</c:v>
                </c:pt>
                <c:pt idx="430">
                  <c:v>93.792888228100963</c:v>
                </c:pt>
                <c:pt idx="431">
                  <c:v>95.41348469536598</c:v>
                </c:pt>
                <c:pt idx="432">
                  <c:v>94.711690178542895</c:v>
                </c:pt>
                <c:pt idx="433">
                  <c:v>94.35068893700273</c:v>
                </c:pt>
                <c:pt idx="434">
                  <c:v>95.211570687263858</c:v>
                </c:pt>
                <c:pt idx="435">
                  <c:v>94.621545711937159</c:v>
                </c:pt>
                <c:pt idx="436">
                  <c:v>94.514073110729214</c:v>
                </c:pt>
                <c:pt idx="437">
                  <c:v>94.344863694116</c:v>
                </c:pt>
                <c:pt idx="438">
                  <c:v>93.820741680767171</c:v>
                </c:pt>
                <c:pt idx="439">
                  <c:v>92.173894881585781</c:v>
                </c:pt>
                <c:pt idx="440">
                  <c:v>90.788617474849687</c:v>
                </c:pt>
                <c:pt idx="441">
                  <c:v>90.861931785860875</c:v>
                </c:pt>
                <c:pt idx="442">
                  <c:v>92.006121561086033</c:v>
                </c:pt>
                <c:pt idx="443">
                  <c:v>89.180832203457257</c:v>
                </c:pt>
                <c:pt idx="444">
                  <c:v>90.395421496163578</c:v>
                </c:pt>
                <c:pt idx="445">
                  <c:v>87.493940679572063</c:v>
                </c:pt>
                <c:pt idx="446">
                  <c:v>86.34355694617642</c:v>
                </c:pt>
                <c:pt idx="447">
                  <c:v>90.23111468879938</c:v>
                </c:pt>
                <c:pt idx="448">
                  <c:v>90.603538376184261</c:v>
                </c:pt>
                <c:pt idx="449">
                  <c:v>90.398040279655135</c:v>
                </c:pt>
                <c:pt idx="450">
                  <c:v>90.730976143993573</c:v>
                </c:pt>
                <c:pt idx="451">
                  <c:v>90.793081951217431</c:v>
                </c:pt>
                <c:pt idx="452">
                  <c:v>89.920251058396374</c:v>
                </c:pt>
                <c:pt idx="453">
                  <c:v>89.512962149221039</c:v>
                </c:pt>
                <c:pt idx="454">
                  <c:v>89.110775176378581</c:v>
                </c:pt>
                <c:pt idx="455">
                  <c:v>89.110075011331872</c:v>
                </c:pt>
                <c:pt idx="456">
                  <c:v>87.433276179857359</c:v>
                </c:pt>
                <c:pt idx="457">
                  <c:v>87.908742018563728</c:v>
                </c:pt>
                <c:pt idx="458">
                  <c:v>89.596822188587524</c:v>
                </c:pt>
                <c:pt idx="459">
                  <c:v>91.208712916436042</c:v>
                </c:pt>
                <c:pt idx="460">
                  <c:v>89.766818869207484</c:v>
                </c:pt>
                <c:pt idx="461">
                  <c:v>92.18479158269362</c:v>
                </c:pt>
                <c:pt idx="462">
                  <c:v>91.221774597272628</c:v>
                </c:pt>
                <c:pt idx="463">
                  <c:v>91.282552690107309</c:v>
                </c:pt>
                <c:pt idx="464">
                  <c:v>89.782060150859564</c:v>
                </c:pt>
                <c:pt idx="465">
                  <c:v>88.752285122876799</c:v>
                </c:pt>
                <c:pt idx="466">
                  <c:v>88.03940175014516</c:v>
                </c:pt>
                <c:pt idx="467">
                  <c:v>91.512050543272835</c:v>
                </c:pt>
                <c:pt idx="468">
                  <c:v>90.319742895715848</c:v>
                </c:pt>
                <c:pt idx="469">
                  <c:v>103.21533350955292</c:v>
                </c:pt>
                <c:pt idx="470">
                  <c:v>103.21533350955292</c:v>
                </c:pt>
                <c:pt idx="471">
                  <c:v>103.08631434266599</c:v>
                </c:pt>
                <c:pt idx="472">
                  <c:v>103.08631434266599</c:v>
                </c:pt>
                <c:pt idx="473">
                  <c:v>103.08631434266599</c:v>
                </c:pt>
                <c:pt idx="474">
                  <c:v>103.08631434266599</c:v>
                </c:pt>
                <c:pt idx="475">
                  <c:v>103.08631434266599</c:v>
                </c:pt>
                <c:pt idx="476">
                  <c:v>103.08631434266599</c:v>
                </c:pt>
                <c:pt idx="477">
                  <c:v>103.08631434266599</c:v>
                </c:pt>
                <c:pt idx="478">
                  <c:v>103.08631434266599</c:v>
                </c:pt>
                <c:pt idx="479">
                  <c:v>103.08631434266599</c:v>
                </c:pt>
                <c:pt idx="480">
                  <c:v>103.08631434266599</c:v>
                </c:pt>
                <c:pt idx="481">
                  <c:v>103.08631434266599</c:v>
                </c:pt>
                <c:pt idx="482">
                  <c:v>103.08631434266599</c:v>
                </c:pt>
                <c:pt idx="483">
                  <c:v>103.08631434266599</c:v>
                </c:pt>
                <c:pt idx="484">
                  <c:v>103.08631434266599</c:v>
                </c:pt>
                <c:pt idx="485">
                  <c:v>103.08631434266599</c:v>
                </c:pt>
                <c:pt idx="486">
                  <c:v>103.08631434266599</c:v>
                </c:pt>
                <c:pt idx="487">
                  <c:v>103.08631434266599</c:v>
                </c:pt>
                <c:pt idx="488">
                  <c:v>103.08631434266599</c:v>
                </c:pt>
                <c:pt idx="489">
                  <c:v>103.08631434266599</c:v>
                </c:pt>
                <c:pt idx="490">
                  <c:v>103.08631434266599</c:v>
                </c:pt>
                <c:pt idx="491">
                  <c:v>103.08631434266599</c:v>
                </c:pt>
                <c:pt idx="492">
                  <c:v>103.08631434266599</c:v>
                </c:pt>
                <c:pt idx="493">
                  <c:v>103.08631434266599</c:v>
                </c:pt>
                <c:pt idx="494">
                  <c:v>103.08631434266599</c:v>
                </c:pt>
                <c:pt idx="495">
                  <c:v>103.08631434266599</c:v>
                </c:pt>
                <c:pt idx="496">
                  <c:v>103.08631434266599</c:v>
                </c:pt>
                <c:pt idx="497">
                  <c:v>103.08631434266599</c:v>
                </c:pt>
                <c:pt idx="498">
                  <c:v>103.08631434266599</c:v>
                </c:pt>
                <c:pt idx="499">
                  <c:v>105.51021777120216</c:v>
                </c:pt>
                <c:pt idx="500">
                  <c:v>105.37832999898816</c:v>
                </c:pt>
                <c:pt idx="501">
                  <c:v>105.24660708648943</c:v>
                </c:pt>
                <c:pt idx="502">
                  <c:v>100.5480169524843</c:v>
                </c:pt>
                <c:pt idx="503">
                  <c:v>101.73045284443413</c:v>
                </c:pt>
                <c:pt idx="504">
                  <c:v>101.65009528460332</c:v>
                </c:pt>
                <c:pt idx="505">
                  <c:v>100.798329080545</c:v>
                </c:pt>
                <c:pt idx="506">
                  <c:v>100.86862331850851</c:v>
                </c:pt>
                <c:pt idx="507">
                  <c:v>102.33297003158657</c:v>
                </c:pt>
                <c:pt idx="508">
                  <c:v>102.24359836102107</c:v>
                </c:pt>
                <c:pt idx="509">
                  <c:v>101.8515732148264</c:v>
                </c:pt>
                <c:pt idx="510">
                  <c:v>101.85792497773777</c:v>
                </c:pt>
                <c:pt idx="511">
                  <c:v>101.65568885758201</c:v>
                </c:pt>
                <c:pt idx="512">
                  <c:v>102.00068049040256</c:v>
                </c:pt>
                <c:pt idx="513">
                  <c:v>102.00068049040256</c:v>
                </c:pt>
                <c:pt idx="514">
                  <c:v>101.87317963978956</c:v>
                </c:pt>
                <c:pt idx="515">
                  <c:v>102.35886573915978</c:v>
                </c:pt>
                <c:pt idx="516">
                  <c:v>102.06423596432633</c:v>
                </c:pt>
                <c:pt idx="517">
                  <c:v>102.21981362116291</c:v>
                </c:pt>
                <c:pt idx="518">
                  <c:v>102.21981362116291</c:v>
                </c:pt>
                <c:pt idx="519">
                  <c:v>102.09203885413646</c:v>
                </c:pt>
                <c:pt idx="520">
                  <c:v>99.837225068314496</c:v>
                </c:pt>
                <c:pt idx="521">
                  <c:v>99.712428536979104</c:v>
                </c:pt>
                <c:pt idx="522">
                  <c:v>97.915025352498873</c:v>
                </c:pt>
                <c:pt idx="523">
                  <c:v>97.792631570808254</c:v>
                </c:pt>
                <c:pt idx="524">
                  <c:v>97.67039078134475</c:v>
                </c:pt>
                <c:pt idx="525">
                  <c:v>97.67039078134475</c:v>
                </c:pt>
                <c:pt idx="526">
                  <c:v>97.67039078134475</c:v>
                </c:pt>
                <c:pt idx="527">
                  <c:v>97.67039078134475</c:v>
                </c:pt>
                <c:pt idx="528">
                  <c:v>97.519071235746793</c:v>
                </c:pt>
                <c:pt idx="529">
                  <c:v>96.888237922510086</c:v>
                </c:pt>
                <c:pt idx="530">
                  <c:v>100.05819811852598</c:v>
                </c:pt>
                <c:pt idx="531">
                  <c:v>100.05819811852598</c:v>
                </c:pt>
                <c:pt idx="532">
                  <c:v>99.933125370877818</c:v>
                </c:pt>
                <c:pt idx="533">
                  <c:v>99.137366554611347</c:v>
                </c:pt>
                <c:pt idx="534">
                  <c:v>98.927539008148301</c:v>
                </c:pt>
                <c:pt idx="535">
                  <c:v>97.758030302499179</c:v>
                </c:pt>
                <c:pt idx="536">
                  <c:v>98.921885135686978</c:v>
                </c:pt>
                <c:pt idx="537">
                  <c:v>99.939856692596692</c:v>
                </c:pt>
                <c:pt idx="538">
                  <c:v>104.45711322627795</c:v>
                </c:pt>
                <c:pt idx="539">
                  <c:v>104.45711322627795</c:v>
                </c:pt>
                <c:pt idx="540">
                  <c:v>104.32654183474511</c:v>
                </c:pt>
                <c:pt idx="541">
                  <c:v>104.32654183474511</c:v>
                </c:pt>
                <c:pt idx="542">
                  <c:v>104.32654183474511</c:v>
                </c:pt>
                <c:pt idx="543">
                  <c:v>104.32654183474511</c:v>
                </c:pt>
                <c:pt idx="544">
                  <c:v>104.32654183474511</c:v>
                </c:pt>
                <c:pt idx="545">
                  <c:v>104.32654183474511</c:v>
                </c:pt>
                <c:pt idx="546">
                  <c:v>104.30894267442481</c:v>
                </c:pt>
                <c:pt idx="547">
                  <c:v>101.96056249067585</c:v>
                </c:pt>
                <c:pt idx="548">
                  <c:v>108.06779395955931</c:v>
                </c:pt>
                <c:pt idx="549">
                  <c:v>108.06779395955931</c:v>
                </c:pt>
                <c:pt idx="550">
                  <c:v>107.93270921710986</c:v>
                </c:pt>
                <c:pt idx="551">
                  <c:v>107.93270921710986</c:v>
                </c:pt>
                <c:pt idx="552">
                  <c:v>107.93270921710986</c:v>
                </c:pt>
                <c:pt idx="553">
                  <c:v>107.93270921710986</c:v>
                </c:pt>
                <c:pt idx="554">
                  <c:v>107.93270921710986</c:v>
                </c:pt>
                <c:pt idx="555">
                  <c:v>107.93270921710986</c:v>
                </c:pt>
                <c:pt idx="556">
                  <c:v>107.93270921710986</c:v>
                </c:pt>
                <c:pt idx="557">
                  <c:v>107.93270921710986</c:v>
                </c:pt>
                <c:pt idx="558">
                  <c:v>107.93270921710986</c:v>
                </c:pt>
                <c:pt idx="559">
                  <c:v>107.93270921710986</c:v>
                </c:pt>
                <c:pt idx="560">
                  <c:v>107.93270921710986</c:v>
                </c:pt>
                <c:pt idx="561">
                  <c:v>107.93270921710986</c:v>
                </c:pt>
                <c:pt idx="562">
                  <c:v>107.93270921710986</c:v>
                </c:pt>
                <c:pt idx="563">
                  <c:v>107.93270921710986</c:v>
                </c:pt>
                <c:pt idx="564">
                  <c:v>107.93270921710986</c:v>
                </c:pt>
                <c:pt idx="565">
                  <c:v>107.93270921710986</c:v>
                </c:pt>
                <c:pt idx="566">
                  <c:v>107.93270921710986</c:v>
                </c:pt>
                <c:pt idx="567">
                  <c:v>107.93270921710986</c:v>
                </c:pt>
                <c:pt idx="568">
                  <c:v>107.93270921710986</c:v>
                </c:pt>
                <c:pt idx="569">
                  <c:v>107.93270921710986</c:v>
                </c:pt>
                <c:pt idx="570">
                  <c:v>107.93270921710986</c:v>
                </c:pt>
                <c:pt idx="571">
                  <c:v>107.93270921710986</c:v>
                </c:pt>
                <c:pt idx="572">
                  <c:v>107.93270921710986</c:v>
                </c:pt>
                <c:pt idx="573">
                  <c:v>107.93270921710986</c:v>
                </c:pt>
                <c:pt idx="574">
                  <c:v>107.93270921710986</c:v>
                </c:pt>
                <c:pt idx="575">
                  <c:v>107.93270921710986</c:v>
                </c:pt>
                <c:pt idx="576">
                  <c:v>107.93270921710986</c:v>
                </c:pt>
                <c:pt idx="577">
                  <c:v>107.93270921710986</c:v>
                </c:pt>
                <c:pt idx="578">
                  <c:v>107.93270921710986</c:v>
                </c:pt>
                <c:pt idx="579">
                  <c:v>107.93270921710986</c:v>
                </c:pt>
                <c:pt idx="580">
                  <c:v>107.93270921710986</c:v>
                </c:pt>
                <c:pt idx="581">
                  <c:v>107.93270921710986</c:v>
                </c:pt>
                <c:pt idx="582">
                  <c:v>107.93270921710986</c:v>
                </c:pt>
                <c:pt idx="583">
                  <c:v>107.93270921710986</c:v>
                </c:pt>
                <c:pt idx="584">
                  <c:v>107.93270921710986</c:v>
                </c:pt>
                <c:pt idx="585">
                  <c:v>107.93270921710986</c:v>
                </c:pt>
                <c:pt idx="586">
                  <c:v>107.93270921710986</c:v>
                </c:pt>
                <c:pt idx="587">
                  <c:v>107.93270921710986</c:v>
                </c:pt>
                <c:pt idx="588">
                  <c:v>107.93270921710986</c:v>
                </c:pt>
                <c:pt idx="589">
                  <c:v>107.93270921710986</c:v>
                </c:pt>
                <c:pt idx="590">
                  <c:v>107.93270921710986</c:v>
                </c:pt>
                <c:pt idx="591">
                  <c:v>107.93270921710986</c:v>
                </c:pt>
                <c:pt idx="592">
                  <c:v>107.93270921710986</c:v>
                </c:pt>
                <c:pt idx="593">
                  <c:v>107.93270921710986</c:v>
                </c:pt>
                <c:pt idx="594">
                  <c:v>107.93270921710986</c:v>
                </c:pt>
                <c:pt idx="595">
                  <c:v>107.93270921710986</c:v>
                </c:pt>
                <c:pt idx="596">
                  <c:v>107.93270921710986</c:v>
                </c:pt>
                <c:pt idx="597">
                  <c:v>107.93270921710986</c:v>
                </c:pt>
                <c:pt idx="598">
                  <c:v>107.93270921710986</c:v>
                </c:pt>
                <c:pt idx="599">
                  <c:v>107.93270921710986</c:v>
                </c:pt>
                <c:pt idx="600">
                  <c:v>107.93270921710986</c:v>
                </c:pt>
                <c:pt idx="601">
                  <c:v>107.93270921710986</c:v>
                </c:pt>
                <c:pt idx="602">
                  <c:v>107.93270921710986</c:v>
                </c:pt>
                <c:pt idx="603">
                  <c:v>107.93270921710986</c:v>
                </c:pt>
                <c:pt idx="604">
                  <c:v>107.93270921710986</c:v>
                </c:pt>
                <c:pt idx="605">
                  <c:v>107.93270921710986</c:v>
                </c:pt>
                <c:pt idx="606">
                  <c:v>107.93270921710986</c:v>
                </c:pt>
                <c:pt idx="607">
                  <c:v>107.93270921710986</c:v>
                </c:pt>
                <c:pt idx="608">
                  <c:v>107.93270921710986</c:v>
                </c:pt>
                <c:pt idx="609">
                  <c:v>107.93270921710986</c:v>
                </c:pt>
                <c:pt idx="610">
                  <c:v>107.93270921710986</c:v>
                </c:pt>
                <c:pt idx="611">
                  <c:v>107.93270921710986</c:v>
                </c:pt>
                <c:pt idx="612">
                  <c:v>107.93270921710986</c:v>
                </c:pt>
                <c:pt idx="613">
                  <c:v>107.93270921710986</c:v>
                </c:pt>
                <c:pt idx="614">
                  <c:v>107.93270921710986</c:v>
                </c:pt>
                <c:pt idx="615">
                  <c:v>107.93270921710986</c:v>
                </c:pt>
                <c:pt idx="616">
                  <c:v>107.93270921710986</c:v>
                </c:pt>
                <c:pt idx="617">
                  <c:v>107.93270921710986</c:v>
                </c:pt>
                <c:pt idx="618">
                  <c:v>107.93270921710986</c:v>
                </c:pt>
                <c:pt idx="619">
                  <c:v>107.93270921710986</c:v>
                </c:pt>
                <c:pt idx="620">
                  <c:v>107.93270921710986</c:v>
                </c:pt>
                <c:pt idx="621">
                  <c:v>107.93270921710986</c:v>
                </c:pt>
                <c:pt idx="622">
                  <c:v>107.93270921710986</c:v>
                </c:pt>
                <c:pt idx="623">
                  <c:v>107.93270921710986</c:v>
                </c:pt>
                <c:pt idx="624">
                  <c:v>107.93270921710986</c:v>
                </c:pt>
                <c:pt idx="625">
                  <c:v>107.93270921710986</c:v>
                </c:pt>
                <c:pt idx="626">
                  <c:v>107.93270921710986</c:v>
                </c:pt>
                <c:pt idx="627">
                  <c:v>107.93270921710986</c:v>
                </c:pt>
                <c:pt idx="628">
                  <c:v>107.93270921710986</c:v>
                </c:pt>
                <c:pt idx="629">
                  <c:v>107.93270921710986</c:v>
                </c:pt>
                <c:pt idx="630">
                  <c:v>107.93270921710986</c:v>
                </c:pt>
                <c:pt idx="631">
                  <c:v>107.93270921710986</c:v>
                </c:pt>
                <c:pt idx="632">
                  <c:v>107.93270921710986</c:v>
                </c:pt>
                <c:pt idx="633">
                  <c:v>107.93270921710986</c:v>
                </c:pt>
                <c:pt idx="634">
                  <c:v>107.93270921710986</c:v>
                </c:pt>
                <c:pt idx="635">
                  <c:v>107.93270921710986</c:v>
                </c:pt>
                <c:pt idx="636">
                  <c:v>107.93270921710986</c:v>
                </c:pt>
                <c:pt idx="637">
                  <c:v>107.93270921710986</c:v>
                </c:pt>
                <c:pt idx="638">
                  <c:v>107.93270921710986</c:v>
                </c:pt>
                <c:pt idx="639">
                  <c:v>107.93270921710986</c:v>
                </c:pt>
                <c:pt idx="640">
                  <c:v>107.93270921710986</c:v>
                </c:pt>
                <c:pt idx="641">
                  <c:v>107.93270921710986</c:v>
                </c:pt>
                <c:pt idx="642">
                  <c:v>107.93270921710986</c:v>
                </c:pt>
                <c:pt idx="643">
                  <c:v>107.93270921710986</c:v>
                </c:pt>
                <c:pt idx="644">
                  <c:v>107.93270921710986</c:v>
                </c:pt>
                <c:pt idx="645">
                  <c:v>107.93270921710986</c:v>
                </c:pt>
                <c:pt idx="646">
                  <c:v>107.93270921710986</c:v>
                </c:pt>
                <c:pt idx="647">
                  <c:v>107.93270921710986</c:v>
                </c:pt>
                <c:pt idx="648">
                  <c:v>107.93270921710986</c:v>
                </c:pt>
                <c:pt idx="649">
                  <c:v>107.93270921710986</c:v>
                </c:pt>
                <c:pt idx="650">
                  <c:v>107.93270921710986</c:v>
                </c:pt>
                <c:pt idx="651">
                  <c:v>107.93270921710986</c:v>
                </c:pt>
                <c:pt idx="652">
                  <c:v>107.93270921710986</c:v>
                </c:pt>
                <c:pt idx="653">
                  <c:v>107.93270921710986</c:v>
                </c:pt>
                <c:pt idx="654">
                  <c:v>107.93270921710986</c:v>
                </c:pt>
                <c:pt idx="655">
                  <c:v>107.93270921710986</c:v>
                </c:pt>
                <c:pt idx="656">
                  <c:v>107.93270921710986</c:v>
                </c:pt>
                <c:pt idx="657">
                  <c:v>107.93270921710986</c:v>
                </c:pt>
                <c:pt idx="658">
                  <c:v>107.93270921710986</c:v>
                </c:pt>
                <c:pt idx="659">
                  <c:v>107.93270921710986</c:v>
                </c:pt>
                <c:pt idx="660">
                  <c:v>107.93270921710986</c:v>
                </c:pt>
                <c:pt idx="661">
                  <c:v>107.93270921710986</c:v>
                </c:pt>
                <c:pt idx="662">
                  <c:v>107.93270921710986</c:v>
                </c:pt>
                <c:pt idx="663">
                  <c:v>107.93270921710986</c:v>
                </c:pt>
                <c:pt idx="664">
                  <c:v>107.93270921710986</c:v>
                </c:pt>
                <c:pt idx="665">
                  <c:v>107.93270921710986</c:v>
                </c:pt>
                <c:pt idx="666">
                  <c:v>107.93270921710986</c:v>
                </c:pt>
                <c:pt idx="667">
                  <c:v>107.93270921710986</c:v>
                </c:pt>
                <c:pt idx="668">
                  <c:v>107.93270921710986</c:v>
                </c:pt>
                <c:pt idx="669">
                  <c:v>107.93270921710986</c:v>
                </c:pt>
                <c:pt idx="670">
                  <c:v>107.93270921710986</c:v>
                </c:pt>
                <c:pt idx="671">
                  <c:v>107.93270921710986</c:v>
                </c:pt>
                <c:pt idx="672">
                  <c:v>107.93270921710986</c:v>
                </c:pt>
                <c:pt idx="673">
                  <c:v>107.93270921710986</c:v>
                </c:pt>
                <c:pt idx="674">
                  <c:v>107.93270921710986</c:v>
                </c:pt>
                <c:pt idx="675">
                  <c:v>107.93270921710986</c:v>
                </c:pt>
                <c:pt idx="676">
                  <c:v>107.93270921710986</c:v>
                </c:pt>
                <c:pt idx="677">
                  <c:v>107.93270921710986</c:v>
                </c:pt>
                <c:pt idx="678">
                  <c:v>107.93270921710986</c:v>
                </c:pt>
                <c:pt idx="679">
                  <c:v>107.93270921710986</c:v>
                </c:pt>
                <c:pt idx="680">
                  <c:v>107.93270921710986</c:v>
                </c:pt>
                <c:pt idx="681">
                  <c:v>107.93270921710986</c:v>
                </c:pt>
                <c:pt idx="682">
                  <c:v>107.93270921710986</c:v>
                </c:pt>
                <c:pt idx="683">
                  <c:v>107.93270921710986</c:v>
                </c:pt>
                <c:pt idx="684">
                  <c:v>107.93270921710986</c:v>
                </c:pt>
                <c:pt idx="685">
                  <c:v>107.93270921710986</c:v>
                </c:pt>
                <c:pt idx="686">
                  <c:v>107.93270921710986</c:v>
                </c:pt>
                <c:pt idx="687">
                  <c:v>107.93270921710986</c:v>
                </c:pt>
                <c:pt idx="688">
                  <c:v>107.93270921710986</c:v>
                </c:pt>
                <c:pt idx="689">
                  <c:v>107.93270921710986</c:v>
                </c:pt>
                <c:pt idx="690">
                  <c:v>107.93270921710986</c:v>
                </c:pt>
                <c:pt idx="691">
                  <c:v>107.93270921710986</c:v>
                </c:pt>
                <c:pt idx="692">
                  <c:v>107.93270921710986</c:v>
                </c:pt>
                <c:pt idx="693">
                  <c:v>107.93270921710986</c:v>
                </c:pt>
                <c:pt idx="694">
                  <c:v>107.93270921710986</c:v>
                </c:pt>
                <c:pt idx="695">
                  <c:v>107.93270921710986</c:v>
                </c:pt>
                <c:pt idx="696">
                  <c:v>107.93270921710986</c:v>
                </c:pt>
                <c:pt idx="697">
                  <c:v>107.93270921710986</c:v>
                </c:pt>
                <c:pt idx="698">
                  <c:v>107.93270921710986</c:v>
                </c:pt>
                <c:pt idx="699">
                  <c:v>107.93270921710986</c:v>
                </c:pt>
                <c:pt idx="700">
                  <c:v>107.93270921710986</c:v>
                </c:pt>
                <c:pt idx="701">
                  <c:v>107.93270921710986</c:v>
                </c:pt>
                <c:pt idx="702">
                  <c:v>107.93270921710986</c:v>
                </c:pt>
                <c:pt idx="703">
                  <c:v>107.93270921710986</c:v>
                </c:pt>
                <c:pt idx="704">
                  <c:v>107.93270921710986</c:v>
                </c:pt>
                <c:pt idx="705">
                  <c:v>107.93270921710986</c:v>
                </c:pt>
                <c:pt idx="706">
                  <c:v>107.93270921710986</c:v>
                </c:pt>
                <c:pt idx="707">
                  <c:v>107.93270921710986</c:v>
                </c:pt>
                <c:pt idx="708">
                  <c:v>107.93270921710986</c:v>
                </c:pt>
                <c:pt idx="709">
                  <c:v>107.93270921710986</c:v>
                </c:pt>
                <c:pt idx="710">
                  <c:v>107.93270921710986</c:v>
                </c:pt>
                <c:pt idx="711">
                  <c:v>107.93270921710986</c:v>
                </c:pt>
                <c:pt idx="712">
                  <c:v>107.93270921710986</c:v>
                </c:pt>
                <c:pt idx="713">
                  <c:v>107.93270921710986</c:v>
                </c:pt>
                <c:pt idx="714">
                  <c:v>107.93270921710986</c:v>
                </c:pt>
                <c:pt idx="715">
                  <c:v>107.93270921710986</c:v>
                </c:pt>
                <c:pt idx="716">
                  <c:v>107.93270921710986</c:v>
                </c:pt>
                <c:pt idx="717">
                  <c:v>107.93270921710986</c:v>
                </c:pt>
                <c:pt idx="718">
                  <c:v>107.93270921710986</c:v>
                </c:pt>
                <c:pt idx="719">
                  <c:v>107.93270921710986</c:v>
                </c:pt>
                <c:pt idx="720">
                  <c:v>107.93270921710986</c:v>
                </c:pt>
                <c:pt idx="721">
                  <c:v>107.93270921710986</c:v>
                </c:pt>
                <c:pt idx="722">
                  <c:v>107.93270921710986</c:v>
                </c:pt>
                <c:pt idx="723">
                  <c:v>107.93270921710986</c:v>
                </c:pt>
                <c:pt idx="724">
                  <c:v>107.93270921710986</c:v>
                </c:pt>
                <c:pt idx="725">
                  <c:v>107.93270921710986</c:v>
                </c:pt>
                <c:pt idx="726">
                  <c:v>107.93270921710986</c:v>
                </c:pt>
                <c:pt idx="727">
                  <c:v>107.93270921710986</c:v>
                </c:pt>
                <c:pt idx="728">
                  <c:v>107.93270921710986</c:v>
                </c:pt>
                <c:pt idx="729">
                  <c:v>107.93270921710986</c:v>
                </c:pt>
                <c:pt idx="730">
                  <c:v>107.93270921710986</c:v>
                </c:pt>
                <c:pt idx="731">
                  <c:v>107.93270921710986</c:v>
                </c:pt>
                <c:pt idx="732">
                  <c:v>107.93270921710986</c:v>
                </c:pt>
                <c:pt idx="733">
                  <c:v>107.93270921710986</c:v>
                </c:pt>
                <c:pt idx="734">
                  <c:v>107.93270921710986</c:v>
                </c:pt>
                <c:pt idx="735">
                  <c:v>107.93270921710986</c:v>
                </c:pt>
                <c:pt idx="736">
                  <c:v>107.93270921710986</c:v>
                </c:pt>
                <c:pt idx="737">
                  <c:v>107.93270921710986</c:v>
                </c:pt>
                <c:pt idx="738">
                  <c:v>107.93270921710986</c:v>
                </c:pt>
                <c:pt idx="739">
                  <c:v>107.93270921710986</c:v>
                </c:pt>
                <c:pt idx="740">
                  <c:v>107.93270921710986</c:v>
                </c:pt>
                <c:pt idx="741">
                  <c:v>107.93270921710986</c:v>
                </c:pt>
                <c:pt idx="742">
                  <c:v>107.93270921710986</c:v>
                </c:pt>
                <c:pt idx="743">
                  <c:v>107.93270921710986</c:v>
                </c:pt>
                <c:pt idx="744">
                  <c:v>107.93270921710986</c:v>
                </c:pt>
                <c:pt idx="745">
                  <c:v>107.93270921710986</c:v>
                </c:pt>
                <c:pt idx="746">
                  <c:v>107.93270921710986</c:v>
                </c:pt>
                <c:pt idx="747">
                  <c:v>107.93270921710986</c:v>
                </c:pt>
                <c:pt idx="748">
                  <c:v>107.93270921710986</c:v>
                </c:pt>
                <c:pt idx="749">
                  <c:v>107.93270921710986</c:v>
                </c:pt>
                <c:pt idx="750">
                  <c:v>107.93270921710986</c:v>
                </c:pt>
                <c:pt idx="751">
                  <c:v>107.93270921710986</c:v>
                </c:pt>
                <c:pt idx="752">
                  <c:v>107.93270921710986</c:v>
                </c:pt>
                <c:pt idx="753">
                  <c:v>107.93270921710986</c:v>
                </c:pt>
                <c:pt idx="754">
                  <c:v>107.93270921710986</c:v>
                </c:pt>
                <c:pt idx="755">
                  <c:v>107.93270921710986</c:v>
                </c:pt>
                <c:pt idx="756">
                  <c:v>107.93270921710986</c:v>
                </c:pt>
                <c:pt idx="757">
                  <c:v>107.93270921710986</c:v>
                </c:pt>
                <c:pt idx="758">
                  <c:v>107.93270921710986</c:v>
                </c:pt>
                <c:pt idx="759">
                  <c:v>107.93270921710986</c:v>
                </c:pt>
                <c:pt idx="760">
                  <c:v>107.93270921710986</c:v>
                </c:pt>
                <c:pt idx="761">
                  <c:v>107.93270921710986</c:v>
                </c:pt>
                <c:pt idx="762">
                  <c:v>107.93270921710986</c:v>
                </c:pt>
                <c:pt idx="763">
                  <c:v>107.93270921710986</c:v>
                </c:pt>
                <c:pt idx="764">
                  <c:v>107.93270921710986</c:v>
                </c:pt>
                <c:pt idx="765">
                  <c:v>107.93270921710986</c:v>
                </c:pt>
                <c:pt idx="766">
                  <c:v>107.93270921710986</c:v>
                </c:pt>
                <c:pt idx="767">
                  <c:v>107.93270921710986</c:v>
                </c:pt>
                <c:pt idx="768">
                  <c:v>107.93270921710986</c:v>
                </c:pt>
                <c:pt idx="769">
                  <c:v>107.93270921710986</c:v>
                </c:pt>
                <c:pt idx="770">
                  <c:v>107.93270921710986</c:v>
                </c:pt>
                <c:pt idx="771">
                  <c:v>107.93270921710986</c:v>
                </c:pt>
                <c:pt idx="772">
                  <c:v>107.93270921710986</c:v>
                </c:pt>
                <c:pt idx="773">
                  <c:v>107.93270921710986</c:v>
                </c:pt>
                <c:pt idx="774">
                  <c:v>107.93270921710986</c:v>
                </c:pt>
                <c:pt idx="775">
                  <c:v>107.93270921710986</c:v>
                </c:pt>
                <c:pt idx="776">
                  <c:v>107.93270921710986</c:v>
                </c:pt>
                <c:pt idx="777">
                  <c:v>107.93270921710986</c:v>
                </c:pt>
                <c:pt idx="778">
                  <c:v>107.93270921710986</c:v>
                </c:pt>
                <c:pt idx="779">
                  <c:v>107.93270921710986</c:v>
                </c:pt>
                <c:pt idx="780">
                  <c:v>107.93270921710986</c:v>
                </c:pt>
                <c:pt idx="781">
                  <c:v>107.93270921710986</c:v>
                </c:pt>
                <c:pt idx="782">
                  <c:v>107.93270921710986</c:v>
                </c:pt>
                <c:pt idx="783">
                  <c:v>107.93270921710986</c:v>
                </c:pt>
                <c:pt idx="784">
                  <c:v>107.93270921710986</c:v>
                </c:pt>
                <c:pt idx="785">
                  <c:v>107.93270921710986</c:v>
                </c:pt>
                <c:pt idx="786">
                  <c:v>107.93270921710986</c:v>
                </c:pt>
                <c:pt idx="787">
                  <c:v>113.37268828692176</c:v>
                </c:pt>
                <c:pt idx="788">
                  <c:v>113.23097242656311</c:v>
                </c:pt>
                <c:pt idx="789">
                  <c:v>113.08943371102991</c:v>
                </c:pt>
                <c:pt idx="790">
                  <c:v>113.08943371102991</c:v>
                </c:pt>
                <c:pt idx="791">
                  <c:v>110.19895947553752</c:v>
                </c:pt>
                <c:pt idx="792">
                  <c:v>110.06121077619311</c:v>
                </c:pt>
                <c:pt idx="793">
                  <c:v>109.92363426272287</c:v>
                </c:pt>
                <c:pt idx="794">
                  <c:v>109.92363426272287</c:v>
                </c:pt>
                <c:pt idx="795">
                  <c:v>109.92363426272287</c:v>
                </c:pt>
                <c:pt idx="796">
                  <c:v>109.92363426272287</c:v>
                </c:pt>
                <c:pt idx="797">
                  <c:v>109.92363426272287</c:v>
                </c:pt>
                <c:pt idx="798">
                  <c:v>109.92363426272287</c:v>
                </c:pt>
                <c:pt idx="799">
                  <c:v>109.92363426272287</c:v>
                </c:pt>
                <c:pt idx="800">
                  <c:v>109.92363426272287</c:v>
                </c:pt>
                <c:pt idx="801">
                  <c:v>109.92363426272287</c:v>
                </c:pt>
                <c:pt idx="802">
                  <c:v>109.92363426272287</c:v>
                </c:pt>
                <c:pt idx="803">
                  <c:v>109.92363426272287</c:v>
                </c:pt>
                <c:pt idx="804">
                  <c:v>109.92363426272287</c:v>
                </c:pt>
                <c:pt idx="805">
                  <c:v>109.92363426272287</c:v>
                </c:pt>
                <c:pt idx="806">
                  <c:v>109.92363426272287</c:v>
                </c:pt>
                <c:pt idx="807">
                  <c:v>109.92363426272287</c:v>
                </c:pt>
                <c:pt idx="808">
                  <c:v>109.92363426272287</c:v>
                </c:pt>
                <c:pt idx="809">
                  <c:v>109.92363426272287</c:v>
                </c:pt>
                <c:pt idx="810">
                  <c:v>109.92363426272287</c:v>
                </c:pt>
                <c:pt idx="811">
                  <c:v>109.92363426272287</c:v>
                </c:pt>
                <c:pt idx="812">
                  <c:v>109.92363426272287</c:v>
                </c:pt>
                <c:pt idx="813">
                  <c:v>109.92363426272287</c:v>
                </c:pt>
                <c:pt idx="814">
                  <c:v>109.92363426272287</c:v>
                </c:pt>
                <c:pt idx="815">
                  <c:v>109.92363426272287</c:v>
                </c:pt>
                <c:pt idx="816">
                  <c:v>109.92363426272287</c:v>
                </c:pt>
                <c:pt idx="817">
                  <c:v>109.92363426272287</c:v>
                </c:pt>
                <c:pt idx="818">
                  <c:v>109.92363426272287</c:v>
                </c:pt>
                <c:pt idx="819">
                  <c:v>109.92363426272287</c:v>
                </c:pt>
                <c:pt idx="820">
                  <c:v>109.92363426272287</c:v>
                </c:pt>
                <c:pt idx="821">
                  <c:v>109.92363426272287</c:v>
                </c:pt>
                <c:pt idx="822">
                  <c:v>109.92363426272287</c:v>
                </c:pt>
                <c:pt idx="823">
                  <c:v>109.92363426272287</c:v>
                </c:pt>
                <c:pt idx="824">
                  <c:v>115.38072268388389</c:v>
                </c:pt>
                <c:pt idx="825">
                  <c:v>115.23649678052904</c:v>
                </c:pt>
                <c:pt idx="826">
                  <c:v>115.09245115955338</c:v>
                </c:pt>
                <c:pt idx="827">
                  <c:v>115.09245115955338</c:v>
                </c:pt>
                <c:pt idx="828">
                  <c:v>115.09245115955338</c:v>
                </c:pt>
                <c:pt idx="829">
                  <c:v>118.83497052736134</c:v>
                </c:pt>
                <c:pt idx="830">
                  <c:v>118.68642681420214</c:v>
                </c:pt>
                <c:pt idx="831">
                  <c:v>118.53806878068438</c:v>
                </c:pt>
                <c:pt idx="832">
                  <c:v>118.53806878068438</c:v>
                </c:pt>
                <c:pt idx="833">
                  <c:v>118.23450465345459</c:v>
                </c:pt>
                <c:pt idx="834">
                  <c:v>122.47058673107534</c:v>
                </c:pt>
                <c:pt idx="835">
                  <c:v>119.04384837438739</c:v>
                </c:pt>
                <c:pt idx="836">
                  <c:v>116.46678017513872</c:v>
                </c:pt>
                <c:pt idx="837">
                  <c:v>122.012687834465</c:v>
                </c:pt>
                <c:pt idx="838">
                  <c:v>123.26396801003598</c:v>
                </c:pt>
                <c:pt idx="839">
                  <c:v>122.09100010868517</c:v>
                </c:pt>
                <c:pt idx="840">
                  <c:v>121.95028681131089</c:v>
                </c:pt>
                <c:pt idx="841">
                  <c:v>122.63204109516518</c:v>
                </c:pt>
                <c:pt idx="842">
                  <c:v>124.54834172155033</c:v>
                </c:pt>
                <c:pt idx="843">
                  <c:v>124.16269047153651</c:v>
                </c:pt>
                <c:pt idx="844">
                  <c:v>124.66748156156569</c:v>
                </c:pt>
                <c:pt idx="845">
                  <c:v>124.70015589980029</c:v>
                </c:pt>
                <c:pt idx="846">
                  <c:v>125.36538653578933</c:v>
                </c:pt>
                <c:pt idx="847">
                  <c:v>124.48428969342397</c:v>
                </c:pt>
                <c:pt idx="848">
                  <c:v>125.01455297151422</c:v>
                </c:pt>
                <c:pt idx="849">
                  <c:v>125.21971160470423</c:v>
                </c:pt>
                <c:pt idx="850">
                  <c:v>126.63135065621954</c:v>
                </c:pt>
                <c:pt idx="851">
                  <c:v>128.69953416412508</c:v>
                </c:pt>
                <c:pt idx="852">
                  <c:v>127.38008293632845</c:v>
                </c:pt>
                <c:pt idx="853">
                  <c:v>127.31238425660212</c:v>
                </c:pt>
                <c:pt idx="854">
                  <c:v>127.31238425660212</c:v>
                </c:pt>
                <c:pt idx="855">
                  <c:v>127.15324377628137</c:v>
                </c:pt>
                <c:pt idx="856">
                  <c:v>116.44950095126022</c:v>
                </c:pt>
                <c:pt idx="857">
                  <c:v>116.30393907507114</c:v>
                </c:pt>
                <c:pt idx="858">
                  <c:v>116.15855915122731</c:v>
                </c:pt>
                <c:pt idx="859">
                  <c:v>116.15855915122731</c:v>
                </c:pt>
                <c:pt idx="860">
                  <c:v>116.15855915122731</c:v>
                </c:pt>
                <c:pt idx="861">
                  <c:v>116.15855915122731</c:v>
                </c:pt>
                <c:pt idx="862">
                  <c:v>116.15855915122731</c:v>
                </c:pt>
                <c:pt idx="863">
                  <c:v>116.15855915122731</c:v>
                </c:pt>
                <c:pt idx="864">
                  <c:v>116.15855915122731</c:v>
                </c:pt>
                <c:pt idx="865">
                  <c:v>116.15855915122731</c:v>
                </c:pt>
                <c:pt idx="866">
                  <c:v>116.15855915122731</c:v>
                </c:pt>
                <c:pt idx="867">
                  <c:v>116.15855915122731</c:v>
                </c:pt>
                <c:pt idx="868">
                  <c:v>116.15855915122731</c:v>
                </c:pt>
                <c:pt idx="869">
                  <c:v>116.15855915122731</c:v>
                </c:pt>
                <c:pt idx="870">
                  <c:v>116.15855915122731</c:v>
                </c:pt>
                <c:pt idx="871">
                  <c:v>116.15855915122731</c:v>
                </c:pt>
                <c:pt idx="872">
                  <c:v>116.15855915122731</c:v>
                </c:pt>
                <c:pt idx="873">
                  <c:v>116.15855915122731</c:v>
                </c:pt>
                <c:pt idx="874">
                  <c:v>116.15855915122731</c:v>
                </c:pt>
                <c:pt idx="875">
                  <c:v>116.15855915122731</c:v>
                </c:pt>
                <c:pt idx="876">
                  <c:v>116.15855915122731</c:v>
                </c:pt>
                <c:pt idx="877">
                  <c:v>116.15855915122731</c:v>
                </c:pt>
                <c:pt idx="878">
                  <c:v>116.15855915122731</c:v>
                </c:pt>
                <c:pt idx="879">
                  <c:v>116.15855915122731</c:v>
                </c:pt>
                <c:pt idx="880">
                  <c:v>116.15855915122731</c:v>
                </c:pt>
                <c:pt idx="881">
                  <c:v>116.15855915122731</c:v>
                </c:pt>
                <c:pt idx="882">
                  <c:v>116.15855915122731</c:v>
                </c:pt>
                <c:pt idx="883">
                  <c:v>116.15855915122731</c:v>
                </c:pt>
                <c:pt idx="884">
                  <c:v>116.15855915122731</c:v>
                </c:pt>
                <c:pt idx="885">
                  <c:v>116.15855915122731</c:v>
                </c:pt>
                <c:pt idx="886">
                  <c:v>116.15855915122731</c:v>
                </c:pt>
                <c:pt idx="887">
                  <c:v>116.15855915122731</c:v>
                </c:pt>
                <c:pt idx="888">
                  <c:v>116.15855915122731</c:v>
                </c:pt>
                <c:pt idx="889">
                  <c:v>116.15855915122731</c:v>
                </c:pt>
                <c:pt idx="890">
                  <c:v>116.15855915122731</c:v>
                </c:pt>
                <c:pt idx="891">
                  <c:v>116.15855915122731</c:v>
                </c:pt>
                <c:pt idx="892">
                  <c:v>116.15855915122731</c:v>
                </c:pt>
                <c:pt idx="893">
                  <c:v>116.15855915122731</c:v>
                </c:pt>
                <c:pt idx="894">
                  <c:v>116.15855915122731</c:v>
                </c:pt>
                <c:pt idx="895">
                  <c:v>116.15855915122731</c:v>
                </c:pt>
                <c:pt idx="896">
                  <c:v>116.15855915122731</c:v>
                </c:pt>
                <c:pt idx="897">
                  <c:v>116.15855915122731</c:v>
                </c:pt>
                <c:pt idx="898">
                  <c:v>116.15855915122731</c:v>
                </c:pt>
                <c:pt idx="899">
                  <c:v>116.15855915122731</c:v>
                </c:pt>
                <c:pt idx="900">
                  <c:v>116.15855915122731</c:v>
                </c:pt>
                <c:pt idx="901">
                  <c:v>116.15855915122731</c:v>
                </c:pt>
                <c:pt idx="902">
                  <c:v>116.15855915122731</c:v>
                </c:pt>
                <c:pt idx="903">
                  <c:v>116.15855915122731</c:v>
                </c:pt>
                <c:pt idx="904">
                  <c:v>116.15855915122731</c:v>
                </c:pt>
                <c:pt idx="905">
                  <c:v>116.15855915122731</c:v>
                </c:pt>
                <c:pt idx="906">
                  <c:v>116.15855915122731</c:v>
                </c:pt>
                <c:pt idx="907">
                  <c:v>116.15855915122731</c:v>
                </c:pt>
                <c:pt idx="908">
                  <c:v>116.15855915122731</c:v>
                </c:pt>
                <c:pt idx="909">
                  <c:v>116.15855915122731</c:v>
                </c:pt>
                <c:pt idx="910">
                  <c:v>116.15855915122731</c:v>
                </c:pt>
                <c:pt idx="911">
                  <c:v>116.15855915122731</c:v>
                </c:pt>
                <c:pt idx="912">
                  <c:v>116.15855915122731</c:v>
                </c:pt>
                <c:pt idx="913">
                  <c:v>116.15855915122731</c:v>
                </c:pt>
                <c:pt idx="914">
                  <c:v>116.15855915122731</c:v>
                </c:pt>
                <c:pt idx="915">
                  <c:v>116.15855915122731</c:v>
                </c:pt>
                <c:pt idx="916">
                  <c:v>116.15855915122731</c:v>
                </c:pt>
                <c:pt idx="917">
                  <c:v>116.15855915122731</c:v>
                </c:pt>
                <c:pt idx="918">
                  <c:v>116.15855915122731</c:v>
                </c:pt>
                <c:pt idx="919">
                  <c:v>116.15855915122731</c:v>
                </c:pt>
                <c:pt idx="920">
                  <c:v>116.15855915122731</c:v>
                </c:pt>
                <c:pt idx="921">
                  <c:v>116.15855915122731</c:v>
                </c:pt>
                <c:pt idx="922">
                  <c:v>116.15855915122731</c:v>
                </c:pt>
                <c:pt idx="923">
                  <c:v>116.15855915122731</c:v>
                </c:pt>
                <c:pt idx="924">
                  <c:v>116.15855915122731</c:v>
                </c:pt>
                <c:pt idx="925">
                  <c:v>116.15855915122731</c:v>
                </c:pt>
                <c:pt idx="926">
                  <c:v>116.15855915122731</c:v>
                </c:pt>
                <c:pt idx="927">
                  <c:v>116.15855915122731</c:v>
                </c:pt>
                <c:pt idx="928">
                  <c:v>116.15855915122731</c:v>
                </c:pt>
                <c:pt idx="929">
                  <c:v>116.15855915122731</c:v>
                </c:pt>
                <c:pt idx="930">
                  <c:v>116.15855915122731</c:v>
                </c:pt>
                <c:pt idx="931">
                  <c:v>116.15855915122731</c:v>
                </c:pt>
                <c:pt idx="932">
                  <c:v>116.15855915122731</c:v>
                </c:pt>
                <c:pt idx="933">
                  <c:v>116.15855915122731</c:v>
                </c:pt>
                <c:pt idx="934">
                  <c:v>116.15855915122731</c:v>
                </c:pt>
                <c:pt idx="935">
                  <c:v>116.15855915122731</c:v>
                </c:pt>
                <c:pt idx="936">
                  <c:v>116.15855915122731</c:v>
                </c:pt>
                <c:pt idx="937">
                  <c:v>116.15855915122731</c:v>
                </c:pt>
                <c:pt idx="938">
                  <c:v>116.15855915122731</c:v>
                </c:pt>
                <c:pt idx="939">
                  <c:v>116.15855915122731</c:v>
                </c:pt>
                <c:pt idx="940">
                  <c:v>116.15855915122731</c:v>
                </c:pt>
                <c:pt idx="941">
                  <c:v>116.15855915122731</c:v>
                </c:pt>
                <c:pt idx="942">
                  <c:v>116.15855915122731</c:v>
                </c:pt>
                <c:pt idx="943">
                  <c:v>116.15855915122731</c:v>
                </c:pt>
                <c:pt idx="944">
                  <c:v>116.15855915122731</c:v>
                </c:pt>
                <c:pt idx="945">
                  <c:v>116.15855915122731</c:v>
                </c:pt>
                <c:pt idx="946">
                  <c:v>116.15855915122731</c:v>
                </c:pt>
                <c:pt idx="947">
                  <c:v>116.15855915122731</c:v>
                </c:pt>
                <c:pt idx="948">
                  <c:v>116.15855915122731</c:v>
                </c:pt>
                <c:pt idx="949">
                  <c:v>116.15855915122731</c:v>
                </c:pt>
                <c:pt idx="950">
                  <c:v>116.15855915122731</c:v>
                </c:pt>
                <c:pt idx="951">
                  <c:v>116.15855915122731</c:v>
                </c:pt>
                <c:pt idx="952">
                  <c:v>116.15855915122731</c:v>
                </c:pt>
                <c:pt idx="953">
                  <c:v>116.15855915122731</c:v>
                </c:pt>
                <c:pt idx="954">
                  <c:v>116.15855915122731</c:v>
                </c:pt>
                <c:pt idx="955">
                  <c:v>116.15855915122731</c:v>
                </c:pt>
                <c:pt idx="956">
                  <c:v>116.15855915122731</c:v>
                </c:pt>
                <c:pt idx="957">
                  <c:v>116.15855915122731</c:v>
                </c:pt>
                <c:pt idx="958">
                  <c:v>116.15855915122731</c:v>
                </c:pt>
                <c:pt idx="959">
                  <c:v>116.15855915122731</c:v>
                </c:pt>
                <c:pt idx="960">
                  <c:v>116.15855915122731</c:v>
                </c:pt>
                <c:pt idx="961">
                  <c:v>116.15855915122731</c:v>
                </c:pt>
                <c:pt idx="962">
                  <c:v>116.15855915122731</c:v>
                </c:pt>
                <c:pt idx="963">
                  <c:v>116.15855915122731</c:v>
                </c:pt>
                <c:pt idx="964">
                  <c:v>116.15855915122731</c:v>
                </c:pt>
                <c:pt idx="965">
                  <c:v>116.15855915122731</c:v>
                </c:pt>
                <c:pt idx="966">
                  <c:v>116.15855915122731</c:v>
                </c:pt>
                <c:pt idx="967">
                  <c:v>116.15855915122731</c:v>
                </c:pt>
                <c:pt idx="968">
                  <c:v>116.15855915122731</c:v>
                </c:pt>
                <c:pt idx="969">
                  <c:v>116.15855915122731</c:v>
                </c:pt>
                <c:pt idx="970">
                  <c:v>116.15855915122731</c:v>
                </c:pt>
                <c:pt idx="971">
                  <c:v>116.15855915122731</c:v>
                </c:pt>
                <c:pt idx="972">
                  <c:v>116.15855915122731</c:v>
                </c:pt>
                <c:pt idx="973">
                  <c:v>116.15855915122731</c:v>
                </c:pt>
                <c:pt idx="974">
                  <c:v>116.15855915122731</c:v>
                </c:pt>
                <c:pt idx="975">
                  <c:v>116.15855915122731</c:v>
                </c:pt>
                <c:pt idx="976">
                  <c:v>116.15855915122731</c:v>
                </c:pt>
                <c:pt idx="977">
                  <c:v>116.15855915122731</c:v>
                </c:pt>
                <c:pt idx="978">
                  <c:v>116.15855915122731</c:v>
                </c:pt>
                <c:pt idx="979">
                  <c:v>116.15855915122731</c:v>
                </c:pt>
                <c:pt idx="980">
                  <c:v>116.15855915122731</c:v>
                </c:pt>
                <c:pt idx="981">
                  <c:v>116.15855915122731</c:v>
                </c:pt>
                <c:pt idx="982">
                  <c:v>116.15855915122731</c:v>
                </c:pt>
                <c:pt idx="983">
                  <c:v>116.15855915122731</c:v>
                </c:pt>
                <c:pt idx="984">
                  <c:v>116.15855915122731</c:v>
                </c:pt>
                <c:pt idx="985">
                  <c:v>116.15855915122731</c:v>
                </c:pt>
                <c:pt idx="986">
                  <c:v>116.15855915122731</c:v>
                </c:pt>
                <c:pt idx="987">
                  <c:v>116.15855915122731</c:v>
                </c:pt>
                <c:pt idx="988">
                  <c:v>116.15855915122731</c:v>
                </c:pt>
                <c:pt idx="989">
                  <c:v>116.15855915122731</c:v>
                </c:pt>
                <c:pt idx="990">
                  <c:v>116.15855915122731</c:v>
                </c:pt>
                <c:pt idx="991">
                  <c:v>116.15855915122731</c:v>
                </c:pt>
                <c:pt idx="992">
                  <c:v>116.15855915122731</c:v>
                </c:pt>
                <c:pt idx="993">
                  <c:v>116.15855915122731</c:v>
                </c:pt>
                <c:pt idx="994">
                  <c:v>116.15855915122731</c:v>
                </c:pt>
                <c:pt idx="995">
                  <c:v>116.15855915122731</c:v>
                </c:pt>
                <c:pt idx="996">
                  <c:v>116.15855915122731</c:v>
                </c:pt>
                <c:pt idx="997">
                  <c:v>116.15855915122731</c:v>
                </c:pt>
                <c:pt idx="998">
                  <c:v>116.15855915122731</c:v>
                </c:pt>
                <c:pt idx="999">
                  <c:v>116.15855915122731</c:v>
                </c:pt>
                <c:pt idx="1000">
                  <c:v>116.15855915122731</c:v>
                </c:pt>
                <c:pt idx="1001">
                  <c:v>116.15855915122731</c:v>
                </c:pt>
                <c:pt idx="1002">
                  <c:v>116.15855915122731</c:v>
                </c:pt>
                <c:pt idx="1003">
                  <c:v>116.15855915122731</c:v>
                </c:pt>
                <c:pt idx="1004">
                  <c:v>116.15855915122731</c:v>
                </c:pt>
                <c:pt idx="1005">
                  <c:v>116.15855915122731</c:v>
                </c:pt>
                <c:pt idx="1006">
                  <c:v>116.15855915122731</c:v>
                </c:pt>
                <c:pt idx="1007">
                  <c:v>116.15855915122731</c:v>
                </c:pt>
                <c:pt idx="1008">
                  <c:v>116.15855915122731</c:v>
                </c:pt>
                <c:pt idx="1009">
                  <c:v>116.15855915122731</c:v>
                </c:pt>
                <c:pt idx="1010">
                  <c:v>116.15855915122731</c:v>
                </c:pt>
                <c:pt idx="1011">
                  <c:v>116.15855915122731</c:v>
                </c:pt>
                <c:pt idx="1012">
                  <c:v>116.15855915122731</c:v>
                </c:pt>
                <c:pt idx="1013">
                  <c:v>116.15855915122731</c:v>
                </c:pt>
                <c:pt idx="1014">
                  <c:v>116.15855915122731</c:v>
                </c:pt>
                <c:pt idx="1015">
                  <c:v>116.15855915122731</c:v>
                </c:pt>
                <c:pt idx="1016">
                  <c:v>116.15855915122731</c:v>
                </c:pt>
                <c:pt idx="1017">
                  <c:v>116.15855915122731</c:v>
                </c:pt>
                <c:pt idx="1018">
                  <c:v>116.15855915122731</c:v>
                </c:pt>
                <c:pt idx="1019">
                  <c:v>116.15855915122731</c:v>
                </c:pt>
                <c:pt idx="1020">
                  <c:v>116.15855915122731</c:v>
                </c:pt>
                <c:pt idx="1021">
                  <c:v>116.15855915122731</c:v>
                </c:pt>
                <c:pt idx="1022">
                  <c:v>116.15855915122731</c:v>
                </c:pt>
                <c:pt idx="1023">
                  <c:v>116.15855915122731</c:v>
                </c:pt>
                <c:pt idx="1024">
                  <c:v>116.15855915122731</c:v>
                </c:pt>
                <c:pt idx="1025">
                  <c:v>116.15855915122731</c:v>
                </c:pt>
                <c:pt idx="1026">
                  <c:v>116.15855915122731</c:v>
                </c:pt>
                <c:pt idx="1027">
                  <c:v>116.15855915122731</c:v>
                </c:pt>
                <c:pt idx="1028">
                  <c:v>116.15855915122731</c:v>
                </c:pt>
                <c:pt idx="1029">
                  <c:v>116.15855915122731</c:v>
                </c:pt>
                <c:pt idx="1030">
                  <c:v>116.15855915122731</c:v>
                </c:pt>
                <c:pt idx="1031">
                  <c:v>116.15855915122731</c:v>
                </c:pt>
                <c:pt idx="1032">
                  <c:v>116.15855915122731</c:v>
                </c:pt>
                <c:pt idx="1033">
                  <c:v>116.15855915122731</c:v>
                </c:pt>
                <c:pt idx="1034">
                  <c:v>116.15855915122731</c:v>
                </c:pt>
                <c:pt idx="1035">
                  <c:v>116.15855915122731</c:v>
                </c:pt>
                <c:pt idx="1036">
                  <c:v>116.15855915122731</c:v>
                </c:pt>
                <c:pt idx="1037">
                  <c:v>116.15855915122731</c:v>
                </c:pt>
                <c:pt idx="1038">
                  <c:v>116.15855915122731</c:v>
                </c:pt>
                <c:pt idx="1039">
                  <c:v>116.15855915122731</c:v>
                </c:pt>
                <c:pt idx="1040">
                  <c:v>116.15855915122731</c:v>
                </c:pt>
                <c:pt idx="1041">
                  <c:v>116.15855915122731</c:v>
                </c:pt>
                <c:pt idx="1042">
                  <c:v>116.15855915122731</c:v>
                </c:pt>
                <c:pt idx="1043">
                  <c:v>116.15855915122731</c:v>
                </c:pt>
                <c:pt idx="1044">
                  <c:v>116.15855915122731</c:v>
                </c:pt>
                <c:pt idx="1045">
                  <c:v>116.15855915122731</c:v>
                </c:pt>
                <c:pt idx="1046">
                  <c:v>116.15855915122731</c:v>
                </c:pt>
                <c:pt idx="1047">
                  <c:v>116.15855915122731</c:v>
                </c:pt>
                <c:pt idx="1048">
                  <c:v>116.15855915122731</c:v>
                </c:pt>
                <c:pt idx="1049">
                  <c:v>116.15855915122731</c:v>
                </c:pt>
                <c:pt idx="1050">
                  <c:v>116.15855915122731</c:v>
                </c:pt>
                <c:pt idx="1051">
                  <c:v>116.15855915122731</c:v>
                </c:pt>
                <c:pt idx="1052">
                  <c:v>116.15855915122731</c:v>
                </c:pt>
                <c:pt idx="1053">
                  <c:v>116.15855915122731</c:v>
                </c:pt>
                <c:pt idx="1054">
                  <c:v>116.15855915122731</c:v>
                </c:pt>
                <c:pt idx="1055">
                  <c:v>116.15855915122731</c:v>
                </c:pt>
                <c:pt idx="1056">
                  <c:v>116.15855915122731</c:v>
                </c:pt>
                <c:pt idx="1057">
                  <c:v>116.15855915122731</c:v>
                </c:pt>
                <c:pt idx="1058">
                  <c:v>116.15855915122731</c:v>
                </c:pt>
                <c:pt idx="1059">
                  <c:v>116.15855915122731</c:v>
                </c:pt>
                <c:pt idx="1060">
                  <c:v>116.15855915122731</c:v>
                </c:pt>
                <c:pt idx="1061">
                  <c:v>116.15855915122731</c:v>
                </c:pt>
                <c:pt idx="1062">
                  <c:v>116.15855915122731</c:v>
                </c:pt>
                <c:pt idx="1063">
                  <c:v>116.15855915122731</c:v>
                </c:pt>
                <c:pt idx="1064">
                  <c:v>116.15855915122731</c:v>
                </c:pt>
                <c:pt idx="1065">
                  <c:v>116.15855915122731</c:v>
                </c:pt>
                <c:pt idx="1066">
                  <c:v>116.15855915122731</c:v>
                </c:pt>
                <c:pt idx="1067">
                  <c:v>116.15855915122731</c:v>
                </c:pt>
                <c:pt idx="1068">
                  <c:v>116.15855915122731</c:v>
                </c:pt>
                <c:pt idx="1069">
                  <c:v>116.15855915122731</c:v>
                </c:pt>
                <c:pt idx="1070">
                  <c:v>116.15855915122731</c:v>
                </c:pt>
                <c:pt idx="1071">
                  <c:v>116.15855915122731</c:v>
                </c:pt>
                <c:pt idx="1072">
                  <c:v>116.15855915122731</c:v>
                </c:pt>
                <c:pt idx="1073">
                  <c:v>116.15855915122731</c:v>
                </c:pt>
                <c:pt idx="1074">
                  <c:v>116.15855915122731</c:v>
                </c:pt>
                <c:pt idx="1075">
                  <c:v>116.15855915122731</c:v>
                </c:pt>
                <c:pt idx="1076">
                  <c:v>116.15855915122731</c:v>
                </c:pt>
                <c:pt idx="1077">
                  <c:v>116.15855915122731</c:v>
                </c:pt>
                <c:pt idx="1078">
                  <c:v>116.15855915122731</c:v>
                </c:pt>
                <c:pt idx="1079">
                  <c:v>116.15855915122731</c:v>
                </c:pt>
                <c:pt idx="1080">
                  <c:v>116.15855915122731</c:v>
                </c:pt>
                <c:pt idx="1081">
                  <c:v>116.15855915122731</c:v>
                </c:pt>
                <c:pt idx="1082">
                  <c:v>116.15855915122731</c:v>
                </c:pt>
                <c:pt idx="1083">
                  <c:v>116.15855915122731</c:v>
                </c:pt>
                <c:pt idx="1084">
                  <c:v>116.15855915122731</c:v>
                </c:pt>
                <c:pt idx="1085">
                  <c:v>116.15855915122731</c:v>
                </c:pt>
                <c:pt idx="1086">
                  <c:v>116.15855915122731</c:v>
                </c:pt>
                <c:pt idx="1087">
                  <c:v>116.15855915122731</c:v>
                </c:pt>
                <c:pt idx="1088">
                  <c:v>116.15855915122731</c:v>
                </c:pt>
                <c:pt idx="1089">
                  <c:v>116.15855915122731</c:v>
                </c:pt>
                <c:pt idx="1090">
                  <c:v>116.15855915122731</c:v>
                </c:pt>
                <c:pt idx="1091">
                  <c:v>116.15855915122731</c:v>
                </c:pt>
                <c:pt idx="1092">
                  <c:v>116.15855915122731</c:v>
                </c:pt>
                <c:pt idx="1093">
                  <c:v>116.15855915122731</c:v>
                </c:pt>
                <c:pt idx="1094">
                  <c:v>116.15855915122731</c:v>
                </c:pt>
                <c:pt idx="1095">
                  <c:v>116.15855915122731</c:v>
                </c:pt>
                <c:pt idx="1096">
                  <c:v>116.15855915122731</c:v>
                </c:pt>
                <c:pt idx="1097">
                  <c:v>116.15855915122731</c:v>
                </c:pt>
                <c:pt idx="1098">
                  <c:v>116.15855915122731</c:v>
                </c:pt>
                <c:pt idx="1099">
                  <c:v>116.15855915122731</c:v>
                </c:pt>
                <c:pt idx="1100">
                  <c:v>116.15855915122731</c:v>
                </c:pt>
                <c:pt idx="1101">
                  <c:v>116.15855915122731</c:v>
                </c:pt>
                <c:pt idx="1102">
                  <c:v>116.15855915122731</c:v>
                </c:pt>
                <c:pt idx="1103">
                  <c:v>116.15855915122731</c:v>
                </c:pt>
                <c:pt idx="1104">
                  <c:v>116.15855915122731</c:v>
                </c:pt>
                <c:pt idx="1105">
                  <c:v>116.15855915122731</c:v>
                </c:pt>
                <c:pt idx="1106">
                  <c:v>116.15855915122731</c:v>
                </c:pt>
                <c:pt idx="1107">
                  <c:v>118.10293954076188</c:v>
                </c:pt>
                <c:pt idx="1108">
                  <c:v>114.53094010890675</c:v>
                </c:pt>
                <c:pt idx="1109">
                  <c:v>107.88379471315189</c:v>
                </c:pt>
                <c:pt idx="1110">
                  <c:v>109.25067300712554</c:v>
                </c:pt>
                <c:pt idx="1111">
                  <c:v>106.68395538320397</c:v>
                </c:pt>
                <c:pt idx="1112">
                  <c:v>107.07284425306943</c:v>
                </c:pt>
                <c:pt idx="1113">
                  <c:v>102.33946885747436</c:v>
                </c:pt>
                <c:pt idx="1114">
                  <c:v>102.9210738691053</c:v>
                </c:pt>
                <c:pt idx="1115">
                  <c:v>105.48293999810305</c:v>
                </c:pt>
                <c:pt idx="1116">
                  <c:v>105.27999010721304</c:v>
                </c:pt>
                <c:pt idx="1117">
                  <c:v>103.03627345650446</c:v>
                </c:pt>
                <c:pt idx="1118">
                  <c:v>103.5841348614902</c:v>
                </c:pt>
                <c:pt idx="1119">
                  <c:v>105.35833876246443</c:v>
                </c:pt>
                <c:pt idx="1120">
                  <c:v>105.37869408568453</c:v>
                </c:pt>
                <c:pt idx="1121">
                  <c:v>106.23438804954054</c:v>
                </c:pt>
                <c:pt idx="1122">
                  <c:v>106.11353744139082</c:v>
                </c:pt>
                <c:pt idx="1123">
                  <c:v>106.82820413404721</c:v>
                </c:pt>
                <c:pt idx="1124">
                  <c:v>109.34447230870902</c:v>
                </c:pt>
                <c:pt idx="1125">
                  <c:v>109.27994547323939</c:v>
                </c:pt>
                <c:pt idx="1126">
                  <c:v>113.13641449627775</c:v>
                </c:pt>
                <c:pt idx="1127">
                  <c:v>116.50423610985418</c:v>
                </c:pt>
                <c:pt idx="1128">
                  <c:v>116.6459248919985</c:v>
                </c:pt>
                <c:pt idx="1129">
                  <c:v>115.24680732930648</c:v>
                </c:pt>
                <c:pt idx="1130">
                  <c:v>112.87616077387743</c:v>
                </c:pt>
                <c:pt idx="1131">
                  <c:v>110.57230154396983</c:v>
                </c:pt>
                <c:pt idx="1132">
                  <c:v>108.26854764782723</c:v>
                </c:pt>
                <c:pt idx="1133">
                  <c:v>106.88438169926614</c:v>
                </c:pt>
                <c:pt idx="1134">
                  <c:v>102.74392609119846</c:v>
                </c:pt>
                <c:pt idx="1135">
                  <c:v>104.38568053666334</c:v>
                </c:pt>
                <c:pt idx="1136">
                  <c:v>101.70014679460458</c:v>
                </c:pt>
                <c:pt idx="1137">
                  <c:v>101.2818220148916</c:v>
                </c:pt>
                <c:pt idx="1138">
                  <c:v>101.28091808008986</c:v>
                </c:pt>
                <c:pt idx="1139">
                  <c:v>97.567973335932848</c:v>
                </c:pt>
                <c:pt idx="1140">
                  <c:v>99.210298663442032</c:v>
                </c:pt>
                <c:pt idx="1141">
                  <c:v>101.26919392239843</c:v>
                </c:pt>
                <c:pt idx="1142">
                  <c:v>101.67706372127302</c:v>
                </c:pt>
                <c:pt idx="1143">
                  <c:v>105.02056422406039</c:v>
                </c:pt>
                <c:pt idx="1144">
                  <c:v>104.74336586546436</c:v>
                </c:pt>
                <c:pt idx="1145">
                  <c:v>92.798959427423156</c:v>
                </c:pt>
                <c:pt idx="1146">
                  <c:v>92.48426602620529</c:v>
                </c:pt>
                <c:pt idx="1147">
                  <c:v>92.011193365330755</c:v>
                </c:pt>
                <c:pt idx="1148">
                  <c:v>93.64767976373443</c:v>
                </c:pt>
                <c:pt idx="1149">
                  <c:v>99.412163458286784</c:v>
                </c:pt>
                <c:pt idx="1150">
                  <c:v>102.46933723333022</c:v>
                </c:pt>
                <c:pt idx="1151">
                  <c:v>101.09323100984774</c:v>
                </c:pt>
                <c:pt idx="1152">
                  <c:v>100.97419478140405</c:v>
                </c:pt>
                <c:pt idx="1153">
                  <c:v>101.55109414826072</c:v>
                </c:pt>
                <c:pt idx="1154">
                  <c:v>106.48766873136836</c:v>
                </c:pt>
                <c:pt idx="1155">
                  <c:v>104.85360030519981</c:v>
                </c:pt>
                <c:pt idx="1156">
                  <c:v>103.95056517889947</c:v>
                </c:pt>
                <c:pt idx="1157">
                  <c:v>103.73174169270919</c:v>
                </c:pt>
                <c:pt idx="1158">
                  <c:v>101.6834255631621</c:v>
                </c:pt>
                <c:pt idx="1159">
                  <c:v>102.10938646155765</c:v>
                </c:pt>
                <c:pt idx="1160">
                  <c:v>100.79535949979349</c:v>
                </c:pt>
                <c:pt idx="1161">
                  <c:v>98.874027650052113</c:v>
                </c:pt>
                <c:pt idx="1162">
                  <c:v>98.529152360909777</c:v>
                </c:pt>
                <c:pt idx="1163">
                  <c:v>96.895824163784752</c:v>
                </c:pt>
                <c:pt idx="1164">
                  <c:v>104.26268678010318</c:v>
                </c:pt>
                <c:pt idx="1165">
                  <c:v>104.46200489018598</c:v>
                </c:pt>
                <c:pt idx="1166">
                  <c:v>103.95632065526731</c:v>
                </c:pt>
                <c:pt idx="1167">
                  <c:v>104.08408365881955</c:v>
                </c:pt>
                <c:pt idx="1168">
                  <c:v>105.49208163218901</c:v>
                </c:pt>
                <c:pt idx="1169">
                  <c:v>103.48264871747847</c:v>
                </c:pt>
                <c:pt idx="1170">
                  <c:v>103.31053256210922</c:v>
                </c:pt>
                <c:pt idx="1171">
                  <c:v>105.59912911060327</c:v>
                </c:pt>
                <c:pt idx="1172">
                  <c:v>104.61375999812542</c:v>
                </c:pt>
                <c:pt idx="1173">
                  <c:v>105.53586653776117</c:v>
                </c:pt>
                <c:pt idx="1174">
                  <c:v>105.39799668117989</c:v>
                </c:pt>
                <c:pt idx="1175">
                  <c:v>104.10882337646912</c:v>
                </c:pt>
                <c:pt idx="1176">
                  <c:v>103.34107906705863</c:v>
                </c:pt>
                <c:pt idx="1177">
                  <c:v>99.30789288981758</c:v>
                </c:pt>
                <c:pt idx="1178">
                  <c:v>100.70805184542486</c:v>
                </c:pt>
                <c:pt idx="1179">
                  <c:v>99.263211684051925</c:v>
                </c:pt>
                <c:pt idx="1180">
                  <c:v>95.759098401784868</c:v>
                </c:pt>
                <c:pt idx="1181">
                  <c:v>93.280467289882452</c:v>
                </c:pt>
                <c:pt idx="1182">
                  <c:v>92.451499306369541</c:v>
                </c:pt>
                <c:pt idx="1183">
                  <c:v>91.008371967596418</c:v>
                </c:pt>
                <c:pt idx="1184">
                  <c:v>89.975743807930229</c:v>
                </c:pt>
                <c:pt idx="1185">
                  <c:v>90.591185575588952</c:v>
                </c:pt>
                <c:pt idx="1186">
                  <c:v>92.236928666160068</c:v>
                </c:pt>
                <c:pt idx="1187">
                  <c:v>94.497982597601634</c:v>
                </c:pt>
                <c:pt idx="1188">
                  <c:v>90.992958157550106</c:v>
                </c:pt>
                <c:pt idx="1189">
                  <c:v>91.377586799539003</c:v>
                </c:pt>
                <c:pt idx="1190">
                  <c:v>88.349143603184231</c:v>
                </c:pt>
                <c:pt idx="1191">
                  <c:v>86.833116763096911</c:v>
                </c:pt>
                <c:pt idx="1192">
                  <c:v>84.49453980370771</c:v>
                </c:pt>
                <c:pt idx="1193">
                  <c:v>82.791158803291509</c:v>
                </c:pt>
                <c:pt idx="1194">
                  <c:v>85.971773993955239</c:v>
                </c:pt>
                <c:pt idx="1195">
                  <c:v>82.355809166713584</c:v>
                </c:pt>
                <c:pt idx="1196">
                  <c:v>80.437884932173858</c:v>
                </c:pt>
                <c:pt idx="1197">
                  <c:v>82.444723564585175</c:v>
                </c:pt>
                <c:pt idx="1198">
                  <c:v>78.784102316619339</c:v>
                </c:pt>
                <c:pt idx="1199">
                  <c:v>78.228037322998233</c:v>
                </c:pt>
                <c:pt idx="1200">
                  <c:v>82.796232778505825</c:v>
                </c:pt>
                <c:pt idx="1201">
                  <c:v>90.46206773582972</c:v>
                </c:pt>
                <c:pt idx="1202">
                  <c:v>90.39725256759219</c:v>
                </c:pt>
                <c:pt idx="1203">
                  <c:v>89.47954949733041</c:v>
                </c:pt>
                <c:pt idx="1204">
                  <c:v>92.393761054805935</c:v>
                </c:pt>
                <c:pt idx="1205">
                  <c:v>91.414569905279293</c:v>
                </c:pt>
                <c:pt idx="1206">
                  <c:v>89.763590478078314</c:v>
                </c:pt>
                <c:pt idx="1207">
                  <c:v>93.910756661752657</c:v>
                </c:pt>
                <c:pt idx="1208">
                  <c:v>97.685764105976361</c:v>
                </c:pt>
                <c:pt idx="1209">
                  <c:v>97.482888546483551</c:v>
                </c:pt>
                <c:pt idx="1210">
                  <c:v>112.37752300592419</c:v>
                </c:pt>
                <c:pt idx="1211">
                  <c:v>114.53643158940632</c:v>
                </c:pt>
                <c:pt idx="1212">
                  <c:v>114.53643158940632</c:v>
                </c:pt>
                <c:pt idx="1213">
                  <c:v>114.39326104991956</c:v>
                </c:pt>
                <c:pt idx="1214">
                  <c:v>114.56952489766154</c:v>
                </c:pt>
                <c:pt idx="1215">
                  <c:v>116.67001731285382</c:v>
                </c:pt>
                <c:pt idx="1216">
                  <c:v>116.7535480501126</c:v>
                </c:pt>
                <c:pt idx="1217">
                  <c:v>116.49621445265763</c:v>
                </c:pt>
                <c:pt idx="1218">
                  <c:v>116.35057786399588</c:v>
                </c:pt>
                <c:pt idx="1219">
                  <c:v>113.50616732326677</c:v>
                </c:pt>
                <c:pt idx="1220">
                  <c:v>111.20999729827892</c:v>
                </c:pt>
                <c:pt idx="1221">
                  <c:v>109.10630672815581</c:v>
                </c:pt>
                <c:pt idx="1222">
                  <c:v>112.7473703681317</c:v>
                </c:pt>
                <c:pt idx="1223">
                  <c:v>109.87483319587766</c:v>
                </c:pt>
                <c:pt idx="1224">
                  <c:v>109.16510178964572</c:v>
                </c:pt>
                <c:pt idx="1225">
                  <c:v>106.51927914804349</c:v>
                </c:pt>
                <c:pt idx="1226">
                  <c:v>104.881053412554</c:v>
                </c:pt>
                <c:pt idx="1227">
                  <c:v>103.98709983680099</c:v>
                </c:pt>
                <c:pt idx="1228">
                  <c:v>103.12713257652854</c:v>
                </c:pt>
                <c:pt idx="1229">
                  <c:v>103.12512894758366</c:v>
                </c:pt>
                <c:pt idx="1230">
                  <c:v>98.749835909026771</c:v>
                </c:pt>
                <c:pt idx="1231">
                  <c:v>98.042284118878442</c:v>
                </c:pt>
                <c:pt idx="1232">
                  <c:v>98.76523178940937</c:v>
                </c:pt>
                <c:pt idx="1233">
                  <c:v>99.297317836112057</c:v>
                </c:pt>
                <c:pt idx="1234">
                  <c:v>99.296137011792808</c:v>
                </c:pt>
                <c:pt idx="1235">
                  <c:v>98.606576173646275</c:v>
                </c:pt>
                <c:pt idx="1236">
                  <c:v>98.833248000502834</c:v>
                </c:pt>
                <c:pt idx="1237">
                  <c:v>96.073323963049063</c:v>
                </c:pt>
                <c:pt idx="1238">
                  <c:v>93.616593410044004</c:v>
                </c:pt>
                <c:pt idx="1239">
                  <c:v>92.142022970122923</c:v>
                </c:pt>
                <c:pt idx="1240">
                  <c:v>94.000447313452653</c:v>
                </c:pt>
                <c:pt idx="1241">
                  <c:v>92.600227030544929</c:v>
                </c:pt>
                <c:pt idx="1242">
                  <c:v>90.503225900839041</c:v>
                </c:pt>
                <c:pt idx="1243">
                  <c:v>92.592629063864493</c:v>
                </c:pt>
                <c:pt idx="1244">
                  <c:v>93.51849908289617</c:v>
                </c:pt>
                <c:pt idx="1245">
                  <c:v>92.585895262500912</c:v>
                </c:pt>
                <c:pt idx="1246">
                  <c:v>91.425327418234914</c:v>
                </c:pt>
                <c:pt idx="1247">
                  <c:v>89.952860350415122</c:v>
                </c:pt>
                <c:pt idx="1248">
                  <c:v>89.196618141629259</c:v>
                </c:pt>
                <c:pt idx="1249">
                  <c:v>88.489037127131965</c:v>
                </c:pt>
                <c:pt idx="1250">
                  <c:v>84.722009159883086</c:v>
                </c:pt>
                <c:pt idx="1251">
                  <c:v>82.125344136381912</c:v>
                </c:pt>
                <c:pt idx="1252">
                  <c:v>84.237669649244808</c:v>
                </c:pt>
                <c:pt idx="1253">
                  <c:v>82.115183162702991</c:v>
                </c:pt>
                <c:pt idx="1254">
                  <c:v>80.934203123546737</c:v>
                </c:pt>
                <c:pt idx="1255">
                  <c:v>80.461112135162054</c:v>
                </c:pt>
                <c:pt idx="1256">
                  <c:v>80.69534875457154</c:v>
                </c:pt>
                <c:pt idx="1257">
                  <c:v>78.577452091340973</c:v>
                </c:pt>
                <c:pt idx="1258">
                  <c:v>78.572916118673305</c:v>
                </c:pt>
                <c:pt idx="1259">
                  <c:v>81.21915503660334</c:v>
                </c:pt>
                <c:pt idx="1260">
                  <c:v>79.381130594055719</c:v>
                </c:pt>
                <c:pt idx="1261">
                  <c:v>78.955764692273377</c:v>
                </c:pt>
                <c:pt idx="1262">
                  <c:v>79.198988906197386</c:v>
                </c:pt>
                <c:pt idx="1263">
                  <c:v>78.974447026584485</c:v>
                </c:pt>
                <c:pt idx="1264">
                  <c:v>78.338798611246375</c:v>
                </c:pt>
                <c:pt idx="1265">
                  <c:v>79.396048187499005</c:v>
                </c:pt>
                <c:pt idx="1266">
                  <c:v>89.132930616054708</c:v>
                </c:pt>
                <c:pt idx="1267">
                  <c:v>88.16796923426314</c:v>
                </c:pt>
                <c:pt idx="1268">
                  <c:v>92.683151045184346</c:v>
                </c:pt>
                <c:pt idx="1269">
                  <c:v>83.47431082613214</c:v>
                </c:pt>
                <c:pt idx="1270">
                  <c:v>84.285088187903284</c:v>
                </c:pt>
                <c:pt idx="1271">
                  <c:v>74.09319055225572</c:v>
                </c:pt>
                <c:pt idx="1272">
                  <c:v>74.09319055225572</c:v>
                </c:pt>
                <c:pt idx="1273">
                  <c:v>74.000574064065404</c:v>
                </c:pt>
                <c:pt idx="1274">
                  <c:v>74.000574064065404</c:v>
                </c:pt>
                <c:pt idx="1275">
                  <c:v>74.000574064065404</c:v>
                </c:pt>
                <c:pt idx="1276">
                  <c:v>74.000574064065404</c:v>
                </c:pt>
                <c:pt idx="1277">
                  <c:v>74.000574064065404</c:v>
                </c:pt>
                <c:pt idx="1278">
                  <c:v>74.000574064065404</c:v>
                </c:pt>
                <c:pt idx="1279">
                  <c:v>74.000574064065404</c:v>
                </c:pt>
                <c:pt idx="1280">
                  <c:v>74.000574064065404</c:v>
                </c:pt>
                <c:pt idx="1281">
                  <c:v>74.000574064065404</c:v>
                </c:pt>
                <c:pt idx="1282">
                  <c:v>74.000574064065404</c:v>
                </c:pt>
                <c:pt idx="1283">
                  <c:v>74.000574064065404</c:v>
                </c:pt>
                <c:pt idx="1284">
                  <c:v>74.000574064065404</c:v>
                </c:pt>
                <c:pt idx="1285">
                  <c:v>74.000574064065404</c:v>
                </c:pt>
                <c:pt idx="1286">
                  <c:v>74.000574064065404</c:v>
                </c:pt>
                <c:pt idx="1287">
                  <c:v>74.000574064065404</c:v>
                </c:pt>
                <c:pt idx="1288">
                  <c:v>74.000574064065404</c:v>
                </c:pt>
                <c:pt idx="1289">
                  <c:v>74.000574064065404</c:v>
                </c:pt>
                <c:pt idx="1290">
                  <c:v>74.000574064065404</c:v>
                </c:pt>
                <c:pt idx="1291">
                  <c:v>74.000574064065404</c:v>
                </c:pt>
                <c:pt idx="1292">
                  <c:v>74.000574064065404</c:v>
                </c:pt>
                <c:pt idx="1293">
                  <c:v>74.000574064065404</c:v>
                </c:pt>
                <c:pt idx="1294">
                  <c:v>74.000574064065404</c:v>
                </c:pt>
                <c:pt idx="1295">
                  <c:v>74.000574064065404</c:v>
                </c:pt>
                <c:pt idx="1296">
                  <c:v>74.000574064065404</c:v>
                </c:pt>
                <c:pt idx="1297">
                  <c:v>74.000574064065404</c:v>
                </c:pt>
                <c:pt idx="1298">
                  <c:v>74.000574064065404</c:v>
                </c:pt>
                <c:pt idx="1299">
                  <c:v>74.000574064065404</c:v>
                </c:pt>
                <c:pt idx="1300">
                  <c:v>74.000574064065404</c:v>
                </c:pt>
                <c:pt idx="1301">
                  <c:v>74.000574064065404</c:v>
                </c:pt>
                <c:pt idx="1302">
                  <c:v>74.000574064065404</c:v>
                </c:pt>
                <c:pt idx="1303">
                  <c:v>74.000574064065404</c:v>
                </c:pt>
                <c:pt idx="1304">
                  <c:v>74.000574064065404</c:v>
                </c:pt>
                <c:pt idx="1305">
                  <c:v>74.000574064065404</c:v>
                </c:pt>
                <c:pt idx="1306">
                  <c:v>74.000574064065404</c:v>
                </c:pt>
                <c:pt idx="1307">
                  <c:v>74.000574064065404</c:v>
                </c:pt>
                <c:pt idx="1308">
                  <c:v>74.000574064065404</c:v>
                </c:pt>
                <c:pt idx="1309">
                  <c:v>74.000574064065404</c:v>
                </c:pt>
                <c:pt idx="1310">
                  <c:v>74.000574064065404</c:v>
                </c:pt>
                <c:pt idx="1311">
                  <c:v>74.000574064065404</c:v>
                </c:pt>
                <c:pt idx="1312">
                  <c:v>74.000574064065404</c:v>
                </c:pt>
                <c:pt idx="1313">
                  <c:v>74.000574064065404</c:v>
                </c:pt>
                <c:pt idx="1314">
                  <c:v>74.000574064065404</c:v>
                </c:pt>
                <c:pt idx="1315">
                  <c:v>74.000574064065404</c:v>
                </c:pt>
                <c:pt idx="1316">
                  <c:v>74.000574064065404</c:v>
                </c:pt>
                <c:pt idx="1317">
                  <c:v>74.000574064065404</c:v>
                </c:pt>
                <c:pt idx="1318">
                  <c:v>74.000574064065404</c:v>
                </c:pt>
                <c:pt idx="1319">
                  <c:v>74.000574064065404</c:v>
                </c:pt>
                <c:pt idx="1320">
                  <c:v>74.000574064065404</c:v>
                </c:pt>
                <c:pt idx="1321">
                  <c:v>74.000574064065404</c:v>
                </c:pt>
                <c:pt idx="1322">
                  <c:v>74.000574064065404</c:v>
                </c:pt>
                <c:pt idx="1323">
                  <c:v>74.000574064065404</c:v>
                </c:pt>
                <c:pt idx="1324">
                  <c:v>74.000574064065404</c:v>
                </c:pt>
                <c:pt idx="1325">
                  <c:v>74.000574064065404</c:v>
                </c:pt>
                <c:pt idx="1326">
                  <c:v>74.000574064065404</c:v>
                </c:pt>
                <c:pt idx="1327">
                  <c:v>74.000574064065404</c:v>
                </c:pt>
                <c:pt idx="1328">
                  <c:v>74.000574064065404</c:v>
                </c:pt>
                <c:pt idx="1329">
                  <c:v>73.663601361826494</c:v>
                </c:pt>
                <c:pt idx="1330">
                  <c:v>74.438607251291387</c:v>
                </c:pt>
                <c:pt idx="1331">
                  <c:v>74.438607251291387</c:v>
                </c:pt>
                <c:pt idx="1332">
                  <c:v>74.345558992227268</c:v>
                </c:pt>
                <c:pt idx="1333">
                  <c:v>69.669670088161368</c:v>
                </c:pt>
                <c:pt idx="1334">
                  <c:v>70.28773856425353</c:v>
                </c:pt>
                <c:pt idx="1335">
                  <c:v>69.264384289096071</c:v>
                </c:pt>
                <c:pt idx="1336">
                  <c:v>69.407989015986445</c:v>
                </c:pt>
                <c:pt idx="1337">
                  <c:v>69.116036050678986</c:v>
                </c:pt>
                <c:pt idx="1338">
                  <c:v>67.365632235978254</c:v>
                </c:pt>
                <c:pt idx="1339">
                  <c:v>67.799313339864256</c:v>
                </c:pt>
                <c:pt idx="1340">
                  <c:v>74.942785660024413</c:v>
                </c:pt>
                <c:pt idx="1341">
                  <c:v>74.942785660024413</c:v>
                </c:pt>
                <c:pt idx="1342">
                  <c:v>74.849107177949378</c:v>
                </c:pt>
                <c:pt idx="1343">
                  <c:v>74.849107177949378</c:v>
                </c:pt>
                <c:pt idx="1344">
                  <c:v>74.849107177949378</c:v>
                </c:pt>
                <c:pt idx="1345">
                  <c:v>74.849107177949378</c:v>
                </c:pt>
                <c:pt idx="1346">
                  <c:v>74.849107177949378</c:v>
                </c:pt>
                <c:pt idx="1347">
                  <c:v>74.849107177949378</c:v>
                </c:pt>
                <c:pt idx="1348">
                  <c:v>74.849107177949378</c:v>
                </c:pt>
                <c:pt idx="1349">
                  <c:v>74.849107177949378</c:v>
                </c:pt>
                <c:pt idx="1350">
                  <c:v>74.849107177949378</c:v>
                </c:pt>
                <c:pt idx="1351">
                  <c:v>74.849107177949378</c:v>
                </c:pt>
                <c:pt idx="1352">
                  <c:v>74.849107177949378</c:v>
                </c:pt>
                <c:pt idx="1353">
                  <c:v>74.978594704302978</c:v>
                </c:pt>
                <c:pt idx="1354">
                  <c:v>74.884871460922596</c:v>
                </c:pt>
                <c:pt idx="1355">
                  <c:v>74.791265371596438</c:v>
                </c:pt>
                <c:pt idx="1356">
                  <c:v>72.846880737078493</c:v>
                </c:pt>
                <c:pt idx="1357">
                  <c:v>68.642645217326816</c:v>
                </c:pt>
                <c:pt idx="1358">
                  <c:v>71.106479968876357</c:v>
                </c:pt>
                <c:pt idx="1359">
                  <c:v>69.35590484446972</c:v>
                </c:pt>
                <c:pt idx="1360">
                  <c:v>69.061362661731252</c:v>
                </c:pt>
                <c:pt idx="1361">
                  <c:v>67.682006151548222</c:v>
                </c:pt>
                <c:pt idx="1362">
                  <c:v>64.42026388554379</c:v>
                </c:pt>
                <c:pt idx="1363">
                  <c:v>64.413440096030257</c:v>
                </c:pt>
                <c:pt idx="1364">
                  <c:v>63.160263360189695</c:v>
                </c:pt>
                <c:pt idx="1365">
                  <c:v>62.90692587975181</c:v>
                </c:pt>
                <c:pt idx="1366">
                  <c:v>62.78106197246759</c:v>
                </c:pt>
                <c:pt idx="1367">
                  <c:v>61.026426486875387</c:v>
                </c:pt>
                <c:pt idx="1368">
                  <c:v>61.2732948007761</c:v>
                </c:pt>
                <c:pt idx="1369">
                  <c:v>62.525776845169354</c:v>
                </c:pt>
                <c:pt idx="1370">
                  <c:v>64.653100064632099</c:v>
                </c:pt>
                <c:pt idx="1371">
                  <c:v>62.860114155891281</c:v>
                </c:pt>
                <c:pt idx="1372">
                  <c:v>62.611560023343955</c:v>
                </c:pt>
                <c:pt idx="1373">
                  <c:v>62.407443517633354</c:v>
                </c:pt>
                <c:pt idx="1374">
                  <c:v>62.864929623765967</c:v>
                </c:pt>
                <c:pt idx="1375">
                  <c:v>63.632297656432506</c:v>
                </c:pt>
                <c:pt idx="1376">
                  <c:v>63.54522243026112</c:v>
                </c:pt>
                <c:pt idx="1377">
                  <c:v>62.642935007215662</c:v>
                </c:pt>
                <c:pt idx="1378">
                  <c:v>62.645680509934841</c:v>
                </c:pt>
                <c:pt idx="1379">
                  <c:v>63.087973563454632</c:v>
                </c:pt>
                <c:pt idx="1380">
                  <c:v>62.070215365126359</c:v>
                </c:pt>
                <c:pt idx="1381">
                  <c:v>59.363862438838417</c:v>
                </c:pt>
                <c:pt idx="1382">
                  <c:v>57.600247071106267</c:v>
                </c:pt>
                <c:pt idx="1383">
                  <c:v>55.838743490438432</c:v>
                </c:pt>
                <c:pt idx="1384">
                  <c:v>55.83499469851423</c:v>
                </c:pt>
                <c:pt idx="1385">
                  <c:v>58.268476394752717</c:v>
                </c:pt>
                <c:pt idx="1386">
                  <c:v>57.901718678342206</c:v>
                </c:pt>
                <c:pt idx="1387">
                  <c:v>56.095262843151986</c:v>
                </c:pt>
                <c:pt idx="1388">
                  <c:v>57.320798235522773</c:v>
                </c:pt>
                <c:pt idx="1389">
                  <c:v>54.310403290335998</c:v>
                </c:pt>
                <c:pt idx="1390">
                  <c:v>53.718319137889829</c:v>
                </c:pt>
                <c:pt idx="1391">
                  <c:v>51.44422904560593</c:v>
                </c:pt>
                <c:pt idx="1392">
                  <c:v>51.073885938681215</c:v>
                </c:pt>
                <c:pt idx="1393">
                  <c:v>52.170133731432337</c:v>
                </c:pt>
                <c:pt idx="1394">
                  <c:v>53.264704849312004</c:v>
                </c:pt>
                <c:pt idx="1395">
                  <c:v>53.018464665527212</c:v>
                </c:pt>
                <c:pt idx="1396">
                  <c:v>52.98476580659009</c:v>
                </c:pt>
                <c:pt idx="1397">
                  <c:v>52.685385811604519</c:v>
                </c:pt>
                <c:pt idx="1398">
                  <c:v>52.193083672925788</c:v>
                </c:pt>
                <c:pt idx="1399">
                  <c:v>51.032263814376336</c:v>
                </c:pt>
                <c:pt idx="1400">
                  <c:v>47.986525467282313</c:v>
                </c:pt>
                <c:pt idx="1401">
                  <c:v>48.098574005336495</c:v>
                </c:pt>
                <c:pt idx="1402">
                  <c:v>48.487227956325775</c:v>
                </c:pt>
                <c:pt idx="1403">
                  <c:v>49.004941834570943</c:v>
                </c:pt>
                <c:pt idx="1404">
                  <c:v>48.355577851006437</c:v>
                </c:pt>
                <c:pt idx="1405">
                  <c:v>49.132013744819467</c:v>
                </c:pt>
                <c:pt idx="1406">
                  <c:v>51.931145638209912</c:v>
                </c:pt>
                <c:pt idx="1407">
                  <c:v>51.270635787219497</c:v>
                </c:pt>
                <c:pt idx="1408">
                  <c:v>49.692950229928748</c:v>
                </c:pt>
                <c:pt idx="1409">
                  <c:v>50.348358403676869</c:v>
                </c:pt>
                <c:pt idx="1410">
                  <c:v>53.80357354501897</c:v>
                </c:pt>
                <c:pt idx="1411">
                  <c:v>54.443580393927832</c:v>
                </c:pt>
                <c:pt idx="1412">
                  <c:v>53.025208441982357</c:v>
                </c:pt>
                <c:pt idx="1413">
                  <c:v>55.456760025696411</c:v>
                </c:pt>
                <c:pt idx="1414">
                  <c:v>52.915609566783083</c:v>
                </c:pt>
                <c:pt idx="1415">
                  <c:v>54.76676304266347</c:v>
                </c:pt>
                <c:pt idx="1416">
                  <c:v>55.22529861292913</c:v>
                </c:pt>
                <c:pt idx="1417">
                  <c:v>54.901745858294042</c:v>
                </c:pt>
                <c:pt idx="1418">
                  <c:v>55.633552254496685</c:v>
                </c:pt>
                <c:pt idx="1419">
                  <c:v>60.747249623928326</c:v>
                </c:pt>
                <c:pt idx="1420">
                  <c:v>61.7209605889499</c:v>
                </c:pt>
                <c:pt idx="1421">
                  <c:v>60.806866533365763</c:v>
                </c:pt>
                <c:pt idx="1422">
                  <c:v>60.751562932334359</c:v>
                </c:pt>
                <c:pt idx="1423">
                  <c:v>59.43700368065111</c:v>
                </c:pt>
                <c:pt idx="1424">
                  <c:v>58.781035448150966</c:v>
                </c:pt>
                <c:pt idx="1425">
                  <c:v>58.942890646435053</c:v>
                </c:pt>
                <c:pt idx="1426">
                  <c:v>59.758911975373614</c:v>
                </c:pt>
                <c:pt idx="1427">
                  <c:v>60.942813218079856</c:v>
                </c:pt>
                <c:pt idx="1428">
                  <c:v>61.622623564514377</c:v>
                </c:pt>
                <c:pt idx="1429">
                  <c:v>61.297330968087394</c:v>
                </c:pt>
                <c:pt idx="1430">
                  <c:v>61.445222503394703</c:v>
                </c:pt>
                <c:pt idx="1431">
                  <c:v>61.294569674225585</c:v>
                </c:pt>
                <c:pt idx="1432">
                  <c:v>61.067673822344346</c:v>
                </c:pt>
                <c:pt idx="1433">
                  <c:v>61.023619318601646</c:v>
                </c:pt>
                <c:pt idx="1434">
                  <c:v>62.298832864118694</c:v>
                </c:pt>
                <c:pt idx="1435">
                  <c:v>63.523973745314699</c:v>
                </c:pt>
                <c:pt idx="1436">
                  <c:v>63.521598207785395</c:v>
                </c:pt>
                <c:pt idx="1437">
                  <c:v>63.6903137843032</c:v>
                </c:pt>
                <c:pt idx="1438">
                  <c:v>63.831666176133844</c:v>
                </c:pt>
                <c:pt idx="1439">
                  <c:v>63.996765955528673</c:v>
                </c:pt>
                <c:pt idx="1440">
                  <c:v>64.154274013522311</c:v>
                </c:pt>
                <c:pt idx="1441">
                  <c:v>63.656907355646084</c:v>
                </c:pt>
                <c:pt idx="1442">
                  <c:v>62.266322896190957</c:v>
                </c:pt>
                <c:pt idx="1443">
                  <c:v>62.096969443320091</c:v>
                </c:pt>
                <c:pt idx="1444">
                  <c:v>62.263081120990826</c:v>
                </c:pt>
                <c:pt idx="1445">
                  <c:v>62.096237920920338</c:v>
                </c:pt>
                <c:pt idx="1446">
                  <c:v>59.765189119160489</c:v>
                </c:pt>
                <c:pt idx="1447">
                  <c:v>56.597192478158512</c:v>
                </c:pt>
                <c:pt idx="1448">
                  <c:v>56.424143152407105</c:v>
                </c:pt>
                <c:pt idx="1449">
                  <c:v>53.792600692530485</c:v>
                </c:pt>
                <c:pt idx="1450">
                  <c:v>52.179146890943628</c:v>
                </c:pt>
                <c:pt idx="1451">
                  <c:v>54.806596797352171</c:v>
                </c:pt>
                <c:pt idx="1452">
                  <c:v>54.508216819336887</c:v>
                </c:pt>
                <c:pt idx="1453">
                  <c:v>55.092113246848399</c:v>
                </c:pt>
                <c:pt idx="1454">
                  <c:v>53.775622787486093</c:v>
                </c:pt>
                <c:pt idx="1455">
                  <c:v>53.21125383678406</c:v>
                </c:pt>
                <c:pt idx="1456">
                  <c:v>51.305274437410297</c:v>
                </c:pt>
                <c:pt idx="1457">
                  <c:v>50.424222668204699</c:v>
                </c:pt>
                <c:pt idx="1458">
                  <c:v>56.707091645166194</c:v>
                </c:pt>
                <c:pt idx="1459">
                  <c:v>55.814632413354659</c:v>
                </c:pt>
                <c:pt idx="1460">
                  <c:v>58.88081513913005</c:v>
                </c:pt>
                <c:pt idx="1461">
                  <c:v>58.630727933146318</c:v>
                </c:pt>
                <c:pt idx="1462">
                  <c:v>58.065468524964452</c:v>
                </c:pt>
                <c:pt idx="1463">
                  <c:v>57.699629719534784</c:v>
                </c:pt>
                <c:pt idx="1464">
                  <c:v>57.210977380384683</c:v>
                </c:pt>
                <c:pt idx="1465">
                  <c:v>56.941518690803406</c:v>
                </c:pt>
                <c:pt idx="1466">
                  <c:v>56.924321163467901</c:v>
                </c:pt>
                <c:pt idx="1467">
                  <c:v>57.05759227916235</c:v>
                </c:pt>
                <c:pt idx="1468">
                  <c:v>56.44263041997241</c:v>
                </c:pt>
                <c:pt idx="1469">
                  <c:v>55.952659254859412</c:v>
                </c:pt>
                <c:pt idx="1470">
                  <c:v>56.421727594385004</c:v>
                </c:pt>
                <c:pt idx="1471">
                  <c:v>57.005561955438395</c:v>
                </c:pt>
                <c:pt idx="1472">
                  <c:v>57.156228056612413</c:v>
                </c:pt>
                <c:pt idx="1473">
                  <c:v>57.117889431982448</c:v>
                </c:pt>
                <c:pt idx="1474">
                  <c:v>55.286721673880166</c:v>
                </c:pt>
                <c:pt idx="1475">
                  <c:v>55.286721673880166</c:v>
                </c:pt>
                <c:pt idx="1476">
                  <c:v>55.217613271787819</c:v>
                </c:pt>
                <c:pt idx="1477">
                  <c:v>55.217613271787819</c:v>
                </c:pt>
                <c:pt idx="1478">
                  <c:v>57.811472664201226</c:v>
                </c:pt>
                <c:pt idx="1479">
                  <c:v>55.318570253418137</c:v>
                </c:pt>
                <c:pt idx="1480">
                  <c:v>55.318570253418137</c:v>
                </c:pt>
                <c:pt idx="1481">
                  <c:v>55.249422040601367</c:v>
                </c:pt>
                <c:pt idx="1482">
                  <c:v>54.714727735107488</c:v>
                </c:pt>
                <c:pt idx="1483">
                  <c:v>55.443174945602365</c:v>
                </c:pt>
                <c:pt idx="1484">
                  <c:v>55.443174945602365</c:v>
                </c:pt>
                <c:pt idx="1485">
                  <c:v>55.373870976920365</c:v>
                </c:pt>
                <c:pt idx="1486">
                  <c:v>55.373870976920365</c:v>
                </c:pt>
                <c:pt idx="1487">
                  <c:v>55.373870976920365</c:v>
                </c:pt>
                <c:pt idx="1488">
                  <c:v>55.373870976920365</c:v>
                </c:pt>
                <c:pt idx="1489">
                  <c:v>55.373870976920365</c:v>
                </c:pt>
                <c:pt idx="1490">
                  <c:v>55.373870976920365</c:v>
                </c:pt>
                <c:pt idx="1491">
                  <c:v>55.373870976920365</c:v>
                </c:pt>
                <c:pt idx="1492">
                  <c:v>55.373870976920365</c:v>
                </c:pt>
                <c:pt idx="1493">
                  <c:v>55.373870976920365</c:v>
                </c:pt>
                <c:pt idx="1494">
                  <c:v>55.373870976920365</c:v>
                </c:pt>
                <c:pt idx="1495">
                  <c:v>55.373870976920365</c:v>
                </c:pt>
                <c:pt idx="1496">
                  <c:v>54.552241237842814</c:v>
                </c:pt>
                <c:pt idx="1497">
                  <c:v>53.906824688456197</c:v>
                </c:pt>
                <c:pt idx="1498">
                  <c:v>55.402079822384842</c:v>
                </c:pt>
                <c:pt idx="1499">
                  <c:v>53.488261414919926</c:v>
                </c:pt>
                <c:pt idx="1500">
                  <c:v>52.650304761566574</c:v>
                </c:pt>
                <c:pt idx="1501">
                  <c:v>52.769623863866904</c:v>
                </c:pt>
                <c:pt idx="1502">
                  <c:v>52.085775263905809</c:v>
                </c:pt>
                <c:pt idx="1503">
                  <c:v>51.127330607252816</c:v>
                </c:pt>
                <c:pt idx="1504">
                  <c:v>50.754596012662859</c:v>
                </c:pt>
                <c:pt idx="1505">
                  <c:v>50.193348685850815</c:v>
                </c:pt>
                <c:pt idx="1506">
                  <c:v>50.314113659141157</c:v>
                </c:pt>
                <c:pt idx="1507">
                  <c:v>50.963490408859371</c:v>
                </c:pt>
                <c:pt idx="1508">
                  <c:v>50.370247518405222</c:v>
                </c:pt>
                <c:pt idx="1509">
                  <c:v>50.682509907054758</c:v>
                </c:pt>
                <c:pt idx="1510">
                  <c:v>50.112992152706305</c:v>
                </c:pt>
                <c:pt idx="1511">
                  <c:v>50.013727796561305</c:v>
                </c:pt>
                <c:pt idx="1512">
                  <c:v>49.254195485072046</c:v>
                </c:pt>
                <c:pt idx="1513">
                  <c:v>50.584241582580027</c:v>
                </c:pt>
                <c:pt idx="1514">
                  <c:v>47.82653738645179</c:v>
                </c:pt>
                <c:pt idx="1515">
                  <c:v>45.650823359222862</c:v>
                </c:pt>
                <c:pt idx="1516">
                  <c:v>45.00874149862203</c:v>
                </c:pt>
                <c:pt idx="1517">
                  <c:v>43.875875233947411</c:v>
                </c:pt>
                <c:pt idx="1518">
                  <c:v>43.496292855937007</c:v>
                </c:pt>
                <c:pt idx="1519">
                  <c:v>42.741200915352806</c:v>
                </c:pt>
                <c:pt idx="1520">
                  <c:v>42.111020605884931</c:v>
                </c:pt>
                <c:pt idx="1521">
                  <c:v>41.983957915268064</c:v>
                </c:pt>
                <c:pt idx="1522">
                  <c:v>43.36637636235556</c:v>
                </c:pt>
                <c:pt idx="1523">
                  <c:v>44.494540871716055</c:v>
                </c:pt>
                <c:pt idx="1524">
                  <c:v>45.120443864999757</c:v>
                </c:pt>
                <c:pt idx="1525">
                  <c:v>44.617764373501004</c:v>
                </c:pt>
                <c:pt idx="1526">
                  <c:v>44.926415597660785</c:v>
                </c:pt>
                <c:pt idx="1527">
                  <c:v>46.658304968433299</c:v>
                </c:pt>
                <c:pt idx="1528">
                  <c:v>48.793412802337322</c:v>
                </c:pt>
                <c:pt idx="1529">
                  <c:v>48.68174171562449</c:v>
                </c:pt>
                <c:pt idx="1530">
                  <c:v>47.017276927718747</c:v>
                </c:pt>
                <c:pt idx="1531">
                  <c:v>47.205510978952667</c:v>
                </c:pt>
                <c:pt idx="1532">
                  <c:v>48.149000319136938</c:v>
                </c:pt>
                <c:pt idx="1533">
                  <c:v>47.41910665088281</c:v>
                </c:pt>
                <c:pt idx="1534">
                  <c:v>47.007134330037147</c:v>
                </c:pt>
                <c:pt idx="1535">
                  <c:v>46.302940932549717</c:v>
                </c:pt>
                <c:pt idx="1536">
                  <c:v>47.313548757743384</c:v>
                </c:pt>
                <c:pt idx="1537">
                  <c:v>48.621819938562325</c:v>
                </c:pt>
                <c:pt idx="1538">
                  <c:v>48.011529978241924</c:v>
                </c:pt>
                <c:pt idx="1539">
                  <c:v>48.109841617791652</c:v>
                </c:pt>
                <c:pt idx="1540">
                  <c:v>47.721618310809504</c:v>
                </c:pt>
                <c:pt idx="1541">
                  <c:v>46.944859095437828</c:v>
                </c:pt>
                <c:pt idx="1542">
                  <c:v>45.408103269072726</c:v>
                </c:pt>
                <c:pt idx="1543">
                  <c:v>49.246061062139802</c:v>
                </c:pt>
                <c:pt idx="1544">
                  <c:v>48.825374734921787</c:v>
                </c:pt>
                <c:pt idx="1545">
                  <c:v>48.58100190055648</c:v>
                </c:pt>
                <c:pt idx="1546">
                  <c:v>48.495607913025431</c:v>
                </c:pt>
                <c:pt idx="1547">
                  <c:v>48.548633123973921</c:v>
                </c:pt>
                <c:pt idx="1548">
                  <c:v>47.895571859024109</c:v>
                </c:pt>
                <c:pt idx="1549">
                  <c:v>48.950161760312092</c:v>
                </c:pt>
                <c:pt idx="1550">
                  <c:v>47.353042460072061</c:v>
                </c:pt>
                <c:pt idx="1551">
                  <c:v>47.213922574427109</c:v>
                </c:pt>
                <c:pt idx="1552">
                  <c:v>48.596685397986036</c:v>
                </c:pt>
                <c:pt idx="1553">
                  <c:v>44.139676156707303</c:v>
                </c:pt>
                <c:pt idx="1554">
                  <c:v>44.139676156707303</c:v>
                </c:pt>
                <c:pt idx="1555">
                  <c:v>44.084501561511416</c:v>
                </c:pt>
                <c:pt idx="1556">
                  <c:v>44.084501561511416</c:v>
                </c:pt>
                <c:pt idx="1557">
                  <c:v>44.084501561511416</c:v>
                </c:pt>
                <c:pt idx="1558">
                  <c:v>43.825427652701194</c:v>
                </c:pt>
                <c:pt idx="1559">
                  <c:v>43.770645868135318</c:v>
                </c:pt>
                <c:pt idx="1560">
                  <c:v>43.616040206216155</c:v>
                </c:pt>
                <c:pt idx="1561">
                  <c:v>43.561520155958384</c:v>
                </c:pt>
                <c:pt idx="1562">
                  <c:v>43.507068255763436</c:v>
                </c:pt>
                <c:pt idx="1563">
                  <c:v>43.538377747678993</c:v>
                </c:pt>
                <c:pt idx="1564">
                  <c:v>41.930734174776227</c:v>
                </c:pt>
                <c:pt idx="1565">
                  <c:v>40.130919766075372</c:v>
                </c:pt>
                <c:pt idx="1566">
                  <c:v>40.127178729296432</c:v>
                </c:pt>
                <c:pt idx="1567">
                  <c:v>40.837395345476551</c:v>
                </c:pt>
                <c:pt idx="1568">
                  <c:v>39.65211975559059</c:v>
                </c:pt>
                <c:pt idx="1569">
                  <c:v>40.478141830186829</c:v>
                </c:pt>
                <c:pt idx="1570">
                  <c:v>44.618775281025457</c:v>
                </c:pt>
                <c:pt idx="1571">
                  <c:v>46.198994561491766</c:v>
                </c:pt>
                <c:pt idx="1572">
                  <c:v>45.653606115354343</c:v>
                </c:pt>
                <c:pt idx="1573">
                  <c:v>45.653606115354343</c:v>
                </c:pt>
                <c:pt idx="1574">
                  <c:v>45.59653910771015</c:v>
                </c:pt>
                <c:pt idx="1575">
                  <c:v>45.59653910771015</c:v>
                </c:pt>
                <c:pt idx="1576">
                  <c:v>45.59653910771015</c:v>
                </c:pt>
                <c:pt idx="1577">
                  <c:v>45.59653910771015</c:v>
                </c:pt>
                <c:pt idx="1578">
                  <c:v>46.712469900001786</c:v>
                </c:pt>
                <c:pt idx="1579">
                  <c:v>46.626945411813004</c:v>
                </c:pt>
                <c:pt idx="1580">
                  <c:v>48.625706195522447</c:v>
                </c:pt>
                <c:pt idx="1581">
                  <c:v>49.295101305510478</c:v>
                </c:pt>
                <c:pt idx="1582">
                  <c:v>49.295101305510478</c:v>
                </c:pt>
                <c:pt idx="1583">
                  <c:v>49.233482428878588</c:v>
                </c:pt>
                <c:pt idx="1584">
                  <c:v>49.233482428878588</c:v>
                </c:pt>
                <c:pt idx="1585">
                  <c:v>49.233482428878588</c:v>
                </c:pt>
                <c:pt idx="1586">
                  <c:v>49.233482428878588</c:v>
                </c:pt>
                <c:pt idx="1587">
                  <c:v>49.233482428878588</c:v>
                </c:pt>
                <c:pt idx="1588">
                  <c:v>49.233482428878588</c:v>
                </c:pt>
                <c:pt idx="1589">
                  <c:v>49.233482428878588</c:v>
                </c:pt>
                <c:pt idx="1590">
                  <c:v>49.233482428878588</c:v>
                </c:pt>
                <c:pt idx="1591">
                  <c:v>49.233482428878588</c:v>
                </c:pt>
                <c:pt idx="1592">
                  <c:v>49.233482428878588</c:v>
                </c:pt>
                <c:pt idx="1593">
                  <c:v>49.233482428878588</c:v>
                </c:pt>
                <c:pt idx="1594">
                  <c:v>49.233482428878588</c:v>
                </c:pt>
                <c:pt idx="1595">
                  <c:v>49.233482428878588</c:v>
                </c:pt>
                <c:pt idx="1596">
                  <c:v>49.233482428878588</c:v>
                </c:pt>
                <c:pt idx="1597">
                  <c:v>49.233482428878588</c:v>
                </c:pt>
                <c:pt idx="1598">
                  <c:v>49.233482428878588</c:v>
                </c:pt>
                <c:pt idx="1599">
                  <c:v>49.233482428878588</c:v>
                </c:pt>
                <c:pt idx="1600">
                  <c:v>49.233482428878588</c:v>
                </c:pt>
                <c:pt idx="1601">
                  <c:v>49.233482428878588</c:v>
                </c:pt>
                <c:pt idx="1602">
                  <c:v>49.233482428878588</c:v>
                </c:pt>
                <c:pt idx="1603">
                  <c:v>49.233482428878588</c:v>
                </c:pt>
                <c:pt idx="1604">
                  <c:v>49.233482428878588</c:v>
                </c:pt>
                <c:pt idx="1605">
                  <c:v>49.233482428878588</c:v>
                </c:pt>
                <c:pt idx="1606">
                  <c:v>49.233482428878588</c:v>
                </c:pt>
                <c:pt idx="1607">
                  <c:v>49.233482428878588</c:v>
                </c:pt>
                <c:pt idx="1608">
                  <c:v>49.233482428878588</c:v>
                </c:pt>
                <c:pt idx="1609">
                  <c:v>49.233482428878588</c:v>
                </c:pt>
                <c:pt idx="1610">
                  <c:v>49.233482428878588</c:v>
                </c:pt>
                <c:pt idx="1611">
                  <c:v>49.233482428878588</c:v>
                </c:pt>
                <c:pt idx="1612">
                  <c:v>49.233482428878588</c:v>
                </c:pt>
                <c:pt idx="1613">
                  <c:v>49.233482428878588</c:v>
                </c:pt>
                <c:pt idx="1614">
                  <c:v>49.233482428878588</c:v>
                </c:pt>
                <c:pt idx="1615">
                  <c:v>49.233482428878588</c:v>
                </c:pt>
                <c:pt idx="1616">
                  <c:v>49.233482428878588</c:v>
                </c:pt>
                <c:pt idx="1617">
                  <c:v>49.233482428878588</c:v>
                </c:pt>
                <c:pt idx="1618">
                  <c:v>49.233482428878588</c:v>
                </c:pt>
                <c:pt idx="1619">
                  <c:v>49.233482428878588</c:v>
                </c:pt>
                <c:pt idx="1620">
                  <c:v>49.233482428878588</c:v>
                </c:pt>
                <c:pt idx="1621">
                  <c:v>49.233482428878588</c:v>
                </c:pt>
                <c:pt idx="1622">
                  <c:v>49.233482428878588</c:v>
                </c:pt>
                <c:pt idx="1623">
                  <c:v>49.233482428878588</c:v>
                </c:pt>
                <c:pt idx="1624">
                  <c:v>49.233482428878588</c:v>
                </c:pt>
                <c:pt idx="1625">
                  <c:v>49.233482428878588</c:v>
                </c:pt>
                <c:pt idx="1626">
                  <c:v>49.233482428878588</c:v>
                </c:pt>
                <c:pt idx="1627">
                  <c:v>49.233482428878588</c:v>
                </c:pt>
                <c:pt idx="1628">
                  <c:v>49.233482428878588</c:v>
                </c:pt>
                <c:pt idx="1629">
                  <c:v>49.233482428878588</c:v>
                </c:pt>
                <c:pt idx="1630">
                  <c:v>49.233482428878588</c:v>
                </c:pt>
                <c:pt idx="1631">
                  <c:v>49.233482428878588</c:v>
                </c:pt>
                <c:pt idx="1632">
                  <c:v>49.233482428878588</c:v>
                </c:pt>
                <c:pt idx="1633">
                  <c:v>49.233482428878588</c:v>
                </c:pt>
                <c:pt idx="1634">
                  <c:v>49.233482428878588</c:v>
                </c:pt>
                <c:pt idx="1635">
                  <c:v>49.233482428878588</c:v>
                </c:pt>
                <c:pt idx="1636">
                  <c:v>49.233482428878588</c:v>
                </c:pt>
                <c:pt idx="1637">
                  <c:v>49.233482428878588</c:v>
                </c:pt>
                <c:pt idx="1638">
                  <c:v>49.233482428878588</c:v>
                </c:pt>
                <c:pt idx="1639">
                  <c:v>49.233482428878588</c:v>
                </c:pt>
                <c:pt idx="1640">
                  <c:v>49.233482428878588</c:v>
                </c:pt>
                <c:pt idx="1641">
                  <c:v>49.233482428878588</c:v>
                </c:pt>
                <c:pt idx="1642">
                  <c:v>49.233482428878588</c:v>
                </c:pt>
                <c:pt idx="1643">
                  <c:v>49.233482428878588</c:v>
                </c:pt>
                <c:pt idx="1644">
                  <c:v>49.233482428878588</c:v>
                </c:pt>
                <c:pt idx="1645">
                  <c:v>49.233482428878588</c:v>
                </c:pt>
                <c:pt idx="1646">
                  <c:v>49.233482428878588</c:v>
                </c:pt>
                <c:pt idx="1647">
                  <c:v>49.233482428878588</c:v>
                </c:pt>
                <c:pt idx="1648">
                  <c:v>49.233482428878588</c:v>
                </c:pt>
                <c:pt idx="1649">
                  <c:v>49.233482428878588</c:v>
                </c:pt>
                <c:pt idx="1650">
                  <c:v>49.233482428878588</c:v>
                </c:pt>
                <c:pt idx="1651">
                  <c:v>49.233482428878588</c:v>
                </c:pt>
                <c:pt idx="1652">
                  <c:v>49.233482428878588</c:v>
                </c:pt>
                <c:pt idx="1653">
                  <c:v>49.233482428878588</c:v>
                </c:pt>
                <c:pt idx="1654">
                  <c:v>49.233482428878588</c:v>
                </c:pt>
                <c:pt idx="1655">
                  <c:v>49.233482428878588</c:v>
                </c:pt>
                <c:pt idx="1656">
                  <c:v>49.233482428878588</c:v>
                </c:pt>
                <c:pt idx="1657">
                  <c:v>49.233482428878588</c:v>
                </c:pt>
                <c:pt idx="1658">
                  <c:v>49.233482428878588</c:v>
                </c:pt>
                <c:pt idx="1659">
                  <c:v>49.233482428878588</c:v>
                </c:pt>
                <c:pt idx="1660">
                  <c:v>49.233482428878588</c:v>
                </c:pt>
                <c:pt idx="1661">
                  <c:v>49.233482428878588</c:v>
                </c:pt>
                <c:pt idx="1662">
                  <c:v>49.233482428878588</c:v>
                </c:pt>
                <c:pt idx="1663">
                  <c:v>49.233482428878588</c:v>
                </c:pt>
                <c:pt idx="1664">
                  <c:v>49.233482428878588</c:v>
                </c:pt>
                <c:pt idx="1665">
                  <c:v>49.233482428878588</c:v>
                </c:pt>
                <c:pt idx="1666">
                  <c:v>49.233482428878588</c:v>
                </c:pt>
                <c:pt idx="1667">
                  <c:v>49.233482428878588</c:v>
                </c:pt>
                <c:pt idx="1668">
                  <c:v>49.233482428878588</c:v>
                </c:pt>
                <c:pt idx="1669">
                  <c:v>49.233482428878588</c:v>
                </c:pt>
                <c:pt idx="1670">
                  <c:v>49.233482428878588</c:v>
                </c:pt>
                <c:pt idx="1671">
                  <c:v>49.233482428878588</c:v>
                </c:pt>
                <c:pt idx="1672">
                  <c:v>49.233482428878588</c:v>
                </c:pt>
                <c:pt idx="1673">
                  <c:v>49.233482428878588</c:v>
                </c:pt>
                <c:pt idx="1674">
                  <c:v>49.233482428878588</c:v>
                </c:pt>
                <c:pt idx="1675">
                  <c:v>49.233482428878588</c:v>
                </c:pt>
                <c:pt idx="1676">
                  <c:v>49.233482428878588</c:v>
                </c:pt>
                <c:pt idx="1677">
                  <c:v>49.233482428878588</c:v>
                </c:pt>
                <c:pt idx="1678">
                  <c:v>49.233482428878588</c:v>
                </c:pt>
                <c:pt idx="1679">
                  <c:v>49.233482428878588</c:v>
                </c:pt>
                <c:pt idx="1680">
                  <c:v>49.233482428878588</c:v>
                </c:pt>
                <c:pt idx="1681">
                  <c:v>49.233482428878588</c:v>
                </c:pt>
                <c:pt idx="1682">
                  <c:v>49.233482428878588</c:v>
                </c:pt>
                <c:pt idx="1683">
                  <c:v>49.233482428878588</c:v>
                </c:pt>
                <c:pt idx="1684">
                  <c:v>49.233482428878588</c:v>
                </c:pt>
                <c:pt idx="1685">
                  <c:v>49.233482428878588</c:v>
                </c:pt>
                <c:pt idx="1686">
                  <c:v>49.233482428878588</c:v>
                </c:pt>
                <c:pt idx="1687">
                  <c:v>49.233482428878588</c:v>
                </c:pt>
                <c:pt idx="1688">
                  <c:v>49.233482428878588</c:v>
                </c:pt>
                <c:pt idx="1689">
                  <c:v>49.233482428878588</c:v>
                </c:pt>
                <c:pt idx="1690">
                  <c:v>49.233482428878588</c:v>
                </c:pt>
                <c:pt idx="1691">
                  <c:v>49.233482428878588</c:v>
                </c:pt>
                <c:pt idx="1692">
                  <c:v>49.233482428878588</c:v>
                </c:pt>
                <c:pt idx="1693">
                  <c:v>49.233482428878588</c:v>
                </c:pt>
                <c:pt idx="1694">
                  <c:v>49.233482428878588</c:v>
                </c:pt>
                <c:pt idx="1695">
                  <c:v>49.233482428878588</c:v>
                </c:pt>
                <c:pt idx="1696">
                  <c:v>49.233482428878588</c:v>
                </c:pt>
                <c:pt idx="1697">
                  <c:v>49.233482428878588</c:v>
                </c:pt>
                <c:pt idx="1698">
                  <c:v>49.233482428878588</c:v>
                </c:pt>
                <c:pt idx="1699">
                  <c:v>49.233482428878588</c:v>
                </c:pt>
                <c:pt idx="1700">
                  <c:v>49.233482428878588</c:v>
                </c:pt>
                <c:pt idx="1701">
                  <c:v>49.233482428878588</c:v>
                </c:pt>
                <c:pt idx="1702">
                  <c:v>49.233482428878588</c:v>
                </c:pt>
                <c:pt idx="1703">
                  <c:v>49.233482428878588</c:v>
                </c:pt>
                <c:pt idx="1704">
                  <c:v>49.233482428878588</c:v>
                </c:pt>
                <c:pt idx="1705">
                  <c:v>49.233482428878588</c:v>
                </c:pt>
                <c:pt idx="1706">
                  <c:v>49.233482428878588</c:v>
                </c:pt>
                <c:pt idx="1707">
                  <c:v>49.233482428878588</c:v>
                </c:pt>
                <c:pt idx="1708">
                  <c:v>49.233482428878588</c:v>
                </c:pt>
                <c:pt idx="1709">
                  <c:v>49.233482428878588</c:v>
                </c:pt>
                <c:pt idx="1710">
                  <c:v>49.233482428878588</c:v>
                </c:pt>
                <c:pt idx="1711">
                  <c:v>49.233482428878588</c:v>
                </c:pt>
                <c:pt idx="1712">
                  <c:v>49.233482428878588</c:v>
                </c:pt>
                <c:pt idx="1713">
                  <c:v>49.233482428878588</c:v>
                </c:pt>
                <c:pt idx="1714">
                  <c:v>49.233482428878588</c:v>
                </c:pt>
                <c:pt idx="1715">
                  <c:v>49.233482428878588</c:v>
                </c:pt>
                <c:pt idx="1716">
                  <c:v>49.233482428878588</c:v>
                </c:pt>
                <c:pt idx="1717">
                  <c:v>49.233482428878588</c:v>
                </c:pt>
                <c:pt idx="1718">
                  <c:v>49.233482428878588</c:v>
                </c:pt>
                <c:pt idx="1719">
                  <c:v>49.233482428878588</c:v>
                </c:pt>
                <c:pt idx="1720">
                  <c:v>49.233482428878588</c:v>
                </c:pt>
                <c:pt idx="1721">
                  <c:v>49.233482428878588</c:v>
                </c:pt>
                <c:pt idx="1722">
                  <c:v>49.233482428878588</c:v>
                </c:pt>
                <c:pt idx="1723">
                  <c:v>49.233482428878588</c:v>
                </c:pt>
                <c:pt idx="1724">
                  <c:v>49.233482428878588</c:v>
                </c:pt>
                <c:pt idx="1725">
                  <c:v>49.233482428878588</c:v>
                </c:pt>
                <c:pt idx="1726">
                  <c:v>49.233482428878588</c:v>
                </c:pt>
                <c:pt idx="1727">
                  <c:v>49.233482428878588</c:v>
                </c:pt>
                <c:pt idx="1728">
                  <c:v>49.233482428878588</c:v>
                </c:pt>
                <c:pt idx="1729">
                  <c:v>49.233482428878588</c:v>
                </c:pt>
                <c:pt idx="1730">
                  <c:v>49.233482428878588</c:v>
                </c:pt>
                <c:pt idx="1731">
                  <c:v>49.233482428878588</c:v>
                </c:pt>
                <c:pt idx="1732">
                  <c:v>49.233482428878588</c:v>
                </c:pt>
                <c:pt idx="1733">
                  <c:v>49.233482428878588</c:v>
                </c:pt>
                <c:pt idx="1734">
                  <c:v>49.233482428878588</c:v>
                </c:pt>
                <c:pt idx="1735">
                  <c:v>49.233482428878588</c:v>
                </c:pt>
                <c:pt idx="1736">
                  <c:v>49.233482428878588</c:v>
                </c:pt>
                <c:pt idx="1737">
                  <c:v>49.233482428878588</c:v>
                </c:pt>
                <c:pt idx="1738">
                  <c:v>49.233482428878588</c:v>
                </c:pt>
                <c:pt idx="1739">
                  <c:v>49.233482428878588</c:v>
                </c:pt>
                <c:pt idx="1740">
                  <c:v>49.233482428878588</c:v>
                </c:pt>
                <c:pt idx="1741">
                  <c:v>51.509452683434411</c:v>
                </c:pt>
                <c:pt idx="1742">
                  <c:v>51.445065867580119</c:v>
                </c:pt>
                <c:pt idx="1743">
                  <c:v>51.085570952551812</c:v>
                </c:pt>
                <c:pt idx="1744">
                  <c:v>47.211496836368141</c:v>
                </c:pt>
                <c:pt idx="1745">
                  <c:v>45.079276184718537</c:v>
                </c:pt>
                <c:pt idx="1746">
                  <c:v>42.71464437444795</c:v>
                </c:pt>
                <c:pt idx="1747">
                  <c:v>43.299712679451687</c:v>
                </c:pt>
                <c:pt idx="1748">
                  <c:v>40.112852879484009</c:v>
                </c:pt>
                <c:pt idx="1749">
                  <c:v>36.80295597159347</c:v>
                </c:pt>
                <c:pt idx="1750">
                  <c:v>41.514609514407269</c:v>
                </c:pt>
                <c:pt idx="1751">
                  <c:v>41.620840915323043</c:v>
                </c:pt>
                <c:pt idx="1752">
                  <c:v>40.922711609862226</c:v>
                </c:pt>
                <c:pt idx="1753">
                  <c:v>40.674193627118839</c:v>
                </c:pt>
                <c:pt idx="1754">
                  <c:v>40.852760755553554</c:v>
                </c:pt>
                <c:pt idx="1755">
                  <c:v>41.047499261094394</c:v>
                </c:pt>
                <c:pt idx="1756">
                  <c:v>41.283221288639389</c:v>
                </c:pt>
                <c:pt idx="1757">
                  <c:v>41.257510145603092</c:v>
                </c:pt>
                <c:pt idx="1758">
                  <c:v>40.318219203965313</c:v>
                </c:pt>
                <c:pt idx="1759">
                  <c:v>38.398106703896637</c:v>
                </c:pt>
                <c:pt idx="1760">
                  <c:v>39.150563134325068</c:v>
                </c:pt>
                <c:pt idx="1761">
                  <c:v>43.873097582810544</c:v>
                </c:pt>
                <c:pt idx="1762">
                  <c:v>40.132219235685831</c:v>
                </c:pt>
                <c:pt idx="1763">
                  <c:v>39.992869190642054</c:v>
                </c:pt>
                <c:pt idx="1764">
                  <c:v>40.912780381127284</c:v>
                </c:pt>
                <c:pt idx="1765">
                  <c:v>40.686193321763525</c:v>
                </c:pt>
                <c:pt idx="1766">
                  <c:v>40.55533432015401</c:v>
                </c:pt>
                <c:pt idx="1767">
                  <c:v>40.316134933027151</c:v>
                </c:pt>
                <c:pt idx="1768">
                  <c:v>40.753955799003215</c:v>
                </c:pt>
                <c:pt idx="1769">
                  <c:v>39.978899926781445</c:v>
                </c:pt>
                <c:pt idx="1770">
                  <c:v>39.631307677334568</c:v>
                </c:pt>
                <c:pt idx="1771">
                  <c:v>39.211480032048406</c:v>
                </c:pt>
                <c:pt idx="1772">
                  <c:v>39.258150335752013</c:v>
                </c:pt>
                <c:pt idx="1773">
                  <c:v>40.081437206872224</c:v>
                </c:pt>
                <c:pt idx="1774">
                  <c:v>39.295768282367256</c:v>
                </c:pt>
                <c:pt idx="1775">
                  <c:v>39.317212767182099</c:v>
                </c:pt>
                <c:pt idx="1776">
                  <c:v>40.246303383174997</c:v>
                </c:pt>
                <c:pt idx="1777">
                  <c:v>41.346537127664</c:v>
                </c:pt>
                <c:pt idx="1778">
                  <c:v>41.319468046423992</c:v>
                </c:pt>
                <c:pt idx="1779">
                  <c:v>41.04567298455224</c:v>
                </c:pt>
                <c:pt idx="1780">
                  <c:v>40.397820713226636</c:v>
                </c:pt>
                <c:pt idx="1781">
                  <c:v>40.397820713226636</c:v>
                </c:pt>
                <c:pt idx="1782">
                  <c:v>39.130023931771554</c:v>
                </c:pt>
                <c:pt idx="1783">
                  <c:v>38.397023467145566</c:v>
                </c:pt>
                <c:pt idx="1784">
                  <c:v>38.397023467145566</c:v>
                </c:pt>
                <c:pt idx="1785">
                  <c:v>38.349027187811636</c:v>
                </c:pt>
                <c:pt idx="1786">
                  <c:v>38.349027187811636</c:v>
                </c:pt>
                <c:pt idx="1787">
                  <c:v>38.349027187811636</c:v>
                </c:pt>
                <c:pt idx="1788">
                  <c:v>38.349027187811636</c:v>
                </c:pt>
                <c:pt idx="1789">
                  <c:v>38.349027187811636</c:v>
                </c:pt>
                <c:pt idx="1790">
                  <c:v>38.349027187811636</c:v>
                </c:pt>
                <c:pt idx="1791">
                  <c:v>38.349027187811636</c:v>
                </c:pt>
                <c:pt idx="1792">
                  <c:v>38.349027187811636</c:v>
                </c:pt>
                <c:pt idx="1793">
                  <c:v>38.349027187811636</c:v>
                </c:pt>
                <c:pt idx="1794">
                  <c:v>38.349027187811636</c:v>
                </c:pt>
                <c:pt idx="1795">
                  <c:v>38.349027187811636</c:v>
                </c:pt>
                <c:pt idx="1796">
                  <c:v>38.349027187811636</c:v>
                </c:pt>
                <c:pt idx="1797">
                  <c:v>38.349027187811636</c:v>
                </c:pt>
                <c:pt idx="1798">
                  <c:v>38.349027187811636</c:v>
                </c:pt>
                <c:pt idx="1799">
                  <c:v>38.349027187811636</c:v>
                </c:pt>
                <c:pt idx="1800">
                  <c:v>38.349027187811636</c:v>
                </c:pt>
                <c:pt idx="1801">
                  <c:v>38.349027187811636</c:v>
                </c:pt>
                <c:pt idx="1802">
                  <c:v>38.349027187811636</c:v>
                </c:pt>
                <c:pt idx="1803">
                  <c:v>38.349027187811636</c:v>
                </c:pt>
                <c:pt idx="1804">
                  <c:v>38.349027187811636</c:v>
                </c:pt>
                <c:pt idx="1805">
                  <c:v>38.349027187811636</c:v>
                </c:pt>
                <c:pt idx="1806">
                  <c:v>38.349027187811636</c:v>
                </c:pt>
                <c:pt idx="1807">
                  <c:v>38.349027187811636</c:v>
                </c:pt>
                <c:pt idx="1808">
                  <c:v>38.41357798238834</c:v>
                </c:pt>
                <c:pt idx="1809">
                  <c:v>36.560820258201396</c:v>
                </c:pt>
                <c:pt idx="1810">
                  <c:v>40.334567329797999</c:v>
                </c:pt>
                <c:pt idx="1811">
                  <c:v>37.815711374944151</c:v>
                </c:pt>
                <c:pt idx="1812">
                  <c:v>37.86353422164008</c:v>
                </c:pt>
                <c:pt idx="1813">
                  <c:v>37.395089706470785</c:v>
                </c:pt>
                <c:pt idx="1814">
                  <c:v>37.364342546012203</c:v>
                </c:pt>
                <c:pt idx="1815">
                  <c:v>37.210289277945279</c:v>
                </c:pt>
                <c:pt idx="1816">
                  <c:v>36.682357266452726</c:v>
                </c:pt>
                <c:pt idx="1817">
                  <c:v>36.243773769146216</c:v>
                </c:pt>
                <c:pt idx="1818">
                  <c:v>35.743136306338883</c:v>
                </c:pt>
                <c:pt idx="1819">
                  <c:v>37.453413207931305</c:v>
                </c:pt>
                <c:pt idx="1820">
                  <c:v>36.558487149036168</c:v>
                </c:pt>
                <c:pt idx="1821">
                  <c:v>36.680269198986331</c:v>
                </c:pt>
                <c:pt idx="1822">
                  <c:v>37.543463968644645</c:v>
                </c:pt>
                <c:pt idx="1823">
                  <c:v>36.808210566263341</c:v>
                </c:pt>
                <c:pt idx="1824">
                  <c:v>36.808676482922003</c:v>
                </c:pt>
                <c:pt idx="1825">
                  <c:v>36.16392750692323</c:v>
                </c:pt>
                <c:pt idx="1826">
                  <c:v>36.141401445990411</c:v>
                </c:pt>
                <c:pt idx="1827">
                  <c:v>35.528109505466006</c:v>
                </c:pt>
                <c:pt idx="1828">
                  <c:v>35.596641167762961</c:v>
                </c:pt>
                <c:pt idx="1829">
                  <c:v>35.006163654050802</c:v>
                </c:pt>
                <c:pt idx="1830">
                  <c:v>36.043271962744257</c:v>
                </c:pt>
                <c:pt idx="1831">
                  <c:v>38.232478693377907</c:v>
                </c:pt>
                <c:pt idx="1832">
                  <c:v>38.729276986876179</c:v>
                </c:pt>
                <c:pt idx="1833">
                  <c:v>39.55754023633105</c:v>
                </c:pt>
                <c:pt idx="1834">
                  <c:v>43.183935485507604</c:v>
                </c:pt>
                <c:pt idx="1835">
                  <c:v>44.105345495063041</c:v>
                </c:pt>
                <c:pt idx="1836">
                  <c:v>44.445115968709196</c:v>
                </c:pt>
                <c:pt idx="1837">
                  <c:v>44.813551482664046</c:v>
                </c:pt>
                <c:pt idx="1838">
                  <c:v>44.766936792153828</c:v>
                </c:pt>
                <c:pt idx="1839">
                  <c:v>45.067990499126026</c:v>
                </c:pt>
                <c:pt idx="1840">
                  <c:v>44.913460081995972</c:v>
                </c:pt>
                <c:pt idx="1841">
                  <c:v>44.225964907336781</c:v>
                </c:pt>
                <c:pt idx="1842">
                  <c:v>46.293456551441949</c:v>
                </c:pt>
                <c:pt idx="1843">
                  <c:v>44.059196117756478</c:v>
                </c:pt>
                <c:pt idx="1844">
                  <c:v>43.612731797841803</c:v>
                </c:pt>
                <c:pt idx="1845">
                  <c:v>43.109038126615935</c:v>
                </c:pt>
                <c:pt idx="1846">
                  <c:v>41.792947408250747</c:v>
                </c:pt>
                <c:pt idx="1847">
                  <c:v>43.334972658575211</c:v>
                </c:pt>
                <c:pt idx="1848">
                  <c:v>42.80510844360829</c:v>
                </c:pt>
                <c:pt idx="1849">
                  <c:v>42.370290326546851</c:v>
                </c:pt>
                <c:pt idx="1850">
                  <c:v>41.854287056837123</c:v>
                </c:pt>
                <c:pt idx="1851">
                  <c:v>41.900976836765366</c:v>
                </c:pt>
                <c:pt idx="1852">
                  <c:v>42.647326996151733</c:v>
                </c:pt>
                <c:pt idx="1853">
                  <c:v>43.010960525141449</c:v>
                </c:pt>
                <c:pt idx="1854">
                  <c:v>43.067777914066006</c:v>
                </c:pt>
                <c:pt idx="1855">
                  <c:v>43.200609859807059</c:v>
                </c:pt>
                <c:pt idx="1856">
                  <c:v>42.893950333791125</c:v>
                </c:pt>
                <c:pt idx="1857">
                  <c:v>42.9374841098521</c:v>
                </c:pt>
                <c:pt idx="1858">
                  <c:v>42.914702171460284</c:v>
                </c:pt>
                <c:pt idx="1859">
                  <c:v>42.62398489940513</c:v>
                </c:pt>
                <c:pt idx="1860">
                  <c:v>43.456252870077194</c:v>
                </c:pt>
                <c:pt idx="1861">
                  <c:v>44.097135759261214</c:v>
                </c:pt>
                <c:pt idx="1862">
                  <c:v>43.99930984104023</c:v>
                </c:pt>
                <c:pt idx="1863">
                  <c:v>40.951983202879717</c:v>
                </c:pt>
                <c:pt idx="1864">
                  <c:v>38.366335648812374</c:v>
                </c:pt>
                <c:pt idx="1865">
                  <c:v>41.918243808941575</c:v>
                </c:pt>
                <c:pt idx="1866">
                  <c:v>42.163760153365729</c:v>
                </c:pt>
                <c:pt idx="1867">
                  <c:v>40.131190432443759</c:v>
                </c:pt>
                <c:pt idx="1868">
                  <c:v>38.091346833038308</c:v>
                </c:pt>
                <c:pt idx="1869">
                  <c:v>40.161879127348236</c:v>
                </c:pt>
                <c:pt idx="1870">
                  <c:v>38.999641676199246</c:v>
                </c:pt>
                <c:pt idx="1871">
                  <c:v>38.119048171536889</c:v>
                </c:pt>
                <c:pt idx="1872">
                  <c:v>37.782434797587456</c:v>
                </c:pt>
                <c:pt idx="1873">
                  <c:v>38.443515095721146</c:v>
                </c:pt>
                <c:pt idx="1874">
                  <c:v>37.845381587077853</c:v>
                </c:pt>
                <c:pt idx="1875">
                  <c:v>37.682624774120335</c:v>
                </c:pt>
                <c:pt idx="1876">
                  <c:v>39.38093780841362</c:v>
                </c:pt>
                <c:pt idx="1877">
                  <c:v>40.13435678852197</c:v>
                </c:pt>
                <c:pt idx="1878">
                  <c:v>41.31746777889137</c:v>
                </c:pt>
                <c:pt idx="1879">
                  <c:v>40.784688568546095</c:v>
                </c:pt>
                <c:pt idx="1880">
                  <c:v>41.03007192276241</c:v>
                </c:pt>
                <c:pt idx="1881">
                  <c:v>40.97712007763181</c:v>
                </c:pt>
                <c:pt idx="1882">
                  <c:v>41.009337121210997</c:v>
                </c:pt>
                <c:pt idx="1883">
                  <c:v>41.056872421320179</c:v>
                </c:pt>
                <c:pt idx="1884">
                  <c:v>41.045672096150341</c:v>
                </c:pt>
                <c:pt idx="1885">
                  <c:v>41.191004861282593</c:v>
                </c:pt>
                <c:pt idx="1886">
                  <c:v>42.296684281337761</c:v>
                </c:pt>
                <c:pt idx="1887">
                  <c:v>42.359704661118357</c:v>
                </c:pt>
                <c:pt idx="1888">
                  <c:v>42.594890672247075</c:v>
                </c:pt>
                <c:pt idx="1889">
                  <c:v>42.182004439578257</c:v>
                </c:pt>
                <c:pt idx="1890">
                  <c:v>41.842435297865116</c:v>
                </c:pt>
                <c:pt idx="1891">
                  <c:v>42.053392273672365</c:v>
                </c:pt>
                <c:pt idx="1892">
                  <c:v>41.663001276547035</c:v>
                </c:pt>
                <c:pt idx="1893">
                  <c:v>42.09267660701687</c:v>
                </c:pt>
                <c:pt idx="1894">
                  <c:v>44.072431981054152</c:v>
                </c:pt>
                <c:pt idx="1895">
                  <c:v>43.669051181990525</c:v>
                </c:pt>
                <c:pt idx="1896">
                  <c:v>42.588804925690383</c:v>
                </c:pt>
                <c:pt idx="1897">
                  <c:v>42.588804925690383</c:v>
                </c:pt>
                <c:pt idx="1898">
                  <c:v>42.535568919533269</c:v>
                </c:pt>
                <c:pt idx="1899">
                  <c:v>42.637313170712019</c:v>
                </c:pt>
                <c:pt idx="1900">
                  <c:v>41.397465479041898</c:v>
                </c:pt>
                <c:pt idx="1901">
                  <c:v>41.397465479041898</c:v>
                </c:pt>
                <c:pt idx="1902">
                  <c:v>39.102568183854316</c:v>
                </c:pt>
                <c:pt idx="1903">
                  <c:v>39.338493101049195</c:v>
                </c:pt>
                <c:pt idx="1904">
                  <c:v>39.051461930937627</c:v>
                </c:pt>
                <c:pt idx="1905">
                  <c:v>39.062071198340504</c:v>
                </c:pt>
                <c:pt idx="1906">
                  <c:v>39.062071198340504</c:v>
                </c:pt>
                <c:pt idx="1907">
                  <c:v>39.013243609342581</c:v>
                </c:pt>
                <c:pt idx="1908">
                  <c:v>39.013243609342581</c:v>
                </c:pt>
                <c:pt idx="1909">
                  <c:v>39.090762309779969</c:v>
                </c:pt>
                <c:pt idx="1910">
                  <c:v>39.868193702909494</c:v>
                </c:pt>
                <c:pt idx="1911">
                  <c:v>40.065087628314473</c:v>
                </c:pt>
                <c:pt idx="1912">
                  <c:v>40.065087628314473</c:v>
                </c:pt>
                <c:pt idx="1913">
                  <c:v>40.303555063029918</c:v>
                </c:pt>
                <c:pt idx="1914">
                  <c:v>40.072337961330405</c:v>
                </c:pt>
                <c:pt idx="1915">
                  <c:v>40.126543095169659</c:v>
                </c:pt>
                <c:pt idx="1916">
                  <c:v>39.381740558902713</c:v>
                </c:pt>
                <c:pt idx="1917">
                  <c:v>38.510020199417639</c:v>
                </c:pt>
                <c:pt idx="1918">
                  <c:v>39.642123020036095</c:v>
                </c:pt>
                <c:pt idx="1919">
                  <c:v>38.191580612719676</c:v>
                </c:pt>
                <c:pt idx="1920">
                  <c:v>37.852891354155219</c:v>
                </c:pt>
                <c:pt idx="1921">
                  <c:v>38.358957630686795</c:v>
                </c:pt>
                <c:pt idx="1922">
                  <c:v>39.763941073490251</c:v>
                </c:pt>
                <c:pt idx="1923">
                  <c:v>39.842250540561942</c:v>
                </c:pt>
                <c:pt idx="1924">
                  <c:v>40.047268177000376</c:v>
                </c:pt>
                <c:pt idx="1925">
                  <c:v>39.777624581726293</c:v>
                </c:pt>
                <c:pt idx="1926">
                  <c:v>39.860543114399007</c:v>
                </c:pt>
                <c:pt idx="1927">
                  <c:v>39.831447197768071</c:v>
                </c:pt>
                <c:pt idx="1928">
                  <c:v>39.864344098527305</c:v>
                </c:pt>
                <c:pt idx="1929">
                  <c:v>39.833437969999515</c:v>
                </c:pt>
                <c:pt idx="1930">
                  <c:v>40.360292785584477</c:v>
                </c:pt>
                <c:pt idx="1931">
                  <c:v>40.354575707084976</c:v>
                </c:pt>
                <c:pt idx="1932">
                  <c:v>41.289846490246838</c:v>
                </c:pt>
                <c:pt idx="1933">
                  <c:v>41.534373015957776</c:v>
                </c:pt>
                <c:pt idx="1934">
                  <c:v>42.612887817383367</c:v>
                </c:pt>
                <c:pt idx="1935">
                  <c:v>43.562634182320465</c:v>
                </c:pt>
                <c:pt idx="1936">
                  <c:v>42.516521964885527</c:v>
                </c:pt>
                <c:pt idx="1937">
                  <c:v>41.538242886610291</c:v>
                </c:pt>
                <c:pt idx="1938">
                  <c:v>41.538242886610291</c:v>
                </c:pt>
                <c:pt idx="1939">
                  <c:v>41.486320083002028</c:v>
                </c:pt>
                <c:pt idx="1940">
                  <c:v>41.486320083002028</c:v>
                </c:pt>
                <c:pt idx="1941">
                  <c:v>41.486320083002028</c:v>
                </c:pt>
                <c:pt idx="1942">
                  <c:v>46.389425087178211</c:v>
                </c:pt>
                <c:pt idx="1943">
                  <c:v>46.350415609845498</c:v>
                </c:pt>
                <c:pt idx="1944">
                  <c:v>45.175549098170279</c:v>
                </c:pt>
                <c:pt idx="1945">
                  <c:v>44.272743417287003</c:v>
                </c:pt>
                <c:pt idx="1946">
                  <c:v>44.060461310301839</c:v>
                </c:pt>
                <c:pt idx="1947">
                  <c:v>44.164023355678566</c:v>
                </c:pt>
                <c:pt idx="1948">
                  <c:v>43.136118447551439</c:v>
                </c:pt>
                <c:pt idx="1949">
                  <c:v>42.976123336340613</c:v>
                </c:pt>
                <c:pt idx="1950">
                  <c:v>42.897626969595819</c:v>
                </c:pt>
                <c:pt idx="1951">
                  <c:v>42.695901671397785</c:v>
                </c:pt>
                <c:pt idx="1952">
                  <c:v>42.439731136403111</c:v>
                </c:pt>
                <c:pt idx="1953">
                  <c:v>42.561938233005058</c:v>
                </c:pt>
                <c:pt idx="1954">
                  <c:v>41.814080126439869</c:v>
                </c:pt>
                <c:pt idx="1955">
                  <c:v>41.555383100535884</c:v>
                </c:pt>
                <c:pt idx="1956">
                  <c:v>41.151354913141923</c:v>
                </c:pt>
                <c:pt idx="1957">
                  <c:v>41.494594003460513</c:v>
                </c:pt>
                <c:pt idx="1958">
                  <c:v>41.716045643554899</c:v>
                </c:pt>
                <c:pt idx="1959">
                  <c:v>42.213638318322182</c:v>
                </c:pt>
                <c:pt idx="1960">
                  <c:v>41.810714746669092</c:v>
                </c:pt>
                <c:pt idx="1961">
                  <c:v>41.966606171129953</c:v>
                </c:pt>
                <c:pt idx="1962">
                  <c:v>41.807142654202508</c:v>
                </c:pt>
                <c:pt idx="1963">
                  <c:v>42.642754077665259</c:v>
                </c:pt>
                <c:pt idx="1964">
                  <c:v>40.698105612191867</c:v>
                </c:pt>
                <c:pt idx="1965">
                  <c:v>40.496500245590425</c:v>
                </c:pt>
                <c:pt idx="1966">
                  <c:v>41.105771215210567</c:v>
                </c:pt>
                <c:pt idx="1967">
                  <c:v>41.006887963043383</c:v>
                </c:pt>
                <c:pt idx="1968">
                  <c:v>40.662816874096258</c:v>
                </c:pt>
                <c:pt idx="1969">
                  <c:v>40.52892595349558</c:v>
                </c:pt>
                <c:pt idx="1970">
                  <c:v>40.179674249893104</c:v>
                </c:pt>
                <c:pt idx="1971">
                  <c:v>40.069977509216024</c:v>
                </c:pt>
                <c:pt idx="1972">
                  <c:v>39.564515637646537</c:v>
                </c:pt>
                <c:pt idx="1973">
                  <c:v>39.448150180692025</c:v>
                </c:pt>
                <c:pt idx="1974">
                  <c:v>38.083600307787727</c:v>
                </c:pt>
                <c:pt idx="1975">
                  <c:v>41.26100706813093</c:v>
                </c:pt>
                <c:pt idx="1976">
                  <c:v>41.515988371901564</c:v>
                </c:pt>
                <c:pt idx="1977">
                  <c:v>42.275850768731125</c:v>
                </c:pt>
                <c:pt idx="1978">
                  <c:v>37.388096722249699</c:v>
                </c:pt>
                <c:pt idx="1979">
                  <c:v>37.388096722249699</c:v>
                </c:pt>
                <c:pt idx="1980">
                  <c:v>40.879692064155364</c:v>
                </c:pt>
                <c:pt idx="1981">
                  <c:v>39.165496719268106</c:v>
                </c:pt>
                <c:pt idx="1982">
                  <c:v>39.071746724563546</c:v>
                </c:pt>
                <c:pt idx="1983">
                  <c:v>40.058423380499164</c:v>
                </c:pt>
                <c:pt idx="1984">
                  <c:v>40.446154262813472</c:v>
                </c:pt>
                <c:pt idx="1985">
                  <c:v>40.511943904029692</c:v>
                </c:pt>
                <c:pt idx="1986">
                  <c:v>39.754782005235299</c:v>
                </c:pt>
                <c:pt idx="1987">
                  <c:v>39.237459716861679</c:v>
                </c:pt>
                <c:pt idx="1988">
                  <c:v>37.788717957784669</c:v>
                </c:pt>
                <c:pt idx="1989">
                  <c:v>38.332011316866698</c:v>
                </c:pt>
                <c:pt idx="1990">
                  <c:v>37.51790117999245</c:v>
                </c:pt>
                <c:pt idx="1991">
                  <c:v>36.762405974478483</c:v>
                </c:pt>
                <c:pt idx="1992">
                  <c:v>36.925650605022142</c:v>
                </c:pt>
                <c:pt idx="1993">
                  <c:v>38.146704367403196</c:v>
                </c:pt>
                <c:pt idx="1994">
                  <c:v>38.126400797880294</c:v>
                </c:pt>
                <c:pt idx="1995">
                  <c:v>37.856553716160697</c:v>
                </c:pt>
                <c:pt idx="1996">
                  <c:v>37.910173533490486</c:v>
                </c:pt>
                <c:pt idx="1997">
                  <c:v>37.747371744039803</c:v>
                </c:pt>
                <c:pt idx="1998">
                  <c:v>37.675908051170836</c:v>
                </c:pt>
                <c:pt idx="1999">
                  <c:v>37.591817736413482</c:v>
                </c:pt>
                <c:pt idx="2000">
                  <c:v>37.746311883802626</c:v>
                </c:pt>
                <c:pt idx="2001">
                  <c:v>37.44481622560702</c:v>
                </c:pt>
                <c:pt idx="2002">
                  <c:v>37.656506290599658</c:v>
                </c:pt>
                <c:pt idx="2003">
                  <c:v>36.58629302580713</c:v>
                </c:pt>
                <c:pt idx="2004">
                  <c:v>37.379658584518751</c:v>
                </c:pt>
                <c:pt idx="2005">
                  <c:v>36.30839466022686</c:v>
                </c:pt>
                <c:pt idx="2006">
                  <c:v>36.123419191871371</c:v>
                </c:pt>
                <c:pt idx="2007">
                  <c:v>35.633566154575554</c:v>
                </c:pt>
                <c:pt idx="2008">
                  <c:v>35.614139007345905</c:v>
                </c:pt>
                <c:pt idx="2009">
                  <c:v>34.36736266451048</c:v>
                </c:pt>
                <c:pt idx="2010">
                  <c:v>34.487891577097713</c:v>
                </c:pt>
                <c:pt idx="2011">
                  <c:v>33.654994784420701</c:v>
                </c:pt>
                <c:pt idx="2012">
                  <c:v>39.599280906962804</c:v>
                </c:pt>
                <c:pt idx="2013">
                  <c:v>35.065101741186787</c:v>
                </c:pt>
                <c:pt idx="2014">
                  <c:v>31.21313060598002</c:v>
                </c:pt>
                <c:pt idx="2015">
                  <c:v>31.479428226162618</c:v>
                </c:pt>
                <c:pt idx="2016">
                  <c:v>31.479428226162618</c:v>
                </c:pt>
                <c:pt idx="2017">
                  <c:v>32.426285888445094</c:v>
                </c:pt>
                <c:pt idx="2018">
                  <c:v>32.724913046090485</c:v>
                </c:pt>
                <c:pt idx="2019">
                  <c:v>32.715513787366355</c:v>
                </c:pt>
                <c:pt idx="2020">
                  <c:v>32.807009172542429</c:v>
                </c:pt>
                <c:pt idx="2021">
                  <c:v>32.804485769600809</c:v>
                </c:pt>
                <c:pt idx="2022">
                  <c:v>32.772737798512942</c:v>
                </c:pt>
                <c:pt idx="2023">
                  <c:v>32.582295733940704</c:v>
                </c:pt>
                <c:pt idx="2024">
                  <c:v>32.939276809608295</c:v>
                </c:pt>
                <c:pt idx="2025">
                  <c:v>32.473499610439802</c:v>
                </c:pt>
                <c:pt idx="2026">
                  <c:v>32.451983191328111</c:v>
                </c:pt>
                <c:pt idx="2027">
                  <c:v>32.32305701941268</c:v>
                </c:pt>
                <c:pt idx="2028">
                  <c:v>32.29425223165385</c:v>
                </c:pt>
                <c:pt idx="2029">
                  <c:v>32.396601711152755</c:v>
                </c:pt>
                <c:pt idx="2030">
                  <c:v>32.537145756451224</c:v>
                </c:pt>
                <c:pt idx="2031">
                  <c:v>32.362524835194435</c:v>
                </c:pt>
                <c:pt idx="2032">
                  <c:v>32.313974810914729</c:v>
                </c:pt>
                <c:pt idx="2033">
                  <c:v>32.255946035689156</c:v>
                </c:pt>
                <c:pt idx="2034">
                  <c:v>32.385220659100163</c:v>
                </c:pt>
                <c:pt idx="2035">
                  <c:v>32.729355205591993</c:v>
                </c:pt>
                <c:pt idx="2036">
                  <c:v>32.476073773188318</c:v>
                </c:pt>
                <c:pt idx="2037">
                  <c:v>32.435446214210678</c:v>
                </c:pt>
                <c:pt idx="2038">
                  <c:v>32.618424860680719</c:v>
                </c:pt>
                <c:pt idx="2039">
                  <c:v>32.547520351350713</c:v>
                </c:pt>
                <c:pt idx="2040">
                  <c:v>32.170697721536413</c:v>
                </c:pt>
                <c:pt idx="2041">
                  <c:v>32.144964187519363</c:v>
                </c:pt>
                <c:pt idx="2042">
                  <c:v>32.721621063562807</c:v>
                </c:pt>
                <c:pt idx="2043">
                  <c:v>32.289653880289528</c:v>
                </c:pt>
                <c:pt idx="2044">
                  <c:v>32.206297849346122</c:v>
                </c:pt>
                <c:pt idx="2045">
                  <c:v>31.5949417389422</c:v>
                </c:pt>
                <c:pt idx="2046">
                  <c:v>31.632767710336996</c:v>
                </c:pt>
                <c:pt idx="2047">
                  <c:v>31.393611269981491</c:v>
                </c:pt>
                <c:pt idx="2048">
                  <c:v>31.393611269981491</c:v>
                </c:pt>
                <c:pt idx="2049">
                  <c:v>31.354369255894014</c:v>
                </c:pt>
                <c:pt idx="2050">
                  <c:v>31.354369255894014</c:v>
                </c:pt>
                <c:pt idx="2051">
                  <c:v>31.748157977113987</c:v>
                </c:pt>
                <c:pt idx="2052">
                  <c:v>32.323425954722211</c:v>
                </c:pt>
                <c:pt idx="2053">
                  <c:v>32.323425954722211</c:v>
                </c:pt>
                <c:pt idx="2054">
                  <c:v>32.283021672278807</c:v>
                </c:pt>
                <c:pt idx="2055">
                  <c:v>32.283021672278807</c:v>
                </c:pt>
                <c:pt idx="2056">
                  <c:v>32.283021672278807</c:v>
                </c:pt>
                <c:pt idx="2057">
                  <c:v>32.283021672278807</c:v>
                </c:pt>
                <c:pt idx="2058">
                  <c:v>32.283021672278807</c:v>
                </c:pt>
                <c:pt idx="2059">
                  <c:v>32.283021672278807</c:v>
                </c:pt>
                <c:pt idx="2060">
                  <c:v>32.283021672278807</c:v>
                </c:pt>
                <c:pt idx="2061">
                  <c:v>32.283021672278807</c:v>
                </c:pt>
                <c:pt idx="2062">
                  <c:v>32.283021672278807</c:v>
                </c:pt>
                <c:pt idx="2063">
                  <c:v>32.283021672278807</c:v>
                </c:pt>
                <c:pt idx="2064">
                  <c:v>32.283021672278807</c:v>
                </c:pt>
                <c:pt idx="2065">
                  <c:v>32.283021672278807</c:v>
                </c:pt>
                <c:pt idx="2066">
                  <c:v>32.283021672278807</c:v>
                </c:pt>
                <c:pt idx="2067">
                  <c:v>32.283021672278807</c:v>
                </c:pt>
                <c:pt idx="2068">
                  <c:v>32.283021672278807</c:v>
                </c:pt>
                <c:pt idx="2069">
                  <c:v>32.283021672278807</c:v>
                </c:pt>
                <c:pt idx="2070">
                  <c:v>31.345952030059049</c:v>
                </c:pt>
                <c:pt idx="2071">
                  <c:v>30.777452180855228</c:v>
                </c:pt>
                <c:pt idx="2072">
                  <c:v>30.266817022753596</c:v>
                </c:pt>
                <c:pt idx="2073">
                  <c:v>29.552351238433076</c:v>
                </c:pt>
                <c:pt idx="2074">
                  <c:v>29.827004442533411</c:v>
                </c:pt>
                <c:pt idx="2075">
                  <c:v>28.997821901825148</c:v>
                </c:pt>
                <c:pt idx="2076">
                  <c:v>29.824601487219489</c:v>
                </c:pt>
                <c:pt idx="2077">
                  <c:v>28.718075048671796</c:v>
                </c:pt>
                <c:pt idx="2078">
                  <c:v>28.503194430007628</c:v>
                </c:pt>
                <c:pt idx="2079">
                  <c:v>27.563516690681688</c:v>
                </c:pt>
                <c:pt idx="2080">
                  <c:v>27.278198782490431</c:v>
                </c:pt>
                <c:pt idx="2081">
                  <c:v>27.169806936933181</c:v>
                </c:pt>
                <c:pt idx="2082">
                  <c:v>27.447788076482876</c:v>
                </c:pt>
                <c:pt idx="2083">
                  <c:v>26.890749534346511</c:v>
                </c:pt>
                <c:pt idx="2084">
                  <c:v>26.796843462178266</c:v>
                </c:pt>
                <c:pt idx="2085">
                  <c:v>27.16756194038577</c:v>
                </c:pt>
                <c:pt idx="2086">
                  <c:v>26.517654256131159</c:v>
                </c:pt>
                <c:pt idx="2087">
                  <c:v>25.978869302926409</c:v>
                </c:pt>
                <c:pt idx="2088">
                  <c:v>25.400198092287553</c:v>
                </c:pt>
                <c:pt idx="2089">
                  <c:v>24.558557909467254</c:v>
                </c:pt>
                <c:pt idx="2090">
                  <c:v>24.369997589973828</c:v>
                </c:pt>
                <c:pt idx="2091">
                  <c:v>25.023218116697816</c:v>
                </c:pt>
                <c:pt idx="2092">
                  <c:v>25.301847437981863</c:v>
                </c:pt>
                <c:pt idx="2093">
                  <c:v>24.740989376441888</c:v>
                </c:pt>
                <c:pt idx="2094">
                  <c:v>25.300005038357128</c:v>
                </c:pt>
                <c:pt idx="2095">
                  <c:v>24.925281923127709</c:v>
                </c:pt>
                <c:pt idx="2096">
                  <c:v>24.756055845564145</c:v>
                </c:pt>
                <c:pt idx="2097">
                  <c:v>25.009923397002986</c:v>
                </c:pt>
                <c:pt idx="2098">
                  <c:v>26.673043854349423</c:v>
                </c:pt>
                <c:pt idx="2099">
                  <c:v>26.624353716864235</c:v>
                </c:pt>
                <c:pt idx="2100">
                  <c:v>25.972539167876757</c:v>
                </c:pt>
                <c:pt idx="2101">
                  <c:v>26.459778448504846</c:v>
                </c:pt>
                <c:pt idx="2102">
                  <c:v>25.697871942820218</c:v>
                </c:pt>
                <c:pt idx="2103">
                  <c:v>26.733732988122558</c:v>
                </c:pt>
                <c:pt idx="2104">
                  <c:v>27.163980657908798</c:v>
                </c:pt>
                <c:pt idx="2105">
                  <c:v>26.825077009367376</c:v>
                </c:pt>
                <c:pt idx="2106">
                  <c:v>27.603478860399346</c:v>
                </c:pt>
                <c:pt idx="2107">
                  <c:v>27.603478860399346</c:v>
                </c:pt>
                <c:pt idx="2108">
                  <c:v>27.568974511823846</c:v>
                </c:pt>
                <c:pt idx="2109">
                  <c:v>27.568974511823846</c:v>
                </c:pt>
                <c:pt idx="2110">
                  <c:v>27.568974511823846</c:v>
                </c:pt>
                <c:pt idx="2111">
                  <c:v>27.568974511823846</c:v>
                </c:pt>
                <c:pt idx="2112">
                  <c:v>27.568974511823846</c:v>
                </c:pt>
                <c:pt idx="2113">
                  <c:v>27.568974511823846</c:v>
                </c:pt>
                <c:pt idx="2114">
                  <c:v>27.568974511823846</c:v>
                </c:pt>
                <c:pt idx="2115">
                  <c:v>27.280394931714678</c:v>
                </c:pt>
                <c:pt idx="2116">
                  <c:v>26.120401808073293</c:v>
                </c:pt>
                <c:pt idx="2117">
                  <c:v>26.566969517732772</c:v>
                </c:pt>
                <c:pt idx="2118">
                  <c:v>26.565965179776367</c:v>
                </c:pt>
                <c:pt idx="2119">
                  <c:v>26.145597872884903</c:v>
                </c:pt>
                <c:pt idx="2120">
                  <c:v>25.976540775780141</c:v>
                </c:pt>
                <c:pt idx="2121">
                  <c:v>24.71517496494922</c:v>
                </c:pt>
                <c:pt idx="2122">
                  <c:v>24.796604743349757</c:v>
                </c:pt>
                <c:pt idx="2123">
                  <c:v>25.216720769992921</c:v>
                </c:pt>
                <c:pt idx="2124">
                  <c:v>25.804138886018137</c:v>
                </c:pt>
                <c:pt idx="2125">
                  <c:v>25.349750892261607</c:v>
                </c:pt>
                <c:pt idx="2126">
                  <c:v>25.30608570819394</c:v>
                </c:pt>
                <c:pt idx="2127">
                  <c:v>25.111605693739701</c:v>
                </c:pt>
                <c:pt idx="2128">
                  <c:v>25.734546326131664</c:v>
                </c:pt>
                <c:pt idx="2129">
                  <c:v>26.79787182096835</c:v>
                </c:pt>
                <c:pt idx="2130">
                  <c:v>27.751717818786506</c:v>
                </c:pt>
                <c:pt idx="2131">
                  <c:v>26.123879156132979</c:v>
                </c:pt>
                <c:pt idx="2132">
                  <c:v>26.123879156132979</c:v>
                </c:pt>
                <c:pt idx="2133">
                  <c:v>26.091224307187815</c:v>
                </c:pt>
                <c:pt idx="2134">
                  <c:v>26.091224307187815</c:v>
                </c:pt>
                <c:pt idx="2135">
                  <c:v>26.091224307187815</c:v>
                </c:pt>
                <c:pt idx="2136">
                  <c:v>26.091224307187815</c:v>
                </c:pt>
                <c:pt idx="2137">
                  <c:v>26.091224307187815</c:v>
                </c:pt>
                <c:pt idx="2138">
                  <c:v>26.091224307187815</c:v>
                </c:pt>
                <c:pt idx="2139">
                  <c:v>26.157685595712973</c:v>
                </c:pt>
                <c:pt idx="2140">
                  <c:v>26.124988488718333</c:v>
                </c:pt>
                <c:pt idx="2141">
                  <c:v>26.092332253107436</c:v>
                </c:pt>
                <c:pt idx="2142">
                  <c:v>25.730934645793621</c:v>
                </c:pt>
                <c:pt idx="2143">
                  <c:v>25.316061663483399</c:v>
                </c:pt>
                <c:pt idx="2144">
                  <c:v>25.754124979155677</c:v>
                </c:pt>
                <c:pt idx="2145">
                  <c:v>25.753137866264087</c:v>
                </c:pt>
                <c:pt idx="2146">
                  <c:v>25.903248988333754</c:v>
                </c:pt>
                <c:pt idx="2147">
                  <c:v>25.599076156954233</c:v>
                </c:pt>
                <c:pt idx="2148">
                  <c:v>25.620984404892553</c:v>
                </c:pt>
                <c:pt idx="2149">
                  <c:v>25.657132425455945</c:v>
                </c:pt>
                <c:pt idx="2150">
                  <c:v>25.59641723394483</c:v>
                </c:pt>
                <c:pt idx="2151">
                  <c:v>25.622282986279149</c:v>
                </c:pt>
                <c:pt idx="2152">
                  <c:v>25.60860672767615</c:v>
                </c:pt>
                <c:pt idx="2153">
                  <c:v>25.603363996529868</c:v>
                </c:pt>
                <c:pt idx="2154">
                  <c:v>25.58789094637396</c:v>
                </c:pt>
                <c:pt idx="2155">
                  <c:v>25.590679810171505</c:v>
                </c:pt>
                <c:pt idx="2156">
                  <c:v>25.348721427373782</c:v>
                </c:pt>
                <c:pt idx="2157">
                  <c:v>25.687895548501849</c:v>
                </c:pt>
                <c:pt idx="2158">
                  <c:v>25.078498502165747</c:v>
                </c:pt>
                <c:pt idx="2159">
                  <c:v>25.024086974073796</c:v>
                </c:pt>
                <c:pt idx="2160">
                  <c:v>25.060364249133709</c:v>
                </c:pt>
                <c:pt idx="2161">
                  <c:v>24.864791643819405</c:v>
                </c:pt>
                <c:pt idx="2162">
                  <c:v>24.511340058678257</c:v>
                </c:pt>
                <c:pt idx="2163">
                  <c:v>24.087278333250602</c:v>
                </c:pt>
                <c:pt idx="2164">
                  <c:v>24.002379952270175</c:v>
                </c:pt>
                <c:pt idx="2165">
                  <c:v>24.337942587752135</c:v>
                </c:pt>
                <c:pt idx="2166">
                  <c:v>23.749692395765702</c:v>
                </c:pt>
                <c:pt idx="2167">
                  <c:v>22.993183955876191</c:v>
                </c:pt>
                <c:pt idx="2168">
                  <c:v>22.823683616698247</c:v>
                </c:pt>
                <c:pt idx="2169">
                  <c:v>22.907222814194544</c:v>
                </c:pt>
                <c:pt idx="2170">
                  <c:v>23.074914747765618</c:v>
                </c:pt>
                <c:pt idx="2171">
                  <c:v>23.242350353942907</c:v>
                </c:pt>
                <c:pt idx="2172">
                  <c:v>23.409783452013976</c:v>
                </c:pt>
                <c:pt idx="2173">
                  <c:v>23.841398742847151</c:v>
                </c:pt>
                <c:pt idx="2174">
                  <c:v>23.867665863909981</c:v>
                </c:pt>
                <c:pt idx="2175">
                  <c:v>24.461198577592832</c:v>
                </c:pt>
                <c:pt idx="2176">
                  <c:v>23.94471617429279</c:v>
                </c:pt>
                <c:pt idx="2177">
                  <c:v>24.90129866855294</c:v>
                </c:pt>
                <c:pt idx="2178">
                  <c:v>25.254525375587583</c:v>
                </c:pt>
                <c:pt idx="2179">
                  <c:v>25.30631637154767</c:v>
                </c:pt>
                <c:pt idx="2180">
                  <c:v>26.993290372885376</c:v>
                </c:pt>
                <c:pt idx="2181">
                  <c:v>27.569512528125692</c:v>
                </c:pt>
                <c:pt idx="2182">
                  <c:v>27.467316135542426</c:v>
                </c:pt>
                <c:pt idx="2183">
                  <c:v>27.024271520605325</c:v>
                </c:pt>
                <c:pt idx="2184">
                  <c:v>27.024271520605325</c:v>
                </c:pt>
                <c:pt idx="2185">
                  <c:v>26.990491181204568</c:v>
                </c:pt>
                <c:pt idx="2186">
                  <c:v>27.079542053493945</c:v>
                </c:pt>
                <c:pt idx="2187">
                  <c:v>26.950258749058364</c:v>
                </c:pt>
                <c:pt idx="2188">
                  <c:v>26.240309243155803</c:v>
                </c:pt>
                <c:pt idx="2189">
                  <c:v>25.45565255169171</c:v>
                </c:pt>
                <c:pt idx="2190">
                  <c:v>25.443998624177283</c:v>
                </c:pt>
                <c:pt idx="2191">
                  <c:v>26.013655457436574</c:v>
                </c:pt>
                <c:pt idx="2192">
                  <c:v>26.39217127077869</c:v>
                </c:pt>
                <c:pt idx="2193">
                  <c:v>26.486248808984463</c:v>
                </c:pt>
                <c:pt idx="2194">
                  <c:v>26.789479808319271</c:v>
                </c:pt>
                <c:pt idx="2195">
                  <c:v>26.683443365357146</c:v>
                </c:pt>
                <c:pt idx="2196">
                  <c:v>26.760030902471787</c:v>
                </c:pt>
                <c:pt idx="2197">
                  <c:v>26.857145701872565</c:v>
                </c:pt>
                <c:pt idx="2198">
                  <c:v>26.842668773685276</c:v>
                </c:pt>
                <c:pt idx="2199">
                  <c:v>26.78714426334783</c:v>
                </c:pt>
                <c:pt idx="2200">
                  <c:v>26.632081596241129</c:v>
                </c:pt>
                <c:pt idx="2201">
                  <c:v>27.020406814598317</c:v>
                </c:pt>
                <c:pt idx="2202">
                  <c:v>25.612691835013933</c:v>
                </c:pt>
                <c:pt idx="2203">
                  <c:v>25.5603870819746</c:v>
                </c:pt>
                <c:pt idx="2204">
                  <c:v>26.087649450097288</c:v>
                </c:pt>
                <c:pt idx="2205">
                  <c:v>25.995163541302482</c:v>
                </c:pt>
                <c:pt idx="2206">
                  <c:v>25.879391555490699</c:v>
                </c:pt>
                <c:pt idx="2207">
                  <c:v>25.71713169191257</c:v>
                </c:pt>
                <c:pt idx="2208">
                  <c:v>26.099042333247208</c:v>
                </c:pt>
                <c:pt idx="2209">
                  <c:v>29.753576800600069</c:v>
                </c:pt>
                <c:pt idx="2210">
                  <c:v>29.753576800600069</c:v>
                </c:pt>
                <c:pt idx="2211">
                  <c:v>29.71638482959932</c:v>
                </c:pt>
                <c:pt idx="2212">
                  <c:v>29.71638482959932</c:v>
                </c:pt>
                <c:pt idx="2213">
                  <c:v>29.71638482959932</c:v>
                </c:pt>
                <c:pt idx="2214">
                  <c:v>29.71638482959932</c:v>
                </c:pt>
                <c:pt idx="2215">
                  <c:v>29.71638482959932</c:v>
                </c:pt>
                <c:pt idx="2216">
                  <c:v>29.71638482959932</c:v>
                </c:pt>
                <c:pt idx="2217">
                  <c:v>29.71638482959932</c:v>
                </c:pt>
                <c:pt idx="2218">
                  <c:v>29.71638482959932</c:v>
                </c:pt>
                <c:pt idx="2219">
                  <c:v>29.71638482959932</c:v>
                </c:pt>
                <c:pt idx="2220">
                  <c:v>29.71638482959932</c:v>
                </c:pt>
                <c:pt idx="2221">
                  <c:v>29.71638482959932</c:v>
                </c:pt>
                <c:pt idx="2222">
                  <c:v>29.71638482959932</c:v>
                </c:pt>
                <c:pt idx="2223">
                  <c:v>29.786161633254189</c:v>
                </c:pt>
                <c:pt idx="2224">
                  <c:v>29.242440620849901</c:v>
                </c:pt>
                <c:pt idx="2225">
                  <c:v>28.77757916572769</c:v>
                </c:pt>
                <c:pt idx="2226">
                  <c:v>30.490197387804731</c:v>
                </c:pt>
                <c:pt idx="2227">
                  <c:v>30.490197387804731</c:v>
                </c:pt>
                <c:pt idx="2228">
                  <c:v>30.484437676653567</c:v>
                </c:pt>
                <c:pt idx="2229">
                  <c:v>30.446332129557749</c:v>
                </c:pt>
                <c:pt idx="2230">
                  <c:v>30.393997573521066</c:v>
                </c:pt>
                <c:pt idx="2231">
                  <c:v>30.396125087027411</c:v>
                </c:pt>
                <c:pt idx="2232">
                  <c:v>30.396125087027411</c:v>
                </c:pt>
                <c:pt idx="2233">
                  <c:v>30.358129930668628</c:v>
                </c:pt>
                <c:pt idx="2234">
                  <c:v>30.358129930668628</c:v>
                </c:pt>
                <c:pt idx="2235">
                  <c:v>30.358129930668628</c:v>
                </c:pt>
                <c:pt idx="2236">
                  <c:v>30.358129930668628</c:v>
                </c:pt>
                <c:pt idx="2237">
                  <c:v>30.358129930668628</c:v>
                </c:pt>
                <c:pt idx="2238">
                  <c:v>30.409015038659845</c:v>
                </c:pt>
                <c:pt idx="2239">
                  <c:v>30.37100376986152</c:v>
                </c:pt>
                <c:pt idx="2240">
                  <c:v>30.333040015149194</c:v>
                </c:pt>
                <c:pt idx="2241">
                  <c:v>30.333040015149194</c:v>
                </c:pt>
                <c:pt idx="2242">
                  <c:v>30.333040015149194</c:v>
                </c:pt>
                <c:pt idx="2243">
                  <c:v>30.333040015149194</c:v>
                </c:pt>
                <c:pt idx="2244">
                  <c:v>30.333040015149194</c:v>
                </c:pt>
                <c:pt idx="2245">
                  <c:v>30.333040015149194</c:v>
                </c:pt>
                <c:pt idx="2246">
                  <c:v>30.260067791204282</c:v>
                </c:pt>
                <c:pt idx="2247">
                  <c:v>30.222242706465277</c:v>
                </c:pt>
                <c:pt idx="2248">
                  <c:v>30.184464903082198</c:v>
                </c:pt>
                <c:pt idx="2249">
                  <c:v>30.184464903082198</c:v>
                </c:pt>
                <c:pt idx="2250">
                  <c:v>30.184464903082198</c:v>
                </c:pt>
                <c:pt idx="2251">
                  <c:v>30.184464903082198</c:v>
                </c:pt>
                <c:pt idx="2252">
                  <c:v>30.184464903082198</c:v>
                </c:pt>
                <c:pt idx="2253">
                  <c:v>30.184464903082198</c:v>
                </c:pt>
                <c:pt idx="2254">
                  <c:v>29.927148757219566</c:v>
                </c:pt>
                <c:pt idx="2255">
                  <c:v>29.523951793606738</c:v>
                </c:pt>
                <c:pt idx="2256">
                  <c:v>29.666011032989754</c:v>
                </c:pt>
                <c:pt idx="2257">
                  <c:v>29.35485233612841</c:v>
                </c:pt>
                <c:pt idx="2258">
                  <c:v>30.166813418946163</c:v>
                </c:pt>
                <c:pt idx="2259">
                  <c:v>31.485426890153295</c:v>
                </c:pt>
                <c:pt idx="2260">
                  <c:v>30.820213037762215</c:v>
                </c:pt>
                <c:pt idx="2261">
                  <c:v>31.508815744543924</c:v>
                </c:pt>
                <c:pt idx="2262">
                  <c:v>31.473726471440248</c:v>
                </c:pt>
                <c:pt idx="2263">
                  <c:v>31.473726471440248</c:v>
                </c:pt>
                <c:pt idx="2264">
                  <c:v>31.434384313350947</c:v>
                </c:pt>
                <c:pt idx="2265">
                  <c:v>31.434384313350947</c:v>
                </c:pt>
                <c:pt idx="2266">
                  <c:v>31.434384313350947</c:v>
                </c:pt>
                <c:pt idx="2267">
                  <c:v>32.025177376374323</c:v>
                </c:pt>
                <c:pt idx="2268">
                  <c:v>31.983512637847252</c:v>
                </c:pt>
                <c:pt idx="2269">
                  <c:v>31.802158940020298</c:v>
                </c:pt>
                <c:pt idx="2270">
                  <c:v>32.0261920974379</c:v>
                </c:pt>
                <c:pt idx="2271">
                  <c:v>32.210439480561604</c:v>
                </c:pt>
                <c:pt idx="2272">
                  <c:v>32.332388476477583</c:v>
                </c:pt>
                <c:pt idx="2273">
                  <c:v>31.803960860228567</c:v>
                </c:pt>
                <c:pt idx="2274">
                  <c:v>31.62976177570664</c:v>
                </c:pt>
                <c:pt idx="2275">
                  <c:v>31.601189620380552</c:v>
                </c:pt>
                <c:pt idx="2276">
                  <c:v>31.408282019313933</c:v>
                </c:pt>
                <c:pt idx="2277">
                  <c:v>31.397496425748187</c:v>
                </c:pt>
                <c:pt idx="2278">
                  <c:v>30.938159031587833</c:v>
                </c:pt>
                <c:pt idx="2279">
                  <c:v>31.12072274876089</c:v>
                </c:pt>
                <c:pt idx="2280">
                  <c:v>30.355226105754159</c:v>
                </c:pt>
                <c:pt idx="2281">
                  <c:v>30.415949609444695</c:v>
                </c:pt>
                <c:pt idx="2282">
                  <c:v>29.556146420006925</c:v>
                </c:pt>
                <c:pt idx="2283">
                  <c:v>28.397400510511979</c:v>
                </c:pt>
                <c:pt idx="2284">
                  <c:v>28.394955017104362</c:v>
                </c:pt>
                <c:pt idx="2285">
                  <c:v>27.869085432531584</c:v>
                </c:pt>
                <c:pt idx="2286">
                  <c:v>28.814455121009164</c:v>
                </c:pt>
                <c:pt idx="2287">
                  <c:v>28.32890569475936</c:v>
                </c:pt>
                <c:pt idx="2288">
                  <c:v>27.747688287124404</c:v>
                </c:pt>
                <c:pt idx="2289">
                  <c:v>27.843146447446657</c:v>
                </c:pt>
                <c:pt idx="2290">
                  <c:v>27.262809010008901</c:v>
                </c:pt>
                <c:pt idx="2291">
                  <c:v>27.164956193821336</c:v>
                </c:pt>
                <c:pt idx="2292">
                  <c:v>26.874648019435892</c:v>
                </c:pt>
                <c:pt idx="2293">
                  <c:v>26.004034559026568</c:v>
                </c:pt>
                <c:pt idx="2294">
                  <c:v>26.00218260188522</c:v>
                </c:pt>
                <c:pt idx="2295">
                  <c:v>25.712216272303721</c:v>
                </c:pt>
                <c:pt idx="2296">
                  <c:v>25.711585460282983</c:v>
                </c:pt>
                <c:pt idx="2297">
                  <c:v>25.518212590180063</c:v>
                </c:pt>
                <c:pt idx="2298">
                  <c:v>25.711163239489345</c:v>
                </c:pt>
                <c:pt idx="2299">
                  <c:v>25.517364907802595</c:v>
                </c:pt>
                <c:pt idx="2300">
                  <c:v>24.453727503722174</c:v>
                </c:pt>
                <c:pt idx="2301">
                  <c:v>23.195026065410961</c:v>
                </c:pt>
                <c:pt idx="2302">
                  <c:v>23.578892832123373</c:v>
                </c:pt>
                <c:pt idx="2303">
                  <c:v>23.288144160014671</c:v>
                </c:pt>
                <c:pt idx="2304">
                  <c:v>24.157235038101639</c:v>
                </c:pt>
                <c:pt idx="2305">
                  <c:v>25.508024991452512</c:v>
                </c:pt>
                <c:pt idx="2306">
                  <c:v>24.914103831158467</c:v>
                </c:pt>
                <c:pt idx="2307">
                  <c:v>24.809569851201413</c:v>
                </c:pt>
                <c:pt idx="2308">
                  <c:v>25.088223342182079</c:v>
                </c:pt>
                <c:pt idx="2309">
                  <c:v>25.914277391936309</c:v>
                </c:pt>
                <c:pt idx="2310">
                  <c:v>25.906847074728248</c:v>
                </c:pt>
                <c:pt idx="2311">
                  <c:v>26.061885126865789</c:v>
                </c:pt>
                <c:pt idx="2312">
                  <c:v>25.455278988254584</c:v>
                </c:pt>
                <c:pt idx="2313">
                  <c:v>26.37721764414443</c:v>
                </c:pt>
                <c:pt idx="2314">
                  <c:v>25.468376229702471</c:v>
                </c:pt>
                <c:pt idx="2315">
                  <c:v>25.505248614549284</c:v>
                </c:pt>
                <c:pt idx="2316">
                  <c:v>25.269063914770687</c:v>
                </c:pt>
                <c:pt idx="2317">
                  <c:v>24.998689677950608</c:v>
                </c:pt>
                <c:pt idx="2318">
                  <c:v>24.575213025299181</c:v>
                </c:pt>
                <c:pt idx="2319">
                  <c:v>24.339467000781376</c:v>
                </c:pt>
                <c:pt idx="2320">
                  <c:v>24.01979120550887</c:v>
                </c:pt>
                <c:pt idx="2321">
                  <c:v>24.731546705541991</c:v>
                </c:pt>
                <c:pt idx="2322">
                  <c:v>25.238870615937156</c:v>
                </c:pt>
                <c:pt idx="2323">
                  <c:v>25.01276191513098</c:v>
                </c:pt>
                <c:pt idx="2324">
                  <c:v>24.952395391917364</c:v>
                </c:pt>
                <c:pt idx="2325">
                  <c:v>24.89922180612081</c:v>
                </c:pt>
                <c:pt idx="2326">
                  <c:v>25.684881287333258</c:v>
                </c:pt>
                <c:pt idx="2327">
                  <c:v>25.179259891790966</c:v>
                </c:pt>
                <c:pt idx="2328">
                  <c:v>25.258332541367864</c:v>
                </c:pt>
                <c:pt idx="2329">
                  <c:v>23.731972087590492</c:v>
                </c:pt>
                <c:pt idx="2330">
                  <c:v>23.650469790573936</c:v>
                </c:pt>
                <c:pt idx="2331">
                  <c:v>22.869229811453618</c:v>
                </c:pt>
                <c:pt idx="2332">
                  <c:v>22.890548622861395</c:v>
                </c:pt>
                <c:pt idx="2333">
                  <c:v>22.81086681368981</c:v>
                </c:pt>
                <c:pt idx="2334">
                  <c:v>22.802778459148193</c:v>
                </c:pt>
                <c:pt idx="2335">
                  <c:v>22.860170402609249</c:v>
                </c:pt>
                <c:pt idx="2336">
                  <c:v>22.860170402609249</c:v>
                </c:pt>
                <c:pt idx="2337">
                  <c:v>22.69051864052695</c:v>
                </c:pt>
                <c:pt idx="2338">
                  <c:v>22.66215549222629</c:v>
                </c:pt>
                <c:pt idx="2339">
                  <c:v>22.633827797861009</c:v>
                </c:pt>
                <c:pt idx="2340">
                  <c:v>22.633827797861009</c:v>
                </c:pt>
                <c:pt idx="2341">
                  <c:v>22.633827797861009</c:v>
                </c:pt>
                <c:pt idx="2342">
                  <c:v>22.633827797861009</c:v>
                </c:pt>
                <c:pt idx="2343">
                  <c:v>22.633827797861009</c:v>
                </c:pt>
                <c:pt idx="2344">
                  <c:v>22.633827797861009</c:v>
                </c:pt>
                <c:pt idx="2345">
                  <c:v>22.633827797861009</c:v>
                </c:pt>
                <c:pt idx="2346">
                  <c:v>22.633827797861009</c:v>
                </c:pt>
                <c:pt idx="2347">
                  <c:v>22.633827797861009</c:v>
                </c:pt>
                <c:pt idx="2348">
                  <c:v>22.633827797861009</c:v>
                </c:pt>
                <c:pt idx="2349">
                  <c:v>22.633827797861009</c:v>
                </c:pt>
                <c:pt idx="2350">
                  <c:v>22.607655798156905</c:v>
                </c:pt>
                <c:pt idx="2351">
                  <c:v>21.766191242654177</c:v>
                </c:pt>
                <c:pt idx="2352">
                  <c:v>21.926938638973162</c:v>
                </c:pt>
                <c:pt idx="2353">
                  <c:v>21.926578565570455</c:v>
                </c:pt>
                <c:pt idx="2354">
                  <c:v>21.764124136904535</c:v>
                </c:pt>
                <c:pt idx="2355">
                  <c:v>21.925476113504985</c:v>
                </c:pt>
                <c:pt idx="2356">
                  <c:v>21.725940842793246</c:v>
                </c:pt>
                <c:pt idx="2357">
                  <c:v>21.784620815359979</c:v>
                </c:pt>
                <c:pt idx="2358">
                  <c:v>21.844154310704763</c:v>
                </c:pt>
                <c:pt idx="2359">
                  <c:v>21.844232082009619</c:v>
                </c:pt>
                <c:pt idx="2360">
                  <c:v>21.835379394413831</c:v>
                </c:pt>
                <c:pt idx="2361">
                  <c:v>21.838511212889795</c:v>
                </c:pt>
                <c:pt idx="2362">
                  <c:v>21.964324755610733</c:v>
                </c:pt>
                <c:pt idx="2363">
                  <c:v>21.937970419400926</c:v>
                </c:pt>
                <c:pt idx="2364">
                  <c:v>21.878674840800326</c:v>
                </c:pt>
                <c:pt idx="2365">
                  <c:v>21.872143734887239</c:v>
                </c:pt>
                <c:pt idx="2366">
                  <c:v>22.34192962788407</c:v>
                </c:pt>
                <c:pt idx="2367">
                  <c:v>22.248656630691887</c:v>
                </c:pt>
                <c:pt idx="2368">
                  <c:v>22.387673988765599</c:v>
                </c:pt>
                <c:pt idx="2369">
                  <c:v>22.217194521490889</c:v>
                </c:pt>
                <c:pt idx="2370">
                  <c:v>22.217194521490889</c:v>
                </c:pt>
                <c:pt idx="2371">
                  <c:v>22.189423028339025</c:v>
                </c:pt>
                <c:pt idx="2372">
                  <c:v>22.417961893210517</c:v>
                </c:pt>
                <c:pt idx="2373">
                  <c:v>22.066378038782297</c:v>
                </c:pt>
                <c:pt idx="2374">
                  <c:v>22.211069398555342</c:v>
                </c:pt>
                <c:pt idx="2375">
                  <c:v>23.387924214324737</c:v>
                </c:pt>
                <c:pt idx="2376">
                  <c:v>23.387924214324737</c:v>
                </c:pt>
                <c:pt idx="2377">
                  <c:v>23.358689309056832</c:v>
                </c:pt>
                <c:pt idx="2378">
                  <c:v>23.358689309056832</c:v>
                </c:pt>
                <c:pt idx="2379">
                  <c:v>23.358689309056832</c:v>
                </c:pt>
                <c:pt idx="2380">
                  <c:v>23.358689309056832</c:v>
                </c:pt>
                <c:pt idx="2381">
                  <c:v>23.358689309056832</c:v>
                </c:pt>
                <c:pt idx="2382">
                  <c:v>23.358689309056832</c:v>
                </c:pt>
                <c:pt idx="2383">
                  <c:v>23.358689309056832</c:v>
                </c:pt>
                <c:pt idx="2384">
                  <c:v>23.358689309056832</c:v>
                </c:pt>
                <c:pt idx="2385">
                  <c:v>23.358689309056832</c:v>
                </c:pt>
                <c:pt idx="2386">
                  <c:v>23.358689309056832</c:v>
                </c:pt>
                <c:pt idx="2387">
                  <c:v>23.358689309056832</c:v>
                </c:pt>
                <c:pt idx="2388">
                  <c:v>23.358689309056832</c:v>
                </c:pt>
                <c:pt idx="2389">
                  <c:v>23.358689309056832</c:v>
                </c:pt>
                <c:pt idx="2390">
                  <c:v>23.358689309056832</c:v>
                </c:pt>
                <c:pt idx="2391">
                  <c:v>23.358689309056832</c:v>
                </c:pt>
                <c:pt idx="2392">
                  <c:v>23.358689309056832</c:v>
                </c:pt>
                <c:pt idx="2393">
                  <c:v>23.358689309056832</c:v>
                </c:pt>
                <c:pt idx="2394">
                  <c:v>23.358689309056832</c:v>
                </c:pt>
                <c:pt idx="2395">
                  <c:v>23.358689309056832</c:v>
                </c:pt>
                <c:pt idx="2396">
                  <c:v>23.358689309056832</c:v>
                </c:pt>
                <c:pt idx="2397">
                  <c:v>23.358689309056832</c:v>
                </c:pt>
                <c:pt idx="2398">
                  <c:v>23.358689309056832</c:v>
                </c:pt>
                <c:pt idx="2399">
                  <c:v>23.358689309056832</c:v>
                </c:pt>
                <c:pt idx="2400">
                  <c:v>23.358689309056832</c:v>
                </c:pt>
                <c:pt idx="2401">
                  <c:v>23.358689309056832</c:v>
                </c:pt>
                <c:pt idx="2402">
                  <c:v>23.358689309056832</c:v>
                </c:pt>
                <c:pt idx="2403">
                  <c:v>23.358689309056832</c:v>
                </c:pt>
                <c:pt idx="2404">
                  <c:v>23.358689309056832</c:v>
                </c:pt>
                <c:pt idx="2405">
                  <c:v>23.358689309056832</c:v>
                </c:pt>
                <c:pt idx="2406">
                  <c:v>23.358689309056832</c:v>
                </c:pt>
                <c:pt idx="2407">
                  <c:v>23.358689309056832</c:v>
                </c:pt>
                <c:pt idx="2408">
                  <c:v>23.358689309056832</c:v>
                </c:pt>
                <c:pt idx="2409">
                  <c:v>23.358689309056832</c:v>
                </c:pt>
                <c:pt idx="2410">
                  <c:v>23.358689309056832</c:v>
                </c:pt>
                <c:pt idx="2411">
                  <c:v>23.358689309056832</c:v>
                </c:pt>
                <c:pt idx="2412">
                  <c:v>23.358689309056832</c:v>
                </c:pt>
                <c:pt idx="2413">
                  <c:v>23.358689309056832</c:v>
                </c:pt>
                <c:pt idx="2414">
                  <c:v>23.358689309056832</c:v>
                </c:pt>
                <c:pt idx="2415">
                  <c:v>23.358689309056832</c:v>
                </c:pt>
                <c:pt idx="2416">
                  <c:v>23.358689309056832</c:v>
                </c:pt>
                <c:pt idx="2417">
                  <c:v>23.358689309056832</c:v>
                </c:pt>
                <c:pt idx="2418">
                  <c:v>23.358689309056832</c:v>
                </c:pt>
                <c:pt idx="2419">
                  <c:v>23.358689309056832</c:v>
                </c:pt>
                <c:pt idx="2420">
                  <c:v>23.358689309056832</c:v>
                </c:pt>
                <c:pt idx="2421">
                  <c:v>23.246340764378832</c:v>
                </c:pt>
                <c:pt idx="2422">
                  <c:v>22.795330371916457</c:v>
                </c:pt>
                <c:pt idx="2423">
                  <c:v>23.837960208262079</c:v>
                </c:pt>
                <c:pt idx="2424">
                  <c:v>23.837960208262079</c:v>
                </c:pt>
                <c:pt idx="2425">
                  <c:v>23.808162758001753</c:v>
                </c:pt>
                <c:pt idx="2426">
                  <c:v>23.741530923418104</c:v>
                </c:pt>
                <c:pt idx="2427">
                  <c:v>23.130211363043706</c:v>
                </c:pt>
                <c:pt idx="2428">
                  <c:v>22.658284743924231</c:v>
                </c:pt>
                <c:pt idx="2429">
                  <c:v>24.480074155908774</c:v>
                </c:pt>
                <c:pt idx="2430">
                  <c:v>24.480074155908774</c:v>
                </c:pt>
                <c:pt idx="2431">
                  <c:v>24.449474063213888</c:v>
                </c:pt>
                <c:pt idx="2432">
                  <c:v>24.449474063213888</c:v>
                </c:pt>
                <c:pt idx="2433">
                  <c:v>24.449474063213888</c:v>
                </c:pt>
                <c:pt idx="2434">
                  <c:v>24.449474063213888</c:v>
                </c:pt>
                <c:pt idx="2435">
                  <c:v>24.449474063213888</c:v>
                </c:pt>
                <c:pt idx="2436">
                  <c:v>24.449474063213888</c:v>
                </c:pt>
                <c:pt idx="2437">
                  <c:v>24.449474063213888</c:v>
                </c:pt>
                <c:pt idx="2438">
                  <c:v>24.449474063213888</c:v>
                </c:pt>
                <c:pt idx="2439">
                  <c:v>24.449474063213888</c:v>
                </c:pt>
                <c:pt idx="2440">
                  <c:v>24.449474063213888</c:v>
                </c:pt>
                <c:pt idx="2441">
                  <c:v>24.449474063213888</c:v>
                </c:pt>
                <c:pt idx="2442">
                  <c:v>24.449474063213888</c:v>
                </c:pt>
                <c:pt idx="2443">
                  <c:v>24.449474063213888</c:v>
                </c:pt>
                <c:pt idx="2444">
                  <c:v>24.449474063213888</c:v>
                </c:pt>
                <c:pt idx="2445">
                  <c:v>24.449474063213888</c:v>
                </c:pt>
                <c:pt idx="2446">
                  <c:v>24.449474063213888</c:v>
                </c:pt>
                <c:pt idx="2447">
                  <c:v>24.449474063213888</c:v>
                </c:pt>
                <c:pt idx="2448">
                  <c:v>24.449474063213888</c:v>
                </c:pt>
                <c:pt idx="2449">
                  <c:v>24.449474063213888</c:v>
                </c:pt>
                <c:pt idx="2450">
                  <c:v>24.449474063213888</c:v>
                </c:pt>
                <c:pt idx="2451">
                  <c:v>24.449474063213888</c:v>
                </c:pt>
                <c:pt idx="2452">
                  <c:v>24.449474063213888</c:v>
                </c:pt>
                <c:pt idx="2453">
                  <c:v>24.449474063213888</c:v>
                </c:pt>
                <c:pt idx="2454">
                  <c:v>24.449474063213888</c:v>
                </c:pt>
                <c:pt idx="2455">
                  <c:v>24.449474063213888</c:v>
                </c:pt>
                <c:pt idx="2456">
                  <c:v>24.449474063213888</c:v>
                </c:pt>
                <c:pt idx="2457">
                  <c:v>24.449474063213888</c:v>
                </c:pt>
                <c:pt idx="2458">
                  <c:v>24.449474063213888</c:v>
                </c:pt>
                <c:pt idx="2459">
                  <c:v>24.449474063213888</c:v>
                </c:pt>
                <c:pt idx="2460">
                  <c:v>24.449474063213888</c:v>
                </c:pt>
                <c:pt idx="2461">
                  <c:v>24.449474063213888</c:v>
                </c:pt>
                <c:pt idx="2462">
                  <c:v>24.449474063213888</c:v>
                </c:pt>
                <c:pt idx="2463">
                  <c:v>24.449474063213888</c:v>
                </c:pt>
                <c:pt idx="2464">
                  <c:v>24.449474063213888</c:v>
                </c:pt>
                <c:pt idx="2465">
                  <c:v>24.449474063213888</c:v>
                </c:pt>
                <c:pt idx="2466">
                  <c:v>24.449474063213888</c:v>
                </c:pt>
                <c:pt idx="2467">
                  <c:v>24.449474063213888</c:v>
                </c:pt>
                <c:pt idx="2468">
                  <c:v>24.449474063213888</c:v>
                </c:pt>
                <c:pt idx="2469">
                  <c:v>24.449474063213888</c:v>
                </c:pt>
                <c:pt idx="2470">
                  <c:v>24.449474063213888</c:v>
                </c:pt>
                <c:pt idx="2471">
                  <c:v>24.449474063213888</c:v>
                </c:pt>
                <c:pt idx="2472">
                  <c:v>24.449474063213888</c:v>
                </c:pt>
                <c:pt idx="2473">
                  <c:v>24.449474063213888</c:v>
                </c:pt>
                <c:pt idx="2474">
                  <c:v>24.449474063213888</c:v>
                </c:pt>
                <c:pt idx="2475">
                  <c:v>24.449474063213888</c:v>
                </c:pt>
                <c:pt idx="2476">
                  <c:v>24.449474063213888</c:v>
                </c:pt>
                <c:pt idx="2477">
                  <c:v>24.449474063213888</c:v>
                </c:pt>
                <c:pt idx="2478">
                  <c:v>24.449474063213888</c:v>
                </c:pt>
                <c:pt idx="2479">
                  <c:v>24.449474063213888</c:v>
                </c:pt>
                <c:pt idx="2480">
                  <c:v>24.449474063213888</c:v>
                </c:pt>
                <c:pt idx="2481">
                  <c:v>24.449474063213888</c:v>
                </c:pt>
                <c:pt idx="2482">
                  <c:v>24.449474063213888</c:v>
                </c:pt>
                <c:pt idx="2483">
                  <c:v>24.449474063213888</c:v>
                </c:pt>
                <c:pt idx="2484">
                  <c:v>24.449474063213888</c:v>
                </c:pt>
                <c:pt idx="2485">
                  <c:v>24.449474063213888</c:v>
                </c:pt>
                <c:pt idx="2486">
                  <c:v>24.449474063213888</c:v>
                </c:pt>
                <c:pt idx="2487">
                  <c:v>24.449474063213888</c:v>
                </c:pt>
                <c:pt idx="2488">
                  <c:v>24.449474063213888</c:v>
                </c:pt>
                <c:pt idx="2489">
                  <c:v>24.449474063213888</c:v>
                </c:pt>
                <c:pt idx="2490">
                  <c:v>24.449474063213888</c:v>
                </c:pt>
                <c:pt idx="2491">
                  <c:v>24.449474063213888</c:v>
                </c:pt>
                <c:pt idx="2492">
                  <c:v>24.449474063213888</c:v>
                </c:pt>
                <c:pt idx="2493">
                  <c:v>24.449474063213888</c:v>
                </c:pt>
                <c:pt idx="2494">
                  <c:v>24.449474063213888</c:v>
                </c:pt>
                <c:pt idx="2495">
                  <c:v>24.449474063213888</c:v>
                </c:pt>
                <c:pt idx="2496">
                  <c:v>24.449474063213888</c:v>
                </c:pt>
                <c:pt idx="2497">
                  <c:v>24.449474063213888</c:v>
                </c:pt>
                <c:pt idx="2498">
                  <c:v>24.442416429076498</c:v>
                </c:pt>
                <c:pt idx="2499">
                  <c:v>23.860114310089862</c:v>
                </c:pt>
                <c:pt idx="2500">
                  <c:v>23.715549865599769</c:v>
                </c:pt>
                <c:pt idx="2501">
                  <c:v>23.41891876641461</c:v>
                </c:pt>
                <c:pt idx="2502">
                  <c:v>24.450887829367847</c:v>
                </c:pt>
                <c:pt idx="2503">
                  <c:v>24.300988270600563</c:v>
                </c:pt>
                <c:pt idx="2504">
                  <c:v>24.181238805922799</c:v>
                </c:pt>
                <c:pt idx="2505">
                  <c:v>24.017828196729553</c:v>
                </c:pt>
                <c:pt idx="2506">
                  <c:v>24.276355921230781</c:v>
                </c:pt>
                <c:pt idx="2507">
                  <c:v>23.998795875639981</c:v>
                </c:pt>
                <c:pt idx="2508">
                  <c:v>23.980130749674494</c:v>
                </c:pt>
                <c:pt idx="2509">
                  <c:v>23.858063304011942</c:v>
                </c:pt>
                <c:pt idx="2510">
                  <c:v>23.838149509983257</c:v>
                </c:pt>
                <c:pt idx="2511">
                  <c:v>23.113861720054366</c:v>
                </c:pt>
                <c:pt idx="2512">
                  <c:v>22.025339509008177</c:v>
                </c:pt>
                <c:pt idx="2513">
                  <c:v>21.002397708274941</c:v>
                </c:pt>
                <c:pt idx="2514">
                  <c:v>21.885347897899948</c:v>
                </c:pt>
                <c:pt idx="2515">
                  <c:v>21.270618975295495</c:v>
                </c:pt>
                <c:pt idx="2516">
                  <c:v>20.860959681470856</c:v>
                </c:pt>
                <c:pt idx="2517">
                  <c:v>20.587823698366432</c:v>
                </c:pt>
                <c:pt idx="2518">
                  <c:v>21.33587216162384</c:v>
                </c:pt>
                <c:pt idx="2519">
                  <c:v>20.653634800366792</c:v>
                </c:pt>
                <c:pt idx="2520">
                  <c:v>20.590359389834354</c:v>
                </c:pt>
                <c:pt idx="2521">
                  <c:v>20.311238023854095</c:v>
                </c:pt>
                <c:pt idx="2522">
                  <c:v>20.03846206031773</c:v>
                </c:pt>
                <c:pt idx="2523">
                  <c:v>19.901723985067388</c:v>
                </c:pt>
                <c:pt idx="2524">
                  <c:v>20.58190771296988</c:v>
                </c:pt>
                <c:pt idx="2525">
                  <c:v>19.695793730712218</c:v>
                </c:pt>
                <c:pt idx="2526">
                  <c:v>19.682477485089848</c:v>
                </c:pt>
                <c:pt idx="2527">
                  <c:v>20.228234779854727</c:v>
                </c:pt>
                <c:pt idx="2528">
                  <c:v>20.356013721161975</c:v>
                </c:pt>
                <c:pt idx="2529">
                  <c:v>20.324671186206825</c:v>
                </c:pt>
                <c:pt idx="2530">
                  <c:v>20.932810410514058</c:v>
                </c:pt>
                <c:pt idx="2531">
                  <c:v>21.269238103421806</c:v>
                </c:pt>
                <c:pt idx="2532">
                  <c:v>21.379307028898964</c:v>
                </c:pt>
                <c:pt idx="2533">
                  <c:v>22.720433164789586</c:v>
                </c:pt>
                <c:pt idx="2534">
                  <c:v>22.189356630522898</c:v>
                </c:pt>
                <c:pt idx="2535">
                  <c:v>21.770667711498291</c:v>
                </c:pt>
                <c:pt idx="2536">
                  <c:v>21.716938692866915</c:v>
                </c:pt>
                <c:pt idx="2537">
                  <c:v>21.276050938013242</c:v>
                </c:pt>
                <c:pt idx="2538">
                  <c:v>21.201401636108915</c:v>
                </c:pt>
                <c:pt idx="2539">
                  <c:v>20.439282810649001</c:v>
                </c:pt>
                <c:pt idx="2540">
                  <c:v>20.30127247215534</c:v>
                </c:pt>
                <c:pt idx="2541">
                  <c:v>20.300974380820492</c:v>
                </c:pt>
                <c:pt idx="2542">
                  <c:v>19.550281275143625</c:v>
                </c:pt>
                <c:pt idx="2543">
                  <c:v>19.685229153040289</c:v>
                </c:pt>
                <c:pt idx="2544">
                  <c:v>20.367161652968267</c:v>
                </c:pt>
                <c:pt idx="2545">
                  <c:v>19.819775341040405</c:v>
                </c:pt>
                <c:pt idx="2546">
                  <c:v>19.768486346503405</c:v>
                </c:pt>
                <c:pt idx="2547">
                  <c:v>19.887473674980086</c:v>
                </c:pt>
                <c:pt idx="2548">
                  <c:v>19.846594699150071</c:v>
                </c:pt>
                <c:pt idx="2549">
                  <c:v>19.906422846214294</c:v>
                </c:pt>
                <c:pt idx="2550">
                  <c:v>19.801645371932821</c:v>
                </c:pt>
                <c:pt idx="2551">
                  <c:v>19.44159919494744</c:v>
                </c:pt>
                <c:pt idx="2552">
                  <c:v>19.260907327560304</c:v>
                </c:pt>
                <c:pt idx="2553">
                  <c:v>18.770586094768543</c:v>
                </c:pt>
                <c:pt idx="2554">
                  <c:v>18.817519040854869</c:v>
                </c:pt>
                <c:pt idx="2555">
                  <c:v>19.987731642016126</c:v>
                </c:pt>
                <c:pt idx="2556">
                  <c:v>20.093290759756631</c:v>
                </c:pt>
                <c:pt idx="2557">
                  <c:v>21.040372720579654</c:v>
                </c:pt>
                <c:pt idx="2558">
                  <c:v>21.927491509264311</c:v>
                </c:pt>
                <c:pt idx="2559">
                  <c:v>21.607143605278743</c:v>
                </c:pt>
                <c:pt idx="2560">
                  <c:v>21.574258903637677</c:v>
                </c:pt>
                <c:pt idx="2561">
                  <c:v>21.493592946679676</c:v>
                </c:pt>
                <c:pt idx="2562">
                  <c:v>21.564525651050655</c:v>
                </c:pt>
                <c:pt idx="2563">
                  <c:v>20.379670647199198</c:v>
                </c:pt>
                <c:pt idx="2564">
                  <c:v>20.255703440660461</c:v>
                </c:pt>
                <c:pt idx="2565">
                  <c:v>20.936976424276224</c:v>
                </c:pt>
                <c:pt idx="2566">
                  <c:v>21.007041117999531</c:v>
                </c:pt>
                <c:pt idx="2567">
                  <c:v>20.894311018204416</c:v>
                </c:pt>
                <c:pt idx="2568">
                  <c:v>23.393771923560688</c:v>
                </c:pt>
                <c:pt idx="2569">
                  <c:v>23.393771923560688</c:v>
                </c:pt>
                <c:pt idx="2570">
                  <c:v>23.364529708656239</c:v>
                </c:pt>
                <c:pt idx="2571">
                  <c:v>21.893256909102291</c:v>
                </c:pt>
                <c:pt idx="2572">
                  <c:v>21.865890337965915</c:v>
                </c:pt>
                <c:pt idx="2573">
                  <c:v>21.838557975043457</c:v>
                </c:pt>
                <c:pt idx="2574">
                  <c:v>21.838557975043457</c:v>
                </c:pt>
                <c:pt idx="2575">
                  <c:v>21.838557975043457</c:v>
                </c:pt>
                <c:pt idx="2576">
                  <c:v>21.838557975043457</c:v>
                </c:pt>
                <c:pt idx="2577">
                  <c:v>21.838557975043457</c:v>
                </c:pt>
                <c:pt idx="2578">
                  <c:v>21.775590745733197</c:v>
                </c:pt>
                <c:pt idx="2579">
                  <c:v>21.610028078025667</c:v>
                </c:pt>
                <c:pt idx="2580">
                  <c:v>20.421273749857352</c:v>
                </c:pt>
                <c:pt idx="2581">
                  <c:v>20.420992622630251</c:v>
                </c:pt>
                <c:pt idx="2582">
                  <c:v>20.163260218335083</c:v>
                </c:pt>
                <c:pt idx="2583">
                  <c:v>20.159258398471419</c:v>
                </c:pt>
                <c:pt idx="2584">
                  <c:v>20.106203191682479</c:v>
                </c:pt>
                <c:pt idx="2585">
                  <c:v>20.190582137566317</c:v>
                </c:pt>
                <c:pt idx="2586">
                  <c:v>20.603190229405499</c:v>
                </c:pt>
                <c:pt idx="2587">
                  <c:v>20.919213686314095</c:v>
                </c:pt>
                <c:pt idx="2588">
                  <c:v>20.964038429699094</c:v>
                </c:pt>
                <c:pt idx="2589">
                  <c:v>21.079623581414673</c:v>
                </c:pt>
                <c:pt idx="2590">
                  <c:v>21.039759955183857</c:v>
                </c:pt>
                <c:pt idx="2591">
                  <c:v>21.048879516114951</c:v>
                </c:pt>
                <c:pt idx="2592">
                  <c:v>21.013756773747126</c:v>
                </c:pt>
                <c:pt idx="2593">
                  <c:v>21.081731954844486</c:v>
                </c:pt>
                <c:pt idx="2594">
                  <c:v>21.016617112892579</c:v>
                </c:pt>
                <c:pt idx="2595">
                  <c:v>21.093322774539818</c:v>
                </c:pt>
                <c:pt idx="2596">
                  <c:v>21.021484529337023</c:v>
                </c:pt>
                <c:pt idx="2597">
                  <c:v>21.090728512699204</c:v>
                </c:pt>
                <c:pt idx="2598">
                  <c:v>21.082700905949945</c:v>
                </c:pt>
                <c:pt idx="2599">
                  <c:v>20.914866999795699</c:v>
                </c:pt>
                <c:pt idx="2600">
                  <c:v>20.965407000272897</c:v>
                </c:pt>
                <c:pt idx="2601">
                  <c:v>20.917749850233051</c:v>
                </c:pt>
                <c:pt idx="2602">
                  <c:v>20.920672293751476</c:v>
                </c:pt>
                <c:pt idx="2603">
                  <c:v>20.878546080270976</c:v>
                </c:pt>
                <c:pt idx="2604">
                  <c:v>20.867793265266943</c:v>
                </c:pt>
                <c:pt idx="2605">
                  <c:v>20.488154322875118</c:v>
                </c:pt>
                <c:pt idx="2606">
                  <c:v>20.488154322875118</c:v>
                </c:pt>
                <c:pt idx="2607">
                  <c:v>20.462544129971526</c:v>
                </c:pt>
                <c:pt idx="2608">
                  <c:v>20.462544129971526</c:v>
                </c:pt>
                <c:pt idx="2609">
                  <c:v>20.462544129971526</c:v>
                </c:pt>
                <c:pt idx="2610">
                  <c:v>20.462544129971526</c:v>
                </c:pt>
                <c:pt idx="2611">
                  <c:v>20.462544129971526</c:v>
                </c:pt>
                <c:pt idx="2612">
                  <c:v>20.462544129971526</c:v>
                </c:pt>
                <c:pt idx="2613">
                  <c:v>20.462544129971526</c:v>
                </c:pt>
                <c:pt idx="2614">
                  <c:v>20.462544129971526</c:v>
                </c:pt>
                <c:pt idx="2615">
                  <c:v>20.462544129971526</c:v>
                </c:pt>
                <c:pt idx="2616">
                  <c:v>20.462544129971526</c:v>
                </c:pt>
                <c:pt idx="2617">
                  <c:v>20.462544129971526</c:v>
                </c:pt>
                <c:pt idx="2618">
                  <c:v>20.462544129971526</c:v>
                </c:pt>
                <c:pt idx="2619">
                  <c:v>20.462544129971526</c:v>
                </c:pt>
                <c:pt idx="2620">
                  <c:v>20.462544129971526</c:v>
                </c:pt>
                <c:pt idx="2621">
                  <c:v>20.462544129971526</c:v>
                </c:pt>
                <c:pt idx="2622">
                  <c:v>20.462544129971526</c:v>
                </c:pt>
                <c:pt idx="2623">
                  <c:v>20.462544129971526</c:v>
                </c:pt>
                <c:pt idx="2624">
                  <c:v>20.462544129971526</c:v>
                </c:pt>
                <c:pt idx="2625">
                  <c:v>20.462544129971526</c:v>
                </c:pt>
                <c:pt idx="2626">
                  <c:v>20.462544129971526</c:v>
                </c:pt>
                <c:pt idx="2627">
                  <c:v>20.462544129971526</c:v>
                </c:pt>
                <c:pt idx="2628">
                  <c:v>20.462544129971526</c:v>
                </c:pt>
                <c:pt idx="2629">
                  <c:v>20.462544129971526</c:v>
                </c:pt>
                <c:pt idx="2630">
                  <c:v>20.462544129971526</c:v>
                </c:pt>
                <c:pt idx="2631">
                  <c:v>20.462544129971526</c:v>
                </c:pt>
                <c:pt idx="2632">
                  <c:v>20.462544129971526</c:v>
                </c:pt>
                <c:pt idx="2633">
                  <c:v>20.462544129971526</c:v>
                </c:pt>
                <c:pt idx="2634">
                  <c:v>20.462544129971526</c:v>
                </c:pt>
                <c:pt idx="2635">
                  <c:v>20.462544129971526</c:v>
                </c:pt>
                <c:pt idx="2636">
                  <c:v>20.462544129971526</c:v>
                </c:pt>
                <c:pt idx="2637">
                  <c:v>20.462544129971526</c:v>
                </c:pt>
                <c:pt idx="2638">
                  <c:v>20.462544129971526</c:v>
                </c:pt>
                <c:pt idx="2639">
                  <c:v>20.462544129971526</c:v>
                </c:pt>
                <c:pt idx="2640">
                  <c:v>20.462544129971526</c:v>
                </c:pt>
                <c:pt idx="2641">
                  <c:v>20.462544129971526</c:v>
                </c:pt>
                <c:pt idx="2642">
                  <c:v>20.462544129971526</c:v>
                </c:pt>
                <c:pt idx="2643">
                  <c:v>20.462544129971526</c:v>
                </c:pt>
                <c:pt idx="2644">
                  <c:v>20.462544129971526</c:v>
                </c:pt>
                <c:pt idx="2645">
                  <c:v>20.462544129971526</c:v>
                </c:pt>
                <c:pt idx="2646">
                  <c:v>20.462544129971526</c:v>
                </c:pt>
                <c:pt idx="2647">
                  <c:v>21.651737895408456</c:v>
                </c:pt>
                <c:pt idx="2648">
                  <c:v>21.624673223039196</c:v>
                </c:pt>
                <c:pt idx="2649">
                  <c:v>21.597642381510397</c:v>
                </c:pt>
                <c:pt idx="2650">
                  <c:v>21.522177392513619</c:v>
                </c:pt>
                <c:pt idx="2651">
                  <c:v>21.495274670772979</c:v>
                </c:pt>
                <c:pt idx="2652">
                  <c:v>21.468405577434513</c:v>
                </c:pt>
                <c:pt idx="2653">
                  <c:v>21.468405577434513</c:v>
                </c:pt>
                <c:pt idx="2654">
                  <c:v>21.530907362650666</c:v>
                </c:pt>
                <c:pt idx="2655">
                  <c:v>21.503993728447352</c:v>
                </c:pt>
                <c:pt idx="2656">
                  <c:v>21.477113736286793</c:v>
                </c:pt>
                <c:pt idx="2657">
                  <c:v>21.462691606106873</c:v>
                </c:pt>
                <c:pt idx="2658">
                  <c:v>21.43586324159924</c:v>
                </c:pt>
                <c:pt idx="2659">
                  <c:v>21.409068412547242</c:v>
                </c:pt>
                <c:pt idx="2660">
                  <c:v>21.469944705028094</c:v>
                </c:pt>
                <c:pt idx="2661">
                  <c:v>21.696925292122369</c:v>
                </c:pt>
                <c:pt idx="2662">
                  <c:v>21.696925292122369</c:v>
                </c:pt>
                <c:pt idx="2663">
                  <c:v>21.669804135507217</c:v>
                </c:pt>
                <c:pt idx="2664">
                  <c:v>21.669804135507217</c:v>
                </c:pt>
                <c:pt idx="2665">
                  <c:v>21.669804135507217</c:v>
                </c:pt>
                <c:pt idx="2666">
                  <c:v>21.669804135507217</c:v>
                </c:pt>
                <c:pt idx="2667">
                  <c:v>21.669804135507217</c:v>
                </c:pt>
                <c:pt idx="2668">
                  <c:v>21.669804135507217</c:v>
                </c:pt>
                <c:pt idx="2669">
                  <c:v>21.669804135507217</c:v>
                </c:pt>
                <c:pt idx="2670">
                  <c:v>21.669804135507217</c:v>
                </c:pt>
                <c:pt idx="2671">
                  <c:v>21.669804135507217</c:v>
                </c:pt>
                <c:pt idx="2672">
                  <c:v>21.669804135507217</c:v>
                </c:pt>
                <c:pt idx="2673">
                  <c:v>21.669804135507217</c:v>
                </c:pt>
                <c:pt idx="2674">
                  <c:v>21.669804135507217</c:v>
                </c:pt>
                <c:pt idx="2675">
                  <c:v>21.669804135507217</c:v>
                </c:pt>
                <c:pt idx="2676">
                  <c:v>21.669804135507217</c:v>
                </c:pt>
                <c:pt idx="2677">
                  <c:v>21.669804135507217</c:v>
                </c:pt>
                <c:pt idx="2678">
                  <c:v>21.669804135507217</c:v>
                </c:pt>
                <c:pt idx="2679">
                  <c:v>21.669804135507217</c:v>
                </c:pt>
                <c:pt idx="2680">
                  <c:v>21.669804135507217</c:v>
                </c:pt>
                <c:pt idx="2681">
                  <c:v>21.669804135507217</c:v>
                </c:pt>
                <c:pt idx="2682">
                  <c:v>21.669804135507217</c:v>
                </c:pt>
                <c:pt idx="2683">
                  <c:v>21.669804135507217</c:v>
                </c:pt>
                <c:pt idx="2684">
                  <c:v>21.669804135507217</c:v>
                </c:pt>
                <c:pt idx="2685">
                  <c:v>21.669804135507217</c:v>
                </c:pt>
                <c:pt idx="2686">
                  <c:v>21.669804135507217</c:v>
                </c:pt>
                <c:pt idx="2687">
                  <c:v>21.669804135507217</c:v>
                </c:pt>
                <c:pt idx="2688">
                  <c:v>21.669804135507217</c:v>
                </c:pt>
                <c:pt idx="2689">
                  <c:v>21.669804135507217</c:v>
                </c:pt>
                <c:pt idx="2690">
                  <c:v>21.669804135507217</c:v>
                </c:pt>
                <c:pt idx="2691">
                  <c:v>21.669804135507217</c:v>
                </c:pt>
                <c:pt idx="2692">
                  <c:v>21.669804135507217</c:v>
                </c:pt>
                <c:pt idx="2693">
                  <c:v>21.669804135507217</c:v>
                </c:pt>
                <c:pt idx="2694">
                  <c:v>21.669804135507217</c:v>
                </c:pt>
                <c:pt idx="2695">
                  <c:v>21.669804135507217</c:v>
                </c:pt>
                <c:pt idx="2696">
                  <c:v>21.669804135507217</c:v>
                </c:pt>
                <c:pt idx="2697">
                  <c:v>21.669804135507217</c:v>
                </c:pt>
                <c:pt idx="2698">
                  <c:v>21.669804135507217</c:v>
                </c:pt>
                <c:pt idx="2699">
                  <c:v>21.669804135507217</c:v>
                </c:pt>
                <c:pt idx="2700">
                  <c:v>21.669804135507217</c:v>
                </c:pt>
                <c:pt idx="2701">
                  <c:v>21.669804135507217</c:v>
                </c:pt>
                <c:pt idx="2702">
                  <c:v>21.669804135507217</c:v>
                </c:pt>
                <c:pt idx="2703">
                  <c:v>21.669804135507217</c:v>
                </c:pt>
                <c:pt idx="2704">
                  <c:v>21.669804135507217</c:v>
                </c:pt>
                <c:pt idx="2705">
                  <c:v>21.669804135507217</c:v>
                </c:pt>
                <c:pt idx="2706">
                  <c:v>21.669804135507217</c:v>
                </c:pt>
                <c:pt idx="2707">
                  <c:v>21.669804135507217</c:v>
                </c:pt>
                <c:pt idx="2708">
                  <c:v>21.669804135507217</c:v>
                </c:pt>
                <c:pt idx="2709">
                  <c:v>21.669804135507217</c:v>
                </c:pt>
                <c:pt idx="2710">
                  <c:v>21.669804135507217</c:v>
                </c:pt>
                <c:pt idx="2711">
                  <c:v>21.669804135507217</c:v>
                </c:pt>
                <c:pt idx="2712">
                  <c:v>21.669804135507217</c:v>
                </c:pt>
                <c:pt idx="2713">
                  <c:v>21.669804135507217</c:v>
                </c:pt>
                <c:pt idx="2714">
                  <c:v>21.669804135507217</c:v>
                </c:pt>
                <c:pt idx="2715">
                  <c:v>21.669804135507217</c:v>
                </c:pt>
                <c:pt idx="2716">
                  <c:v>21.669804135507217</c:v>
                </c:pt>
                <c:pt idx="2717">
                  <c:v>21.669804135507217</c:v>
                </c:pt>
                <c:pt idx="2718">
                  <c:v>21.669804135507217</c:v>
                </c:pt>
                <c:pt idx="2719">
                  <c:v>21.669804135507217</c:v>
                </c:pt>
                <c:pt idx="2720">
                  <c:v>21.669804135507217</c:v>
                </c:pt>
                <c:pt idx="2721">
                  <c:v>21.669804135507217</c:v>
                </c:pt>
                <c:pt idx="2722">
                  <c:v>21.669804135507217</c:v>
                </c:pt>
                <c:pt idx="2723">
                  <c:v>21.669804135507217</c:v>
                </c:pt>
                <c:pt idx="2724">
                  <c:v>21.669804135507217</c:v>
                </c:pt>
                <c:pt idx="2725">
                  <c:v>21.669804135507217</c:v>
                </c:pt>
                <c:pt idx="2726">
                  <c:v>21.669804135507217</c:v>
                </c:pt>
                <c:pt idx="2727">
                  <c:v>21.669804135507217</c:v>
                </c:pt>
                <c:pt idx="2728">
                  <c:v>21.669804135507217</c:v>
                </c:pt>
                <c:pt idx="2729">
                  <c:v>21.669804135507217</c:v>
                </c:pt>
                <c:pt idx="2730">
                  <c:v>21.669804135507217</c:v>
                </c:pt>
                <c:pt idx="2731">
                  <c:v>21.669804135507217</c:v>
                </c:pt>
                <c:pt idx="2732">
                  <c:v>21.669804135507217</c:v>
                </c:pt>
              </c:numCache>
            </c:numRef>
          </c:val>
          <c:smooth val="0"/>
          <c:extLst xmlns:c16r2="http://schemas.microsoft.com/office/drawing/2015/06/chart">
            <c:ext xmlns:c16="http://schemas.microsoft.com/office/drawing/2014/chart" uri="{C3380CC4-5D6E-409C-BE32-E72D297353CC}">
              <c16:uniqueId val="{00000004-97CC-4024-B73E-64F79F873D55}"/>
            </c:ext>
          </c:extLst>
        </c:ser>
        <c:dLbls>
          <c:showLegendKey val="0"/>
          <c:showVal val="0"/>
          <c:showCatName val="0"/>
          <c:showSerName val="0"/>
          <c:showPercent val="0"/>
          <c:showBubbleSize val="0"/>
        </c:dLbls>
        <c:marker val="1"/>
        <c:smooth val="0"/>
        <c:axId val="559551232"/>
        <c:axId val="559552768"/>
      </c:lineChart>
      <c:dateAx>
        <c:axId val="559551232"/>
        <c:scaling>
          <c:orientation val="minMax"/>
        </c:scaling>
        <c:delete val="0"/>
        <c:axPos val="b"/>
        <c:numFmt formatCode="m/d/yyyy" sourceLinked="1"/>
        <c:majorTickMark val="none"/>
        <c:minorTickMark val="none"/>
        <c:tickLblPos val="nextTo"/>
        <c:crossAx val="559552768"/>
        <c:crosses val="autoZero"/>
        <c:auto val="1"/>
        <c:lblOffset val="100"/>
        <c:baseTimeUnit val="days"/>
      </c:dateAx>
      <c:valAx>
        <c:axId val="559552768"/>
        <c:scaling>
          <c:orientation val="minMax"/>
        </c:scaling>
        <c:delete val="0"/>
        <c:axPos val="l"/>
        <c:majorGridlines/>
        <c:numFmt formatCode="General" sourceLinked="1"/>
        <c:majorTickMark val="none"/>
        <c:minorTickMark val="none"/>
        <c:tickLblPos val="nextTo"/>
        <c:spPr>
          <a:ln w="9525">
            <a:noFill/>
          </a:ln>
        </c:spPr>
        <c:crossAx val="559551232"/>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Implied correlation</a:t>
            </a:r>
          </a:p>
        </c:rich>
      </c:tx>
      <c:layout/>
      <c:overlay val="0"/>
    </c:title>
    <c:autoTitleDeleted val="0"/>
    <c:plotArea>
      <c:layout/>
      <c:lineChart>
        <c:grouping val="standard"/>
        <c:varyColors val="0"/>
        <c:ser>
          <c:idx val="0"/>
          <c:order val="0"/>
          <c:tx>
            <c:strRef>
              <c:f>Sheet1!$AY$6</c:f>
              <c:strCache>
                <c:ptCount val="1"/>
                <c:pt idx="0">
                  <c:v>JCJ Index</c:v>
                </c:pt>
              </c:strCache>
            </c:strRef>
          </c:tx>
          <c:marker>
            <c:symbol val="none"/>
          </c:marker>
          <c:cat>
            <c:numRef>
              <c:f>Sheet1!$AX$1221:$AX$1584</c:f>
              <c:numCache>
                <c:formatCode>m/d/yyyy</c:formatCode>
                <c:ptCount val="364"/>
                <c:pt idx="0">
                  <c:v>41969</c:v>
                </c:pt>
                <c:pt idx="1">
                  <c:v>41971</c:v>
                </c:pt>
                <c:pt idx="2">
                  <c:v>41974</c:v>
                </c:pt>
                <c:pt idx="3">
                  <c:v>41975</c:v>
                </c:pt>
                <c:pt idx="4">
                  <c:v>41976</c:v>
                </c:pt>
                <c:pt idx="5">
                  <c:v>41977</c:v>
                </c:pt>
                <c:pt idx="6">
                  <c:v>41978</c:v>
                </c:pt>
                <c:pt idx="7">
                  <c:v>41981</c:v>
                </c:pt>
                <c:pt idx="8">
                  <c:v>41982</c:v>
                </c:pt>
                <c:pt idx="9">
                  <c:v>41983</c:v>
                </c:pt>
                <c:pt idx="10">
                  <c:v>41984</c:v>
                </c:pt>
                <c:pt idx="11">
                  <c:v>41985</c:v>
                </c:pt>
                <c:pt idx="12">
                  <c:v>41988</c:v>
                </c:pt>
                <c:pt idx="13">
                  <c:v>41989</c:v>
                </c:pt>
                <c:pt idx="14">
                  <c:v>41990</c:v>
                </c:pt>
                <c:pt idx="15">
                  <c:v>41991</c:v>
                </c:pt>
                <c:pt idx="16">
                  <c:v>41992</c:v>
                </c:pt>
                <c:pt idx="17">
                  <c:v>41995</c:v>
                </c:pt>
                <c:pt idx="18">
                  <c:v>41996</c:v>
                </c:pt>
                <c:pt idx="19">
                  <c:v>41997</c:v>
                </c:pt>
                <c:pt idx="20">
                  <c:v>41999</c:v>
                </c:pt>
                <c:pt idx="21">
                  <c:v>42002</c:v>
                </c:pt>
                <c:pt idx="22">
                  <c:v>42003</c:v>
                </c:pt>
                <c:pt idx="23">
                  <c:v>42004</c:v>
                </c:pt>
                <c:pt idx="24">
                  <c:v>42006</c:v>
                </c:pt>
                <c:pt idx="25">
                  <c:v>42009</c:v>
                </c:pt>
                <c:pt idx="26">
                  <c:v>42010</c:v>
                </c:pt>
                <c:pt idx="27">
                  <c:v>42011</c:v>
                </c:pt>
                <c:pt idx="28">
                  <c:v>42012</c:v>
                </c:pt>
                <c:pt idx="29">
                  <c:v>42013</c:v>
                </c:pt>
                <c:pt idx="30">
                  <c:v>42016</c:v>
                </c:pt>
                <c:pt idx="31">
                  <c:v>42017</c:v>
                </c:pt>
                <c:pt idx="32">
                  <c:v>42018</c:v>
                </c:pt>
                <c:pt idx="33">
                  <c:v>42019</c:v>
                </c:pt>
                <c:pt idx="34">
                  <c:v>42020</c:v>
                </c:pt>
                <c:pt idx="35">
                  <c:v>42024</c:v>
                </c:pt>
                <c:pt idx="36">
                  <c:v>42025</c:v>
                </c:pt>
                <c:pt idx="37">
                  <c:v>42026</c:v>
                </c:pt>
                <c:pt idx="38">
                  <c:v>42027</c:v>
                </c:pt>
                <c:pt idx="39">
                  <c:v>42030</c:v>
                </c:pt>
                <c:pt idx="40">
                  <c:v>42031</c:v>
                </c:pt>
                <c:pt idx="41">
                  <c:v>42032</c:v>
                </c:pt>
                <c:pt idx="42">
                  <c:v>42033</c:v>
                </c:pt>
                <c:pt idx="43">
                  <c:v>42034</c:v>
                </c:pt>
                <c:pt idx="44">
                  <c:v>42037</c:v>
                </c:pt>
                <c:pt idx="45">
                  <c:v>42038</c:v>
                </c:pt>
                <c:pt idx="46">
                  <c:v>42039</c:v>
                </c:pt>
                <c:pt idx="47">
                  <c:v>42040</c:v>
                </c:pt>
                <c:pt idx="48">
                  <c:v>42041</c:v>
                </c:pt>
                <c:pt idx="49">
                  <c:v>42044</c:v>
                </c:pt>
                <c:pt idx="50">
                  <c:v>42045</c:v>
                </c:pt>
                <c:pt idx="51">
                  <c:v>42046</c:v>
                </c:pt>
                <c:pt idx="52">
                  <c:v>42047</c:v>
                </c:pt>
                <c:pt idx="53">
                  <c:v>42048</c:v>
                </c:pt>
                <c:pt idx="54">
                  <c:v>42052</c:v>
                </c:pt>
                <c:pt idx="55">
                  <c:v>42053</c:v>
                </c:pt>
                <c:pt idx="56">
                  <c:v>42054</c:v>
                </c:pt>
                <c:pt idx="57">
                  <c:v>42055</c:v>
                </c:pt>
                <c:pt idx="58">
                  <c:v>42058</c:v>
                </c:pt>
                <c:pt idx="59">
                  <c:v>42059</c:v>
                </c:pt>
                <c:pt idx="60">
                  <c:v>42060</c:v>
                </c:pt>
                <c:pt idx="61">
                  <c:v>42061</c:v>
                </c:pt>
                <c:pt idx="62">
                  <c:v>42062</c:v>
                </c:pt>
                <c:pt idx="63">
                  <c:v>42065</c:v>
                </c:pt>
                <c:pt idx="64">
                  <c:v>42066</c:v>
                </c:pt>
                <c:pt idx="65">
                  <c:v>42067</c:v>
                </c:pt>
                <c:pt idx="66">
                  <c:v>42068</c:v>
                </c:pt>
                <c:pt idx="67">
                  <c:v>42069</c:v>
                </c:pt>
                <c:pt idx="68">
                  <c:v>42072</c:v>
                </c:pt>
                <c:pt idx="69">
                  <c:v>42073</c:v>
                </c:pt>
                <c:pt idx="70">
                  <c:v>42074</c:v>
                </c:pt>
                <c:pt idx="71">
                  <c:v>42075</c:v>
                </c:pt>
                <c:pt idx="72">
                  <c:v>42076</c:v>
                </c:pt>
                <c:pt idx="73">
                  <c:v>42079</c:v>
                </c:pt>
                <c:pt idx="74">
                  <c:v>42080</c:v>
                </c:pt>
                <c:pt idx="75">
                  <c:v>42081</c:v>
                </c:pt>
                <c:pt idx="76">
                  <c:v>42082</c:v>
                </c:pt>
                <c:pt idx="77">
                  <c:v>42083</c:v>
                </c:pt>
                <c:pt idx="78">
                  <c:v>42086</c:v>
                </c:pt>
                <c:pt idx="79">
                  <c:v>42087</c:v>
                </c:pt>
                <c:pt idx="80">
                  <c:v>42088</c:v>
                </c:pt>
                <c:pt idx="81">
                  <c:v>42089</c:v>
                </c:pt>
                <c:pt idx="82">
                  <c:v>42090</c:v>
                </c:pt>
                <c:pt idx="83">
                  <c:v>42093</c:v>
                </c:pt>
                <c:pt idx="84">
                  <c:v>42094</c:v>
                </c:pt>
                <c:pt idx="85">
                  <c:v>42095</c:v>
                </c:pt>
                <c:pt idx="86">
                  <c:v>42096</c:v>
                </c:pt>
                <c:pt idx="87">
                  <c:v>42100</c:v>
                </c:pt>
                <c:pt idx="88">
                  <c:v>42101</c:v>
                </c:pt>
                <c:pt idx="89">
                  <c:v>42102</c:v>
                </c:pt>
                <c:pt idx="90">
                  <c:v>42103</c:v>
                </c:pt>
                <c:pt idx="91">
                  <c:v>42104</c:v>
                </c:pt>
                <c:pt idx="92">
                  <c:v>42107</c:v>
                </c:pt>
                <c:pt idx="93">
                  <c:v>42108</c:v>
                </c:pt>
                <c:pt idx="94">
                  <c:v>42109</c:v>
                </c:pt>
                <c:pt idx="95">
                  <c:v>42110</c:v>
                </c:pt>
                <c:pt idx="96">
                  <c:v>42111</c:v>
                </c:pt>
                <c:pt idx="97">
                  <c:v>42114</c:v>
                </c:pt>
                <c:pt idx="98">
                  <c:v>42115</c:v>
                </c:pt>
                <c:pt idx="99">
                  <c:v>42116</c:v>
                </c:pt>
                <c:pt idx="100">
                  <c:v>42117</c:v>
                </c:pt>
                <c:pt idx="101">
                  <c:v>42118</c:v>
                </c:pt>
                <c:pt idx="102">
                  <c:v>42121</c:v>
                </c:pt>
                <c:pt idx="103">
                  <c:v>42122</c:v>
                </c:pt>
                <c:pt idx="104">
                  <c:v>42123</c:v>
                </c:pt>
                <c:pt idx="105">
                  <c:v>42124</c:v>
                </c:pt>
                <c:pt idx="106">
                  <c:v>42125</c:v>
                </c:pt>
                <c:pt idx="107">
                  <c:v>42128</c:v>
                </c:pt>
                <c:pt idx="108">
                  <c:v>42129</c:v>
                </c:pt>
                <c:pt idx="109">
                  <c:v>42130</c:v>
                </c:pt>
                <c:pt idx="110">
                  <c:v>42131</c:v>
                </c:pt>
                <c:pt idx="111">
                  <c:v>42132</c:v>
                </c:pt>
                <c:pt idx="112">
                  <c:v>42135</c:v>
                </c:pt>
                <c:pt idx="113">
                  <c:v>42136</c:v>
                </c:pt>
                <c:pt idx="114">
                  <c:v>42137</c:v>
                </c:pt>
                <c:pt idx="115">
                  <c:v>42138</c:v>
                </c:pt>
                <c:pt idx="116">
                  <c:v>42139</c:v>
                </c:pt>
                <c:pt idx="117">
                  <c:v>42142</c:v>
                </c:pt>
                <c:pt idx="118">
                  <c:v>42143</c:v>
                </c:pt>
                <c:pt idx="119">
                  <c:v>42144</c:v>
                </c:pt>
                <c:pt idx="120">
                  <c:v>42145</c:v>
                </c:pt>
                <c:pt idx="121">
                  <c:v>42146</c:v>
                </c:pt>
                <c:pt idx="122">
                  <c:v>42150</c:v>
                </c:pt>
                <c:pt idx="123">
                  <c:v>42151</c:v>
                </c:pt>
                <c:pt idx="124">
                  <c:v>42152</c:v>
                </c:pt>
                <c:pt idx="125">
                  <c:v>42153</c:v>
                </c:pt>
                <c:pt idx="126">
                  <c:v>42156</c:v>
                </c:pt>
                <c:pt idx="127">
                  <c:v>42157</c:v>
                </c:pt>
                <c:pt idx="128">
                  <c:v>42158</c:v>
                </c:pt>
                <c:pt idx="129">
                  <c:v>42159</c:v>
                </c:pt>
                <c:pt idx="130">
                  <c:v>42160</c:v>
                </c:pt>
                <c:pt idx="131">
                  <c:v>42163</c:v>
                </c:pt>
                <c:pt idx="132">
                  <c:v>42164</c:v>
                </c:pt>
                <c:pt idx="133">
                  <c:v>42165</c:v>
                </c:pt>
                <c:pt idx="134">
                  <c:v>42166</c:v>
                </c:pt>
                <c:pt idx="135">
                  <c:v>42167</c:v>
                </c:pt>
                <c:pt idx="136">
                  <c:v>42170</c:v>
                </c:pt>
                <c:pt idx="137">
                  <c:v>42171</c:v>
                </c:pt>
                <c:pt idx="138">
                  <c:v>42172</c:v>
                </c:pt>
                <c:pt idx="139">
                  <c:v>42173</c:v>
                </c:pt>
                <c:pt idx="140">
                  <c:v>42174</c:v>
                </c:pt>
                <c:pt idx="141">
                  <c:v>42177</c:v>
                </c:pt>
                <c:pt idx="142">
                  <c:v>42178</c:v>
                </c:pt>
                <c:pt idx="143">
                  <c:v>42179</c:v>
                </c:pt>
                <c:pt idx="144">
                  <c:v>42180</c:v>
                </c:pt>
                <c:pt idx="145">
                  <c:v>42181</c:v>
                </c:pt>
                <c:pt idx="146">
                  <c:v>42184</c:v>
                </c:pt>
                <c:pt idx="147">
                  <c:v>42185</c:v>
                </c:pt>
                <c:pt idx="148">
                  <c:v>42186</c:v>
                </c:pt>
                <c:pt idx="149">
                  <c:v>42187</c:v>
                </c:pt>
                <c:pt idx="150">
                  <c:v>42191</c:v>
                </c:pt>
                <c:pt idx="151">
                  <c:v>42192</c:v>
                </c:pt>
                <c:pt idx="152">
                  <c:v>42193</c:v>
                </c:pt>
                <c:pt idx="153">
                  <c:v>42194</c:v>
                </c:pt>
                <c:pt idx="154">
                  <c:v>42195</c:v>
                </c:pt>
                <c:pt idx="155">
                  <c:v>42198</c:v>
                </c:pt>
                <c:pt idx="156">
                  <c:v>42199</c:v>
                </c:pt>
                <c:pt idx="157">
                  <c:v>42200</c:v>
                </c:pt>
                <c:pt idx="158">
                  <c:v>42201</c:v>
                </c:pt>
                <c:pt idx="159">
                  <c:v>42202</c:v>
                </c:pt>
                <c:pt idx="160">
                  <c:v>42205</c:v>
                </c:pt>
                <c:pt idx="161">
                  <c:v>42206</c:v>
                </c:pt>
                <c:pt idx="162">
                  <c:v>42207</c:v>
                </c:pt>
                <c:pt idx="163">
                  <c:v>42208</c:v>
                </c:pt>
                <c:pt idx="164">
                  <c:v>42209</c:v>
                </c:pt>
                <c:pt idx="165">
                  <c:v>42212</c:v>
                </c:pt>
                <c:pt idx="166">
                  <c:v>42213</c:v>
                </c:pt>
                <c:pt idx="167">
                  <c:v>42214</c:v>
                </c:pt>
                <c:pt idx="168">
                  <c:v>42215</c:v>
                </c:pt>
                <c:pt idx="169">
                  <c:v>42216</c:v>
                </c:pt>
                <c:pt idx="170">
                  <c:v>42219</c:v>
                </c:pt>
                <c:pt idx="171">
                  <c:v>42220</c:v>
                </c:pt>
                <c:pt idx="172">
                  <c:v>42221</c:v>
                </c:pt>
                <c:pt idx="173">
                  <c:v>42222</c:v>
                </c:pt>
                <c:pt idx="174">
                  <c:v>42223</c:v>
                </c:pt>
                <c:pt idx="175">
                  <c:v>42226</c:v>
                </c:pt>
                <c:pt idx="176">
                  <c:v>42227</c:v>
                </c:pt>
                <c:pt idx="177">
                  <c:v>42228</c:v>
                </c:pt>
                <c:pt idx="178">
                  <c:v>42229</c:v>
                </c:pt>
                <c:pt idx="179">
                  <c:v>42230</c:v>
                </c:pt>
                <c:pt idx="180">
                  <c:v>42233</c:v>
                </c:pt>
                <c:pt idx="181">
                  <c:v>42234</c:v>
                </c:pt>
                <c:pt idx="182">
                  <c:v>42235</c:v>
                </c:pt>
                <c:pt idx="183">
                  <c:v>42236</c:v>
                </c:pt>
                <c:pt idx="184">
                  <c:v>42237</c:v>
                </c:pt>
                <c:pt idx="185">
                  <c:v>42240</c:v>
                </c:pt>
                <c:pt idx="186">
                  <c:v>42241</c:v>
                </c:pt>
                <c:pt idx="187">
                  <c:v>42242</c:v>
                </c:pt>
                <c:pt idx="188">
                  <c:v>42243</c:v>
                </c:pt>
                <c:pt idx="189">
                  <c:v>42244</c:v>
                </c:pt>
                <c:pt idx="190">
                  <c:v>42247</c:v>
                </c:pt>
                <c:pt idx="191">
                  <c:v>42248</c:v>
                </c:pt>
                <c:pt idx="192">
                  <c:v>42249</c:v>
                </c:pt>
                <c:pt idx="193">
                  <c:v>42250</c:v>
                </c:pt>
                <c:pt idx="194">
                  <c:v>42251</c:v>
                </c:pt>
                <c:pt idx="195">
                  <c:v>42255</c:v>
                </c:pt>
                <c:pt idx="196">
                  <c:v>42256</c:v>
                </c:pt>
                <c:pt idx="197">
                  <c:v>42257</c:v>
                </c:pt>
                <c:pt idx="198">
                  <c:v>42258</c:v>
                </c:pt>
                <c:pt idx="199">
                  <c:v>42261</c:v>
                </c:pt>
                <c:pt idx="200">
                  <c:v>42262</c:v>
                </c:pt>
                <c:pt idx="201">
                  <c:v>42263</c:v>
                </c:pt>
                <c:pt idx="202">
                  <c:v>42264</c:v>
                </c:pt>
                <c:pt idx="203">
                  <c:v>42265</c:v>
                </c:pt>
                <c:pt idx="204">
                  <c:v>42268</c:v>
                </c:pt>
                <c:pt idx="205">
                  <c:v>42269</c:v>
                </c:pt>
                <c:pt idx="206">
                  <c:v>42270</c:v>
                </c:pt>
                <c:pt idx="207">
                  <c:v>42271</c:v>
                </c:pt>
                <c:pt idx="208">
                  <c:v>42272</c:v>
                </c:pt>
                <c:pt idx="209">
                  <c:v>42275</c:v>
                </c:pt>
                <c:pt idx="210">
                  <c:v>42276</c:v>
                </c:pt>
                <c:pt idx="211">
                  <c:v>42277</c:v>
                </c:pt>
                <c:pt idx="212">
                  <c:v>42278</c:v>
                </c:pt>
                <c:pt idx="213">
                  <c:v>42279</c:v>
                </c:pt>
                <c:pt idx="214">
                  <c:v>42282</c:v>
                </c:pt>
                <c:pt idx="215">
                  <c:v>42283</c:v>
                </c:pt>
                <c:pt idx="216">
                  <c:v>42284</c:v>
                </c:pt>
                <c:pt idx="217">
                  <c:v>42285</c:v>
                </c:pt>
                <c:pt idx="218">
                  <c:v>42286</c:v>
                </c:pt>
                <c:pt idx="219">
                  <c:v>42289</c:v>
                </c:pt>
                <c:pt idx="220">
                  <c:v>42290</c:v>
                </c:pt>
                <c:pt idx="221">
                  <c:v>42291</c:v>
                </c:pt>
                <c:pt idx="222">
                  <c:v>42292</c:v>
                </c:pt>
                <c:pt idx="223">
                  <c:v>42293</c:v>
                </c:pt>
                <c:pt idx="224">
                  <c:v>42296</c:v>
                </c:pt>
                <c:pt idx="225">
                  <c:v>42297</c:v>
                </c:pt>
                <c:pt idx="226">
                  <c:v>42298</c:v>
                </c:pt>
                <c:pt idx="227">
                  <c:v>42299</c:v>
                </c:pt>
                <c:pt idx="228">
                  <c:v>42300</c:v>
                </c:pt>
                <c:pt idx="229">
                  <c:v>42303</c:v>
                </c:pt>
                <c:pt idx="230">
                  <c:v>42304</c:v>
                </c:pt>
                <c:pt idx="231">
                  <c:v>42305</c:v>
                </c:pt>
                <c:pt idx="232">
                  <c:v>42306</c:v>
                </c:pt>
                <c:pt idx="233">
                  <c:v>42307</c:v>
                </c:pt>
                <c:pt idx="234">
                  <c:v>42310</c:v>
                </c:pt>
                <c:pt idx="235">
                  <c:v>42311</c:v>
                </c:pt>
                <c:pt idx="236">
                  <c:v>42312</c:v>
                </c:pt>
                <c:pt idx="237">
                  <c:v>42313</c:v>
                </c:pt>
                <c:pt idx="238">
                  <c:v>42314</c:v>
                </c:pt>
                <c:pt idx="239">
                  <c:v>42317</c:v>
                </c:pt>
                <c:pt idx="240">
                  <c:v>42318</c:v>
                </c:pt>
                <c:pt idx="241">
                  <c:v>42319</c:v>
                </c:pt>
                <c:pt idx="242">
                  <c:v>42320</c:v>
                </c:pt>
                <c:pt idx="243">
                  <c:v>42321</c:v>
                </c:pt>
                <c:pt idx="244">
                  <c:v>42324</c:v>
                </c:pt>
                <c:pt idx="245">
                  <c:v>42325</c:v>
                </c:pt>
                <c:pt idx="246">
                  <c:v>42326</c:v>
                </c:pt>
                <c:pt idx="247">
                  <c:v>42327</c:v>
                </c:pt>
                <c:pt idx="248">
                  <c:v>42328</c:v>
                </c:pt>
                <c:pt idx="249">
                  <c:v>42331</c:v>
                </c:pt>
                <c:pt idx="250">
                  <c:v>42332</c:v>
                </c:pt>
                <c:pt idx="251">
                  <c:v>42333</c:v>
                </c:pt>
                <c:pt idx="252">
                  <c:v>42335</c:v>
                </c:pt>
                <c:pt idx="253">
                  <c:v>42338</c:v>
                </c:pt>
                <c:pt idx="254">
                  <c:v>42339</c:v>
                </c:pt>
                <c:pt idx="255">
                  <c:v>42340</c:v>
                </c:pt>
                <c:pt idx="256">
                  <c:v>42341</c:v>
                </c:pt>
                <c:pt idx="257">
                  <c:v>42342</c:v>
                </c:pt>
                <c:pt idx="258">
                  <c:v>42345</c:v>
                </c:pt>
                <c:pt idx="259">
                  <c:v>42346</c:v>
                </c:pt>
                <c:pt idx="260">
                  <c:v>42347</c:v>
                </c:pt>
                <c:pt idx="261">
                  <c:v>42348</c:v>
                </c:pt>
                <c:pt idx="262">
                  <c:v>42349</c:v>
                </c:pt>
                <c:pt idx="263">
                  <c:v>42352</c:v>
                </c:pt>
                <c:pt idx="264">
                  <c:v>42353</c:v>
                </c:pt>
                <c:pt idx="265">
                  <c:v>42354</c:v>
                </c:pt>
                <c:pt idx="266">
                  <c:v>42355</c:v>
                </c:pt>
                <c:pt idx="267">
                  <c:v>42356</c:v>
                </c:pt>
                <c:pt idx="268">
                  <c:v>42359</c:v>
                </c:pt>
                <c:pt idx="269">
                  <c:v>42360</c:v>
                </c:pt>
                <c:pt idx="270">
                  <c:v>42361</c:v>
                </c:pt>
                <c:pt idx="271">
                  <c:v>42362</c:v>
                </c:pt>
                <c:pt idx="272">
                  <c:v>42366</c:v>
                </c:pt>
                <c:pt idx="273">
                  <c:v>42367</c:v>
                </c:pt>
                <c:pt idx="274">
                  <c:v>42368</c:v>
                </c:pt>
                <c:pt idx="275">
                  <c:v>42369</c:v>
                </c:pt>
                <c:pt idx="276">
                  <c:v>42373</c:v>
                </c:pt>
                <c:pt idx="277">
                  <c:v>42374</c:v>
                </c:pt>
                <c:pt idx="278">
                  <c:v>42375</c:v>
                </c:pt>
                <c:pt idx="279">
                  <c:v>42376</c:v>
                </c:pt>
                <c:pt idx="280">
                  <c:v>42377</c:v>
                </c:pt>
                <c:pt idx="281">
                  <c:v>42380</c:v>
                </c:pt>
                <c:pt idx="282">
                  <c:v>42381</c:v>
                </c:pt>
                <c:pt idx="283">
                  <c:v>42382</c:v>
                </c:pt>
                <c:pt idx="284">
                  <c:v>42383</c:v>
                </c:pt>
                <c:pt idx="285">
                  <c:v>42384</c:v>
                </c:pt>
                <c:pt idx="286">
                  <c:v>42388</c:v>
                </c:pt>
                <c:pt idx="287">
                  <c:v>42389</c:v>
                </c:pt>
                <c:pt idx="288">
                  <c:v>42390</c:v>
                </c:pt>
                <c:pt idx="289">
                  <c:v>42391</c:v>
                </c:pt>
                <c:pt idx="290">
                  <c:v>42394</c:v>
                </c:pt>
                <c:pt idx="291">
                  <c:v>42395</c:v>
                </c:pt>
                <c:pt idx="292">
                  <c:v>42396</c:v>
                </c:pt>
                <c:pt idx="293">
                  <c:v>42397</c:v>
                </c:pt>
                <c:pt idx="294">
                  <c:v>42398</c:v>
                </c:pt>
                <c:pt idx="295">
                  <c:v>42401</c:v>
                </c:pt>
                <c:pt idx="296">
                  <c:v>42402</c:v>
                </c:pt>
                <c:pt idx="297">
                  <c:v>42403</c:v>
                </c:pt>
                <c:pt idx="298">
                  <c:v>42404</c:v>
                </c:pt>
                <c:pt idx="299">
                  <c:v>42405</c:v>
                </c:pt>
                <c:pt idx="300">
                  <c:v>42408</c:v>
                </c:pt>
                <c:pt idx="301">
                  <c:v>42409</c:v>
                </c:pt>
                <c:pt idx="302">
                  <c:v>42410</c:v>
                </c:pt>
                <c:pt idx="303">
                  <c:v>42411</c:v>
                </c:pt>
                <c:pt idx="304">
                  <c:v>42412</c:v>
                </c:pt>
                <c:pt idx="305">
                  <c:v>42416</c:v>
                </c:pt>
                <c:pt idx="306">
                  <c:v>42417</c:v>
                </c:pt>
                <c:pt idx="307">
                  <c:v>42418</c:v>
                </c:pt>
                <c:pt idx="308">
                  <c:v>42419</c:v>
                </c:pt>
                <c:pt idx="309">
                  <c:v>42422</c:v>
                </c:pt>
                <c:pt idx="310">
                  <c:v>42423</c:v>
                </c:pt>
                <c:pt idx="311">
                  <c:v>42424</c:v>
                </c:pt>
                <c:pt idx="312">
                  <c:v>42425</c:v>
                </c:pt>
                <c:pt idx="313">
                  <c:v>42426</c:v>
                </c:pt>
                <c:pt idx="314">
                  <c:v>42429</c:v>
                </c:pt>
                <c:pt idx="315">
                  <c:v>42430</c:v>
                </c:pt>
                <c:pt idx="316">
                  <c:v>42431</c:v>
                </c:pt>
                <c:pt idx="317">
                  <c:v>42432</c:v>
                </c:pt>
                <c:pt idx="318">
                  <c:v>42433</c:v>
                </c:pt>
                <c:pt idx="319">
                  <c:v>42436</c:v>
                </c:pt>
                <c:pt idx="320">
                  <c:v>42437</c:v>
                </c:pt>
                <c:pt idx="321">
                  <c:v>42438</c:v>
                </c:pt>
                <c:pt idx="322">
                  <c:v>42439</c:v>
                </c:pt>
                <c:pt idx="323">
                  <c:v>42440</c:v>
                </c:pt>
                <c:pt idx="324">
                  <c:v>42443</c:v>
                </c:pt>
                <c:pt idx="325">
                  <c:v>42444</c:v>
                </c:pt>
                <c:pt idx="326">
                  <c:v>42445</c:v>
                </c:pt>
                <c:pt idx="327">
                  <c:v>42446</c:v>
                </c:pt>
                <c:pt idx="328">
                  <c:v>42447</c:v>
                </c:pt>
                <c:pt idx="329">
                  <c:v>42450</c:v>
                </c:pt>
                <c:pt idx="330">
                  <c:v>42451</c:v>
                </c:pt>
                <c:pt idx="331">
                  <c:v>42452</c:v>
                </c:pt>
                <c:pt idx="332">
                  <c:v>42453</c:v>
                </c:pt>
                <c:pt idx="333">
                  <c:v>42457</c:v>
                </c:pt>
                <c:pt idx="334">
                  <c:v>42458</c:v>
                </c:pt>
                <c:pt idx="335">
                  <c:v>42459</c:v>
                </c:pt>
                <c:pt idx="336">
                  <c:v>42460</c:v>
                </c:pt>
                <c:pt idx="337">
                  <c:v>42461</c:v>
                </c:pt>
                <c:pt idx="338">
                  <c:v>42464</c:v>
                </c:pt>
                <c:pt idx="339">
                  <c:v>42465</c:v>
                </c:pt>
                <c:pt idx="340">
                  <c:v>42466</c:v>
                </c:pt>
                <c:pt idx="341">
                  <c:v>42467</c:v>
                </c:pt>
                <c:pt idx="342">
                  <c:v>42468</c:v>
                </c:pt>
                <c:pt idx="343">
                  <c:v>42471</c:v>
                </c:pt>
                <c:pt idx="344">
                  <c:v>42472</c:v>
                </c:pt>
                <c:pt idx="345">
                  <c:v>42473</c:v>
                </c:pt>
                <c:pt idx="346">
                  <c:v>42474</c:v>
                </c:pt>
                <c:pt idx="347">
                  <c:v>42475</c:v>
                </c:pt>
                <c:pt idx="348">
                  <c:v>42478</c:v>
                </c:pt>
                <c:pt idx="349">
                  <c:v>42479</c:v>
                </c:pt>
                <c:pt idx="350">
                  <c:v>42480</c:v>
                </c:pt>
                <c:pt idx="351">
                  <c:v>42481</c:v>
                </c:pt>
                <c:pt idx="352">
                  <c:v>42482</c:v>
                </c:pt>
                <c:pt idx="353">
                  <c:v>42485</c:v>
                </c:pt>
                <c:pt idx="354">
                  <c:v>42486</c:v>
                </c:pt>
                <c:pt idx="355">
                  <c:v>42487</c:v>
                </c:pt>
                <c:pt idx="356">
                  <c:v>42488</c:v>
                </c:pt>
                <c:pt idx="357">
                  <c:v>42489</c:v>
                </c:pt>
                <c:pt idx="358">
                  <c:v>42492</c:v>
                </c:pt>
                <c:pt idx="359">
                  <c:v>42493</c:v>
                </c:pt>
                <c:pt idx="360">
                  <c:v>42494</c:v>
                </c:pt>
                <c:pt idx="361">
                  <c:v>42495</c:v>
                </c:pt>
                <c:pt idx="362">
                  <c:v>42496</c:v>
                </c:pt>
                <c:pt idx="363">
                  <c:v>42499</c:v>
                </c:pt>
              </c:numCache>
            </c:numRef>
          </c:cat>
          <c:val>
            <c:numRef>
              <c:f>Sheet1!$AY$1221:$AY$1584</c:f>
              <c:numCache>
                <c:formatCode>General</c:formatCode>
                <c:ptCount val="364"/>
                <c:pt idx="0">
                  <c:v>68.37</c:v>
                </c:pt>
                <c:pt idx="1">
                  <c:v>68.53</c:v>
                </c:pt>
                <c:pt idx="2">
                  <c:v>67.650000000000006</c:v>
                </c:pt>
                <c:pt idx="3">
                  <c:v>66.28</c:v>
                </c:pt>
                <c:pt idx="4">
                  <c:v>65.680000000000007</c:v>
                </c:pt>
                <c:pt idx="5">
                  <c:v>65.78</c:v>
                </c:pt>
                <c:pt idx="6">
                  <c:v>64.86</c:v>
                </c:pt>
                <c:pt idx="7">
                  <c:v>66.78</c:v>
                </c:pt>
                <c:pt idx="8">
                  <c:v>66.72</c:v>
                </c:pt>
                <c:pt idx="9">
                  <c:v>67.47</c:v>
                </c:pt>
                <c:pt idx="10">
                  <c:v>71.98</c:v>
                </c:pt>
                <c:pt idx="11">
                  <c:v>71.09</c:v>
                </c:pt>
                <c:pt idx="12">
                  <c:v>67.95</c:v>
                </c:pt>
                <c:pt idx="13">
                  <c:v>72.97</c:v>
                </c:pt>
                <c:pt idx="14">
                  <c:v>63.57</c:v>
                </c:pt>
                <c:pt idx="15">
                  <c:v>64.150000000000006</c:v>
                </c:pt>
                <c:pt idx="16">
                  <c:v>64.239999999999995</c:v>
                </c:pt>
                <c:pt idx="17">
                  <c:v>63.7</c:v>
                </c:pt>
                <c:pt idx="18">
                  <c:v>66.14</c:v>
                </c:pt>
                <c:pt idx="19">
                  <c:v>67.17</c:v>
                </c:pt>
                <c:pt idx="20">
                  <c:v>64.52</c:v>
                </c:pt>
                <c:pt idx="21">
                  <c:v>65.09</c:v>
                </c:pt>
                <c:pt idx="22">
                  <c:v>65.55</c:v>
                </c:pt>
                <c:pt idx="23">
                  <c:v>67.900000000000006</c:v>
                </c:pt>
                <c:pt idx="24">
                  <c:v>65.819999999999993</c:v>
                </c:pt>
                <c:pt idx="25">
                  <c:v>67.83</c:v>
                </c:pt>
                <c:pt idx="26">
                  <c:v>67.290000000000006</c:v>
                </c:pt>
                <c:pt idx="27">
                  <c:v>64.98</c:v>
                </c:pt>
                <c:pt idx="28">
                  <c:v>64.75</c:v>
                </c:pt>
                <c:pt idx="29">
                  <c:v>65.61</c:v>
                </c:pt>
                <c:pt idx="30">
                  <c:v>65.59</c:v>
                </c:pt>
                <c:pt idx="31">
                  <c:v>67.08</c:v>
                </c:pt>
                <c:pt idx="32">
                  <c:v>65.319999999999993</c:v>
                </c:pt>
                <c:pt idx="33">
                  <c:v>66.569999999999993</c:v>
                </c:pt>
                <c:pt idx="34">
                  <c:v>67.239999999999995</c:v>
                </c:pt>
                <c:pt idx="35">
                  <c:v>64.23</c:v>
                </c:pt>
                <c:pt idx="36">
                  <c:v>65.180000000000007</c:v>
                </c:pt>
                <c:pt idx="37">
                  <c:v>64.08</c:v>
                </c:pt>
                <c:pt idx="38">
                  <c:v>64.91</c:v>
                </c:pt>
                <c:pt idx="39">
                  <c:v>65.290000000000006</c:v>
                </c:pt>
                <c:pt idx="40">
                  <c:v>66.3</c:v>
                </c:pt>
                <c:pt idx="41">
                  <c:v>69.59</c:v>
                </c:pt>
                <c:pt idx="42">
                  <c:v>66.510000000000005</c:v>
                </c:pt>
                <c:pt idx="43">
                  <c:v>68.53</c:v>
                </c:pt>
                <c:pt idx="44">
                  <c:v>64.75</c:v>
                </c:pt>
                <c:pt idx="45">
                  <c:v>64.09</c:v>
                </c:pt>
                <c:pt idx="46">
                  <c:v>66.45</c:v>
                </c:pt>
                <c:pt idx="47">
                  <c:v>65.19</c:v>
                </c:pt>
                <c:pt idx="48">
                  <c:v>68.23</c:v>
                </c:pt>
                <c:pt idx="49">
                  <c:v>68.7</c:v>
                </c:pt>
                <c:pt idx="50">
                  <c:v>66.94</c:v>
                </c:pt>
                <c:pt idx="51">
                  <c:v>65.319999999999993</c:v>
                </c:pt>
                <c:pt idx="52">
                  <c:v>63.81</c:v>
                </c:pt>
                <c:pt idx="53">
                  <c:v>63.97</c:v>
                </c:pt>
                <c:pt idx="54">
                  <c:v>63.97</c:v>
                </c:pt>
                <c:pt idx="55">
                  <c:v>63.22</c:v>
                </c:pt>
                <c:pt idx="56">
                  <c:v>63.9</c:v>
                </c:pt>
                <c:pt idx="57">
                  <c:v>61.62</c:v>
                </c:pt>
                <c:pt idx="58">
                  <c:v>61.96</c:v>
                </c:pt>
                <c:pt idx="59">
                  <c:v>60.75</c:v>
                </c:pt>
                <c:pt idx="60">
                  <c:v>60.57</c:v>
                </c:pt>
                <c:pt idx="61">
                  <c:v>60.68</c:v>
                </c:pt>
                <c:pt idx="62">
                  <c:v>60.77</c:v>
                </c:pt>
                <c:pt idx="63">
                  <c:v>58.72</c:v>
                </c:pt>
                <c:pt idx="64">
                  <c:v>59.48</c:v>
                </c:pt>
                <c:pt idx="65">
                  <c:v>58.92</c:v>
                </c:pt>
                <c:pt idx="66">
                  <c:v>57.74</c:v>
                </c:pt>
                <c:pt idx="67">
                  <c:v>60.76</c:v>
                </c:pt>
                <c:pt idx="68">
                  <c:v>59.38</c:v>
                </c:pt>
                <c:pt idx="69">
                  <c:v>61.17</c:v>
                </c:pt>
                <c:pt idx="70">
                  <c:v>62</c:v>
                </c:pt>
                <c:pt idx="71">
                  <c:v>59.33</c:v>
                </c:pt>
                <c:pt idx="72">
                  <c:v>60.26</c:v>
                </c:pt>
                <c:pt idx="73">
                  <c:v>59.35</c:v>
                </c:pt>
                <c:pt idx="74">
                  <c:v>59.3</c:v>
                </c:pt>
                <c:pt idx="75">
                  <c:v>56.96</c:v>
                </c:pt>
                <c:pt idx="76">
                  <c:v>61.06</c:v>
                </c:pt>
                <c:pt idx="77">
                  <c:v>60.24</c:v>
                </c:pt>
                <c:pt idx="78">
                  <c:v>63.57</c:v>
                </c:pt>
                <c:pt idx="79">
                  <c:v>62.94</c:v>
                </c:pt>
                <c:pt idx="80">
                  <c:v>65.11</c:v>
                </c:pt>
                <c:pt idx="81">
                  <c:v>63.71</c:v>
                </c:pt>
                <c:pt idx="82">
                  <c:v>65.45</c:v>
                </c:pt>
                <c:pt idx="83">
                  <c:v>63.71</c:v>
                </c:pt>
                <c:pt idx="84">
                  <c:v>65.61</c:v>
                </c:pt>
                <c:pt idx="85">
                  <c:v>65.180000000000007</c:v>
                </c:pt>
                <c:pt idx="86">
                  <c:v>64.150000000000006</c:v>
                </c:pt>
                <c:pt idx="87">
                  <c:v>63.94</c:v>
                </c:pt>
                <c:pt idx="88">
                  <c:v>64.7</c:v>
                </c:pt>
                <c:pt idx="89">
                  <c:v>64.22</c:v>
                </c:pt>
                <c:pt idx="90">
                  <c:v>63.31</c:v>
                </c:pt>
                <c:pt idx="91">
                  <c:v>62.18</c:v>
                </c:pt>
                <c:pt idx="92">
                  <c:v>64.78</c:v>
                </c:pt>
                <c:pt idx="93">
                  <c:v>65.45</c:v>
                </c:pt>
                <c:pt idx="94">
                  <c:v>66.099999999999994</c:v>
                </c:pt>
                <c:pt idx="95">
                  <c:v>66.87</c:v>
                </c:pt>
                <c:pt idx="96">
                  <c:v>67.14</c:v>
                </c:pt>
                <c:pt idx="97">
                  <c:v>67.819999999999993</c:v>
                </c:pt>
                <c:pt idx="98">
                  <c:v>67.45</c:v>
                </c:pt>
                <c:pt idx="99">
                  <c:v>66.77</c:v>
                </c:pt>
                <c:pt idx="100">
                  <c:v>67.91</c:v>
                </c:pt>
                <c:pt idx="101">
                  <c:v>68.430000000000007</c:v>
                </c:pt>
                <c:pt idx="102">
                  <c:v>67.73</c:v>
                </c:pt>
                <c:pt idx="103">
                  <c:v>67.319999999999993</c:v>
                </c:pt>
                <c:pt idx="104">
                  <c:v>66.790000000000006</c:v>
                </c:pt>
                <c:pt idx="105">
                  <c:v>66.8</c:v>
                </c:pt>
                <c:pt idx="106">
                  <c:v>64.959999999999994</c:v>
                </c:pt>
                <c:pt idx="107">
                  <c:v>64.84</c:v>
                </c:pt>
                <c:pt idx="108">
                  <c:v>67.89</c:v>
                </c:pt>
                <c:pt idx="109">
                  <c:v>66.790000000000006</c:v>
                </c:pt>
                <c:pt idx="110">
                  <c:v>66.099999999999994</c:v>
                </c:pt>
                <c:pt idx="111">
                  <c:v>64.260000000000005</c:v>
                </c:pt>
                <c:pt idx="112">
                  <c:v>65.3</c:v>
                </c:pt>
                <c:pt idx="113">
                  <c:v>64.150000000000006</c:v>
                </c:pt>
                <c:pt idx="114">
                  <c:v>63.48</c:v>
                </c:pt>
                <c:pt idx="115">
                  <c:v>63.66</c:v>
                </c:pt>
                <c:pt idx="116">
                  <c:v>63.85</c:v>
                </c:pt>
                <c:pt idx="117">
                  <c:v>64.760000000000005</c:v>
                </c:pt>
                <c:pt idx="118">
                  <c:v>62.82</c:v>
                </c:pt>
                <c:pt idx="119">
                  <c:v>61.7</c:v>
                </c:pt>
                <c:pt idx="120">
                  <c:v>60.67</c:v>
                </c:pt>
                <c:pt idx="121">
                  <c:v>59.46</c:v>
                </c:pt>
                <c:pt idx="122">
                  <c:v>60.87</c:v>
                </c:pt>
                <c:pt idx="123">
                  <c:v>60.37</c:v>
                </c:pt>
                <c:pt idx="124">
                  <c:v>60</c:v>
                </c:pt>
                <c:pt idx="125">
                  <c:v>61.77</c:v>
                </c:pt>
                <c:pt idx="126">
                  <c:v>61.81</c:v>
                </c:pt>
                <c:pt idx="127">
                  <c:v>61.89</c:v>
                </c:pt>
                <c:pt idx="128">
                  <c:v>62.19</c:v>
                </c:pt>
                <c:pt idx="129">
                  <c:v>63.17</c:v>
                </c:pt>
                <c:pt idx="130">
                  <c:v>63.51</c:v>
                </c:pt>
                <c:pt idx="131">
                  <c:v>64.3</c:v>
                </c:pt>
                <c:pt idx="132">
                  <c:v>62.92</c:v>
                </c:pt>
                <c:pt idx="133">
                  <c:v>60.47</c:v>
                </c:pt>
                <c:pt idx="134">
                  <c:v>60.16</c:v>
                </c:pt>
                <c:pt idx="135">
                  <c:v>61.13</c:v>
                </c:pt>
                <c:pt idx="136">
                  <c:v>62.32</c:v>
                </c:pt>
                <c:pt idx="137">
                  <c:v>62.33</c:v>
                </c:pt>
                <c:pt idx="138">
                  <c:v>62.69</c:v>
                </c:pt>
                <c:pt idx="139">
                  <c:v>62.46</c:v>
                </c:pt>
                <c:pt idx="140">
                  <c:v>63.4</c:v>
                </c:pt>
                <c:pt idx="141">
                  <c:v>62.84</c:v>
                </c:pt>
                <c:pt idx="142">
                  <c:v>61.38</c:v>
                </c:pt>
                <c:pt idx="143">
                  <c:v>62.17</c:v>
                </c:pt>
                <c:pt idx="144">
                  <c:v>61.4</c:v>
                </c:pt>
                <c:pt idx="145">
                  <c:v>60.74</c:v>
                </c:pt>
                <c:pt idx="146">
                  <c:v>63.66</c:v>
                </c:pt>
                <c:pt idx="147">
                  <c:v>62.89</c:v>
                </c:pt>
                <c:pt idx="148">
                  <c:v>60.33</c:v>
                </c:pt>
                <c:pt idx="149">
                  <c:v>61.3</c:v>
                </c:pt>
                <c:pt idx="150">
                  <c:v>61.71</c:v>
                </c:pt>
                <c:pt idx="151">
                  <c:v>58.55</c:v>
                </c:pt>
                <c:pt idx="152">
                  <c:v>61.85</c:v>
                </c:pt>
                <c:pt idx="153">
                  <c:v>63.31</c:v>
                </c:pt>
                <c:pt idx="154">
                  <c:v>59.72</c:v>
                </c:pt>
                <c:pt idx="155">
                  <c:v>58.62</c:v>
                </c:pt>
                <c:pt idx="156">
                  <c:v>59.06</c:v>
                </c:pt>
                <c:pt idx="157">
                  <c:v>60.31</c:v>
                </c:pt>
                <c:pt idx="158">
                  <c:v>59.99</c:v>
                </c:pt>
                <c:pt idx="159">
                  <c:v>58.35</c:v>
                </c:pt>
                <c:pt idx="160">
                  <c:v>58.93</c:v>
                </c:pt>
                <c:pt idx="161">
                  <c:v>59.03</c:v>
                </c:pt>
                <c:pt idx="162">
                  <c:v>58.81</c:v>
                </c:pt>
                <c:pt idx="163">
                  <c:v>60.18</c:v>
                </c:pt>
                <c:pt idx="164">
                  <c:v>59.47</c:v>
                </c:pt>
                <c:pt idx="165">
                  <c:v>61.37</c:v>
                </c:pt>
                <c:pt idx="166">
                  <c:v>59.06</c:v>
                </c:pt>
                <c:pt idx="167">
                  <c:v>58.07</c:v>
                </c:pt>
                <c:pt idx="168">
                  <c:v>57.33</c:v>
                </c:pt>
                <c:pt idx="169">
                  <c:v>57.93</c:v>
                </c:pt>
                <c:pt idx="170">
                  <c:v>57.93</c:v>
                </c:pt>
                <c:pt idx="171">
                  <c:v>56.53</c:v>
                </c:pt>
                <c:pt idx="172">
                  <c:v>55.98</c:v>
                </c:pt>
                <c:pt idx="173">
                  <c:v>56.15</c:v>
                </c:pt>
                <c:pt idx="174">
                  <c:v>54.7</c:v>
                </c:pt>
                <c:pt idx="175">
                  <c:v>53.69</c:v>
                </c:pt>
                <c:pt idx="176">
                  <c:v>55.96</c:v>
                </c:pt>
                <c:pt idx="177">
                  <c:v>55.64</c:v>
                </c:pt>
                <c:pt idx="178">
                  <c:v>56.79</c:v>
                </c:pt>
                <c:pt idx="179">
                  <c:v>55.45</c:v>
                </c:pt>
                <c:pt idx="180">
                  <c:v>54.78</c:v>
                </c:pt>
                <c:pt idx="181">
                  <c:v>56.43</c:v>
                </c:pt>
                <c:pt idx="182">
                  <c:v>57.56</c:v>
                </c:pt>
                <c:pt idx="183">
                  <c:v>57.64</c:v>
                </c:pt>
                <c:pt idx="184">
                  <c:v>57.94</c:v>
                </c:pt>
                <c:pt idx="185">
                  <c:v>55.39</c:v>
                </c:pt>
                <c:pt idx="186">
                  <c:v>57.39</c:v>
                </c:pt>
                <c:pt idx="187">
                  <c:v>54.52</c:v>
                </c:pt>
                <c:pt idx="188">
                  <c:v>56.72</c:v>
                </c:pt>
                <c:pt idx="189">
                  <c:v>60.01</c:v>
                </c:pt>
                <c:pt idx="190">
                  <c:v>64.489999999999995</c:v>
                </c:pt>
                <c:pt idx="191">
                  <c:v>63.33</c:v>
                </c:pt>
                <c:pt idx="192">
                  <c:v>61.47</c:v>
                </c:pt>
                <c:pt idx="193">
                  <c:v>64.38</c:v>
                </c:pt>
                <c:pt idx="194">
                  <c:v>63.97</c:v>
                </c:pt>
                <c:pt idx="195">
                  <c:v>63.41</c:v>
                </c:pt>
                <c:pt idx="196">
                  <c:v>64.75</c:v>
                </c:pt>
                <c:pt idx="197">
                  <c:v>64.790000000000006</c:v>
                </c:pt>
                <c:pt idx="198">
                  <c:v>63.4</c:v>
                </c:pt>
                <c:pt idx="199">
                  <c:v>65.22</c:v>
                </c:pt>
                <c:pt idx="200">
                  <c:v>62.89</c:v>
                </c:pt>
                <c:pt idx="201">
                  <c:v>61.87</c:v>
                </c:pt>
                <c:pt idx="202">
                  <c:v>62.58</c:v>
                </c:pt>
                <c:pt idx="203">
                  <c:v>64.2</c:v>
                </c:pt>
                <c:pt idx="204">
                  <c:v>63.64</c:v>
                </c:pt>
                <c:pt idx="205">
                  <c:v>63.69</c:v>
                </c:pt>
                <c:pt idx="206">
                  <c:v>62.3</c:v>
                </c:pt>
                <c:pt idx="207">
                  <c:v>65.25</c:v>
                </c:pt>
                <c:pt idx="208">
                  <c:v>64.81</c:v>
                </c:pt>
                <c:pt idx="209">
                  <c:v>66.66</c:v>
                </c:pt>
                <c:pt idx="210">
                  <c:v>63.67</c:v>
                </c:pt>
                <c:pt idx="211">
                  <c:v>65.3</c:v>
                </c:pt>
                <c:pt idx="212">
                  <c:v>62.19</c:v>
                </c:pt>
                <c:pt idx="213">
                  <c:v>61.39</c:v>
                </c:pt>
                <c:pt idx="214">
                  <c:v>60.28</c:v>
                </c:pt>
                <c:pt idx="215">
                  <c:v>61.63</c:v>
                </c:pt>
                <c:pt idx="216">
                  <c:v>60.41</c:v>
                </c:pt>
                <c:pt idx="217">
                  <c:v>59.32</c:v>
                </c:pt>
                <c:pt idx="218">
                  <c:v>60.68</c:v>
                </c:pt>
                <c:pt idx="219">
                  <c:v>60.07</c:v>
                </c:pt>
                <c:pt idx="220">
                  <c:v>63.63</c:v>
                </c:pt>
                <c:pt idx="221">
                  <c:v>65.040000000000006</c:v>
                </c:pt>
                <c:pt idx="222">
                  <c:v>61.33</c:v>
                </c:pt>
                <c:pt idx="223">
                  <c:v>61.34</c:v>
                </c:pt>
                <c:pt idx="224">
                  <c:v>59.76</c:v>
                </c:pt>
                <c:pt idx="225">
                  <c:v>62.33</c:v>
                </c:pt>
                <c:pt idx="226">
                  <c:v>62.3</c:v>
                </c:pt>
                <c:pt idx="227">
                  <c:v>59.82</c:v>
                </c:pt>
                <c:pt idx="228">
                  <c:v>59.93</c:v>
                </c:pt>
                <c:pt idx="229">
                  <c:v>58.44</c:v>
                </c:pt>
                <c:pt idx="230">
                  <c:v>59.25</c:v>
                </c:pt>
                <c:pt idx="231">
                  <c:v>57.5</c:v>
                </c:pt>
                <c:pt idx="232">
                  <c:v>58.49</c:v>
                </c:pt>
                <c:pt idx="233">
                  <c:v>58.58</c:v>
                </c:pt>
                <c:pt idx="234">
                  <c:v>56.23</c:v>
                </c:pt>
                <c:pt idx="235">
                  <c:v>55.63</c:v>
                </c:pt>
                <c:pt idx="236">
                  <c:v>57.52</c:v>
                </c:pt>
                <c:pt idx="237">
                  <c:v>57.28</c:v>
                </c:pt>
                <c:pt idx="238">
                  <c:v>56.01</c:v>
                </c:pt>
                <c:pt idx="239">
                  <c:v>56.79</c:v>
                </c:pt>
                <c:pt idx="240">
                  <c:v>54.3</c:v>
                </c:pt>
                <c:pt idx="241">
                  <c:v>56.25</c:v>
                </c:pt>
                <c:pt idx="242">
                  <c:v>57.74</c:v>
                </c:pt>
                <c:pt idx="243">
                  <c:v>59.98</c:v>
                </c:pt>
                <c:pt idx="244">
                  <c:v>57.88</c:v>
                </c:pt>
                <c:pt idx="245">
                  <c:v>56.68</c:v>
                </c:pt>
                <c:pt idx="246">
                  <c:v>54.75</c:v>
                </c:pt>
                <c:pt idx="247">
                  <c:v>57.79</c:v>
                </c:pt>
                <c:pt idx="248">
                  <c:v>56.17</c:v>
                </c:pt>
                <c:pt idx="249">
                  <c:v>57.16</c:v>
                </c:pt>
                <c:pt idx="250">
                  <c:v>57.16</c:v>
                </c:pt>
                <c:pt idx="251">
                  <c:v>57.48</c:v>
                </c:pt>
                <c:pt idx="252">
                  <c:v>56.83</c:v>
                </c:pt>
                <c:pt idx="253">
                  <c:v>57.83</c:v>
                </c:pt>
                <c:pt idx="254">
                  <c:v>55.43</c:v>
                </c:pt>
                <c:pt idx="255">
                  <c:v>57.03</c:v>
                </c:pt>
                <c:pt idx="256">
                  <c:v>57.78</c:v>
                </c:pt>
                <c:pt idx="257">
                  <c:v>55.73</c:v>
                </c:pt>
                <c:pt idx="258">
                  <c:v>56.17</c:v>
                </c:pt>
                <c:pt idx="259">
                  <c:v>58.09</c:v>
                </c:pt>
                <c:pt idx="260">
                  <c:v>59.17</c:v>
                </c:pt>
                <c:pt idx="261">
                  <c:v>59.41</c:v>
                </c:pt>
                <c:pt idx="262">
                  <c:v>61.08</c:v>
                </c:pt>
                <c:pt idx="263">
                  <c:v>58.65</c:v>
                </c:pt>
                <c:pt idx="264">
                  <c:v>57.99</c:v>
                </c:pt>
                <c:pt idx="265">
                  <c:v>56.82</c:v>
                </c:pt>
                <c:pt idx="266">
                  <c:v>61.73</c:v>
                </c:pt>
                <c:pt idx="267">
                  <c:v>61.08</c:v>
                </c:pt>
                <c:pt idx="268">
                  <c:v>60.45</c:v>
                </c:pt>
                <c:pt idx="269">
                  <c:v>58.07</c:v>
                </c:pt>
                <c:pt idx="270">
                  <c:v>58.05</c:v>
                </c:pt>
                <c:pt idx="271">
                  <c:v>58.92</c:v>
                </c:pt>
                <c:pt idx="272">
                  <c:v>57.57</c:v>
                </c:pt>
                <c:pt idx="273">
                  <c:v>56.99</c:v>
                </c:pt>
                <c:pt idx="274">
                  <c:v>58.95</c:v>
                </c:pt>
                <c:pt idx="275">
                  <c:v>59.01</c:v>
                </c:pt>
                <c:pt idx="276">
                  <c:v>60.8</c:v>
                </c:pt>
                <c:pt idx="277">
                  <c:v>59.56</c:v>
                </c:pt>
                <c:pt idx="278">
                  <c:v>60.08</c:v>
                </c:pt>
                <c:pt idx="279">
                  <c:v>62.17</c:v>
                </c:pt>
                <c:pt idx="280">
                  <c:v>64.42</c:v>
                </c:pt>
                <c:pt idx="281">
                  <c:v>62.32</c:v>
                </c:pt>
                <c:pt idx="282">
                  <c:v>61.24</c:v>
                </c:pt>
                <c:pt idx="283">
                  <c:v>64.099999999999994</c:v>
                </c:pt>
                <c:pt idx="284">
                  <c:v>61.23</c:v>
                </c:pt>
                <c:pt idx="285">
                  <c:v>62.73</c:v>
                </c:pt>
                <c:pt idx="286">
                  <c:v>64.099999999999994</c:v>
                </c:pt>
                <c:pt idx="287">
                  <c:v>62.21</c:v>
                </c:pt>
                <c:pt idx="288">
                  <c:v>64.569999999999993</c:v>
                </c:pt>
                <c:pt idx="289">
                  <c:v>63.77</c:v>
                </c:pt>
                <c:pt idx="290">
                  <c:v>64.25</c:v>
                </c:pt>
                <c:pt idx="291">
                  <c:v>62.87</c:v>
                </c:pt>
                <c:pt idx="292">
                  <c:v>64.98</c:v>
                </c:pt>
                <c:pt idx="293">
                  <c:v>62.87</c:v>
                </c:pt>
                <c:pt idx="294">
                  <c:v>59.69</c:v>
                </c:pt>
                <c:pt idx="295">
                  <c:v>61.07</c:v>
                </c:pt>
                <c:pt idx="296">
                  <c:v>61.58</c:v>
                </c:pt>
                <c:pt idx="297">
                  <c:v>60.43</c:v>
                </c:pt>
                <c:pt idx="298">
                  <c:v>63.1</c:v>
                </c:pt>
                <c:pt idx="299">
                  <c:v>62.95</c:v>
                </c:pt>
                <c:pt idx="300">
                  <c:v>63.43</c:v>
                </c:pt>
                <c:pt idx="301">
                  <c:v>63.58</c:v>
                </c:pt>
                <c:pt idx="302">
                  <c:v>64.239999999999995</c:v>
                </c:pt>
                <c:pt idx="303">
                  <c:v>64.44</c:v>
                </c:pt>
                <c:pt idx="304">
                  <c:v>65.38</c:v>
                </c:pt>
                <c:pt idx="305">
                  <c:v>63.96</c:v>
                </c:pt>
                <c:pt idx="306">
                  <c:v>64.290000000000006</c:v>
                </c:pt>
                <c:pt idx="307">
                  <c:v>62.59</c:v>
                </c:pt>
                <c:pt idx="308">
                  <c:v>62.26</c:v>
                </c:pt>
                <c:pt idx="309">
                  <c:v>61.29</c:v>
                </c:pt>
                <c:pt idx="310">
                  <c:v>63.26</c:v>
                </c:pt>
                <c:pt idx="311">
                  <c:v>62.36</c:v>
                </c:pt>
                <c:pt idx="312">
                  <c:v>59.17</c:v>
                </c:pt>
                <c:pt idx="313">
                  <c:v>60.48</c:v>
                </c:pt>
                <c:pt idx="314">
                  <c:v>61.47</c:v>
                </c:pt>
                <c:pt idx="315">
                  <c:v>57.8</c:v>
                </c:pt>
                <c:pt idx="316">
                  <c:v>57.26</c:v>
                </c:pt>
                <c:pt idx="317">
                  <c:v>57.12</c:v>
                </c:pt>
                <c:pt idx="318">
                  <c:v>58.18</c:v>
                </c:pt>
                <c:pt idx="319">
                  <c:v>58.19</c:v>
                </c:pt>
                <c:pt idx="320">
                  <c:v>60.5</c:v>
                </c:pt>
                <c:pt idx="321">
                  <c:v>60.15</c:v>
                </c:pt>
                <c:pt idx="322">
                  <c:v>60.09</c:v>
                </c:pt>
                <c:pt idx="323">
                  <c:v>59.39</c:v>
                </c:pt>
                <c:pt idx="324">
                  <c:v>58.7</c:v>
                </c:pt>
                <c:pt idx="325">
                  <c:v>58.95</c:v>
                </c:pt>
                <c:pt idx="326">
                  <c:v>58.13</c:v>
                </c:pt>
                <c:pt idx="327">
                  <c:v>57.82</c:v>
                </c:pt>
                <c:pt idx="328">
                  <c:v>59.13</c:v>
                </c:pt>
                <c:pt idx="329">
                  <c:v>58.38</c:v>
                </c:pt>
                <c:pt idx="330">
                  <c:v>56.9</c:v>
                </c:pt>
                <c:pt idx="331">
                  <c:v>57.02</c:v>
                </c:pt>
                <c:pt idx="332">
                  <c:v>55.86</c:v>
                </c:pt>
                <c:pt idx="333">
                  <c:v>55.7</c:v>
                </c:pt>
                <c:pt idx="334">
                  <c:v>54.09</c:v>
                </c:pt>
                <c:pt idx="335">
                  <c:v>54.56</c:v>
                </c:pt>
                <c:pt idx="336">
                  <c:v>54.6</c:v>
                </c:pt>
                <c:pt idx="337">
                  <c:v>52.97</c:v>
                </c:pt>
                <c:pt idx="338">
                  <c:v>55.13</c:v>
                </c:pt>
                <c:pt idx="339">
                  <c:v>57.68</c:v>
                </c:pt>
                <c:pt idx="340">
                  <c:v>54.47</c:v>
                </c:pt>
                <c:pt idx="341">
                  <c:v>57.43</c:v>
                </c:pt>
                <c:pt idx="342">
                  <c:v>57.57</c:v>
                </c:pt>
                <c:pt idx="343">
                  <c:v>59.84</c:v>
                </c:pt>
                <c:pt idx="344">
                  <c:v>57.01</c:v>
                </c:pt>
                <c:pt idx="345">
                  <c:v>55.8</c:v>
                </c:pt>
                <c:pt idx="346">
                  <c:v>56.63</c:v>
                </c:pt>
                <c:pt idx="347">
                  <c:v>55.61</c:v>
                </c:pt>
                <c:pt idx="348">
                  <c:v>54.96</c:v>
                </c:pt>
                <c:pt idx="349">
                  <c:v>54.77</c:v>
                </c:pt>
                <c:pt idx="350">
                  <c:v>55.44</c:v>
                </c:pt>
                <c:pt idx="351">
                  <c:v>56.23</c:v>
                </c:pt>
                <c:pt idx="352">
                  <c:v>54.98</c:v>
                </c:pt>
                <c:pt idx="353">
                  <c:v>55.57</c:v>
                </c:pt>
                <c:pt idx="354">
                  <c:v>53.31</c:v>
                </c:pt>
                <c:pt idx="355">
                  <c:v>54.32</c:v>
                </c:pt>
                <c:pt idx="356">
                  <c:v>54.97</c:v>
                </c:pt>
                <c:pt idx="357">
                  <c:v>56.48</c:v>
                </c:pt>
                <c:pt idx="358">
                  <c:v>54.53</c:v>
                </c:pt>
                <c:pt idx="359">
                  <c:v>56.77</c:v>
                </c:pt>
                <c:pt idx="360">
                  <c:v>56.43</c:v>
                </c:pt>
                <c:pt idx="361">
                  <c:v>56.57</c:v>
                </c:pt>
                <c:pt idx="362">
                  <c:v>54.66</c:v>
                </c:pt>
                <c:pt idx="363">
                  <c:v>53.98</c:v>
                </c:pt>
              </c:numCache>
            </c:numRef>
          </c:val>
          <c:smooth val="0"/>
          <c:extLst xmlns:c16r2="http://schemas.microsoft.com/office/drawing/2015/06/chart">
            <c:ext xmlns:c16="http://schemas.microsoft.com/office/drawing/2014/chart" uri="{C3380CC4-5D6E-409C-BE32-E72D297353CC}">
              <c16:uniqueId val="{00000000-A75A-44E0-8687-403A34A28B12}"/>
            </c:ext>
          </c:extLst>
        </c:ser>
        <c:ser>
          <c:idx val="1"/>
          <c:order val="1"/>
          <c:tx>
            <c:strRef>
              <c:f>Sheet1!$AZ$6</c:f>
              <c:strCache>
                <c:ptCount val="1"/>
                <c:pt idx="0">
                  <c:v>Average</c:v>
                </c:pt>
              </c:strCache>
            </c:strRef>
          </c:tx>
          <c:marker>
            <c:symbol val="none"/>
          </c:marker>
          <c:cat>
            <c:numRef>
              <c:f>Sheet1!$AX$1221:$AX$1584</c:f>
              <c:numCache>
                <c:formatCode>m/d/yyyy</c:formatCode>
                <c:ptCount val="364"/>
                <c:pt idx="0">
                  <c:v>41969</c:v>
                </c:pt>
                <c:pt idx="1">
                  <c:v>41971</c:v>
                </c:pt>
                <c:pt idx="2">
                  <c:v>41974</c:v>
                </c:pt>
                <c:pt idx="3">
                  <c:v>41975</c:v>
                </c:pt>
                <c:pt idx="4">
                  <c:v>41976</c:v>
                </c:pt>
                <c:pt idx="5">
                  <c:v>41977</c:v>
                </c:pt>
                <c:pt idx="6">
                  <c:v>41978</c:v>
                </c:pt>
                <c:pt idx="7">
                  <c:v>41981</c:v>
                </c:pt>
                <c:pt idx="8">
                  <c:v>41982</c:v>
                </c:pt>
                <c:pt idx="9">
                  <c:v>41983</c:v>
                </c:pt>
                <c:pt idx="10">
                  <c:v>41984</c:v>
                </c:pt>
                <c:pt idx="11">
                  <c:v>41985</c:v>
                </c:pt>
                <c:pt idx="12">
                  <c:v>41988</c:v>
                </c:pt>
                <c:pt idx="13">
                  <c:v>41989</c:v>
                </c:pt>
                <c:pt idx="14">
                  <c:v>41990</c:v>
                </c:pt>
                <c:pt idx="15">
                  <c:v>41991</c:v>
                </c:pt>
                <c:pt idx="16">
                  <c:v>41992</c:v>
                </c:pt>
                <c:pt idx="17">
                  <c:v>41995</c:v>
                </c:pt>
                <c:pt idx="18">
                  <c:v>41996</c:v>
                </c:pt>
                <c:pt idx="19">
                  <c:v>41997</c:v>
                </c:pt>
                <c:pt idx="20">
                  <c:v>41999</c:v>
                </c:pt>
                <c:pt idx="21">
                  <c:v>42002</c:v>
                </c:pt>
                <c:pt idx="22">
                  <c:v>42003</c:v>
                </c:pt>
                <c:pt idx="23">
                  <c:v>42004</c:v>
                </c:pt>
                <c:pt idx="24">
                  <c:v>42006</c:v>
                </c:pt>
                <c:pt idx="25">
                  <c:v>42009</c:v>
                </c:pt>
                <c:pt idx="26">
                  <c:v>42010</c:v>
                </c:pt>
                <c:pt idx="27">
                  <c:v>42011</c:v>
                </c:pt>
                <c:pt idx="28">
                  <c:v>42012</c:v>
                </c:pt>
                <c:pt idx="29">
                  <c:v>42013</c:v>
                </c:pt>
                <c:pt idx="30">
                  <c:v>42016</c:v>
                </c:pt>
                <c:pt idx="31">
                  <c:v>42017</c:v>
                </c:pt>
                <c:pt idx="32">
                  <c:v>42018</c:v>
                </c:pt>
                <c:pt idx="33">
                  <c:v>42019</c:v>
                </c:pt>
                <c:pt idx="34">
                  <c:v>42020</c:v>
                </c:pt>
                <c:pt idx="35">
                  <c:v>42024</c:v>
                </c:pt>
                <c:pt idx="36">
                  <c:v>42025</c:v>
                </c:pt>
                <c:pt idx="37">
                  <c:v>42026</c:v>
                </c:pt>
                <c:pt idx="38">
                  <c:v>42027</c:v>
                </c:pt>
                <c:pt idx="39">
                  <c:v>42030</c:v>
                </c:pt>
                <c:pt idx="40">
                  <c:v>42031</c:v>
                </c:pt>
                <c:pt idx="41">
                  <c:v>42032</c:v>
                </c:pt>
                <c:pt idx="42">
                  <c:v>42033</c:v>
                </c:pt>
                <c:pt idx="43">
                  <c:v>42034</c:v>
                </c:pt>
                <c:pt idx="44">
                  <c:v>42037</c:v>
                </c:pt>
                <c:pt idx="45">
                  <c:v>42038</c:v>
                </c:pt>
                <c:pt idx="46">
                  <c:v>42039</c:v>
                </c:pt>
                <c:pt idx="47">
                  <c:v>42040</c:v>
                </c:pt>
                <c:pt idx="48">
                  <c:v>42041</c:v>
                </c:pt>
                <c:pt idx="49">
                  <c:v>42044</c:v>
                </c:pt>
                <c:pt idx="50">
                  <c:v>42045</c:v>
                </c:pt>
                <c:pt idx="51">
                  <c:v>42046</c:v>
                </c:pt>
                <c:pt idx="52">
                  <c:v>42047</c:v>
                </c:pt>
                <c:pt idx="53">
                  <c:v>42048</c:v>
                </c:pt>
                <c:pt idx="54">
                  <c:v>42052</c:v>
                </c:pt>
                <c:pt idx="55">
                  <c:v>42053</c:v>
                </c:pt>
                <c:pt idx="56">
                  <c:v>42054</c:v>
                </c:pt>
                <c:pt idx="57">
                  <c:v>42055</c:v>
                </c:pt>
                <c:pt idx="58">
                  <c:v>42058</c:v>
                </c:pt>
                <c:pt idx="59">
                  <c:v>42059</c:v>
                </c:pt>
                <c:pt idx="60">
                  <c:v>42060</c:v>
                </c:pt>
                <c:pt idx="61">
                  <c:v>42061</c:v>
                </c:pt>
                <c:pt idx="62">
                  <c:v>42062</c:v>
                </c:pt>
                <c:pt idx="63">
                  <c:v>42065</c:v>
                </c:pt>
                <c:pt idx="64">
                  <c:v>42066</c:v>
                </c:pt>
                <c:pt idx="65">
                  <c:v>42067</c:v>
                </c:pt>
                <c:pt idx="66">
                  <c:v>42068</c:v>
                </c:pt>
                <c:pt idx="67">
                  <c:v>42069</c:v>
                </c:pt>
                <c:pt idx="68">
                  <c:v>42072</c:v>
                </c:pt>
                <c:pt idx="69">
                  <c:v>42073</c:v>
                </c:pt>
                <c:pt idx="70">
                  <c:v>42074</c:v>
                </c:pt>
                <c:pt idx="71">
                  <c:v>42075</c:v>
                </c:pt>
                <c:pt idx="72">
                  <c:v>42076</c:v>
                </c:pt>
                <c:pt idx="73">
                  <c:v>42079</c:v>
                </c:pt>
                <c:pt idx="74">
                  <c:v>42080</c:v>
                </c:pt>
                <c:pt idx="75">
                  <c:v>42081</c:v>
                </c:pt>
                <c:pt idx="76">
                  <c:v>42082</c:v>
                </c:pt>
                <c:pt idx="77">
                  <c:v>42083</c:v>
                </c:pt>
                <c:pt idx="78">
                  <c:v>42086</c:v>
                </c:pt>
                <c:pt idx="79">
                  <c:v>42087</c:v>
                </c:pt>
                <c:pt idx="80">
                  <c:v>42088</c:v>
                </c:pt>
                <c:pt idx="81">
                  <c:v>42089</c:v>
                </c:pt>
                <c:pt idx="82">
                  <c:v>42090</c:v>
                </c:pt>
                <c:pt idx="83">
                  <c:v>42093</c:v>
                </c:pt>
                <c:pt idx="84">
                  <c:v>42094</c:v>
                </c:pt>
                <c:pt idx="85">
                  <c:v>42095</c:v>
                </c:pt>
                <c:pt idx="86">
                  <c:v>42096</c:v>
                </c:pt>
                <c:pt idx="87">
                  <c:v>42100</c:v>
                </c:pt>
                <c:pt idx="88">
                  <c:v>42101</c:v>
                </c:pt>
                <c:pt idx="89">
                  <c:v>42102</c:v>
                </c:pt>
                <c:pt idx="90">
                  <c:v>42103</c:v>
                </c:pt>
                <c:pt idx="91">
                  <c:v>42104</c:v>
                </c:pt>
                <c:pt idx="92">
                  <c:v>42107</c:v>
                </c:pt>
                <c:pt idx="93">
                  <c:v>42108</c:v>
                </c:pt>
                <c:pt idx="94">
                  <c:v>42109</c:v>
                </c:pt>
                <c:pt idx="95">
                  <c:v>42110</c:v>
                </c:pt>
                <c:pt idx="96">
                  <c:v>42111</c:v>
                </c:pt>
                <c:pt idx="97">
                  <c:v>42114</c:v>
                </c:pt>
                <c:pt idx="98">
                  <c:v>42115</c:v>
                </c:pt>
                <c:pt idx="99">
                  <c:v>42116</c:v>
                </c:pt>
                <c:pt idx="100">
                  <c:v>42117</c:v>
                </c:pt>
                <c:pt idx="101">
                  <c:v>42118</c:v>
                </c:pt>
                <c:pt idx="102">
                  <c:v>42121</c:v>
                </c:pt>
                <c:pt idx="103">
                  <c:v>42122</c:v>
                </c:pt>
                <c:pt idx="104">
                  <c:v>42123</c:v>
                </c:pt>
                <c:pt idx="105">
                  <c:v>42124</c:v>
                </c:pt>
                <c:pt idx="106">
                  <c:v>42125</c:v>
                </c:pt>
                <c:pt idx="107">
                  <c:v>42128</c:v>
                </c:pt>
                <c:pt idx="108">
                  <c:v>42129</c:v>
                </c:pt>
                <c:pt idx="109">
                  <c:v>42130</c:v>
                </c:pt>
                <c:pt idx="110">
                  <c:v>42131</c:v>
                </c:pt>
                <c:pt idx="111">
                  <c:v>42132</c:v>
                </c:pt>
                <c:pt idx="112">
                  <c:v>42135</c:v>
                </c:pt>
                <c:pt idx="113">
                  <c:v>42136</c:v>
                </c:pt>
                <c:pt idx="114">
                  <c:v>42137</c:v>
                </c:pt>
                <c:pt idx="115">
                  <c:v>42138</c:v>
                </c:pt>
                <c:pt idx="116">
                  <c:v>42139</c:v>
                </c:pt>
                <c:pt idx="117">
                  <c:v>42142</c:v>
                </c:pt>
                <c:pt idx="118">
                  <c:v>42143</c:v>
                </c:pt>
                <c:pt idx="119">
                  <c:v>42144</c:v>
                </c:pt>
                <c:pt idx="120">
                  <c:v>42145</c:v>
                </c:pt>
                <c:pt idx="121">
                  <c:v>42146</c:v>
                </c:pt>
                <c:pt idx="122">
                  <c:v>42150</c:v>
                </c:pt>
                <c:pt idx="123">
                  <c:v>42151</c:v>
                </c:pt>
                <c:pt idx="124">
                  <c:v>42152</c:v>
                </c:pt>
                <c:pt idx="125">
                  <c:v>42153</c:v>
                </c:pt>
                <c:pt idx="126">
                  <c:v>42156</c:v>
                </c:pt>
                <c:pt idx="127">
                  <c:v>42157</c:v>
                </c:pt>
                <c:pt idx="128">
                  <c:v>42158</c:v>
                </c:pt>
                <c:pt idx="129">
                  <c:v>42159</c:v>
                </c:pt>
                <c:pt idx="130">
                  <c:v>42160</c:v>
                </c:pt>
                <c:pt idx="131">
                  <c:v>42163</c:v>
                </c:pt>
                <c:pt idx="132">
                  <c:v>42164</c:v>
                </c:pt>
                <c:pt idx="133">
                  <c:v>42165</c:v>
                </c:pt>
                <c:pt idx="134">
                  <c:v>42166</c:v>
                </c:pt>
                <c:pt idx="135">
                  <c:v>42167</c:v>
                </c:pt>
                <c:pt idx="136">
                  <c:v>42170</c:v>
                </c:pt>
                <c:pt idx="137">
                  <c:v>42171</c:v>
                </c:pt>
                <c:pt idx="138">
                  <c:v>42172</c:v>
                </c:pt>
                <c:pt idx="139">
                  <c:v>42173</c:v>
                </c:pt>
                <c:pt idx="140">
                  <c:v>42174</c:v>
                </c:pt>
                <c:pt idx="141">
                  <c:v>42177</c:v>
                </c:pt>
                <c:pt idx="142">
                  <c:v>42178</c:v>
                </c:pt>
                <c:pt idx="143">
                  <c:v>42179</c:v>
                </c:pt>
                <c:pt idx="144">
                  <c:v>42180</c:v>
                </c:pt>
                <c:pt idx="145">
                  <c:v>42181</c:v>
                </c:pt>
                <c:pt idx="146">
                  <c:v>42184</c:v>
                </c:pt>
                <c:pt idx="147">
                  <c:v>42185</c:v>
                </c:pt>
                <c:pt idx="148">
                  <c:v>42186</c:v>
                </c:pt>
                <c:pt idx="149">
                  <c:v>42187</c:v>
                </c:pt>
                <c:pt idx="150">
                  <c:v>42191</c:v>
                </c:pt>
                <c:pt idx="151">
                  <c:v>42192</c:v>
                </c:pt>
                <c:pt idx="152">
                  <c:v>42193</c:v>
                </c:pt>
                <c:pt idx="153">
                  <c:v>42194</c:v>
                </c:pt>
                <c:pt idx="154">
                  <c:v>42195</c:v>
                </c:pt>
                <c:pt idx="155">
                  <c:v>42198</c:v>
                </c:pt>
                <c:pt idx="156">
                  <c:v>42199</c:v>
                </c:pt>
                <c:pt idx="157">
                  <c:v>42200</c:v>
                </c:pt>
                <c:pt idx="158">
                  <c:v>42201</c:v>
                </c:pt>
                <c:pt idx="159">
                  <c:v>42202</c:v>
                </c:pt>
                <c:pt idx="160">
                  <c:v>42205</c:v>
                </c:pt>
                <c:pt idx="161">
                  <c:v>42206</c:v>
                </c:pt>
                <c:pt idx="162">
                  <c:v>42207</c:v>
                </c:pt>
                <c:pt idx="163">
                  <c:v>42208</c:v>
                </c:pt>
                <c:pt idx="164">
                  <c:v>42209</c:v>
                </c:pt>
                <c:pt idx="165">
                  <c:v>42212</c:v>
                </c:pt>
                <c:pt idx="166">
                  <c:v>42213</c:v>
                </c:pt>
                <c:pt idx="167">
                  <c:v>42214</c:v>
                </c:pt>
                <c:pt idx="168">
                  <c:v>42215</c:v>
                </c:pt>
                <c:pt idx="169">
                  <c:v>42216</c:v>
                </c:pt>
                <c:pt idx="170">
                  <c:v>42219</c:v>
                </c:pt>
                <c:pt idx="171">
                  <c:v>42220</c:v>
                </c:pt>
                <c:pt idx="172">
                  <c:v>42221</c:v>
                </c:pt>
                <c:pt idx="173">
                  <c:v>42222</c:v>
                </c:pt>
                <c:pt idx="174">
                  <c:v>42223</c:v>
                </c:pt>
                <c:pt idx="175">
                  <c:v>42226</c:v>
                </c:pt>
                <c:pt idx="176">
                  <c:v>42227</c:v>
                </c:pt>
                <c:pt idx="177">
                  <c:v>42228</c:v>
                </c:pt>
                <c:pt idx="178">
                  <c:v>42229</c:v>
                </c:pt>
                <c:pt idx="179">
                  <c:v>42230</c:v>
                </c:pt>
                <c:pt idx="180">
                  <c:v>42233</c:v>
                </c:pt>
                <c:pt idx="181">
                  <c:v>42234</c:v>
                </c:pt>
                <c:pt idx="182">
                  <c:v>42235</c:v>
                </c:pt>
                <c:pt idx="183">
                  <c:v>42236</c:v>
                </c:pt>
                <c:pt idx="184">
                  <c:v>42237</c:v>
                </c:pt>
                <c:pt idx="185">
                  <c:v>42240</c:v>
                </c:pt>
                <c:pt idx="186">
                  <c:v>42241</c:v>
                </c:pt>
                <c:pt idx="187">
                  <c:v>42242</c:v>
                </c:pt>
                <c:pt idx="188">
                  <c:v>42243</c:v>
                </c:pt>
                <c:pt idx="189">
                  <c:v>42244</c:v>
                </c:pt>
                <c:pt idx="190">
                  <c:v>42247</c:v>
                </c:pt>
                <c:pt idx="191">
                  <c:v>42248</c:v>
                </c:pt>
                <c:pt idx="192">
                  <c:v>42249</c:v>
                </c:pt>
                <c:pt idx="193">
                  <c:v>42250</c:v>
                </c:pt>
                <c:pt idx="194">
                  <c:v>42251</c:v>
                </c:pt>
                <c:pt idx="195">
                  <c:v>42255</c:v>
                </c:pt>
                <c:pt idx="196">
                  <c:v>42256</c:v>
                </c:pt>
                <c:pt idx="197">
                  <c:v>42257</c:v>
                </c:pt>
                <c:pt idx="198">
                  <c:v>42258</c:v>
                </c:pt>
                <c:pt idx="199">
                  <c:v>42261</c:v>
                </c:pt>
                <c:pt idx="200">
                  <c:v>42262</c:v>
                </c:pt>
                <c:pt idx="201">
                  <c:v>42263</c:v>
                </c:pt>
                <c:pt idx="202">
                  <c:v>42264</c:v>
                </c:pt>
                <c:pt idx="203">
                  <c:v>42265</c:v>
                </c:pt>
                <c:pt idx="204">
                  <c:v>42268</c:v>
                </c:pt>
                <c:pt idx="205">
                  <c:v>42269</c:v>
                </c:pt>
                <c:pt idx="206">
                  <c:v>42270</c:v>
                </c:pt>
                <c:pt idx="207">
                  <c:v>42271</c:v>
                </c:pt>
                <c:pt idx="208">
                  <c:v>42272</c:v>
                </c:pt>
                <c:pt idx="209">
                  <c:v>42275</c:v>
                </c:pt>
                <c:pt idx="210">
                  <c:v>42276</c:v>
                </c:pt>
                <c:pt idx="211">
                  <c:v>42277</c:v>
                </c:pt>
                <c:pt idx="212">
                  <c:v>42278</c:v>
                </c:pt>
                <c:pt idx="213">
                  <c:v>42279</c:v>
                </c:pt>
                <c:pt idx="214">
                  <c:v>42282</c:v>
                </c:pt>
                <c:pt idx="215">
                  <c:v>42283</c:v>
                </c:pt>
                <c:pt idx="216">
                  <c:v>42284</c:v>
                </c:pt>
                <c:pt idx="217">
                  <c:v>42285</c:v>
                </c:pt>
                <c:pt idx="218">
                  <c:v>42286</c:v>
                </c:pt>
                <c:pt idx="219">
                  <c:v>42289</c:v>
                </c:pt>
                <c:pt idx="220">
                  <c:v>42290</c:v>
                </c:pt>
                <c:pt idx="221">
                  <c:v>42291</c:v>
                </c:pt>
                <c:pt idx="222">
                  <c:v>42292</c:v>
                </c:pt>
                <c:pt idx="223">
                  <c:v>42293</c:v>
                </c:pt>
                <c:pt idx="224">
                  <c:v>42296</c:v>
                </c:pt>
                <c:pt idx="225">
                  <c:v>42297</c:v>
                </c:pt>
                <c:pt idx="226">
                  <c:v>42298</c:v>
                </c:pt>
                <c:pt idx="227">
                  <c:v>42299</c:v>
                </c:pt>
                <c:pt idx="228">
                  <c:v>42300</c:v>
                </c:pt>
                <c:pt idx="229">
                  <c:v>42303</c:v>
                </c:pt>
                <c:pt idx="230">
                  <c:v>42304</c:v>
                </c:pt>
                <c:pt idx="231">
                  <c:v>42305</c:v>
                </c:pt>
                <c:pt idx="232">
                  <c:v>42306</c:v>
                </c:pt>
                <c:pt idx="233">
                  <c:v>42307</c:v>
                </c:pt>
                <c:pt idx="234">
                  <c:v>42310</c:v>
                </c:pt>
                <c:pt idx="235">
                  <c:v>42311</c:v>
                </c:pt>
                <c:pt idx="236">
                  <c:v>42312</c:v>
                </c:pt>
                <c:pt idx="237">
                  <c:v>42313</c:v>
                </c:pt>
                <c:pt idx="238">
                  <c:v>42314</c:v>
                </c:pt>
                <c:pt idx="239">
                  <c:v>42317</c:v>
                </c:pt>
                <c:pt idx="240">
                  <c:v>42318</c:v>
                </c:pt>
                <c:pt idx="241">
                  <c:v>42319</c:v>
                </c:pt>
                <c:pt idx="242">
                  <c:v>42320</c:v>
                </c:pt>
                <c:pt idx="243">
                  <c:v>42321</c:v>
                </c:pt>
                <c:pt idx="244">
                  <c:v>42324</c:v>
                </c:pt>
                <c:pt idx="245">
                  <c:v>42325</c:v>
                </c:pt>
                <c:pt idx="246">
                  <c:v>42326</c:v>
                </c:pt>
                <c:pt idx="247">
                  <c:v>42327</c:v>
                </c:pt>
                <c:pt idx="248">
                  <c:v>42328</c:v>
                </c:pt>
                <c:pt idx="249">
                  <c:v>42331</c:v>
                </c:pt>
                <c:pt idx="250">
                  <c:v>42332</c:v>
                </c:pt>
                <c:pt idx="251">
                  <c:v>42333</c:v>
                </c:pt>
                <c:pt idx="252">
                  <c:v>42335</c:v>
                </c:pt>
                <c:pt idx="253">
                  <c:v>42338</c:v>
                </c:pt>
                <c:pt idx="254">
                  <c:v>42339</c:v>
                </c:pt>
                <c:pt idx="255">
                  <c:v>42340</c:v>
                </c:pt>
                <c:pt idx="256">
                  <c:v>42341</c:v>
                </c:pt>
                <c:pt idx="257">
                  <c:v>42342</c:v>
                </c:pt>
                <c:pt idx="258">
                  <c:v>42345</c:v>
                </c:pt>
                <c:pt idx="259">
                  <c:v>42346</c:v>
                </c:pt>
                <c:pt idx="260">
                  <c:v>42347</c:v>
                </c:pt>
                <c:pt idx="261">
                  <c:v>42348</c:v>
                </c:pt>
                <c:pt idx="262">
                  <c:v>42349</c:v>
                </c:pt>
                <c:pt idx="263">
                  <c:v>42352</c:v>
                </c:pt>
                <c:pt idx="264">
                  <c:v>42353</c:v>
                </c:pt>
                <c:pt idx="265">
                  <c:v>42354</c:v>
                </c:pt>
                <c:pt idx="266">
                  <c:v>42355</c:v>
                </c:pt>
                <c:pt idx="267">
                  <c:v>42356</c:v>
                </c:pt>
                <c:pt idx="268">
                  <c:v>42359</c:v>
                </c:pt>
                <c:pt idx="269">
                  <c:v>42360</c:v>
                </c:pt>
                <c:pt idx="270">
                  <c:v>42361</c:v>
                </c:pt>
                <c:pt idx="271">
                  <c:v>42362</c:v>
                </c:pt>
                <c:pt idx="272">
                  <c:v>42366</c:v>
                </c:pt>
                <c:pt idx="273">
                  <c:v>42367</c:v>
                </c:pt>
                <c:pt idx="274">
                  <c:v>42368</c:v>
                </c:pt>
                <c:pt idx="275">
                  <c:v>42369</c:v>
                </c:pt>
                <c:pt idx="276">
                  <c:v>42373</c:v>
                </c:pt>
                <c:pt idx="277">
                  <c:v>42374</c:v>
                </c:pt>
                <c:pt idx="278">
                  <c:v>42375</c:v>
                </c:pt>
                <c:pt idx="279">
                  <c:v>42376</c:v>
                </c:pt>
                <c:pt idx="280">
                  <c:v>42377</c:v>
                </c:pt>
                <c:pt idx="281">
                  <c:v>42380</c:v>
                </c:pt>
                <c:pt idx="282">
                  <c:v>42381</c:v>
                </c:pt>
                <c:pt idx="283">
                  <c:v>42382</c:v>
                </c:pt>
                <c:pt idx="284">
                  <c:v>42383</c:v>
                </c:pt>
                <c:pt idx="285">
                  <c:v>42384</c:v>
                </c:pt>
                <c:pt idx="286">
                  <c:v>42388</c:v>
                </c:pt>
                <c:pt idx="287">
                  <c:v>42389</c:v>
                </c:pt>
                <c:pt idx="288">
                  <c:v>42390</c:v>
                </c:pt>
                <c:pt idx="289">
                  <c:v>42391</c:v>
                </c:pt>
                <c:pt idx="290">
                  <c:v>42394</c:v>
                </c:pt>
                <c:pt idx="291">
                  <c:v>42395</c:v>
                </c:pt>
                <c:pt idx="292">
                  <c:v>42396</c:v>
                </c:pt>
                <c:pt idx="293">
                  <c:v>42397</c:v>
                </c:pt>
                <c:pt idx="294">
                  <c:v>42398</c:v>
                </c:pt>
                <c:pt idx="295">
                  <c:v>42401</c:v>
                </c:pt>
                <c:pt idx="296">
                  <c:v>42402</c:v>
                </c:pt>
                <c:pt idx="297">
                  <c:v>42403</c:v>
                </c:pt>
                <c:pt idx="298">
                  <c:v>42404</c:v>
                </c:pt>
                <c:pt idx="299">
                  <c:v>42405</c:v>
                </c:pt>
                <c:pt idx="300">
                  <c:v>42408</c:v>
                </c:pt>
                <c:pt idx="301">
                  <c:v>42409</c:v>
                </c:pt>
                <c:pt idx="302">
                  <c:v>42410</c:v>
                </c:pt>
                <c:pt idx="303">
                  <c:v>42411</c:v>
                </c:pt>
                <c:pt idx="304">
                  <c:v>42412</c:v>
                </c:pt>
                <c:pt idx="305">
                  <c:v>42416</c:v>
                </c:pt>
                <c:pt idx="306">
                  <c:v>42417</c:v>
                </c:pt>
                <c:pt idx="307">
                  <c:v>42418</c:v>
                </c:pt>
                <c:pt idx="308">
                  <c:v>42419</c:v>
                </c:pt>
                <c:pt idx="309">
                  <c:v>42422</c:v>
                </c:pt>
                <c:pt idx="310">
                  <c:v>42423</c:v>
                </c:pt>
                <c:pt idx="311">
                  <c:v>42424</c:v>
                </c:pt>
                <c:pt idx="312">
                  <c:v>42425</c:v>
                </c:pt>
                <c:pt idx="313">
                  <c:v>42426</c:v>
                </c:pt>
                <c:pt idx="314">
                  <c:v>42429</c:v>
                </c:pt>
                <c:pt idx="315">
                  <c:v>42430</c:v>
                </c:pt>
                <c:pt idx="316">
                  <c:v>42431</c:v>
                </c:pt>
                <c:pt idx="317">
                  <c:v>42432</c:v>
                </c:pt>
                <c:pt idx="318">
                  <c:v>42433</c:v>
                </c:pt>
                <c:pt idx="319">
                  <c:v>42436</c:v>
                </c:pt>
                <c:pt idx="320">
                  <c:v>42437</c:v>
                </c:pt>
                <c:pt idx="321">
                  <c:v>42438</c:v>
                </c:pt>
                <c:pt idx="322">
                  <c:v>42439</c:v>
                </c:pt>
                <c:pt idx="323">
                  <c:v>42440</c:v>
                </c:pt>
                <c:pt idx="324">
                  <c:v>42443</c:v>
                </c:pt>
                <c:pt idx="325">
                  <c:v>42444</c:v>
                </c:pt>
                <c:pt idx="326">
                  <c:v>42445</c:v>
                </c:pt>
                <c:pt idx="327">
                  <c:v>42446</c:v>
                </c:pt>
                <c:pt idx="328">
                  <c:v>42447</c:v>
                </c:pt>
                <c:pt idx="329">
                  <c:v>42450</c:v>
                </c:pt>
                <c:pt idx="330">
                  <c:v>42451</c:v>
                </c:pt>
                <c:pt idx="331">
                  <c:v>42452</c:v>
                </c:pt>
                <c:pt idx="332">
                  <c:v>42453</c:v>
                </c:pt>
                <c:pt idx="333">
                  <c:v>42457</c:v>
                </c:pt>
                <c:pt idx="334">
                  <c:v>42458</c:v>
                </c:pt>
                <c:pt idx="335">
                  <c:v>42459</c:v>
                </c:pt>
                <c:pt idx="336">
                  <c:v>42460</c:v>
                </c:pt>
                <c:pt idx="337">
                  <c:v>42461</c:v>
                </c:pt>
                <c:pt idx="338">
                  <c:v>42464</c:v>
                </c:pt>
                <c:pt idx="339">
                  <c:v>42465</c:v>
                </c:pt>
                <c:pt idx="340">
                  <c:v>42466</c:v>
                </c:pt>
                <c:pt idx="341">
                  <c:v>42467</c:v>
                </c:pt>
                <c:pt idx="342">
                  <c:v>42468</c:v>
                </c:pt>
                <c:pt idx="343">
                  <c:v>42471</c:v>
                </c:pt>
                <c:pt idx="344">
                  <c:v>42472</c:v>
                </c:pt>
                <c:pt idx="345">
                  <c:v>42473</c:v>
                </c:pt>
                <c:pt idx="346">
                  <c:v>42474</c:v>
                </c:pt>
                <c:pt idx="347">
                  <c:v>42475</c:v>
                </c:pt>
                <c:pt idx="348">
                  <c:v>42478</c:v>
                </c:pt>
                <c:pt idx="349">
                  <c:v>42479</c:v>
                </c:pt>
                <c:pt idx="350">
                  <c:v>42480</c:v>
                </c:pt>
                <c:pt idx="351">
                  <c:v>42481</c:v>
                </c:pt>
                <c:pt idx="352">
                  <c:v>42482</c:v>
                </c:pt>
                <c:pt idx="353">
                  <c:v>42485</c:v>
                </c:pt>
                <c:pt idx="354">
                  <c:v>42486</c:v>
                </c:pt>
                <c:pt idx="355">
                  <c:v>42487</c:v>
                </c:pt>
                <c:pt idx="356">
                  <c:v>42488</c:v>
                </c:pt>
                <c:pt idx="357">
                  <c:v>42489</c:v>
                </c:pt>
                <c:pt idx="358">
                  <c:v>42492</c:v>
                </c:pt>
                <c:pt idx="359">
                  <c:v>42493</c:v>
                </c:pt>
                <c:pt idx="360">
                  <c:v>42494</c:v>
                </c:pt>
                <c:pt idx="361">
                  <c:v>42495</c:v>
                </c:pt>
                <c:pt idx="362">
                  <c:v>42496</c:v>
                </c:pt>
                <c:pt idx="363">
                  <c:v>42499</c:v>
                </c:pt>
              </c:numCache>
            </c:numRef>
          </c:cat>
          <c:val>
            <c:numRef>
              <c:f>Sheet1!$AZ$7:$AZ$1584</c:f>
              <c:numCache>
                <c:formatCode>General</c:formatCode>
                <c:ptCount val="1578"/>
                <c:pt idx="0">
                  <c:v>60.89387832699628</c:v>
                </c:pt>
                <c:pt idx="1">
                  <c:v>60.89387832699628</c:v>
                </c:pt>
                <c:pt idx="2">
                  <c:v>60.89387832699628</c:v>
                </c:pt>
                <c:pt idx="3">
                  <c:v>60.89387832699628</c:v>
                </c:pt>
                <c:pt idx="4">
                  <c:v>60.89387832699628</c:v>
                </c:pt>
                <c:pt idx="5">
                  <c:v>60.89387832699628</c:v>
                </c:pt>
                <c:pt idx="6">
                  <c:v>60.89387832699628</c:v>
                </c:pt>
                <c:pt idx="7">
                  <c:v>60.89387832699628</c:v>
                </c:pt>
                <c:pt idx="8">
                  <c:v>60.89387832699628</c:v>
                </c:pt>
                <c:pt idx="9">
                  <c:v>60.89387832699628</c:v>
                </c:pt>
                <c:pt idx="10">
                  <c:v>60.89387832699628</c:v>
                </c:pt>
                <c:pt idx="11">
                  <c:v>60.89387832699628</c:v>
                </c:pt>
                <c:pt idx="12">
                  <c:v>60.89387832699628</c:v>
                </c:pt>
                <c:pt idx="13">
                  <c:v>60.89387832699628</c:v>
                </c:pt>
                <c:pt idx="14">
                  <c:v>60.89387832699628</c:v>
                </c:pt>
                <c:pt idx="15">
                  <c:v>60.89387832699628</c:v>
                </c:pt>
                <c:pt idx="16">
                  <c:v>60.89387832699628</c:v>
                </c:pt>
                <c:pt idx="17">
                  <c:v>60.89387832699628</c:v>
                </c:pt>
                <c:pt idx="18">
                  <c:v>60.89387832699628</c:v>
                </c:pt>
                <c:pt idx="19">
                  <c:v>60.89387832699628</c:v>
                </c:pt>
                <c:pt idx="20">
                  <c:v>60.89387832699628</c:v>
                </c:pt>
                <c:pt idx="21">
                  <c:v>60.89387832699628</c:v>
                </c:pt>
                <c:pt idx="22">
                  <c:v>60.89387832699628</c:v>
                </c:pt>
                <c:pt idx="23">
                  <c:v>60.89387832699628</c:v>
                </c:pt>
                <c:pt idx="24">
                  <c:v>60.89387832699628</c:v>
                </c:pt>
                <c:pt idx="25">
                  <c:v>60.89387832699628</c:v>
                </c:pt>
                <c:pt idx="26">
                  <c:v>60.89387832699628</c:v>
                </c:pt>
                <c:pt idx="27">
                  <c:v>60.89387832699628</c:v>
                </c:pt>
                <c:pt idx="28">
                  <c:v>60.89387832699628</c:v>
                </c:pt>
                <c:pt idx="29">
                  <c:v>60.89387832699628</c:v>
                </c:pt>
                <c:pt idx="30">
                  <c:v>60.89387832699628</c:v>
                </c:pt>
                <c:pt idx="31">
                  <c:v>60.89387832699628</c:v>
                </c:pt>
                <c:pt idx="32">
                  <c:v>60.89387832699628</c:v>
                </c:pt>
                <c:pt idx="33">
                  <c:v>60.89387832699628</c:v>
                </c:pt>
                <c:pt idx="34">
                  <c:v>60.89387832699628</c:v>
                </c:pt>
                <c:pt idx="35">
                  <c:v>60.89387832699628</c:v>
                </c:pt>
                <c:pt idx="36">
                  <c:v>60.89387832699628</c:v>
                </c:pt>
                <c:pt idx="37">
                  <c:v>60.89387832699628</c:v>
                </c:pt>
                <c:pt idx="38">
                  <c:v>60.89387832699628</c:v>
                </c:pt>
                <c:pt idx="39">
                  <c:v>60.89387832699628</c:v>
                </c:pt>
                <c:pt idx="40">
                  <c:v>60.89387832699628</c:v>
                </c:pt>
                <c:pt idx="41">
                  <c:v>60.89387832699628</c:v>
                </c:pt>
                <c:pt idx="42">
                  <c:v>60.89387832699628</c:v>
                </c:pt>
                <c:pt idx="43">
                  <c:v>60.89387832699628</c:v>
                </c:pt>
                <c:pt idx="44">
                  <c:v>60.89387832699628</c:v>
                </c:pt>
                <c:pt idx="45">
                  <c:v>60.89387832699628</c:v>
                </c:pt>
                <c:pt idx="46">
                  <c:v>60.89387832699628</c:v>
                </c:pt>
                <c:pt idx="47">
                  <c:v>60.89387832699628</c:v>
                </c:pt>
                <c:pt idx="48">
                  <c:v>60.89387832699628</c:v>
                </c:pt>
                <c:pt idx="49">
                  <c:v>60.89387832699628</c:v>
                </c:pt>
                <c:pt idx="50">
                  <c:v>60.89387832699628</c:v>
                </c:pt>
                <c:pt idx="51">
                  <c:v>60.89387832699628</c:v>
                </c:pt>
                <c:pt idx="52">
                  <c:v>60.89387832699628</c:v>
                </c:pt>
                <c:pt idx="53">
                  <c:v>60.89387832699628</c:v>
                </c:pt>
                <c:pt idx="54">
                  <c:v>60.89387832699628</c:v>
                </c:pt>
                <c:pt idx="55">
                  <c:v>60.89387832699628</c:v>
                </c:pt>
                <c:pt idx="56">
                  <c:v>60.89387832699628</c:v>
                </c:pt>
                <c:pt idx="57">
                  <c:v>60.89387832699628</c:v>
                </c:pt>
                <c:pt idx="58">
                  <c:v>60.89387832699628</c:v>
                </c:pt>
                <c:pt idx="59">
                  <c:v>60.89387832699628</c:v>
                </c:pt>
                <c:pt idx="60">
                  <c:v>60.89387832699628</c:v>
                </c:pt>
                <c:pt idx="61">
                  <c:v>60.89387832699628</c:v>
                </c:pt>
                <c:pt idx="62">
                  <c:v>60.89387832699628</c:v>
                </c:pt>
                <c:pt idx="63">
                  <c:v>60.89387832699628</c:v>
                </c:pt>
                <c:pt idx="64">
                  <c:v>60.89387832699628</c:v>
                </c:pt>
                <c:pt idx="65">
                  <c:v>60.89387832699628</c:v>
                </c:pt>
                <c:pt idx="66">
                  <c:v>60.89387832699628</c:v>
                </c:pt>
                <c:pt idx="67">
                  <c:v>60.89387832699628</c:v>
                </c:pt>
                <c:pt idx="68">
                  <c:v>60.89387832699628</c:v>
                </c:pt>
                <c:pt idx="69">
                  <c:v>60.89387832699628</c:v>
                </c:pt>
                <c:pt idx="70">
                  <c:v>60.89387832699628</c:v>
                </c:pt>
                <c:pt idx="71">
                  <c:v>60.89387832699628</c:v>
                </c:pt>
                <c:pt idx="72">
                  <c:v>60.89387832699628</c:v>
                </c:pt>
                <c:pt idx="73">
                  <c:v>60.89387832699628</c:v>
                </c:pt>
                <c:pt idx="74">
                  <c:v>60.89387832699628</c:v>
                </c:pt>
                <c:pt idx="75">
                  <c:v>60.89387832699628</c:v>
                </c:pt>
                <c:pt idx="76">
                  <c:v>60.89387832699628</c:v>
                </c:pt>
                <c:pt idx="77">
                  <c:v>60.89387832699628</c:v>
                </c:pt>
                <c:pt idx="78">
                  <c:v>60.89387832699628</c:v>
                </c:pt>
                <c:pt idx="79">
                  <c:v>60.89387832699628</c:v>
                </c:pt>
                <c:pt idx="80">
                  <c:v>60.89387832699628</c:v>
                </c:pt>
                <c:pt idx="81">
                  <c:v>60.89387832699628</c:v>
                </c:pt>
                <c:pt idx="82">
                  <c:v>60.89387832699628</c:v>
                </c:pt>
                <c:pt idx="83">
                  <c:v>60.89387832699628</c:v>
                </c:pt>
                <c:pt idx="84">
                  <c:v>60.89387832699628</c:v>
                </c:pt>
                <c:pt idx="85">
                  <c:v>60.89387832699628</c:v>
                </c:pt>
                <c:pt idx="86">
                  <c:v>60.89387832699628</c:v>
                </c:pt>
                <c:pt idx="87">
                  <c:v>60.89387832699628</c:v>
                </c:pt>
                <c:pt idx="88">
                  <c:v>60.89387832699628</c:v>
                </c:pt>
                <c:pt idx="89">
                  <c:v>60.89387832699628</c:v>
                </c:pt>
                <c:pt idx="90">
                  <c:v>60.89387832699628</c:v>
                </c:pt>
                <c:pt idx="91">
                  <c:v>60.89387832699628</c:v>
                </c:pt>
                <c:pt idx="92">
                  <c:v>60.89387832699628</c:v>
                </c:pt>
                <c:pt idx="93">
                  <c:v>60.89387832699628</c:v>
                </c:pt>
                <c:pt idx="94">
                  <c:v>60.89387832699628</c:v>
                </c:pt>
                <c:pt idx="95">
                  <c:v>60.89387832699628</c:v>
                </c:pt>
                <c:pt idx="96">
                  <c:v>60.89387832699628</c:v>
                </c:pt>
                <c:pt idx="97">
                  <c:v>60.89387832699628</c:v>
                </c:pt>
                <c:pt idx="98">
                  <c:v>60.89387832699628</c:v>
                </c:pt>
                <c:pt idx="99">
                  <c:v>60.89387832699628</c:v>
                </c:pt>
                <c:pt idx="100">
                  <c:v>60.89387832699628</c:v>
                </c:pt>
                <c:pt idx="101">
                  <c:v>60.89387832699628</c:v>
                </c:pt>
                <c:pt idx="102">
                  <c:v>60.89387832699628</c:v>
                </c:pt>
                <c:pt idx="103">
                  <c:v>60.89387832699628</c:v>
                </c:pt>
                <c:pt idx="104">
                  <c:v>60.89387832699628</c:v>
                </c:pt>
                <c:pt idx="105">
                  <c:v>60.89387832699628</c:v>
                </c:pt>
                <c:pt idx="106">
                  <c:v>60.89387832699628</c:v>
                </c:pt>
                <c:pt idx="107">
                  <c:v>60.89387832699628</c:v>
                </c:pt>
                <c:pt idx="108">
                  <c:v>60.89387832699628</c:v>
                </c:pt>
                <c:pt idx="109">
                  <c:v>60.89387832699628</c:v>
                </c:pt>
                <c:pt idx="110">
                  <c:v>60.89387832699628</c:v>
                </c:pt>
                <c:pt idx="111">
                  <c:v>60.89387832699628</c:v>
                </c:pt>
                <c:pt idx="112">
                  <c:v>60.89387832699628</c:v>
                </c:pt>
                <c:pt idx="113">
                  <c:v>60.89387832699628</c:v>
                </c:pt>
                <c:pt idx="114">
                  <c:v>60.89387832699628</c:v>
                </c:pt>
                <c:pt idx="115">
                  <c:v>60.89387832699628</c:v>
                </c:pt>
                <c:pt idx="116">
                  <c:v>60.89387832699628</c:v>
                </c:pt>
                <c:pt idx="117">
                  <c:v>60.89387832699628</c:v>
                </c:pt>
                <c:pt idx="118">
                  <c:v>60.89387832699628</c:v>
                </c:pt>
                <c:pt idx="119">
                  <c:v>60.89387832699628</c:v>
                </c:pt>
                <c:pt idx="120">
                  <c:v>60.89387832699628</c:v>
                </c:pt>
                <c:pt idx="121">
                  <c:v>60.89387832699628</c:v>
                </c:pt>
                <c:pt idx="122">
                  <c:v>60.89387832699628</c:v>
                </c:pt>
                <c:pt idx="123">
                  <c:v>60.89387832699628</c:v>
                </c:pt>
                <c:pt idx="124">
                  <c:v>60.89387832699628</c:v>
                </c:pt>
                <c:pt idx="125">
                  <c:v>60.89387832699628</c:v>
                </c:pt>
                <c:pt idx="126">
                  <c:v>60.89387832699628</c:v>
                </c:pt>
                <c:pt idx="127">
                  <c:v>60.89387832699628</c:v>
                </c:pt>
                <c:pt idx="128">
                  <c:v>60.89387832699628</c:v>
                </c:pt>
                <c:pt idx="129">
                  <c:v>60.89387832699628</c:v>
                </c:pt>
                <c:pt idx="130">
                  <c:v>60.89387832699628</c:v>
                </c:pt>
                <c:pt idx="131">
                  <c:v>60.89387832699628</c:v>
                </c:pt>
                <c:pt idx="132">
                  <c:v>60.89387832699628</c:v>
                </c:pt>
                <c:pt idx="133">
                  <c:v>60.89387832699628</c:v>
                </c:pt>
                <c:pt idx="134">
                  <c:v>60.89387832699628</c:v>
                </c:pt>
                <c:pt idx="135">
                  <c:v>60.89387832699628</c:v>
                </c:pt>
                <c:pt idx="136">
                  <c:v>60.89387832699628</c:v>
                </c:pt>
                <c:pt idx="137">
                  <c:v>60.89387832699628</c:v>
                </c:pt>
                <c:pt idx="138">
                  <c:v>60.89387832699628</c:v>
                </c:pt>
                <c:pt idx="139">
                  <c:v>60.89387832699628</c:v>
                </c:pt>
                <c:pt idx="140">
                  <c:v>60.89387832699628</c:v>
                </c:pt>
                <c:pt idx="141">
                  <c:v>60.89387832699628</c:v>
                </c:pt>
                <c:pt idx="142">
                  <c:v>60.89387832699628</c:v>
                </c:pt>
                <c:pt idx="143">
                  <c:v>60.89387832699628</c:v>
                </c:pt>
                <c:pt idx="144">
                  <c:v>60.89387832699628</c:v>
                </c:pt>
                <c:pt idx="145">
                  <c:v>60.89387832699628</c:v>
                </c:pt>
                <c:pt idx="146">
                  <c:v>60.89387832699628</c:v>
                </c:pt>
                <c:pt idx="147">
                  <c:v>60.89387832699628</c:v>
                </c:pt>
                <c:pt idx="148">
                  <c:v>60.89387832699628</c:v>
                </c:pt>
                <c:pt idx="149">
                  <c:v>60.89387832699628</c:v>
                </c:pt>
                <c:pt idx="150">
                  <c:v>60.89387832699628</c:v>
                </c:pt>
                <c:pt idx="151">
                  <c:v>60.89387832699628</c:v>
                </c:pt>
                <c:pt idx="152">
                  <c:v>60.89387832699628</c:v>
                </c:pt>
                <c:pt idx="153">
                  <c:v>60.89387832699628</c:v>
                </c:pt>
                <c:pt idx="154">
                  <c:v>60.89387832699628</c:v>
                </c:pt>
                <c:pt idx="155">
                  <c:v>60.89387832699628</c:v>
                </c:pt>
                <c:pt idx="156">
                  <c:v>60.89387832699628</c:v>
                </c:pt>
                <c:pt idx="157">
                  <c:v>60.89387832699628</c:v>
                </c:pt>
                <c:pt idx="158">
                  <c:v>60.89387832699628</c:v>
                </c:pt>
                <c:pt idx="159">
                  <c:v>60.89387832699628</c:v>
                </c:pt>
                <c:pt idx="160">
                  <c:v>60.89387832699628</c:v>
                </c:pt>
                <c:pt idx="161">
                  <c:v>60.89387832699628</c:v>
                </c:pt>
                <c:pt idx="162">
                  <c:v>60.89387832699628</c:v>
                </c:pt>
                <c:pt idx="163">
                  <c:v>60.89387832699628</c:v>
                </c:pt>
                <c:pt idx="164">
                  <c:v>60.89387832699628</c:v>
                </c:pt>
                <c:pt idx="165">
                  <c:v>60.89387832699628</c:v>
                </c:pt>
                <c:pt idx="166">
                  <c:v>60.89387832699628</c:v>
                </c:pt>
                <c:pt idx="167">
                  <c:v>60.89387832699628</c:v>
                </c:pt>
                <c:pt idx="168">
                  <c:v>60.89387832699628</c:v>
                </c:pt>
                <c:pt idx="169">
                  <c:v>60.89387832699628</c:v>
                </c:pt>
                <c:pt idx="170">
                  <c:v>60.89387832699628</c:v>
                </c:pt>
                <c:pt idx="171">
                  <c:v>60.89387832699628</c:v>
                </c:pt>
                <c:pt idx="172">
                  <c:v>60.89387832699628</c:v>
                </c:pt>
                <c:pt idx="173">
                  <c:v>60.89387832699628</c:v>
                </c:pt>
                <c:pt idx="174">
                  <c:v>60.89387832699628</c:v>
                </c:pt>
                <c:pt idx="175">
                  <c:v>60.89387832699628</c:v>
                </c:pt>
                <c:pt idx="176">
                  <c:v>60.89387832699628</c:v>
                </c:pt>
                <c:pt idx="177">
                  <c:v>60.89387832699628</c:v>
                </c:pt>
                <c:pt idx="178">
                  <c:v>60.89387832699628</c:v>
                </c:pt>
                <c:pt idx="179">
                  <c:v>60.89387832699628</c:v>
                </c:pt>
                <c:pt idx="180">
                  <c:v>60.89387832699628</c:v>
                </c:pt>
                <c:pt idx="181">
                  <c:v>60.89387832699628</c:v>
                </c:pt>
                <c:pt idx="182">
                  <c:v>60.89387832699628</c:v>
                </c:pt>
                <c:pt idx="183">
                  <c:v>60.89387832699628</c:v>
                </c:pt>
                <c:pt idx="184">
                  <c:v>60.89387832699628</c:v>
                </c:pt>
                <c:pt idx="185">
                  <c:v>60.89387832699628</c:v>
                </c:pt>
                <c:pt idx="186">
                  <c:v>60.89387832699628</c:v>
                </c:pt>
                <c:pt idx="187">
                  <c:v>60.89387832699628</c:v>
                </c:pt>
                <c:pt idx="188">
                  <c:v>60.89387832699628</c:v>
                </c:pt>
                <c:pt idx="189">
                  <c:v>60.89387832699628</c:v>
                </c:pt>
                <c:pt idx="190">
                  <c:v>60.89387832699628</c:v>
                </c:pt>
                <c:pt idx="191">
                  <c:v>60.89387832699628</c:v>
                </c:pt>
                <c:pt idx="192">
                  <c:v>60.89387832699628</c:v>
                </c:pt>
                <c:pt idx="193">
                  <c:v>60.89387832699628</c:v>
                </c:pt>
                <c:pt idx="194">
                  <c:v>60.89387832699628</c:v>
                </c:pt>
                <c:pt idx="195">
                  <c:v>60.89387832699628</c:v>
                </c:pt>
                <c:pt idx="196">
                  <c:v>60.89387832699628</c:v>
                </c:pt>
                <c:pt idx="197">
                  <c:v>60.89387832699628</c:v>
                </c:pt>
                <c:pt idx="198">
                  <c:v>60.89387832699628</c:v>
                </c:pt>
                <c:pt idx="199">
                  <c:v>60.89387832699628</c:v>
                </c:pt>
                <c:pt idx="200">
                  <c:v>60.89387832699628</c:v>
                </c:pt>
                <c:pt idx="201">
                  <c:v>60.89387832699628</c:v>
                </c:pt>
                <c:pt idx="202">
                  <c:v>60.89387832699628</c:v>
                </c:pt>
                <c:pt idx="203">
                  <c:v>60.89387832699628</c:v>
                </c:pt>
                <c:pt idx="204">
                  <c:v>60.89387832699628</c:v>
                </c:pt>
                <c:pt idx="205">
                  <c:v>60.89387832699628</c:v>
                </c:pt>
                <c:pt idx="206">
                  <c:v>60.89387832699628</c:v>
                </c:pt>
                <c:pt idx="207">
                  <c:v>60.89387832699628</c:v>
                </c:pt>
                <c:pt idx="208">
                  <c:v>60.89387832699628</c:v>
                </c:pt>
                <c:pt idx="209">
                  <c:v>60.89387832699628</c:v>
                </c:pt>
                <c:pt idx="210">
                  <c:v>60.89387832699628</c:v>
                </c:pt>
                <c:pt idx="211">
                  <c:v>60.89387832699628</c:v>
                </c:pt>
                <c:pt idx="212">
                  <c:v>60.89387832699628</c:v>
                </c:pt>
                <c:pt idx="213">
                  <c:v>60.89387832699628</c:v>
                </c:pt>
                <c:pt idx="214">
                  <c:v>60.89387832699628</c:v>
                </c:pt>
                <c:pt idx="215">
                  <c:v>60.89387832699628</c:v>
                </c:pt>
                <c:pt idx="216">
                  <c:v>60.89387832699628</c:v>
                </c:pt>
                <c:pt idx="217">
                  <c:v>60.89387832699628</c:v>
                </c:pt>
                <c:pt idx="218">
                  <c:v>60.89387832699628</c:v>
                </c:pt>
                <c:pt idx="219">
                  <c:v>60.89387832699628</c:v>
                </c:pt>
                <c:pt idx="220">
                  <c:v>60.89387832699628</c:v>
                </c:pt>
                <c:pt idx="221">
                  <c:v>60.89387832699628</c:v>
                </c:pt>
                <c:pt idx="222">
                  <c:v>60.89387832699628</c:v>
                </c:pt>
                <c:pt idx="223">
                  <c:v>60.89387832699628</c:v>
                </c:pt>
                <c:pt idx="224">
                  <c:v>60.89387832699628</c:v>
                </c:pt>
                <c:pt idx="225">
                  <c:v>60.89387832699628</c:v>
                </c:pt>
                <c:pt idx="226">
                  <c:v>60.89387832699628</c:v>
                </c:pt>
                <c:pt idx="227">
                  <c:v>60.89387832699628</c:v>
                </c:pt>
                <c:pt idx="228">
                  <c:v>60.89387832699628</c:v>
                </c:pt>
                <c:pt idx="229">
                  <c:v>60.89387832699628</c:v>
                </c:pt>
                <c:pt idx="230">
                  <c:v>60.89387832699628</c:v>
                </c:pt>
                <c:pt idx="231">
                  <c:v>60.89387832699628</c:v>
                </c:pt>
                <c:pt idx="232">
                  <c:v>60.89387832699628</c:v>
                </c:pt>
                <c:pt idx="233">
                  <c:v>60.89387832699628</c:v>
                </c:pt>
                <c:pt idx="234">
                  <c:v>60.89387832699628</c:v>
                </c:pt>
                <c:pt idx="235">
                  <c:v>60.89387832699628</c:v>
                </c:pt>
                <c:pt idx="236">
                  <c:v>60.89387832699628</c:v>
                </c:pt>
                <c:pt idx="237">
                  <c:v>60.89387832699628</c:v>
                </c:pt>
                <c:pt idx="238">
                  <c:v>60.89387832699628</c:v>
                </c:pt>
                <c:pt idx="239">
                  <c:v>60.89387832699628</c:v>
                </c:pt>
                <c:pt idx="240">
                  <c:v>60.89387832699628</c:v>
                </c:pt>
                <c:pt idx="241">
                  <c:v>60.89387832699628</c:v>
                </c:pt>
                <c:pt idx="242">
                  <c:v>60.89387832699628</c:v>
                </c:pt>
                <c:pt idx="243">
                  <c:v>60.89387832699628</c:v>
                </c:pt>
                <c:pt idx="244">
                  <c:v>60.89387832699628</c:v>
                </c:pt>
                <c:pt idx="245">
                  <c:v>60.89387832699628</c:v>
                </c:pt>
                <c:pt idx="246">
                  <c:v>60.89387832699628</c:v>
                </c:pt>
                <c:pt idx="247">
                  <c:v>60.89387832699628</c:v>
                </c:pt>
                <c:pt idx="248">
                  <c:v>60.89387832699628</c:v>
                </c:pt>
                <c:pt idx="249">
                  <c:v>60.89387832699628</c:v>
                </c:pt>
                <c:pt idx="250">
                  <c:v>60.89387832699628</c:v>
                </c:pt>
                <c:pt idx="251">
                  <c:v>60.89387832699628</c:v>
                </c:pt>
                <c:pt idx="252">
                  <c:v>60.89387832699628</c:v>
                </c:pt>
                <c:pt idx="253">
                  <c:v>60.89387832699628</c:v>
                </c:pt>
                <c:pt idx="254">
                  <c:v>60.89387832699628</c:v>
                </c:pt>
                <c:pt idx="255">
                  <c:v>60.89387832699628</c:v>
                </c:pt>
                <c:pt idx="256">
                  <c:v>60.89387832699628</c:v>
                </c:pt>
                <c:pt idx="257">
                  <c:v>60.89387832699628</c:v>
                </c:pt>
                <c:pt idx="258">
                  <c:v>60.89387832699628</c:v>
                </c:pt>
                <c:pt idx="259">
                  <c:v>60.89387832699628</c:v>
                </c:pt>
                <c:pt idx="260">
                  <c:v>60.89387832699628</c:v>
                </c:pt>
                <c:pt idx="261">
                  <c:v>60.89387832699628</c:v>
                </c:pt>
                <c:pt idx="262">
                  <c:v>60.89387832699628</c:v>
                </c:pt>
                <c:pt idx="263">
                  <c:v>60.89387832699628</c:v>
                </c:pt>
                <c:pt idx="264">
                  <c:v>60.89387832699628</c:v>
                </c:pt>
                <c:pt idx="265">
                  <c:v>60.89387832699628</c:v>
                </c:pt>
                <c:pt idx="266">
                  <c:v>60.89387832699628</c:v>
                </c:pt>
                <c:pt idx="267">
                  <c:v>60.89387832699628</c:v>
                </c:pt>
                <c:pt idx="268">
                  <c:v>60.89387832699628</c:v>
                </c:pt>
                <c:pt idx="269">
                  <c:v>60.89387832699628</c:v>
                </c:pt>
                <c:pt idx="270">
                  <c:v>60.89387832699628</c:v>
                </c:pt>
                <c:pt idx="271">
                  <c:v>60.89387832699628</c:v>
                </c:pt>
                <c:pt idx="272">
                  <c:v>60.89387832699628</c:v>
                </c:pt>
                <c:pt idx="273">
                  <c:v>60.89387832699628</c:v>
                </c:pt>
                <c:pt idx="274">
                  <c:v>60.89387832699628</c:v>
                </c:pt>
                <c:pt idx="275">
                  <c:v>60.89387832699628</c:v>
                </c:pt>
                <c:pt idx="276">
                  <c:v>60.89387832699628</c:v>
                </c:pt>
                <c:pt idx="277">
                  <c:v>60.89387832699628</c:v>
                </c:pt>
                <c:pt idx="278">
                  <c:v>60.89387832699628</c:v>
                </c:pt>
                <c:pt idx="279">
                  <c:v>60.89387832699628</c:v>
                </c:pt>
                <c:pt idx="280">
                  <c:v>60.89387832699628</c:v>
                </c:pt>
                <c:pt idx="281">
                  <c:v>60.89387832699628</c:v>
                </c:pt>
                <c:pt idx="282">
                  <c:v>60.89387832699628</c:v>
                </c:pt>
                <c:pt idx="283">
                  <c:v>60.89387832699628</c:v>
                </c:pt>
                <c:pt idx="284">
                  <c:v>60.89387832699628</c:v>
                </c:pt>
                <c:pt idx="285">
                  <c:v>60.89387832699628</c:v>
                </c:pt>
                <c:pt idx="286">
                  <c:v>60.89387832699628</c:v>
                </c:pt>
                <c:pt idx="287">
                  <c:v>60.89387832699628</c:v>
                </c:pt>
                <c:pt idx="288">
                  <c:v>60.89387832699628</c:v>
                </c:pt>
                <c:pt idx="289">
                  <c:v>60.89387832699628</c:v>
                </c:pt>
                <c:pt idx="290">
                  <c:v>60.89387832699628</c:v>
                </c:pt>
                <c:pt idx="291">
                  <c:v>60.89387832699628</c:v>
                </c:pt>
                <c:pt idx="292">
                  <c:v>60.89387832699628</c:v>
                </c:pt>
                <c:pt idx="293">
                  <c:v>60.89387832699628</c:v>
                </c:pt>
                <c:pt idx="294">
                  <c:v>60.89387832699628</c:v>
                </c:pt>
                <c:pt idx="295">
                  <c:v>60.89387832699628</c:v>
                </c:pt>
                <c:pt idx="296">
                  <c:v>60.89387832699628</c:v>
                </c:pt>
                <c:pt idx="297">
                  <c:v>60.89387832699628</c:v>
                </c:pt>
                <c:pt idx="298">
                  <c:v>60.89387832699628</c:v>
                </c:pt>
                <c:pt idx="299">
                  <c:v>60.89387832699628</c:v>
                </c:pt>
                <c:pt idx="300">
                  <c:v>60.89387832699628</c:v>
                </c:pt>
                <c:pt idx="301">
                  <c:v>60.89387832699628</c:v>
                </c:pt>
                <c:pt idx="302">
                  <c:v>60.89387832699628</c:v>
                </c:pt>
                <c:pt idx="303">
                  <c:v>60.89387832699628</c:v>
                </c:pt>
                <c:pt idx="304">
                  <c:v>60.89387832699628</c:v>
                </c:pt>
                <c:pt idx="305">
                  <c:v>60.89387832699628</c:v>
                </c:pt>
                <c:pt idx="306">
                  <c:v>60.89387832699628</c:v>
                </c:pt>
                <c:pt idx="307">
                  <c:v>60.89387832699628</c:v>
                </c:pt>
                <c:pt idx="308">
                  <c:v>60.89387832699628</c:v>
                </c:pt>
                <c:pt idx="309">
                  <c:v>60.89387832699628</c:v>
                </c:pt>
                <c:pt idx="310">
                  <c:v>60.89387832699628</c:v>
                </c:pt>
                <c:pt idx="311">
                  <c:v>60.89387832699628</c:v>
                </c:pt>
                <c:pt idx="312">
                  <c:v>60.89387832699628</c:v>
                </c:pt>
                <c:pt idx="313">
                  <c:v>60.89387832699628</c:v>
                </c:pt>
                <c:pt idx="314">
                  <c:v>60.89387832699628</c:v>
                </c:pt>
                <c:pt idx="315">
                  <c:v>60.89387832699628</c:v>
                </c:pt>
                <c:pt idx="316">
                  <c:v>60.89387832699628</c:v>
                </c:pt>
                <c:pt idx="317">
                  <c:v>60.89387832699628</c:v>
                </c:pt>
                <c:pt idx="318">
                  <c:v>60.89387832699628</c:v>
                </c:pt>
                <c:pt idx="319">
                  <c:v>60.89387832699628</c:v>
                </c:pt>
                <c:pt idx="320">
                  <c:v>60.89387832699628</c:v>
                </c:pt>
                <c:pt idx="321">
                  <c:v>60.89387832699628</c:v>
                </c:pt>
                <c:pt idx="322">
                  <c:v>60.89387832699628</c:v>
                </c:pt>
                <c:pt idx="323">
                  <c:v>60.89387832699628</c:v>
                </c:pt>
                <c:pt idx="324">
                  <c:v>60.89387832699628</c:v>
                </c:pt>
                <c:pt idx="325">
                  <c:v>60.89387832699628</c:v>
                </c:pt>
                <c:pt idx="326">
                  <c:v>60.89387832699628</c:v>
                </c:pt>
                <c:pt idx="327">
                  <c:v>60.89387832699628</c:v>
                </c:pt>
                <c:pt idx="328">
                  <c:v>60.89387832699628</c:v>
                </c:pt>
                <c:pt idx="329">
                  <c:v>60.89387832699628</c:v>
                </c:pt>
                <c:pt idx="330">
                  <c:v>60.89387832699628</c:v>
                </c:pt>
                <c:pt idx="331">
                  <c:v>60.89387832699628</c:v>
                </c:pt>
                <c:pt idx="332">
                  <c:v>60.89387832699628</c:v>
                </c:pt>
                <c:pt idx="333">
                  <c:v>60.89387832699628</c:v>
                </c:pt>
                <c:pt idx="334">
                  <c:v>60.89387832699628</c:v>
                </c:pt>
                <c:pt idx="335">
                  <c:v>60.89387832699628</c:v>
                </c:pt>
                <c:pt idx="336">
                  <c:v>60.89387832699628</c:v>
                </c:pt>
                <c:pt idx="337">
                  <c:v>60.89387832699628</c:v>
                </c:pt>
                <c:pt idx="338">
                  <c:v>60.89387832699628</c:v>
                </c:pt>
                <c:pt idx="339">
                  <c:v>60.89387832699628</c:v>
                </c:pt>
                <c:pt idx="340">
                  <c:v>60.89387832699628</c:v>
                </c:pt>
                <c:pt idx="341">
                  <c:v>60.89387832699628</c:v>
                </c:pt>
                <c:pt idx="342">
                  <c:v>60.89387832699628</c:v>
                </c:pt>
                <c:pt idx="343">
                  <c:v>60.89387832699628</c:v>
                </c:pt>
                <c:pt idx="344">
                  <c:v>60.89387832699628</c:v>
                </c:pt>
                <c:pt idx="345">
                  <c:v>60.89387832699628</c:v>
                </c:pt>
                <c:pt idx="346">
                  <c:v>60.89387832699628</c:v>
                </c:pt>
                <c:pt idx="347">
                  <c:v>60.89387832699628</c:v>
                </c:pt>
                <c:pt idx="348">
                  <c:v>60.89387832699628</c:v>
                </c:pt>
                <c:pt idx="349">
                  <c:v>60.89387832699628</c:v>
                </c:pt>
                <c:pt idx="350">
                  <c:v>60.89387832699628</c:v>
                </c:pt>
                <c:pt idx="351">
                  <c:v>60.89387832699628</c:v>
                </c:pt>
                <c:pt idx="352">
                  <c:v>60.89387832699628</c:v>
                </c:pt>
                <c:pt idx="353">
                  <c:v>60.89387832699628</c:v>
                </c:pt>
                <c:pt idx="354">
                  <c:v>60.89387832699628</c:v>
                </c:pt>
                <c:pt idx="355">
                  <c:v>60.89387832699628</c:v>
                </c:pt>
                <c:pt idx="356">
                  <c:v>60.89387832699628</c:v>
                </c:pt>
                <c:pt idx="357">
                  <c:v>60.89387832699628</c:v>
                </c:pt>
                <c:pt idx="358">
                  <c:v>60.89387832699628</c:v>
                </c:pt>
                <c:pt idx="359">
                  <c:v>60.89387832699628</c:v>
                </c:pt>
                <c:pt idx="360">
                  <c:v>60.89387832699628</c:v>
                </c:pt>
                <c:pt idx="361">
                  <c:v>60.89387832699628</c:v>
                </c:pt>
                <c:pt idx="362">
                  <c:v>60.89387832699628</c:v>
                </c:pt>
                <c:pt idx="363">
                  <c:v>60.89387832699628</c:v>
                </c:pt>
                <c:pt idx="364">
                  <c:v>60.89387832699628</c:v>
                </c:pt>
                <c:pt idx="365">
                  <c:v>60.89387832699628</c:v>
                </c:pt>
                <c:pt idx="366">
                  <c:v>60.89387832699628</c:v>
                </c:pt>
                <c:pt idx="367">
                  <c:v>60.89387832699628</c:v>
                </c:pt>
                <c:pt idx="368">
                  <c:v>60.89387832699628</c:v>
                </c:pt>
                <c:pt idx="369">
                  <c:v>60.89387832699628</c:v>
                </c:pt>
                <c:pt idx="370">
                  <c:v>60.89387832699628</c:v>
                </c:pt>
                <c:pt idx="371">
                  <c:v>60.89387832699628</c:v>
                </c:pt>
                <c:pt idx="372">
                  <c:v>60.89387832699628</c:v>
                </c:pt>
                <c:pt idx="373">
                  <c:v>60.89387832699628</c:v>
                </c:pt>
                <c:pt idx="374">
                  <c:v>60.89387832699628</c:v>
                </c:pt>
                <c:pt idx="375">
                  <c:v>60.89387832699628</c:v>
                </c:pt>
                <c:pt idx="376">
                  <c:v>60.89387832699628</c:v>
                </c:pt>
                <c:pt idx="377">
                  <c:v>60.89387832699628</c:v>
                </c:pt>
                <c:pt idx="378">
                  <c:v>60.89387832699628</c:v>
                </c:pt>
                <c:pt idx="379">
                  <c:v>60.89387832699628</c:v>
                </c:pt>
                <c:pt idx="380">
                  <c:v>60.89387832699628</c:v>
                </c:pt>
                <c:pt idx="381">
                  <c:v>60.89387832699628</c:v>
                </c:pt>
                <c:pt idx="382">
                  <c:v>60.89387832699628</c:v>
                </c:pt>
                <c:pt idx="383">
                  <c:v>60.89387832699628</c:v>
                </c:pt>
                <c:pt idx="384">
                  <c:v>60.89387832699628</c:v>
                </c:pt>
                <c:pt idx="385">
                  <c:v>60.89387832699628</c:v>
                </c:pt>
                <c:pt idx="386">
                  <c:v>60.89387832699628</c:v>
                </c:pt>
                <c:pt idx="387">
                  <c:v>60.89387832699628</c:v>
                </c:pt>
                <c:pt idx="388">
                  <c:v>60.89387832699628</c:v>
                </c:pt>
                <c:pt idx="389">
                  <c:v>60.89387832699628</c:v>
                </c:pt>
                <c:pt idx="390">
                  <c:v>60.89387832699628</c:v>
                </c:pt>
                <c:pt idx="391">
                  <c:v>60.89387832699628</c:v>
                </c:pt>
                <c:pt idx="392">
                  <c:v>60.89387832699628</c:v>
                </c:pt>
                <c:pt idx="393">
                  <c:v>60.89387832699628</c:v>
                </c:pt>
                <c:pt idx="394">
                  <c:v>60.89387832699628</c:v>
                </c:pt>
                <c:pt idx="395">
                  <c:v>60.89387832699628</c:v>
                </c:pt>
                <c:pt idx="396">
                  <c:v>60.89387832699628</c:v>
                </c:pt>
                <c:pt idx="397">
                  <c:v>60.89387832699628</c:v>
                </c:pt>
                <c:pt idx="398">
                  <c:v>60.89387832699628</c:v>
                </c:pt>
                <c:pt idx="399">
                  <c:v>60.89387832699628</c:v>
                </c:pt>
                <c:pt idx="400">
                  <c:v>60.89387832699628</c:v>
                </c:pt>
                <c:pt idx="401">
                  <c:v>60.89387832699628</c:v>
                </c:pt>
                <c:pt idx="402">
                  <c:v>60.89387832699628</c:v>
                </c:pt>
                <c:pt idx="403">
                  <c:v>60.89387832699628</c:v>
                </c:pt>
                <c:pt idx="404">
                  <c:v>60.89387832699628</c:v>
                </c:pt>
                <c:pt idx="405">
                  <c:v>60.89387832699628</c:v>
                </c:pt>
                <c:pt idx="406">
                  <c:v>60.89387832699628</c:v>
                </c:pt>
                <c:pt idx="407">
                  <c:v>60.89387832699628</c:v>
                </c:pt>
                <c:pt idx="408">
                  <c:v>60.89387832699628</c:v>
                </c:pt>
                <c:pt idx="409">
                  <c:v>60.89387832699628</c:v>
                </c:pt>
                <c:pt idx="410">
                  <c:v>60.89387832699628</c:v>
                </c:pt>
                <c:pt idx="411">
                  <c:v>60.89387832699628</c:v>
                </c:pt>
                <c:pt idx="412">
                  <c:v>60.89387832699628</c:v>
                </c:pt>
                <c:pt idx="413">
                  <c:v>60.89387832699628</c:v>
                </c:pt>
                <c:pt idx="414">
                  <c:v>60.89387832699628</c:v>
                </c:pt>
                <c:pt idx="415">
                  <c:v>60.89387832699628</c:v>
                </c:pt>
                <c:pt idx="416">
                  <c:v>60.89387832699628</c:v>
                </c:pt>
                <c:pt idx="417">
                  <c:v>60.89387832699628</c:v>
                </c:pt>
                <c:pt idx="418">
                  <c:v>60.89387832699628</c:v>
                </c:pt>
                <c:pt idx="419">
                  <c:v>60.89387832699628</c:v>
                </c:pt>
                <c:pt idx="420">
                  <c:v>60.89387832699628</c:v>
                </c:pt>
                <c:pt idx="421">
                  <c:v>60.89387832699628</c:v>
                </c:pt>
                <c:pt idx="422">
                  <c:v>60.89387832699628</c:v>
                </c:pt>
                <c:pt idx="423">
                  <c:v>60.89387832699628</c:v>
                </c:pt>
                <c:pt idx="424">
                  <c:v>60.89387832699628</c:v>
                </c:pt>
                <c:pt idx="425">
                  <c:v>60.89387832699628</c:v>
                </c:pt>
                <c:pt idx="426">
                  <c:v>60.89387832699628</c:v>
                </c:pt>
                <c:pt idx="427">
                  <c:v>60.89387832699628</c:v>
                </c:pt>
                <c:pt idx="428">
                  <c:v>60.89387832699628</c:v>
                </c:pt>
                <c:pt idx="429">
                  <c:v>60.89387832699628</c:v>
                </c:pt>
                <c:pt idx="430">
                  <c:v>60.89387832699628</c:v>
                </c:pt>
                <c:pt idx="431">
                  <c:v>60.89387832699628</c:v>
                </c:pt>
                <c:pt idx="432">
                  <c:v>60.89387832699628</c:v>
                </c:pt>
                <c:pt idx="433">
                  <c:v>60.89387832699628</c:v>
                </c:pt>
                <c:pt idx="434">
                  <c:v>60.89387832699628</c:v>
                </c:pt>
                <c:pt idx="435">
                  <c:v>60.89387832699628</c:v>
                </c:pt>
                <c:pt idx="436">
                  <c:v>60.89387832699628</c:v>
                </c:pt>
                <c:pt idx="437">
                  <c:v>60.89387832699628</c:v>
                </c:pt>
                <c:pt idx="438">
                  <c:v>60.89387832699628</c:v>
                </c:pt>
                <c:pt idx="439">
                  <c:v>60.89387832699628</c:v>
                </c:pt>
                <c:pt idx="440">
                  <c:v>60.89387832699628</c:v>
                </c:pt>
                <c:pt idx="441">
                  <c:v>60.89387832699628</c:v>
                </c:pt>
                <c:pt idx="442">
                  <c:v>60.89387832699628</c:v>
                </c:pt>
                <c:pt idx="443">
                  <c:v>60.89387832699628</c:v>
                </c:pt>
                <c:pt idx="444">
                  <c:v>60.89387832699628</c:v>
                </c:pt>
                <c:pt idx="445">
                  <c:v>60.89387832699628</c:v>
                </c:pt>
                <c:pt idx="446">
                  <c:v>60.89387832699628</c:v>
                </c:pt>
                <c:pt idx="447">
                  <c:v>60.89387832699628</c:v>
                </c:pt>
                <c:pt idx="448">
                  <c:v>60.89387832699628</c:v>
                </c:pt>
                <c:pt idx="449">
                  <c:v>60.89387832699628</c:v>
                </c:pt>
                <c:pt idx="450">
                  <c:v>60.89387832699628</c:v>
                </c:pt>
                <c:pt idx="451">
                  <c:v>60.89387832699628</c:v>
                </c:pt>
                <c:pt idx="452">
                  <c:v>60.89387832699628</c:v>
                </c:pt>
                <c:pt idx="453">
                  <c:v>60.89387832699628</c:v>
                </c:pt>
                <c:pt idx="454">
                  <c:v>60.89387832699628</c:v>
                </c:pt>
                <c:pt idx="455">
                  <c:v>60.89387832699628</c:v>
                </c:pt>
                <c:pt idx="456">
                  <c:v>60.89387832699628</c:v>
                </c:pt>
                <c:pt idx="457">
                  <c:v>60.89387832699628</c:v>
                </c:pt>
                <c:pt idx="458">
                  <c:v>60.89387832699628</c:v>
                </c:pt>
                <c:pt idx="459">
                  <c:v>60.89387832699628</c:v>
                </c:pt>
                <c:pt idx="460">
                  <c:v>60.89387832699628</c:v>
                </c:pt>
                <c:pt idx="461">
                  <c:v>60.89387832699628</c:v>
                </c:pt>
                <c:pt idx="462">
                  <c:v>60.89387832699628</c:v>
                </c:pt>
                <c:pt idx="463">
                  <c:v>60.89387832699628</c:v>
                </c:pt>
                <c:pt idx="464">
                  <c:v>60.89387832699628</c:v>
                </c:pt>
                <c:pt idx="465">
                  <c:v>60.89387832699628</c:v>
                </c:pt>
                <c:pt idx="466">
                  <c:v>60.89387832699628</c:v>
                </c:pt>
                <c:pt idx="467">
                  <c:v>60.89387832699628</c:v>
                </c:pt>
                <c:pt idx="468">
                  <c:v>60.89387832699628</c:v>
                </c:pt>
                <c:pt idx="469">
                  <c:v>60.89387832699628</c:v>
                </c:pt>
                <c:pt idx="470">
                  <c:v>60.89387832699628</c:v>
                </c:pt>
                <c:pt idx="471">
                  <c:v>60.89387832699628</c:v>
                </c:pt>
                <c:pt idx="472">
                  <c:v>60.89387832699628</c:v>
                </c:pt>
                <c:pt idx="473">
                  <c:v>60.89387832699628</c:v>
                </c:pt>
                <c:pt idx="474">
                  <c:v>60.89387832699628</c:v>
                </c:pt>
                <c:pt idx="475">
                  <c:v>60.89387832699628</c:v>
                </c:pt>
                <c:pt idx="476">
                  <c:v>60.89387832699628</c:v>
                </c:pt>
                <c:pt idx="477">
                  <c:v>60.89387832699628</c:v>
                </c:pt>
                <c:pt idx="478">
                  <c:v>60.89387832699628</c:v>
                </c:pt>
                <c:pt idx="479">
                  <c:v>60.89387832699628</c:v>
                </c:pt>
                <c:pt idx="480">
                  <c:v>60.89387832699628</c:v>
                </c:pt>
                <c:pt idx="481">
                  <c:v>60.89387832699628</c:v>
                </c:pt>
                <c:pt idx="482">
                  <c:v>60.89387832699628</c:v>
                </c:pt>
                <c:pt idx="483">
                  <c:v>60.89387832699628</c:v>
                </c:pt>
                <c:pt idx="484">
                  <c:v>60.89387832699628</c:v>
                </c:pt>
                <c:pt idx="485">
                  <c:v>60.89387832699628</c:v>
                </c:pt>
                <c:pt idx="486">
                  <c:v>60.89387832699628</c:v>
                </c:pt>
                <c:pt idx="487">
                  <c:v>60.89387832699628</c:v>
                </c:pt>
                <c:pt idx="488">
                  <c:v>60.89387832699628</c:v>
                </c:pt>
                <c:pt idx="489">
                  <c:v>60.89387832699628</c:v>
                </c:pt>
                <c:pt idx="490">
                  <c:v>60.89387832699628</c:v>
                </c:pt>
                <c:pt idx="491">
                  <c:v>60.89387832699628</c:v>
                </c:pt>
                <c:pt idx="492">
                  <c:v>60.89387832699628</c:v>
                </c:pt>
                <c:pt idx="493">
                  <c:v>60.89387832699628</c:v>
                </c:pt>
                <c:pt idx="494">
                  <c:v>60.89387832699628</c:v>
                </c:pt>
                <c:pt idx="495">
                  <c:v>60.89387832699628</c:v>
                </c:pt>
                <c:pt idx="496">
                  <c:v>60.89387832699628</c:v>
                </c:pt>
                <c:pt idx="497">
                  <c:v>60.89387832699628</c:v>
                </c:pt>
                <c:pt idx="498">
                  <c:v>60.89387832699628</c:v>
                </c:pt>
                <c:pt idx="499">
                  <c:v>60.89387832699628</c:v>
                </c:pt>
                <c:pt idx="500">
                  <c:v>60.89387832699628</c:v>
                </c:pt>
                <c:pt idx="501">
                  <c:v>60.89387832699628</c:v>
                </c:pt>
                <c:pt idx="502">
                  <c:v>60.89387832699628</c:v>
                </c:pt>
                <c:pt idx="503">
                  <c:v>60.89387832699628</c:v>
                </c:pt>
                <c:pt idx="504">
                  <c:v>60.89387832699628</c:v>
                </c:pt>
                <c:pt idx="505">
                  <c:v>60.89387832699628</c:v>
                </c:pt>
                <c:pt idx="506">
                  <c:v>60.89387832699628</c:v>
                </c:pt>
                <c:pt idx="507">
                  <c:v>60.89387832699628</c:v>
                </c:pt>
                <c:pt idx="508">
                  <c:v>60.89387832699628</c:v>
                </c:pt>
                <c:pt idx="509">
                  <c:v>60.89387832699628</c:v>
                </c:pt>
                <c:pt idx="510">
                  <c:v>60.89387832699628</c:v>
                </c:pt>
                <c:pt idx="511">
                  <c:v>60.89387832699628</c:v>
                </c:pt>
                <c:pt idx="512">
                  <c:v>60.89387832699628</c:v>
                </c:pt>
                <c:pt idx="513">
                  <c:v>60.89387832699628</c:v>
                </c:pt>
                <c:pt idx="514">
                  <c:v>60.89387832699628</c:v>
                </c:pt>
                <c:pt idx="515">
                  <c:v>60.89387832699628</c:v>
                </c:pt>
                <c:pt idx="516">
                  <c:v>60.89387832699628</c:v>
                </c:pt>
                <c:pt idx="517">
                  <c:v>60.89387832699628</c:v>
                </c:pt>
                <c:pt idx="518">
                  <c:v>60.89387832699628</c:v>
                </c:pt>
                <c:pt idx="519">
                  <c:v>60.89387832699628</c:v>
                </c:pt>
                <c:pt idx="520">
                  <c:v>60.89387832699628</c:v>
                </c:pt>
                <c:pt idx="521">
                  <c:v>60.89387832699628</c:v>
                </c:pt>
                <c:pt idx="522">
                  <c:v>60.89387832699628</c:v>
                </c:pt>
                <c:pt idx="523">
                  <c:v>60.89387832699628</c:v>
                </c:pt>
                <c:pt idx="524">
                  <c:v>60.89387832699628</c:v>
                </c:pt>
                <c:pt idx="525">
                  <c:v>60.89387832699628</c:v>
                </c:pt>
                <c:pt idx="526">
                  <c:v>60.89387832699628</c:v>
                </c:pt>
                <c:pt idx="527">
                  <c:v>60.89387832699628</c:v>
                </c:pt>
                <c:pt idx="528">
                  <c:v>60.89387832699628</c:v>
                </c:pt>
                <c:pt idx="529">
                  <c:v>60.89387832699628</c:v>
                </c:pt>
                <c:pt idx="530">
                  <c:v>60.89387832699628</c:v>
                </c:pt>
                <c:pt idx="531">
                  <c:v>60.89387832699628</c:v>
                </c:pt>
                <c:pt idx="532">
                  <c:v>60.89387832699628</c:v>
                </c:pt>
                <c:pt idx="533">
                  <c:v>60.89387832699628</c:v>
                </c:pt>
                <c:pt idx="534">
                  <c:v>60.89387832699628</c:v>
                </c:pt>
                <c:pt idx="535">
                  <c:v>60.89387832699628</c:v>
                </c:pt>
                <c:pt idx="536">
                  <c:v>60.89387832699628</c:v>
                </c:pt>
                <c:pt idx="537">
                  <c:v>60.89387832699628</c:v>
                </c:pt>
                <c:pt idx="538">
                  <c:v>60.89387832699628</c:v>
                </c:pt>
                <c:pt idx="539">
                  <c:v>60.89387832699628</c:v>
                </c:pt>
                <c:pt idx="540">
                  <c:v>60.89387832699628</c:v>
                </c:pt>
                <c:pt idx="541">
                  <c:v>60.89387832699628</c:v>
                </c:pt>
                <c:pt idx="542">
                  <c:v>60.89387832699628</c:v>
                </c:pt>
                <c:pt idx="543">
                  <c:v>60.89387832699628</c:v>
                </c:pt>
                <c:pt idx="544">
                  <c:v>60.89387832699628</c:v>
                </c:pt>
                <c:pt idx="545">
                  <c:v>60.89387832699628</c:v>
                </c:pt>
                <c:pt idx="546">
                  <c:v>60.89387832699628</c:v>
                </c:pt>
                <c:pt idx="547">
                  <c:v>60.89387832699628</c:v>
                </c:pt>
                <c:pt idx="548">
                  <c:v>60.89387832699628</c:v>
                </c:pt>
                <c:pt idx="549">
                  <c:v>60.89387832699628</c:v>
                </c:pt>
                <c:pt idx="550">
                  <c:v>60.89387832699628</c:v>
                </c:pt>
                <c:pt idx="551">
                  <c:v>60.89387832699628</c:v>
                </c:pt>
                <c:pt idx="552">
                  <c:v>60.89387832699628</c:v>
                </c:pt>
                <c:pt idx="553">
                  <c:v>60.89387832699628</c:v>
                </c:pt>
                <c:pt idx="554">
                  <c:v>60.89387832699628</c:v>
                </c:pt>
                <c:pt idx="555">
                  <c:v>60.89387832699628</c:v>
                </c:pt>
                <c:pt idx="556">
                  <c:v>60.89387832699628</c:v>
                </c:pt>
                <c:pt idx="557">
                  <c:v>60.89387832699628</c:v>
                </c:pt>
                <c:pt idx="558">
                  <c:v>60.89387832699628</c:v>
                </c:pt>
                <c:pt idx="559">
                  <c:v>60.89387832699628</c:v>
                </c:pt>
                <c:pt idx="560">
                  <c:v>60.89387832699628</c:v>
                </c:pt>
                <c:pt idx="561">
                  <c:v>60.89387832699628</c:v>
                </c:pt>
                <c:pt idx="562">
                  <c:v>60.89387832699628</c:v>
                </c:pt>
                <c:pt idx="563">
                  <c:v>60.89387832699628</c:v>
                </c:pt>
                <c:pt idx="564">
                  <c:v>60.89387832699628</c:v>
                </c:pt>
                <c:pt idx="565">
                  <c:v>60.89387832699628</c:v>
                </c:pt>
                <c:pt idx="566">
                  <c:v>60.89387832699628</c:v>
                </c:pt>
                <c:pt idx="567">
                  <c:v>60.89387832699628</c:v>
                </c:pt>
                <c:pt idx="568">
                  <c:v>60.89387832699628</c:v>
                </c:pt>
                <c:pt idx="569">
                  <c:v>60.89387832699628</c:v>
                </c:pt>
                <c:pt idx="570">
                  <c:v>60.89387832699628</c:v>
                </c:pt>
                <c:pt idx="571">
                  <c:v>60.89387832699628</c:v>
                </c:pt>
                <c:pt idx="572">
                  <c:v>60.89387832699628</c:v>
                </c:pt>
                <c:pt idx="573">
                  <c:v>60.89387832699628</c:v>
                </c:pt>
                <c:pt idx="574">
                  <c:v>60.89387832699628</c:v>
                </c:pt>
                <c:pt idx="575">
                  <c:v>60.89387832699628</c:v>
                </c:pt>
                <c:pt idx="576">
                  <c:v>60.89387832699628</c:v>
                </c:pt>
                <c:pt idx="577">
                  <c:v>60.89387832699628</c:v>
                </c:pt>
                <c:pt idx="578">
                  <c:v>60.89387832699628</c:v>
                </c:pt>
                <c:pt idx="579">
                  <c:v>60.89387832699628</c:v>
                </c:pt>
                <c:pt idx="580">
                  <c:v>60.89387832699628</c:v>
                </c:pt>
                <c:pt idx="581">
                  <c:v>60.89387832699628</c:v>
                </c:pt>
                <c:pt idx="582">
                  <c:v>60.89387832699628</c:v>
                </c:pt>
                <c:pt idx="583">
                  <c:v>60.89387832699628</c:v>
                </c:pt>
                <c:pt idx="584">
                  <c:v>60.89387832699628</c:v>
                </c:pt>
                <c:pt idx="585">
                  <c:v>60.89387832699628</c:v>
                </c:pt>
                <c:pt idx="586">
                  <c:v>60.89387832699628</c:v>
                </c:pt>
                <c:pt idx="587">
                  <c:v>60.89387832699628</c:v>
                </c:pt>
                <c:pt idx="588">
                  <c:v>60.89387832699628</c:v>
                </c:pt>
                <c:pt idx="589">
                  <c:v>60.89387832699628</c:v>
                </c:pt>
                <c:pt idx="590">
                  <c:v>60.89387832699628</c:v>
                </c:pt>
                <c:pt idx="591">
                  <c:v>60.89387832699628</c:v>
                </c:pt>
                <c:pt idx="592">
                  <c:v>60.89387832699628</c:v>
                </c:pt>
                <c:pt idx="593">
                  <c:v>60.89387832699628</c:v>
                </c:pt>
                <c:pt idx="594">
                  <c:v>60.89387832699628</c:v>
                </c:pt>
                <c:pt idx="595">
                  <c:v>60.89387832699628</c:v>
                </c:pt>
                <c:pt idx="596">
                  <c:v>60.89387832699628</c:v>
                </c:pt>
                <c:pt idx="597">
                  <c:v>60.89387832699628</c:v>
                </c:pt>
                <c:pt idx="598">
                  <c:v>60.89387832699628</c:v>
                </c:pt>
                <c:pt idx="599">
                  <c:v>60.89387832699628</c:v>
                </c:pt>
                <c:pt idx="600">
                  <c:v>60.89387832699628</c:v>
                </c:pt>
                <c:pt idx="601">
                  <c:v>60.89387832699628</c:v>
                </c:pt>
                <c:pt idx="602">
                  <c:v>60.89387832699628</c:v>
                </c:pt>
                <c:pt idx="603">
                  <c:v>60.89387832699628</c:v>
                </c:pt>
                <c:pt idx="604">
                  <c:v>60.89387832699628</c:v>
                </c:pt>
                <c:pt idx="605">
                  <c:v>60.89387832699628</c:v>
                </c:pt>
                <c:pt idx="606">
                  <c:v>60.89387832699628</c:v>
                </c:pt>
                <c:pt idx="607">
                  <c:v>60.89387832699628</c:v>
                </c:pt>
                <c:pt idx="608">
                  <c:v>60.89387832699628</c:v>
                </c:pt>
                <c:pt idx="609">
                  <c:v>60.89387832699628</c:v>
                </c:pt>
                <c:pt idx="610">
                  <c:v>60.89387832699628</c:v>
                </c:pt>
                <c:pt idx="611">
                  <c:v>60.89387832699628</c:v>
                </c:pt>
                <c:pt idx="612">
                  <c:v>60.89387832699628</c:v>
                </c:pt>
                <c:pt idx="613">
                  <c:v>60.89387832699628</c:v>
                </c:pt>
                <c:pt idx="614">
                  <c:v>60.89387832699628</c:v>
                </c:pt>
                <c:pt idx="615">
                  <c:v>60.89387832699628</c:v>
                </c:pt>
                <c:pt idx="616">
                  <c:v>60.89387832699628</c:v>
                </c:pt>
                <c:pt idx="617">
                  <c:v>60.89387832699628</c:v>
                </c:pt>
                <c:pt idx="618">
                  <c:v>60.89387832699628</c:v>
                </c:pt>
                <c:pt idx="619">
                  <c:v>60.89387832699628</c:v>
                </c:pt>
                <c:pt idx="620">
                  <c:v>60.89387832699628</c:v>
                </c:pt>
                <c:pt idx="621">
                  <c:v>60.89387832699628</c:v>
                </c:pt>
                <c:pt idx="622">
                  <c:v>60.89387832699628</c:v>
                </c:pt>
                <c:pt idx="623">
                  <c:v>60.89387832699628</c:v>
                </c:pt>
                <c:pt idx="624">
                  <c:v>60.89387832699628</c:v>
                </c:pt>
                <c:pt idx="625">
                  <c:v>60.89387832699628</c:v>
                </c:pt>
                <c:pt idx="626">
                  <c:v>60.89387832699628</c:v>
                </c:pt>
                <c:pt idx="627">
                  <c:v>60.89387832699628</c:v>
                </c:pt>
                <c:pt idx="628">
                  <c:v>60.89387832699628</c:v>
                </c:pt>
                <c:pt idx="629">
                  <c:v>60.89387832699628</c:v>
                </c:pt>
                <c:pt idx="630">
                  <c:v>60.89387832699628</c:v>
                </c:pt>
                <c:pt idx="631">
                  <c:v>60.89387832699628</c:v>
                </c:pt>
                <c:pt idx="632">
                  <c:v>60.89387832699628</c:v>
                </c:pt>
                <c:pt idx="633">
                  <c:v>60.89387832699628</c:v>
                </c:pt>
                <c:pt idx="634">
                  <c:v>60.89387832699628</c:v>
                </c:pt>
                <c:pt idx="635">
                  <c:v>60.89387832699628</c:v>
                </c:pt>
                <c:pt idx="636">
                  <c:v>60.89387832699628</c:v>
                </c:pt>
                <c:pt idx="637">
                  <c:v>60.89387832699628</c:v>
                </c:pt>
                <c:pt idx="638">
                  <c:v>60.89387832699628</c:v>
                </c:pt>
                <c:pt idx="639">
                  <c:v>60.89387832699628</c:v>
                </c:pt>
                <c:pt idx="640">
                  <c:v>60.89387832699628</c:v>
                </c:pt>
                <c:pt idx="641">
                  <c:v>60.89387832699628</c:v>
                </c:pt>
                <c:pt idx="642">
                  <c:v>60.89387832699628</c:v>
                </c:pt>
                <c:pt idx="643">
                  <c:v>60.89387832699628</c:v>
                </c:pt>
                <c:pt idx="644">
                  <c:v>60.89387832699628</c:v>
                </c:pt>
                <c:pt idx="645">
                  <c:v>60.89387832699628</c:v>
                </c:pt>
                <c:pt idx="646">
                  <c:v>60.89387832699628</c:v>
                </c:pt>
                <c:pt idx="647">
                  <c:v>60.89387832699628</c:v>
                </c:pt>
                <c:pt idx="648">
                  <c:v>60.89387832699628</c:v>
                </c:pt>
                <c:pt idx="649">
                  <c:v>60.89387832699628</c:v>
                </c:pt>
                <c:pt idx="650">
                  <c:v>60.89387832699628</c:v>
                </c:pt>
                <c:pt idx="651">
                  <c:v>60.89387832699628</c:v>
                </c:pt>
                <c:pt idx="652">
                  <c:v>60.89387832699628</c:v>
                </c:pt>
                <c:pt idx="653">
                  <c:v>60.89387832699628</c:v>
                </c:pt>
                <c:pt idx="654">
                  <c:v>60.89387832699628</c:v>
                </c:pt>
                <c:pt idx="655">
                  <c:v>60.89387832699628</c:v>
                </c:pt>
                <c:pt idx="656">
                  <c:v>60.89387832699628</c:v>
                </c:pt>
                <c:pt idx="657">
                  <c:v>60.89387832699628</c:v>
                </c:pt>
                <c:pt idx="658">
                  <c:v>60.89387832699628</c:v>
                </c:pt>
                <c:pt idx="659">
                  <c:v>60.89387832699628</c:v>
                </c:pt>
                <c:pt idx="660">
                  <c:v>60.89387832699628</c:v>
                </c:pt>
                <c:pt idx="661">
                  <c:v>60.89387832699628</c:v>
                </c:pt>
                <c:pt idx="662">
                  <c:v>60.89387832699628</c:v>
                </c:pt>
                <c:pt idx="663">
                  <c:v>60.89387832699628</c:v>
                </c:pt>
                <c:pt idx="664">
                  <c:v>60.89387832699628</c:v>
                </c:pt>
                <c:pt idx="665">
                  <c:v>60.89387832699628</c:v>
                </c:pt>
                <c:pt idx="666">
                  <c:v>60.89387832699628</c:v>
                </c:pt>
                <c:pt idx="667">
                  <c:v>60.89387832699628</c:v>
                </c:pt>
                <c:pt idx="668">
                  <c:v>60.89387832699628</c:v>
                </c:pt>
                <c:pt idx="669">
                  <c:v>60.89387832699628</c:v>
                </c:pt>
                <c:pt idx="670">
                  <c:v>60.89387832699628</c:v>
                </c:pt>
                <c:pt idx="671">
                  <c:v>60.89387832699628</c:v>
                </c:pt>
                <c:pt idx="672">
                  <c:v>60.89387832699628</c:v>
                </c:pt>
                <c:pt idx="673">
                  <c:v>60.89387832699628</c:v>
                </c:pt>
                <c:pt idx="674">
                  <c:v>60.89387832699628</c:v>
                </c:pt>
                <c:pt idx="675">
                  <c:v>60.89387832699628</c:v>
                </c:pt>
                <c:pt idx="676">
                  <c:v>60.89387832699628</c:v>
                </c:pt>
                <c:pt idx="677">
                  <c:v>60.89387832699628</c:v>
                </c:pt>
                <c:pt idx="678">
                  <c:v>60.89387832699628</c:v>
                </c:pt>
                <c:pt idx="679">
                  <c:v>60.89387832699628</c:v>
                </c:pt>
                <c:pt idx="680">
                  <c:v>60.89387832699628</c:v>
                </c:pt>
                <c:pt idx="681">
                  <c:v>60.89387832699628</c:v>
                </c:pt>
                <c:pt idx="682">
                  <c:v>60.89387832699628</c:v>
                </c:pt>
                <c:pt idx="683">
                  <c:v>60.89387832699628</c:v>
                </c:pt>
                <c:pt idx="684">
                  <c:v>60.89387832699628</c:v>
                </c:pt>
                <c:pt idx="685">
                  <c:v>60.89387832699628</c:v>
                </c:pt>
                <c:pt idx="686">
                  <c:v>60.89387832699628</c:v>
                </c:pt>
                <c:pt idx="687">
                  <c:v>60.89387832699628</c:v>
                </c:pt>
                <c:pt idx="688">
                  <c:v>60.89387832699628</c:v>
                </c:pt>
                <c:pt idx="689">
                  <c:v>60.89387832699628</c:v>
                </c:pt>
                <c:pt idx="690">
                  <c:v>60.89387832699628</c:v>
                </c:pt>
                <c:pt idx="691">
                  <c:v>60.89387832699628</c:v>
                </c:pt>
                <c:pt idx="692">
                  <c:v>60.89387832699628</c:v>
                </c:pt>
                <c:pt idx="693">
                  <c:v>60.89387832699628</c:v>
                </c:pt>
                <c:pt idx="694">
                  <c:v>60.89387832699628</c:v>
                </c:pt>
                <c:pt idx="695">
                  <c:v>60.89387832699628</c:v>
                </c:pt>
                <c:pt idx="696">
                  <c:v>60.89387832699628</c:v>
                </c:pt>
                <c:pt idx="697">
                  <c:v>60.89387832699628</c:v>
                </c:pt>
                <c:pt idx="698">
                  <c:v>60.89387832699628</c:v>
                </c:pt>
                <c:pt idx="699">
                  <c:v>60.89387832699628</c:v>
                </c:pt>
                <c:pt idx="700">
                  <c:v>60.89387832699628</c:v>
                </c:pt>
                <c:pt idx="701">
                  <c:v>60.89387832699628</c:v>
                </c:pt>
                <c:pt idx="702">
                  <c:v>60.89387832699628</c:v>
                </c:pt>
                <c:pt idx="703">
                  <c:v>60.89387832699628</c:v>
                </c:pt>
                <c:pt idx="704">
                  <c:v>60.89387832699628</c:v>
                </c:pt>
                <c:pt idx="705">
                  <c:v>60.89387832699628</c:v>
                </c:pt>
                <c:pt idx="706">
                  <c:v>60.89387832699628</c:v>
                </c:pt>
                <c:pt idx="707">
                  <c:v>60.89387832699628</c:v>
                </c:pt>
                <c:pt idx="708">
                  <c:v>60.89387832699628</c:v>
                </c:pt>
                <c:pt idx="709">
                  <c:v>60.89387832699628</c:v>
                </c:pt>
                <c:pt idx="710">
                  <c:v>60.89387832699628</c:v>
                </c:pt>
                <c:pt idx="711">
                  <c:v>60.89387832699628</c:v>
                </c:pt>
                <c:pt idx="712">
                  <c:v>60.89387832699628</c:v>
                </c:pt>
                <c:pt idx="713">
                  <c:v>60.89387832699628</c:v>
                </c:pt>
                <c:pt idx="714">
                  <c:v>60.89387832699628</c:v>
                </c:pt>
                <c:pt idx="715">
                  <c:v>60.89387832699628</c:v>
                </c:pt>
                <c:pt idx="716">
                  <c:v>60.89387832699628</c:v>
                </c:pt>
                <c:pt idx="717">
                  <c:v>60.89387832699628</c:v>
                </c:pt>
                <c:pt idx="718">
                  <c:v>60.89387832699628</c:v>
                </c:pt>
                <c:pt idx="719">
                  <c:v>60.89387832699628</c:v>
                </c:pt>
                <c:pt idx="720">
                  <c:v>60.89387832699628</c:v>
                </c:pt>
                <c:pt idx="721">
                  <c:v>60.89387832699628</c:v>
                </c:pt>
                <c:pt idx="722">
                  <c:v>60.89387832699628</c:v>
                </c:pt>
                <c:pt idx="723">
                  <c:v>60.89387832699628</c:v>
                </c:pt>
                <c:pt idx="724">
                  <c:v>60.89387832699628</c:v>
                </c:pt>
                <c:pt idx="725">
                  <c:v>60.89387832699628</c:v>
                </c:pt>
                <c:pt idx="726">
                  <c:v>60.89387832699628</c:v>
                </c:pt>
                <c:pt idx="727">
                  <c:v>60.89387832699628</c:v>
                </c:pt>
                <c:pt idx="728">
                  <c:v>60.89387832699628</c:v>
                </c:pt>
                <c:pt idx="729">
                  <c:v>60.89387832699628</c:v>
                </c:pt>
                <c:pt idx="730">
                  <c:v>60.89387832699628</c:v>
                </c:pt>
                <c:pt idx="731">
                  <c:v>60.89387832699628</c:v>
                </c:pt>
                <c:pt idx="732">
                  <c:v>60.89387832699628</c:v>
                </c:pt>
                <c:pt idx="733">
                  <c:v>60.89387832699628</c:v>
                </c:pt>
                <c:pt idx="734">
                  <c:v>60.89387832699628</c:v>
                </c:pt>
                <c:pt idx="735">
                  <c:v>60.89387832699628</c:v>
                </c:pt>
                <c:pt idx="736">
                  <c:v>60.89387832699628</c:v>
                </c:pt>
                <c:pt idx="737">
                  <c:v>60.89387832699628</c:v>
                </c:pt>
                <c:pt idx="738">
                  <c:v>60.89387832699628</c:v>
                </c:pt>
                <c:pt idx="739">
                  <c:v>60.89387832699628</c:v>
                </c:pt>
                <c:pt idx="740">
                  <c:v>60.89387832699628</c:v>
                </c:pt>
                <c:pt idx="741">
                  <c:v>60.89387832699628</c:v>
                </c:pt>
                <c:pt idx="742">
                  <c:v>60.89387832699628</c:v>
                </c:pt>
                <c:pt idx="743">
                  <c:v>60.89387832699628</c:v>
                </c:pt>
                <c:pt idx="744">
                  <c:v>60.89387832699628</c:v>
                </c:pt>
                <c:pt idx="745">
                  <c:v>60.89387832699628</c:v>
                </c:pt>
                <c:pt idx="746">
                  <c:v>60.89387832699628</c:v>
                </c:pt>
                <c:pt idx="747">
                  <c:v>60.89387832699628</c:v>
                </c:pt>
                <c:pt idx="748">
                  <c:v>60.89387832699628</c:v>
                </c:pt>
                <c:pt idx="749">
                  <c:v>60.89387832699628</c:v>
                </c:pt>
                <c:pt idx="750">
                  <c:v>60.89387832699628</c:v>
                </c:pt>
                <c:pt idx="751">
                  <c:v>60.89387832699628</c:v>
                </c:pt>
                <c:pt idx="752">
                  <c:v>60.89387832699628</c:v>
                </c:pt>
                <c:pt idx="753">
                  <c:v>60.89387832699628</c:v>
                </c:pt>
                <c:pt idx="754">
                  <c:v>60.89387832699628</c:v>
                </c:pt>
                <c:pt idx="755">
                  <c:v>60.89387832699628</c:v>
                </c:pt>
                <c:pt idx="756">
                  <c:v>60.89387832699628</c:v>
                </c:pt>
                <c:pt idx="757">
                  <c:v>60.89387832699628</c:v>
                </c:pt>
                <c:pt idx="758">
                  <c:v>60.89387832699628</c:v>
                </c:pt>
                <c:pt idx="759">
                  <c:v>60.89387832699628</c:v>
                </c:pt>
                <c:pt idx="760">
                  <c:v>60.89387832699628</c:v>
                </c:pt>
                <c:pt idx="761">
                  <c:v>60.89387832699628</c:v>
                </c:pt>
                <c:pt idx="762">
                  <c:v>60.89387832699628</c:v>
                </c:pt>
                <c:pt idx="763">
                  <c:v>60.89387832699628</c:v>
                </c:pt>
                <c:pt idx="764">
                  <c:v>60.89387832699628</c:v>
                </c:pt>
                <c:pt idx="765">
                  <c:v>60.89387832699628</c:v>
                </c:pt>
                <c:pt idx="766">
                  <c:v>60.89387832699628</c:v>
                </c:pt>
                <c:pt idx="767">
                  <c:v>60.89387832699628</c:v>
                </c:pt>
                <c:pt idx="768">
                  <c:v>60.89387832699628</c:v>
                </c:pt>
                <c:pt idx="769">
                  <c:v>60.89387832699628</c:v>
                </c:pt>
                <c:pt idx="770">
                  <c:v>60.89387832699628</c:v>
                </c:pt>
                <c:pt idx="771">
                  <c:v>60.89387832699628</c:v>
                </c:pt>
                <c:pt idx="772">
                  <c:v>60.89387832699628</c:v>
                </c:pt>
                <c:pt idx="773">
                  <c:v>60.89387832699628</c:v>
                </c:pt>
                <c:pt idx="774">
                  <c:v>60.89387832699628</c:v>
                </c:pt>
                <c:pt idx="775">
                  <c:v>60.89387832699628</c:v>
                </c:pt>
                <c:pt idx="776">
                  <c:v>60.89387832699628</c:v>
                </c:pt>
                <c:pt idx="777">
                  <c:v>60.89387832699628</c:v>
                </c:pt>
                <c:pt idx="778">
                  <c:v>60.89387832699628</c:v>
                </c:pt>
                <c:pt idx="779">
                  <c:v>60.89387832699628</c:v>
                </c:pt>
                <c:pt idx="780">
                  <c:v>60.89387832699628</c:v>
                </c:pt>
                <c:pt idx="781">
                  <c:v>60.89387832699628</c:v>
                </c:pt>
                <c:pt idx="782">
                  <c:v>60.89387832699628</c:v>
                </c:pt>
                <c:pt idx="783">
                  <c:v>60.89387832699628</c:v>
                </c:pt>
                <c:pt idx="784">
                  <c:v>60.89387832699628</c:v>
                </c:pt>
                <c:pt idx="785">
                  <c:v>60.89387832699628</c:v>
                </c:pt>
                <c:pt idx="786">
                  <c:v>60.89387832699628</c:v>
                </c:pt>
                <c:pt idx="787">
                  <c:v>60.89387832699628</c:v>
                </c:pt>
                <c:pt idx="788">
                  <c:v>60.89387832699628</c:v>
                </c:pt>
                <c:pt idx="789">
                  <c:v>60.89387832699628</c:v>
                </c:pt>
                <c:pt idx="790">
                  <c:v>60.89387832699628</c:v>
                </c:pt>
                <c:pt idx="791">
                  <c:v>60.89387832699628</c:v>
                </c:pt>
                <c:pt idx="792">
                  <c:v>60.89387832699628</c:v>
                </c:pt>
                <c:pt idx="793">
                  <c:v>60.89387832699628</c:v>
                </c:pt>
                <c:pt idx="794">
                  <c:v>60.89387832699628</c:v>
                </c:pt>
                <c:pt idx="795">
                  <c:v>60.89387832699628</c:v>
                </c:pt>
                <c:pt idx="796">
                  <c:v>60.89387832699628</c:v>
                </c:pt>
                <c:pt idx="797">
                  <c:v>60.89387832699628</c:v>
                </c:pt>
                <c:pt idx="798">
                  <c:v>60.89387832699628</c:v>
                </c:pt>
                <c:pt idx="799">
                  <c:v>60.89387832699628</c:v>
                </c:pt>
                <c:pt idx="800">
                  <c:v>60.89387832699628</c:v>
                </c:pt>
                <c:pt idx="801">
                  <c:v>60.89387832699628</c:v>
                </c:pt>
                <c:pt idx="802">
                  <c:v>60.89387832699628</c:v>
                </c:pt>
                <c:pt idx="803">
                  <c:v>60.89387832699628</c:v>
                </c:pt>
                <c:pt idx="804">
                  <c:v>60.89387832699628</c:v>
                </c:pt>
                <c:pt idx="805">
                  <c:v>60.89387832699628</c:v>
                </c:pt>
                <c:pt idx="806">
                  <c:v>60.89387832699628</c:v>
                </c:pt>
                <c:pt idx="807">
                  <c:v>60.89387832699628</c:v>
                </c:pt>
                <c:pt idx="808">
                  <c:v>60.89387832699628</c:v>
                </c:pt>
                <c:pt idx="809">
                  <c:v>60.89387832699628</c:v>
                </c:pt>
                <c:pt idx="810">
                  <c:v>60.89387832699628</c:v>
                </c:pt>
                <c:pt idx="811">
                  <c:v>60.89387832699628</c:v>
                </c:pt>
                <c:pt idx="812">
                  <c:v>60.89387832699628</c:v>
                </c:pt>
                <c:pt idx="813">
                  <c:v>60.89387832699628</c:v>
                </c:pt>
                <c:pt idx="814">
                  <c:v>60.89387832699628</c:v>
                </c:pt>
                <c:pt idx="815">
                  <c:v>60.89387832699628</c:v>
                </c:pt>
                <c:pt idx="816">
                  <c:v>60.89387832699628</c:v>
                </c:pt>
                <c:pt idx="817">
                  <c:v>60.89387832699628</c:v>
                </c:pt>
                <c:pt idx="818">
                  <c:v>60.89387832699628</c:v>
                </c:pt>
                <c:pt idx="819">
                  <c:v>60.89387832699628</c:v>
                </c:pt>
                <c:pt idx="820">
                  <c:v>60.89387832699628</c:v>
                </c:pt>
                <c:pt idx="821">
                  <c:v>60.89387832699628</c:v>
                </c:pt>
                <c:pt idx="822">
                  <c:v>60.89387832699628</c:v>
                </c:pt>
                <c:pt idx="823">
                  <c:v>60.89387832699628</c:v>
                </c:pt>
                <c:pt idx="824">
                  <c:v>60.89387832699628</c:v>
                </c:pt>
                <c:pt idx="825">
                  <c:v>60.89387832699628</c:v>
                </c:pt>
                <c:pt idx="826">
                  <c:v>60.89387832699628</c:v>
                </c:pt>
                <c:pt idx="827">
                  <c:v>60.89387832699628</c:v>
                </c:pt>
                <c:pt idx="828">
                  <c:v>60.89387832699628</c:v>
                </c:pt>
                <c:pt idx="829">
                  <c:v>60.89387832699628</c:v>
                </c:pt>
                <c:pt idx="830">
                  <c:v>60.89387832699628</c:v>
                </c:pt>
                <c:pt idx="831">
                  <c:v>60.89387832699628</c:v>
                </c:pt>
                <c:pt idx="832">
                  <c:v>60.89387832699628</c:v>
                </c:pt>
                <c:pt idx="833">
                  <c:v>60.89387832699628</c:v>
                </c:pt>
                <c:pt idx="834">
                  <c:v>60.89387832699628</c:v>
                </c:pt>
                <c:pt idx="835">
                  <c:v>60.89387832699628</c:v>
                </c:pt>
                <c:pt idx="836">
                  <c:v>60.89387832699628</c:v>
                </c:pt>
                <c:pt idx="837">
                  <c:v>60.89387832699628</c:v>
                </c:pt>
                <c:pt idx="838">
                  <c:v>60.89387832699628</c:v>
                </c:pt>
                <c:pt idx="839">
                  <c:v>60.89387832699628</c:v>
                </c:pt>
                <c:pt idx="840">
                  <c:v>60.89387832699628</c:v>
                </c:pt>
                <c:pt idx="841">
                  <c:v>60.89387832699628</c:v>
                </c:pt>
                <c:pt idx="842">
                  <c:v>60.89387832699628</c:v>
                </c:pt>
                <c:pt idx="843">
                  <c:v>60.89387832699628</c:v>
                </c:pt>
                <c:pt idx="844">
                  <c:v>60.89387832699628</c:v>
                </c:pt>
                <c:pt idx="845">
                  <c:v>60.89387832699628</c:v>
                </c:pt>
                <c:pt idx="846">
                  <c:v>60.89387832699628</c:v>
                </c:pt>
                <c:pt idx="847">
                  <c:v>60.89387832699628</c:v>
                </c:pt>
                <c:pt idx="848">
                  <c:v>60.89387832699628</c:v>
                </c:pt>
                <c:pt idx="849">
                  <c:v>60.89387832699628</c:v>
                </c:pt>
                <c:pt idx="850">
                  <c:v>60.89387832699628</c:v>
                </c:pt>
                <c:pt idx="851">
                  <c:v>60.89387832699628</c:v>
                </c:pt>
                <c:pt idx="852">
                  <c:v>60.89387832699628</c:v>
                </c:pt>
                <c:pt idx="853">
                  <c:v>60.89387832699628</c:v>
                </c:pt>
                <c:pt idx="854">
                  <c:v>60.89387832699628</c:v>
                </c:pt>
                <c:pt idx="855">
                  <c:v>60.89387832699628</c:v>
                </c:pt>
                <c:pt idx="856">
                  <c:v>60.89387832699628</c:v>
                </c:pt>
                <c:pt idx="857">
                  <c:v>60.89387832699628</c:v>
                </c:pt>
                <c:pt idx="858">
                  <c:v>60.89387832699628</c:v>
                </c:pt>
                <c:pt idx="859">
                  <c:v>60.89387832699628</c:v>
                </c:pt>
                <c:pt idx="860">
                  <c:v>60.89387832699628</c:v>
                </c:pt>
                <c:pt idx="861">
                  <c:v>60.89387832699628</c:v>
                </c:pt>
                <c:pt idx="862">
                  <c:v>60.89387832699628</c:v>
                </c:pt>
                <c:pt idx="863">
                  <c:v>60.89387832699628</c:v>
                </c:pt>
                <c:pt idx="864">
                  <c:v>60.89387832699628</c:v>
                </c:pt>
                <c:pt idx="865">
                  <c:v>60.89387832699628</c:v>
                </c:pt>
                <c:pt idx="866">
                  <c:v>60.89387832699628</c:v>
                </c:pt>
                <c:pt idx="867">
                  <c:v>60.89387832699628</c:v>
                </c:pt>
                <c:pt idx="868">
                  <c:v>60.89387832699628</c:v>
                </c:pt>
                <c:pt idx="869">
                  <c:v>60.89387832699628</c:v>
                </c:pt>
                <c:pt idx="870">
                  <c:v>60.89387832699628</c:v>
                </c:pt>
                <c:pt idx="871">
                  <c:v>60.89387832699628</c:v>
                </c:pt>
                <c:pt idx="872">
                  <c:v>60.89387832699628</c:v>
                </c:pt>
                <c:pt idx="873">
                  <c:v>60.89387832699628</c:v>
                </c:pt>
                <c:pt idx="874">
                  <c:v>60.89387832699628</c:v>
                </c:pt>
                <c:pt idx="875">
                  <c:v>60.89387832699628</c:v>
                </c:pt>
                <c:pt idx="876">
                  <c:v>60.89387832699628</c:v>
                </c:pt>
                <c:pt idx="877">
                  <c:v>60.89387832699628</c:v>
                </c:pt>
                <c:pt idx="878">
                  <c:v>60.89387832699628</c:v>
                </c:pt>
                <c:pt idx="879">
                  <c:v>60.89387832699628</c:v>
                </c:pt>
                <c:pt idx="880">
                  <c:v>60.89387832699628</c:v>
                </c:pt>
                <c:pt idx="881">
                  <c:v>60.89387832699628</c:v>
                </c:pt>
                <c:pt idx="882">
                  <c:v>60.89387832699628</c:v>
                </c:pt>
                <c:pt idx="883">
                  <c:v>60.89387832699628</c:v>
                </c:pt>
                <c:pt idx="884">
                  <c:v>60.89387832699628</c:v>
                </c:pt>
                <c:pt idx="885">
                  <c:v>60.89387832699628</c:v>
                </c:pt>
                <c:pt idx="886">
                  <c:v>60.89387832699628</c:v>
                </c:pt>
                <c:pt idx="887">
                  <c:v>60.89387832699628</c:v>
                </c:pt>
                <c:pt idx="888">
                  <c:v>60.89387832699628</c:v>
                </c:pt>
                <c:pt idx="889">
                  <c:v>60.89387832699628</c:v>
                </c:pt>
                <c:pt idx="890">
                  <c:v>60.89387832699628</c:v>
                </c:pt>
                <c:pt idx="891">
                  <c:v>60.89387832699628</c:v>
                </c:pt>
                <c:pt idx="892">
                  <c:v>60.89387832699628</c:v>
                </c:pt>
                <c:pt idx="893">
                  <c:v>60.89387832699628</c:v>
                </c:pt>
                <c:pt idx="894">
                  <c:v>60.89387832699628</c:v>
                </c:pt>
                <c:pt idx="895">
                  <c:v>60.89387832699628</c:v>
                </c:pt>
                <c:pt idx="896">
                  <c:v>60.89387832699628</c:v>
                </c:pt>
                <c:pt idx="897">
                  <c:v>60.89387832699628</c:v>
                </c:pt>
                <c:pt idx="898">
                  <c:v>60.89387832699628</c:v>
                </c:pt>
                <c:pt idx="899">
                  <c:v>60.89387832699628</c:v>
                </c:pt>
                <c:pt idx="900">
                  <c:v>60.89387832699628</c:v>
                </c:pt>
                <c:pt idx="901">
                  <c:v>60.89387832699628</c:v>
                </c:pt>
                <c:pt idx="902">
                  <c:v>60.89387832699628</c:v>
                </c:pt>
                <c:pt idx="903">
                  <c:v>60.89387832699628</c:v>
                </c:pt>
                <c:pt idx="904">
                  <c:v>60.89387832699628</c:v>
                </c:pt>
                <c:pt idx="905">
                  <c:v>60.89387832699628</c:v>
                </c:pt>
                <c:pt idx="906">
                  <c:v>60.89387832699628</c:v>
                </c:pt>
                <c:pt idx="907">
                  <c:v>60.89387832699628</c:v>
                </c:pt>
                <c:pt idx="908">
                  <c:v>60.89387832699628</c:v>
                </c:pt>
                <c:pt idx="909">
                  <c:v>60.89387832699628</c:v>
                </c:pt>
                <c:pt idx="910">
                  <c:v>60.89387832699628</c:v>
                </c:pt>
                <c:pt idx="911">
                  <c:v>60.89387832699628</c:v>
                </c:pt>
                <c:pt idx="912">
                  <c:v>60.89387832699628</c:v>
                </c:pt>
                <c:pt idx="913">
                  <c:v>60.89387832699628</c:v>
                </c:pt>
                <c:pt idx="914">
                  <c:v>60.89387832699628</c:v>
                </c:pt>
                <c:pt idx="915">
                  <c:v>60.89387832699628</c:v>
                </c:pt>
                <c:pt idx="916">
                  <c:v>60.89387832699628</c:v>
                </c:pt>
                <c:pt idx="917">
                  <c:v>60.89387832699628</c:v>
                </c:pt>
                <c:pt idx="918">
                  <c:v>60.89387832699628</c:v>
                </c:pt>
                <c:pt idx="919">
                  <c:v>60.89387832699628</c:v>
                </c:pt>
                <c:pt idx="920">
                  <c:v>60.89387832699628</c:v>
                </c:pt>
                <c:pt idx="921">
                  <c:v>60.89387832699628</c:v>
                </c:pt>
                <c:pt idx="922">
                  <c:v>60.89387832699628</c:v>
                </c:pt>
                <c:pt idx="923">
                  <c:v>60.89387832699628</c:v>
                </c:pt>
                <c:pt idx="924">
                  <c:v>60.89387832699628</c:v>
                </c:pt>
                <c:pt idx="925">
                  <c:v>60.89387832699628</c:v>
                </c:pt>
                <c:pt idx="926">
                  <c:v>60.89387832699628</c:v>
                </c:pt>
                <c:pt idx="927">
                  <c:v>60.89387832699628</c:v>
                </c:pt>
                <c:pt idx="928">
                  <c:v>60.89387832699628</c:v>
                </c:pt>
                <c:pt idx="929">
                  <c:v>60.89387832699628</c:v>
                </c:pt>
                <c:pt idx="930">
                  <c:v>60.89387832699628</c:v>
                </c:pt>
                <c:pt idx="931">
                  <c:v>60.89387832699628</c:v>
                </c:pt>
                <c:pt idx="932">
                  <c:v>60.89387832699628</c:v>
                </c:pt>
                <c:pt idx="933">
                  <c:v>60.89387832699628</c:v>
                </c:pt>
                <c:pt idx="934">
                  <c:v>60.89387832699628</c:v>
                </c:pt>
                <c:pt idx="935">
                  <c:v>60.89387832699628</c:v>
                </c:pt>
                <c:pt idx="936">
                  <c:v>60.89387832699628</c:v>
                </c:pt>
                <c:pt idx="937">
                  <c:v>60.89387832699628</c:v>
                </c:pt>
                <c:pt idx="938">
                  <c:v>60.89387832699628</c:v>
                </c:pt>
                <c:pt idx="939">
                  <c:v>60.89387832699628</c:v>
                </c:pt>
                <c:pt idx="940">
                  <c:v>60.89387832699628</c:v>
                </c:pt>
                <c:pt idx="941">
                  <c:v>60.89387832699628</c:v>
                </c:pt>
                <c:pt idx="942">
                  <c:v>60.89387832699628</c:v>
                </c:pt>
                <c:pt idx="943">
                  <c:v>60.89387832699628</c:v>
                </c:pt>
                <c:pt idx="944">
                  <c:v>60.89387832699628</c:v>
                </c:pt>
                <c:pt idx="945">
                  <c:v>60.89387832699628</c:v>
                </c:pt>
                <c:pt idx="946">
                  <c:v>60.89387832699628</c:v>
                </c:pt>
                <c:pt idx="947">
                  <c:v>60.89387832699628</c:v>
                </c:pt>
                <c:pt idx="948">
                  <c:v>60.89387832699628</c:v>
                </c:pt>
                <c:pt idx="949">
                  <c:v>60.89387832699628</c:v>
                </c:pt>
                <c:pt idx="950">
                  <c:v>60.89387832699628</c:v>
                </c:pt>
                <c:pt idx="951">
                  <c:v>60.89387832699628</c:v>
                </c:pt>
                <c:pt idx="952">
                  <c:v>60.89387832699628</c:v>
                </c:pt>
                <c:pt idx="953">
                  <c:v>60.89387832699628</c:v>
                </c:pt>
                <c:pt idx="954">
                  <c:v>60.89387832699628</c:v>
                </c:pt>
                <c:pt idx="955">
                  <c:v>60.89387832699628</c:v>
                </c:pt>
                <c:pt idx="956">
                  <c:v>60.89387832699628</c:v>
                </c:pt>
                <c:pt idx="957">
                  <c:v>60.89387832699628</c:v>
                </c:pt>
                <c:pt idx="958">
                  <c:v>60.89387832699628</c:v>
                </c:pt>
                <c:pt idx="959">
                  <c:v>60.89387832699628</c:v>
                </c:pt>
                <c:pt idx="960">
                  <c:v>60.89387832699628</c:v>
                </c:pt>
                <c:pt idx="961">
                  <c:v>60.89387832699628</c:v>
                </c:pt>
                <c:pt idx="962">
                  <c:v>60.89387832699628</c:v>
                </c:pt>
                <c:pt idx="963">
                  <c:v>60.89387832699628</c:v>
                </c:pt>
                <c:pt idx="964">
                  <c:v>60.89387832699628</c:v>
                </c:pt>
                <c:pt idx="965">
                  <c:v>60.89387832699628</c:v>
                </c:pt>
                <c:pt idx="966">
                  <c:v>60.89387832699628</c:v>
                </c:pt>
                <c:pt idx="967">
                  <c:v>60.89387832699628</c:v>
                </c:pt>
                <c:pt idx="968">
                  <c:v>60.89387832699628</c:v>
                </c:pt>
                <c:pt idx="969">
                  <c:v>60.89387832699628</c:v>
                </c:pt>
                <c:pt idx="970">
                  <c:v>60.89387832699628</c:v>
                </c:pt>
                <c:pt idx="971">
                  <c:v>60.89387832699628</c:v>
                </c:pt>
                <c:pt idx="972">
                  <c:v>60.89387832699628</c:v>
                </c:pt>
                <c:pt idx="973">
                  <c:v>60.89387832699628</c:v>
                </c:pt>
                <c:pt idx="974">
                  <c:v>60.89387832699628</c:v>
                </c:pt>
                <c:pt idx="975">
                  <c:v>60.89387832699628</c:v>
                </c:pt>
                <c:pt idx="976">
                  <c:v>60.89387832699628</c:v>
                </c:pt>
                <c:pt idx="977">
                  <c:v>60.89387832699628</c:v>
                </c:pt>
                <c:pt idx="978">
                  <c:v>60.89387832699628</c:v>
                </c:pt>
                <c:pt idx="979">
                  <c:v>60.89387832699628</c:v>
                </c:pt>
                <c:pt idx="980">
                  <c:v>60.89387832699628</c:v>
                </c:pt>
                <c:pt idx="981">
                  <c:v>60.89387832699628</c:v>
                </c:pt>
                <c:pt idx="982">
                  <c:v>60.89387832699628</c:v>
                </c:pt>
                <c:pt idx="983">
                  <c:v>60.89387832699628</c:v>
                </c:pt>
                <c:pt idx="984">
                  <c:v>60.89387832699628</c:v>
                </c:pt>
                <c:pt idx="985">
                  <c:v>60.89387832699628</c:v>
                </c:pt>
                <c:pt idx="986">
                  <c:v>60.89387832699628</c:v>
                </c:pt>
                <c:pt idx="987">
                  <c:v>60.89387832699628</c:v>
                </c:pt>
                <c:pt idx="988">
                  <c:v>60.89387832699628</c:v>
                </c:pt>
                <c:pt idx="989">
                  <c:v>60.89387832699628</c:v>
                </c:pt>
                <c:pt idx="990">
                  <c:v>60.89387832699628</c:v>
                </c:pt>
                <c:pt idx="991">
                  <c:v>60.89387832699628</c:v>
                </c:pt>
                <c:pt idx="992">
                  <c:v>60.89387832699628</c:v>
                </c:pt>
                <c:pt idx="993">
                  <c:v>60.89387832699628</c:v>
                </c:pt>
                <c:pt idx="994">
                  <c:v>60.89387832699628</c:v>
                </c:pt>
                <c:pt idx="995">
                  <c:v>60.89387832699628</c:v>
                </c:pt>
                <c:pt idx="996">
                  <c:v>60.89387832699628</c:v>
                </c:pt>
                <c:pt idx="997">
                  <c:v>60.89387832699628</c:v>
                </c:pt>
                <c:pt idx="998">
                  <c:v>60.89387832699628</c:v>
                </c:pt>
                <c:pt idx="999">
                  <c:v>60.89387832699628</c:v>
                </c:pt>
                <c:pt idx="1000">
                  <c:v>60.89387832699628</c:v>
                </c:pt>
                <c:pt idx="1001">
                  <c:v>60.89387832699628</c:v>
                </c:pt>
                <c:pt idx="1002">
                  <c:v>60.89387832699628</c:v>
                </c:pt>
                <c:pt idx="1003">
                  <c:v>60.89387832699628</c:v>
                </c:pt>
                <c:pt idx="1004">
                  <c:v>60.89387832699628</c:v>
                </c:pt>
                <c:pt idx="1005">
                  <c:v>60.89387832699628</c:v>
                </c:pt>
                <c:pt idx="1006">
                  <c:v>60.89387832699628</c:v>
                </c:pt>
                <c:pt idx="1007">
                  <c:v>60.89387832699628</c:v>
                </c:pt>
                <c:pt idx="1008">
                  <c:v>60.89387832699628</c:v>
                </c:pt>
                <c:pt idx="1009">
                  <c:v>60.89387832699628</c:v>
                </c:pt>
                <c:pt idx="1010">
                  <c:v>60.89387832699628</c:v>
                </c:pt>
                <c:pt idx="1011">
                  <c:v>60.89387832699628</c:v>
                </c:pt>
                <c:pt idx="1012">
                  <c:v>60.89387832699628</c:v>
                </c:pt>
                <c:pt idx="1013">
                  <c:v>60.89387832699628</c:v>
                </c:pt>
                <c:pt idx="1014">
                  <c:v>60.89387832699628</c:v>
                </c:pt>
                <c:pt idx="1015">
                  <c:v>60.89387832699628</c:v>
                </c:pt>
                <c:pt idx="1016">
                  <c:v>60.89387832699628</c:v>
                </c:pt>
                <c:pt idx="1017">
                  <c:v>60.89387832699628</c:v>
                </c:pt>
                <c:pt idx="1018">
                  <c:v>60.89387832699628</c:v>
                </c:pt>
                <c:pt idx="1019">
                  <c:v>60.89387832699628</c:v>
                </c:pt>
                <c:pt idx="1020">
                  <c:v>60.89387832699628</c:v>
                </c:pt>
                <c:pt idx="1021">
                  <c:v>60.89387832699628</c:v>
                </c:pt>
                <c:pt idx="1022">
                  <c:v>60.89387832699628</c:v>
                </c:pt>
                <c:pt idx="1023">
                  <c:v>60.89387832699628</c:v>
                </c:pt>
                <c:pt idx="1024">
                  <c:v>60.89387832699628</c:v>
                </c:pt>
                <c:pt idx="1025">
                  <c:v>60.89387832699628</c:v>
                </c:pt>
                <c:pt idx="1026">
                  <c:v>60.89387832699628</c:v>
                </c:pt>
                <c:pt idx="1027">
                  <c:v>60.89387832699628</c:v>
                </c:pt>
                <c:pt idx="1028">
                  <c:v>60.89387832699628</c:v>
                </c:pt>
                <c:pt idx="1029">
                  <c:v>60.89387832699628</c:v>
                </c:pt>
                <c:pt idx="1030">
                  <c:v>60.89387832699628</c:v>
                </c:pt>
                <c:pt idx="1031">
                  <c:v>60.89387832699628</c:v>
                </c:pt>
                <c:pt idx="1032">
                  <c:v>60.89387832699628</c:v>
                </c:pt>
                <c:pt idx="1033">
                  <c:v>60.89387832699628</c:v>
                </c:pt>
                <c:pt idx="1034">
                  <c:v>60.89387832699628</c:v>
                </c:pt>
                <c:pt idx="1035">
                  <c:v>60.89387832699628</c:v>
                </c:pt>
                <c:pt idx="1036">
                  <c:v>60.89387832699628</c:v>
                </c:pt>
                <c:pt idx="1037">
                  <c:v>60.89387832699628</c:v>
                </c:pt>
                <c:pt idx="1038">
                  <c:v>60.89387832699628</c:v>
                </c:pt>
                <c:pt idx="1039">
                  <c:v>60.89387832699628</c:v>
                </c:pt>
                <c:pt idx="1040">
                  <c:v>60.89387832699628</c:v>
                </c:pt>
                <c:pt idx="1041">
                  <c:v>60.89387832699628</c:v>
                </c:pt>
                <c:pt idx="1042">
                  <c:v>60.89387832699628</c:v>
                </c:pt>
                <c:pt idx="1043">
                  <c:v>60.89387832699628</c:v>
                </c:pt>
                <c:pt idx="1044">
                  <c:v>60.89387832699628</c:v>
                </c:pt>
                <c:pt idx="1045">
                  <c:v>60.89387832699628</c:v>
                </c:pt>
                <c:pt idx="1046">
                  <c:v>60.89387832699628</c:v>
                </c:pt>
                <c:pt idx="1047">
                  <c:v>60.89387832699628</c:v>
                </c:pt>
                <c:pt idx="1048">
                  <c:v>60.89387832699628</c:v>
                </c:pt>
                <c:pt idx="1049">
                  <c:v>60.89387832699628</c:v>
                </c:pt>
                <c:pt idx="1050">
                  <c:v>60.89387832699628</c:v>
                </c:pt>
                <c:pt idx="1051">
                  <c:v>60.89387832699628</c:v>
                </c:pt>
                <c:pt idx="1052">
                  <c:v>60.89387832699628</c:v>
                </c:pt>
                <c:pt idx="1053">
                  <c:v>60.89387832699628</c:v>
                </c:pt>
                <c:pt idx="1054">
                  <c:v>60.89387832699628</c:v>
                </c:pt>
                <c:pt idx="1055">
                  <c:v>60.89387832699628</c:v>
                </c:pt>
                <c:pt idx="1056">
                  <c:v>60.89387832699628</c:v>
                </c:pt>
                <c:pt idx="1057">
                  <c:v>60.89387832699628</c:v>
                </c:pt>
                <c:pt idx="1058">
                  <c:v>60.89387832699628</c:v>
                </c:pt>
                <c:pt idx="1059">
                  <c:v>60.89387832699628</c:v>
                </c:pt>
                <c:pt idx="1060">
                  <c:v>60.89387832699628</c:v>
                </c:pt>
                <c:pt idx="1061">
                  <c:v>60.89387832699628</c:v>
                </c:pt>
                <c:pt idx="1062">
                  <c:v>60.89387832699628</c:v>
                </c:pt>
                <c:pt idx="1063">
                  <c:v>60.89387832699628</c:v>
                </c:pt>
                <c:pt idx="1064">
                  <c:v>60.89387832699628</c:v>
                </c:pt>
                <c:pt idx="1065">
                  <c:v>60.89387832699628</c:v>
                </c:pt>
                <c:pt idx="1066">
                  <c:v>60.89387832699628</c:v>
                </c:pt>
                <c:pt idx="1067">
                  <c:v>60.89387832699628</c:v>
                </c:pt>
                <c:pt idx="1068">
                  <c:v>60.89387832699628</c:v>
                </c:pt>
                <c:pt idx="1069">
                  <c:v>60.89387832699628</c:v>
                </c:pt>
                <c:pt idx="1070">
                  <c:v>60.89387832699628</c:v>
                </c:pt>
                <c:pt idx="1071">
                  <c:v>60.89387832699628</c:v>
                </c:pt>
                <c:pt idx="1072">
                  <c:v>60.89387832699628</c:v>
                </c:pt>
                <c:pt idx="1073">
                  <c:v>60.89387832699628</c:v>
                </c:pt>
                <c:pt idx="1074">
                  <c:v>60.89387832699628</c:v>
                </c:pt>
                <c:pt idx="1075">
                  <c:v>60.89387832699628</c:v>
                </c:pt>
                <c:pt idx="1076">
                  <c:v>60.89387832699628</c:v>
                </c:pt>
                <c:pt idx="1077">
                  <c:v>60.89387832699628</c:v>
                </c:pt>
                <c:pt idx="1078">
                  <c:v>60.89387832699628</c:v>
                </c:pt>
                <c:pt idx="1079">
                  <c:v>60.89387832699628</c:v>
                </c:pt>
                <c:pt idx="1080">
                  <c:v>60.89387832699628</c:v>
                </c:pt>
                <c:pt idx="1081">
                  <c:v>60.89387832699628</c:v>
                </c:pt>
                <c:pt idx="1082">
                  <c:v>60.89387832699628</c:v>
                </c:pt>
                <c:pt idx="1083">
                  <c:v>60.89387832699628</c:v>
                </c:pt>
                <c:pt idx="1084">
                  <c:v>60.89387832699628</c:v>
                </c:pt>
                <c:pt idx="1085">
                  <c:v>60.89387832699628</c:v>
                </c:pt>
                <c:pt idx="1086">
                  <c:v>60.89387832699628</c:v>
                </c:pt>
                <c:pt idx="1087">
                  <c:v>60.89387832699628</c:v>
                </c:pt>
                <c:pt idx="1088">
                  <c:v>60.89387832699628</c:v>
                </c:pt>
                <c:pt idx="1089">
                  <c:v>60.89387832699628</c:v>
                </c:pt>
                <c:pt idx="1090">
                  <c:v>60.89387832699628</c:v>
                </c:pt>
                <c:pt idx="1091">
                  <c:v>60.89387832699628</c:v>
                </c:pt>
                <c:pt idx="1092">
                  <c:v>60.89387832699628</c:v>
                </c:pt>
                <c:pt idx="1093">
                  <c:v>60.89387832699628</c:v>
                </c:pt>
                <c:pt idx="1094">
                  <c:v>60.89387832699628</c:v>
                </c:pt>
                <c:pt idx="1095">
                  <c:v>60.89387832699628</c:v>
                </c:pt>
                <c:pt idx="1096">
                  <c:v>60.89387832699628</c:v>
                </c:pt>
                <c:pt idx="1097">
                  <c:v>60.89387832699628</c:v>
                </c:pt>
                <c:pt idx="1098">
                  <c:v>60.89387832699628</c:v>
                </c:pt>
                <c:pt idx="1099">
                  <c:v>60.89387832699628</c:v>
                </c:pt>
                <c:pt idx="1100">
                  <c:v>60.89387832699628</c:v>
                </c:pt>
                <c:pt idx="1101">
                  <c:v>60.89387832699628</c:v>
                </c:pt>
                <c:pt idx="1102">
                  <c:v>60.89387832699628</c:v>
                </c:pt>
                <c:pt idx="1103">
                  <c:v>60.89387832699628</c:v>
                </c:pt>
                <c:pt idx="1104">
                  <c:v>60.89387832699628</c:v>
                </c:pt>
                <c:pt idx="1105">
                  <c:v>60.89387832699628</c:v>
                </c:pt>
                <c:pt idx="1106">
                  <c:v>60.89387832699628</c:v>
                </c:pt>
                <c:pt idx="1107">
                  <c:v>60.89387832699628</c:v>
                </c:pt>
                <c:pt idx="1108">
                  <c:v>60.89387832699628</c:v>
                </c:pt>
                <c:pt idx="1109">
                  <c:v>60.89387832699628</c:v>
                </c:pt>
                <c:pt idx="1110">
                  <c:v>60.89387832699628</c:v>
                </c:pt>
                <c:pt idx="1111">
                  <c:v>60.89387832699628</c:v>
                </c:pt>
                <c:pt idx="1112">
                  <c:v>60.89387832699628</c:v>
                </c:pt>
                <c:pt idx="1113">
                  <c:v>60.89387832699628</c:v>
                </c:pt>
                <c:pt idx="1114">
                  <c:v>60.89387832699628</c:v>
                </c:pt>
                <c:pt idx="1115">
                  <c:v>60.89387832699628</c:v>
                </c:pt>
                <c:pt idx="1116">
                  <c:v>60.89387832699628</c:v>
                </c:pt>
                <c:pt idx="1117">
                  <c:v>60.89387832699628</c:v>
                </c:pt>
                <c:pt idx="1118">
                  <c:v>60.89387832699628</c:v>
                </c:pt>
                <c:pt idx="1119">
                  <c:v>60.89387832699628</c:v>
                </c:pt>
                <c:pt idx="1120">
                  <c:v>60.89387832699628</c:v>
                </c:pt>
                <c:pt idx="1121">
                  <c:v>60.89387832699628</c:v>
                </c:pt>
                <c:pt idx="1122">
                  <c:v>60.89387832699628</c:v>
                </c:pt>
                <c:pt idx="1123">
                  <c:v>60.89387832699628</c:v>
                </c:pt>
                <c:pt idx="1124">
                  <c:v>60.89387832699628</c:v>
                </c:pt>
                <c:pt idx="1125">
                  <c:v>60.89387832699628</c:v>
                </c:pt>
                <c:pt idx="1126">
                  <c:v>60.89387832699628</c:v>
                </c:pt>
                <c:pt idx="1127">
                  <c:v>60.89387832699628</c:v>
                </c:pt>
                <c:pt idx="1128">
                  <c:v>60.89387832699628</c:v>
                </c:pt>
                <c:pt idx="1129">
                  <c:v>60.89387832699628</c:v>
                </c:pt>
                <c:pt idx="1130">
                  <c:v>60.89387832699628</c:v>
                </c:pt>
                <c:pt idx="1131">
                  <c:v>60.89387832699628</c:v>
                </c:pt>
                <c:pt idx="1132">
                  <c:v>60.89387832699628</c:v>
                </c:pt>
                <c:pt idx="1133">
                  <c:v>60.89387832699628</c:v>
                </c:pt>
                <c:pt idx="1134">
                  <c:v>60.89387832699628</c:v>
                </c:pt>
                <c:pt idx="1135">
                  <c:v>60.89387832699628</c:v>
                </c:pt>
                <c:pt idx="1136">
                  <c:v>60.89387832699628</c:v>
                </c:pt>
                <c:pt idx="1137">
                  <c:v>60.89387832699628</c:v>
                </c:pt>
                <c:pt idx="1138">
                  <c:v>60.89387832699628</c:v>
                </c:pt>
                <c:pt idx="1139">
                  <c:v>60.89387832699628</c:v>
                </c:pt>
                <c:pt idx="1140">
                  <c:v>60.89387832699628</c:v>
                </c:pt>
                <c:pt idx="1141">
                  <c:v>60.89387832699628</c:v>
                </c:pt>
                <c:pt idx="1142">
                  <c:v>60.89387832699628</c:v>
                </c:pt>
                <c:pt idx="1143">
                  <c:v>60.89387832699628</c:v>
                </c:pt>
                <c:pt idx="1144">
                  <c:v>60.89387832699628</c:v>
                </c:pt>
                <c:pt idx="1145">
                  <c:v>60.89387832699628</c:v>
                </c:pt>
                <c:pt idx="1146">
                  <c:v>60.89387832699628</c:v>
                </c:pt>
                <c:pt idx="1147">
                  <c:v>60.89387832699628</c:v>
                </c:pt>
                <c:pt idx="1148">
                  <c:v>60.89387832699628</c:v>
                </c:pt>
                <c:pt idx="1149">
                  <c:v>60.89387832699628</c:v>
                </c:pt>
                <c:pt idx="1150">
                  <c:v>60.89387832699628</c:v>
                </c:pt>
                <c:pt idx="1151">
                  <c:v>60.89387832699628</c:v>
                </c:pt>
                <c:pt idx="1152">
                  <c:v>60.89387832699628</c:v>
                </c:pt>
                <c:pt idx="1153">
                  <c:v>60.89387832699628</c:v>
                </c:pt>
                <c:pt idx="1154">
                  <c:v>60.89387832699628</c:v>
                </c:pt>
                <c:pt idx="1155">
                  <c:v>60.89387832699628</c:v>
                </c:pt>
                <c:pt idx="1156">
                  <c:v>60.89387832699628</c:v>
                </c:pt>
                <c:pt idx="1157">
                  <c:v>60.89387832699628</c:v>
                </c:pt>
                <c:pt idx="1158">
                  <c:v>60.89387832699628</c:v>
                </c:pt>
                <c:pt idx="1159">
                  <c:v>60.89387832699628</c:v>
                </c:pt>
                <c:pt idx="1160">
                  <c:v>60.89387832699628</c:v>
                </c:pt>
                <c:pt idx="1161">
                  <c:v>60.89387832699628</c:v>
                </c:pt>
                <c:pt idx="1162">
                  <c:v>60.89387832699628</c:v>
                </c:pt>
                <c:pt idx="1163">
                  <c:v>60.89387832699628</c:v>
                </c:pt>
                <c:pt idx="1164">
                  <c:v>60.89387832699628</c:v>
                </c:pt>
                <c:pt idx="1165">
                  <c:v>60.89387832699628</c:v>
                </c:pt>
                <c:pt idx="1166">
                  <c:v>60.89387832699628</c:v>
                </c:pt>
                <c:pt idx="1167">
                  <c:v>60.89387832699628</c:v>
                </c:pt>
                <c:pt idx="1168">
                  <c:v>60.89387832699628</c:v>
                </c:pt>
                <c:pt idx="1169">
                  <c:v>60.89387832699628</c:v>
                </c:pt>
                <c:pt idx="1170">
                  <c:v>60.89387832699628</c:v>
                </c:pt>
                <c:pt idx="1171">
                  <c:v>60.89387832699628</c:v>
                </c:pt>
                <c:pt idx="1172">
                  <c:v>60.89387832699628</c:v>
                </c:pt>
                <c:pt idx="1173">
                  <c:v>60.89387832699628</c:v>
                </c:pt>
                <c:pt idx="1174">
                  <c:v>60.89387832699628</c:v>
                </c:pt>
                <c:pt idx="1175">
                  <c:v>60.89387832699628</c:v>
                </c:pt>
                <c:pt idx="1176">
                  <c:v>60.89387832699628</c:v>
                </c:pt>
                <c:pt idx="1177">
                  <c:v>60.89387832699628</c:v>
                </c:pt>
                <c:pt idx="1178">
                  <c:v>60.89387832699628</c:v>
                </c:pt>
                <c:pt idx="1179">
                  <c:v>60.89387832699628</c:v>
                </c:pt>
                <c:pt idx="1180">
                  <c:v>60.89387832699628</c:v>
                </c:pt>
                <c:pt idx="1181">
                  <c:v>60.89387832699628</c:v>
                </c:pt>
                <c:pt idx="1182">
                  <c:v>60.89387832699628</c:v>
                </c:pt>
                <c:pt idx="1183">
                  <c:v>60.89387832699628</c:v>
                </c:pt>
                <c:pt idx="1184">
                  <c:v>60.89387832699628</c:v>
                </c:pt>
                <c:pt idx="1185">
                  <c:v>60.89387832699628</c:v>
                </c:pt>
                <c:pt idx="1186">
                  <c:v>60.89387832699628</c:v>
                </c:pt>
                <c:pt idx="1187">
                  <c:v>60.89387832699628</c:v>
                </c:pt>
                <c:pt idx="1188">
                  <c:v>60.89387832699628</c:v>
                </c:pt>
                <c:pt idx="1189">
                  <c:v>60.89387832699628</c:v>
                </c:pt>
                <c:pt idx="1190">
                  <c:v>60.89387832699628</c:v>
                </c:pt>
                <c:pt idx="1191">
                  <c:v>60.89387832699628</c:v>
                </c:pt>
                <c:pt idx="1192">
                  <c:v>60.89387832699628</c:v>
                </c:pt>
                <c:pt idx="1193">
                  <c:v>60.89387832699628</c:v>
                </c:pt>
                <c:pt idx="1194">
                  <c:v>60.89387832699628</c:v>
                </c:pt>
                <c:pt idx="1195">
                  <c:v>60.89387832699628</c:v>
                </c:pt>
                <c:pt idx="1196">
                  <c:v>60.89387832699628</c:v>
                </c:pt>
                <c:pt idx="1197">
                  <c:v>60.89387832699628</c:v>
                </c:pt>
                <c:pt idx="1198">
                  <c:v>60.89387832699628</c:v>
                </c:pt>
                <c:pt idx="1199">
                  <c:v>60.89387832699628</c:v>
                </c:pt>
                <c:pt idx="1200">
                  <c:v>60.89387832699628</c:v>
                </c:pt>
                <c:pt idx="1201">
                  <c:v>60.89387832699628</c:v>
                </c:pt>
                <c:pt idx="1202">
                  <c:v>60.89387832699628</c:v>
                </c:pt>
                <c:pt idx="1203">
                  <c:v>60.89387832699628</c:v>
                </c:pt>
                <c:pt idx="1204">
                  <c:v>60.89387832699628</c:v>
                </c:pt>
                <c:pt idx="1205">
                  <c:v>60.89387832699628</c:v>
                </c:pt>
                <c:pt idx="1206">
                  <c:v>60.89387832699628</c:v>
                </c:pt>
                <c:pt idx="1207">
                  <c:v>60.89387832699628</c:v>
                </c:pt>
                <c:pt idx="1208">
                  <c:v>60.89387832699628</c:v>
                </c:pt>
                <c:pt idx="1209">
                  <c:v>60.89387832699628</c:v>
                </c:pt>
                <c:pt idx="1210">
                  <c:v>60.89387832699628</c:v>
                </c:pt>
                <c:pt idx="1211">
                  <c:v>60.89387832699628</c:v>
                </c:pt>
                <c:pt idx="1212">
                  <c:v>60.89387832699628</c:v>
                </c:pt>
                <c:pt idx="1213">
                  <c:v>60.89387832699628</c:v>
                </c:pt>
                <c:pt idx="1214">
                  <c:v>60.89387832699628</c:v>
                </c:pt>
                <c:pt idx="1215">
                  <c:v>60.89387832699628</c:v>
                </c:pt>
                <c:pt idx="1216">
                  <c:v>60.89387832699628</c:v>
                </c:pt>
                <c:pt idx="1217">
                  <c:v>60.89387832699628</c:v>
                </c:pt>
                <c:pt idx="1218">
                  <c:v>60.89387832699628</c:v>
                </c:pt>
                <c:pt idx="1219">
                  <c:v>60.89387832699628</c:v>
                </c:pt>
                <c:pt idx="1220">
                  <c:v>60.89387832699628</c:v>
                </c:pt>
                <c:pt idx="1221">
                  <c:v>60.89387832699628</c:v>
                </c:pt>
                <c:pt idx="1222">
                  <c:v>60.89387832699628</c:v>
                </c:pt>
                <c:pt idx="1223">
                  <c:v>60.89387832699628</c:v>
                </c:pt>
                <c:pt idx="1224">
                  <c:v>60.89387832699628</c:v>
                </c:pt>
                <c:pt idx="1225">
                  <c:v>60.89387832699628</c:v>
                </c:pt>
                <c:pt idx="1226">
                  <c:v>60.89387832699628</c:v>
                </c:pt>
                <c:pt idx="1227">
                  <c:v>60.89387832699628</c:v>
                </c:pt>
                <c:pt idx="1228">
                  <c:v>60.89387832699628</c:v>
                </c:pt>
                <c:pt idx="1229">
                  <c:v>60.89387832699628</c:v>
                </c:pt>
                <c:pt idx="1230">
                  <c:v>60.89387832699628</c:v>
                </c:pt>
                <c:pt idx="1231">
                  <c:v>60.89387832699628</c:v>
                </c:pt>
                <c:pt idx="1232">
                  <c:v>60.89387832699628</c:v>
                </c:pt>
                <c:pt idx="1233">
                  <c:v>60.89387832699628</c:v>
                </c:pt>
                <c:pt idx="1234">
                  <c:v>60.89387832699628</c:v>
                </c:pt>
                <c:pt idx="1235">
                  <c:v>60.89387832699628</c:v>
                </c:pt>
                <c:pt idx="1236">
                  <c:v>60.89387832699628</c:v>
                </c:pt>
                <c:pt idx="1237">
                  <c:v>60.89387832699628</c:v>
                </c:pt>
                <c:pt idx="1238">
                  <c:v>60.89387832699628</c:v>
                </c:pt>
                <c:pt idx="1239">
                  <c:v>60.89387832699628</c:v>
                </c:pt>
                <c:pt idx="1240">
                  <c:v>60.89387832699628</c:v>
                </c:pt>
                <c:pt idx="1241">
                  <c:v>60.89387832699628</c:v>
                </c:pt>
                <c:pt idx="1242">
                  <c:v>60.89387832699628</c:v>
                </c:pt>
                <c:pt idx="1243">
                  <c:v>60.89387832699628</c:v>
                </c:pt>
                <c:pt idx="1244">
                  <c:v>60.89387832699628</c:v>
                </c:pt>
                <c:pt idx="1245">
                  <c:v>60.89387832699628</c:v>
                </c:pt>
                <c:pt idx="1246">
                  <c:v>60.89387832699628</c:v>
                </c:pt>
                <c:pt idx="1247">
                  <c:v>60.89387832699628</c:v>
                </c:pt>
                <c:pt idx="1248">
                  <c:v>60.89387832699628</c:v>
                </c:pt>
                <c:pt idx="1249">
                  <c:v>60.89387832699628</c:v>
                </c:pt>
                <c:pt idx="1250">
                  <c:v>60.89387832699628</c:v>
                </c:pt>
                <c:pt idx="1251">
                  <c:v>60.89387832699628</c:v>
                </c:pt>
                <c:pt idx="1252">
                  <c:v>60.89387832699628</c:v>
                </c:pt>
                <c:pt idx="1253">
                  <c:v>60.89387832699628</c:v>
                </c:pt>
                <c:pt idx="1254">
                  <c:v>60.89387832699628</c:v>
                </c:pt>
                <c:pt idx="1255">
                  <c:v>60.89387832699628</c:v>
                </c:pt>
                <c:pt idx="1256">
                  <c:v>60.89387832699628</c:v>
                </c:pt>
                <c:pt idx="1257">
                  <c:v>60.89387832699628</c:v>
                </c:pt>
                <c:pt idx="1258">
                  <c:v>60.89387832699628</c:v>
                </c:pt>
                <c:pt idx="1259">
                  <c:v>60.89387832699628</c:v>
                </c:pt>
                <c:pt idx="1260">
                  <c:v>60.89387832699628</c:v>
                </c:pt>
                <c:pt idx="1261">
                  <c:v>60.89387832699628</c:v>
                </c:pt>
                <c:pt idx="1262">
                  <c:v>60.89387832699628</c:v>
                </c:pt>
                <c:pt idx="1263">
                  <c:v>60.89387832699628</c:v>
                </c:pt>
                <c:pt idx="1264">
                  <c:v>60.89387832699628</c:v>
                </c:pt>
                <c:pt idx="1265">
                  <c:v>60.89387832699628</c:v>
                </c:pt>
                <c:pt idx="1266">
                  <c:v>60.89387832699628</c:v>
                </c:pt>
                <c:pt idx="1267">
                  <c:v>60.89387832699628</c:v>
                </c:pt>
                <c:pt idx="1268">
                  <c:v>60.89387832699628</c:v>
                </c:pt>
                <c:pt idx="1269">
                  <c:v>60.89387832699628</c:v>
                </c:pt>
                <c:pt idx="1270">
                  <c:v>60.89387832699628</c:v>
                </c:pt>
                <c:pt idx="1271">
                  <c:v>60.89387832699628</c:v>
                </c:pt>
                <c:pt idx="1272">
                  <c:v>60.89387832699628</c:v>
                </c:pt>
                <c:pt idx="1273">
                  <c:v>60.89387832699628</c:v>
                </c:pt>
                <c:pt idx="1274">
                  <c:v>60.89387832699628</c:v>
                </c:pt>
                <c:pt idx="1275">
                  <c:v>60.89387832699628</c:v>
                </c:pt>
                <c:pt idx="1276">
                  <c:v>60.89387832699628</c:v>
                </c:pt>
                <c:pt idx="1277">
                  <c:v>60.89387832699628</c:v>
                </c:pt>
                <c:pt idx="1278">
                  <c:v>60.89387832699628</c:v>
                </c:pt>
                <c:pt idx="1279">
                  <c:v>60.89387832699628</c:v>
                </c:pt>
                <c:pt idx="1280">
                  <c:v>60.89387832699628</c:v>
                </c:pt>
                <c:pt idx="1281">
                  <c:v>60.89387832699628</c:v>
                </c:pt>
                <c:pt idx="1282">
                  <c:v>60.89387832699628</c:v>
                </c:pt>
                <c:pt idx="1283">
                  <c:v>60.89387832699628</c:v>
                </c:pt>
                <c:pt idx="1284">
                  <c:v>60.89387832699628</c:v>
                </c:pt>
                <c:pt idx="1285">
                  <c:v>60.89387832699628</c:v>
                </c:pt>
                <c:pt idx="1286">
                  <c:v>60.89387832699628</c:v>
                </c:pt>
                <c:pt idx="1287">
                  <c:v>60.89387832699628</c:v>
                </c:pt>
                <c:pt idx="1288">
                  <c:v>60.89387832699628</c:v>
                </c:pt>
                <c:pt idx="1289">
                  <c:v>60.89387832699628</c:v>
                </c:pt>
                <c:pt idx="1290">
                  <c:v>60.89387832699628</c:v>
                </c:pt>
                <c:pt idx="1291">
                  <c:v>60.89387832699628</c:v>
                </c:pt>
                <c:pt idx="1292">
                  <c:v>60.89387832699628</c:v>
                </c:pt>
                <c:pt idx="1293">
                  <c:v>60.89387832699628</c:v>
                </c:pt>
                <c:pt idx="1294">
                  <c:v>60.89387832699628</c:v>
                </c:pt>
                <c:pt idx="1295">
                  <c:v>60.89387832699628</c:v>
                </c:pt>
                <c:pt idx="1296">
                  <c:v>60.89387832699628</c:v>
                </c:pt>
                <c:pt idx="1297">
                  <c:v>60.89387832699628</c:v>
                </c:pt>
                <c:pt idx="1298">
                  <c:v>60.89387832699628</c:v>
                </c:pt>
                <c:pt idx="1299">
                  <c:v>60.89387832699628</c:v>
                </c:pt>
                <c:pt idx="1300">
                  <c:v>60.89387832699628</c:v>
                </c:pt>
                <c:pt idx="1301">
                  <c:v>60.89387832699628</c:v>
                </c:pt>
                <c:pt idx="1302">
                  <c:v>60.89387832699628</c:v>
                </c:pt>
                <c:pt idx="1303">
                  <c:v>60.89387832699628</c:v>
                </c:pt>
                <c:pt idx="1304">
                  <c:v>60.89387832699628</c:v>
                </c:pt>
                <c:pt idx="1305">
                  <c:v>60.89387832699628</c:v>
                </c:pt>
                <c:pt idx="1306">
                  <c:v>60.89387832699628</c:v>
                </c:pt>
                <c:pt idx="1307">
                  <c:v>60.89387832699628</c:v>
                </c:pt>
                <c:pt idx="1308">
                  <c:v>60.89387832699628</c:v>
                </c:pt>
                <c:pt idx="1309">
                  <c:v>60.89387832699628</c:v>
                </c:pt>
                <c:pt idx="1310">
                  <c:v>60.89387832699628</c:v>
                </c:pt>
                <c:pt idx="1311">
                  <c:v>60.89387832699628</c:v>
                </c:pt>
                <c:pt idx="1312">
                  <c:v>60.89387832699628</c:v>
                </c:pt>
                <c:pt idx="1313">
                  <c:v>60.89387832699628</c:v>
                </c:pt>
                <c:pt idx="1314">
                  <c:v>60.89387832699628</c:v>
                </c:pt>
                <c:pt idx="1315">
                  <c:v>60.89387832699628</c:v>
                </c:pt>
                <c:pt idx="1316">
                  <c:v>60.89387832699628</c:v>
                </c:pt>
                <c:pt idx="1317">
                  <c:v>60.89387832699628</c:v>
                </c:pt>
                <c:pt idx="1318">
                  <c:v>60.89387832699628</c:v>
                </c:pt>
                <c:pt idx="1319">
                  <c:v>60.89387832699628</c:v>
                </c:pt>
                <c:pt idx="1320">
                  <c:v>60.89387832699628</c:v>
                </c:pt>
                <c:pt idx="1321">
                  <c:v>60.89387832699628</c:v>
                </c:pt>
                <c:pt idx="1322">
                  <c:v>60.89387832699628</c:v>
                </c:pt>
                <c:pt idx="1323">
                  <c:v>60.89387832699628</c:v>
                </c:pt>
                <c:pt idx="1324">
                  <c:v>60.89387832699628</c:v>
                </c:pt>
                <c:pt idx="1325">
                  <c:v>60.89387832699628</c:v>
                </c:pt>
                <c:pt idx="1326">
                  <c:v>60.89387832699628</c:v>
                </c:pt>
                <c:pt idx="1327">
                  <c:v>60.89387832699628</c:v>
                </c:pt>
                <c:pt idx="1328">
                  <c:v>60.89387832699628</c:v>
                </c:pt>
                <c:pt idx="1329">
                  <c:v>60.89387832699628</c:v>
                </c:pt>
                <c:pt idx="1330">
                  <c:v>60.89387832699628</c:v>
                </c:pt>
                <c:pt idx="1331">
                  <c:v>60.89387832699628</c:v>
                </c:pt>
                <c:pt idx="1332">
                  <c:v>60.89387832699628</c:v>
                </c:pt>
                <c:pt idx="1333">
                  <c:v>60.89387832699628</c:v>
                </c:pt>
                <c:pt idx="1334">
                  <c:v>60.89387832699628</c:v>
                </c:pt>
                <c:pt idx="1335">
                  <c:v>60.89387832699628</c:v>
                </c:pt>
                <c:pt idx="1336">
                  <c:v>60.89387832699628</c:v>
                </c:pt>
                <c:pt idx="1337">
                  <c:v>60.89387832699628</c:v>
                </c:pt>
                <c:pt idx="1338">
                  <c:v>60.89387832699628</c:v>
                </c:pt>
                <c:pt idx="1339">
                  <c:v>60.89387832699628</c:v>
                </c:pt>
                <c:pt idx="1340">
                  <c:v>60.89387832699628</c:v>
                </c:pt>
                <c:pt idx="1341">
                  <c:v>60.89387832699628</c:v>
                </c:pt>
                <c:pt idx="1342">
                  <c:v>60.89387832699628</c:v>
                </c:pt>
                <c:pt idx="1343">
                  <c:v>60.89387832699628</c:v>
                </c:pt>
                <c:pt idx="1344">
                  <c:v>60.89387832699628</c:v>
                </c:pt>
                <c:pt idx="1345">
                  <c:v>60.89387832699628</c:v>
                </c:pt>
                <c:pt idx="1346">
                  <c:v>60.89387832699628</c:v>
                </c:pt>
                <c:pt idx="1347">
                  <c:v>60.89387832699628</c:v>
                </c:pt>
                <c:pt idx="1348">
                  <c:v>60.89387832699628</c:v>
                </c:pt>
                <c:pt idx="1349">
                  <c:v>60.89387832699628</c:v>
                </c:pt>
                <c:pt idx="1350">
                  <c:v>60.89387832699628</c:v>
                </c:pt>
                <c:pt idx="1351">
                  <c:v>60.89387832699628</c:v>
                </c:pt>
                <c:pt idx="1352">
                  <c:v>60.89387832699628</c:v>
                </c:pt>
                <c:pt idx="1353">
                  <c:v>60.89387832699628</c:v>
                </c:pt>
                <c:pt idx="1354">
                  <c:v>60.89387832699628</c:v>
                </c:pt>
                <c:pt idx="1355">
                  <c:v>60.89387832699628</c:v>
                </c:pt>
                <c:pt idx="1356">
                  <c:v>60.89387832699628</c:v>
                </c:pt>
                <c:pt idx="1357">
                  <c:v>60.89387832699628</c:v>
                </c:pt>
                <c:pt idx="1358">
                  <c:v>60.89387832699628</c:v>
                </c:pt>
                <c:pt idx="1359">
                  <c:v>60.89387832699628</c:v>
                </c:pt>
                <c:pt idx="1360">
                  <c:v>60.89387832699628</c:v>
                </c:pt>
                <c:pt idx="1361">
                  <c:v>60.89387832699628</c:v>
                </c:pt>
                <c:pt idx="1362">
                  <c:v>60.89387832699628</c:v>
                </c:pt>
                <c:pt idx="1363">
                  <c:v>60.89387832699628</c:v>
                </c:pt>
                <c:pt idx="1364">
                  <c:v>60.89387832699628</c:v>
                </c:pt>
                <c:pt idx="1365">
                  <c:v>60.89387832699628</c:v>
                </c:pt>
                <c:pt idx="1366">
                  <c:v>60.89387832699628</c:v>
                </c:pt>
                <c:pt idx="1367">
                  <c:v>60.89387832699628</c:v>
                </c:pt>
                <c:pt idx="1368">
                  <c:v>60.89387832699628</c:v>
                </c:pt>
                <c:pt idx="1369">
                  <c:v>60.89387832699628</c:v>
                </c:pt>
                <c:pt idx="1370">
                  <c:v>60.89387832699628</c:v>
                </c:pt>
                <c:pt idx="1371">
                  <c:v>60.89387832699628</c:v>
                </c:pt>
                <c:pt idx="1372">
                  <c:v>60.89387832699628</c:v>
                </c:pt>
                <c:pt idx="1373">
                  <c:v>60.89387832699628</c:v>
                </c:pt>
                <c:pt idx="1374">
                  <c:v>60.89387832699628</c:v>
                </c:pt>
                <c:pt idx="1375">
                  <c:v>60.89387832699628</c:v>
                </c:pt>
                <c:pt idx="1376">
                  <c:v>60.89387832699628</c:v>
                </c:pt>
                <c:pt idx="1377">
                  <c:v>60.89387832699628</c:v>
                </c:pt>
                <c:pt idx="1378">
                  <c:v>60.89387832699628</c:v>
                </c:pt>
                <c:pt idx="1379">
                  <c:v>60.89387832699628</c:v>
                </c:pt>
                <c:pt idx="1380">
                  <c:v>60.89387832699628</c:v>
                </c:pt>
                <c:pt idx="1381">
                  <c:v>60.89387832699628</c:v>
                </c:pt>
                <c:pt idx="1382">
                  <c:v>60.89387832699628</c:v>
                </c:pt>
                <c:pt idx="1383">
                  <c:v>60.89387832699628</c:v>
                </c:pt>
                <c:pt idx="1384">
                  <c:v>60.89387832699628</c:v>
                </c:pt>
                <c:pt idx="1385">
                  <c:v>60.89387832699628</c:v>
                </c:pt>
                <c:pt idx="1386">
                  <c:v>60.89387832699628</c:v>
                </c:pt>
                <c:pt idx="1387">
                  <c:v>60.89387832699628</c:v>
                </c:pt>
                <c:pt idx="1388">
                  <c:v>60.89387832699628</c:v>
                </c:pt>
                <c:pt idx="1389">
                  <c:v>60.89387832699628</c:v>
                </c:pt>
                <c:pt idx="1390">
                  <c:v>60.89387832699628</c:v>
                </c:pt>
                <c:pt idx="1391">
                  <c:v>60.89387832699628</c:v>
                </c:pt>
                <c:pt idx="1392">
                  <c:v>60.89387832699628</c:v>
                </c:pt>
                <c:pt idx="1393">
                  <c:v>60.89387832699628</c:v>
                </c:pt>
                <c:pt idx="1394">
                  <c:v>60.89387832699628</c:v>
                </c:pt>
                <c:pt idx="1395">
                  <c:v>60.89387832699628</c:v>
                </c:pt>
                <c:pt idx="1396">
                  <c:v>60.89387832699628</c:v>
                </c:pt>
                <c:pt idx="1397">
                  <c:v>60.89387832699628</c:v>
                </c:pt>
                <c:pt idx="1398">
                  <c:v>60.89387832699628</c:v>
                </c:pt>
                <c:pt idx="1399">
                  <c:v>60.89387832699628</c:v>
                </c:pt>
                <c:pt idx="1400">
                  <c:v>60.89387832699628</c:v>
                </c:pt>
                <c:pt idx="1401">
                  <c:v>60.89387832699628</c:v>
                </c:pt>
                <c:pt idx="1402">
                  <c:v>60.89387832699628</c:v>
                </c:pt>
                <c:pt idx="1403">
                  <c:v>60.89387832699628</c:v>
                </c:pt>
                <c:pt idx="1404">
                  <c:v>60.89387832699628</c:v>
                </c:pt>
                <c:pt idx="1405">
                  <c:v>60.89387832699628</c:v>
                </c:pt>
                <c:pt idx="1406">
                  <c:v>60.89387832699628</c:v>
                </c:pt>
                <c:pt idx="1407">
                  <c:v>60.89387832699628</c:v>
                </c:pt>
                <c:pt idx="1408">
                  <c:v>60.89387832699628</c:v>
                </c:pt>
                <c:pt idx="1409">
                  <c:v>60.89387832699628</c:v>
                </c:pt>
                <c:pt idx="1410">
                  <c:v>60.89387832699628</c:v>
                </c:pt>
                <c:pt idx="1411">
                  <c:v>60.89387832699628</c:v>
                </c:pt>
                <c:pt idx="1412">
                  <c:v>60.89387832699628</c:v>
                </c:pt>
                <c:pt idx="1413">
                  <c:v>60.89387832699628</c:v>
                </c:pt>
                <c:pt idx="1414">
                  <c:v>60.89387832699628</c:v>
                </c:pt>
                <c:pt idx="1415">
                  <c:v>60.89387832699628</c:v>
                </c:pt>
                <c:pt idx="1416">
                  <c:v>60.89387832699628</c:v>
                </c:pt>
                <c:pt idx="1417">
                  <c:v>60.89387832699628</c:v>
                </c:pt>
                <c:pt idx="1418">
                  <c:v>60.89387832699628</c:v>
                </c:pt>
                <c:pt idx="1419">
                  <c:v>60.89387832699628</c:v>
                </c:pt>
                <c:pt idx="1420">
                  <c:v>60.89387832699628</c:v>
                </c:pt>
                <c:pt idx="1421">
                  <c:v>60.89387832699628</c:v>
                </c:pt>
                <c:pt idx="1422">
                  <c:v>60.89387832699628</c:v>
                </c:pt>
                <c:pt idx="1423">
                  <c:v>60.89387832699628</c:v>
                </c:pt>
                <c:pt idx="1424">
                  <c:v>60.89387832699628</c:v>
                </c:pt>
                <c:pt idx="1425">
                  <c:v>60.89387832699628</c:v>
                </c:pt>
                <c:pt idx="1426">
                  <c:v>60.89387832699628</c:v>
                </c:pt>
                <c:pt idx="1427">
                  <c:v>60.89387832699628</c:v>
                </c:pt>
                <c:pt idx="1428">
                  <c:v>60.89387832699628</c:v>
                </c:pt>
                <c:pt idx="1429">
                  <c:v>60.89387832699628</c:v>
                </c:pt>
                <c:pt idx="1430">
                  <c:v>60.89387832699628</c:v>
                </c:pt>
                <c:pt idx="1431">
                  <c:v>60.89387832699628</c:v>
                </c:pt>
                <c:pt idx="1432">
                  <c:v>60.89387832699628</c:v>
                </c:pt>
                <c:pt idx="1433">
                  <c:v>60.89387832699628</c:v>
                </c:pt>
                <c:pt idx="1434">
                  <c:v>60.89387832699628</c:v>
                </c:pt>
                <c:pt idx="1435">
                  <c:v>60.89387832699628</c:v>
                </c:pt>
                <c:pt idx="1436">
                  <c:v>60.89387832699628</c:v>
                </c:pt>
                <c:pt idx="1437">
                  <c:v>60.89387832699628</c:v>
                </c:pt>
                <c:pt idx="1438">
                  <c:v>60.89387832699628</c:v>
                </c:pt>
                <c:pt idx="1439">
                  <c:v>60.89387832699628</c:v>
                </c:pt>
                <c:pt idx="1440">
                  <c:v>60.89387832699628</c:v>
                </c:pt>
                <c:pt idx="1441">
                  <c:v>60.89387832699628</c:v>
                </c:pt>
                <c:pt idx="1442">
                  <c:v>60.89387832699628</c:v>
                </c:pt>
                <c:pt idx="1443">
                  <c:v>60.89387832699628</c:v>
                </c:pt>
                <c:pt idx="1444">
                  <c:v>60.89387832699628</c:v>
                </c:pt>
                <c:pt idx="1445">
                  <c:v>60.89387832699628</c:v>
                </c:pt>
                <c:pt idx="1446">
                  <c:v>60.89387832699628</c:v>
                </c:pt>
                <c:pt idx="1447">
                  <c:v>60.89387832699628</c:v>
                </c:pt>
                <c:pt idx="1448">
                  <c:v>60.89387832699628</c:v>
                </c:pt>
                <c:pt idx="1449">
                  <c:v>60.89387832699628</c:v>
                </c:pt>
                <c:pt idx="1450">
                  <c:v>60.89387832699628</c:v>
                </c:pt>
                <c:pt idx="1451">
                  <c:v>60.89387832699628</c:v>
                </c:pt>
                <c:pt idx="1452">
                  <c:v>60.89387832699628</c:v>
                </c:pt>
                <c:pt idx="1453">
                  <c:v>60.89387832699628</c:v>
                </c:pt>
                <c:pt idx="1454">
                  <c:v>60.89387832699628</c:v>
                </c:pt>
                <c:pt idx="1455">
                  <c:v>60.89387832699628</c:v>
                </c:pt>
                <c:pt idx="1456">
                  <c:v>60.89387832699628</c:v>
                </c:pt>
                <c:pt idx="1457">
                  <c:v>60.89387832699628</c:v>
                </c:pt>
                <c:pt idx="1458">
                  <c:v>60.89387832699628</c:v>
                </c:pt>
                <c:pt idx="1459">
                  <c:v>60.89387832699628</c:v>
                </c:pt>
                <c:pt idx="1460">
                  <c:v>60.89387832699628</c:v>
                </c:pt>
                <c:pt idx="1461">
                  <c:v>60.89387832699628</c:v>
                </c:pt>
                <c:pt idx="1462">
                  <c:v>60.89387832699628</c:v>
                </c:pt>
                <c:pt idx="1463">
                  <c:v>60.89387832699628</c:v>
                </c:pt>
                <c:pt idx="1464">
                  <c:v>60.89387832699628</c:v>
                </c:pt>
                <c:pt idx="1465">
                  <c:v>60.89387832699628</c:v>
                </c:pt>
                <c:pt idx="1466">
                  <c:v>60.89387832699628</c:v>
                </c:pt>
                <c:pt idx="1467">
                  <c:v>60.89387832699628</c:v>
                </c:pt>
                <c:pt idx="1468">
                  <c:v>60.89387832699628</c:v>
                </c:pt>
                <c:pt idx="1469">
                  <c:v>60.89387832699628</c:v>
                </c:pt>
                <c:pt idx="1470">
                  <c:v>60.89387832699628</c:v>
                </c:pt>
                <c:pt idx="1471">
                  <c:v>60.89387832699628</c:v>
                </c:pt>
                <c:pt idx="1472">
                  <c:v>60.89387832699628</c:v>
                </c:pt>
                <c:pt idx="1473">
                  <c:v>60.89387832699628</c:v>
                </c:pt>
                <c:pt idx="1474">
                  <c:v>60.89387832699628</c:v>
                </c:pt>
                <c:pt idx="1475">
                  <c:v>60.89387832699628</c:v>
                </c:pt>
                <c:pt idx="1476">
                  <c:v>60.89387832699628</c:v>
                </c:pt>
                <c:pt idx="1477">
                  <c:v>60.89387832699628</c:v>
                </c:pt>
                <c:pt idx="1478">
                  <c:v>60.89387832699628</c:v>
                </c:pt>
                <c:pt idx="1479">
                  <c:v>60.89387832699628</c:v>
                </c:pt>
                <c:pt idx="1480">
                  <c:v>60.89387832699628</c:v>
                </c:pt>
                <c:pt idx="1481">
                  <c:v>60.89387832699628</c:v>
                </c:pt>
                <c:pt idx="1482">
                  <c:v>60.89387832699628</c:v>
                </c:pt>
                <c:pt idx="1483">
                  <c:v>60.89387832699628</c:v>
                </c:pt>
                <c:pt idx="1484">
                  <c:v>60.89387832699628</c:v>
                </c:pt>
                <c:pt idx="1485">
                  <c:v>60.89387832699628</c:v>
                </c:pt>
                <c:pt idx="1486">
                  <c:v>60.89387832699628</c:v>
                </c:pt>
                <c:pt idx="1487">
                  <c:v>60.89387832699628</c:v>
                </c:pt>
                <c:pt idx="1488">
                  <c:v>60.89387832699628</c:v>
                </c:pt>
                <c:pt idx="1489">
                  <c:v>60.89387832699628</c:v>
                </c:pt>
                <c:pt idx="1490">
                  <c:v>60.89387832699628</c:v>
                </c:pt>
                <c:pt idx="1491">
                  <c:v>60.89387832699628</c:v>
                </c:pt>
                <c:pt idx="1492">
                  <c:v>60.89387832699628</c:v>
                </c:pt>
                <c:pt idx="1493">
                  <c:v>60.89387832699628</c:v>
                </c:pt>
                <c:pt idx="1494">
                  <c:v>60.89387832699628</c:v>
                </c:pt>
                <c:pt idx="1495">
                  <c:v>60.89387832699628</c:v>
                </c:pt>
                <c:pt idx="1496">
                  <c:v>60.89387832699628</c:v>
                </c:pt>
                <c:pt idx="1497">
                  <c:v>60.89387832699628</c:v>
                </c:pt>
                <c:pt idx="1498">
                  <c:v>60.89387832699628</c:v>
                </c:pt>
                <c:pt idx="1499">
                  <c:v>60.89387832699628</c:v>
                </c:pt>
                <c:pt idx="1500">
                  <c:v>60.89387832699628</c:v>
                </c:pt>
                <c:pt idx="1501">
                  <c:v>60.89387832699628</c:v>
                </c:pt>
                <c:pt idx="1502">
                  <c:v>60.89387832699628</c:v>
                </c:pt>
                <c:pt idx="1503">
                  <c:v>60.89387832699628</c:v>
                </c:pt>
                <c:pt idx="1504">
                  <c:v>60.89387832699628</c:v>
                </c:pt>
                <c:pt idx="1505">
                  <c:v>60.89387832699628</c:v>
                </c:pt>
                <c:pt idx="1506">
                  <c:v>60.89387832699628</c:v>
                </c:pt>
                <c:pt idx="1507">
                  <c:v>60.89387832699628</c:v>
                </c:pt>
                <c:pt idx="1508">
                  <c:v>60.89387832699628</c:v>
                </c:pt>
                <c:pt idx="1509">
                  <c:v>60.89387832699628</c:v>
                </c:pt>
                <c:pt idx="1510">
                  <c:v>60.89387832699628</c:v>
                </c:pt>
                <c:pt idx="1511">
                  <c:v>60.89387832699628</c:v>
                </c:pt>
                <c:pt idx="1512">
                  <c:v>60.89387832699628</c:v>
                </c:pt>
                <c:pt idx="1513">
                  <c:v>60.89387832699628</c:v>
                </c:pt>
                <c:pt idx="1514">
                  <c:v>60.89387832699628</c:v>
                </c:pt>
                <c:pt idx="1515">
                  <c:v>60.89387832699628</c:v>
                </c:pt>
                <c:pt idx="1516">
                  <c:v>60.89387832699628</c:v>
                </c:pt>
                <c:pt idx="1517">
                  <c:v>60.89387832699628</c:v>
                </c:pt>
                <c:pt idx="1518">
                  <c:v>60.89387832699628</c:v>
                </c:pt>
                <c:pt idx="1519">
                  <c:v>60.89387832699628</c:v>
                </c:pt>
                <c:pt idx="1520">
                  <c:v>60.89387832699628</c:v>
                </c:pt>
                <c:pt idx="1521">
                  <c:v>60.89387832699628</c:v>
                </c:pt>
                <c:pt idx="1522">
                  <c:v>60.89387832699628</c:v>
                </c:pt>
                <c:pt idx="1523">
                  <c:v>60.89387832699628</c:v>
                </c:pt>
                <c:pt idx="1524">
                  <c:v>60.89387832699628</c:v>
                </c:pt>
                <c:pt idx="1525">
                  <c:v>60.89387832699628</c:v>
                </c:pt>
                <c:pt idx="1526">
                  <c:v>60.89387832699628</c:v>
                </c:pt>
                <c:pt idx="1527">
                  <c:v>60.89387832699628</c:v>
                </c:pt>
                <c:pt idx="1528">
                  <c:v>60.89387832699628</c:v>
                </c:pt>
                <c:pt idx="1529">
                  <c:v>60.89387832699628</c:v>
                </c:pt>
                <c:pt idx="1530">
                  <c:v>60.89387832699628</c:v>
                </c:pt>
                <c:pt idx="1531">
                  <c:v>60.89387832699628</c:v>
                </c:pt>
                <c:pt idx="1532">
                  <c:v>60.89387832699628</c:v>
                </c:pt>
                <c:pt idx="1533">
                  <c:v>60.89387832699628</c:v>
                </c:pt>
                <c:pt idx="1534">
                  <c:v>60.89387832699628</c:v>
                </c:pt>
                <c:pt idx="1535">
                  <c:v>60.89387832699628</c:v>
                </c:pt>
                <c:pt idx="1536">
                  <c:v>60.89387832699628</c:v>
                </c:pt>
                <c:pt idx="1537">
                  <c:v>60.89387832699628</c:v>
                </c:pt>
                <c:pt idx="1538">
                  <c:v>60.89387832699628</c:v>
                </c:pt>
                <c:pt idx="1539">
                  <c:v>60.89387832699628</c:v>
                </c:pt>
                <c:pt idx="1540">
                  <c:v>60.89387832699628</c:v>
                </c:pt>
                <c:pt idx="1541">
                  <c:v>60.89387832699628</c:v>
                </c:pt>
                <c:pt idx="1542">
                  <c:v>60.89387832699628</c:v>
                </c:pt>
                <c:pt idx="1543">
                  <c:v>60.89387832699628</c:v>
                </c:pt>
                <c:pt idx="1544">
                  <c:v>60.89387832699628</c:v>
                </c:pt>
                <c:pt idx="1545">
                  <c:v>60.89387832699628</c:v>
                </c:pt>
                <c:pt idx="1546">
                  <c:v>60.89387832699628</c:v>
                </c:pt>
                <c:pt idx="1547">
                  <c:v>60.89387832699628</c:v>
                </c:pt>
                <c:pt idx="1548">
                  <c:v>60.89387832699628</c:v>
                </c:pt>
                <c:pt idx="1549">
                  <c:v>60.89387832699628</c:v>
                </c:pt>
                <c:pt idx="1550">
                  <c:v>60.89387832699628</c:v>
                </c:pt>
                <c:pt idx="1551">
                  <c:v>60.89387832699628</c:v>
                </c:pt>
                <c:pt idx="1552">
                  <c:v>60.89387832699628</c:v>
                </c:pt>
                <c:pt idx="1553">
                  <c:v>60.89387832699628</c:v>
                </c:pt>
                <c:pt idx="1554">
                  <c:v>60.89387832699628</c:v>
                </c:pt>
                <c:pt idx="1555">
                  <c:v>60.89387832699628</c:v>
                </c:pt>
                <c:pt idx="1556">
                  <c:v>60.89387832699628</c:v>
                </c:pt>
                <c:pt idx="1557">
                  <c:v>60.89387832699628</c:v>
                </c:pt>
                <c:pt idx="1558">
                  <c:v>60.89387832699628</c:v>
                </c:pt>
                <c:pt idx="1559">
                  <c:v>60.89387832699628</c:v>
                </c:pt>
                <c:pt idx="1560">
                  <c:v>60.89387832699628</c:v>
                </c:pt>
                <c:pt idx="1561">
                  <c:v>60.89387832699628</c:v>
                </c:pt>
                <c:pt idx="1562">
                  <c:v>60.89387832699628</c:v>
                </c:pt>
                <c:pt idx="1563">
                  <c:v>60.89387832699628</c:v>
                </c:pt>
                <c:pt idx="1564">
                  <c:v>60.89387832699628</c:v>
                </c:pt>
                <c:pt idx="1565">
                  <c:v>60.89387832699628</c:v>
                </c:pt>
                <c:pt idx="1566">
                  <c:v>60.89387832699628</c:v>
                </c:pt>
                <c:pt idx="1567">
                  <c:v>60.89387832699628</c:v>
                </c:pt>
                <c:pt idx="1568">
                  <c:v>60.89387832699628</c:v>
                </c:pt>
                <c:pt idx="1569">
                  <c:v>60.89387832699628</c:v>
                </c:pt>
                <c:pt idx="1570">
                  <c:v>60.89387832699628</c:v>
                </c:pt>
                <c:pt idx="1571">
                  <c:v>60.89387832699628</c:v>
                </c:pt>
                <c:pt idx="1572">
                  <c:v>60.89387832699628</c:v>
                </c:pt>
                <c:pt idx="1573">
                  <c:v>60.89387832699628</c:v>
                </c:pt>
                <c:pt idx="1574">
                  <c:v>60.89387832699628</c:v>
                </c:pt>
                <c:pt idx="1575">
                  <c:v>60.89387832699628</c:v>
                </c:pt>
                <c:pt idx="1576">
                  <c:v>60.89387832699628</c:v>
                </c:pt>
                <c:pt idx="1577">
                  <c:v>60.89387832699628</c:v>
                </c:pt>
              </c:numCache>
            </c:numRef>
          </c:val>
          <c:smooth val="0"/>
          <c:extLst xmlns:c16r2="http://schemas.microsoft.com/office/drawing/2015/06/chart">
            <c:ext xmlns:c16="http://schemas.microsoft.com/office/drawing/2014/chart" uri="{C3380CC4-5D6E-409C-BE32-E72D297353CC}">
              <c16:uniqueId val="{00000001-A75A-44E0-8687-403A34A28B12}"/>
            </c:ext>
          </c:extLst>
        </c:ser>
        <c:dLbls>
          <c:showLegendKey val="0"/>
          <c:showVal val="0"/>
          <c:showCatName val="0"/>
          <c:showSerName val="0"/>
          <c:showPercent val="0"/>
          <c:showBubbleSize val="0"/>
        </c:dLbls>
        <c:marker val="1"/>
        <c:smooth val="0"/>
        <c:axId val="551615488"/>
        <c:axId val="551617280"/>
      </c:lineChart>
      <c:dateAx>
        <c:axId val="551615488"/>
        <c:scaling>
          <c:orientation val="minMax"/>
        </c:scaling>
        <c:delete val="0"/>
        <c:axPos val="b"/>
        <c:numFmt formatCode="m/d/yyyy" sourceLinked="0"/>
        <c:majorTickMark val="none"/>
        <c:minorTickMark val="none"/>
        <c:tickLblPos val="nextTo"/>
        <c:crossAx val="551617280"/>
        <c:crosses val="autoZero"/>
        <c:auto val="1"/>
        <c:lblOffset val="100"/>
        <c:baseTimeUnit val="days"/>
      </c:dateAx>
      <c:valAx>
        <c:axId val="551617280"/>
        <c:scaling>
          <c:orientation val="minMax"/>
          <c:max val="75"/>
          <c:min val="50"/>
        </c:scaling>
        <c:delete val="0"/>
        <c:axPos val="l"/>
        <c:majorGridlines/>
        <c:numFmt formatCode="General" sourceLinked="1"/>
        <c:majorTickMark val="none"/>
        <c:minorTickMark val="none"/>
        <c:tickLblPos val="nextTo"/>
        <c:spPr>
          <a:ln w="9525">
            <a:noFill/>
          </a:ln>
        </c:spPr>
        <c:crossAx val="55161548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rical simulation</a:t>
            </a:r>
          </a:p>
        </c:rich>
      </c:tx>
      <c:layout/>
      <c:overlay val="0"/>
    </c:title>
    <c:autoTitleDeleted val="0"/>
    <c:plotArea>
      <c:layout/>
      <c:lineChart>
        <c:grouping val="standard"/>
        <c:varyColors val="0"/>
        <c:ser>
          <c:idx val="0"/>
          <c:order val="0"/>
          <c:tx>
            <c:strRef>
              <c:f>FINAL!$F$15</c:f>
              <c:strCache>
                <c:ptCount val="1"/>
                <c:pt idx="0">
                  <c:v>Basic Mean Reversion Strategy</c:v>
                </c:pt>
              </c:strCache>
            </c:strRef>
          </c:tx>
          <c:spPr>
            <a:ln>
              <a:solidFill>
                <a:srgbClr val="FF0000"/>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F$16:$F$2496</c:f>
              <c:numCache>
                <c:formatCode>General</c:formatCode>
                <c:ptCount val="2481"/>
                <c:pt idx="0">
                  <c:v>100</c:v>
                </c:pt>
                <c:pt idx="1">
                  <c:v>102.84766358834962</c:v>
                </c:pt>
                <c:pt idx="2">
                  <c:v>102.92271325005522</c:v>
                </c:pt>
                <c:pt idx="3">
                  <c:v>102.04187660904215</c:v>
                </c:pt>
                <c:pt idx="4">
                  <c:v>103.3093839246246</c:v>
                </c:pt>
                <c:pt idx="5">
                  <c:v>102.86550353184874</c:v>
                </c:pt>
                <c:pt idx="6">
                  <c:v>102.86460834082682</c:v>
                </c:pt>
                <c:pt idx="7">
                  <c:v>101.47564662125946</c:v>
                </c:pt>
                <c:pt idx="8">
                  <c:v>100.90071051445949</c:v>
                </c:pt>
                <c:pt idx="9">
                  <c:v>99.919051341501245</c:v>
                </c:pt>
                <c:pt idx="10">
                  <c:v>102.36791270249361</c:v>
                </c:pt>
                <c:pt idx="11">
                  <c:v>100.56502462855296</c:v>
                </c:pt>
                <c:pt idx="12">
                  <c:v>100.02318861808135</c:v>
                </c:pt>
                <c:pt idx="13">
                  <c:v>98.524820892234786</c:v>
                </c:pt>
                <c:pt idx="14">
                  <c:v>97.876793768954599</c:v>
                </c:pt>
                <c:pt idx="15">
                  <c:v>97.585942005828173</c:v>
                </c:pt>
                <c:pt idx="16">
                  <c:v>96.616187215168438</c:v>
                </c:pt>
                <c:pt idx="17">
                  <c:v>96.775645494700754</c:v>
                </c:pt>
                <c:pt idx="18">
                  <c:v>99.844962579424717</c:v>
                </c:pt>
                <c:pt idx="19">
                  <c:v>104.29117182001877</c:v>
                </c:pt>
                <c:pt idx="20">
                  <c:v>104.44702470768048</c:v>
                </c:pt>
                <c:pt idx="21">
                  <c:v>105.7049865848844</c:v>
                </c:pt>
                <c:pt idx="22">
                  <c:v>95.139755160745111</c:v>
                </c:pt>
                <c:pt idx="23">
                  <c:v>93.733305959814004</c:v>
                </c:pt>
                <c:pt idx="24">
                  <c:v>92.256708855948972</c:v>
                </c:pt>
                <c:pt idx="25">
                  <c:v>86.169301191489879</c:v>
                </c:pt>
                <c:pt idx="26">
                  <c:v>86.863989441922243</c:v>
                </c:pt>
                <c:pt idx="27">
                  <c:v>84.208404366293507</c:v>
                </c:pt>
                <c:pt idx="28">
                  <c:v>88.311736445405828</c:v>
                </c:pt>
                <c:pt idx="29">
                  <c:v>91.169520827912237</c:v>
                </c:pt>
                <c:pt idx="30">
                  <c:v>82.351997891047006</c:v>
                </c:pt>
                <c:pt idx="31">
                  <c:v>82.493679700924048</c:v>
                </c:pt>
                <c:pt idx="32">
                  <c:v>86.332227601153136</c:v>
                </c:pt>
                <c:pt idx="33">
                  <c:v>87.352217976804013</c:v>
                </c:pt>
                <c:pt idx="34">
                  <c:v>89.402927383095033</c:v>
                </c:pt>
                <c:pt idx="35">
                  <c:v>91.122868584213847</c:v>
                </c:pt>
                <c:pt idx="36">
                  <c:v>90.517093331568063</c:v>
                </c:pt>
                <c:pt idx="37">
                  <c:v>89.195998702599738</c:v>
                </c:pt>
                <c:pt idx="38">
                  <c:v>88.09969946719842</c:v>
                </c:pt>
                <c:pt idx="39">
                  <c:v>84.434068804071728</c:v>
                </c:pt>
                <c:pt idx="40">
                  <c:v>72.601339003168036</c:v>
                </c:pt>
                <c:pt idx="41">
                  <c:v>69.645371117735451</c:v>
                </c:pt>
                <c:pt idx="42">
                  <c:v>87.420973620175744</c:v>
                </c:pt>
                <c:pt idx="43">
                  <c:v>84.734161627524841</c:v>
                </c:pt>
                <c:pt idx="44">
                  <c:v>84.69327002253938</c:v>
                </c:pt>
                <c:pt idx="45">
                  <c:v>84.419325793087083</c:v>
                </c:pt>
                <c:pt idx="46">
                  <c:v>83.508624303771768</c:v>
                </c:pt>
                <c:pt idx="47">
                  <c:v>83.615942068033632</c:v>
                </c:pt>
                <c:pt idx="48">
                  <c:v>83.426123062299325</c:v>
                </c:pt>
                <c:pt idx="49">
                  <c:v>83.157167751579934</c:v>
                </c:pt>
                <c:pt idx="50">
                  <c:v>83.864028700819148</c:v>
                </c:pt>
                <c:pt idx="51">
                  <c:v>83.909917005039432</c:v>
                </c:pt>
                <c:pt idx="52">
                  <c:v>82.524646912903108</c:v>
                </c:pt>
                <c:pt idx="53">
                  <c:v>82.444113525907611</c:v>
                </c:pt>
                <c:pt idx="54">
                  <c:v>81.732236155507067</c:v>
                </c:pt>
                <c:pt idx="55">
                  <c:v>83.295321623091723</c:v>
                </c:pt>
                <c:pt idx="56">
                  <c:v>82.731917711852745</c:v>
                </c:pt>
                <c:pt idx="57">
                  <c:v>82.889129990457064</c:v>
                </c:pt>
                <c:pt idx="58">
                  <c:v>82.840022289419878</c:v>
                </c:pt>
                <c:pt idx="59">
                  <c:v>82.558459298990726</c:v>
                </c:pt>
                <c:pt idx="60">
                  <c:v>82.83138366787864</c:v>
                </c:pt>
                <c:pt idx="61">
                  <c:v>84.537710266103375</c:v>
                </c:pt>
                <c:pt idx="62">
                  <c:v>84.440955567473651</c:v>
                </c:pt>
                <c:pt idx="63">
                  <c:v>84.764299135785279</c:v>
                </c:pt>
                <c:pt idx="64">
                  <c:v>85.967376284287823</c:v>
                </c:pt>
                <c:pt idx="65">
                  <c:v>90.545968260390467</c:v>
                </c:pt>
                <c:pt idx="66">
                  <c:v>87.649396375290053</c:v>
                </c:pt>
                <c:pt idx="67">
                  <c:v>87.103703116068829</c:v>
                </c:pt>
                <c:pt idx="68">
                  <c:v>90.094530576086044</c:v>
                </c:pt>
                <c:pt idx="69">
                  <c:v>91.444665073022364</c:v>
                </c:pt>
                <c:pt idx="70">
                  <c:v>90.949650972717635</c:v>
                </c:pt>
                <c:pt idx="71">
                  <c:v>92.067519907733427</c:v>
                </c:pt>
                <c:pt idx="72">
                  <c:v>89.373927063925734</c:v>
                </c:pt>
                <c:pt idx="73">
                  <c:v>89.667686770683432</c:v>
                </c:pt>
                <c:pt idx="74">
                  <c:v>91.659981571627995</c:v>
                </c:pt>
                <c:pt idx="75">
                  <c:v>90.188237871232161</c:v>
                </c:pt>
                <c:pt idx="76">
                  <c:v>89.900956024193022</c:v>
                </c:pt>
                <c:pt idx="77">
                  <c:v>90.561223414019238</c:v>
                </c:pt>
                <c:pt idx="78">
                  <c:v>91.072187570423168</c:v>
                </c:pt>
                <c:pt idx="79">
                  <c:v>90.976296282684459</c:v>
                </c:pt>
                <c:pt idx="80">
                  <c:v>90.9534585159427</c:v>
                </c:pt>
                <c:pt idx="81">
                  <c:v>91.084143743758986</c:v>
                </c:pt>
                <c:pt idx="82">
                  <c:v>91.028559845692229</c:v>
                </c:pt>
                <c:pt idx="83">
                  <c:v>90.604110232009404</c:v>
                </c:pt>
                <c:pt idx="84">
                  <c:v>90.584692245304126</c:v>
                </c:pt>
                <c:pt idx="85">
                  <c:v>86.059057139799293</c:v>
                </c:pt>
                <c:pt idx="86">
                  <c:v>85.376239040373662</c:v>
                </c:pt>
                <c:pt idx="87">
                  <c:v>83.980140840165433</c:v>
                </c:pt>
                <c:pt idx="88">
                  <c:v>83.006950945747462</c:v>
                </c:pt>
                <c:pt idx="89">
                  <c:v>82.459145480557893</c:v>
                </c:pt>
                <c:pt idx="90">
                  <c:v>84.458801657924667</c:v>
                </c:pt>
                <c:pt idx="91">
                  <c:v>84.02987917510211</c:v>
                </c:pt>
                <c:pt idx="92">
                  <c:v>82.08885960978526</c:v>
                </c:pt>
                <c:pt idx="93">
                  <c:v>80.690277273031214</c:v>
                </c:pt>
                <c:pt idx="94">
                  <c:v>82.202857255138255</c:v>
                </c:pt>
                <c:pt idx="95">
                  <c:v>81.593244796735036</c:v>
                </c:pt>
                <c:pt idx="96">
                  <c:v>80.297248172157452</c:v>
                </c:pt>
                <c:pt idx="97">
                  <c:v>78.580960532819049</c:v>
                </c:pt>
                <c:pt idx="98">
                  <c:v>78.820019940938721</c:v>
                </c:pt>
                <c:pt idx="99">
                  <c:v>83.066906078735641</c:v>
                </c:pt>
                <c:pt idx="100">
                  <c:v>83.906542883106709</c:v>
                </c:pt>
                <c:pt idx="101">
                  <c:v>84.330044583521797</c:v>
                </c:pt>
                <c:pt idx="102">
                  <c:v>84.79198354254325</c:v>
                </c:pt>
                <c:pt idx="103">
                  <c:v>90.533836953312345</c:v>
                </c:pt>
                <c:pt idx="104">
                  <c:v>92.003187944566506</c:v>
                </c:pt>
                <c:pt idx="105">
                  <c:v>92.28485366688254</c:v>
                </c:pt>
                <c:pt idx="106">
                  <c:v>92.086894277424975</c:v>
                </c:pt>
                <c:pt idx="107">
                  <c:v>91.234410534477234</c:v>
                </c:pt>
                <c:pt idx="108">
                  <c:v>90.839307524118254</c:v>
                </c:pt>
                <c:pt idx="109">
                  <c:v>89.068840495148876</c:v>
                </c:pt>
                <c:pt idx="110">
                  <c:v>91.490011827832518</c:v>
                </c:pt>
                <c:pt idx="111">
                  <c:v>91.681135307923412</c:v>
                </c:pt>
                <c:pt idx="112">
                  <c:v>88.954905512822094</c:v>
                </c:pt>
                <c:pt idx="113">
                  <c:v>88.20469560329569</c:v>
                </c:pt>
                <c:pt idx="114">
                  <c:v>88.01211713166397</c:v>
                </c:pt>
                <c:pt idx="115">
                  <c:v>87.81209217067898</c:v>
                </c:pt>
                <c:pt idx="116">
                  <c:v>87.278649783641484</c:v>
                </c:pt>
                <c:pt idx="117">
                  <c:v>89.076355371622185</c:v>
                </c:pt>
                <c:pt idx="118">
                  <c:v>89.871803734102244</c:v>
                </c:pt>
                <c:pt idx="119">
                  <c:v>88.058383485153641</c:v>
                </c:pt>
                <c:pt idx="120">
                  <c:v>88.063974807711105</c:v>
                </c:pt>
                <c:pt idx="121">
                  <c:v>87.154050965820176</c:v>
                </c:pt>
                <c:pt idx="122">
                  <c:v>85.406652911585851</c:v>
                </c:pt>
                <c:pt idx="123">
                  <c:v>81.841363906394832</c:v>
                </c:pt>
                <c:pt idx="124">
                  <c:v>81.135550277733685</c:v>
                </c:pt>
                <c:pt idx="125">
                  <c:v>79.318603966916584</c:v>
                </c:pt>
                <c:pt idx="126">
                  <c:v>78.273452756211682</c:v>
                </c:pt>
                <c:pt idx="127">
                  <c:v>76.617525226558925</c:v>
                </c:pt>
                <c:pt idx="128">
                  <c:v>77.471395354820231</c:v>
                </c:pt>
                <c:pt idx="129">
                  <c:v>77.102035427291952</c:v>
                </c:pt>
                <c:pt idx="130">
                  <c:v>76.67254369129121</c:v>
                </c:pt>
                <c:pt idx="131">
                  <c:v>75.201847390128236</c:v>
                </c:pt>
                <c:pt idx="132">
                  <c:v>73.177777617679823</c:v>
                </c:pt>
                <c:pt idx="133">
                  <c:v>72.13242987850164</c:v>
                </c:pt>
                <c:pt idx="134">
                  <c:v>70.354415435848836</c:v>
                </c:pt>
                <c:pt idx="135">
                  <c:v>68.881060164607362</c:v>
                </c:pt>
                <c:pt idx="136">
                  <c:v>69.245259829695769</c:v>
                </c:pt>
                <c:pt idx="137">
                  <c:v>69.48934739122528</c:v>
                </c:pt>
                <c:pt idx="138">
                  <c:v>69.243909537612666</c:v>
                </c:pt>
                <c:pt idx="139">
                  <c:v>70.712740459984289</c:v>
                </c:pt>
                <c:pt idx="140">
                  <c:v>71.321670896678157</c:v>
                </c:pt>
                <c:pt idx="141">
                  <c:v>70.595677963942961</c:v>
                </c:pt>
                <c:pt idx="142">
                  <c:v>71.317389607009019</c:v>
                </c:pt>
                <c:pt idx="143">
                  <c:v>71.275943214522727</c:v>
                </c:pt>
                <c:pt idx="144">
                  <c:v>69.473174889681559</c:v>
                </c:pt>
                <c:pt idx="145">
                  <c:v>69.914965707300865</c:v>
                </c:pt>
                <c:pt idx="146">
                  <c:v>70.385185115428712</c:v>
                </c:pt>
                <c:pt idx="147">
                  <c:v>70.501938736284956</c:v>
                </c:pt>
                <c:pt idx="148">
                  <c:v>69.029207898165254</c:v>
                </c:pt>
                <c:pt idx="149">
                  <c:v>68.437049058454775</c:v>
                </c:pt>
                <c:pt idx="150">
                  <c:v>68.200185204294556</c:v>
                </c:pt>
                <c:pt idx="151">
                  <c:v>68.7297178259997</c:v>
                </c:pt>
                <c:pt idx="152">
                  <c:v>67.315083122725937</c:v>
                </c:pt>
                <c:pt idx="153">
                  <c:v>67.724288942390004</c:v>
                </c:pt>
                <c:pt idx="154">
                  <c:v>68.371171575864267</c:v>
                </c:pt>
                <c:pt idx="155">
                  <c:v>68.899743661454735</c:v>
                </c:pt>
                <c:pt idx="156">
                  <c:v>72.439563307177124</c:v>
                </c:pt>
                <c:pt idx="157">
                  <c:v>73.019563934054531</c:v>
                </c:pt>
                <c:pt idx="158">
                  <c:v>76.188813569979459</c:v>
                </c:pt>
                <c:pt idx="159">
                  <c:v>76.779614327932507</c:v>
                </c:pt>
                <c:pt idx="160">
                  <c:v>78.126949957002807</c:v>
                </c:pt>
                <c:pt idx="161">
                  <c:v>77.03702766001166</c:v>
                </c:pt>
                <c:pt idx="162">
                  <c:v>76.911284998066137</c:v>
                </c:pt>
                <c:pt idx="163">
                  <c:v>76.949712875073317</c:v>
                </c:pt>
                <c:pt idx="164">
                  <c:v>78.776304182037947</c:v>
                </c:pt>
                <c:pt idx="165">
                  <c:v>78.687869083280972</c:v>
                </c:pt>
                <c:pt idx="166">
                  <c:v>82.039076615469469</c:v>
                </c:pt>
                <c:pt idx="167">
                  <c:v>83.559985393420789</c:v>
                </c:pt>
                <c:pt idx="168">
                  <c:v>80.11374952564077</c:v>
                </c:pt>
                <c:pt idx="169">
                  <c:v>78.755463294369036</c:v>
                </c:pt>
                <c:pt idx="170">
                  <c:v>79.884028658034779</c:v>
                </c:pt>
                <c:pt idx="171">
                  <c:v>80.070059921290593</c:v>
                </c:pt>
                <c:pt idx="172">
                  <c:v>77.869917183499751</c:v>
                </c:pt>
                <c:pt idx="173">
                  <c:v>77.613812132599179</c:v>
                </c:pt>
                <c:pt idx="174">
                  <c:v>78.178868424703069</c:v>
                </c:pt>
                <c:pt idx="175">
                  <c:v>79.308819621084552</c:v>
                </c:pt>
                <c:pt idx="176">
                  <c:v>77.106763449699429</c:v>
                </c:pt>
                <c:pt idx="177">
                  <c:v>76.329166866188643</c:v>
                </c:pt>
                <c:pt idx="178">
                  <c:v>77.071707591831412</c:v>
                </c:pt>
                <c:pt idx="179">
                  <c:v>78.403387844023314</c:v>
                </c:pt>
                <c:pt idx="180">
                  <c:v>77.826707641377268</c:v>
                </c:pt>
                <c:pt idx="181">
                  <c:v>77.530064871825203</c:v>
                </c:pt>
                <c:pt idx="182">
                  <c:v>78.237470601414316</c:v>
                </c:pt>
                <c:pt idx="183">
                  <c:v>77.752633923182742</c:v>
                </c:pt>
                <c:pt idx="184">
                  <c:v>77.664321290413739</c:v>
                </c:pt>
                <c:pt idx="185">
                  <c:v>77.525278139857562</c:v>
                </c:pt>
                <c:pt idx="186">
                  <c:v>77.094595394945983</c:v>
                </c:pt>
                <c:pt idx="187">
                  <c:v>75.741344659705007</c:v>
                </c:pt>
                <c:pt idx="188">
                  <c:v>74.603031326546059</c:v>
                </c:pt>
                <c:pt idx="189">
                  <c:v>74.663275330620323</c:v>
                </c:pt>
                <c:pt idx="190">
                  <c:v>75.603481581346443</c:v>
                </c:pt>
                <c:pt idx="191">
                  <c:v>73.281878319658645</c:v>
                </c:pt>
                <c:pt idx="192">
                  <c:v>74.279933423623177</c:v>
                </c:pt>
                <c:pt idx="193">
                  <c:v>71.895721941236488</c:v>
                </c:pt>
                <c:pt idx="194">
                  <c:v>70.950425976972696</c:v>
                </c:pt>
                <c:pt idx="195">
                  <c:v>74.144918856402214</c:v>
                </c:pt>
                <c:pt idx="196">
                  <c:v>74.450947704395404</c:v>
                </c:pt>
                <c:pt idx="197">
                  <c:v>74.282085336410177</c:v>
                </c:pt>
                <c:pt idx="198">
                  <c:v>74.555666159731459</c:v>
                </c:pt>
                <c:pt idx="199">
                  <c:v>74.606699886323511</c:v>
                </c:pt>
                <c:pt idx="200">
                  <c:v>73.889475279858445</c:v>
                </c:pt>
                <c:pt idx="201">
                  <c:v>73.554796901717268</c:v>
                </c:pt>
                <c:pt idx="202">
                  <c:v>73.224310898420583</c:v>
                </c:pt>
                <c:pt idx="203">
                  <c:v>73.223735557189869</c:v>
                </c:pt>
                <c:pt idx="204">
                  <c:v>71.845872569162069</c:v>
                </c:pt>
                <c:pt idx="205">
                  <c:v>72.236573450465173</c:v>
                </c:pt>
                <c:pt idx="206">
                  <c:v>73.623706565923101</c:v>
                </c:pt>
                <c:pt idx="207">
                  <c:v>74.948233117921362</c:v>
                </c:pt>
                <c:pt idx="208">
                  <c:v>73.763396628867525</c:v>
                </c:pt>
                <c:pt idx="209">
                  <c:v>75.750298721973095</c:v>
                </c:pt>
                <c:pt idx="210">
                  <c:v>74.958966192305923</c:v>
                </c:pt>
                <c:pt idx="211">
                  <c:v>75.008908906379844</c:v>
                </c:pt>
                <c:pt idx="212">
                  <c:v>73.775920729841545</c:v>
                </c:pt>
                <c:pt idx="213">
                  <c:v>72.929731628072531</c:v>
                </c:pt>
                <c:pt idx="214">
                  <c:v>72.34393946527409</c:v>
                </c:pt>
                <c:pt idx="215">
                  <c:v>75.197492409524656</c:v>
                </c:pt>
                <c:pt idx="216">
                  <c:v>74.217746630201432</c:v>
                </c:pt>
                <c:pt idx="217">
                  <c:v>84.814340975356075</c:v>
                </c:pt>
                <c:pt idx="218">
                  <c:v>77.446446299709848</c:v>
                </c:pt>
                <c:pt idx="219">
                  <c:v>73.338576910959873</c:v>
                </c:pt>
                <c:pt idx="220">
                  <c:v>69.431872571547842</c:v>
                </c:pt>
                <c:pt idx="221">
                  <c:v>65.629897597504126</c:v>
                </c:pt>
                <c:pt idx="222">
                  <c:v>70.169469993732491</c:v>
                </c:pt>
                <c:pt idx="223">
                  <c:v>73.240060946356067</c:v>
                </c:pt>
                <c:pt idx="224">
                  <c:v>75.08133377604203</c:v>
                </c:pt>
                <c:pt idx="225">
                  <c:v>75.23613284327935</c:v>
                </c:pt>
                <c:pt idx="226">
                  <c:v>75.035098984144255</c:v>
                </c:pt>
                <c:pt idx="227">
                  <c:v>77.357407153171252</c:v>
                </c:pt>
                <c:pt idx="228">
                  <c:v>78.300627831662311</c:v>
                </c:pt>
                <c:pt idx="229">
                  <c:v>78.67828819004076</c:v>
                </c:pt>
                <c:pt idx="230">
                  <c:v>77.963606358207713</c:v>
                </c:pt>
                <c:pt idx="231">
                  <c:v>78.677197774653649</c:v>
                </c:pt>
                <c:pt idx="232">
                  <c:v>79.362220174283479</c:v>
                </c:pt>
                <c:pt idx="233">
                  <c:v>79.724707980530454</c:v>
                </c:pt>
                <c:pt idx="234">
                  <c:v>79.729066830573842</c:v>
                </c:pt>
                <c:pt idx="235">
                  <c:v>79.631488712517964</c:v>
                </c:pt>
                <c:pt idx="236">
                  <c:v>79.70712824039029</c:v>
                </c:pt>
                <c:pt idx="237">
                  <c:v>80.6094025007379</c:v>
                </c:pt>
                <c:pt idx="238">
                  <c:v>81.843993629188446</c:v>
                </c:pt>
                <c:pt idx="239">
                  <c:v>81.702595038563317</c:v>
                </c:pt>
                <c:pt idx="240">
                  <c:v>81.784262289988916</c:v>
                </c:pt>
                <c:pt idx="241">
                  <c:v>81.489322998272627</c:v>
                </c:pt>
                <c:pt idx="242">
                  <c:v>82.558099990971172</c:v>
                </c:pt>
                <c:pt idx="243">
                  <c:v>83.427106767762467</c:v>
                </c:pt>
                <c:pt idx="244">
                  <c:v>83.369626428123397</c:v>
                </c:pt>
                <c:pt idx="245">
                  <c:v>82.963717470230534</c:v>
                </c:pt>
                <c:pt idx="246">
                  <c:v>81.604365121750092</c:v>
                </c:pt>
                <c:pt idx="247">
                  <c:v>83.523156201472119</c:v>
                </c:pt>
                <c:pt idx="248">
                  <c:v>81.074717275475265</c:v>
                </c:pt>
                <c:pt idx="249">
                  <c:v>80.290665340555975</c:v>
                </c:pt>
                <c:pt idx="250">
                  <c:v>76.706198929094128</c:v>
                </c:pt>
                <c:pt idx="251">
                  <c:v>77.704139873410071</c:v>
                </c:pt>
                <c:pt idx="252">
                  <c:v>77.64276085764449</c:v>
                </c:pt>
                <c:pt idx="253">
                  <c:v>76.992161568945733</c:v>
                </c:pt>
                <c:pt idx="254">
                  <c:v>77.045853980080125</c:v>
                </c:pt>
                <c:pt idx="255">
                  <c:v>78.164356833794798</c:v>
                </c:pt>
                <c:pt idx="256">
                  <c:v>78.096092625820006</c:v>
                </c:pt>
                <c:pt idx="257">
                  <c:v>77.796654493558989</c:v>
                </c:pt>
                <c:pt idx="258">
                  <c:v>77.801506121168103</c:v>
                </c:pt>
                <c:pt idx="259">
                  <c:v>77.647033361746992</c:v>
                </c:pt>
                <c:pt idx="260">
                  <c:v>77.910546177647248</c:v>
                </c:pt>
                <c:pt idx="261">
                  <c:v>77.919256732273126</c:v>
                </c:pt>
                <c:pt idx="262">
                  <c:v>78.992681852864692</c:v>
                </c:pt>
                <c:pt idx="263">
                  <c:v>79.369283895360738</c:v>
                </c:pt>
                <c:pt idx="264">
                  <c:v>79.240038941299588</c:v>
                </c:pt>
                <c:pt idx="265">
                  <c:v>79.360825419243113</c:v>
                </c:pt>
                <c:pt idx="266">
                  <c:v>79.448569680040379</c:v>
                </c:pt>
                <c:pt idx="267">
                  <c:v>79.694263355188326</c:v>
                </c:pt>
                <c:pt idx="268">
                  <c:v>77.934128816970855</c:v>
                </c:pt>
                <c:pt idx="269">
                  <c:v>76.218973107916213</c:v>
                </c:pt>
                <c:pt idx="270">
                  <c:v>74.94033359209881</c:v>
                </c:pt>
                <c:pt idx="271">
                  <c:v>74.862262133081146</c:v>
                </c:pt>
                <c:pt idx="272">
                  <c:v>75.211381614212158</c:v>
                </c:pt>
                <c:pt idx="273">
                  <c:v>74.640801188700777</c:v>
                </c:pt>
                <c:pt idx="274">
                  <c:v>74.609169598052361</c:v>
                </c:pt>
                <c:pt idx="275">
                  <c:v>75.30690485008688</c:v>
                </c:pt>
                <c:pt idx="276">
                  <c:v>75.190232780576949</c:v>
                </c:pt>
                <c:pt idx="277">
                  <c:v>74.797828493911311</c:v>
                </c:pt>
                <c:pt idx="278">
                  <c:v>77.245041325501418</c:v>
                </c:pt>
                <c:pt idx="279">
                  <c:v>75.933930089393129</c:v>
                </c:pt>
                <c:pt idx="280">
                  <c:v>76.309765787862929</c:v>
                </c:pt>
                <c:pt idx="281">
                  <c:v>75.702117736553035</c:v>
                </c:pt>
                <c:pt idx="282">
                  <c:v>75.636519323876072</c:v>
                </c:pt>
                <c:pt idx="283">
                  <c:v>74.74235407220651</c:v>
                </c:pt>
                <c:pt idx="284">
                  <c:v>75.632196571708533</c:v>
                </c:pt>
                <c:pt idx="285">
                  <c:v>76.410501845521281</c:v>
                </c:pt>
                <c:pt idx="286">
                  <c:v>79.864237423362212</c:v>
                </c:pt>
                <c:pt idx="287">
                  <c:v>81.101039566666074</c:v>
                </c:pt>
                <c:pt idx="288">
                  <c:v>84.683223305338672</c:v>
                </c:pt>
                <c:pt idx="289">
                  <c:v>86.864593395485841</c:v>
                </c:pt>
                <c:pt idx="290">
                  <c:v>82.069973305934965</c:v>
                </c:pt>
                <c:pt idx="291">
                  <c:v>85.872301983307111</c:v>
                </c:pt>
                <c:pt idx="292">
                  <c:v>91.208759796919807</c:v>
                </c:pt>
                <c:pt idx="293">
                  <c:v>91.829835978518915</c:v>
                </c:pt>
                <c:pt idx="294">
                  <c:v>91.814344925358796</c:v>
                </c:pt>
                <c:pt idx="295">
                  <c:v>89.862032291049559</c:v>
                </c:pt>
                <c:pt idx="296">
                  <c:v>95.244586271329013</c:v>
                </c:pt>
                <c:pt idx="297">
                  <c:v>95.485502313307435</c:v>
                </c:pt>
                <c:pt idx="298">
                  <c:v>96.451319011184339</c:v>
                </c:pt>
                <c:pt idx="299">
                  <c:v>96.469671208681547</c:v>
                </c:pt>
                <c:pt idx="300">
                  <c:v>93.726961833738585</c:v>
                </c:pt>
                <c:pt idx="301">
                  <c:v>98.511759022424428</c:v>
                </c:pt>
                <c:pt idx="302">
                  <c:v>98.84238189135759</c:v>
                </c:pt>
                <c:pt idx="303">
                  <c:v>97.173192428672678</c:v>
                </c:pt>
                <c:pt idx="304">
                  <c:v>97.84394967887556</c:v>
                </c:pt>
                <c:pt idx="305">
                  <c:v>98.814362135954454</c:v>
                </c:pt>
                <c:pt idx="306">
                  <c:v>98.560891618579561</c:v>
                </c:pt>
                <c:pt idx="307">
                  <c:v>98.073266527773043</c:v>
                </c:pt>
                <c:pt idx="308">
                  <c:v>98.125871958202126</c:v>
                </c:pt>
                <c:pt idx="309">
                  <c:v>102.29222961367323</c:v>
                </c:pt>
                <c:pt idx="310">
                  <c:v>101.196848861517</c:v>
                </c:pt>
                <c:pt idx="311">
                  <c:v>104.84501625195699</c:v>
                </c:pt>
                <c:pt idx="312">
                  <c:v>104.52948369950865</c:v>
                </c:pt>
                <c:pt idx="313">
                  <c:v>104.73118684036888</c:v>
                </c:pt>
                <c:pt idx="314">
                  <c:v>104.94756502223359</c:v>
                </c:pt>
                <c:pt idx="315">
                  <c:v>104.78766000649588</c:v>
                </c:pt>
                <c:pt idx="316">
                  <c:v>104.95117753902075</c:v>
                </c:pt>
                <c:pt idx="317">
                  <c:v>102.72137337361247</c:v>
                </c:pt>
                <c:pt idx="318">
                  <c:v>103.08539271761741</c:v>
                </c:pt>
                <c:pt idx="319">
                  <c:v>99.76986801496345</c:v>
                </c:pt>
                <c:pt idx="320">
                  <c:v>100.04221073099369</c:v>
                </c:pt>
                <c:pt idx="321">
                  <c:v>92.74968798837881</c:v>
                </c:pt>
                <c:pt idx="322">
                  <c:v>89.383191217784898</c:v>
                </c:pt>
                <c:pt idx="323">
                  <c:v>92.181831908907625</c:v>
                </c:pt>
                <c:pt idx="324">
                  <c:v>87.054255238238369</c:v>
                </c:pt>
                <c:pt idx="325">
                  <c:v>81.613333266661343</c:v>
                </c:pt>
                <c:pt idx="326">
                  <c:v>85.308427485099102</c:v>
                </c:pt>
                <c:pt idx="327">
                  <c:v>77.920986081430172</c:v>
                </c:pt>
                <c:pt idx="328">
                  <c:v>79.73270264565511</c:v>
                </c:pt>
                <c:pt idx="329">
                  <c:v>84.675778409564387</c:v>
                </c:pt>
                <c:pt idx="330">
                  <c:v>86.912968937751856</c:v>
                </c:pt>
                <c:pt idx="331">
                  <c:v>84.901352106937125</c:v>
                </c:pt>
                <c:pt idx="332">
                  <c:v>90.376305324189161</c:v>
                </c:pt>
                <c:pt idx="333">
                  <c:v>93.279305299021033</c:v>
                </c:pt>
                <c:pt idx="334">
                  <c:v>90.245894503035615</c:v>
                </c:pt>
                <c:pt idx="335">
                  <c:v>84.401842514559348</c:v>
                </c:pt>
                <c:pt idx="336">
                  <c:v>79.406611801520938</c:v>
                </c:pt>
                <c:pt idx="337">
                  <c:v>81.678728667631901</c:v>
                </c:pt>
                <c:pt idx="338">
                  <c:v>87.906712970434299</c:v>
                </c:pt>
                <c:pt idx="339">
                  <c:v>89.832774798593988</c:v>
                </c:pt>
                <c:pt idx="340">
                  <c:v>91.071781441259475</c:v>
                </c:pt>
                <c:pt idx="341">
                  <c:v>90.941553444011731</c:v>
                </c:pt>
                <c:pt idx="342">
                  <c:v>89.768411677721744</c:v>
                </c:pt>
                <c:pt idx="343">
                  <c:v>91.048513128237971</c:v>
                </c:pt>
                <c:pt idx="344">
                  <c:v>94.495937580543639</c:v>
                </c:pt>
                <c:pt idx="345">
                  <c:v>93.596286793573995</c:v>
                </c:pt>
                <c:pt idx="346">
                  <c:v>93.325399795042586</c:v>
                </c:pt>
                <c:pt idx="347">
                  <c:v>93.248986790124874</c:v>
                </c:pt>
                <c:pt idx="348">
                  <c:v>93.610536779498602</c:v>
                </c:pt>
                <c:pt idx="349">
                  <c:v>93.58616236765512</c:v>
                </c:pt>
                <c:pt idx="350">
                  <c:v>93.422646702636882</c:v>
                </c:pt>
                <c:pt idx="351">
                  <c:v>92.338807887441476</c:v>
                </c:pt>
                <c:pt idx="352">
                  <c:v>92.102783565948911</c:v>
                </c:pt>
                <c:pt idx="353">
                  <c:v>95.07195058870326</c:v>
                </c:pt>
                <c:pt idx="354">
                  <c:v>95.227134345313317</c:v>
                </c:pt>
                <c:pt idx="355">
                  <c:v>95.125145536334557</c:v>
                </c:pt>
                <c:pt idx="356">
                  <c:v>95.109827695436493</c:v>
                </c:pt>
                <c:pt idx="357">
                  <c:v>94.868500299134922</c:v>
                </c:pt>
                <c:pt idx="358">
                  <c:v>96.037707097618707</c:v>
                </c:pt>
                <c:pt idx="359">
                  <c:v>97.091783556579884</c:v>
                </c:pt>
                <c:pt idx="360">
                  <c:v>97.984107412836664</c:v>
                </c:pt>
                <c:pt idx="361">
                  <c:v>93.512900926152469</c:v>
                </c:pt>
                <c:pt idx="362">
                  <c:v>92.750509685846296</c:v>
                </c:pt>
                <c:pt idx="363">
                  <c:v>93.548844626039397</c:v>
                </c:pt>
                <c:pt idx="364">
                  <c:v>89.547252050058049</c:v>
                </c:pt>
                <c:pt idx="365">
                  <c:v>88.217172815955635</c:v>
                </c:pt>
                <c:pt idx="366">
                  <c:v>89.138311305946786</c:v>
                </c:pt>
                <c:pt idx="367">
                  <c:v>86.827666548742727</c:v>
                </c:pt>
                <c:pt idx="368">
                  <c:v>88.657984228063697</c:v>
                </c:pt>
                <c:pt idx="369">
                  <c:v>89.320804571048356</c:v>
                </c:pt>
                <c:pt idx="370">
                  <c:v>89.491108429456688</c:v>
                </c:pt>
                <c:pt idx="371">
                  <c:v>88.484907542716826</c:v>
                </c:pt>
                <c:pt idx="372">
                  <c:v>88.370945222595353</c:v>
                </c:pt>
                <c:pt idx="373">
                  <c:v>84.003600690464779</c:v>
                </c:pt>
                <c:pt idx="374">
                  <c:v>84.532883179036418</c:v>
                </c:pt>
                <c:pt idx="375">
                  <c:v>90.392847383454139</c:v>
                </c:pt>
                <c:pt idx="376">
                  <c:v>89.041637860660728</c:v>
                </c:pt>
                <c:pt idx="377">
                  <c:v>88.350315136216366</c:v>
                </c:pt>
                <c:pt idx="378">
                  <c:v>88.522678894436197</c:v>
                </c:pt>
                <c:pt idx="379">
                  <c:v>88.920544880440758</c:v>
                </c:pt>
                <c:pt idx="380">
                  <c:v>88.729759011078642</c:v>
                </c:pt>
                <c:pt idx="381">
                  <c:v>82.629137084531706</c:v>
                </c:pt>
                <c:pt idx="382">
                  <c:v>83.606430860026308</c:v>
                </c:pt>
                <c:pt idx="383">
                  <c:v>86.269725434040055</c:v>
                </c:pt>
                <c:pt idx="384">
                  <c:v>84.463050430623042</c:v>
                </c:pt>
                <c:pt idx="385">
                  <c:v>85.109738976422264</c:v>
                </c:pt>
                <c:pt idx="386">
                  <c:v>87.846462646969627</c:v>
                </c:pt>
                <c:pt idx="387">
                  <c:v>88.388620456137645</c:v>
                </c:pt>
                <c:pt idx="388">
                  <c:v>89.932472927685652</c:v>
                </c:pt>
                <c:pt idx="389">
                  <c:v>82.26015581404728</c:v>
                </c:pt>
                <c:pt idx="390">
                  <c:v>87.049181405433799</c:v>
                </c:pt>
                <c:pt idx="391">
                  <c:v>89.469151737058013</c:v>
                </c:pt>
                <c:pt idx="392">
                  <c:v>87.891694092722545</c:v>
                </c:pt>
                <c:pt idx="393">
                  <c:v>91.082164853756467</c:v>
                </c:pt>
                <c:pt idx="394">
                  <c:v>81.551791864323249</c:v>
                </c:pt>
                <c:pt idx="395">
                  <c:v>81.416818495235873</c:v>
                </c:pt>
                <c:pt idx="396">
                  <c:v>76.238661194675842</c:v>
                </c:pt>
                <c:pt idx="397">
                  <c:v>74.536468232071698</c:v>
                </c:pt>
                <c:pt idx="398">
                  <c:v>82.582946672954847</c:v>
                </c:pt>
                <c:pt idx="399">
                  <c:v>80.385650499538215</c:v>
                </c:pt>
                <c:pt idx="400">
                  <c:v>79.074468111765626</c:v>
                </c:pt>
                <c:pt idx="401">
                  <c:v>79.186445316495622</c:v>
                </c:pt>
                <c:pt idx="402">
                  <c:v>78.477614040358404</c:v>
                </c:pt>
                <c:pt idx="403">
                  <c:v>79.195084859765998</c:v>
                </c:pt>
                <c:pt idx="404">
                  <c:v>78.503666639567371</c:v>
                </c:pt>
                <c:pt idx="405">
                  <c:v>78.644567809722446</c:v>
                </c:pt>
                <c:pt idx="406">
                  <c:v>77.997037617332879</c:v>
                </c:pt>
                <c:pt idx="407">
                  <c:v>78.012707481795942</c:v>
                </c:pt>
                <c:pt idx="408">
                  <c:v>79.417650138351604</c:v>
                </c:pt>
                <c:pt idx="409">
                  <c:v>79.298502285992171</c:v>
                </c:pt>
                <c:pt idx="410">
                  <c:v>78.484181433426699</c:v>
                </c:pt>
                <c:pt idx="411">
                  <c:v>78.58365125272465</c:v>
                </c:pt>
                <c:pt idx="412">
                  <c:v>78.90123216582306</c:v>
                </c:pt>
                <c:pt idx="413">
                  <c:v>76.609421414526679</c:v>
                </c:pt>
                <c:pt idx="414">
                  <c:v>74.919202224839481</c:v>
                </c:pt>
                <c:pt idx="415">
                  <c:v>75.652451902843652</c:v>
                </c:pt>
                <c:pt idx="416">
                  <c:v>73.24102713739731</c:v>
                </c:pt>
                <c:pt idx="417">
                  <c:v>78.880479468202253</c:v>
                </c:pt>
                <c:pt idx="418">
                  <c:v>76.354770949230115</c:v>
                </c:pt>
                <c:pt idx="419">
                  <c:v>76.134757104726049</c:v>
                </c:pt>
                <c:pt idx="420">
                  <c:v>77.264803728060144</c:v>
                </c:pt>
                <c:pt idx="421">
                  <c:v>78.399484255768314</c:v>
                </c:pt>
                <c:pt idx="422">
                  <c:v>78.422326026112614</c:v>
                </c:pt>
                <c:pt idx="423">
                  <c:v>78.616719579835674</c:v>
                </c:pt>
                <c:pt idx="424">
                  <c:v>78.671870697087002</c:v>
                </c:pt>
                <c:pt idx="425">
                  <c:v>79.049237047077455</c:v>
                </c:pt>
                <c:pt idx="426">
                  <c:v>78.80357602230545</c:v>
                </c:pt>
                <c:pt idx="427">
                  <c:v>77.483163885758373</c:v>
                </c:pt>
                <c:pt idx="428">
                  <c:v>79.900846789491041</c:v>
                </c:pt>
                <c:pt idx="429">
                  <c:v>80.211766785162411</c:v>
                </c:pt>
                <c:pt idx="430">
                  <c:v>81.14436991932908</c:v>
                </c:pt>
                <c:pt idx="431">
                  <c:v>82.935144674251632</c:v>
                </c:pt>
                <c:pt idx="432">
                  <c:v>82.391181114409605</c:v>
                </c:pt>
                <c:pt idx="433">
                  <c:v>80.204254874293937</c:v>
                </c:pt>
                <c:pt idx="434">
                  <c:v>80.487540348918202</c:v>
                </c:pt>
                <c:pt idx="435">
                  <c:v>75.603988746803125</c:v>
                </c:pt>
                <c:pt idx="436">
                  <c:v>77.314756775935493</c:v>
                </c:pt>
                <c:pt idx="437">
                  <c:v>79.841416387518407</c:v>
                </c:pt>
                <c:pt idx="438">
                  <c:v>75.995564979422596</c:v>
                </c:pt>
                <c:pt idx="439">
                  <c:v>76.387196270403749</c:v>
                </c:pt>
                <c:pt idx="440">
                  <c:v>75.821490933521559</c:v>
                </c:pt>
                <c:pt idx="441">
                  <c:v>75.578432877885845</c:v>
                </c:pt>
                <c:pt idx="442">
                  <c:v>76.035733927337958</c:v>
                </c:pt>
                <c:pt idx="443">
                  <c:v>76.256769861589405</c:v>
                </c:pt>
                <c:pt idx="444">
                  <c:v>74.65815908824456</c:v>
                </c:pt>
                <c:pt idx="445">
                  <c:v>78.235995861003133</c:v>
                </c:pt>
                <c:pt idx="446">
                  <c:v>78.138835125030454</c:v>
                </c:pt>
                <c:pt idx="447">
                  <c:v>77.761372227320606</c:v>
                </c:pt>
                <c:pt idx="448">
                  <c:v>78.183331388766035</c:v>
                </c:pt>
                <c:pt idx="449">
                  <c:v>78.069368344636999</c:v>
                </c:pt>
                <c:pt idx="450">
                  <c:v>77.959302455852125</c:v>
                </c:pt>
                <c:pt idx="451">
                  <c:v>77.776370609831076</c:v>
                </c:pt>
                <c:pt idx="452">
                  <c:v>77.161561581937661</c:v>
                </c:pt>
                <c:pt idx="453">
                  <c:v>79.084349420492515</c:v>
                </c:pt>
                <c:pt idx="454">
                  <c:v>83.887277437092138</c:v>
                </c:pt>
                <c:pt idx="455">
                  <c:v>84.617829591234525</c:v>
                </c:pt>
                <c:pt idx="456">
                  <c:v>85.901294896351061</c:v>
                </c:pt>
                <c:pt idx="457">
                  <c:v>83.48156581037675</c:v>
                </c:pt>
                <c:pt idx="458">
                  <c:v>85.338047941836678</c:v>
                </c:pt>
                <c:pt idx="459">
                  <c:v>86.11345774502422</c:v>
                </c:pt>
                <c:pt idx="460">
                  <c:v>88.517221308995929</c:v>
                </c:pt>
                <c:pt idx="461">
                  <c:v>87.784208460160784</c:v>
                </c:pt>
                <c:pt idx="462">
                  <c:v>87.270302620249538</c:v>
                </c:pt>
                <c:pt idx="463">
                  <c:v>87.053348207315011</c:v>
                </c:pt>
                <c:pt idx="464">
                  <c:v>86.495831983665227</c:v>
                </c:pt>
                <c:pt idx="465">
                  <c:v>86.354725214076453</c:v>
                </c:pt>
                <c:pt idx="466">
                  <c:v>84.486089009875158</c:v>
                </c:pt>
                <c:pt idx="467">
                  <c:v>82.104089123136816</c:v>
                </c:pt>
                <c:pt idx="468">
                  <c:v>80.53640709327577</c:v>
                </c:pt>
                <c:pt idx="469">
                  <c:v>81.110480558426943</c:v>
                </c:pt>
                <c:pt idx="470">
                  <c:v>83.486814034218781</c:v>
                </c:pt>
                <c:pt idx="471">
                  <c:v>88.644161912384732</c:v>
                </c:pt>
                <c:pt idx="472">
                  <c:v>88.670123509097536</c:v>
                </c:pt>
                <c:pt idx="473">
                  <c:v>89.852189603902275</c:v>
                </c:pt>
                <c:pt idx="474">
                  <c:v>92.958057371248643</c:v>
                </c:pt>
                <c:pt idx="475">
                  <c:v>86.059023225141544</c:v>
                </c:pt>
                <c:pt idx="476">
                  <c:v>85.910768052439721</c:v>
                </c:pt>
                <c:pt idx="477">
                  <c:v>83.009882408426037</c:v>
                </c:pt>
                <c:pt idx="478">
                  <c:v>87.9099881114672</c:v>
                </c:pt>
                <c:pt idx="479">
                  <c:v>85.979421417894642</c:v>
                </c:pt>
                <c:pt idx="480">
                  <c:v>85.777550883589129</c:v>
                </c:pt>
                <c:pt idx="481">
                  <c:v>83.446489523236238</c:v>
                </c:pt>
                <c:pt idx="482">
                  <c:v>83.398933795579126</c:v>
                </c:pt>
                <c:pt idx="483">
                  <c:v>90.120047798487775</c:v>
                </c:pt>
                <c:pt idx="484">
                  <c:v>85.941762646410069</c:v>
                </c:pt>
                <c:pt idx="485">
                  <c:v>84.942529241711782</c:v>
                </c:pt>
                <c:pt idx="486">
                  <c:v>84.942797355084082</c:v>
                </c:pt>
                <c:pt idx="487">
                  <c:v>84.882876246426576</c:v>
                </c:pt>
                <c:pt idx="488">
                  <c:v>85.841723267219407</c:v>
                </c:pt>
                <c:pt idx="489">
                  <c:v>85.397957226000301</c:v>
                </c:pt>
                <c:pt idx="490">
                  <c:v>85.323006448333814</c:v>
                </c:pt>
                <c:pt idx="491">
                  <c:v>84.805228437900112</c:v>
                </c:pt>
                <c:pt idx="492">
                  <c:v>83.074945157996751</c:v>
                </c:pt>
                <c:pt idx="493">
                  <c:v>84.198838294604968</c:v>
                </c:pt>
                <c:pt idx="494">
                  <c:v>82.850250317060102</c:v>
                </c:pt>
                <c:pt idx="495">
                  <c:v>81.918973907649757</c:v>
                </c:pt>
                <c:pt idx="496">
                  <c:v>78.888851482885187</c:v>
                </c:pt>
                <c:pt idx="497">
                  <c:v>78.904321804089463</c:v>
                </c:pt>
                <c:pt idx="498">
                  <c:v>80.995104472921511</c:v>
                </c:pt>
                <c:pt idx="499">
                  <c:v>78.316828437957867</c:v>
                </c:pt>
                <c:pt idx="500">
                  <c:v>79.810650781452409</c:v>
                </c:pt>
                <c:pt idx="501">
                  <c:v>79.447747731059223</c:v>
                </c:pt>
                <c:pt idx="502">
                  <c:v>78.854781286237838</c:v>
                </c:pt>
                <c:pt idx="503">
                  <c:v>77.820812832789841</c:v>
                </c:pt>
                <c:pt idx="504">
                  <c:v>77.88937111425706</c:v>
                </c:pt>
                <c:pt idx="505">
                  <c:v>74.998219049870173</c:v>
                </c:pt>
                <c:pt idx="506">
                  <c:v>74.04634555198875</c:v>
                </c:pt>
                <c:pt idx="507">
                  <c:v>74.652336804046598</c:v>
                </c:pt>
                <c:pt idx="508">
                  <c:v>73.840286278341523</c:v>
                </c:pt>
                <c:pt idx="509">
                  <c:v>71.710457902293129</c:v>
                </c:pt>
                <c:pt idx="510">
                  <c:v>69.881908521559836</c:v>
                </c:pt>
                <c:pt idx="511">
                  <c:v>69.371364320531541</c:v>
                </c:pt>
                <c:pt idx="512">
                  <c:v>70.282146282557605</c:v>
                </c:pt>
                <c:pt idx="513">
                  <c:v>71.732363576967686</c:v>
                </c:pt>
                <c:pt idx="514">
                  <c:v>67.068528833227631</c:v>
                </c:pt>
                <c:pt idx="515">
                  <c:v>66.640872354818285</c:v>
                </c:pt>
                <c:pt idx="516">
                  <c:v>66.675604435509186</c:v>
                </c:pt>
                <c:pt idx="517">
                  <c:v>63.729325477273854</c:v>
                </c:pt>
                <c:pt idx="518">
                  <c:v>66.703038790777853</c:v>
                </c:pt>
                <c:pt idx="519">
                  <c:v>66.594596123094206</c:v>
                </c:pt>
                <c:pt idx="520">
                  <c:v>66.921553993501405</c:v>
                </c:pt>
                <c:pt idx="521">
                  <c:v>65.290742642405363</c:v>
                </c:pt>
                <c:pt idx="522">
                  <c:v>65.089354573493893</c:v>
                </c:pt>
                <c:pt idx="523">
                  <c:v>63.58045998765656</c:v>
                </c:pt>
                <c:pt idx="524">
                  <c:v>60.554794346513923</c:v>
                </c:pt>
                <c:pt idx="525">
                  <c:v>61.340423818215541</c:v>
                </c:pt>
                <c:pt idx="526">
                  <c:v>60.181296061552018</c:v>
                </c:pt>
                <c:pt idx="527">
                  <c:v>63.407145593231206</c:v>
                </c:pt>
                <c:pt idx="528">
                  <c:v>67.419709676088985</c:v>
                </c:pt>
                <c:pt idx="529">
                  <c:v>66.803964234970138</c:v>
                </c:pt>
                <c:pt idx="530">
                  <c:v>65.112771985793614</c:v>
                </c:pt>
                <c:pt idx="531">
                  <c:v>66.448235315463933</c:v>
                </c:pt>
                <c:pt idx="532">
                  <c:v>66.886985950755914</c:v>
                </c:pt>
                <c:pt idx="533">
                  <c:v>68.700878897500431</c:v>
                </c:pt>
                <c:pt idx="534">
                  <c:v>69.281701925549626</c:v>
                </c:pt>
                <c:pt idx="535">
                  <c:v>72.773609162287372</c:v>
                </c:pt>
                <c:pt idx="536">
                  <c:v>74.268149733280708</c:v>
                </c:pt>
                <c:pt idx="537">
                  <c:v>74.331805707285852</c:v>
                </c:pt>
                <c:pt idx="538">
                  <c:v>74.326557085686389</c:v>
                </c:pt>
                <c:pt idx="539">
                  <c:v>72.426830548740469</c:v>
                </c:pt>
                <c:pt idx="540">
                  <c:v>71.569026873612316</c:v>
                </c:pt>
                <c:pt idx="541">
                  <c:v>71.25378730181589</c:v>
                </c:pt>
                <c:pt idx="542">
                  <c:v>68.87579205678945</c:v>
                </c:pt>
                <c:pt idx="543">
                  <c:v>70.735747752269205</c:v>
                </c:pt>
                <c:pt idx="544">
                  <c:v>73.2939075326899</c:v>
                </c:pt>
                <c:pt idx="545">
                  <c:v>73.632081910417327</c:v>
                </c:pt>
                <c:pt idx="546">
                  <c:v>73.559447425351834</c:v>
                </c:pt>
                <c:pt idx="547">
                  <c:v>73.840842739743948</c:v>
                </c:pt>
                <c:pt idx="548">
                  <c:v>73.570322050818888</c:v>
                </c:pt>
                <c:pt idx="549">
                  <c:v>73.452970787847093</c:v>
                </c:pt>
                <c:pt idx="550">
                  <c:v>73.40383514292985</c:v>
                </c:pt>
                <c:pt idx="551">
                  <c:v>73.341738700661836</c:v>
                </c:pt>
                <c:pt idx="552">
                  <c:v>73.491479075294009</c:v>
                </c:pt>
                <c:pt idx="553">
                  <c:v>72.709636359682307</c:v>
                </c:pt>
                <c:pt idx="554">
                  <c:v>72.511282309815186</c:v>
                </c:pt>
                <c:pt idx="555">
                  <c:v>73.020763380432783</c:v>
                </c:pt>
                <c:pt idx="556">
                  <c:v>73.001948736608782</c:v>
                </c:pt>
                <c:pt idx="557">
                  <c:v>71.780218264335033</c:v>
                </c:pt>
                <c:pt idx="558">
                  <c:v>71.855278321360558</c:v>
                </c:pt>
                <c:pt idx="559">
                  <c:v>70.890078163339155</c:v>
                </c:pt>
                <c:pt idx="560">
                  <c:v>73.866528974568809</c:v>
                </c:pt>
                <c:pt idx="561">
                  <c:v>69.135870639316238</c:v>
                </c:pt>
                <c:pt idx="562">
                  <c:v>69.057648071974384</c:v>
                </c:pt>
                <c:pt idx="563">
                  <c:v>68.337628587922012</c:v>
                </c:pt>
                <c:pt idx="564">
                  <c:v>67.534901048151724</c:v>
                </c:pt>
                <c:pt idx="565">
                  <c:v>67.106788485349725</c:v>
                </c:pt>
                <c:pt idx="566">
                  <c:v>70.634097924050792</c:v>
                </c:pt>
                <c:pt idx="567">
                  <c:v>71.92335458140262</c:v>
                </c:pt>
                <c:pt idx="568">
                  <c:v>71.672059363117171</c:v>
                </c:pt>
                <c:pt idx="569">
                  <c:v>70.804176279424112</c:v>
                </c:pt>
                <c:pt idx="570">
                  <c:v>69.302076754724169</c:v>
                </c:pt>
                <c:pt idx="571">
                  <c:v>69.139240841171556</c:v>
                </c:pt>
                <c:pt idx="572">
                  <c:v>72.571614171737181</c:v>
                </c:pt>
                <c:pt idx="573">
                  <c:v>72.255487222282142</c:v>
                </c:pt>
                <c:pt idx="574">
                  <c:v>73.192261073977903</c:v>
                </c:pt>
                <c:pt idx="575">
                  <c:v>70.816658642371834</c:v>
                </c:pt>
                <c:pt idx="576">
                  <c:v>71.875490366385009</c:v>
                </c:pt>
                <c:pt idx="577">
                  <c:v>74.212701991098612</c:v>
                </c:pt>
                <c:pt idx="578">
                  <c:v>74.74329033381531</c:v>
                </c:pt>
                <c:pt idx="579">
                  <c:v>74.50276105448016</c:v>
                </c:pt>
                <c:pt idx="580">
                  <c:v>74.497468055429849</c:v>
                </c:pt>
                <c:pt idx="581">
                  <c:v>74.306687497726344</c:v>
                </c:pt>
                <c:pt idx="582">
                  <c:v>77.061815927427787</c:v>
                </c:pt>
                <c:pt idx="583">
                  <c:v>74.905619182372604</c:v>
                </c:pt>
                <c:pt idx="584">
                  <c:v>73.284057952826061</c:v>
                </c:pt>
                <c:pt idx="585">
                  <c:v>76.773693518400364</c:v>
                </c:pt>
                <c:pt idx="586">
                  <c:v>77.561032953421005</c:v>
                </c:pt>
                <c:pt idx="587">
                  <c:v>76.82296972603433</c:v>
                </c:pt>
                <c:pt idx="588">
                  <c:v>76.734429101626219</c:v>
                </c:pt>
                <c:pt idx="589">
                  <c:v>77.163407393740371</c:v>
                </c:pt>
                <c:pt idx="590">
                  <c:v>78.36919573911976</c:v>
                </c:pt>
                <c:pt idx="591">
                  <c:v>78.126533509485753</c:v>
                </c:pt>
                <c:pt idx="592">
                  <c:v>78.444161758846988</c:v>
                </c:pt>
                <c:pt idx="593">
                  <c:v>78.464721338953467</c:v>
                </c:pt>
                <c:pt idx="594">
                  <c:v>78.883302503526807</c:v>
                </c:pt>
                <c:pt idx="595">
                  <c:v>78.328892465223561</c:v>
                </c:pt>
                <c:pt idx="596">
                  <c:v>78.662548506400157</c:v>
                </c:pt>
                <c:pt idx="597">
                  <c:v>78.791639884573499</c:v>
                </c:pt>
                <c:pt idx="598">
                  <c:v>79.6798814750438</c:v>
                </c:pt>
                <c:pt idx="599">
                  <c:v>80.981238650218657</c:v>
                </c:pt>
                <c:pt idx="600">
                  <c:v>80.151004139585069</c:v>
                </c:pt>
                <c:pt idx="601">
                  <c:v>80.108406293564656</c:v>
                </c:pt>
                <c:pt idx="602">
                  <c:v>79.019016944906355</c:v>
                </c:pt>
                <c:pt idx="603">
                  <c:v>82.504427193018984</c:v>
                </c:pt>
                <c:pt idx="604">
                  <c:v>75.559215695673856</c:v>
                </c:pt>
                <c:pt idx="605">
                  <c:v>74.996738733032544</c:v>
                </c:pt>
                <c:pt idx="606">
                  <c:v>74.037758355831059</c:v>
                </c:pt>
                <c:pt idx="607">
                  <c:v>73.81560396388187</c:v>
                </c:pt>
                <c:pt idx="608">
                  <c:v>71.206039686667225</c:v>
                </c:pt>
                <c:pt idx="609">
                  <c:v>72.161444540033699</c:v>
                </c:pt>
                <c:pt idx="610">
                  <c:v>67.972382498782011</c:v>
                </c:pt>
                <c:pt idx="611">
                  <c:v>69.823596332650084</c:v>
                </c:pt>
                <c:pt idx="612">
                  <c:v>71.327061506111718</c:v>
                </c:pt>
                <c:pt idx="613">
                  <c:v>69.600680607716782</c:v>
                </c:pt>
                <c:pt idx="614">
                  <c:v>69.793674446950575</c:v>
                </c:pt>
                <c:pt idx="615">
                  <c:v>70.223901430287711</c:v>
                </c:pt>
                <c:pt idx="616">
                  <c:v>72.390371126535896</c:v>
                </c:pt>
                <c:pt idx="617">
                  <c:v>70.128145503637128</c:v>
                </c:pt>
                <c:pt idx="618">
                  <c:v>65.010631590850508</c:v>
                </c:pt>
                <c:pt idx="619">
                  <c:v>67.720461923875888</c:v>
                </c:pt>
                <c:pt idx="620">
                  <c:v>64.993141275829558</c:v>
                </c:pt>
                <c:pt idx="621">
                  <c:v>62.01655286897131</c:v>
                </c:pt>
                <c:pt idx="622">
                  <c:v>59.794378671117791</c:v>
                </c:pt>
                <c:pt idx="623">
                  <c:v>56.919603225805197</c:v>
                </c:pt>
                <c:pt idx="624">
                  <c:v>50.120442584663287</c:v>
                </c:pt>
                <c:pt idx="625">
                  <c:v>45.638020844897</c:v>
                </c:pt>
                <c:pt idx="626">
                  <c:v>38.877528249442108</c:v>
                </c:pt>
                <c:pt idx="627">
                  <c:v>35.586674340745674</c:v>
                </c:pt>
                <c:pt idx="628">
                  <c:v>39.389120687495108</c:v>
                </c:pt>
                <c:pt idx="629">
                  <c:v>40.616589232135681</c:v>
                </c:pt>
                <c:pt idx="630">
                  <c:v>33.650033261585051</c:v>
                </c:pt>
                <c:pt idx="631">
                  <c:v>31.691223758162078</c:v>
                </c:pt>
                <c:pt idx="632">
                  <c:v>28.98459820760667</c:v>
                </c:pt>
                <c:pt idx="633">
                  <c:v>30.107952184021077</c:v>
                </c:pt>
                <c:pt idx="634">
                  <c:v>30.897452066516252</c:v>
                </c:pt>
                <c:pt idx="635">
                  <c:v>28.810120903287576</c:v>
                </c:pt>
                <c:pt idx="636">
                  <c:v>28.352489124247693</c:v>
                </c:pt>
                <c:pt idx="637">
                  <c:v>26.460701271436488</c:v>
                </c:pt>
                <c:pt idx="638">
                  <c:v>25.521164933018884</c:v>
                </c:pt>
                <c:pt idx="639">
                  <c:v>27.288135222689682</c:v>
                </c:pt>
                <c:pt idx="640">
                  <c:v>26.15013305489477</c:v>
                </c:pt>
                <c:pt idx="641">
                  <c:v>26.282037497329167</c:v>
                </c:pt>
                <c:pt idx="642">
                  <c:v>26.420692366792494</c:v>
                </c:pt>
                <c:pt idx="643">
                  <c:v>26.720486859970592</c:v>
                </c:pt>
                <c:pt idx="644">
                  <c:v>27.150377922537324</c:v>
                </c:pt>
                <c:pt idx="645">
                  <c:v>27.243875084426865</c:v>
                </c:pt>
                <c:pt idx="646">
                  <c:v>28.909915456384752</c:v>
                </c:pt>
                <c:pt idx="647">
                  <c:v>28.614193966364777</c:v>
                </c:pt>
                <c:pt idx="648">
                  <c:v>28.425429062631746</c:v>
                </c:pt>
                <c:pt idx="649">
                  <c:v>28.364745071250518</c:v>
                </c:pt>
                <c:pt idx="650">
                  <c:v>27.922153767975129</c:v>
                </c:pt>
                <c:pt idx="651">
                  <c:v>28.737296111613595</c:v>
                </c:pt>
                <c:pt idx="652">
                  <c:v>27.422556912475414</c:v>
                </c:pt>
                <c:pt idx="653">
                  <c:v>27.183783131369182</c:v>
                </c:pt>
                <c:pt idx="654">
                  <c:v>26.972319172343301</c:v>
                </c:pt>
                <c:pt idx="655">
                  <c:v>25.608864868131434</c:v>
                </c:pt>
                <c:pt idx="656">
                  <c:v>24.992501056365946</c:v>
                </c:pt>
                <c:pt idx="657">
                  <c:v>25.894360110811355</c:v>
                </c:pt>
                <c:pt idx="658">
                  <c:v>27.249293469569619</c:v>
                </c:pt>
                <c:pt idx="659">
                  <c:v>27.573582198033019</c:v>
                </c:pt>
                <c:pt idx="660">
                  <c:v>27.755234146325286</c:v>
                </c:pt>
                <c:pt idx="661">
                  <c:v>27.746336237916459</c:v>
                </c:pt>
                <c:pt idx="662">
                  <c:v>29.190043941813716</c:v>
                </c:pt>
                <c:pt idx="663">
                  <c:v>28.681946579600211</c:v>
                </c:pt>
                <c:pt idx="664">
                  <c:v>28.661258560496453</c:v>
                </c:pt>
                <c:pt idx="665">
                  <c:v>28.739499645813744</c:v>
                </c:pt>
                <c:pt idx="666">
                  <c:v>28.640882386047284</c:v>
                </c:pt>
                <c:pt idx="667">
                  <c:v>28.852848928371667</c:v>
                </c:pt>
                <c:pt idx="668">
                  <c:v>28.821707552393153</c:v>
                </c:pt>
                <c:pt idx="669">
                  <c:v>28.686451616640188</c:v>
                </c:pt>
                <c:pt idx="670">
                  <c:v>28.671329258179718</c:v>
                </c:pt>
                <c:pt idx="671">
                  <c:v>28.591486657852194</c:v>
                </c:pt>
                <c:pt idx="672">
                  <c:v>28.633091696396846</c:v>
                </c:pt>
                <c:pt idx="673">
                  <c:v>28.046301793236928</c:v>
                </c:pt>
                <c:pt idx="674">
                  <c:v>28.010594451196344</c:v>
                </c:pt>
                <c:pt idx="675">
                  <c:v>27.379080812369015</c:v>
                </c:pt>
                <c:pt idx="676">
                  <c:v>26.437928913223509</c:v>
                </c:pt>
                <c:pt idx="677">
                  <c:v>25.554965224653639</c:v>
                </c:pt>
                <c:pt idx="678">
                  <c:v>25.903662336926615</c:v>
                </c:pt>
                <c:pt idx="679">
                  <c:v>25.667116863937444</c:v>
                </c:pt>
                <c:pt idx="680">
                  <c:v>25.341064423923509</c:v>
                </c:pt>
                <c:pt idx="681">
                  <c:v>26.008260471872731</c:v>
                </c:pt>
                <c:pt idx="682">
                  <c:v>24.794455448974418</c:v>
                </c:pt>
                <c:pt idx="683">
                  <c:v>24.022085468876867</c:v>
                </c:pt>
                <c:pt idx="684">
                  <c:v>22.14350694862436</c:v>
                </c:pt>
                <c:pt idx="685">
                  <c:v>22.860693765644424</c:v>
                </c:pt>
                <c:pt idx="686">
                  <c:v>22.613057755688548</c:v>
                </c:pt>
                <c:pt idx="687">
                  <c:v>24.894995014690885</c:v>
                </c:pt>
                <c:pt idx="688">
                  <c:v>24.574847750409599</c:v>
                </c:pt>
                <c:pt idx="689">
                  <c:v>24.3646838649614</c:v>
                </c:pt>
                <c:pt idx="690">
                  <c:v>24.200558251169159</c:v>
                </c:pt>
                <c:pt idx="691">
                  <c:v>24.607611714956938</c:v>
                </c:pt>
                <c:pt idx="692">
                  <c:v>21.887076077078486</c:v>
                </c:pt>
                <c:pt idx="693">
                  <c:v>21.260555020721483</c:v>
                </c:pt>
                <c:pt idx="694">
                  <c:v>21.855358129619674</c:v>
                </c:pt>
                <c:pt idx="695">
                  <c:v>19.093379968359983</c:v>
                </c:pt>
                <c:pt idx="696">
                  <c:v>20.321144196314972</c:v>
                </c:pt>
                <c:pt idx="697">
                  <c:v>20.552747091353378</c:v>
                </c:pt>
                <c:pt idx="698">
                  <c:v>20.659230029234831</c:v>
                </c:pt>
                <c:pt idx="699">
                  <c:v>21.209092680344597</c:v>
                </c:pt>
                <c:pt idx="700">
                  <c:v>21.515328791251772</c:v>
                </c:pt>
                <c:pt idx="701">
                  <c:v>21.213829539868868</c:v>
                </c:pt>
                <c:pt idx="702">
                  <c:v>21.499345171964261</c:v>
                </c:pt>
                <c:pt idx="703">
                  <c:v>22.241236569330518</c:v>
                </c:pt>
                <c:pt idx="704">
                  <c:v>22.357471902912167</c:v>
                </c:pt>
                <c:pt idx="705">
                  <c:v>21.896223714762641</c:v>
                </c:pt>
                <c:pt idx="706">
                  <c:v>21.997005567679931</c:v>
                </c:pt>
                <c:pt idx="707">
                  <c:v>21.85504655580695</c:v>
                </c:pt>
                <c:pt idx="708">
                  <c:v>21.744133331076061</c:v>
                </c:pt>
                <c:pt idx="709">
                  <c:v>21.72674810879623</c:v>
                </c:pt>
                <c:pt idx="710">
                  <c:v>22.218550742404918</c:v>
                </c:pt>
                <c:pt idx="711">
                  <c:v>22.097978819104991</c:v>
                </c:pt>
                <c:pt idx="712">
                  <c:v>22.470305666837767</c:v>
                </c:pt>
                <c:pt idx="713">
                  <c:v>22.399842966282467</c:v>
                </c:pt>
                <c:pt idx="714">
                  <c:v>22.670046642222868</c:v>
                </c:pt>
                <c:pt idx="715">
                  <c:v>22.69319702673252</c:v>
                </c:pt>
                <c:pt idx="716">
                  <c:v>22.725074724400258</c:v>
                </c:pt>
                <c:pt idx="717">
                  <c:v>21.920318902141037</c:v>
                </c:pt>
                <c:pt idx="718">
                  <c:v>21.210951611128475</c:v>
                </c:pt>
                <c:pt idx="719">
                  <c:v>23.163143641379541</c:v>
                </c:pt>
                <c:pt idx="720">
                  <c:v>23.704962402974786</c:v>
                </c:pt>
                <c:pt idx="721">
                  <c:v>23.656994137296142</c:v>
                </c:pt>
                <c:pt idx="722">
                  <c:v>23.71690198892885</c:v>
                </c:pt>
                <c:pt idx="723">
                  <c:v>24.014680857604059</c:v>
                </c:pt>
                <c:pt idx="724">
                  <c:v>24.04532010184489</c:v>
                </c:pt>
                <c:pt idx="725">
                  <c:v>25.426666768355695</c:v>
                </c:pt>
                <c:pt idx="726">
                  <c:v>24.213136799345971</c:v>
                </c:pt>
                <c:pt idx="727">
                  <c:v>24.052784661655547</c:v>
                </c:pt>
                <c:pt idx="728">
                  <c:v>23.950658299698347</c:v>
                </c:pt>
                <c:pt idx="729">
                  <c:v>24.265020246287328</c:v>
                </c:pt>
                <c:pt idx="730">
                  <c:v>24.344539358284273</c:v>
                </c:pt>
                <c:pt idx="731">
                  <c:v>23.794892305997408</c:v>
                </c:pt>
                <c:pt idx="732">
                  <c:v>23.999188851802941</c:v>
                </c:pt>
                <c:pt idx="733">
                  <c:v>24.851329188147854</c:v>
                </c:pt>
                <c:pt idx="734">
                  <c:v>23.916745784021479</c:v>
                </c:pt>
                <c:pt idx="735">
                  <c:v>23.817557052032409</c:v>
                </c:pt>
                <c:pt idx="736">
                  <c:v>24.849523942640126</c:v>
                </c:pt>
                <c:pt idx="737">
                  <c:v>26.094328915989419</c:v>
                </c:pt>
                <c:pt idx="738">
                  <c:v>26.345277033529676</c:v>
                </c:pt>
                <c:pt idx="739">
                  <c:v>25.976637038270272</c:v>
                </c:pt>
                <c:pt idx="740">
                  <c:v>26.023597269801119</c:v>
                </c:pt>
                <c:pt idx="741">
                  <c:v>26.236356791894483</c:v>
                </c:pt>
                <c:pt idx="742">
                  <c:v>26.243646827475565</c:v>
                </c:pt>
                <c:pt idx="743">
                  <c:v>26.957395377632409</c:v>
                </c:pt>
                <c:pt idx="744">
                  <c:v>26.921984067285504</c:v>
                </c:pt>
                <c:pt idx="745">
                  <c:v>27.441558862190988</c:v>
                </c:pt>
                <c:pt idx="746">
                  <c:v>27.549958329545195</c:v>
                </c:pt>
                <c:pt idx="747">
                  <c:v>27.455927831592025</c:v>
                </c:pt>
                <c:pt idx="748">
                  <c:v>27.488894070161578</c:v>
                </c:pt>
                <c:pt idx="749">
                  <c:v>27.385249344917753</c:v>
                </c:pt>
                <c:pt idx="750">
                  <c:v>27.131514293967626</c:v>
                </c:pt>
                <c:pt idx="751">
                  <c:v>26.413713054665887</c:v>
                </c:pt>
                <c:pt idx="752">
                  <c:v>26.297613404694754</c:v>
                </c:pt>
                <c:pt idx="753">
                  <c:v>26.216260125645299</c:v>
                </c:pt>
                <c:pt idx="754">
                  <c:v>25.686494127158493</c:v>
                </c:pt>
                <c:pt idx="755">
                  <c:v>24.725418392879604</c:v>
                </c:pt>
                <c:pt idx="756">
                  <c:v>24.226891097931929</c:v>
                </c:pt>
                <c:pt idx="757">
                  <c:v>26.145439042042181</c:v>
                </c:pt>
                <c:pt idx="758">
                  <c:v>25.081824367022669</c:v>
                </c:pt>
                <c:pt idx="759">
                  <c:v>25.113251136923406</c:v>
                </c:pt>
                <c:pt idx="760">
                  <c:v>24.771097554296663</c:v>
                </c:pt>
                <c:pt idx="761">
                  <c:v>24.745326949343266</c:v>
                </c:pt>
                <c:pt idx="762">
                  <c:v>24.966382524615867</c:v>
                </c:pt>
                <c:pt idx="763">
                  <c:v>24.8636098287176</c:v>
                </c:pt>
                <c:pt idx="764">
                  <c:v>25.133315756259641</c:v>
                </c:pt>
                <c:pt idx="765">
                  <c:v>25.10105687578794</c:v>
                </c:pt>
                <c:pt idx="766">
                  <c:v>24.66834411144178</c:v>
                </c:pt>
                <c:pt idx="767">
                  <c:v>24.025158186075121</c:v>
                </c:pt>
                <c:pt idx="768">
                  <c:v>23.865901829089246</c:v>
                </c:pt>
                <c:pt idx="769">
                  <c:v>22.796036083964044</c:v>
                </c:pt>
                <c:pt idx="770">
                  <c:v>23.242124120768299</c:v>
                </c:pt>
                <c:pt idx="771">
                  <c:v>22.206602411339098</c:v>
                </c:pt>
                <c:pt idx="772">
                  <c:v>22.376839628062051</c:v>
                </c:pt>
                <c:pt idx="773">
                  <c:v>22.031666459089248</c:v>
                </c:pt>
                <c:pt idx="774">
                  <c:v>23.030790958043745</c:v>
                </c:pt>
                <c:pt idx="775">
                  <c:v>21.787311777621465</c:v>
                </c:pt>
                <c:pt idx="776">
                  <c:v>21.909673557753099</c:v>
                </c:pt>
                <c:pt idx="777">
                  <c:v>20.326602417838846</c:v>
                </c:pt>
                <c:pt idx="778">
                  <c:v>20.175950185519081</c:v>
                </c:pt>
                <c:pt idx="779">
                  <c:v>20.216884736071414</c:v>
                </c:pt>
                <c:pt idx="780">
                  <c:v>21.343581631326376</c:v>
                </c:pt>
                <c:pt idx="781">
                  <c:v>21.705528185719619</c:v>
                </c:pt>
                <c:pt idx="782">
                  <c:v>21.589270554129396</c:v>
                </c:pt>
                <c:pt idx="783">
                  <c:v>21.386196598779531</c:v>
                </c:pt>
                <c:pt idx="784">
                  <c:v>21.160227203424917</c:v>
                </c:pt>
                <c:pt idx="785">
                  <c:v>21.187588460549158</c:v>
                </c:pt>
                <c:pt idx="786">
                  <c:v>21.131460920692973</c:v>
                </c:pt>
                <c:pt idx="787">
                  <c:v>21.104998499741054</c:v>
                </c:pt>
                <c:pt idx="788">
                  <c:v>22.07845848978894</c:v>
                </c:pt>
                <c:pt idx="789">
                  <c:v>21.857499308076584</c:v>
                </c:pt>
                <c:pt idx="790">
                  <c:v>21.820844470375725</c:v>
                </c:pt>
                <c:pt idx="791">
                  <c:v>21.770454187433284</c:v>
                </c:pt>
                <c:pt idx="792">
                  <c:v>21.567829129342055</c:v>
                </c:pt>
                <c:pt idx="793">
                  <c:v>21.56456186216386</c:v>
                </c:pt>
                <c:pt idx="794">
                  <c:v>20.871828808590699</c:v>
                </c:pt>
                <c:pt idx="795">
                  <c:v>20.547759507667166</c:v>
                </c:pt>
                <c:pt idx="796">
                  <c:v>21.49470161822364</c:v>
                </c:pt>
                <c:pt idx="797">
                  <c:v>22.212408910426593</c:v>
                </c:pt>
                <c:pt idx="798">
                  <c:v>22.269594246772847</c:v>
                </c:pt>
                <c:pt idx="799">
                  <c:v>22.273417282757457</c:v>
                </c:pt>
                <c:pt idx="800">
                  <c:v>22.641162768416113</c:v>
                </c:pt>
                <c:pt idx="801">
                  <c:v>22.21247184132725</c:v>
                </c:pt>
                <c:pt idx="802">
                  <c:v>22.029228227172531</c:v>
                </c:pt>
                <c:pt idx="803">
                  <c:v>22.845507610702732</c:v>
                </c:pt>
                <c:pt idx="804">
                  <c:v>23.174642887702923</c:v>
                </c:pt>
                <c:pt idx="805">
                  <c:v>22.730742537095246</c:v>
                </c:pt>
                <c:pt idx="806">
                  <c:v>21.84793906098356</c:v>
                </c:pt>
                <c:pt idx="807">
                  <c:v>22.323638363914451</c:v>
                </c:pt>
                <c:pt idx="808">
                  <c:v>22.004224360588172</c:v>
                </c:pt>
                <c:pt idx="809">
                  <c:v>23.316624805492459</c:v>
                </c:pt>
                <c:pt idx="810">
                  <c:v>23.074827451069805</c:v>
                </c:pt>
                <c:pt idx="811">
                  <c:v>23.294970432657294</c:v>
                </c:pt>
                <c:pt idx="812">
                  <c:v>23.426265691694663</c:v>
                </c:pt>
                <c:pt idx="813">
                  <c:v>23.986761012961889</c:v>
                </c:pt>
                <c:pt idx="814">
                  <c:v>23.933047897167064</c:v>
                </c:pt>
                <c:pt idx="815">
                  <c:v>24.925885787074616</c:v>
                </c:pt>
                <c:pt idx="816">
                  <c:v>25.210705366778953</c:v>
                </c:pt>
                <c:pt idx="817">
                  <c:v>24.685258032306532</c:v>
                </c:pt>
                <c:pt idx="818">
                  <c:v>24.163833097179761</c:v>
                </c:pt>
                <c:pt idx="819">
                  <c:v>24.204462235905744</c:v>
                </c:pt>
                <c:pt idx="820">
                  <c:v>23.703588204649684</c:v>
                </c:pt>
                <c:pt idx="821">
                  <c:v>23.243459710249084</c:v>
                </c:pt>
                <c:pt idx="822">
                  <c:v>22.699983438528466</c:v>
                </c:pt>
                <c:pt idx="823">
                  <c:v>21.905988543908553</c:v>
                </c:pt>
                <c:pt idx="824">
                  <c:v>21.695676672302103</c:v>
                </c:pt>
                <c:pt idx="825">
                  <c:v>21.987278198921462</c:v>
                </c:pt>
                <c:pt idx="826">
                  <c:v>22.77933775125609</c:v>
                </c:pt>
                <c:pt idx="827">
                  <c:v>23.069574134582894</c:v>
                </c:pt>
                <c:pt idx="828">
                  <c:v>22.870741503291466</c:v>
                </c:pt>
                <c:pt idx="829">
                  <c:v>22.819385317145645</c:v>
                </c:pt>
                <c:pt idx="830">
                  <c:v>22.652112161421748</c:v>
                </c:pt>
                <c:pt idx="831">
                  <c:v>22.652762512235856</c:v>
                </c:pt>
                <c:pt idx="832">
                  <c:v>22.50846549641836</c:v>
                </c:pt>
                <c:pt idx="833">
                  <c:v>22.779576961964196</c:v>
                </c:pt>
                <c:pt idx="834">
                  <c:v>22.154358700805854</c:v>
                </c:pt>
                <c:pt idx="835">
                  <c:v>22.119410100594802</c:v>
                </c:pt>
                <c:pt idx="836">
                  <c:v>22.595134468465957</c:v>
                </c:pt>
                <c:pt idx="837">
                  <c:v>22.033403641089468</c:v>
                </c:pt>
                <c:pt idx="838">
                  <c:v>21.777709248548099</c:v>
                </c:pt>
                <c:pt idx="839">
                  <c:v>22.14706545906062</c:v>
                </c:pt>
                <c:pt idx="840">
                  <c:v>23.398320353981699</c:v>
                </c:pt>
                <c:pt idx="841">
                  <c:v>22.99644289922405</c:v>
                </c:pt>
                <c:pt idx="842">
                  <c:v>23.615817125543117</c:v>
                </c:pt>
                <c:pt idx="843">
                  <c:v>23.879435238992084</c:v>
                </c:pt>
                <c:pt idx="844">
                  <c:v>23.623683291285097</c:v>
                </c:pt>
                <c:pt idx="845">
                  <c:v>23.640990219506865</c:v>
                </c:pt>
                <c:pt idx="846">
                  <c:v>23.942878917205114</c:v>
                </c:pt>
                <c:pt idx="847">
                  <c:v>24.416748936963934</c:v>
                </c:pt>
                <c:pt idx="848">
                  <c:v>24.081181376558504</c:v>
                </c:pt>
                <c:pt idx="849">
                  <c:v>23.998686994371766</c:v>
                </c:pt>
                <c:pt idx="850">
                  <c:v>24.179139890689875</c:v>
                </c:pt>
                <c:pt idx="851">
                  <c:v>24.336862068036378</c:v>
                </c:pt>
                <c:pt idx="852">
                  <c:v>24.018027373084042</c:v>
                </c:pt>
                <c:pt idx="853">
                  <c:v>25.225664954098072</c:v>
                </c:pt>
                <c:pt idx="854">
                  <c:v>26.399171342893194</c:v>
                </c:pt>
                <c:pt idx="855">
                  <c:v>26.841067587424412</c:v>
                </c:pt>
                <c:pt idx="856">
                  <c:v>26.062816281386144</c:v>
                </c:pt>
                <c:pt idx="857">
                  <c:v>24.550182847307244</c:v>
                </c:pt>
                <c:pt idx="858">
                  <c:v>24.861231528309727</c:v>
                </c:pt>
                <c:pt idx="859">
                  <c:v>24.277145779822437</c:v>
                </c:pt>
                <c:pt idx="860">
                  <c:v>24.365641859218467</c:v>
                </c:pt>
                <c:pt idx="861">
                  <c:v>23.288508525562769</c:v>
                </c:pt>
                <c:pt idx="862">
                  <c:v>23.420859351916388</c:v>
                </c:pt>
                <c:pt idx="863">
                  <c:v>24.003841087629755</c:v>
                </c:pt>
                <c:pt idx="864">
                  <c:v>23.957657534822417</c:v>
                </c:pt>
                <c:pt idx="865">
                  <c:v>23.447074326483264</c:v>
                </c:pt>
                <c:pt idx="866">
                  <c:v>23.571746411879822</c:v>
                </c:pt>
                <c:pt idx="867">
                  <c:v>23.975486661220653</c:v>
                </c:pt>
                <c:pt idx="868">
                  <c:v>23.980118746218203</c:v>
                </c:pt>
                <c:pt idx="869">
                  <c:v>24.174841626794088</c:v>
                </c:pt>
                <c:pt idx="870">
                  <c:v>24.147340698270277</c:v>
                </c:pt>
                <c:pt idx="871">
                  <c:v>24.309971221475777</c:v>
                </c:pt>
                <c:pt idx="872">
                  <c:v>24.882576624771591</c:v>
                </c:pt>
                <c:pt idx="873">
                  <c:v>24.867892810454997</c:v>
                </c:pt>
                <c:pt idx="874">
                  <c:v>25.745476139001244</c:v>
                </c:pt>
                <c:pt idx="875">
                  <c:v>26.511862199393825</c:v>
                </c:pt>
                <c:pt idx="876">
                  <c:v>26.544105091093218</c:v>
                </c:pt>
                <c:pt idx="877">
                  <c:v>26.225719998315416</c:v>
                </c:pt>
                <c:pt idx="878">
                  <c:v>25.68625244846822</c:v>
                </c:pt>
                <c:pt idx="879">
                  <c:v>25.161983113123892</c:v>
                </c:pt>
                <c:pt idx="880">
                  <c:v>24.637737747674187</c:v>
                </c:pt>
                <c:pt idx="881">
                  <c:v>24.322755064514556</c:v>
                </c:pt>
                <c:pt idx="882">
                  <c:v>23.380547362982636</c:v>
                </c:pt>
                <c:pt idx="883">
                  <c:v>23.754147234341524</c:v>
                </c:pt>
                <c:pt idx="884">
                  <c:v>23.143023528640814</c:v>
                </c:pt>
                <c:pt idx="885">
                  <c:v>23.047828973621506</c:v>
                </c:pt>
                <c:pt idx="886">
                  <c:v>23.047623272990343</c:v>
                </c:pt>
                <c:pt idx="887">
                  <c:v>22.20270052427384</c:v>
                </c:pt>
                <c:pt idx="888">
                  <c:v>22.576430306326074</c:v>
                </c:pt>
                <c:pt idx="889">
                  <c:v>23.044955307742914</c:v>
                </c:pt>
                <c:pt idx="890">
                  <c:v>23.137770713123206</c:v>
                </c:pt>
                <c:pt idx="891">
                  <c:v>23.898622228512913</c:v>
                </c:pt>
                <c:pt idx="892">
                  <c:v>23.835542593553832</c:v>
                </c:pt>
                <c:pt idx="893">
                  <c:v>21.117457242216844</c:v>
                </c:pt>
                <c:pt idx="894">
                  <c:v>21.045845184434842</c:v>
                </c:pt>
                <c:pt idx="895">
                  <c:v>20.938192127222571</c:v>
                </c:pt>
                <c:pt idx="896">
                  <c:v>21.310593194637413</c:v>
                </c:pt>
                <c:pt idx="897">
                  <c:v>22.622366933203629</c:v>
                </c:pt>
                <c:pt idx="898">
                  <c:v>23.318061549553263</c:v>
                </c:pt>
                <c:pt idx="899">
                  <c:v>23.004912948378838</c:v>
                </c:pt>
                <c:pt idx="900">
                  <c:v>22.977824902565132</c:v>
                </c:pt>
                <c:pt idx="901">
                  <c:v>23.109104906002944</c:v>
                </c:pt>
                <c:pt idx="902">
                  <c:v>24.232478522743992</c:v>
                </c:pt>
                <c:pt idx="903">
                  <c:v>23.860627692374944</c:v>
                </c:pt>
                <c:pt idx="904">
                  <c:v>23.655131792576825</c:v>
                </c:pt>
                <c:pt idx="905">
                  <c:v>23.605336022864236</c:v>
                </c:pt>
                <c:pt idx="906">
                  <c:v>23.139218422503824</c:v>
                </c:pt>
                <c:pt idx="907">
                  <c:v>23.236150663061533</c:v>
                </c:pt>
                <c:pt idx="908">
                  <c:v>22.937128902996683</c:v>
                </c:pt>
                <c:pt idx="909">
                  <c:v>22.499908017812565</c:v>
                </c:pt>
                <c:pt idx="910">
                  <c:v>22.421427728622941</c:v>
                </c:pt>
                <c:pt idx="911">
                  <c:v>22.04974534578038</c:v>
                </c:pt>
                <c:pt idx="912">
                  <c:v>23.726158608054714</c:v>
                </c:pt>
                <c:pt idx="913">
                  <c:v>23.771515707889058</c:v>
                </c:pt>
                <c:pt idx="914">
                  <c:v>23.656441516595891</c:v>
                </c:pt>
                <c:pt idx="915">
                  <c:v>23.68551543920557</c:v>
                </c:pt>
                <c:pt idx="916">
                  <c:v>24.005921370298058</c:v>
                </c:pt>
                <c:pt idx="917">
                  <c:v>23.548652087115091</c:v>
                </c:pt>
                <c:pt idx="918">
                  <c:v>23.509485101039697</c:v>
                </c:pt>
                <c:pt idx="919">
                  <c:v>24.030281239872544</c:v>
                </c:pt>
                <c:pt idx="920">
                  <c:v>23.806049306357963</c:v>
                </c:pt>
                <c:pt idx="921">
                  <c:v>24.015885122876526</c:v>
                </c:pt>
                <c:pt idx="922">
                  <c:v>23.984511271064935</c:v>
                </c:pt>
                <c:pt idx="923">
                  <c:v>23.69114524295415</c:v>
                </c:pt>
                <c:pt idx="924">
                  <c:v>23.516436305192716</c:v>
                </c:pt>
                <c:pt idx="925">
                  <c:v>22.59863898102769</c:v>
                </c:pt>
                <c:pt idx="926">
                  <c:v>22.917261054591656</c:v>
                </c:pt>
                <c:pt idx="927">
                  <c:v>22.588471265159875</c:v>
                </c:pt>
                <c:pt idx="928">
                  <c:v>21.791070487535514</c:v>
                </c:pt>
                <c:pt idx="929">
                  <c:v>21.227029825358006</c:v>
                </c:pt>
                <c:pt idx="930">
                  <c:v>21.038388745166891</c:v>
                </c:pt>
                <c:pt idx="931">
                  <c:v>20.709988727972195</c:v>
                </c:pt>
                <c:pt idx="932">
                  <c:v>20.475002461494562</c:v>
                </c:pt>
                <c:pt idx="933">
                  <c:v>20.615053226005255</c:v>
                </c:pt>
                <c:pt idx="934">
                  <c:v>20.989560758861696</c:v>
                </c:pt>
                <c:pt idx="935">
                  <c:v>21.504089262351073</c:v>
                </c:pt>
                <c:pt idx="936">
                  <c:v>20.70648114042379</c:v>
                </c:pt>
                <c:pt idx="937">
                  <c:v>20.7940077565782</c:v>
                </c:pt>
                <c:pt idx="938">
                  <c:v>20.104851109735396</c:v>
                </c:pt>
                <c:pt idx="939">
                  <c:v>19.759861983013181</c:v>
                </c:pt>
                <c:pt idx="940">
                  <c:v>19.227692233996134</c:v>
                </c:pt>
                <c:pt idx="941">
                  <c:v>18.840068540094414</c:v>
                </c:pt>
                <c:pt idx="942">
                  <c:v>19.563853652634567</c:v>
                </c:pt>
                <c:pt idx="943">
                  <c:v>18.740999785524604</c:v>
                </c:pt>
                <c:pt idx="944">
                  <c:v>18.304554341883829</c:v>
                </c:pt>
                <c:pt idx="945">
                  <c:v>18.761233266663361</c:v>
                </c:pt>
                <c:pt idx="946">
                  <c:v>17.928217323803285</c:v>
                </c:pt>
                <c:pt idx="947">
                  <c:v>17.801678418635159</c:v>
                </c:pt>
                <c:pt idx="948">
                  <c:v>18.841223180785406</c:v>
                </c:pt>
                <c:pt idx="949">
                  <c:v>20.585670995028249</c:v>
                </c:pt>
                <c:pt idx="950">
                  <c:v>20.570921567315391</c:v>
                </c:pt>
                <c:pt idx="951">
                  <c:v>20.36208781026814</c:v>
                </c:pt>
                <c:pt idx="952">
                  <c:v>21.025249750223878</c:v>
                </c:pt>
                <c:pt idx="953">
                  <c:v>20.802423682349076</c:v>
                </c:pt>
                <c:pt idx="954">
                  <c:v>20.426724561617412</c:v>
                </c:pt>
                <c:pt idx="955">
                  <c:v>21.370459330848352</c:v>
                </c:pt>
                <c:pt idx="956">
                  <c:v>22.229505151882488</c:v>
                </c:pt>
                <c:pt idx="957">
                  <c:v>22.183338514028851</c:v>
                </c:pt>
                <c:pt idx="958">
                  <c:v>25.572781760767864</c:v>
                </c:pt>
                <c:pt idx="959">
                  <c:v>26.064065930146882</c:v>
                </c:pt>
                <c:pt idx="960">
                  <c:v>25.760606609175504</c:v>
                </c:pt>
                <c:pt idx="961">
                  <c:v>26.435601094810785</c:v>
                </c:pt>
                <c:pt idx="962">
                  <c:v>26.476334619876653</c:v>
                </c:pt>
                <c:pt idx="963">
                  <c:v>26.994841320958333</c:v>
                </c:pt>
                <c:pt idx="964">
                  <c:v>27.014168471580735</c:v>
                </c:pt>
                <c:pt idx="965">
                  <c:v>26.954627213339375</c:v>
                </c:pt>
                <c:pt idx="966">
                  <c:v>26.920930153100606</c:v>
                </c:pt>
                <c:pt idx="967">
                  <c:v>26.262796958582047</c:v>
                </c:pt>
                <c:pt idx="968">
                  <c:v>25.731514398605441</c:v>
                </c:pt>
                <c:pt idx="969">
                  <c:v>25.244767293935105</c:v>
                </c:pt>
                <c:pt idx="970">
                  <c:v>26.087228257466915</c:v>
                </c:pt>
                <c:pt idx="971">
                  <c:v>25.422587187382756</c:v>
                </c:pt>
                <c:pt idx="972">
                  <c:v>25.258371160566234</c:v>
                </c:pt>
                <c:pt idx="973">
                  <c:v>24.646186779193201</c:v>
                </c:pt>
                <c:pt idx="974">
                  <c:v>24.267137861604869</c:v>
                </c:pt>
                <c:pt idx="975">
                  <c:v>24.06029693124789</c:v>
                </c:pt>
                <c:pt idx="976">
                  <c:v>23.861319676705936</c:v>
                </c:pt>
                <c:pt idx="977">
                  <c:v>23.860856081630878</c:v>
                </c:pt>
                <c:pt idx="978">
                  <c:v>22.848510801936431</c:v>
                </c:pt>
                <c:pt idx="979">
                  <c:v>22.68479908969595</c:v>
                </c:pt>
                <c:pt idx="980">
                  <c:v>22.852073065468204</c:v>
                </c:pt>
                <c:pt idx="981">
                  <c:v>22.97518591597305</c:v>
                </c:pt>
                <c:pt idx="982">
                  <c:v>22.974912699547268</c:v>
                </c:pt>
                <c:pt idx="983">
                  <c:v>22.815363692564631</c:v>
                </c:pt>
                <c:pt idx="984">
                  <c:v>22.867810500569437</c:v>
                </c:pt>
                <c:pt idx="985">
                  <c:v>22.229225599624584</c:v>
                </c:pt>
                <c:pt idx="986">
                  <c:v>21.660792912511106</c:v>
                </c:pt>
                <c:pt idx="987">
                  <c:v>21.319610182285693</c:v>
                </c:pt>
                <c:pt idx="988">
                  <c:v>21.749608149292637</c:v>
                </c:pt>
                <c:pt idx="989">
                  <c:v>21.425628388064666</c:v>
                </c:pt>
                <c:pt idx="990">
                  <c:v>20.940429070792909</c:v>
                </c:pt>
                <c:pt idx="991">
                  <c:v>21.423870387940688</c:v>
                </c:pt>
                <c:pt idx="992">
                  <c:v>21.638096071824592</c:v>
                </c:pt>
                <c:pt idx="993">
                  <c:v>21.42231233640797</c:v>
                </c:pt>
                <c:pt idx="994">
                  <c:v>21.153782807401758</c:v>
                </c:pt>
                <c:pt idx="995">
                  <c:v>20.813086750594429</c:v>
                </c:pt>
                <c:pt idx="996">
                  <c:v>20.638109160836787</c:v>
                </c:pt>
                <c:pt idx="997">
                  <c:v>20.47439068673339</c:v>
                </c:pt>
                <c:pt idx="998">
                  <c:v>19.602784385734818</c:v>
                </c:pt>
                <c:pt idx="999">
                  <c:v>19.001973981420477</c:v>
                </c:pt>
                <c:pt idx="1000">
                  <c:v>19.490719019359748</c:v>
                </c:pt>
                <c:pt idx="1001">
                  <c:v>18.999622958608906</c:v>
                </c:pt>
                <c:pt idx="1002">
                  <c:v>18.726370502712253</c:v>
                </c:pt>
                <c:pt idx="1003">
                  <c:v>18.616907793646444</c:v>
                </c:pt>
                <c:pt idx="1004">
                  <c:v>18.671104926021606</c:v>
                </c:pt>
                <c:pt idx="1005">
                  <c:v>18.181070848073478</c:v>
                </c:pt>
                <c:pt idx="1006">
                  <c:v>18.180021325109308</c:v>
                </c:pt>
                <c:pt idx="1007">
                  <c:v>18.792302023545407</c:v>
                </c:pt>
                <c:pt idx="1008">
                  <c:v>18.367024138846322</c:v>
                </c:pt>
                <c:pt idx="1009">
                  <c:v>18.268603950982893</c:v>
                </c:pt>
                <c:pt idx="1010">
                  <c:v>18.324880612386714</c:v>
                </c:pt>
                <c:pt idx="1011">
                  <c:v>18.272926626695551</c:v>
                </c:pt>
                <c:pt idx="1012">
                  <c:v>18.125851752591796</c:v>
                </c:pt>
                <c:pt idx="1013">
                  <c:v>18.370475737441808</c:v>
                </c:pt>
                <c:pt idx="1014">
                  <c:v>20.623373287074127</c:v>
                </c:pt>
                <c:pt idx="1015">
                  <c:v>20.400102733231105</c:v>
                </c:pt>
                <c:pt idx="1016">
                  <c:v>21.444815156597365</c:v>
                </c:pt>
                <c:pt idx="1017">
                  <c:v>19.314094803682963</c:v>
                </c:pt>
                <c:pt idx="1018">
                  <c:v>19.501690612201163</c:v>
                </c:pt>
                <c:pt idx="1019">
                  <c:v>17.143512686367899</c:v>
                </c:pt>
                <c:pt idx="1020">
                  <c:v>16.611056239521442</c:v>
                </c:pt>
                <c:pt idx="1021">
                  <c:v>13.123935719624468</c:v>
                </c:pt>
                <c:pt idx="1022">
                  <c:v>11.432460052284718</c:v>
                </c:pt>
                <c:pt idx="1023">
                  <c:v>13.337531879767456</c:v>
                </c:pt>
                <c:pt idx="1024">
                  <c:v>13.502693564742273</c:v>
                </c:pt>
                <c:pt idx="1025">
                  <c:v>14.029085430008124</c:v>
                </c:pt>
                <c:pt idx="1026">
                  <c:v>13.850921304385817</c:v>
                </c:pt>
                <c:pt idx="1027">
                  <c:v>13.791495150935154</c:v>
                </c:pt>
                <c:pt idx="1028">
                  <c:v>13.78487233962743</c:v>
                </c:pt>
                <c:pt idx="1029">
                  <c:v>13.553294323786488</c:v>
                </c:pt>
                <c:pt idx="1030">
                  <c:v>13.499521473247672</c:v>
                </c:pt>
                <c:pt idx="1031">
                  <c:v>12.971671830170626</c:v>
                </c:pt>
                <c:pt idx="1032">
                  <c:v>12.990264676125074</c:v>
                </c:pt>
                <c:pt idx="1033">
                  <c:v>13.115714880733387</c:v>
                </c:pt>
                <c:pt idx="1034">
                  <c:v>13.383687395183404</c:v>
                </c:pt>
                <c:pt idx="1035">
                  <c:v>13.536354815316715</c:v>
                </c:pt>
                <c:pt idx="1036">
                  <c:v>13.869610492390915</c:v>
                </c:pt>
                <c:pt idx="1037">
                  <c:v>13.833211086609865</c:v>
                </c:pt>
                <c:pt idx="1038">
                  <c:v>14.06706455748712</c:v>
                </c:pt>
                <c:pt idx="1039">
                  <c:v>13.829082375990223</c:v>
                </c:pt>
                <c:pt idx="1040">
                  <c:v>13.821517513347827</c:v>
                </c:pt>
                <c:pt idx="1041">
                  <c:v>14.349596140675034</c:v>
                </c:pt>
                <c:pt idx="1042">
                  <c:v>14.593272451915583</c:v>
                </c:pt>
                <c:pt idx="1043">
                  <c:v>14.704323356888199</c:v>
                </c:pt>
                <c:pt idx="1044">
                  <c:v>14.704817700703687</c:v>
                </c:pt>
                <c:pt idx="1045">
                  <c:v>14.995992047027812</c:v>
                </c:pt>
                <c:pt idx="1046">
                  <c:v>15.070351248232662</c:v>
                </c:pt>
                <c:pt idx="1047">
                  <c:v>14.995194878160605</c:v>
                </c:pt>
                <c:pt idx="1048">
                  <c:v>14.702594032273034</c:v>
                </c:pt>
                <c:pt idx="1049">
                  <c:v>14.518606964584642</c:v>
                </c:pt>
                <c:pt idx="1050">
                  <c:v>14.327644039580823</c:v>
                </c:pt>
                <c:pt idx="1051">
                  <c:v>14.125667021663734</c:v>
                </c:pt>
                <c:pt idx="1052">
                  <c:v>14.239779233229484</c:v>
                </c:pt>
                <c:pt idx="1053">
                  <c:v>14.919422923446687</c:v>
                </c:pt>
                <c:pt idx="1054">
                  <c:v>15.04542206682544</c:v>
                </c:pt>
                <c:pt idx="1055">
                  <c:v>15.243926982047755</c:v>
                </c:pt>
                <c:pt idx="1056">
                  <c:v>15.240806502967361</c:v>
                </c:pt>
                <c:pt idx="1057">
                  <c:v>15.12130968770116</c:v>
                </c:pt>
                <c:pt idx="1058">
                  <c:v>14.505524106677074</c:v>
                </c:pt>
                <c:pt idx="1059">
                  <c:v>14.418624779758288</c:v>
                </c:pt>
                <c:pt idx="1060">
                  <c:v>14.636451529551652</c:v>
                </c:pt>
                <c:pt idx="1061">
                  <c:v>15.206465118703667</c:v>
                </c:pt>
                <c:pt idx="1062">
                  <c:v>16.152295503310423</c:v>
                </c:pt>
                <c:pt idx="1063">
                  <c:v>16.760111506468675</c:v>
                </c:pt>
                <c:pt idx="1064">
                  <c:v>16.581902997091522</c:v>
                </c:pt>
                <c:pt idx="1065">
                  <c:v>16.254390404995391</c:v>
                </c:pt>
                <c:pt idx="1066">
                  <c:v>15.825175690705592</c:v>
                </c:pt>
                <c:pt idx="1067">
                  <c:v>15.793649364360606</c:v>
                </c:pt>
                <c:pt idx="1068">
                  <c:v>16.375131250833775</c:v>
                </c:pt>
                <c:pt idx="1069">
                  <c:v>16.220766185054174</c:v>
                </c:pt>
                <c:pt idx="1070">
                  <c:v>16.896377804038522</c:v>
                </c:pt>
                <c:pt idx="1071">
                  <c:v>16.76317379200221</c:v>
                </c:pt>
                <c:pt idx="1072">
                  <c:v>16.812829989898898</c:v>
                </c:pt>
                <c:pt idx="1073">
                  <c:v>16.777612281885247</c:v>
                </c:pt>
                <c:pt idx="1074">
                  <c:v>16.387776477445961</c:v>
                </c:pt>
                <c:pt idx="1075">
                  <c:v>16.293256536722705</c:v>
                </c:pt>
                <c:pt idx="1076">
                  <c:v>15.806687167445947</c:v>
                </c:pt>
                <c:pt idx="1077">
                  <c:v>15.734709048956649</c:v>
                </c:pt>
                <c:pt idx="1078">
                  <c:v>15.919920416557343</c:v>
                </c:pt>
                <c:pt idx="1079">
                  <c:v>15.919507562729549</c:v>
                </c:pt>
                <c:pt idx="1080">
                  <c:v>15.734037877997034</c:v>
                </c:pt>
                <c:pt idx="1081">
                  <c:v>14.744461444284692</c:v>
                </c:pt>
                <c:pt idx="1082">
                  <c:v>14.893696240546474</c:v>
                </c:pt>
                <c:pt idx="1083">
                  <c:v>14.67685148167396</c:v>
                </c:pt>
                <c:pt idx="1084">
                  <c:v>14.707280760303499</c:v>
                </c:pt>
                <c:pt idx="1085">
                  <c:v>14.645417071548723</c:v>
                </c:pt>
                <c:pt idx="1086">
                  <c:v>14.274513365625467</c:v>
                </c:pt>
                <c:pt idx="1087">
                  <c:v>14.36640869130362</c:v>
                </c:pt>
                <c:pt idx="1088">
                  <c:v>15.880082470151381</c:v>
                </c:pt>
                <c:pt idx="1089">
                  <c:v>16.154457622477501</c:v>
                </c:pt>
                <c:pt idx="1090">
                  <c:v>15.733325166080975</c:v>
                </c:pt>
                <c:pt idx="1091">
                  <c:v>15.911946623043137</c:v>
                </c:pt>
                <c:pt idx="1092">
                  <c:v>16.383400047945802</c:v>
                </c:pt>
                <c:pt idx="1093">
                  <c:v>16.632671288951819</c:v>
                </c:pt>
                <c:pt idx="1094">
                  <c:v>16.262383520482594</c:v>
                </c:pt>
                <c:pt idx="1095">
                  <c:v>16.286249601510111</c:v>
                </c:pt>
                <c:pt idx="1096">
                  <c:v>16.521341428819039</c:v>
                </c:pt>
                <c:pt idx="1097">
                  <c:v>16.343746480753961</c:v>
                </c:pt>
                <c:pt idx="1098">
                  <c:v>16.19267670303168</c:v>
                </c:pt>
                <c:pt idx="1099">
                  <c:v>16.166654408077555</c:v>
                </c:pt>
                <c:pt idx="1100">
                  <c:v>15.670146275758588</c:v>
                </c:pt>
                <c:pt idx="1101">
                  <c:v>15.697255329631775</c:v>
                </c:pt>
                <c:pt idx="1102">
                  <c:v>15.361948239626853</c:v>
                </c:pt>
                <c:pt idx="1103">
                  <c:v>14.747111430470895</c:v>
                </c:pt>
                <c:pt idx="1104">
                  <c:v>14.363723654820008</c:v>
                </c:pt>
                <c:pt idx="1105">
                  <c:v>13.5527000940625</c:v>
                </c:pt>
                <c:pt idx="1106">
                  <c:v>14.039155902450419</c:v>
                </c:pt>
                <c:pt idx="1107">
                  <c:v>13.69352499650129</c:v>
                </c:pt>
                <c:pt idx="1108">
                  <c:v>13.635371033246136</c:v>
                </c:pt>
                <c:pt idx="1109">
                  <c:v>13.363032969261029</c:v>
                </c:pt>
                <c:pt idx="1110">
                  <c:v>12.719039507538671</c:v>
                </c:pt>
                <c:pt idx="1111">
                  <c:v>12.717692228853693</c:v>
                </c:pt>
                <c:pt idx="1112">
                  <c:v>12.470266908749389</c:v>
                </c:pt>
                <c:pt idx="1113">
                  <c:v>12.420248339620976</c:v>
                </c:pt>
                <c:pt idx="1114">
                  <c:v>12.395397960054611</c:v>
                </c:pt>
                <c:pt idx="1115">
                  <c:v>12.048965382531676</c:v>
                </c:pt>
                <c:pt idx="1116">
                  <c:v>12.097706689199425</c:v>
                </c:pt>
                <c:pt idx="1117">
                  <c:v>12.344994850474647</c:v>
                </c:pt>
                <c:pt idx="1118">
                  <c:v>12.765010330723602</c:v>
                </c:pt>
                <c:pt idx="1119">
                  <c:v>12.41100590363444</c:v>
                </c:pt>
                <c:pt idx="1120">
                  <c:v>12.361931751481814</c:v>
                </c:pt>
                <c:pt idx="1121">
                  <c:v>12.321631297188635</c:v>
                </c:pt>
                <c:pt idx="1122">
                  <c:v>12.411956662331333</c:v>
                </c:pt>
                <c:pt idx="1123">
                  <c:v>12.56346464655271</c:v>
                </c:pt>
                <c:pt idx="1124">
                  <c:v>12.546272645542446</c:v>
                </c:pt>
                <c:pt idx="1125">
                  <c:v>12.368126380863053</c:v>
                </c:pt>
                <c:pt idx="1126">
                  <c:v>12.36866844876913</c:v>
                </c:pt>
                <c:pt idx="1127">
                  <c:v>12.455994120573628</c:v>
                </c:pt>
                <c:pt idx="1128">
                  <c:v>12.25504948059733</c:v>
                </c:pt>
                <c:pt idx="1129">
                  <c:v>11.720711250441093</c:v>
                </c:pt>
                <c:pt idx="1130">
                  <c:v>11.372505698564717</c:v>
                </c:pt>
                <c:pt idx="1131">
                  <c:v>11.024717094733607</c:v>
                </c:pt>
                <c:pt idx="1132">
                  <c:v>11.023976938923719</c:v>
                </c:pt>
                <c:pt idx="1133">
                  <c:v>11.504439885960407</c:v>
                </c:pt>
                <c:pt idx="1134">
                  <c:v>11.432027796916376</c:v>
                </c:pt>
                <c:pt idx="1135">
                  <c:v>11.075363887913603</c:v>
                </c:pt>
                <c:pt idx="1136">
                  <c:v>11.317331742952907</c:v>
                </c:pt>
                <c:pt idx="1137">
                  <c:v>10.722963916252377</c:v>
                </c:pt>
                <c:pt idx="1138">
                  <c:v>10.606063716338102</c:v>
                </c:pt>
                <c:pt idx="1139">
                  <c:v>10.157070806609399</c:v>
                </c:pt>
                <c:pt idx="1140">
                  <c:v>10.08395082348283</c:v>
                </c:pt>
                <c:pt idx="1141">
                  <c:v>10.30039233031718</c:v>
                </c:pt>
                <c:pt idx="1142">
                  <c:v>10.516502796999797</c:v>
                </c:pt>
                <c:pt idx="1143">
                  <c:v>10.467885507392493</c:v>
                </c:pt>
                <c:pt idx="1144">
                  <c:v>10.461232055631697</c:v>
                </c:pt>
                <c:pt idx="1145">
                  <c:v>10.40212292204054</c:v>
                </c:pt>
                <c:pt idx="1146">
                  <c:v>10.304923532068688</c:v>
                </c:pt>
                <c:pt idx="1147">
                  <c:v>10.075733014186641</c:v>
                </c:pt>
                <c:pt idx="1148">
                  <c:v>9.4743870396476009</c:v>
                </c:pt>
                <c:pt idx="1149">
                  <c:v>9.4965097336000071</c:v>
                </c:pt>
                <c:pt idx="1150">
                  <c:v>9.573244982095364</c:v>
                </c:pt>
                <c:pt idx="1151">
                  <c:v>9.6754616275083762</c:v>
                </c:pt>
                <c:pt idx="1152">
                  <c:v>9.5472521843368305</c:v>
                </c:pt>
                <c:pt idx="1153">
                  <c:v>9.70055051335369</c:v>
                </c:pt>
                <c:pt idx="1154">
                  <c:v>10.253206882506408</c:v>
                </c:pt>
                <c:pt idx="1155">
                  <c:v>10.122796816121213</c:v>
                </c:pt>
                <c:pt idx="1156">
                  <c:v>9.8113009649196901</c:v>
                </c:pt>
                <c:pt idx="1157">
                  <c:v>9.9407037638631568</c:v>
                </c:pt>
                <c:pt idx="1158">
                  <c:v>10.622896217589474</c:v>
                </c:pt>
                <c:pt idx="1159">
                  <c:v>10.749258202241231</c:v>
                </c:pt>
                <c:pt idx="1160">
                  <c:v>10.469216988420193</c:v>
                </c:pt>
                <c:pt idx="1161">
                  <c:v>10.949298856958105</c:v>
                </c:pt>
                <c:pt idx="1162">
                  <c:v>10.447577952198326</c:v>
                </c:pt>
                <c:pt idx="1163">
                  <c:v>10.813066895802667</c:v>
                </c:pt>
                <c:pt idx="1164">
                  <c:v>10.903599465557159</c:v>
                </c:pt>
                <c:pt idx="1165">
                  <c:v>10.839717698846481</c:v>
                </c:pt>
                <c:pt idx="1166">
                  <c:v>10.984204447328425</c:v>
                </c:pt>
                <c:pt idx="1167">
                  <c:v>11.993845124786022</c:v>
                </c:pt>
                <c:pt idx="1168">
                  <c:v>12.186093145611224</c:v>
                </c:pt>
                <c:pt idx="1169">
                  <c:v>12.005615797253297</c:v>
                </c:pt>
                <c:pt idx="1170">
                  <c:v>11.994696737876618</c:v>
                </c:pt>
                <c:pt idx="1171">
                  <c:v>11.735152146645724</c:v>
                </c:pt>
                <c:pt idx="1172">
                  <c:v>11.605638770548985</c:v>
                </c:pt>
                <c:pt idx="1173">
                  <c:v>11.637595216196793</c:v>
                </c:pt>
                <c:pt idx="1174">
                  <c:v>11.798709233677446</c:v>
                </c:pt>
                <c:pt idx="1175">
                  <c:v>12.032456905151731</c:v>
                </c:pt>
                <c:pt idx="1176">
                  <c:v>12.166677632177882</c:v>
                </c:pt>
                <c:pt idx="1177">
                  <c:v>12.102452353734197</c:v>
                </c:pt>
                <c:pt idx="1178">
                  <c:v>12.131651834874887</c:v>
                </c:pt>
                <c:pt idx="1179">
                  <c:v>12.101907168048795</c:v>
                </c:pt>
                <c:pt idx="1180">
                  <c:v>12.057109194086728</c:v>
                </c:pt>
                <c:pt idx="1181">
                  <c:v>12.048411139471741</c:v>
                </c:pt>
                <c:pt idx="1182">
                  <c:v>12.300187373962135</c:v>
                </c:pt>
                <c:pt idx="1183">
                  <c:v>12.542077337311534</c:v>
                </c:pt>
                <c:pt idx="1184">
                  <c:v>12.541608314773214</c:v>
                </c:pt>
                <c:pt idx="1185">
                  <c:v>12.574919263127597</c:v>
                </c:pt>
                <c:pt idx="1186">
                  <c:v>12.602827665666483</c:v>
                </c:pt>
                <c:pt idx="1187">
                  <c:v>12.635424716503463</c:v>
                </c:pt>
                <c:pt idx="1188">
                  <c:v>12.666522869344567</c:v>
                </c:pt>
                <c:pt idx="1189">
                  <c:v>12.568323548359174</c:v>
                </c:pt>
                <c:pt idx="1190">
                  <c:v>12.293768655044804</c:v>
                </c:pt>
                <c:pt idx="1191">
                  <c:v>12.260331765347647</c:v>
                </c:pt>
                <c:pt idx="1192">
                  <c:v>12.293128603850381</c:v>
                </c:pt>
                <c:pt idx="1193">
                  <c:v>12.260187334670995</c:v>
                </c:pt>
                <c:pt idx="1194">
                  <c:v>11.799948583456604</c:v>
                </c:pt>
                <c:pt idx="1195">
                  <c:v>11.174464116205048</c:v>
                </c:pt>
                <c:pt idx="1196">
                  <c:v>11.140297518953977</c:v>
                </c:pt>
                <c:pt idx="1197">
                  <c:v>10.6207297541835</c:v>
                </c:pt>
                <c:pt idx="1198">
                  <c:v>10.302171874904511</c:v>
                </c:pt>
                <c:pt idx="1199">
                  <c:v>10.820931612105593</c:v>
                </c:pt>
                <c:pt idx="1200">
                  <c:v>10.76201992035317</c:v>
                </c:pt>
                <c:pt idx="1201">
                  <c:v>10.877303548234989</c:v>
                </c:pt>
                <c:pt idx="1202">
                  <c:v>10.617377662279647</c:v>
                </c:pt>
                <c:pt idx="1203">
                  <c:v>10.5059495098964</c:v>
                </c:pt>
                <c:pt idx="1204">
                  <c:v>10.129635818846312</c:v>
                </c:pt>
                <c:pt idx="1205">
                  <c:v>9.9556822895558561</c:v>
                </c:pt>
                <c:pt idx="1206">
                  <c:v>11.196162441587569</c:v>
                </c:pt>
                <c:pt idx="1207">
                  <c:v>11.019956640126612</c:v>
                </c:pt>
                <c:pt idx="1208">
                  <c:v>11.625339121883588</c:v>
                </c:pt>
                <c:pt idx="1209">
                  <c:v>11.575962282029462</c:v>
                </c:pt>
                <c:pt idx="1210">
                  <c:v>11.464358319067639</c:v>
                </c:pt>
                <c:pt idx="1211">
                  <c:v>11.392127658418406</c:v>
                </c:pt>
                <c:pt idx="1212">
                  <c:v>11.295648879347524</c:v>
                </c:pt>
                <c:pt idx="1213">
                  <c:v>11.242447363058751</c:v>
                </c:pt>
                <c:pt idx="1214">
                  <c:v>11.239051909261777</c:v>
                </c:pt>
                <c:pt idx="1215">
                  <c:v>11.265364756858041</c:v>
                </c:pt>
                <c:pt idx="1216">
                  <c:v>11.143947617112024</c:v>
                </c:pt>
                <c:pt idx="1217">
                  <c:v>11.0472084510369</c:v>
                </c:pt>
                <c:pt idx="1218">
                  <c:v>11.139820594830065</c:v>
                </c:pt>
                <c:pt idx="1219">
                  <c:v>11.255091968404228</c:v>
                </c:pt>
                <c:pt idx="1220">
                  <c:v>11.284839255634903</c:v>
                </c:pt>
                <c:pt idx="1221">
                  <c:v>11.277269735550359</c:v>
                </c:pt>
                <c:pt idx="1222">
                  <c:v>10.915726741848644</c:v>
                </c:pt>
                <c:pt idx="1223">
                  <c:v>10.678589590858218</c:v>
                </c:pt>
                <c:pt idx="1224">
                  <c:v>10.857238828325515</c:v>
                </c:pt>
                <c:pt idx="1225">
                  <c:v>11.701537493412241</c:v>
                </c:pt>
                <c:pt idx="1226">
                  <c:v>12.251219762067498</c:v>
                </c:pt>
                <c:pt idx="1227">
                  <c:v>11.738245994184519</c:v>
                </c:pt>
                <c:pt idx="1228">
                  <c:v>11.708401467149061</c:v>
                </c:pt>
                <c:pt idx="1229">
                  <c:v>12.230086031469455</c:v>
                </c:pt>
                <c:pt idx="1230">
                  <c:v>12.111725384150441</c:v>
                </c:pt>
                <c:pt idx="1231">
                  <c:v>12.288115090649281</c:v>
                </c:pt>
                <c:pt idx="1232">
                  <c:v>12.203632208372133</c:v>
                </c:pt>
                <c:pt idx="1233">
                  <c:v>12.141110361347391</c:v>
                </c:pt>
                <c:pt idx="1234">
                  <c:v>12.212198750369465</c:v>
                </c:pt>
                <c:pt idx="1235">
                  <c:v>12.283585924781722</c:v>
                </c:pt>
                <c:pt idx="1236">
                  <c:v>12.170349626559673</c:v>
                </c:pt>
                <c:pt idx="1237">
                  <c:v>11.925675100122655</c:v>
                </c:pt>
                <c:pt idx="1238">
                  <c:v>11.659457209974667</c:v>
                </c:pt>
                <c:pt idx="1239">
                  <c:v>11.901829553104593</c:v>
                </c:pt>
                <c:pt idx="1240">
                  <c:v>12.288051672099559</c:v>
                </c:pt>
                <c:pt idx="1241">
                  <c:v>12.863164282128514</c:v>
                </c:pt>
                <c:pt idx="1242">
                  <c:v>12.8682975967627</c:v>
                </c:pt>
                <c:pt idx="1243">
                  <c:v>12.644658408147821</c:v>
                </c:pt>
                <c:pt idx="1244">
                  <c:v>12.457038738341073</c:v>
                </c:pt>
                <c:pt idx="1245">
                  <c:v>12.325228760108068</c:v>
                </c:pt>
                <c:pt idx="1246">
                  <c:v>12.667103127350163</c:v>
                </c:pt>
                <c:pt idx="1247">
                  <c:v>12.229528667833499</c:v>
                </c:pt>
                <c:pt idx="1248">
                  <c:v>12.037938688209891</c:v>
                </c:pt>
                <c:pt idx="1249">
                  <c:v>12.065219746587964</c:v>
                </c:pt>
                <c:pt idx="1250">
                  <c:v>11.908864953284676</c:v>
                </c:pt>
                <c:pt idx="1251">
                  <c:v>11.689726658357779</c:v>
                </c:pt>
                <c:pt idx="1252">
                  <c:v>11.604504811742297</c:v>
                </c:pt>
                <c:pt idx="1253">
                  <c:v>11.476181510677248</c:v>
                </c:pt>
                <c:pt idx="1254">
                  <c:v>11.503793152257217</c:v>
                </c:pt>
                <c:pt idx="1255">
                  <c:v>11.652266319393815</c:v>
                </c:pt>
                <c:pt idx="1256">
                  <c:v>11.516627569060949</c:v>
                </c:pt>
                <c:pt idx="1257">
                  <c:v>11.588023081512778</c:v>
                </c:pt>
                <c:pt idx="1258">
                  <c:v>11.457808834135843</c:v>
                </c:pt>
                <c:pt idx="1259">
                  <c:v>11.435113082637166</c:v>
                </c:pt>
                <c:pt idx="1260">
                  <c:v>11.261454004331197</c:v>
                </c:pt>
                <c:pt idx="1261">
                  <c:v>11.565555062184552</c:v>
                </c:pt>
                <c:pt idx="1262">
                  <c:v>10.935034988586727</c:v>
                </c:pt>
                <c:pt idx="1263">
                  <c:v>10.437580848834456</c:v>
                </c:pt>
                <c:pt idx="1264">
                  <c:v>10.290775581405752</c:v>
                </c:pt>
                <c:pt idx="1265">
                  <c:v>10.031757619442322</c:v>
                </c:pt>
                <c:pt idx="1266">
                  <c:v>9.9449700991362722</c:v>
                </c:pt>
                <c:pt idx="1267">
                  <c:v>9.7723262649575702</c:v>
                </c:pt>
                <c:pt idx="1268">
                  <c:v>9.6282421620782817</c:v>
                </c:pt>
                <c:pt idx="1269">
                  <c:v>9.5991906136374574</c:v>
                </c:pt>
                <c:pt idx="1270">
                  <c:v>9.9152660586486974</c:v>
                </c:pt>
                <c:pt idx="1271">
                  <c:v>10.173209013687577</c:v>
                </c:pt>
                <c:pt idx="1272">
                  <c:v>10.316315153187388</c:v>
                </c:pt>
                <c:pt idx="1273">
                  <c:v>10.201382771962127</c:v>
                </c:pt>
                <c:pt idx="1274">
                  <c:v>10.27195262961637</c:v>
                </c:pt>
                <c:pt idx="1275">
                  <c:v>10.667930927454082</c:v>
                </c:pt>
                <c:pt idx="1276">
                  <c:v>11.156100887982312</c:v>
                </c:pt>
                <c:pt idx="1277">
                  <c:v>11.130568467967223</c:v>
                </c:pt>
                <c:pt idx="1278">
                  <c:v>10.750006092189297</c:v>
                </c:pt>
                <c:pt idx="1279">
                  <c:v>10.793043829160601</c:v>
                </c:pt>
                <c:pt idx="1280">
                  <c:v>11.008762748197299</c:v>
                </c:pt>
                <c:pt idx="1281">
                  <c:v>10.841880234085631</c:v>
                </c:pt>
                <c:pt idx="1282">
                  <c:v>10.747687093855228</c:v>
                </c:pt>
                <c:pt idx="1283">
                  <c:v>10.586680676475781</c:v>
                </c:pt>
                <c:pt idx="1284">
                  <c:v>10.817745531515085</c:v>
                </c:pt>
                <c:pt idx="1285">
                  <c:v>11.116867983580105</c:v>
                </c:pt>
                <c:pt idx="1286">
                  <c:v>10.977331599932619</c:v>
                </c:pt>
                <c:pt idx="1287">
                  <c:v>10.999809522797387</c:v>
                </c:pt>
                <c:pt idx="1288">
                  <c:v>10.911046344921221</c:v>
                </c:pt>
                <c:pt idx="1289">
                  <c:v>10.733448516143373</c:v>
                </c:pt>
                <c:pt idx="1290">
                  <c:v>10.382085451858956</c:v>
                </c:pt>
                <c:pt idx="1291">
                  <c:v>11.259594154042279</c:v>
                </c:pt>
                <c:pt idx="1292">
                  <c:v>11.163408647862353</c:v>
                </c:pt>
                <c:pt idx="1293">
                  <c:v>11.107535368296817</c:v>
                </c:pt>
                <c:pt idx="1294">
                  <c:v>11.088010930767048</c:v>
                </c:pt>
                <c:pt idx="1295">
                  <c:v>11.100134587813631</c:v>
                </c:pt>
                <c:pt idx="1296">
                  <c:v>10.950818995003438</c:v>
                </c:pt>
                <c:pt idx="1297">
                  <c:v>11.191939889372451</c:v>
                </c:pt>
                <c:pt idx="1298">
                  <c:v>10.826775351368092</c:v>
                </c:pt>
                <c:pt idx="1299">
                  <c:v>10.794967052037464</c:v>
                </c:pt>
                <c:pt idx="1300">
                  <c:v>11.11112123510858</c:v>
                </c:pt>
                <c:pt idx="1301">
                  <c:v>10.092072927178105</c:v>
                </c:pt>
                <c:pt idx="1302">
                  <c:v>10.186149220642005</c:v>
                </c:pt>
                <c:pt idx="1303">
                  <c:v>10.389726920903323</c:v>
                </c:pt>
                <c:pt idx="1304">
                  <c:v>10.873575591846077</c:v>
                </c:pt>
                <c:pt idx="1305">
                  <c:v>11.138316327304834</c:v>
                </c:pt>
                <c:pt idx="1306">
                  <c:v>11.072859147428291</c:v>
                </c:pt>
                <c:pt idx="1307">
                  <c:v>11.006759215661768</c:v>
                </c:pt>
                <c:pt idx="1308">
                  <c:v>10.981639844617897</c:v>
                </c:pt>
                <c:pt idx="1309">
                  <c:v>10.872312757292873</c:v>
                </c:pt>
                <c:pt idx="1310">
                  <c:v>11.088008207228183</c:v>
                </c:pt>
                <c:pt idx="1311">
                  <c:v>11.09598759810056</c:v>
                </c:pt>
                <c:pt idx="1312">
                  <c:v>10.700141050427987</c:v>
                </c:pt>
                <c:pt idx="1313">
                  <c:v>10.240853408160165</c:v>
                </c:pt>
                <c:pt idx="1314">
                  <c:v>10.23989874752764</c:v>
                </c:pt>
                <c:pt idx="1315">
                  <c:v>10.42113616487905</c:v>
                </c:pt>
                <c:pt idx="1316">
                  <c:v>10.11867029479566</c:v>
                </c:pt>
                <c:pt idx="1317">
                  <c:v>10.329459656892348</c:v>
                </c:pt>
                <c:pt idx="1318">
                  <c:v>11.38609181070629</c:v>
                </c:pt>
                <c:pt idx="1319">
                  <c:v>11.789341825865023</c:v>
                </c:pt>
                <c:pt idx="1320">
                  <c:v>11.650166268465536</c:v>
                </c:pt>
                <c:pt idx="1321">
                  <c:v>11.199943977053385</c:v>
                </c:pt>
                <c:pt idx="1322">
                  <c:v>11.443080775697224</c:v>
                </c:pt>
                <c:pt idx="1323">
                  <c:v>10.989339117638284</c:v>
                </c:pt>
                <c:pt idx="1324">
                  <c:v>11.642509341920452</c:v>
                </c:pt>
                <c:pt idx="1325">
                  <c:v>11.876781601462094</c:v>
                </c:pt>
                <c:pt idx="1326">
                  <c:v>12.167454239380643</c:v>
                </c:pt>
                <c:pt idx="1327">
                  <c:v>12.160386522833127</c:v>
                </c:pt>
                <c:pt idx="1328">
                  <c:v>12.681666728557902</c:v>
                </c:pt>
                <c:pt idx="1329">
                  <c:v>12.856246109687307</c:v>
                </c:pt>
                <c:pt idx="1330">
                  <c:v>13.030642990231122</c:v>
                </c:pt>
                <c:pt idx="1331">
                  <c:v>13.024116144180214</c:v>
                </c:pt>
                <c:pt idx="1332">
                  <c:v>13.135134718412186</c:v>
                </c:pt>
                <c:pt idx="1333">
                  <c:v>13.36896263808196</c:v>
                </c:pt>
                <c:pt idx="1334">
                  <c:v>12.560539514686976</c:v>
                </c:pt>
                <c:pt idx="1335">
                  <c:v>12.648288719375209</c:v>
                </c:pt>
                <c:pt idx="1336">
                  <c:v>9.5026220440936324</c:v>
                </c:pt>
                <c:pt idx="1337">
                  <c:v>8.9535528418263368</c:v>
                </c:pt>
                <c:pt idx="1338">
                  <c:v>6.6801869596486343</c:v>
                </c:pt>
                <c:pt idx="1339">
                  <c:v>7.7822047261232763</c:v>
                </c:pt>
                <c:pt idx="1340">
                  <c:v>6.3760223060842849</c:v>
                </c:pt>
                <c:pt idx="1341">
                  <c:v>6.4591969816863379</c:v>
                </c:pt>
                <c:pt idx="1342">
                  <c:v>6.4187233494697313</c:v>
                </c:pt>
                <c:pt idx="1343">
                  <c:v>6.5806089197704454</c:v>
                </c:pt>
                <c:pt idx="1344">
                  <c:v>6.5542277079191154</c:v>
                </c:pt>
                <c:pt idx="1345">
                  <c:v>6.4792856309872757</c:v>
                </c:pt>
                <c:pt idx="1346">
                  <c:v>6.231549297892907</c:v>
                </c:pt>
                <c:pt idx="1347">
                  <c:v>6.1690549836728712</c:v>
                </c:pt>
                <c:pt idx="1348">
                  <c:v>6.0804054756535804</c:v>
                </c:pt>
                <c:pt idx="1349">
                  <c:v>6.2473896788180898</c:v>
                </c:pt>
                <c:pt idx="1350">
                  <c:v>6.3131824496359519</c:v>
                </c:pt>
                <c:pt idx="1351">
                  <c:v>6.249333823726114</c:v>
                </c:pt>
                <c:pt idx="1352">
                  <c:v>6.273855239583976</c:v>
                </c:pt>
                <c:pt idx="1353">
                  <c:v>6.3675078905782838</c:v>
                </c:pt>
                <c:pt idx="1354">
                  <c:v>6.3451448579181173</c:v>
                </c:pt>
                <c:pt idx="1355">
                  <c:v>6.3308384954897425</c:v>
                </c:pt>
                <c:pt idx="1356">
                  <c:v>6.3360943584849263</c:v>
                </c:pt>
                <c:pt idx="1357">
                  <c:v>6.3997598723489935</c:v>
                </c:pt>
                <c:pt idx="1358">
                  <c:v>6.4284759335187367</c:v>
                </c:pt>
                <c:pt idx="1359">
                  <c:v>6.4577066379027093</c:v>
                </c:pt>
                <c:pt idx="1360">
                  <c:v>6.4012890876123913</c:v>
                </c:pt>
                <c:pt idx="1361">
                  <c:v>6.3780993884694919</c:v>
                </c:pt>
                <c:pt idx="1362">
                  <c:v>6.3852300024070274</c:v>
                </c:pt>
                <c:pt idx="1363">
                  <c:v>6.4393177514354516</c:v>
                </c:pt>
                <c:pt idx="1364">
                  <c:v>6.6928068820241577</c:v>
                </c:pt>
                <c:pt idx="1365">
                  <c:v>6.9468787801623151</c:v>
                </c:pt>
                <c:pt idx="1366">
                  <c:v>6.9555220732893739</c:v>
                </c:pt>
                <c:pt idx="1367">
                  <c:v>7.0501108052549322</c:v>
                </c:pt>
                <c:pt idx="1368">
                  <c:v>7.0166932129715169</c:v>
                </c:pt>
                <c:pt idx="1369">
                  <c:v>7.2808559580673764</c:v>
                </c:pt>
                <c:pt idx="1370">
                  <c:v>7.5338188004732105</c:v>
                </c:pt>
                <c:pt idx="1371">
                  <c:v>7.4902521353643978</c:v>
                </c:pt>
                <c:pt idx="1372">
                  <c:v>7.7286828318184551</c:v>
                </c:pt>
                <c:pt idx="1373">
                  <c:v>7.8679433430395012</c:v>
                </c:pt>
                <c:pt idx="1374">
                  <c:v>7.5528764776191117</c:v>
                </c:pt>
                <c:pt idx="1375">
                  <c:v>7.6154167999236595</c:v>
                </c:pt>
                <c:pt idx="1376">
                  <c:v>6.9863930587609095</c:v>
                </c:pt>
                <c:pt idx="1377">
                  <c:v>6.7159856214675751</c:v>
                </c:pt>
                <c:pt idx="1378">
                  <c:v>7.3094261754648793</c:v>
                </c:pt>
                <c:pt idx="1379">
                  <c:v>7.7281163540553113</c:v>
                </c:pt>
                <c:pt idx="1380">
                  <c:v>7.747582301212276</c:v>
                </c:pt>
                <c:pt idx="1381">
                  <c:v>7.7439339892546588</c:v>
                </c:pt>
                <c:pt idx="1382">
                  <c:v>7.5453578822610545</c:v>
                </c:pt>
                <c:pt idx="1383">
                  <c:v>7.5311885977976312</c:v>
                </c:pt>
                <c:pt idx="1384">
                  <c:v>7.0929095903200983</c:v>
                </c:pt>
                <c:pt idx="1385">
                  <c:v>7.0633329020895372</c:v>
                </c:pt>
                <c:pt idx="1386">
                  <c:v>6.6424426321902219</c:v>
                </c:pt>
                <c:pt idx="1387">
                  <c:v>7.456322418265195</c:v>
                </c:pt>
                <c:pt idx="1388">
                  <c:v>7.0130410486716332</c:v>
                </c:pt>
                <c:pt idx="1389">
                  <c:v>7.1458704080459645</c:v>
                </c:pt>
                <c:pt idx="1390">
                  <c:v>7.1656693544319738</c:v>
                </c:pt>
                <c:pt idx="1391">
                  <c:v>7.2371483015749716</c:v>
                </c:pt>
                <c:pt idx="1392">
                  <c:v>7.3455739249697602</c:v>
                </c:pt>
                <c:pt idx="1393">
                  <c:v>7.4161676723061687</c:v>
                </c:pt>
                <c:pt idx="1394">
                  <c:v>7.2420873309579727</c:v>
                </c:pt>
                <c:pt idx="1395">
                  <c:v>7.3501743805183564</c:v>
                </c:pt>
                <c:pt idx="1396">
                  <c:v>7.3481760778535916</c:v>
                </c:pt>
                <c:pt idx="1397">
                  <c:v>8.1026648751470862</c:v>
                </c:pt>
                <c:pt idx="1398">
                  <c:v>8.8926280922805727</c:v>
                </c:pt>
                <c:pt idx="1399">
                  <c:v>8.8555244024870845</c:v>
                </c:pt>
                <c:pt idx="1400">
                  <c:v>9.0318494530659876</c:v>
                </c:pt>
                <c:pt idx="1401">
                  <c:v>8.9953018037239953</c:v>
                </c:pt>
                <c:pt idx="1402">
                  <c:v>8.9984537261152457</c:v>
                </c:pt>
                <c:pt idx="1403">
                  <c:v>9.0851404274169187</c:v>
                </c:pt>
                <c:pt idx="1404">
                  <c:v>8.8726207262037011</c:v>
                </c:pt>
                <c:pt idx="1405">
                  <c:v>8.7498852809505205</c:v>
                </c:pt>
                <c:pt idx="1406">
                  <c:v>8.9142502642201453</c:v>
                </c:pt>
                <c:pt idx="1407">
                  <c:v>8.8806163906200446</c:v>
                </c:pt>
                <c:pt idx="1408">
                  <c:v>8.8773322110493496</c:v>
                </c:pt>
                <c:pt idx="1409">
                  <c:v>8.8589680070165109</c:v>
                </c:pt>
                <c:pt idx="1410">
                  <c:v>8.8470095064210152</c:v>
                </c:pt>
                <c:pt idx="1411">
                  <c:v>8.9218781509701994</c:v>
                </c:pt>
                <c:pt idx="1412">
                  <c:v>8.8761939441967179</c:v>
                </c:pt>
                <c:pt idx="1413">
                  <c:v>8.892955868024556</c:v>
                </c:pt>
                <c:pt idx="1414">
                  <c:v>8.843280764634514</c:v>
                </c:pt>
                <c:pt idx="1415">
                  <c:v>8.8364316115815917</c:v>
                </c:pt>
                <c:pt idx="1416">
                  <c:v>8.9372989240068605</c:v>
                </c:pt>
                <c:pt idx="1417">
                  <c:v>8.982994497615719</c:v>
                </c:pt>
                <c:pt idx="1418">
                  <c:v>8.9210274961158262</c:v>
                </c:pt>
                <c:pt idx="1419">
                  <c:v>8.8936372118227141</c:v>
                </c:pt>
                <c:pt idx="1420">
                  <c:v>8.8645869325934594</c:v>
                </c:pt>
                <c:pt idx="1421">
                  <c:v>8.8643721958902741</c:v>
                </c:pt>
                <c:pt idx="1422">
                  <c:v>8.9187927727983141</c:v>
                </c:pt>
                <c:pt idx="1423">
                  <c:v>8.9975295589031941</c:v>
                </c:pt>
                <c:pt idx="1424">
                  <c:v>9.1763032007212306</c:v>
                </c:pt>
                <c:pt idx="1425">
                  <c:v>8.9616101300697544</c:v>
                </c:pt>
                <c:pt idx="1426">
                  <c:v>8.9218909961873827</c:v>
                </c:pt>
                <c:pt idx="1427">
                  <c:v>8.7939550073890569</c:v>
                </c:pt>
                <c:pt idx="1428">
                  <c:v>8.7880151669878206</c:v>
                </c:pt>
                <c:pt idx="1429">
                  <c:v>8.6888404457163677</c:v>
                </c:pt>
                <c:pt idx="1430">
                  <c:v>8.6827604180457278</c:v>
                </c:pt>
                <c:pt idx="1431">
                  <c:v>8.5769785690705262</c:v>
                </c:pt>
                <c:pt idx="1432">
                  <c:v>8.2316229307527689</c:v>
                </c:pt>
                <c:pt idx="1433">
                  <c:v>7.719575056113098</c:v>
                </c:pt>
                <c:pt idx="1434">
                  <c:v>7.9041771886746206</c:v>
                </c:pt>
                <c:pt idx="1435">
                  <c:v>8.0926953159641535</c:v>
                </c:pt>
                <c:pt idx="1436">
                  <c:v>8.0135473210261274</c:v>
                </c:pt>
                <c:pt idx="1437">
                  <c:v>8.3297245357808567</c:v>
                </c:pt>
                <c:pt idx="1438">
                  <c:v>8.1340436209724487</c:v>
                </c:pt>
                <c:pt idx="1439">
                  <c:v>8.1448159471339245</c:v>
                </c:pt>
                <c:pt idx="1440">
                  <c:v>7.9312325286583398</c:v>
                </c:pt>
                <c:pt idx="1441">
                  <c:v>7.9599519136088457</c:v>
                </c:pt>
                <c:pt idx="1442">
                  <c:v>7.8589051353014439</c:v>
                </c:pt>
                <c:pt idx="1443">
                  <c:v>7.6969698923320928</c:v>
                </c:pt>
                <c:pt idx="1444">
                  <c:v>7.6427865454619148</c:v>
                </c:pt>
                <c:pt idx="1445">
                  <c:v>7.4717816590836863</c:v>
                </c:pt>
                <c:pt idx="1446">
                  <c:v>7.6720076681682414</c:v>
                </c:pt>
                <c:pt idx="1447">
                  <c:v>7.4208349104204903</c:v>
                </c:pt>
                <c:pt idx="1448">
                  <c:v>7.5296609471463665</c:v>
                </c:pt>
                <c:pt idx="1449">
                  <c:v>7.4825523904671387</c:v>
                </c:pt>
                <c:pt idx="1450">
                  <c:v>7.3027506360342445</c:v>
                </c:pt>
                <c:pt idx="1451">
                  <c:v>7.1846316151456664</c:v>
                </c:pt>
                <c:pt idx="1452">
                  <c:v>6.9864386345477829</c:v>
                </c:pt>
                <c:pt idx="1453">
                  <c:v>6.8081077362895277</c:v>
                </c:pt>
                <c:pt idx="1454">
                  <c:v>6.7757682273322501</c:v>
                </c:pt>
                <c:pt idx="1455">
                  <c:v>6.5839309791124707</c:v>
                </c:pt>
                <c:pt idx="1456">
                  <c:v>6.567540849037675</c:v>
                </c:pt>
                <c:pt idx="1457">
                  <c:v>6.439670772976263</c:v>
                </c:pt>
                <c:pt idx="1458">
                  <c:v>6.6151681223900498</c:v>
                </c:pt>
                <c:pt idx="1459">
                  <c:v>6.6786846276758389</c:v>
                </c:pt>
                <c:pt idx="1460">
                  <c:v>6.3430109859390935</c:v>
                </c:pt>
                <c:pt idx="1461">
                  <c:v>6.2129853584219035</c:v>
                </c:pt>
                <c:pt idx="1462">
                  <c:v>5.8173328641336015</c:v>
                </c:pt>
                <c:pt idx="1463">
                  <c:v>5.8651445190357903</c:v>
                </c:pt>
                <c:pt idx="1464">
                  <c:v>5.9622476251050207</c:v>
                </c:pt>
                <c:pt idx="1465">
                  <c:v>6.2212592335266939</c:v>
                </c:pt>
                <c:pt idx="1466">
                  <c:v>6.4798825955507535</c:v>
                </c:pt>
                <c:pt idx="1467">
                  <c:v>6.6441838555436599</c:v>
                </c:pt>
                <c:pt idx="1468">
                  <c:v>6.9773688887948744</c:v>
                </c:pt>
                <c:pt idx="1469">
                  <c:v>6.7975193941421042</c:v>
                </c:pt>
                <c:pt idx="1470">
                  <c:v>6.5563043113046851</c:v>
                </c:pt>
                <c:pt idx="1471">
                  <c:v>6.8917582061657718</c:v>
                </c:pt>
                <c:pt idx="1472">
                  <c:v>6.9494634448004895</c:v>
                </c:pt>
                <c:pt idx="1473">
                  <c:v>6.9538020247803569</c:v>
                </c:pt>
                <c:pt idx="1474">
                  <c:v>7.0299928064098669</c:v>
                </c:pt>
                <c:pt idx="1475">
                  <c:v>7.102250753425519</c:v>
                </c:pt>
                <c:pt idx="1476">
                  <c:v>7.2290125744946447</c:v>
                </c:pt>
                <c:pt idx="1477">
                  <c:v>7.3392158932579212</c:v>
                </c:pt>
                <c:pt idx="1478">
                  <c:v>7.1958933837034884</c:v>
                </c:pt>
                <c:pt idx="1479">
                  <c:v>7.2066848307637539</c:v>
                </c:pt>
                <c:pt idx="1480">
                  <c:v>7.0063273060282194</c:v>
                </c:pt>
                <c:pt idx="1481">
                  <c:v>7.0589001420794641</c:v>
                </c:pt>
                <c:pt idx="1482">
                  <c:v>6.988503101067101</c:v>
                </c:pt>
                <c:pt idx="1483">
                  <c:v>7.3496171319331918</c:v>
                </c:pt>
                <c:pt idx="1484">
                  <c:v>7.0422641632122307</c:v>
                </c:pt>
                <c:pt idx="1485">
                  <c:v>7.2461791444776118</c:v>
                </c:pt>
                <c:pt idx="1486">
                  <c:v>7.2152061556072624</c:v>
                </c:pt>
                <c:pt idx="1487">
                  <c:v>6.986743919684403</c:v>
                </c:pt>
                <c:pt idx="1488">
                  <c:v>6.7913869649534346</c:v>
                </c:pt>
                <c:pt idx="1489">
                  <c:v>7.1053398676704207</c:v>
                </c:pt>
                <c:pt idx="1490">
                  <c:v>6.8052210376884439</c:v>
                </c:pt>
                <c:pt idx="1491">
                  <c:v>6.7661731033694519</c:v>
                </c:pt>
                <c:pt idx="1492">
                  <c:v>6.2615181032493608</c:v>
                </c:pt>
                <c:pt idx="1493">
                  <c:v>5.978728124005543</c:v>
                </c:pt>
                <c:pt idx="1494">
                  <c:v>5.6651141553816329</c:v>
                </c:pt>
                <c:pt idx="1495">
                  <c:v>5.7427099959904462</c:v>
                </c:pt>
                <c:pt idx="1496">
                  <c:v>5.320046414719628</c:v>
                </c:pt>
                <c:pt idx="1497">
                  <c:v>4.8810647937708769</c:v>
                </c:pt>
                <c:pt idx="1498">
                  <c:v>5.5059571596456527</c:v>
                </c:pt>
                <c:pt idx="1499">
                  <c:v>5.5200463092075296</c:v>
                </c:pt>
                <c:pt idx="1500">
                  <c:v>5.4274555298958163</c:v>
                </c:pt>
                <c:pt idx="1501">
                  <c:v>5.3944953411239149</c:v>
                </c:pt>
                <c:pt idx="1502">
                  <c:v>5.4181781595529612</c:v>
                </c:pt>
                <c:pt idx="1503">
                  <c:v>5.4440057388409029</c:v>
                </c:pt>
                <c:pt idx="1504">
                  <c:v>5.4752688387575033</c:v>
                </c:pt>
                <c:pt idx="1505">
                  <c:v>5.4718588475823671</c:v>
                </c:pt>
                <c:pt idx="1506">
                  <c:v>5.34728352950534</c:v>
                </c:pt>
                <c:pt idx="1507">
                  <c:v>5.0926248131946563</c:v>
                </c:pt>
                <c:pt idx="1508">
                  <c:v>5.1924208348578507</c:v>
                </c:pt>
                <c:pt idx="1509">
                  <c:v>5.8187563023584676</c:v>
                </c:pt>
                <c:pt idx="1510">
                  <c:v>5.3226149159974403</c:v>
                </c:pt>
                <c:pt idx="1511">
                  <c:v>5.3041333407837925</c:v>
                </c:pt>
                <c:pt idx="1512">
                  <c:v>5.4261383810511852</c:v>
                </c:pt>
                <c:pt idx="1513">
                  <c:v>5.3960868243491049</c:v>
                </c:pt>
                <c:pt idx="1514">
                  <c:v>5.3787313905573946</c:v>
                </c:pt>
                <c:pt idx="1515">
                  <c:v>5.3470070989516421</c:v>
                </c:pt>
                <c:pt idx="1516">
                  <c:v>5.4050739568568478</c:v>
                </c:pt>
                <c:pt idx="1517">
                  <c:v>5.302280639547579</c:v>
                </c:pt>
                <c:pt idx="1518">
                  <c:v>5.256180530288086</c:v>
                </c:pt>
                <c:pt idx="1519">
                  <c:v>5.2005000588487889</c:v>
                </c:pt>
                <c:pt idx="1520">
                  <c:v>5.2066898001428878</c:v>
                </c:pt>
                <c:pt idx="1521">
                  <c:v>5.315879849031905</c:v>
                </c:pt>
                <c:pt idx="1522">
                  <c:v>5.2116789546819779</c:v>
                </c:pt>
                <c:pt idx="1523">
                  <c:v>5.2145230718754743</c:v>
                </c:pt>
                <c:pt idx="1524">
                  <c:v>5.3377455515981937</c:v>
                </c:pt>
                <c:pt idx="1525">
                  <c:v>5.4836662270811383</c:v>
                </c:pt>
                <c:pt idx="1526">
                  <c:v>5.4800761366671429</c:v>
                </c:pt>
                <c:pt idx="1527">
                  <c:v>5.4437635253040222</c:v>
                </c:pt>
                <c:pt idx="1528">
                  <c:v>5.3578408370402677</c:v>
                </c:pt>
                <c:pt idx="1529">
                  <c:v>5.4966088029797469</c:v>
                </c:pt>
                <c:pt idx="1530">
                  <c:v>5.330980581951656</c:v>
                </c:pt>
                <c:pt idx="1531">
                  <c:v>5.2377820829511954</c:v>
                </c:pt>
                <c:pt idx="1532">
                  <c:v>5.092463140732618</c:v>
                </c:pt>
                <c:pt idx="1533">
                  <c:v>4.9827020265688127</c:v>
                </c:pt>
                <c:pt idx="1534">
                  <c:v>4.6148954098053023</c:v>
                </c:pt>
                <c:pt idx="1535">
                  <c:v>4.2618642887116831</c:v>
                </c:pt>
                <c:pt idx="1536">
                  <c:v>4.8581123368367027</c:v>
                </c:pt>
                <c:pt idx="1537">
                  <c:v>4.7163814570554408</c:v>
                </c:pt>
                <c:pt idx="1538">
                  <c:v>4.7159148828911714</c:v>
                </c:pt>
                <c:pt idx="1539">
                  <c:v>4.7525863819296355</c:v>
                </c:pt>
                <c:pt idx="1540">
                  <c:v>4.7375641053336581</c:v>
                </c:pt>
                <c:pt idx="1541">
                  <c:v>4.7077563856382634</c:v>
                </c:pt>
                <c:pt idx="1542">
                  <c:v>4.7587447819971738</c:v>
                </c:pt>
                <c:pt idx="1543">
                  <c:v>4.7874623588620402</c:v>
                </c:pt>
                <c:pt idx="1544">
                  <c:v>4.7186175076229411</c:v>
                </c:pt>
                <c:pt idx="1545">
                  <c:v>4.7486181306156654</c:v>
                </c:pt>
                <c:pt idx="1546">
                  <c:v>4.8872578948169174</c:v>
                </c:pt>
                <c:pt idx="1547">
                  <c:v>5.0783680167416021</c:v>
                </c:pt>
                <c:pt idx="1548">
                  <c:v>5.0799853037424771</c:v>
                </c:pt>
                <c:pt idx="1549">
                  <c:v>4.9458463340214296</c:v>
                </c:pt>
                <c:pt idx="1550">
                  <c:v>5.2635760584523128</c:v>
                </c:pt>
                <c:pt idx="1551">
                  <c:v>5.0749543353985</c:v>
                </c:pt>
                <c:pt idx="1552">
                  <c:v>5.077159314973569</c:v>
                </c:pt>
                <c:pt idx="1553">
                  <c:v>4.9587772932212166</c:v>
                </c:pt>
                <c:pt idx="1554">
                  <c:v>4.9715835988271095</c:v>
                </c:pt>
                <c:pt idx="1555">
                  <c:v>4.8559273394575504</c:v>
                </c:pt>
                <c:pt idx="1556">
                  <c:v>4.8641010531383069</c:v>
                </c:pt>
                <c:pt idx="1557">
                  <c:v>4.635576613289099</c:v>
                </c:pt>
                <c:pt idx="1558">
                  <c:v>5.1140531230068271</c:v>
                </c:pt>
                <c:pt idx="1559">
                  <c:v>4.794685294984828</c:v>
                </c:pt>
                <c:pt idx="1560">
                  <c:v>4.8007487932367532</c:v>
                </c:pt>
                <c:pt idx="1561">
                  <c:v>4.7413543260501143</c:v>
                </c:pt>
                <c:pt idx="1562">
                  <c:v>4.7374558681670509</c:v>
                </c:pt>
                <c:pt idx="1563">
                  <c:v>4.717923327003902</c:v>
                </c:pt>
                <c:pt idx="1564">
                  <c:v>4.6509863909997771</c:v>
                </c:pt>
                <c:pt idx="1565">
                  <c:v>4.5953780269441991</c:v>
                </c:pt>
                <c:pt idx="1566">
                  <c:v>4.5319017893232596</c:v>
                </c:pt>
                <c:pt idx="1567">
                  <c:v>4.7487492109970644</c:v>
                </c:pt>
                <c:pt idx="1568">
                  <c:v>4.6352807964500276</c:v>
                </c:pt>
                <c:pt idx="1569">
                  <c:v>4.650721643200197</c:v>
                </c:pt>
                <c:pt idx="1570">
                  <c:v>4.7601668213631223</c:v>
                </c:pt>
                <c:pt idx="1571">
                  <c:v>4.6669434348841099</c:v>
                </c:pt>
                <c:pt idx="1572">
                  <c:v>4.6670025088422813</c:v>
                </c:pt>
                <c:pt idx="1573">
                  <c:v>4.5852542533744201</c:v>
                </c:pt>
                <c:pt idx="1574">
                  <c:v>4.5823981554938955</c:v>
                </c:pt>
                <c:pt idx="1575">
                  <c:v>4.5046383635489686</c:v>
                </c:pt>
                <c:pt idx="1576">
                  <c:v>4.5133275496440843</c:v>
                </c:pt>
                <c:pt idx="1577">
                  <c:v>4.4384604177278311</c:v>
                </c:pt>
                <c:pt idx="1578">
                  <c:v>4.5699562372218905</c:v>
                </c:pt>
                <c:pt idx="1579">
                  <c:v>4.8475275676929011</c:v>
                </c:pt>
                <c:pt idx="1580">
                  <c:v>4.9105170338645729</c:v>
                </c:pt>
                <c:pt idx="1581">
                  <c:v>5.015533215714556</c:v>
                </c:pt>
                <c:pt idx="1582">
                  <c:v>5.4753268661005752</c:v>
                </c:pt>
                <c:pt idx="1583">
                  <c:v>5.5921532026373635</c:v>
                </c:pt>
                <c:pt idx="1584">
                  <c:v>5.6352329817669622</c:v>
                </c:pt>
                <c:pt idx="1585">
                  <c:v>5.681947225045219</c:v>
                </c:pt>
                <c:pt idx="1586">
                  <c:v>5.6760369099144636</c:v>
                </c:pt>
                <c:pt idx="1587">
                  <c:v>5.714207758203111</c:v>
                </c:pt>
                <c:pt idx="1588">
                  <c:v>5.6946147189159468</c:v>
                </c:pt>
                <c:pt idx="1589">
                  <c:v>5.6074466375957703</c:v>
                </c:pt>
                <c:pt idx="1590">
                  <c:v>5.8695856116641831</c:v>
                </c:pt>
                <c:pt idx="1591">
                  <c:v>5.5863018849522206</c:v>
                </c:pt>
                <c:pt idx="1592">
                  <c:v>5.5296943048856813</c:v>
                </c:pt>
                <c:pt idx="1593">
                  <c:v>5.4658305680737973</c:v>
                </c:pt>
                <c:pt idx="1594">
                  <c:v>5.2989623383148663</c:v>
                </c:pt>
                <c:pt idx="1595">
                  <c:v>5.4944769940863507</c:v>
                </c:pt>
                <c:pt idx="1596">
                  <c:v>5.4272950724069959</c:v>
                </c:pt>
                <c:pt idx="1597">
                  <c:v>5.3721641240242866</c:v>
                </c:pt>
                <c:pt idx="1598">
                  <c:v>5.3067396430483553</c:v>
                </c:pt>
                <c:pt idx="1599">
                  <c:v>5.3126594788284738</c:v>
                </c:pt>
                <c:pt idx="1600">
                  <c:v>5.4072898322981811</c:v>
                </c:pt>
                <c:pt idx="1601">
                  <c:v>5.4533952279344948</c:v>
                </c:pt>
                <c:pt idx="1602">
                  <c:v>5.4605991516284043</c:v>
                </c:pt>
                <c:pt idx="1603">
                  <c:v>5.4774410237971987</c:v>
                </c:pt>
                <c:pt idx="1604">
                  <c:v>5.4385594090795175</c:v>
                </c:pt>
                <c:pt idx="1605">
                  <c:v>5.444079092521279</c:v>
                </c:pt>
                <c:pt idx="1606">
                  <c:v>5.4411905517262786</c:v>
                </c:pt>
                <c:pt idx="1607">
                  <c:v>5.4043302685624788</c:v>
                </c:pt>
                <c:pt idx="1608">
                  <c:v>5.5098542123249699</c:v>
                </c:pt>
                <c:pt idx="1609">
                  <c:v>5.591112283450772</c:v>
                </c:pt>
                <c:pt idx="1610">
                  <c:v>5.5787088544391645</c:v>
                </c:pt>
                <c:pt idx="1611">
                  <c:v>5.1923357917685866</c:v>
                </c:pt>
                <c:pt idx="1612">
                  <c:v>4.864499401687759</c:v>
                </c:pt>
                <c:pt idx="1613">
                  <c:v>5.3148487724995954</c:v>
                </c:pt>
                <c:pt idx="1614">
                  <c:v>5.345977992696386</c:v>
                </c:pt>
                <c:pt idx="1615">
                  <c:v>5.0882667981267886</c:v>
                </c:pt>
                <c:pt idx="1616">
                  <c:v>4.8296333424933575</c:v>
                </c:pt>
                <c:pt idx="1617">
                  <c:v>5.0921578431139318</c:v>
                </c:pt>
                <c:pt idx="1618">
                  <c:v>4.9447967962450114</c:v>
                </c:pt>
                <c:pt idx="1619">
                  <c:v>4.8331456180931367</c:v>
                </c:pt>
                <c:pt idx="1620">
                  <c:v>4.7904661302430167</c:v>
                </c:pt>
                <c:pt idx="1621">
                  <c:v>4.8742850475400736</c:v>
                </c:pt>
                <c:pt idx="1622">
                  <c:v>4.7984472056998211</c:v>
                </c:pt>
                <c:pt idx="1623">
                  <c:v>4.7778111348876493</c:v>
                </c:pt>
                <c:pt idx="1624">
                  <c:v>4.9931416479400195</c:v>
                </c:pt>
                <c:pt idx="1625">
                  <c:v>5.0886682630305256</c:v>
                </c:pt>
                <c:pt idx="1626">
                  <c:v>5.2386758831864615</c:v>
                </c:pt>
                <c:pt idx="1627">
                  <c:v>5.1711243668342224</c:v>
                </c:pt>
                <c:pt idx="1628">
                  <c:v>5.2022367250926624</c:v>
                </c:pt>
                <c:pt idx="1629">
                  <c:v>5.1955229168907566</c:v>
                </c:pt>
                <c:pt idx="1630">
                  <c:v>5.1996077424693485</c:v>
                </c:pt>
                <c:pt idx="1631">
                  <c:v>5.2056347824519209</c:v>
                </c:pt>
                <c:pt idx="1632">
                  <c:v>5.2042146839680283</c:v>
                </c:pt>
                <c:pt idx="1633">
                  <c:v>5.2226415453577308</c:v>
                </c:pt>
                <c:pt idx="1634">
                  <c:v>5.3628315527264254</c:v>
                </c:pt>
                <c:pt idx="1635">
                  <c:v>5.3708219587569355</c:v>
                </c:pt>
                <c:pt idx="1636">
                  <c:v>5.4006413874585242</c:v>
                </c:pt>
                <c:pt idx="1637">
                  <c:v>5.3482912008217989</c:v>
                </c:pt>
                <c:pt idx="1638">
                  <c:v>5.3052369487343611</c:v>
                </c:pt>
                <c:pt idx="1639">
                  <c:v>5.3319843580254025</c:v>
                </c:pt>
                <c:pt idx="1640">
                  <c:v>5.2824863608926158</c:v>
                </c:pt>
                <c:pt idx="1641">
                  <c:v>5.3369652511135328</c:v>
                </c:pt>
                <c:pt idx="1642">
                  <c:v>5.5879800709974479</c:v>
                </c:pt>
                <c:pt idx="1643">
                  <c:v>5.536835086142526</c:v>
                </c:pt>
                <c:pt idx="1644">
                  <c:v>5.3998697706235248</c:v>
                </c:pt>
                <c:pt idx="1645">
                  <c:v>5.3946869445230803</c:v>
                </c:pt>
                <c:pt idx="1646">
                  <c:v>5.5120953383326938</c:v>
                </c:pt>
                <c:pt idx="1647">
                  <c:v>5.5252801628659096</c:v>
                </c:pt>
                <c:pt idx="1648">
                  <c:v>5.3715174960279253</c:v>
                </c:pt>
                <c:pt idx="1649">
                  <c:v>5.7460447440326572</c:v>
                </c:pt>
                <c:pt idx="1650">
                  <c:v>5.4346913125896723</c:v>
                </c:pt>
                <c:pt idx="1651">
                  <c:v>5.4742748272871147</c:v>
                </c:pt>
                <c:pt idx="1652">
                  <c:v>5.4343320794764054</c:v>
                </c:pt>
                <c:pt idx="1653">
                  <c:v>5.4358084462841108</c:v>
                </c:pt>
                <c:pt idx="1654">
                  <c:v>5.3649318153125565</c:v>
                </c:pt>
                <c:pt idx="1655">
                  <c:v>5.3448191472072422</c:v>
                </c:pt>
                <c:pt idx="1656">
                  <c:v>5.4239621023093836</c:v>
                </c:pt>
                <c:pt idx="1657">
                  <c:v>5.4347394295576104</c:v>
                </c:pt>
                <c:pt idx="1658">
                  <c:v>5.5496181608675892</c:v>
                </c:pt>
                <c:pt idx="1659">
                  <c:v>5.5770256253826478</c:v>
                </c:pt>
                <c:pt idx="1660">
                  <c:v>5.5832070310410185</c:v>
                </c:pt>
                <c:pt idx="1661">
                  <c:v>5.623417292698381</c:v>
                </c:pt>
                <c:pt idx="1662">
                  <c:v>5.598185632343581</c:v>
                </c:pt>
                <c:pt idx="1663">
                  <c:v>5.6057581977813902</c:v>
                </c:pt>
                <c:pt idx="1664">
                  <c:v>5.5017077961929868</c:v>
                </c:pt>
                <c:pt idx="1665">
                  <c:v>5.3799267212629456</c:v>
                </c:pt>
                <c:pt idx="1666">
                  <c:v>5.5380837459625711</c:v>
                </c:pt>
                <c:pt idx="1667">
                  <c:v>5.3354400751196067</c:v>
                </c:pt>
                <c:pt idx="1668">
                  <c:v>5.2881245093806095</c:v>
                </c:pt>
                <c:pt idx="1669">
                  <c:v>5.3588229787593251</c:v>
                </c:pt>
                <c:pt idx="1670">
                  <c:v>5.5551019712846159</c:v>
                </c:pt>
                <c:pt idx="1671">
                  <c:v>5.5660419602081532</c:v>
                </c:pt>
                <c:pt idx="1672">
                  <c:v>5.5946833334116395</c:v>
                </c:pt>
                <c:pt idx="1673">
                  <c:v>5.5570135847093427</c:v>
                </c:pt>
                <c:pt idx="1674">
                  <c:v>5.5685974693010367</c:v>
                </c:pt>
                <c:pt idx="1675">
                  <c:v>5.5645327116470069</c:v>
                </c:pt>
                <c:pt idx="1676">
                  <c:v>5.5691284743738212</c:v>
                </c:pt>
                <c:pt idx="1677">
                  <c:v>5.5648108265030478</c:v>
                </c:pt>
                <c:pt idx="1678">
                  <c:v>5.6384134962994779</c:v>
                </c:pt>
                <c:pt idx="1679">
                  <c:v>5.6376148090168501</c:v>
                </c:pt>
                <c:pt idx="1680">
                  <c:v>5.768274005036309</c:v>
                </c:pt>
                <c:pt idx="1681">
                  <c:v>5.802434848965178</c:v>
                </c:pt>
                <c:pt idx="1682">
                  <c:v>5.9531055203753915</c:v>
                </c:pt>
                <c:pt idx="1683">
                  <c:v>6.0857869840746677</c:v>
                </c:pt>
                <c:pt idx="1684">
                  <c:v>5.9396430183516129</c:v>
                </c:pt>
                <c:pt idx="1685">
                  <c:v>5.8029754776229527</c:v>
                </c:pt>
                <c:pt idx="1686">
                  <c:v>5.5382191431724275</c:v>
                </c:pt>
                <c:pt idx="1687">
                  <c:v>5.6512669185656952</c:v>
                </c:pt>
                <c:pt idx="1688">
                  <c:v>4.6894069497332591</c:v>
                </c:pt>
                <c:pt idx="1689">
                  <c:v>5.6633003495537713</c:v>
                </c:pt>
                <c:pt idx="1690">
                  <c:v>6.3326235440066565</c:v>
                </c:pt>
                <c:pt idx="1691">
                  <c:v>6.3352141370578234</c:v>
                </c:pt>
                <c:pt idx="1692">
                  <c:v>6.1746323852873033</c:v>
                </c:pt>
                <c:pt idx="1693">
                  <c:v>6.051236138731686</c:v>
                </c:pt>
                <c:pt idx="1694">
                  <c:v>6.022221240213038</c:v>
                </c:pt>
                <c:pt idx="1695">
                  <c:v>6.0363761884546223</c:v>
                </c:pt>
                <c:pt idx="1696">
                  <c:v>5.8958812733640471</c:v>
                </c:pt>
                <c:pt idx="1697">
                  <c:v>5.8740130057969351</c:v>
                </c:pt>
                <c:pt idx="1698">
                  <c:v>5.86328405578071</c:v>
                </c:pt>
                <c:pt idx="1699">
                  <c:v>5.835712070845263</c:v>
                </c:pt>
                <c:pt idx="1700">
                  <c:v>5.8006984647439364</c:v>
                </c:pt>
                <c:pt idx="1701">
                  <c:v>5.8174018344085869</c:v>
                </c:pt>
                <c:pt idx="1702">
                  <c:v>5.7151839537944014</c:v>
                </c:pt>
                <c:pt idx="1703">
                  <c:v>5.6798250247716888</c:v>
                </c:pt>
                <c:pt idx="1704">
                  <c:v>5.6246021092730762</c:v>
                </c:pt>
                <c:pt idx="1705">
                  <c:v>5.6715163193997116</c:v>
                </c:pt>
                <c:pt idx="1706">
                  <c:v>5.7017845174847057</c:v>
                </c:pt>
                <c:pt idx="1707">
                  <c:v>5.7697959065133837</c:v>
                </c:pt>
                <c:pt idx="1708">
                  <c:v>5.7147239708315762</c:v>
                </c:pt>
                <c:pt idx="1709">
                  <c:v>5.7360313430114438</c:v>
                </c:pt>
                <c:pt idx="1710">
                  <c:v>5.7142357342020782</c:v>
                </c:pt>
                <c:pt idx="1711">
                  <c:v>5.8284478126345265</c:v>
                </c:pt>
                <c:pt idx="1712">
                  <c:v>5.562651610206129</c:v>
                </c:pt>
                <c:pt idx="1713">
                  <c:v>5.5350960176230739</c:v>
                </c:pt>
                <c:pt idx="1714">
                  <c:v>5.6183716907589272</c:v>
                </c:pt>
                <c:pt idx="1715">
                  <c:v>5.6048562439434999</c:v>
                </c:pt>
                <c:pt idx="1716">
                  <c:v>5.5578283155383073</c:v>
                </c:pt>
                <c:pt idx="1717">
                  <c:v>5.5395279908949853</c:v>
                </c:pt>
                <c:pt idx="1718">
                  <c:v>5.4917919716825931</c:v>
                </c:pt>
                <c:pt idx="1719">
                  <c:v>5.4767985280816474</c:v>
                </c:pt>
                <c:pt idx="1720">
                  <c:v>5.4077115705564909</c:v>
                </c:pt>
                <c:pt idx="1721">
                  <c:v>5.3918066411558829</c:v>
                </c:pt>
                <c:pt idx="1722">
                  <c:v>5.2052988066132402</c:v>
                </c:pt>
                <c:pt idx="1723">
                  <c:v>5.6395894588643403</c:v>
                </c:pt>
                <c:pt idx="1724">
                  <c:v>5.6744405198328209</c:v>
                </c:pt>
                <c:pt idx="1725">
                  <c:v>5.7782991570268045</c:v>
                </c:pt>
                <c:pt idx="1726">
                  <c:v>5.1102367863594464</c:v>
                </c:pt>
                <c:pt idx="1727">
                  <c:v>5.1075658771916181</c:v>
                </c:pt>
                <c:pt idx="1728">
                  <c:v>5.5909351181648654</c:v>
                </c:pt>
                <c:pt idx="1729">
                  <c:v>5.3634808529503442</c:v>
                </c:pt>
                <c:pt idx="1730">
                  <c:v>5.3506423511137333</c:v>
                </c:pt>
                <c:pt idx="1731">
                  <c:v>5.4857618260458683</c:v>
                </c:pt>
                <c:pt idx="1732">
                  <c:v>5.5388592545885587</c:v>
                </c:pt>
                <c:pt idx="1733">
                  <c:v>5.5478687530130246</c:v>
                </c:pt>
                <c:pt idx="1734">
                  <c:v>5.4441799532545021</c:v>
                </c:pt>
                <c:pt idx="1735">
                  <c:v>5.3733357556592418</c:v>
                </c:pt>
                <c:pt idx="1736">
                  <c:v>5.1749392246162325</c:v>
                </c:pt>
                <c:pt idx="1737">
                  <c:v>5.2493400052282642</c:v>
                </c:pt>
                <c:pt idx="1738">
                  <c:v>5.13785248439798</c:v>
                </c:pt>
                <c:pt idx="1739">
                  <c:v>5.0343919283295957</c:v>
                </c:pt>
                <c:pt idx="1740">
                  <c:v>5.0567473054755494</c:v>
                </c:pt>
                <c:pt idx="1741">
                  <c:v>5.2239633252772801</c:v>
                </c:pt>
                <c:pt idx="1742">
                  <c:v>5.2211828726977254</c:v>
                </c:pt>
                <c:pt idx="1743">
                  <c:v>5.1842289265649413</c:v>
                </c:pt>
                <c:pt idx="1744">
                  <c:v>5.1915718402945545</c:v>
                </c:pt>
                <c:pt idx="1745">
                  <c:v>5.1692771075913386</c:v>
                </c:pt>
                <c:pt idx="1746">
                  <c:v>5.1594905816822907</c:v>
                </c:pt>
                <c:pt idx="1747">
                  <c:v>5.1479749153203276</c:v>
                </c:pt>
                <c:pt idx="1748">
                  <c:v>5.1691319660620563</c:v>
                </c:pt>
                <c:pt idx="1749">
                  <c:v>5.1278439364075199</c:v>
                </c:pt>
                <c:pt idx="1750">
                  <c:v>5.156833626452463</c:v>
                </c:pt>
                <c:pt idx="1751">
                  <c:v>5.0102743118743263</c:v>
                </c:pt>
                <c:pt idx="1752">
                  <c:v>5.1189209866258452</c:v>
                </c:pt>
                <c:pt idx="1753">
                  <c:v>4.9722177905045175</c:v>
                </c:pt>
                <c:pt idx="1754">
                  <c:v>4.9468865049114488</c:v>
                </c:pt>
                <c:pt idx="1755">
                  <c:v>4.879804057186405</c:v>
                </c:pt>
                <c:pt idx="1756">
                  <c:v>4.8771436254053269</c:v>
                </c:pt>
                <c:pt idx="1757">
                  <c:v>4.706405051842963</c:v>
                </c:pt>
                <c:pt idx="1758">
                  <c:v>4.7229107665418528</c:v>
                </c:pt>
                <c:pt idx="1759">
                  <c:v>4.6088505254059555</c:v>
                </c:pt>
                <c:pt idx="1760">
                  <c:v>5.4228850066034857</c:v>
                </c:pt>
                <c:pt idx="1761">
                  <c:v>4.8019562510255716</c:v>
                </c:pt>
                <c:pt idx="1762">
                  <c:v>4.2744518106277845</c:v>
                </c:pt>
                <c:pt idx="1763">
                  <c:v>4.310919679202855</c:v>
                </c:pt>
                <c:pt idx="1764">
                  <c:v>4.467766033178977</c:v>
                </c:pt>
                <c:pt idx="1765">
                  <c:v>4.6077349636932512</c:v>
                </c:pt>
                <c:pt idx="1766">
                  <c:v>4.6559291807184735</c:v>
                </c:pt>
                <c:pt idx="1767">
                  <c:v>4.654591903430398</c:v>
                </c:pt>
                <c:pt idx="1768">
                  <c:v>4.6676093874842861</c:v>
                </c:pt>
                <c:pt idx="1769">
                  <c:v>4.6672503709339885</c:v>
                </c:pt>
                <c:pt idx="1770">
                  <c:v>4.662733435936838</c:v>
                </c:pt>
                <c:pt idx="1771">
                  <c:v>4.635638336725135</c:v>
                </c:pt>
                <c:pt idx="1772">
                  <c:v>4.6864277339291585</c:v>
                </c:pt>
                <c:pt idx="1773">
                  <c:v>4.6201593942618366</c:v>
                </c:pt>
                <c:pt idx="1774">
                  <c:v>4.6170981508762363</c:v>
                </c:pt>
                <c:pt idx="1775">
                  <c:v>4.5987552105868632</c:v>
                </c:pt>
                <c:pt idx="1776">
                  <c:v>4.5946570162942812</c:v>
                </c:pt>
                <c:pt idx="1777">
                  <c:v>4.6092187640232716</c:v>
                </c:pt>
                <c:pt idx="1778">
                  <c:v>4.6292146344709559</c:v>
                </c:pt>
                <c:pt idx="1779">
                  <c:v>4.6043704846424029</c:v>
                </c:pt>
                <c:pt idx="1780">
                  <c:v>4.5974630415439259</c:v>
                </c:pt>
                <c:pt idx="1781">
                  <c:v>4.5892070114205286</c:v>
                </c:pt>
                <c:pt idx="1782">
                  <c:v>4.6075995275631376</c:v>
                </c:pt>
                <c:pt idx="1783">
                  <c:v>4.6565611878996513</c:v>
                </c:pt>
                <c:pt idx="1784">
                  <c:v>4.6205256326515274</c:v>
                </c:pt>
                <c:pt idx="1785">
                  <c:v>4.6147453564100305</c:v>
                </c:pt>
                <c:pt idx="1786">
                  <c:v>4.6407785995953779</c:v>
                </c:pt>
                <c:pt idx="1787">
                  <c:v>4.6306906774802252</c:v>
                </c:pt>
                <c:pt idx="1788">
                  <c:v>4.5770783279031173</c:v>
                </c:pt>
                <c:pt idx="1789">
                  <c:v>4.5734170955024611</c:v>
                </c:pt>
                <c:pt idx="1790">
                  <c:v>4.6554608146912999</c:v>
                </c:pt>
                <c:pt idx="1791">
                  <c:v>4.5940027869531601</c:v>
                </c:pt>
                <c:pt idx="1792">
                  <c:v>4.5821433275770067</c:v>
                </c:pt>
                <c:pt idx="1793">
                  <c:v>4.4951627831144076</c:v>
                </c:pt>
                <c:pt idx="1794">
                  <c:v>4.5005444641522763</c:v>
                </c:pt>
                <c:pt idx="1795">
                  <c:v>4.4665185387712159</c:v>
                </c:pt>
                <c:pt idx="1796">
                  <c:v>4.2029050420543621</c:v>
                </c:pt>
                <c:pt idx="1797">
                  <c:v>4.3256160123932137</c:v>
                </c:pt>
                <c:pt idx="1798">
                  <c:v>4.5213586600657862</c:v>
                </c:pt>
                <c:pt idx="1799">
                  <c:v>4.5781437298081622</c:v>
                </c:pt>
                <c:pt idx="1800">
                  <c:v>4.6668211272384585</c:v>
                </c:pt>
                <c:pt idx="1801">
                  <c:v>4.9929172056128284</c:v>
                </c:pt>
                <c:pt idx="1802">
                  <c:v>5.368054572706364</c:v>
                </c:pt>
                <c:pt idx="1803">
                  <c:v>5.1851519390185157</c:v>
                </c:pt>
                <c:pt idx="1804">
                  <c:v>5.219359042813223</c:v>
                </c:pt>
                <c:pt idx="1805">
                  <c:v>5.245372745453289</c:v>
                </c:pt>
                <c:pt idx="1806">
                  <c:v>5.2442963752590206</c:v>
                </c:pt>
                <c:pt idx="1807">
                  <c:v>5.2591547698173313</c:v>
                </c:pt>
                <c:pt idx="1808">
                  <c:v>5.2445673449774173</c:v>
                </c:pt>
                <c:pt idx="1809">
                  <c:v>4.914697792048778</c:v>
                </c:pt>
                <c:pt idx="1810">
                  <c:v>5.0000519920332538</c:v>
                </c:pt>
                <c:pt idx="1811">
                  <c:v>5.1318848923965463</c:v>
                </c:pt>
                <c:pt idx="1812">
                  <c:v>5.2028400482923143</c:v>
                </c:pt>
                <c:pt idx="1813">
                  <c:v>5.2054822413848321</c:v>
                </c:pt>
                <c:pt idx="1814">
                  <c:v>5.1751811156216894</c:v>
                </c:pt>
                <c:pt idx="1815">
                  <c:v>5.1698363480059379</c:v>
                </c:pt>
                <c:pt idx="1816">
                  <c:v>5.1152170722114905</c:v>
                </c:pt>
                <c:pt idx="1817">
                  <c:v>4.9091710891335758</c:v>
                </c:pt>
                <c:pt idx="1818">
                  <c:v>4.7666740440059767</c:v>
                </c:pt>
                <c:pt idx="1819">
                  <c:v>4.686182516650427</c:v>
                </c:pt>
                <c:pt idx="1820">
                  <c:v>4.6084330805950477</c:v>
                </c:pt>
                <c:pt idx="1821">
                  <c:v>4.4996483427436669</c:v>
                </c:pt>
                <c:pt idx="1822">
                  <c:v>4.5414671078459206</c:v>
                </c:pt>
                <c:pt idx="1823">
                  <c:v>4.4152155681620764</c:v>
                </c:pt>
                <c:pt idx="1824">
                  <c:v>4.5411012332727347</c:v>
                </c:pt>
                <c:pt idx="1825">
                  <c:v>4.3726212427893385</c:v>
                </c:pt>
                <c:pt idx="1826">
                  <c:v>4.3399034663979119</c:v>
                </c:pt>
                <c:pt idx="1827">
                  <c:v>4.1968279003166504</c:v>
                </c:pt>
                <c:pt idx="1828">
                  <c:v>4.1533853247195438</c:v>
                </c:pt>
                <c:pt idx="1829">
                  <c:v>4.1368815553817484</c:v>
                </c:pt>
                <c:pt idx="1830">
                  <c:v>4.1792070327624478</c:v>
                </c:pt>
                <c:pt idx="1831">
                  <c:v>4.0943922059236089</c:v>
                </c:pt>
                <c:pt idx="1832">
                  <c:v>4.0800940440414539</c:v>
                </c:pt>
                <c:pt idx="1833">
                  <c:v>4.1365397316496022</c:v>
                </c:pt>
                <c:pt idx="1834">
                  <c:v>4.0375846261556783</c:v>
                </c:pt>
                <c:pt idx="1835">
                  <c:v>3.9555490953032262</c:v>
                </c:pt>
                <c:pt idx="1836">
                  <c:v>3.8674404729829046</c:v>
                </c:pt>
                <c:pt idx="1837">
                  <c:v>3.7392921296156025</c:v>
                </c:pt>
                <c:pt idx="1838">
                  <c:v>3.7105818885159914</c:v>
                </c:pt>
                <c:pt idx="1839">
                  <c:v>3.8100414082274789</c:v>
                </c:pt>
                <c:pt idx="1840">
                  <c:v>3.8524655779201114</c:v>
                </c:pt>
                <c:pt idx="1841">
                  <c:v>3.7670691901078031</c:v>
                </c:pt>
                <c:pt idx="1842">
                  <c:v>3.8521850536954489</c:v>
                </c:pt>
                <c:pt idx="1843">
                  <c:v>3.7951296190592707</c:v>
                </c:pt>
                <c:pt idx="1844">
                  <c:v>3.7693632144400802</c:v>
                </c:pt>
                <c:pt idx="1845">
                  <c:v>3.8080171509032668</c:v>
                </c:pt>
                <c:pt idx="1846">
                  <c:v>4.0612442849916599</c:v>
                </c:pt>
                <c:pt idx="1847">
                  <c:v>4.0538307125596207</c:v>
                </c:pt>
                <c:pt idx="1848">
                  <c:v>3.9545852673676523</c:v>
                </c:pt>
                <c:pt idx="1849">
                  <c:v>4.0287724413054926</c:v>
                </c:pt>
                <c:pt idx="1850">
                  <c:v>3.912764367431123</c:v>
                </c:pt>
                <c:pt idx="1851">
                  <c:v>4.0704848275800174</c:v>
                </c:pt>
                <c:pt idx="1852">
                  <c:v>4.1359944446897803</c:v>
                </c:pt>
                <c:pt idx="1853">
                  <c:v>4.0843928909519516</c:v>
                </c:pt>
                <c:pt idx="1854">
                  <c:v>4.2029125502076772</c:v>
                </c:pt>
                <c:pt idx="1855">
                  <c:v>4.1652296055232298</c:v>
                </c:pt>
                <c:pt idx="1856">
                  <c:v>4.1629332024325061</c:v>
                </c:pt>
                <c:pt idx="1857">
                  <c:v>4.1269456778697737</c:v>
                </c:pt>
                <c:pt idx="1858">
                  <c:v>4.2801530292943699</c:v>
                </c:pt>
                <c:pt idx="1859">
                  <c:v>4.3179021132129716</c:v>
                </c:pt>
                <c:pt idx="1860">
                  <c:v>4.3591410236172905</c:v>
                </c:pt>
                <c:pt idx="1861">
                  <c:v>4.3496767622763537</c:v>
                </c:pt>
                <c:pt idx="1862">
                  <c:v>4.3016904577564512</c:v>
                </c:pt>
                <c:pt idx="1863">
                  <c:v>4.2566623038972438</c:v>
                </c:pt>
                <c:pt idx="1864">
                  <c:v>4.0809850555196485</c:v>
                </c:pt>
                <c:pt idx="1865">
                  <c:v>4.1507556571661626</c:v>
                </c:pt>
                <c:pt idx="1866">
                  <c:v>4.1505987419616837</c:v>
                </c:pt>
                <c:pt idx="1867">
                  <c:v>4.0849216245169258</c:v>
                </c:pt>
                <c:pt idx="1868">
                  <c:v>4.0585085742168792</c:v>
                </c:pt>
                <c:pt idx="1869">
                  <c:v>3.8614359923566193</c:v>
                </c:pt>
                <c:pt idx="1870">
                  <c:v>3.8741583735500109</c:v>
                </c:pt>
                <c:pt idx="1871">
                  <c:v>3.9397962316087312</c:v>
                </c:pt>
                <c:pt idx="1872">
                  <c:v>4.0315729420305235</c:v>
                </c:pt>
                <c:pt idx="1873">
                  <c:v>3.9605805191132459</c:v>
                </c:pt>
                <c:pt idx="1874">
                  <c:v>3.9537583819602258</c:v>
                </c:pt>
                <c:pt idx="1875">
                  <c:v>3.9233733198001297</c:v>
                </c:pt>
                <c:pt idx="1876">
                  <c:v>4.0206999777109518</c:v>
                </c:pt>
                <c:pt idx="1877">
                  <c:v>4.1868312449658198</c:v>
                </c:pt>
                <c:pt idx="1878">
                  <c:v>4.3358577144269441</c:v>
                </c:pt>
                <c:pt idx="1879">
                  <c:v>4.0815283475244462</c:v>
                </c:pt>
                <c:pt idx="1880">
                  <c:v>3.9626149524838574</c:v>
                </c:pt>
                <c:pt idx="1881">
                  <c:v>4.0619401491757561</c:v>
                </c:pt>
                <c:pt idx="1882">
                  <c:v>3.6506745610830444</c:v>
                </c:pt>
                <c:pt idx="1883">
                  <c:v>3.4722599530041962</c:v>
                </c:pt>
                <c:pt idx="1884">
                  <c:v>3.5703270198068142</c:v>
                </c:pt>
                <c:pt idx="1885">
                  <c:v>4.0341538171954374</c:v>
                </c:pt>
                <c:pt idx="1886">
                  <c:v>4.1407412494383902</c:v>
                </c:pt>
                <c:pt idx="1887">
                  <c:v>4.1512888188298014</c:v>
                </c:pt>
                <c:pt idx="1888">
                  <c:v>4.2525979252577866</c:v>
                </c:pt>
                <c:pt idx="1889">
                  <c:v>4.0373137197699833</c:v>
                </c:pt>
                <c:pt idx="1890">
                  <c:v>3.9813940149254172</c:v>
                </c:pt>
                <c:pt idx="1891">
                  <c:v>3.9221767111934378</c:v>
                </c:pt>
                <c:pt idx="1892">
                  <c:v>3.9900451560406989</c:v>
                </c:pt>
                <c:pt idx="1893">
                  <c:v>3.9898922242282322</c:v>
                </c:pt>
                <c:pt idx="1894">
                  <c:v>4.0131486989081786</c:v>
                </c:pt>
                <c:pt idx="1895">
                  <c:v>3.9660236914219085</c:v>
                </c:pt>
                <c:pt idx="1896">
                  <c:v>3.9694179010343253</c:v>
                </c:pt>
                <c:pt idx="1897">
                  <c:v>3.9750182557140574</c:v>
                </c:pt>
                <c:pt idx="1898">
                  <c:v>3.9656117487570914</c:v>
                </c:pt>
                <c:pt idx="1899">
                  <c:v>3.9696190881597087</c:v>
                </c:pt>
                <c:pt idx="1900">
                  <c:v>3.9675002474133887</c:v>
                </c:pt>
                <c:pt idx="1901">
                  <c:v>3.9666879995101274</c:v>
                </c:pt>
                <c:pt idx="1902">
                  <c:v>3.9642907847387567</c:v>
                </c:pt>
                <c:pt idx="1903">
                  <c:v>3.9647228589208638</c:v>
                </c:pt>
                <c:pt idx="1904">
                  <c:v>3.9272366358778807</c:v>
                </c:pt>
                <c:pt idx="1905">
                  <c:v>3.9797843368833212</c:v>
                </c:pt>
                <c:pt idx="1906">
                  <c:v>3.8853714327443978</c:v>
                </c:pt>
                <c:pt idx="1907">
                  <c:v>3.8769415422211604</c:v>
                </c:pt>
                <c:pt idx="1908">
                  <c:v>3.8825619220921253</c:v>
                </c:pt>
                <c:pt idx="1909">
                  <c:v>3.852262172940478</c:v>
                </c:pt>
                <c:pt idx="1910">
                  <c:v>3.7975024874016072</c:v>
                </c:pt>
                <c:pt idx="1911">
                  <c:v>3.7318032864085886</c:v>
                </c:pt>
                <c:pt idx="1912">
                  <c:v>3.7186501168071824</c:v>
                </c:pt>
                <c:pt idx="1913">
                  <c:v>3.7706382961507519</c:v>
                </c:pt>
                <c:pt idx="1914">
                  <c:v>3.6795016401403009</c:v>
                </c:pt>
                <c:pt idx="1915">
                  <c:v>3.5622970044352202</c:v>
                </c:pt>
                <c:pt idx="1916">
                  <c:v>3.5360365895373511</c:v>
                </c:pt>
                <c:pt idx="1917">
                  <c:v>3.548979183027885</c:v>
                </c:pt>
                <c:pt idx="1918">
                  <c:v>3.5749594245540059</c:v>
                </c:pt>
                <c:pt idx="1919">
                  <c:v>3.6008999536893245</c:v>
                </c:pt>
                <c:pt idx="1920">
                  <c:v>3.6268400942477808</c:v>
                </c:pt>
                <c:pt idx="1921">
                  <c:v>3.6937095569787357</c:v>
                </c:pt>
                <c:pt idx="1922">
                  <c:v>3.6977790797928369</c:v>
                </c:pt>
                <c:pt idx="1923">
                  <c:v>3.7897341483924762</c:v>
                </c:pt>
                <c:pt idx="1924">
                  <c:v>3.7097163604406234</c:v>
                </c:pt>
                <c:pt idx="1925">
                  <c:v>3.8579181475588116</c:v>
                </c:pt>
                <c:pt idx="1926">
                  <c:v>3.9126429930943707</c:v>
                </c:pt>
                <c:pt idx="1927">
                  <c:v>3.920666888789694</c:v>
                </c:pt>
                <c:pt idx="1928">
                  <c:v>4.1820270572229834</c:v>
                </c:pt>
                <c:pt idx="1929">
                  <c:v>4.2713002288481423</c:v>
                </c:pt>
                <c:pt idx="1930">
                  <c:v>4.2554671061339473</c:v>
                </c:pt>
                <c:pt idx="1931">
                  <c:v>4.1868269166042911</c:v>
                </c:pt>
                <c:pt idx="1932">
                  <c:v>4.2398493372137072</c:v>
                </c:pt>
                <c:pt idx="1933">
                  <c:v>4.5260247863439451</c:v>
                </c:pt>
                <c:pt idx="1934">
                  <c:v>4.5409576918817267</c:v>
                </c:pt>
                <c:pt idx="1935">
                  <c:v>4.5249544228317182</c:v>
                </c:pt>
                <c:pt idx="1936">
                  <c:v>4.4057537432896998</c:v>
                </c:pt>
                <c:pt idx="1937">
                  <c:v>4.27400971071825</c:v>
                </c:pt>
                <c:pt idx="1938">
                  <c:v>4.2720530137031751</c:v>
                </c:pt>
                <c:pt idx="1939">
                  <c:v>4.3676985223847202</c:v>
                </c:pt>
                <c:pt idx="1940">
                  <c:v>4.4312514114178914</c:v>
                </c:pt>
                <c:pt idx="1941">
                  <c:v>4.4470470509535671</c:v>
                </c:pt>
                <c:pt idx="1942">
                  <c:v>4.4979596030131148</c:v>
                </c:pt>
                <c:pt idx="1943">
                  <c:v>4.4801560607157862</c:v>
                </c:pt>
                <c:pt idx="1944">
                  <c:v>4.4930151251881369</c:v>
                </c:pt>
                <c:pt idx="1945">
                  <c:v>4.5093207215522657</c:v>
                </c:pt>
                <c:pt idx="1946">
                  <c:v>4.5068900420979405</c:v>
                </c:pt>
                <c:pt idx="1947">
                  <c:v>4.4975674644942742</c:v>
                </c:pt>
                <c:pt idx="1948">
                  <c:v>4.471532408286695</c:v>
                </c:pt>
                <c:pt idx="1949">
                  <c:v>4.5367322985980953</c:v>
                </c:pt>
                <c:pt idx="1950">
                  <c:v>4.3003766412269249</c:v>
                </c:pt>
                <c:pt idx="1951">
                  <c:v>4.2915946615879088</c:v>
                </c:pt>
                <c:pt idx="1952">
                  <c:v>4.3801221301678845</c:v>
                </c:pt>
                <c:pt idx="1953">
                  <c:v>4.3645937255634095</c:v>
                </c:pt>
                <c:pt idx="1954">
                  <c:v>4.3451555834618114</c:v>
                </c:pt>
                <c:pt idx="1955">
                  <c:v>4.3179121163699943</c:v>
                </c:pt>
                <c:pt idx="1956">
                  <c:v>4.3820349977762465</c:v>
                </c:pt>
                <c:pt idx="1957">
                  <c:v>4.9956321455964723</c:v>
                </c:pt>
                <c:pt idx="1958">
                  <c:v>4.9840443894065025</c:v>
                </c:pt>
                <c:pt idx="1959">
                  <c:v>5.2522148569799452</c:v>
                </c:pt>
                <c:pt idx="1960">
                  <c:v>4.8369168260689239</c:v>
                </c:pt>
                <c:pt idx="1961">
                  <c:v>4.7823192996551374</c:v>
                </c:pt>
                <c:pt idx="1962">
                  <c:v>4.5062246047199821</c:v>
                </c:pt>
                <c:pt idx="1963">
                  <c:v>4.0959991208023832</c:v>
                </c:pt>
                <c:pt idx="1964">
                  <c:v>4.2125186602347515</c:v>
                </c:pt>
                <c:pt idx="1965">
                  <c:v>4.099316092479107</c:v>
                </c:pt>
                <c:pt idx="1966">
                  <c:v>4.5593098435991459</c:v>
                </c:pt>
                <c:pt idx="1967">
                  <c:v>4.9604788414404233</c:v>
                </c:pt>
                <c:pt idx="1968">
                  <c:v>4.9533831051520449</c:v>
                </c:pt>
                <c:pt idx="1969">
                  <c:v>4.8178534660475663</c:v>
                </c:pt>
                <c:pt idx="1970">
                  <c:v>4.7213477616826633</c:v>
                </c:pt>
                <c:pt idx="1971">
                  <c:v>4.7324339202999504</c:v>
                </c:pt>
                <c:pt idx="1972">
                  <c:v>4.6519629119938672</c:v>
                </c:pt>
                <c:pt idx="1973">
                  <c:v>4.5780115521712492</c:v>
                </c:pt>
                <c:pt idx="1974">
                  <c:v>4.8504592782282447</c:v>
                </c:pt>
                <c:pt idx="1975">
                  <c:v>4.7348836967477741</c:v>
                </c:pt>
                <c:pt idx="1976">
                  <c:v>4.7399078643114221</c:v>
                </c:pt>
                <c:pt idx="1977">
                  <c:v>4.730669991092598</c:v>
                </c:pt>
                <c:pt idx="1978">
                  <c:v>4.7284517246599673</c:v>
                </c:pt>
                <c:pt idx="1979">
                  <c:v>4.7346932706183988</c:v>
                </c:pt>
                <c:pt idx="1980">
                  <c:v>4.7316956773694825</c:v>
                </c:pt>
                <c:pt idx="1981">
                  <c:v>4.7192523482262709</c:v>
                </c:pt>
                <c:pt idx="1982">
                  <c:v>4.6846120027337372</c:v>
                </c:pt>
                <c:pt idx="1983">
                  <c:v>4.7534230335613765</c:v>
                </c:pt>
                <c:pt idx="1984">
                  <c:v>4.7323883848938761</c:v>
                </c:pt>
                <c:pt idx="1985">
                  <c:v>4.7189863375897501</c:v>
                </c:pt>
                <c:pt idx="1986">
                  <c:v>4.7268961176040571</c:v>
                </c:pt>
                <c:pt idx="1987">
                  <c:v>4.7181254900307747</c:v>
                </c:pt>
                <c:pt idx="1988">
                  <c:v>4.7004986528756332</c:v>
                </c:pt>
                <c:pt idx="1989">
                  <c:v>4.6966917299619002</c:v>
                </c:pt>
                <c:pt idx="1990">
                  <c:v>4.6583258721589527</c:v>
                </c:pt>
                <c:pt idx="1991">
                  <c:v>4.6695053564562015</c:v>
                </c:pt>
                <c:pt idx="1992">
                  <c:v>4.8004589779004441</c:v>
                </c:pt>
                <c:pt idx="1993">
                  <c:v>4.9444168990066943</c:v>
                </c:pt>
                <c:pt idx="1994">
                  <c:v>4.9325221104510097</c:v>
                </c:pt>
                <c:pt idx="1995">
                  <c:v>4.8883929860636561</c:v>
                </c:pt>
                <c:pt idx="1996">
                  <c:v>4.895999140322286</c:v>
                </c:pt>
                <c:pt idx="1997">
                  <c:v>4.886257290734461</c:v>
                </c:pt>
                <c:pt idx="1998">
                  <c:v>4.8724879181345795</c:v>
                </c:pt>
                <c:pt idx="1999">
                  <c:v>4.8929668768485834</c:v>
                </c:pt>
                <c:pt idx="2000">
                  <c:v>4.8527658211910172</c:v>
                </c:pt>
                <c:pt idx="2001">
                  <c:v>4.8470775065493878</c:v>
                </c:pt>
                <c:pt idx="2002">
                  <c:v>4.8057572013298842</c:v>
                </c:pt>
                <c:pt idx="2003">
                  <c:v>4.7470182796110709</c:v>
                </c:pt>
                <c:pt idx="2004">
                  <c:v>4.7698593210425519</c:v>
                </c:pt>
                <c:pt idx="2005">
                  <c:v>4.7198295678378805</c:v>
                </c:pt>
                <c:pt idx="2006">
                  <c:v>4.8503809970440255</c:v>
                </c:pt>
                <c:pt idx="2007">
                  <c:v>5.062394696812941</c:v>
                </c:pt>
                <c:pt idx="2008">
                  <c:v>4.9554380692169442</c:v>
                </c:pt>
                <c:pt idx="2009">
                  <c:v>5.0661552814429269</c:v>
                </c:pt>
                <c:pt idx="2010">
                  <c:v>5.0605134411498032</c:v>
                </c:pt>
                <c:pt idx="2011">
                  <c:v>5.1663045129505889</c:v>
                </c:pt>
                <c:pt idx="2012">
                  <c:v>5.1440787391617926</c:v>
                </c:pt>
                <c:pt idx="2013">
                  <c:v>5.2058651022563209</c:v>
                </c:pt>
                <c:pt idx="2014">
                  <c:v>5.3797751193612315</c:v>
                </c:pt>
                <c:pt idx="2015">
                  <c:v>5.4808852218993129</c:v>
                </c:pt>
                <c:pt idx="2016">
                  <c:v>5.4806056997034318</c:v>
                </c:pt>
                <c:pt idx="2017">
                  <c:v>5.4495294348407493</c:v>
                </c:pt>
                <c:pt idx="2018">
                  <c:v>5.4879191331008625</c:v>
                </c:pt>
                <c:pt idx="2019">
                  <c:v>5.5194912518214405</c:v>
                </c:pt>
                <c:pt idx="2020">
                  <c:v>5.5403880923172935</c:v>
                </c:pt>
                <c:pt idx="2021">
                  <c:v>5.4498382068720037</c:v>
                </c:pt>
                <c:pt idx="2022">
                  <c:v>5.4199879366304469</c:v>
                </c:pt>
                <c:pt idx="2023">
                  <c:v>5.4150918916241935</c:v>
                </c:pt>
                <c:pt idx="2024">
                  <c:v>5.3820357820625828</c:v>
                </c:pt>
                <c:pt idx="2025">
                  <c:v>5.3801875927707927</c:v>
                </c:pt>
                <c:pt idx="2026">
                  <c:v>5.3014768154703917</c:v>
                </c:pt>
                <c:pt idx="2027">
                  <c:v>5.3327604258801413</c:v>
                </c:pt>
                <c:pt idx="2028">
                  <c:v>5.2015870518898817</c:v>
                </c:pt>
                <c:pt idx="2029">
                  <c:v>5.2119924624587792</c:v>
                </c:pt>
                <c:pt idx="2030">
                  <c:v>5.0646589811738103</c:v>
                </c:pt>
                <c:pt idx="2031">
                  <c:v>4.866099507485135</c:v>
                </c:pt>
                <c:pt idx="2032">
                  <c:v>4.8656804545418222</c:v>
                </c:pt>
                <c:pt idx="2033">
                  <c:v>4.7755689062843061</c:v>
                </c:pt>
                <c:pt idx="2034">
                  <c:v>4.9375648246708934</c:v>
                </c:pt>
                <c:pt idx="2035">
                  <c:v>4.8543624265126804</c:v>
                </c:pt>
                <c:pt idx="2036">
                  <c:v>4.7547666293555677</c:v>
                </c:pt>
                <c:pt idx="2037">
                  <c:v>4.7711240740011647</c:v>
                </c:pt>
                <c:pt idx="2038">
                  <c:v>4.6716790660876519</c:v>
                </c:pt>
                <c:pt idx="2039">
                  <c:v>4.6549112798784851</c:v>
                </c:pt>
                <c:pt idx="2040">
                  <c:v>4.60516487918688</c:v>
                </c:pt>
                <c:pt idx="2041">
                  <c:v>4.4559789799585507</c:v>
                </c:pt>
                <c:pt idx="2042">
                  <c:v>4.4556616337377211</c:v>
                </c:pt>
                <c:pt idx="2043">
                  <c:v>4.4059738106201971</c:v>
                </c:pt>
                <c:pt idx="2044">
                  <c:v>4.4058657164281847</c:v>
                </c:pt>
                <c:pt idx="2045">
                  <c:v>4.3727298796595875</c:v>
                </c:pt>
                <c:pt idx="2046">
                  <c:v>4.4057933658482362</c:v>
                </c:pt>
                <c:pt idx="2047">
                  <c:v>4.3725846231669037</c:v>
                </c:pt>
                <c:pt idx="2048">
                  <c:v>4.1903226782320999</c:v>
                </c:pt>
                <c:pt idx="2049">
                  <c:v>3.9746351033510918</c:v>
                </c:pt>
                <c:pt idx="2050">
                  <c:v>4.0404134440040584</c:v>
                </c:pt>
                <c:pt idx="2051">
                  <c:v>3.9905915608487184</c:v>
                </c:pt>
                <c:pt idx="2052">
                  <c:v>4.1395165546083872</c:v>
                </c:pt>
                <c:pt idx="2053">
                  <c:v>4.3709841610987548</c:v>
                </c:pt>
                <c:pt idx="2054">
                  <c:v>4.2692114842468003</c:v>
                </c:pt>
                <c:pt idx="2055">
                  <c:v>4.2512988324110736</c:v>
                </c:pt>
                <c:pt idx="2056">
                  <c:v>4.2990481189951781</c:v>
                </c:pt>
                <c:pt idx="2057">
                  <c:v>4.4405984416445055</c:v>
                </c:pt>
                <c:pt idx="2058">
                  <c:v>4.4393252031699761</c:v>
                </c:pt>
                <c:pt idx="2059">
                  <c:v>4.4658920922367651</c:v>
                </c:pt>
                <c:pt idx="2060">
                  <c:v>4.3619457528089445</c:v>
                </c:pt>
                <c:pt idx="2061">
                  <c:v>4.5199265946714382</c:v>
                </c:pt>
                <c:pt idx="2062">
                  <c:v>4.3641900596473606</c:v>
                </c:pt>
                <c:pt idx="2063">
                  <c:v>4.370508408880645</c:v>
                </c:pt>
                <c:pt idx="2064">
                  <c:v>4.3300364561452982</c:v>
                </c:pt>
                <c:pt idx="2065">
                  <c:v>4.2837058795088971</c:v>
                </c:pt>
                <c:pt idx="2066">
                  <c:v>4.2111400990553038</c:v>
                </c:pt>
                <c:pt idx="2067">
                  <c:v>4.1707433164915964</c:v>
                </c:pt>
                <c:pt idx="2068">
                  <c:v>4.115964562029383</c:v>
                </c:pt>
                <c:pt idx="2069">
                  <c:v>4.2379290033478378</c:v>
                </c:pt>
                <c:pt idx="2070">
                  <c:v>4.3248626165000523</c:v>
                </c:pt>
                <c:pt idx="2071">
                  <c:v>4.2861172589021361</c:v>
                </c:pt>
                <c:pt idx="2072">
                  <c:v>4.2757730195141104</c:v>
                </c:pt>
                <c:pt idx="2073">
                  <c:v>4.2666613418603738</c:v>
                </c:pt>
                <c:pt idx="2074">
                  <c:v>4.4012897636824242</c:v>
                </c:pt>
                <c:pt idx="2075">
                  <c:v>4.3146478887364585</c:v>
                </c:pt>
                <c:pt idx="2076">
                  <c:v>4.3281975578697036</c:v>
                </c:pt>
                <c:pt idx="2077">
                  <c:v>4.0666446791256998</c:v>
                </c:pt>
                <c:pt idx="2078">
                  <c:v>4.0526786723701038</c:v>
                </c:pt>
                <c:pt idx="2079">
                  <c:v>3.9188075641249025</c:v>
                </c:pt>
                <c:pt idx="2080">
                  <c:v>3.9224606963069539</c:v>
                </c:pt>
                <c:pt idx="2081">
                  <c:v>3.9088066432811552</c:v>
                </c:pt>
                <c:pt idx="2082">
                  <c:v>3.9074206453607907</c:v>
                </c:pt>
                <c:pt idx="2083">
                  <c:v>3.9172551690421424</c:v>
                </c:pt>
                <c:pt idx="2084">
                  <c:v>3.9230598733832736</c:v>
                </c:pt>
                <c:pt idx="2085">
                  <c:v>3.898849566153709</c:v>
                </c:pt>
                <c:pt idx="2086">
                  <c:v>3.8869009636801786</c:v>
                </c:pt>
                <c:pt idx="2087">
                  <c:v>3.6970643991088585</c:v>
                </c:pt>
                <c:pt idx="2088">
                  <c:v>3.6062100433559503</c:v>
                </c:pt>
                <c:pt idx="2089">
                  <c:v>3.8491201048890629</c:v>
                </c:pt>
                <c:pt idx="2090">
                  <c:v>3.5395752839790511</c:v>
                </c:pt>
                <c:pt idx="2091">
                  <c:v>3.528315610189698</c:v>
                </c:pt>
                <c:pt idx="2092">
                  <c:v>3.4295372968642726</c:v>
                </c:pt>
                <c:pt idx="2093">
                  <c:v>3.5632178774251972</c:v>
                </c:pt>
                <c:pt idx="2094">
                  <c:v>3.8301446106025772</c:v>
                </c:pt>
                <c:pt idx="2095">
                  <c:v>3.8525554467087013</c:v>
                </c:pt>
                <c:pt idx="2096">
                  <c:v>3.7558929345935135</c:v>
                </c:pt>
                <c:pt idx="2097">
                  <c:v>3.6715755805278478</c:v>
                </c:pt>
                <c:pt idx="2098">
                  <c:v>3.6673300558262656</c:v>
                </c:pt>
                <c:pt idx="2099">
                  <c:v>3.5354149597882976</c:v>
                </c:pt>
                <c:pt idx="2100">
                  <c:v>3.5615246609922213</c:v>
                </c:pt>
                <c:pt idx="2101">
                  <c:v>3.5614661753857892</c:v>
                </c:pt>
                <c:pt idx="2102">
                  <c:v>3.5350792062102245</c:v>
                </c:pt>
                <c:pt idx="2103">
                  <c:v>3.56128710751483</c:v>
                </c:pt>
                <c:pt idx="2104">
                  <c:v>3.5288772121309617</c:v>
                </c:pt>
                <c:pt idx="2105">
                  <c:v>3.5384084181439754</c:v>
                </c:pt>
                <c:pt idx="2106">
                  <c:v>3.5480782592155715</c:v>
                </c:pt>
                <c:pt idx="2107">
                  <c:v>3.5480908913674973</c:v>
                </c:pt>
                <c:pt idx="2108">
                  <c:v>3.5466529767681281</c:v>
                </c:pt>
                <c:pt idx="2109">
                  <c:v>3.5471616683333096</c:v>
                </c:pt>
                <c:pt idx="2110">
                  <c:v>3.5675971720059918</c:v>
                </c:pt>
                <c:pt idx="2111">
                  <c:v>3.5633165188842435</c:v>
                </c:pt>
                <c:pt idx="2112">
                  <c:v>3.553685321891769</c:v>
                </c:pt>
                <c:pt idx="2113">
                  <c:v>3.5526244946073042</c:v>
                </c:pt>
                <c:pt idx="2114">
                  <c:v>3.6289303606856897</c:v>
                </c:pt>
                <c:pt idx="2115">
                  <c:v>3.6137803169347498</c:v>
                </c:pt>
                <c:pt idx="2116">
                  <c:v>3.6363604753981615</c:v>
                </c:pt>
                <c:pt idx="2117">
                  <c:v>3.6086700240821483</c:v>
                </c:pt>
                <c:pt idx="2118">
                  <c:v>3.6216693867569991</c:v>
                </c:pt>
                <c:pt idx="2119">
                  <c:v>3.802902781631821</c:v>
                </c:pt>
                <c:pt idx="2120">
                  <c:v>3.8420705907190964</c:v>
                </c:pt>
                <c:pt idx="2121">
                  <c:v>3.7866174789208458</c:v>
                </c:pt>
                <c:pt idx="2122">
                  <c:v>3.8114466933484472</c:v>
                </c:pt>
                <c:pt idx="2123">
                  <c:v>4.0133964201097889</c:v>
                </c:pt>
                <c:pt idx="2124">
                  <c:v>4.1476111543772411</c:v>
                </c:pt>
                <c:pt idx="2125">
                  <c:v>4.3310567170274936</c:v>
                </c:pt>
                <c:pt idx="2126">
                  <c:v>3.9906070772019708</c:v>
                </c:pt>
                <c:pt idx="2127">
                  <c:v>3.9887182919996644</c:v>
                </c:pt>
                <c:pt idx="2128">
                  <c:v>3.7466028947378005</c:v>
                </c:pt>
                <c:pt idx="2129">
                  <c:v>3.7350671709473491</c:v>
                </c:pt>
                <c:pt idx="2130">
                  <c:v>3.5964090333639787</c:v>
                </c:pt>
                <c:pt idx="2131">
                  <c:v>3.6705939964128413</c:v>
                </c:pt>
                <c:pt idx="2132">
                  <c:v>3.9698424915281665</c:v>
                </c:pt>
                <c:pt idx="2133">
                  <c:v>3.8254930632127597</c:v>
                </c:pt>
                <c:pt idx="2134">
                  <c:v>3.9791048936315332</c:v>
                </c:pt>
                <c:pt idx="2135">
                  <c:v>3.9539882662122121</c:v>
                </c:pt>
                <c:pt idx="2136">
                  <c:v>3.508806378732539</c:v>
                </c:pt>
                <c:pt idx="2137">
                  <c:v>3.7467310237666873</c:v>
                </c:pt>
                <c:pt idx="2138">
                  <c:v>3.4859281197304459</c:v>
                </c:pt>
                <c:pt idx="2139">
                  <c:v>3.7653737309976543</c:v>
                </c:pt>
                <c:pt idx="2140">
                  <c:v>3.2151997668106729</c:v>
                </c:pt>
                <c:pt idx="2141">
                  <c:v>3.3822735146356777</c:v>
                </c:pt>
                <c:pt idx="2142">
                  <c:v>3.5568900454841428</c:v>
                </c:pt>
                <c:pt idx="2143">
                  <c:v>3.7397454477539425</c:v>
                </c:pt>
                <c:pt idx="2144">
                  <c:v>3.8223890056942427</c:v>
                </c:pt>
                <c:pt idx="2145">
                  <c:v>3.8380322645981186</c:v>
                </c:pt>
                <c:pt idx="2146">
                  <c:v>3.7779800564346293</c:v>
                </c:pt>
                <c:pt idx="2147">
                  <c:v>3.7619140796908179</c:v>
                </c:pt>
                <c:pt idx="2148">
                  <c:v>3.7604001766975568</c:v>
                </c:pt>
                <c:pt idx="2149">
                  <c:v>3.6457750276959517</c:v>
                </c:pt>
                <c:pt idx="2150">
                  <c:v>3.692814749026113</c:v>
                </c:pt>
                <c:pt idx="2151">
                  <c:v>3.6744342920671214</c:v>
                </c:pt>
                <c:pt idx="2152">
                  <c:v>3.6509779973142726</c:v>
                </c:pt>
                <c:pt idx="2153">
                  <c:v>3.658009881686366</c:v>
                </c:pt>
                <c:pt idx="2154">
                  <c:v>3.65292529245969</c:v>
                </c:pt>
                <c:pt idx="2155">
                  <c:v>3.6344822444618199</c:v>
                </c:pt>
                <c:pt idx="2156">
                  <c:v>3.6204917363907221</c:v>
                </c:pt>
                <c:pt idx="2157">
                  <c:v>3.6139876775301323</c:v>
                </c:pt>
                <c:pt idx="2158">
                  <c:v>3.5503877691986694</c:v>
                </c:pt>
                <c:pt idx="2159">
                  <c:v>3.5590750289108315</c:v>
                </c:pt>
                <c:pt idx="2160">
                  <c:v>3.6098581438674797</c:v>
                </c:pt>
                <c:pt idx="2161">
                  <c:v>3.658018487810037</c:v>
                </c:pt>
                <c:pt idx="2162">
                  <c:v>3.6094153942280629</c:v>
                </c:pt>
                <c:pt idx="2163">
                  <c:v>3.6097037553737676</c:v>
                </c:pt>
                <c:pt idx="2164">
                  <c:v>3.6027955086354329</c:v>
                </c:pt>
                <c:pt idx="2165">
                  <c:v>3.6173888169632162</c:v>
                </c:pt>
                <c:pt idx="2166">
                  <c:v>3.5948093113010064</c:v>
                </c:pt>
                <c:pt idx="2167">
                  <c:v>3.5992695236843675</c:v>
                </c:pt>
                <c:pt idx="2168">
                  <c:v>3.5596460804241468</c:v>
                </c:pt>
                <c:pt idx="2169">
                  <c:v>3.5425252115511943</c:v>
                </c:pt>
                <c:pt idx="2170">
                  <c:v>3.4782235966937103</c:v>
                </c:pt>
                <c:pt idx="2171">
                  <c:v>3.6373131839129438</c:v>
                </c:pt>
                <c:pt idx="2172">
                  <c:v>3.820644180617665</c:v>
                </c:pt>
                <c:pt idx="2173">
                  <c:v>3.7158173803863064</c:v>
                </c:pt>
                <c:pt idx="2174">
                  <c:v>3.705417933291224</c:v>
                </c:pt>
                <c:pt idx="2175">
                  <c:v>3.6146390740476586</c:v>
                </c:pt>
                <c:pt idx="2176">
                  <c:v>3.540889449767183</c:v>
                </c:pt>
                <c:pt idx="2177">
                  <c:v>3.8255868565434565</c:v>
                </c:pt>
                <c:pt idx="2178">
                  <c:v>3.8769454591788399</c:v>
                </c:pt>
                <c:pt idx="2179">
                  <c:v>3.64811606024525</c:v>
                </c:pt>
                <c:pt idx="2180">
                  <c:v>3.4319121503020611</c:v>
                </c:pt>
                <c:pt idx="2181">
                  <c:v>3.3395076939206598</c:v>
                </c:pt>
                <c:pt idx="2182">
                  <c:v>3.4090727308928153</c:v>
                </c:pt>
                <c:pt idx="2183">
                  <c:v>3.1634562768825609</c:v>
                </c:pt>
                <c:pt idx="2184">
                  <c:v>3.5485571919293819</c:v>
                </c:pt>
                <c:pt idx="2185">
                  <c:v>3.6380725673734671</c:v>
                </c:pt>
                <c:pt idx="2186">
                  <c:v>3.6884560942937274</c:v>
                </c:pt>
                <c:pt idx="2187">
                  <c:v>3.6888451495345973</c:v>
                </c:pt>
                <c:pt idx="2188">
                  <c:v>3.6557528353195159</c:v>
                </c:pt>
                <c:pt idx="2189">
                  <c:v>3.6819050470155203</c:v>
                </c:pt>
                <c:pt idx="2190">
                  <c:v>3.6224168713866054</c:v>
                </c:pt>
                <c:pt idx="2191">
                  <c:v>3.6495790245658659</c:v>
                </c:pt>
                <c:pt idx="2192">
                  <c:v>3.6922339039787673</c:v>
                </c:pt>
                <c:pt idx="2193">
                  <c:v>3.8166117594806419</c:v>
                </c:pt>
                <c:pt idx="2194">
                  <c:v>3.808581362703757</c:v>
                </c:pt>
                <c:pt idx="2195">
                  <c:v>3.6624530170549741</c:v>
                </c:pt>
                <c:pt idx="2196">
                  <c:v>3.5997486234755565</c:v>
                </c:pt>
                <c:pt idx="2197">
                  <c:v>3.7379318178715577</c:v>
                </c:pt>
                <c:pt idx="2198">
                  <c:v>3.9387572790162468</c:v>
                </c:pt>
                <c:pt idx="2199">
                  <c:v>3.8304267968564769</c:v>
                </c:pt>
                <c:pt idx="2200">
                  <c:v>3.8178234033670577</c:v>
                </c:pt>
                <c:pt idx="2201">
                  <c:v>3.7732303424800424</c:v>
                </c:pt>
                <c:pt idx="2202">
                  <c:v>3.7226582989953183</c:v>
                </c:pt>
                <c:pt idx="2203">
                  <c:v>3.6071328799884572</c:v>
                </c:pt>
                <c:pt idx="2204">
                  <c:v>3.7041786512698813</c:v>
                </c:pt>
                <c:pt idx="2205">
                  <c:v>3.7017590941625991</c:v>
                </c:pt>
                <c:pt idx="2206">
                  <c:v>3.8458679173699952</c:v>
                </c:pt>
                <c:pt idx="2207">
                  <c:v>3.9576561083822215</c:v>
                </c:pt>
                <c:pt idx="2208">
                  <c:v>3.977372286844588</c:v>
                </c:pt>
                <c:pt idx="2209">
                  <c:v>3.7712058066340819</c:v>
                </c:pt>
                <c:pt idx="2210">
                  <c:v>3.8506410190968365</c:v>
                </c:pt>
                <c:pt idx="2211">
                  <c:v>4.4072684126341999</c:v>
                </c:pt>
                <c:pt idx="2212">
                  <c:v>4.1997309618306549</c:v>
                </c:pt>
                <c:pt idx="2213">
                  <c:v>3.978318814854195</c:v>
                </c:pt>
                <c:pt idx="2214">
                  <c:v>3.974713779316069</c:v>
                </c:pt>
                <c:pt idx="2215">
                  <c:v>4.1149517503601158</c:v>
                </c:pt>
                <c:pt idx="2216">
                  <c:v>4.050929219854722</c:v>
                </c:pt>
                <c:pt idx="2217">
                  <c:v>4.043400847152375</c:v>
                </c:pt>
                <c:pt idx="2218">
                  <c:v>4.0126963960548876</c:v>
                </c:pt>
                <c:pt idx="2219">
                  <c:v>4.0231461561854474</c:v>
                </c:pt>
                <c:pt idx="2220">
                  <c:v>4.0211366520944418</c:v>
                </c:pt>
                <c:pt idx="2221">
                  <c:v>4.0227631557427337</c:v>
                </c:pt>
                <c:pt idx="2222">
                  <c:v>3.9001995424008009</c:v>
                </c:pt>
                <c:pt idx="2223">
                  <c:v>3.8707610237399224</c:v>
                </c:pt>
                <c:pt idx="2224">
                  <c:v>3.8837782268803891</c:v>
                </c:pt>
                <c:pt idx="2225">
                  <c:v>3.8199504781212501</c:v>
                </c:pt>
                <c:pt idx="2226">
                  <c:v>3.7838833726701404</c:v>
                </c:pt>
                <c:pt idx="2227">
                  <c:v>3.6798589043211902</c:v>
                </c:pt>
                <c:pt idx="2228">
                  <c:v>3.6945158103741873</c:v>
                </c:pt>
                <c:pt idx="2229">
                  <c:v>3.527478403614229</c:v>
                </c:pt>
                <c:pt idx="2230">
                  <c:v>3.5694402951519209</c:v>
                </c:pt>
                <c:pt idx="2231">
                  <c:v>3.4933560796933181</c:v>
                </c:pt>
                <c:pt idx="2232">
                  <c:v>3.4666245219334098</c:v>
                </c:pt>
                <c:pt idx="2233">
                  <c:v>3.3767131474238554</c:v>
                </c:pt>
                <c:pt idx="2234">
                  <c:v>3.4615054061906214</c:v>
                </c:pt>
                <c:pt idx="2235">
                  <c:v>3.4496806838464127</c:v>
                </c:pt>
                <c:pt idx="2236">
                  <c:v>3.3857843703181896</c:v>
                </c:pt>
                <c:pt idx="2237">
                  <c:v>3.5072135601002952</c:v>
                </c:pt>
                <c:pt idx="2238">
                  <c:v>3.4296021071443534</c:v>
                </c:pt>
                <c:pt idx="2239">
                  <c:v>3.3489698589267682</c:v>
                </c:pt>
                <c:pt idx="2240">
                  <c:v>3.348580234054964</c:v>
                </c:pt>
                <c:pt idx="2241">
                  <c:v>3.6033619957622145</c:v>
                </c:pt>
                <c:pt idx="2242">
                  <c:v>3.477902785011056</c:v>
                </c:pt>
                <c:pt idx="2243">
                  <c:v>3.4606243328817934</c:v>
                </c:pt>
                <c:pt idx="2244">
                  <c:v>3.4649195565050919</c:v>
                </c:pt>
                <c:pt idx="2245">
                  <c:v>3.4473031779731906</c:v>
                </c:pt>
                <c:pt idx="2246">
                  <c:v>3.4463080725354258</c:v>
                </c:pt>
                <c:pt idx="2247">
                  <c:v>3.3685130894771476</c:v>
                </c:pt>
                <c:pt idx="2248">
                  <c:v>3.3481038317003753</c:v>
                </c:pt>
                <c:pt idx="2249">
                  <c:v>3.3062261722991937</c:v>
                </c:pt>
                <c:pt idx="2250">
                  <c:v>3.4519170625990547</c:v>
                </c:pt>
                <c:pt idx="2251">
                  <c:v>3.4307546063236076</c:v>
                </c:pt>
                <c:pt idx="2252">
                  <c:v>3.4138486672328487</c:v>
                </c:pt>
                <c:pt idx="2253">
                  <c:v>3.3907787536157916</c:v>
                </c:pt>
                <c:pt idx="2254">
                  <c:v>3.4272770709606863</c:v>
                </c:pt>
                <c:pt idx="2255">
                  <c:v>3.3880918166682075</c:v>
                </c:pt>
                <c:pt idx="2256">
                  <c:v>3.3854567194379777</c:v>
                </c:pt>
                <c:pt idx="2257">
                  <c:v>3.368223533411729</c:v>
                </c:pt>
                <c:pt idx="2258">
                  <c:v>3.3654121522517313</c:v>
                </c:pt>
                <c:pt idx="2259">
                  <c:v>3.2631589581045342</c:v>
                </c:pt>
                <c:pt idx="2260">
                  <c:v>3.1094840314699566</c:v>
                </c:pt>
                <c:pt idx="2261">
                  <c:v>2.9650675881637278</c:v>
                </c:pt>
                <c:pt idx="2262">
                  <c:v>3.0897203552232062</c:v>
                </c:pt>
                <c:pt idx="2263">
                  <c:v>3.0029344163395173</c:v>
                </c:pt>
                <c:pt idx="2264">
                  <c:v>2.9450997104558696</c:v>
                </c:pt>
                <c:pt idx="2265">
                  <c:v>2.9065390345790822</c:v>
                </c:pt>
                <c:pt idx="2266">
                  <c:v>3.0121467029790727</c:v>
                </c:pt>
                <c:pt idx="2267">
                  <c:v>2.9158300864005469</c:v>
                </c:pt>
                <c:pt idx="2268">
                  <c:v>2.9068970173527418</c:v>
                </c:pt>
                <c:pt idx="2269">
                  <c:v>2.8674913396330988</c:v>
                </c:pt>
                <c:pt idx="2270">
                  <c:v>2.8289814904460635</c:v>
                </c:pt>
                <c:pt idx="2271">
                  <c:v>2.8096771405035357</c:v>
                </c:pt>
                <c:pt idx="2272">
                  <c:v>2.9057038301040969</c:v>
                </c:pt>
                <c:pt idx="2273">
                  <c:v>2.7806044064713515</c:v>
                </c:pt>
                <c:pt idx="2274">
                  <c:v>2.7787244511996083</c:v>
                </c:pt>
                <c:pt idx="2275">
                  <c:v>2.8557731428865432</c:v>
                </c:pt>
                <c:pt idx="2276">
                  <c:v>2.8738126640203951</c:v>
                </c:pt>
                <c:pt idx="2277">
                  <c:v>2.8693878009253688</c:v>
                </c:pt>
                <c:pt idx="2278">
                  <c:v>2.9552434221801724</c:v>
                </c:pt>
                <c:pt idx="2279">
                  <c:v>3.0027394681963107</c:v>
                </c:pt>
                <c:pt idx="2280">
                  <c:v>3.0182787322331852</c:v>
                </c:pt>
                <c:pt idx="2281">
                  <c:v>3.2076156685393573</c:v>
                </c:pt>
                <c:pt idx="2282">
                  <c:v>3.1326395710260693</c:v>
                </c:pt>
                <c:pt idx="2283">
                  <c:v>3.0735300845490068</c:v>
                </c:pt>
                <c:pt idx="2284">
                  <c:v>3.0659447519645764</c:v>
                </c:pt>
                <c:pt idx="2285">
                  <c:v>3.0037012876662197</c:v>
                </c:pt>
                <c:pt idx="2286">
                  <c:v>2.9931624802105188</c:v>
                </c:pt>
                <c:pt idx="2287">
                  <c:v>2.8855683921883561</c:v>
                </c:pt>
                <c:pt idx="2288">
                  <c:v>2.8660844272057378</c:v>
                </c:pt>
                <c:pt idx="2289">
                  <c:v>2.866042343393806</c:v>
                </c:pt>
                <c:pt idx="2290">
                  <c:v>2.7600613107889691</c:v>
                </c:pt>
                <c:pt idx="2291">
                  <c:v>2.7791129250094362</c:v>
                </c:pt>
                <c:pt idx="2292">
                  <c:v>2.8753865020046598</c:v>
                </c:pt>
                <c:pt idx="2293">
                  <c:v>2.7981078296242052</c:v>
                </c:pt>
                <c:pt idx="2294">
                  <c:v>2.7908669737255831</c:v>
                </c:pt>
                <c:pt idx="2295">
                  <c:v>2.8076653162752718</c:v>
                </c:pt>
                <c:pt idx="2296">
                  <c:v>2.8018941215786231</c:v>
                </c:pt>
                <c:pt idx="2297">
                  <c:v>2.8103405143278724</c:v>
                </c:pt>
                <c:pt idx="2298">
                  <c:v>2.7955482845416872</c:v>
                </c:pt>
                <c:pt idx="2299">
                  <c:v>2.7447178382064576</c:v>
                </c:pt>
                <c:pt idx="2300">
                  <c:v>2.7192081984559788</c:v>
                </c:pt>
                <c:pt idx="2301">
                  <c:v>2.6499858355937365</c:v>
                </c:pt>
                <c:pt idx="2302">
                  <c:v>2.6566117151333271</c:v>
                </c:pt>
                <c:pt idx="2303">
                  <c:v>2.8218194929860871</c:v>
                </c:pt>
                <c:pt idx="2304">
                  <c:v>2.8367220733007246</c:v>
                </c:pt>
                <c:pt idx="2305">
                  <c:v>2.9704288083305292</c:v>
                </c:pt>
                <c:pt idx="2306">
                  <c:v>3.0956700880984855</c:v>
                </c:pt>
                <c:pt idx="2307">
                  <c:v>3.0504441476969499</c:v>
                </c:pt>
                <c:pt idx="2308">
                  <c:v>3.0458015652481878</c:v>
                </c:pt>
                <c:pt idx="2309">
                  <c:v>3.0344133410193828</c:v>
                </c:pt>
                <c:pt idx="2310">
                  <c:v>3.0444274482462124</c:v>
                </c:pt>
                <c:pt idx="2311">
                  <c:v>2.8771524914821391</c:v>
                </c:pt>
                <c:pt idx="2312">
                  <c:v>2.8596511018213584</c:v>
                </c:pt>
                <c:pt idx="2313">
                  <c:v>2.9558315699026201</c:v>
                </c:pt>
                <c:pt idx="2314">
                  <c:v>2.9657231334907022</c:v>
                </c:pt>
                <c:pt idx="2315">
                  <c:v>2.9498081713156328</c:v>
                </c:pt>
                <c:pt idx="2316">
                  <c:v>3.3026760019935693</c:v>
                </c:pt>
                <c:pt idx="2317">
                  <c:v>3.295945693016284</c:v>
                </c:pt>
                <c:pt idx="2318">
                  <c:v>3.5504244521479538</c:v>
                </c:pt>
                <c:pt idx="2319">
                  <c:v>3.3268529534508833</c:v>
                </c:pt>
                <c:pt idx="2320">
                  <c:v>3.3028749938869164</c:v>
                </c:pt>
                <c:pt idx="2321">
                  <c:v>3.4159102301043278</c:v>
                </c:pt>
                <c:pt idx="2322">
                  <c:v>3.0995163935759695</c:v>
                </c:pt>
                <c:pt idx="2323">
                  <c:v>3.0806301036398862</c:v>
                </c:pt>
                <c:pt idx="2324">
                  <c:v>3.3283552888141434</c:v>
                </c:pt>
                <c:pt idx="2325">
                  <c:v>3.6754318033897015</c:v>
                </c:pt>
                <c:pt idx="2326">
                  <c:v>3.6648344114995073</c:v>
                </c:pt>
                <c:pt idx="2327">
                  <c:v>3.6415512386145674</c:v>
                </c:pt>
                <c:pt idx="2328">
                  <c:v>3.4412317489535775</c:v>
                </c:pt>
                <c:pt idx="2329">
                  <c:v>3.4411843756138318</c:v>
                </c:pt>
                <c:pt idx="2330">
                  <c:v>3.3977533466163936</c:v>
                </c:pt>
                <c:pt idx="2331">
                  <c:v>3.3970789915425077</c:v>
                </c:pt>
                <c:pt idx="2332">
                  <c:v>3.3881385471664229</c:v>
                </c:pt>
                <c:pt idx="2333">
                  <c:v>3.4023574206351133</c:v>
                </c:pt>
                <c:pt idx="2334">
                  <c:v>3.4718868771667886</c:v>
                </c:pt>
                <c:pt idx="2335">
                  <c:v>3.525140653921802</c:v>
                </c:pt>
                <c:pt idx="2336">
                  <c:v>3.5326941656157644</c:v>
                </c:pt>
                <c:pt idx="2337">
                  <c:v>3.5521716623999229</c:v>
                </c:pt>
                <c:pt idx="2338">
                  <c:v>3.5454541589819564</c:v>
                </c:pt>
                <c:pt idx="2339">
                  <c:v>3.5469909153565591</c:v>
                </c:pt>
                <c:pt idx="2340">
                  <c:v>3.5410723082399334</c:v>
                </c:pt>
                <c:pt idx="2341">
                  <c:v>3.5525269488367148</c:v>
                </c:pt>
                <c:pt idx="2342">
                  <c:v>3.5415543099995039</c:v>
                </c:pt>
                <c:pt idx="2343">
                  <c:v>3.5544801422183103</c:v>
                </c:pt>
                <c:pt idx="2344">
                  <c:v>3.542374528572017</c:v>
                </c:pt>
                <c:pt idx="2345">
                  <c:v>3.5540429777044626</c:v>
                </c:pt>
                <c:pt idx="2346">
                  <c:v>3.5526902288234647</c:v>
                </c:pt>
                <c:pt idx="2347">
                  <c:v>3.5244081846432911</c:v>
                </c:pt>
                <c:pt idx="2348">
                  <c:v>3.53292478631881</c:v>
                </c:pt>
                <c:pt idx="2349">
                  <c:v>3.5248939798279606</c:v>
                </c:pt>
                <c:pt idx="2350">
                  <c:v>3.5253864469259151</c:v>
                </c:pt>
                <c:pt idx="2351">
                  <c:v>3.5182876701763348</c:v>
                </c:pt>
                <c:pt idx="2352">
                  <c:v>3.5164756907260935</c:v>
                </c:pt>
                <c:pt idx="2353">
                  <c:v>3.4525019348428674</c:v>
                </c:pt>
                <c:pt idx="2354">
                  <c:v>3.076850990622805</c:v>
                </c:pt>
                <c:pt idx="2355">
                  <c:v>2.2678311548421424</c:v>
                </c:pt>
                <c:pt idx="2356">
                  <c:v>2.2484754344475197</c:v>
                </c:pt>
                <c:pt idx="2357">
                  <c:v>2.3904953975840413</c:v>
                </c:pt>
                <c:pt idx="2358">
                  <c:v>2.3448130552876862</c:v>
                </c:pt>
                <c:pt idx="2359">
                  <c:v>2.3204636292081249</c:v>
                </c:pt>
                <c:pt idx="2360">
                  <c:v>2.1304142576894449</c:v>
                </c:pt>
                <c:pt idx="2361">
                  <c:v>1.8816169399181528</c:v>
                </c:pt>
                <c:pt idx="2362">
                  <c:v>2.1137345196053117</c:v>
                </c:pt>
                <c:pt idx="2363">
                  <c:v>2.1415440216180497</c:v>
                </c:pt>
                <c:pt idx="2364">
                  <c:v>2.0818925372193444</c:v>
                </c:pt>
                <c:pt idx="2365">
                  <c:v>2.1054793527771367</c:v>
                </c:pt>
                <c:pt idx="2366">
                  <c:v>2.0762082287706516</c:v>
                </c:pt>
                <c:pt idx="2367">
                  <c:v>2.0620182085829235</c:v>
                </c:pt>
                <c:pt idx="2368">
                  <c:v>2.0616650174656774</c:v>
                </c:pt>
                <c:pt idx="2369">
                  <c:v>2.0603459648615394</c:v>
                </c:pt>
                <c:pt idx="2370">
                  <c:v>2.0046258329094719</c:v>
                </c:pt>
                <c:pt idx="2371">
                  <c:v>1.9691486550393726</c:v>
                </c:pt>
                <c:pt idx="2372">
                  <c:v>2.0409545795743123</c:v>
                </c:pt>
                <c:pt idx="2373">
                  <c:v>2.1020940078381298</c:v>
                </c:pt>
                <c:pt idx="2374">
                  <c:v>2.0471489698450154</c:v>
                </c:pt>
                <c:pt idx="2375">
                  <c:v>2.0741463038795636</c:v>
                </c:pt>
                <c:pt idx="2376">
                  <c:v>2.0544453543542947</c:v>
                </c:pt>
                <c:pt idx="2377">
                  <c:v>2.0513534980724581</c:v>
                </c:pt>
                <c:pt idx="2378">
                  <c:v>2.052504758681196</c:v>
                </c:pt>
                <c:pt idx="2379">
                  <c:v>2.028659841348075</c:v>
                </c:pt>
                <c:pt idx="2380">
                  <c:v>2.032292564186533</c:v>
                </c:pt>
                <c:pt idx="2381">
                  <c:v>2.0673931531227456</c:v>
                </c:pt>
                <c:pt idx="2382">
                  <c:v>2.0979973712286695</c:v>
                </c:pt>
                <c:pt idx="2383">
                  <c:v>2.1215561841405792</c:v>
                </c:pt>
                <c:pt idx="2384">
                  <c:v>2.1239927860846475</c:v>
                </c:pt>
                <c:pt idx="2385">
                  <c:v>2.1345887770140748</c:v>
                </c:pt>
                <c:pt idx="2386">
                  <c:v>2.0796612104030867</c:v>
                </c:pt>
                <c:pt idx="2387">
                  <c:v>2.019541482719502</c:v>
                </c:pt>
                <c:pt idx="2388">
                  <c:v>1.9968924633054015</c:v>
                </c:pt>
                <c:pt idx="2389">
                  <c:v>1.8365740398335071</c:v>
                </c:pt>
                <c:pt idx="2390">
                  <c:v>2.0064625184760003</c:v>
                </c:pt>
                <c:pt idx="2391">
                  <c:v>2.0115384929327047</c:v>
                </c:pt>
                <c:pt idx="2392">
                  <c:v>1.9122427333119232</c:v>
                </c:pt>
                <c:pt idx="2393">
                  <c:v>1.8922004527566023</c:v>
                </c:pt>
                <c:pt idx="2394">
                  <c:v>1.7871908532875773</c:v>
                </c:pt>
                <c:pt idx="2395">
                  <c:v>1.8910545863051416</c:v>
                </c:pt>
                <c:pt idx="2396">
                  <c:v>2.0240154879026364</c:v>
                </c:pt>
                <c:pt idx="2397">
                  <c:v>1.8741883333220575</c:v>
                </c:pt>
                <c:pt idx="2398">
                  <c:v>1.867639674007598</c:v>
                </c:pt>
                <c:pt idx="2399">
                  <c:v>1.8878130019233457</c:v>
                </c:pt>
                <c:pt idx="2400">
                  <c:v>1.8707273767452957</c:v>
                </c:pt>
                <c:pt idx="2401">
                  <c:v>1.8601539106296761</c:v>
                </c:pt>
                <c:pt idx="2402">
                  <c:v>1.8655694474179958</c:v>
                </c:pt>
                <c:pt idx="2403">
                  <c:v>1.8819250186518028</c:v>
                </c:pt>
                <c:pt idx="2404">
                  <c:v>1.8654879651139338</c:v>
                </c:pt>
                <c:pt idx="2405">
                  <c:v>1.8642352683776637</c:v>
                </c:pt>
                <c:pt idx="2406">
                  <c:v>1.8841096877433856</c:v>
                </c:pt>
                <c:pt idx="2407">
                  <c:v>1.8709903625040356</c:v>
                </c:pt>
                <c:pt idx="2408">
                  <c:v>1.8763104892065079</c:v>
                </c:pt>
                <c:pt idx="2409">
                  <c:v>1.8984922607955894</c:v>
                </c:pt>
                <c:pt idx="2410">
                  <c:v>1.8746557267985833</c:v>
                </c:pt>
                <c:pt idx="2411">
                  <c:v>1.8513017354572965</c:v>
                </c:pt>
                <c:pt idx="2412">
                  <c:v>1.8513448316201839</c:v>
                </c:pt>
                <c:pt idx="2413">
                  <c:v>1.813275639590759</c:v>
                </c:pt>
                <c:pt idx="2414">
                  <c:v>1.9731942402401428</c:v>
                </c:pt>
                <c:pt idx="2415">
                  <c:v>1.9005832365192661</c:v>
                </c:pt>
                <c:pt idx="2416">
                  <c:v>1.9296295465483138</c:v>
                </c:pt>
                <c:pt idx="2417">
                  <c:v>1.9047699324355669</c:v>
                </c:pt>
                <c:pt idx="2418">
                  <c:v>1.922351672423485</c:v>
                </c:pt>
                <c:pt idx="2419">
                  <c:v>1.9384580717536453</c:v>
                </c:pt>
                <c:pt idx="2420">
                  <c:v>1.9413028885760952</c:v>
                </c:pt>
                <c:pt idx="2421">
                  <c:v>1.9164856366345047</c:v>
                </c:pt>
                <c:pt idx="2422">
                  <c:v>1.92558820653926</c:v>
                </c:pt>
                <c:pt idx="2423">
                  <c:v>1.9116302321564269</c:v>
                </c:pt>
                <c:pt idx="2424">
                  <c:v>1.8817025659040085</c:v>
                </c:pt>
                <c:pt idx="2425">
                  <c:v>1.9020841071509638</c:v>
                </c:pt>
                <c:pt idx="2426">
                  <c:v>2.0100837844934545</c:v>
                </c:pt>
                <c:pt idx="2427">
                  <c:v>1.9641414812846847</c:v>
                </c:pt>
                <c:pt idx="2428">
                  <c:v>1.9440415201696994</c:v>
                </c:pt>
                <c:pt idx="2429">
                  <c:v>1.9845940081661579</c:v>
                </c:pt>
                <c:pt idx="2430">
                  <c:v>2.0039978042263842</c:v>
                </c:pt>
                <c:pt idx="2431">
                  <c:v>1.991403376738224</c:v>
                </c:pt>
                <c:pt idx="2432">
                  <c:v>1.7066651772266952</c:v>
                </c:pt>
                <c:pt idx="2433">
                  <c:v>1.7842659688798141</c:v>
                </c:pt>
                <c:pt idx="2434">
                  <c:v>1.9181908406950336</c:v>
                </c:pt>
                <c:pt idx="2435">
                  <c:v>1.9809955399583783</c:v>
                </c:pt>
                <c:pt idx="2436">
                  <c:v>1.9322701478218338</c:v>
                </c:pt>
                <c:pt idx="2437">
                  <c:v>1.9194746590146099</c:v>
                </c:pt>
                <c:pt idx="2438">
                  <c:v>1.968250088593549</c:v>
                </c:pt>
                <c:pt idx="2439">
                  <c:v>2.0144779854180839</c:v>
                </c:pt>
                <c:pt idx="2440">
                  <c:v>2.0126261014333098</c:v>
                </c:pt>
                <c:pt idx="2441">
                  <c:v>2.0229779514096435</c:v>
                </c:pt>
                <c:pt idx="2442">
                  <c:v>2.0101006069776752</c:v>
                </c:pt>
                <c:pt idx="2443">
                  <c:v>2.0013332902110679</c:v>
                </c:pt>
                <c:pt idx="2444">
                  <c:v>2.0234416982019021</c:v>
                </c:pt>
                <c:pt idx="2445">
                  <c:v>2.0280225138239554</c:v>
                </c:pt>
                <c:pt idx="2446">
                  <c:v>2.0288475280758673</c:v>
                </c:pt>
                <c:pt idx="2447">
                  <c:v>2.0294910735073564</c:v>
                </c:pt>
                <c:pt idx="2448">
                  <c:v>1.9982569438257196</c:v>
                </c:pt>
                <c:pt idx="2449">
                  <c:v>1.9076467367396637</c:v>
                </c:pt>
                <c:pt idx="2450">
                  <c:v>1.8391409627280817</c:v>
                </c:pt>
                <c:pt idx="2451">
                  <c:v>1.9596163698564788</c:v>
                </c:pt>
                <c:pt idx="2452">
                  <c:v>2.0759089950672256</c:v>
                </c:pt>
                <c:pt idx="2453">
                  <c:v>1.9193800137070298</c:v>
                </c:pt>
                <c:pt idx="2454">
                  <c:v>1.9544660086672614</c:v>
                </c:pt>
                <c:pt idx="2455">
                  <c:v>1.7568397646390324</c:v>
                </c:pt>
                <c:pt idx="2456">
                  <c:v>1.7648481585257039</c:v>
                </c:pt>
                <c:pt idx="2457">
                  <c:v>1.72309442075872</c:v>
                </c:pt>
                <c:pt idx="2458">
                  <c:v>1.7077743480321674</c:v>
                </c:pt>
                <c:pt idx="2459">
                  <c:v>1.8024483857065245</c:v>
                </c:pt>
                <c:pt idx="2460">
                  <c:v>1.7458892507568287</c:v>
                </c:pt>
                <c:pt idx="2461">
                  <c:v>1.7381002777040133</c:v>
                </c:pt>
                <c:pt idx="2462">
                  <c:v>1.7231451382667049</c:v>
                </c:pt>
                <c:pt idx="2463">
                  <c:v>1.7196722885373981</c:v>
                </c:pt>
                <c:pt idx="2464">
                  <c:v>1.72439089882115</c:v>
                </c:pt>
                <c:pt idx="2465">
                  <c:v>1.7232980200499597</c:v>
                </c:pt>
                <c:pt idx="2466">
                  <c:v>1.7807569010956659</c:v>
                </c:pt>
                <c:pt idx="2467">
                  <c:v>1.7679609693779095</c:v>
                </c:pt>
                <c:pt idx="2468">
                  <c:v>1.7668904055564156</c:v>
                </c:pt>
                <c:pt idx="2469">
                  <c:v>1.7718363490164273</c:v>
                </c:pt>
                <c:pt idx="2470">
                  <c:v>1.7672254206189444</c:v>
                </c:pt>
                <c:pt idx="2471">
                  <c:v>1.751523707181567</c:v>
                </c:pt>
                <c:pt idx="2472">
                  <c:v>1.7440578382504344</c:v>
                </c:pt>
                <c:pt idx="2473">
                  <c:v>1.649427457461466</c:v>
                </c:pt>
                <c:pt idx="2474">
                  <c:v>1.7064220945983875</c:v>
                </c:pt>
                <c:pt idx="2475">
                  <c:v>1.7937566935734202</c:v>
                </c:pt>
                <c:pt idx="2476">
                  <c:v>1.8432413498530769</c:v>
                </c:pt>
                <c:pt idx="2477">
                  <c:v>1.8430587237733125</c:v>
                </c:pt>
                <c:pt idx="2478">
                  <c:v>1.8315573834987773</c:v>
                </c:pt>
                <c:pt idx="2479">
                  <c:v>1.7819390127435015</c:v>
                </c:pt>
                <c:pt idx="2480">
                  <c:v>1.8237359473075243</c:v>
                </c:pt>
              </c:numCache>
            </c:numRef>
          </c:val>
          <c:smooth val="0"/>
          <c:extLst xmlns:c16r2="http://schemas.microsoft.com/office/drawing/2015/06/chart">
            <c:ext xmlns:c16="http://schemas.microsoft.com/office/drawing/2014/chart" uri="{C3380CC4-5D6E-409C-BE32-E72D297353CC}">
              <c16:uniqueId val="{00000000-1A60-4896-ABB6-996D1CB7440F}"/>
            </c:ext>
          </c:extLst>
        </c:ser>
        <c:ser>
          <c:idx val="1"/>
          <c:order val="1"/>
          <c:tx>
            <c:strRef>
              <c:f>FINAL!$G$15</c:f>
              <c:strCache>
                <c:ptCount val="1"/>
                <c:pt idx="0">
                  <c:v>SPX Index</c:v>
                </c:pt>
              </c:strCache>
            </c:strRef>
          </c:tx>
          <c:spPr>
            <a:ln>
              <a:solidFill>
                <a:schemeClr val="tx1"/>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G$16:$G$2496</c:f>
              <c:numCache>
                <c:formatCode>General</c:formatCode>
                <c:ptCount val="2481"/>
                <c:pt idx="0">
                  <c:v>100</c:v>
                </c:pt>
                <c:pt idx="1">
                  <c:v>101.73651902624231</c:v>
                </c:pt>
                <c:pt idx="2">
                  <c:v>101.91390537838532</c:v>
                </c:pt>
                <c:pt idx="3">
                  <c:v>102.03294095679711</c:v>
                </c:pt>
                <c:pt idx="4">
                  <c:v>102.01893677110159</c:v>
                </c:pt>
                <c:pt idx="5">
                  <c:v>101.77230750079748</c:v>
                </c:pt>
                <c:pt idx="6">
                  <c:v>101.27671492924</c:v>
                </c:pt>
                <c:pt idx="7">
                  <c:v>101.56224471536495</c:v>
                </c:pt>
                <c:pt idx="8">
                  <c:v>101.8975671617406</c:v>
                </c:pt>
                <c:pt idx="9">
                  <c:v>101.96681007990169</c:v>
                </c:pt>
                <c:pt idx="10">
                  <c:v>101.5451284884038</c:v>
                </c:pt>
                <c:pt idx="11">
                  <c:v>102.1690927621701</c:v>
                </c:pt>
                <c:pt idx="12">
                  <c:v>101.75207923257068</c:v>
                </c:pt>
                <c:pt idx="13">
                  <c:v>102.09440377179408</c:v>
                </c:pt>
                <c:pt idx="14">
                  <c:v>103.14549570927316</c:v>
                </c:pt>
                <c:pt idx="15">
                  <c:v>103.05991457446733</c:v>
                </c:pt>
                <c:pt idx="16">
                  <c:v>103.09725906965532</c:v>
                </c:pt>
                <c:pt idx="17">
                  <c:v>102.91909470719587</c:v>
                </c:pt>
                <c:pt idx="18">
                  <c:v>101.60192324150225</c:v>
                </c:pt>
                <c:pt idx="19">
                  <c:v>100.4598040970024</c:v>
                </c:pt>
                <c:pt idx="20">
                  <c:v>100.71343546015429</c:v>
                </c:pt>
                <c:pt idx="21">
                  <c:v>100.52515696358141</c:v>
                </c:pt>
                <c:pt idx="22">
                  <c:v>98.832206515058459</c:v>
                </c:pt>
                <c:pt idx="23">
                  <c:v>98.170119735787765</c:v>
                </c:pt>
                <c:pt idx="24">
                  <c:v>98.576241120957334</c:v>
                </c:pt>
                <c:pt idx="25">
                  <c:v>98.190348004014609</c:v>
                </c:pt>
                <c:pt idx="26">
                  <c:v>97.763220340301785</c:v>
                </c:pt>
                <c:pt idx="27">
                  <c:v>97.918044393268744</c:v>
                </c:pt>
                <c:pt idx="28">
                  <c:v>99.031377156061183</c:v>
                </c:pt>
                <c:pt idx="29">
                  <c:v>99.597768666412591</c:v>
                </c:pt>
                <c:pt idx="30">
                  <c:v>98.016851703453639</c:v>
                </c:pt>
                <c:pt idx="31">
                  <c:v>98.814312277780871</c:v>
                </c:pt>
                <c:pt idx="32">
                  <c:v>100.02956439202393</c:v>
                </c:pt>
                <c:pt idx="33">
                  <c:v>100.22484498144455</c:v>
                </c:pt>
                <c:pt idx="34">
                  <c:v>98.44086732590084</c:v>
                </c:pt>
                <c:pt idx="35">
                  <c:v>98.328833840336827</c:v>
                </c:pt>
                <c:pt idx="36">
                  <c:v>97.729765896695923</c:v>
                </c:pt>
                <c:pt idx="37">
                  <c:v>97.868251733018113</c:v>
                </c:pt>
                <c:pt idx="38">
                  <c:v>97.430231924875443</c:v>
                </c:pt>
                <c:pt idx="39">
                  <c:v>96.193195521772736</c:v>
                </c:pt>
                <c:pt idx="40">
                  <c:v>95.204344409606989</c:v>
                </c:pt>
                <c:pt idx="41">
                  <c:v>95.698380960531651</c:v>
                </c:pt>
                <c:pt idx="42">
                  <c:v>97.730543907012333</c:v>
                </c:pt>
                <c:pt idx="43">
                  <c:v>97.371103140827771</c:v>
                </c:pt>
                <c:pt idx="44">
                  <c:v>96.484171380112642</c:v>
                </c:pt>
                <c:pt idx="45">
                  <c:v>96.482615359479794</c:v>
                </c:pt>
                <c:pt idx="46">
                  <c:v>97.422451821711277</c:v>
                </c:pt>
                <c:pt idx="47">
                  <c:v>96.908965012876166</c:v>
                </c:pt>
                <c:pt idx="48">
                  <c:v>96.823383878070331</c:v>
                </c:pt>
                <c:pt idx="49">
                  <c:v>97.294858129818905</c:v>
                </c:pt>
                <c:pt idx="50">
                  <c:v>96.411038410369414</c:v>
                </c:pt>
                <c:pt idx="51">
                  <c:v>96.940085425532843</c:v>
                </c:pt>
                <c:pt idx="52">
                  <c:v>99.030599145744759</c:v>
                </c:pt>
                <c:pt idx="53">
                  <c:v>98.822870391261503</c:v>
                </c:pt>
                <c:pt idx="54">
                  <c:v>99.600102697361876</c:v>
                </c:pt>
                <c:pt idx="55">
                  <c:v>98.878109123727086</c:v>
                </c:pt>
                <c:pt idx="56">
                  <c:v>99.124738394031198</c:v>
                </c:pt>
                <c:pt idx="57">
                  <c:v>98.455649521912747</c:v>
                </c:pt>
                <c:pt idx="58">
                  <c:v>98.60035944076624</c:v>
                </c:pt>
                <c:pt idx="59">
                  <c:v>99.00336878467013</c:v>
                </c:pt>
                <c:pt idx="60">
                  <c:v>97.920378424217944</c:v>
                </c:pt>
                <c:pt idx="61">
                  <c:v>96.651443598142151</c:v>
                </c:pt>
                <c:pt idx="62">
                  <c:v>96.177635315444334</c:v>
                </c:pt>
                <c:pt idx="63">
                  <c:v>96.044595551337068</c:v>
                </c:pt>
                <c:pt idx="64">
                  <c:v>96.228983996327841</c:v>
                </c:pt>
                <c:pt idx="65">
                  <c:v>98.014517672504411</c:v>
                </c:pt>
                <c:pt idx="66">
                  <c:v>97.183602654571288</c:v>
                </c:pt>
                <c:pt idx="67">
                  <c:v>96.49584153485884</c:v>
                </c:pt>
                <c:pt idx="68">
                  <c:v>98.100098807310275</c:v>
                </c:pt>
                <c:pt idx="69">
                  <c:v>98.720173029494447</c:v>
                </c:pt>
                <c:pt idx="70">
                  <c:v>98.682828534306438</c:v>
                </c:pt>
                <c:pt idx="71">
                  <c:v>98.278263169769687</c:v>
                </c:pt>
                <c:pt idx="72">
                  <c:v>99.472509005469462</c:v>
                </c:pt>
                <c:pt idx="73">
                  <c:v>99.325465055666683</c:v>
                </c:pt>
                <c:pt idx="74">
                  <c:v>98.878887134043438</c:v>
                </c:pt>
                <c:pt idx="75">
                  <c:v>99.472509005469448</c:v>
                </c:pt>
                <c:pt idx="76">
                  <c:v>99.606326779893124</c:v>
                </c:pt>
                <c:pt idx="77">
                  <c:v>99.535527841099196</c:v>
                </c:pt>
                <c:pt idx="78">
                  <c:v>99.256222137505588</c:v>
                </c:pt>
                <c:pt idx="79">
                  <c:v>98.92245571176278</c:v>
                </c:pt>
                <c:pt idx="80">
                  <c:v>98.49221600678429</c:v>
                </c:pt>
                <c:pt idx="81">
                  <c:v>98.948130052204533</c:v>
                </c:pt>
                <c:pt idx="82">
                  <c:v>98.553678821781233</c:v>
                </c:pt>
                <c:pt idx="83">
                  <c:v>98.668046338294502</c:v>
                </c:pt>
                <c:pt idx="84">
                  <c:v>100.01945025791046</c:v>
                </c:pt>
                <c:pt idx="85">
                  <c:v>100.78579041958102</c:v>
                </c:pt>
                <c:pt idx="86">
                  <c:v>100.94528253444645</c:v>
                </c:pt>
                <c:pt idx="87">
                  <c:v>101.32028350695933</c:v>
                </c:pt>
                <c:pt idx="88">
                  <c:v>100.94839457571209</c:v>
                </c:pt>
                <c:pt idx="89">
                  <c:v>101.04953591684627</c:v>
                </c:pt>
                <c:pt idx="90">
                  <c:v>100.59595590237528</c:v>
                </c:pt>
                <c:pt idx="91">
                  <c:v>100.83480506951524</c:v>
                </c:pt>
                <c:pt idx="92">
                  <c:v>100.7593380688228</c:v>
                </c:pt>
                <c:pt idx="93">
                  <c:v>101.27982697050562</c:v>
                </c:pt>
                <c:pt idx="94">
                  <c:v>101.47432954960983</c:v>
                </c:pt>
                <c:pt idx="95">
                  <c:v>101.47355153929341</c:v>
                </c:pt>
                <c:pt idx="96">
                  <c:v>101.43854107505466</c:v>
                </c:pt>
                <c:pt idx="97">
                  <c:v>101.99793049255832</c:v>
                </c:pt>
                <c:pt idx="98">
                  <c:v>102.17220480343568</c:v>
                </c:pt>
                <c:pt idx="99">
                  <c:v>101.16156940241025</c:v>
                </c:pt>
                <c:pt idx="100">
                  <c:v>100.67609096496618</c:v>
                </c:pt>
                <c:pt idx="101">
                  <c:v>101.05731602001042</c:v>
                </c:pt>
                <c:pt idx="102">
                  <c:v>101.10555265962824</c:v>
                </c:pt>
                <c:pt idx="103">
                  <c:v>102.16131265900582</c:v>
                </c:pt>
                <c:pt idx="104">
                  <c:v>102.54720577594854</c:v>
                </c:pt>
                <c:pt idx="105">
                  <c:v>102.40794192930994</c:v>
                </c:pt>
                <c:pt idx="106">
                  <c:v>102.68724763290358</c:v>
                </c:pt>
                <c:pt idx="107">
                  <c:v>102.7891669843542</c:v>
                </c:pt>
                <c:pt idx="108">
                  <c:v>102.56587802354255</c:v>
                </c:pt>
                <c:pt idx="109">
                  <c:v>103.10037111092088</c:v>
                </c:pt>
                <c:pt idx="110">
                  <c:v>102.54409373468286</c:v>
                </c:pt>
                <c:pt idx="111">
                  <c:v>102.29124038184742</c:v>
                </c:pt>
                <c:pt idx="112">
                  <c:v>103.19295433857448</c:v>
                </c:pt>
                <c:pt idx="113">
                  <c:v>103.96863062404204</c:v>
                </c:pt>
                <c:pt idx="114">
                  <c:v>103.98808088195244</c:v>
                </c:pt>
                <c:pt idx="115">
                  <c:v>104.18725152295514</c:v>
                </c:pt>
                <c:pt idx="116">
                  <c:v>103.93050811853757</c:v>
                </c:pt>
                <c:pt idx="117">
                  <c:v>103.57806944520077</c:v>
                </c:pt>
                <c:pt idx="118">
                  <c:v>103.79513432348105</c:v>
                </c:pt>
                <c:pt idx="119">
                  <c:v>105.04850894322851</c:v>
                </c:pt>
                <c:pt idx="120">
                  <c:v>105.28191203815354</c:v>
                </c:pt>
                <c:pt idx="121">
                  <c:v>104.99871628297781</c:v>
                </c:pt>
                <c:pt idx="122">
                  <c:v>105.08274139715084</c:v>
                </c:pt>
                <c:pt idx="123">
                  <c:v>105.29747224448187</c:v>
                </c:pt>
                <c:pt idx="124">
                  <c:v>105.02750266468523</c:v>
                </c:pt>
                <c:pt idx="125">
                  <c:v>106.02957995223004</c:v>
                </c:pt>
                <c:pt idx="126">
                  <c:v>106.24664483051031</c:v>
                </c:pt>
                <c:pt idx="127">
                  <c:v>106.51350236904128</c:v>
                </c:pt>
                <c:pt idx="128">
                  <c:v>106.12449721083287</c:v>
                </c:pt>
                <c:pt idx="129">
                  <c:v>106.27309718126848</c:v>
                </c:pt>
                <c:pt idx="130">
                  <c:v>106.35089821291015</c:v>
                </c:pt>
                <c:pt idx="131">
                  <c:v>106.4784919048025</c:v>
                </c:pt>
                <c:pt idx="132">
                  <c:v>107.13357659122545</c:v>
                </c:pt>
                <c:pt idx="133">
                  <c:v>107.16158496261647</c:v>
                </c:pt>
                <c:pt idx="134">
                  <c:v>107.53814195576219</c:v>
                </c:pt>
                <c:pt idx="135">
                  <c:v>108.0718570328241</c:v>
                </c:pt>
                <c:pt idx="136">
                  <c:v>107.15847292135078</c:v>
                </c:pt>
                <c:pt idx="137">
                  <c:v>107.20437553001938</c:v>
                </c:pt>
                <c:pt idx="138">
                  <c:v>107.2051535403358</c:v>
                </c:pt>
                <c:pt idx="139">
                  <c:v>106.41702908980558</c:v>
                </c:pt>
                <c:pt idx="140">
                  <c:v>106.380462604934</c:v>
                </c:pt>
                <c:pt idx="141">
                  <c:v>106.14394746874329</c:v>
                </c:pt>
                <c:pt idx="142">
                  <c:v>107.3483074385565</c:v>
                </c:pt>
                <c:pt idx="143">
                  <c:v>107.58637859538003</c:v>
                </c:pt>
                <c:pt idx="144">
                  <c:v>107.81044556650806</c:v>
                </c:pt>
                <c:pt idx="145">
                  <c:v>107.23549594267604</c:v>
                </c:pt>
                <c:pt idx="146">
                  <c:v>107.43544459399517</c:v>
                </c:pt>
                <c:pt idx="147">
                  <c:v>107.70930422537388</c:v>
                </c:pt>
                <c:pt idx="148">
                  <c:v>108.39395330382065</c:v>
                </c:pt>
                <c:pt idx="149">
                  <c:v>108.65458675982028</c:v>
                </c:pt>
                <c:pt idx="150">
                  <c:v>108.90277205075724</c:v>
                </c:pt>
                <c:pt idx="151">
                  <c:v>109.01480553632125</c:v>
                </c:pt>
                <c:pt idx="152">
                  <c:v>108.96034481417206</c:v>
                </c:pt>
                <c:pt idx="153">
                  <c:v>109.14006519726432</c:v>
                </c:pt>
                <c:pt idx="154">
                  <c:v>109.39525258104902</c:v>
                </c:pt>
                <c:pt idx="155">
                  <c:v>108.99535527841081</c:v>
                </c:pt>
                <c:pt idx="156">
                  <c:v>107.51324562563683</c:v>
                </c:pt>
                <c:pt idx="157">
                  <c:v>107.88824659814972</c:v>
                </c:pt>
                <c:pt idx="158">
                  <c:v>108.88098776189756</c:v>
                </c:pt>
                <c:pt idx="159">
                  <c:v>108.97045894828551</c:v>
                </c:pt>
                <c:pt idx="160">
                  <c:v>108.66547890425011</c:v>
                </c:pt>
                <c:pt idx="161">
                  <c:v>109.63098970692333</c:v>
                </c:pt>
                <c:pt idx="162">
                  <c:v>110.06978752538241</c:v>
                </c:pt>
                <c:pt idx="163">
                  <c:v>109.9250776065289</c:v>
                </c:pt>
                <c:pt idx="164">
                  <c:v>109.48861381901908</c:v>
                </c:pt>
                <c:pt idx="165">
                  <c:v>109.68700644970535</c:v>
                </c:pt>
                <c:pt idx="166">
                  <c:v>109.93596975095872</c:v>
                </c:pt>
                <c:pt idx="167">
                  <c:v>109.82082422412904</c:v>
                </c:pt>
                <c:pt idx="168">
                  <c:v>109.94919592633779</c:v>
                </c:pt>
                <c:pt idx="169">
                  <c:v>110.90459259489761</c:v>
                </c:pt>
                <c:pt idx="170">
                  <c:v>111.02907424552428</c:v>
                </c:pt>
                <c:pt idx="171">
                  <c:v>110.67041148965615</c:v>
                </c:pt>
                <c:pt idx="172">
                  <c:v>110.90926065679611</c:v>
                </c:pt>
                <c:pt idx="173">
                  <c:v>110.75210257287993</c:v>
                </c:pt>
                <c:pt idx="174">
                  <c:v>110.34520317739396</c:v>
                </c:pt>
                <c:pt idx="175">
                  <c:v>109.7585833988157</c:v>
                </c:pt>
                <c:pt idx="176">
                  <c:v>110.23628173309562</c:v>
                </c:pt>
                <c:pt idx="177">
                  <c:v>111.00962398761389</c:v>
                </c:pt>
                <c:pt idx="178">
                  <c:v>110.84546381084995</c:v>
                </c:pt>
                <c:pt idx="179">
                  <c:v>110.34520317739396</c:v>
                </c:pt>
                <c:pt idx="180">
                  <c:v>110.2129414236031</c:v>
                </c:pt>
                <c:pt idx="181">
                  <c:v>110.34831521865964</c:v>
                </c:pt>
                <c:pt idx="182">
                  <c:v>109.67689231559196</c:v>
                </c:pt>
                <c:pt idx="183">
                  <c:v>109.92040954463039</c:v>
                </c:pt>
                <c:pt idx="184">
                  <c:v>109.86361479153196</c:v>
                </c:pt>
                <c:pt idx="185">
                  <c:v>110.07678961823017</c:v>
                </c:pt>
                <c:pt idx="186">
                  <c:v>110.77466487205604</c:v>
                </c:pt>
                <c:pt idx="187">
                  <c:v>111.31227000070005</c:v>
                </c:pt>
                <c:pt idx="188">
                  <c:v>111.40329720772081</c:v>
                </c:pt>
                <c:pt idx="189">
                  <c:v>111.30371188721945</c:v>
                </c:pt>
                <c:pt idx="190">
                  <c:v>110.97305750274231</c:v>
                </c:pt>
                <c:pt idx="191">
                  <c:v>111.29437576342245</c:v>
                </c:pt>
                <c:pt idx="192">
                  <c:v>110.70697797452776</c:v>
                </c:pt>
                <c:pt idx="193">
                  <c:v>111.09909517400182</c:v>
                </c:pt>
                <c:pt idx="194">
                  <c:v>112.04359969813183</c:v>
                </c:pt>
                <c:pt idx="195">
                  <c:v>110.78088895458737</c:v>
                </c:pt>
                <c:pt idx="196">
                  <c:v>110.64707118016368</c:v>
                </c:pt>
                <c:pt idx="197">
                  <c:v>110.52570157080264</c:v>
                </c:pt>
                <c:pt idx="198">
                  <c:v>111.1636700302644</c:v>
                </c:pt>
                <c:pt idx="199">
                  <c:v>111.89655574832902</c:v>
                </c:pt>
                <c:pt idx="200">
                  <c:v>112.49562369196995</c:v>
                </c:pt>
                <c:pt idx="201">
                  <c:v>112.68623621949207</c:v>
                </c:pt>
                <c:pt idx="202">
                  <c:v>112.57731477519371</c:v>
                </c:pt>
                <c:pt idx="203">
                  <c:v>112.65589381715179</c:v>
                </c:pt>
                <c:pt idx="204">
                  <c:v>112.81305190106798</c:v>
                </c:pt>
                <c:pt idx="205">
                  <c:v>112.68001213696071</c:v>
                </c:pt>
                <c:pt idx="206">
                  <c:v>111.88255156263349</c:v>
                </c:pt>
                <c:pt idx="207">
                  <c:v>111.51766472423401</c:v>
                </c:pt>
                <c:pt idx="208">
                  <c:v>112.36491795881192</c:v>
                </c:pt>
                <c:pt idx="209">
                  <c:v>113.22384134813605</c:v>
                </c:pt>
                <c:pt idx="210">
                  <c:v>113.34132090591497</c:v>
                </c:pt>
                <c:pt idx="211">
                  <c:v>113.24251359573003</c:v>
                </c:pt>
                <c:pt idx="212">
                  <c:v>113.56460986672658</c:v>
                </c:pt>
                <c:pt idx="213">
                  <c:v>113.40511775186114</c:v>
                </c:pt>
                <c:pt idx="214">
                  <c:v>113.30786646230905</c:v>
                </c:pt>
                <c:pt idx="215">
                  <c:v>112.90407910808874</c:v>
                </c:pt>
                <c:pt idx="216">
                  <c:v>112.76248123050087</c:v>
                </c:pt>
                <c:pt idx="217">
                  <c:v>108.84675530797516</c:v>
                </c:pt>
                <c:pt idx="218">
                  <c:v>109.45204733414744</c:v>
                </c:pt>
                <c:pt idx="219">
                  <c:v>109.16807356865532</c:v>
                </c:pt>
                <c:pt idx="220">
                  <c:v>107.92325706238846</c:v>
                </c:pt>
                <c:pt idx="221">
                  <c:v>106.90795359946452</c:v>
                </c:pt>
                <c:pt idx="222">
                  <c:v>108.5643375631159</c:v>
                </c:pt>
                <c:pt idx="223">
                  <c:v>108.29670201426852</c:v>
                </c:pt>
                <c:pt idx="224">
                  <c:v>109.068488248154</c:v>
                </c:pt>
                <c:pt idx="225">
                  <c:v>109.14317723853</c:v>
                </c:pt>
                <c:pt idx="226">
                  <c:v>109.43493110718629</c:v>
                </c:pt>
                <c:pt idx="227">
                  <c:v>107.20593155065218</c:v>
                </c:pt>
                <c:pt idx="228">
                  <c:v>107.92325706238847</c:v>
                </c:pt>
                <c:pt idx="229">
                  <c:v>108.32082033407744</c:v>
                </c:pt>
                <c:pt idx="230">
                  <c:v>107.90614083542731</c:v>
                </c:pt>
                <c:pt idx="231">
                  <c:v>109.08171442353307</c:v>
                </c:pt>
                <c:pt idx="232">
                  <c:v>109.77258758451119</c:v>
                </c:pt>
                <c:pt idx="233">
                  <c:v>111.64759244707565</c:v>
                </c:pt>
                <c:pt idx="234">
                  <c:v>111.60869193125481</c:v>
                </c:pt>
                <c:pt idx="235">
                  <c:v>111.73083955093223</c:v>
                </c:pt>
                <c:pt idx="236">
                  <c:v>111.8389829849142</c:v>
                </c:pt>
                <c:pt idx="237">
                  <c:v>111.14733181361967</c:v>
                </c:pt>
                <c:pt idx="238">
                  <c:v>110.26195607353736</c:v>
                </c:pt>
                <c:pt idx="239">
                  <c:v>110.67430154123826</c:v>
                </c:pt>
                <c:pt idx="240">
                  <c:v>110.54437381839665</c:v>
                </c:pt>
                <c:pt idx="241">
                  <c:v>110.83145962515445</c:v>
                </c:pt>
                <c:pt idx="242">
                  <c:v>111.85998926345746</c:v>
                </c:pt>
                <c:pt idx="243">
                  <c:v>111.98447091408413</c:v>
                </c:pt>
                <c:pt idx="244">
                  <c:v>112.32601744299109</c:v>
                </c:pt>
                <c:pt idx="245">
                  <c:v>112.39214831988652</c:v>
                </c:pt>
                <c:pt idx="246">
                  <c:v>112.68623621949209</c:v>
                </c:pt>
                <c:pt idx="247">
                  <c:v>111.94557039826329</c:v>
                </c:pt>
                <c:pt idx="248">
                  <c:v>112.64033361082349</c:v>
                </c:pt>
                <c:pt idx="249">
                  <c:v>113.03322882061396</c:v>
                </c:pt>
                <c:pt idx="250">
                  <c:v>114.24848093485701</c:v>
                </c:pt>
                <c:pt idx="251">
                  <c:v>114.48266204009848</c:v>
                </c:pt>
                <c:pt idx="252">
                  <c:v>114.56201909237299</c:v>
                </c:pt>
                <c:pt idx="253">
                  <c:v>114.42431126636721</c:v>
                </c:pt>
                <c:pt idx="254">
                  <c:v>115.48396131732687</c:v>
                </c:pt>
                <c:pt idx="255">
                  <c:v>115.21788178911235</c:v>
                </c:pt>
                <c:pt idx="256">
                  <c:v>115.17742525265868</c:v>
                </c:pt>
                <c:pt idx="257">
                  <c:v>116.34521873760029</c:v>
                </c:pt>
                <c:pt idx="258">
                  <c:v>116.25419153057952</c:v>
                </c:pt>
                <c:pt idx="259">
                  <c:v>116.24018734488402</c:v>
                </c:pt>
                <c:pt idx="260">
                  <c:v>115.32991527467635</c:v>
                </c:pt>
                <c:pt idx="261">
                  <c:v>115.63567332902817</c:v>
                </c:pt>
                <c:pt idx="262">
                  <c:v>116.38411925342112</c:v>
                </c:pt>
                <c:pt idx="263">
                  <c:v>116.88749192814281</c:v>
                </c:pt>
                <c:pt idx="264">
                  <c:v>117.13878926034542</c:v>
                </c:pt>
                <c:pt idx="265">
                  <c:v>117.43910124248232</c:v>
                </c:pt>
                <c:pt idx="266">
                  <c:v>117.30217142679297</c:v>
                </c:pt>
                <c:pt idx="267">
                  <c:v>117.68028444057153</c:v>
                </c:pt>
                <c:pt idx="268">
                  <c:v>116.03790466261569</c:v>
                </c:pt>
                <c:pt idx="269">
                  <c:v>117.15668349762302</c:v>
                </c:pt>
                <c:pt idx="270">
                  <c:v>116.94662071219049</c:v>
                </c:pt>
                <c:pt idx="271">
                  <c:v>116.79413069017281</c:v>
                </c:pt>
                <c:pt idx="272">
                  <c:v>117.80165404993255</c:v>
                </c:pt>
                <c:pt idx="273">
                  <c:v>117.6935106159506</c:v>
                </c:pt>
                <c:pt idx="274">
                  <c:v>118.47152093236738</c:v>
                </c:pt>
                <c:pt idx="275">
                  <c:v>118.65435335672531</c:v>
                </c:pt>
                <c:pt idx="276">
                  <c:v>118.57810834571647</c:v>
                </c:pt>
                <c:pt idx="277">
                  <c:v>118.43495444749578</c:v>
                </c:pt>
                <c:pt idx="278">
                  <c:v>117.28583321014818</c:v>
                </c:pt>
                <c:pt idx="279">
                  <c:v>117.92535769024279</c:v>
                </c:pt>
                <c:pt idx="280">
                  <c:v>118.11052414554999</c:v>
                </c:pt>
                <c:pt idx="281">
                  <c:v>119.05347264904717</c:v>
                </c:pt>
                <c:pt idx="282">
                  <c:v>119.0838150513874</c:v>
                </c:pt>
                <c:pt idx="283">
                  <c:v>119.52883695237779</c:v>
                </c:pt>
                <c:pt idx="284">
                  <c:v>119.74979188224017</c:v>
                </c:pt>
                <c:pt idx="285">
                  <c:v>119.10948939182916</c:v>
                </c:pt>
                <c:pt idx="286">
                  <c:v>118.05372939245157</c:v>
                </c:pt>
                <c:pt idx="287">
                  <c:v>115.97955388888438</c:v>
                </c:pt>
                <c:pt idx="288">
                  <c:v>117.29828137521086</c:v>
                </c:pt>
                <c:pt idx="289">
                  <c:v>117.41109287109128</c:v>
                </c:pt>
                <c:pt idx="290">
                  <c:v>116.15694024102741</c:v>
                </c:pt>
                <c:pt idx="291">
                  <c:v>117.92068962834429</c:v>
                </c:pt>
                <c:pt idx="292">
                  <c:v>118.48863715932856</c:v>
                </c:pt>
                <c:pt idx="293">
                  <c:v>119.26197941384684</c:v>
                </c:pt>
                <c:pt idx="294">
                  <c:v>119.11726949499331</c:v>
                </c:pt>
                <c:pt idx="295">
                  <c:v>119.32344222884379</c:v>
                </c:pt>
                <c:pt idx="296">
                  <c:v>117.70051270879836</c:v>
                </c:pt>
                <c:pt idx="297">
                  <c:v>118.42795235464808</c:v>
                </c:pt>
                <c:pt idx="298">
                  <c:v>116.90071810352191</c:v>
                </c:pt>
                <c:pt idx="299">
                  <c:v>116.52571713100902</c:v>
                </c:pt>
                <c:pt idx="300">
                  <c:v>116.14838212754687</c:v>
                </c:pt>
                <c:pt idx="301">
                  <c:v>117.19480600312744</c:v>
                </c:pt>
                <c:pt idx="302">
                  <c:v>117.14579135319318</c:v>
                </c:pt>
                <c:pt idx="303">
                  <c:v>116.96218091851881</c:v>
                </c:pt>
                <c:pt idx="304">
                  <c:v>118.21322150731703</c:v>
                </c:pt>
                <c:pt idx="305">
                  <c:v>118.63645911944774</c:v>
                </c:pt>
                <c:pt idx="306">
                  <c:v>118.67769366621786</c:v>
                </c:pt>
                <c:pt idx="307">
                  <c:v>119.06981086569193</c:v>
                </c:pt>
                <c:pt idx="308">
                  <c:v>119.1795103203067</c:v>
                </c:pt>
                <c:pt idx="309">
                  <c:v>117.48889390273301</c:v>
                </c:pt>
                <c:pt idx="310">
                  <c:v>118.16109481611713</c:v>
                </c:pt>
                <c:pt idx="311">
                  <c:v>120.41265667182735</c:v>
                </c:pt>
                <c:pt idx="312">
                  <c:v>120.78610162370741</c:v>
                </c:pt>
                <c:pt idx="313">
                  <c:v>120.55425454941522</c:v>
                </c:pt>
                <c:pt idx="314">
                  <c:v>120.54258439466898</c:v>
                </c:pt>
                <c:pt idx="315">
                  <c:v>120.29362109341562</c:v>
                </c:pt>
                <c:pt idx="316">
                  <c:v>120.83122622205963</c:v>
                </c:pt>
                <c:pt idx="317">
                  <c:v>119.35456264150055</c:v>
                </c:pt>
                <c:pt idx="318">
                  <c:v>119.93573634786391</c:v>
                </c:pt>
                <c:pt idx="319">
                  <c:v>117.56047085184343</c:v>
                </c:pt>
                <c:pt idx="320">
                  <c:v>118.10896812491728</c:v>
                </c:pt>
                <c:pt idx="321">
                  <c:v>115.35247757385258</c:v>
                </c:pt>
                <c:pt idx="322">
                  <c:v>113.50781511362837</c:v>
                </c:pt>
                <c:pt idx="323">
                  <c:v>114.6717185469879</c:v>
                </c:pt>
                <c:pt idx="324">
                  <c:v>113.22150731718699</c:v>
                </c:pt>
                <c:pt idx="325">
                  <c:v>114.04153019069028</c:v>
                </c:pt>
                <c:pt idx="326">
                  <c:v>114.53867878288064</c:v>
                </c:pt>
                <c:pt idx="327">
                  <c:v>111.4935464044253</c:v>
                </c:pt>
                <c:pt idx="328">
                  <c:v>114.18624010954383</c:v>
                </c:pt>
                <c:pt idx="329">
                  <c:v>114.88956143558461</c:v>
                </c:pt>
                <c:pt idx="330">
                  <c:v>116.50626687309872</c:v>
                </c:pt>
                <c:pt idx="331">
                  <c:v>113.05190106820815</c:v>
                </c:pt>
                <c:pt idx="332">
                  <c:v>113.09469163561108</c:v>
                </c:pt>
                <c:pt idx="333">
                  <c:v>113.03867489282908</c:v>
                </c:pt>
                <c:pt idx="334">
                  <c:v>110.98628367812155</c:v>
                </c:pt>
                <c:pt idx="335">
                  <c:v>109.44271121035064</c:v>
                </c:pt>
                <c:pt idx="336">
                  <c:v>109.7982619249531</c:v>
                </c:pt>
                <c:pt idx="337">
                  <c:v>112.49562369197012</c:v>
                </c:pt>
                <c:pt idx="338">
                  <c:v>112.46528128962986</c:v>
                </c:pt>
                <c:pt idx="339">
                  <c:v>112.58742890930729</c:v>
                </c:pt>
                <c:pt idx="340">
                  <c:v>113.90615639563379</c:v>
                </c:pt>
                <c:pt idx="341">
                  <c:v>113.78400877595635</c:v>
                </c:pt>
                <c:pt idx="342">
                  <c:v>115.09651217975149</c:v>
                </c:pt>
                <c:pt idx="343">
                  <c:v>114.11777520169916</c:v>
                </c:pt>
                <c:pt idx="344">
                  <c:v>111.43908568227612</c:v>
                </c:pt>
                <c:pt idx="345">
                  <c:v>113.88203807582485</c:v>
                </c:pt>
                <c:pt idx="346">
                  <c:v>113.40589576217778</c:v>
                </c:pt>
                <c:pt idx="347">
                  <c:v>114.67794262951925</c:v>
                </c:pt>
                <c:pt idx="348">
                  <c:v>115.87841254775036</c:v>
                </c:pt>
                <c:pt idx="349">
                  <c:v>114.54568087572838</c:v>
                </c:pt>
                <c:pt idx="350">
                  <c:v>115.0327153338053</c:v>
                </c:pt>
                <c:pt idx="351">
                  <c:v>113.08768954276331</c:v>
                </c:pt>
                <c:pt idx="352">
                  <c:v>112.94375763422622</c:v>
                </c:pt>
                <c:pt idx="353">
                  <c:v>114.48344005041506</c:v>
                </c:pt>
                <c:pt idx="354">
                  <c:v>114.48888612262998</c:v>
                </c:pt>
                <c:pt idx="355">
                  <c:v>115.45284090467041</c:v>
                </c:pt>
                <c:pt idx="356">
                  <c:v>115.47618121416289</c:v>
                </c:pt>
                <c:pt idx="357">
                  <c:v>114.88489337368613</c:v>
                </c:pt>
                <c:pt idx="358">
                  <c:v>118.24045186839173</c:v>
                </c:pt>
                <c:pt idx="359">
                  <c:v>118.96011141107728</c:v>
                </c:pt>
                <c:pt idx="360">
                  <c:v>118.16031680580082</c:v>
                </c:pt>
                <c:pt idx="361">
                  <c:v>118.70492402729258</c:v>
                </c:pt>
                <c:pt idx="362">
                  <c:v>118.0809597535263</c:v>
                </c:pt>
                <c:pt idx="363">
                  <c:v>118.04050321707263</c:v>
                </c:pt>
                <c:pt idx="364">
                  <c:v>118.67924968685082</c:v>
                </c:pt>
                <c:pt idx="365">
                  <c:v>119.14294383543522</c:v>
                </c:pt>
                <c:pt idx="366">
                  <c:v>118.78272505893425</c:v>
                </c:pt>
                <c:pt idx="367">
                  <c:v>120.36130799094391</c:v>
                </c:pt>
                <c:pt idx="368">
                  <c:v>120.32940956797083</c:v>
                </c:pt>
                <c:pt idx="369">
                  <c:v>119.78169030521339</c:v>
                </c:pt>
                <c:pt idx="370">
                  <c:v>120.03454365804886</c:v>
                </c:pt>
                <c:pt idx="371">
                  <c:v>121.18210887476361</c:v>
                </c:pt>
                <c:pt idx="372">
                  <c:v>120.7923257062388</c:v>
                </c:pt>
                <c:pt idx="373">
                  <c:v>121.77028467397471</c:v>
                </c:pt>
                <c:pt idx="374">
                  <c:v>121.56177790917499</c:v>
                </c:pt>
                <c:pt idx="375">
                  <c:v>120.93470159414306</c:v>
                </c:pt>
                <c:pt idx="376">
                  <c:v>121.50965121797506</c:v>
                </c:pt>
                <c:pt idx="377">
                  <c:v>120.49123571378546</c:v>
                </c:pt>
                <c:pt idx="378">
                  <c:v>119.69922121167316</c:v>
                </c:pt>
                <c:pt idx="379">
                  <c:v>119.91006200742211</c:v>
                </c:pt>
                <c:pt idx="380">
                  <c:v>119.81981281071774</c:v>
                </c:pt>
                <c:pt idx="381">
                  <c:v>116.75056211245348</c:v>
                </c:pt>
                <c:pt idx="382">
                  <c:v>117.19402799281103</c:v>
                </c:pt>
                <c:pt idx="383">
                  <c:v>118.22566967237971</c:v>
                </c:pt>
                <c:pt idx="384">
                  <c:v>117.93702784498909</c:v>
                </c:pt>
                <c:pt idx="385">
                  <c:v>117.8218823181594</c:v>
                </c:pt>
                <c:pt idx="386">
                  <c:v>119.44636785883766</c:v>
                </c:pt>
                <c:pt idx="387">
                  <c:v>119.88983373919525</c:v>
                </c:pt>
                <c:pt idx="388">
                  <c:v>119.11493546404414</c:v>
                </c:pt>
                <c:pt idx="389">
                  <c:v>120.54336240498537</c:v>
                </c:pt>
                <c:pt idx="390">
                  <c:v>117.358188169575</c:v>
                </c:pt>
                <c:pt idx="391">
                  <c:v>117.45232741786145</c:v>
                </c:pt>
                <c:pt idx="392">
                  <c:v>116.8703757011817</c:v>
                </c:pt>
                <c:pt idx="393">
                  <c:v>118.27857437389611</c:v>
                </c:pt>
                <c:pt idx="394">
                  <c:v>114.8047583110951</c:v>
                </c:pt>
                <c:pt idx="395">
                  <c:v>114.73862743419966</c:v>
                </c:pt>
                <c:pt idx="396">
                  <c:v>113.09935969750947</c:v>
                </c:pt>
                <c:pt idx="397">
                  <c:v>111.96968871807228</c:v>
                </c:pt>
                <c:pt idx="398">
                  <c:v>115.22721791290941</c:v>
                </c:pt>
                <c:pt idx="399">
                  <c:v>114.41264111162103</c:v>
                </c:pt>
                <c:pt idx="400">
                  <c:v>112.9009670668232</c:v>
                </c:pt>
                <c:pt idx="401">
                  <c:v>113.49147689698354</c:v>
                </c:pt>
                <c:pt idx="402">
                  <c:v>111.50988462106997</c:v>
                </c:pt>
                <c:pt idx="403">
                  <c:v>112.01014525452598</c:v>
                </c:pt>
                <c:pt idx="404">
                  <c:v>110.22616759898226</c:v>
                </c:pt>
                <c:pt idx="405">
                  <c:v>112.08794628616764</c:v>
                </c:pt>
                <c:pt idx="406">
                  <c:v>109.4831677468042</c:v>
                </c:pt>
                <c:pt idx="407">
                  <c:v>111.11776742159589</c:v>
                </c:pt>
                <c:pt idx="408">
                  <c:v>114.29127150226</c:v>
                </c:pt>
                <c:pt idx="409">
                  <c:v>114.34573222440918</c:v>
                </c:pt>
                <c:pt idx="410">
                  <c:v>115.23422000575715</c:v>
                </c:pt>
                <c:pt idx="411">
                  <c:v>114.5557950098417</c:v>
                </c:pt>
                <c:pt idx="412">
                  <c:v>113.80657107513233</c:v>
                </c:pt>
                <c:pt idx="413">
                  <c:v>115.53530999821042</c:v>
                </c:pt>
                <c:pt idx="414">
                  <c:v>117.27260703476911</c:v>
                </c:pt>
                <c:pt idx="415">
                  <c:v>117.06410026996942</c:v>
                </c:pt>
                <c:pt idx="416">
                  <c:v>117.94325192752038</c:v>
                </c:pt>
                <c:pt idx="417">
                  <c:v>114.96269440532765</c:v>
                </c:pt>
                <c:pt idx="418">
                  <c:v>115.65823562820425</c:v>
                </c:pt>
                <c:pt idx="419">
                  <c:v>115.79983350579211</c:v>
                </c:pt>
                <c:pt idx="420">
                  <c:v>114.20802439840334</c:v>
                </c:pt>
                <c:pt idx="421">
                  <c:v>112.4925116507043</c:v>
                </c:pt>
                <c:pt idx="422">
                  <c:v>113.19894501801073</c:v>
                </c:pt>
                <c:pt idx="423">
                  <c:v>113.04489897536021</c:v>
                </c:pt>
                <c:pt idx="424">
                  <c:v>113.59884232064897</c:v>
                </c:pt>
                <c:pt idx="425">
                  <c:v>115.49251943080746</c:v>
                </c:pt>
                <c:pt idx="426">
                  <c:v>116.42535380019117</c:v>
                </c:pt>
                <c:pt idx="427">
                  <c:v>116.51949304847761</c:v>
                </c:pt>
                <c:pt idx="428">
                  <c:v>114.86310908482623</c:v>
                </c:pt>
                <c:pt idx="429">
                  <c:v>115.0280472719066</c:v>
                </c:pt>
                <c:pt idx="430">
                  <c:v>114.23992282137637</c:v>
                </c:pt>
                <c:pt idx="431">
                  <c:v>112.59054095057279</c:v>
                </c:pt>
                <c:pt idx="432">
                  <c:v>112.59054095057279</c:v>
                </c:pt>
                <c:pt idx="433">
                  <c:v>109.82627029634392</c:v>
                </c:pt>
                <c:pt idx="434">
                  <c:v>110.18026499031355</c:v>
                </c:pt>
                <c:pt idx="435">
                  <c:v>108.1582161779463</c:v>
                </c:pt>
                <c:pt idx="436">
                  <c:v>109.63176771723973</c:v>
                </c:pt>
                <c:pt idx="437">
                  <c:v>110.50313927162651</c:v>
                </c:pt>
                <c:pt idx="438">
                  <c:v>109.00080135062568</c:v>
                </c:pt>
                <c:pt idx="439">
                  <c:v>110.18571106252847</c:v>
                </c:pt>
                <c:pt idx="440">
                  <c:v>107.4393346455772</c:v>
                </c:pt>
                <c:pt idx="441">
                  <c:v>106.83637665035418</c:v>
                </c:pt>
                <c:pt idx="442">
                  <c:v>103.7282254362691</c:v>
                </c:pt>
                <c:pt idx="443">
                  <c:v>103.10114912123716</c:v>
                </c:pt>
                <c:pt idx="444">
                  <c:v>101.95825196642089</c:v>
                </c:pt>
                <c:pt idx="445">
                  <c:v>104.14446095555206</c:v>
                </c:pt>
                <c:pt idx="446">
                  <c:v>105.19244085176548</c:v>
                </c:pt>
                <c:pt idx="447">
                  <c:v>103.52283071273503</c:v>
                </c:pt>
                <c:pt idx="448">
                  <c:v>105.34026281188467</c:v>
                </c:pt>
                <c:pt idx="449">
                  <c:v>105.98834540545987</c:v>
                </c:pt>
                <c:pt idx="450">
                  <c:v>105.48341671010539</c:v>
                </c:pt>
                <c:pt idx="451">
                  <c:v>107.25261216963717</c:v>
                </c:pt>
                <c:pt idx="452">
                  <c:v>108.56511557343232</c:v>
                </c:pt>
                <c:pt idx="453">
                  <c:v>107.4292205114638</c:v>
                </c:pt>
                <c:pt idx="454">
                  <c:v>103.9919709335344</c:v>
                </c:pt>
                <c:pt idx="455">
                  <c:v>103.19917842110569</c:v>
                </c:pt>
                <c:pt idx="456">
                  <c:v>104.01297721207766</c:v>
                </c:pt>
                <c:pt idx="457">
                  <c:v>103.57573541425141</c:v>
                </c:pt>
                <c:pt idx="458">
                  <c:v>104.18569550232219</c:v>
                </c:pt>
                <c:pt idx="459">
                  <c:v>104.94269954019572</c:v>
                </c:pt>
                <c:pt idx="460">
                  <c:v>106.37034847082055</c:v>
                </c:pt>
                <c:pt idx="461">
                  <c:v>104.9426995401957</c:v>
                </c:pt>
                <c:pt idx="462">
                  <c:v>105.03061470595081</c:v>
                </c:pt>
                <c:pt idx="463">
                  <c:v>104.93647545766437</c:v>
                </c:pt>
                <c:pt idx="464">
                  <c:v>105.81173706363327</c:v>
                </c:pt>
                <c:pt idx="465">
                  <c:v>104.45021900990388</c:v>
                </c:pt>
                <c:pt idx="466">
                  <c:v>105.27335392467283</c:v>
                </c:pt>
                <c:pt idx="467">
                  <c:v>106.72745520605584</c:v>
                </c:pt>
                <c:pt idx="468">
                  <c:v>107.46578699633537</c:v>
                </c:pt>
                <c:pt idx="469">
                  <c:v>107.36697968615043</c:v>
                </c:pt>
                <c:pt idx="470">
                  <c:v>106.40691495569212</c:v>
                </c:pt>
                <c:pt idx="471">
                  <c:v>103.52438673336789</c:v>
                </c:pt>
                <c:pt idx="472">
                  <c:v>103.57962546583347</c:v>
                </c:pt>
                <c:pt idx="473">
                  <c:v>103.22251873059817</c:v>
                </c:pt>
                <c:pt idx="474">
                  <c:v>103.76323590050784</c:v>
                </c:pt>
                <c:pt idx="475">
                  <c:v>101.47899761150812</c:v>
                </c:pt>
                <c:pt idx="476">
                  <c:v>100.62552029439888</c:v>
                </c:pt>
                <c:pt idx="477">
                  <c:v>99.069499661565288</c:v>
                </c:pt>
                <c:pt idx="478">
                  <c:v>102.7479324375839</c:v>
                </c:pt>
                <c:pt idx="479">
                  <c:v>101.82365618168073</c:v>
                </c:pt>
                <c:pt idx="480">
                  <c:v>102.34570110399639</c:v>
                </c:pt>
                <c:pt idx="481">
                  <c:v>100.21862089891289</c:v>
                </c:pt>
                <c:pt idx="482">
                  <c:v>99.320796993767885</c:v>
                </c:pt>
                <c:pt idx="483">
                  <c:v>103.53294484684841</c:v>
                </c:pt>
                <c:pt idx="484">
                  <c:v>101.01841550418935</c:v>
                </c:pt>
                <c:pt idx="485">
                  <c:v>103.43724957792917</c:v>
                </c:pt>
                <c:pt idx="486">
                  <c:v>105.02205659247018</c:v>
                </c:pt>
                <c:pt idx="487">
                  <c:v>105.26401780087581</c:v>
                </c:pt>
                <c:pt idx="488">
                  <c:v>104.3412975656055</c:v>
                </c:pt>
                <c:pt idx="489">
                  <c:v>103.14549570927289</c:v>
                </c:pt>
                <c:pt idx="490">
                  <c:v>102.3254728357696</c:v>
                </c:pt>
                <c:pt idx="491">
                  <c:v>102.90742455244937</c:v>
                </c:pt>
                <c:pt idx="492">
                  <c:v>106.6014175347963</c:v>
                </c:pt>
                <c:pt idx="493">
                  <c:v>106.39524480094583</c:v>
                </c:pt>
                <c:pt idx="494">
                  <c:v>106.53373063726804</c:v>
                </c:pt>
                <c:pt idx="495">
                  <c:v>106.61853376175749</c:v>
                </c:pt>
                <c:pt idx="496">
                  <c:v>106.78502796947069</c:v>
                </c:pt>
                <c:pt idx="497">
                  <c:v>106.24042074797893</c:v>
                </c:pt>
                <c:pt idx="498">
                  <c:v>105.38071934833839</c:v>
                </c:pt>
                <c:pt idx="499">
                  <c:v>105.85219360008698</c:v>
                </c:pt>
                <c:pt idx="500">
                  <c:v>103.69554900297963</c:v>
                </c:pt>
                <c:pt idx="501">
                  <c:v>103.34466635027566</c:v>
                </c:pt>
                <c:pt idx="502">
                  <c:v>103.82003065360634</c:v>
                </c:pt>
                <c:pt idx="503">
                  <c:v>106.17584589171638</c:v>
                </c:pt>
                <c:pt idx="504">
                  <c:v>106.24197676861179</c:v>
                </c:pt>
                <c:pt idx="505">
                  <c:v>108.1691083223762</c:v>
                </c:pt>
                <c:pt idx="506">
                  <c:v>108.00105809403018</c:v>
                </c:pt>
                <c:pt idx="507">
                  <c:v>107.04955147705245</c:v>
                </c:pt>
                <c:pt idx="508">
                  <c:v>107.35997759330274</c:v>
                </c:pt>
                <c:pt idx="509">
                  <c:v>108.05162876459727</c:v>
                </c:pt>
                <c:pt idx="510">
                  <c:v>108.75339407000523</c:v>
                </c:pt>
                <c:pt idx="511">
                  <c:v>108.63902655349196</c:v>
                </c:pt>
                <c:pt idx="512">
                  <c:v>108.21656695167766</c:v>
                </c:pt>
                <c:pt idx="513">
                  <c:v>107.80033143239467</c:v>
                </c:pt>
                <c:pt idx="514">
                  <c:v>109.64810593388455</c:v>
                </c:pt>
                <c:pt idx="515">
                  <c:v>110.00287863817063</c:v>
                </c:pt>
                <c:pt idx="516">
                  <c:v>109.50417402534747</c:v>
                </c:pt>
                <c:pt idx="517">
                  <c:v>110.34209113612835</c:v>
                </c:pt>
                <c:pt idx="518">
                  <c:v>108.3433826332536</c:v>
                </c:pt>
                <c:pt idx="519">
                  <c:v>108.74094590494259</c:v>
                </c:pt>
                <c:pt idx="520">
                  <c:v>108.0096162075108</c:v>
                </c:pt>
                <c:pt idx="521">
                  <c:v>109.19997199162849</c:v>
                </c:pt>
                <c:pt idx="522">
                  <c:v>109.15795943454199</c:v>
                </c:pt>
                <c:pt idx="523">
                  <c:v>109.59520123236824</c:v>
                </c:pt>
                <c:pt idx="524">
                  <c:v>110.75521461414567</c:v>
                </c:pt>
                <c:pt idx="525">
                  <c:v>110.89370045046785</c:v>
                </c:pt>
                <c:pt idx="526">
                  <c:v>110.99328577096922</c:v>
                </c:pt>
                <c:pt idx="527">
                  <c:v>109.9639781223498</c:v>
                </c:pt>
                <c:pt idx="528">
                  <c:v>108.19867271440009</c:v>
                </c:pt>
                <c:pt idx="529">
                  <c:v>108.4818684695758</c:v>
                </c:pt>
                <c:pt idx="530">
                  <c:v>107.04877346673607</c:v>
                </c:pt>
                <c:pt idx="531">
                  <c:v>107.78165918480069</c:v>
                </c:pt>
                <c:pt idx="532">
                  <c:v>108.20878684851351</c:v>
                </c:pt>
                <c:pt idx="533">
                  <c:v>108.78607050329475</c:v>
                </c:pt>
                <c:pt idx="534">
                  <c:v>108.95100869037513</c:v>
                </c:pt>
                <c:pt idx="535">
                  <c:v>107.80655551492602</c:v>
                </c:pt>
                <c:pt idx="536">
                  <c:v>107.18259124115974</c:v>
                </c:pt>
                <c:pt idx="537">
                  <c:v>107.14758077692098</c:v>
                </c:pt>
                <c:pt idx="538">
                  <c:v>109.23653847650007</c:v>
                </c:pt>
                <c:pt idx="539">
                  <c:v>105.86230773420043</c:v>
                </c:pt>
                <c:pt idx="540">
                  <c:v>105.94633284837344</c:v>
                </c:pt>
                <c:pt idx="541">
                  <c:v>105.68803342332306</c:v>
                </c:pt>
                <c:pt idx="542">
                  <c:v>103.90249974714652</c:v>
                </c:pt>
                <c:pt idx="543">
                  <c:v>104.24326826573706</c:v>
                </c:pt>
                <c:pt idx="544">
                  <c:v>105.81173706363333</c:v>
                </c:pt>
                <c:pt idx="545">
                  <c:v>105.82029517711392</c:v>
                </c:pt>
                <c:pt idx="546">
                  <c:v>105.10374767569404</c:v>
                </c:pt>
                <c:pt idx="547">
                  <c:v>104.0829981405552</c:v>
                </c:pt>
                <c:pt idx="548">
                  <c:v>104.47355931939643</c:v>
                </c:pt>
                <c:pt idx="549">
                  <c:v>102.53631363151861</c:v>
                </c:pt>
                <c:pt idx="550">
                  <c:v>102.54175970373352</c:v>
                </c:pt>
                <c:pt idx="551">
                  <c:v>102.25311787634287</c:v>
                </c:pt>
                <c:pt idx="552">
                  <c:v>102.85062979935098</c:v>
                </c:pt>
                <c:pt idx="553">
                  <c:v>99.830393751020992</c:v>
                </c:pt>
                <c:pt idx="554">
                  <c:v>99.459282830090189</c:v>
                </c:pt>
                <c:pt idx="555">
                  <c:v>99.585320501349699</c:v>
                </c:pt>
                <c:pt idx="556">
                  <c:v>99.967323566710334</c:v>
                </c:pt>
                <c:pt idx="557">
                  <c:v>98.14755743661145</c:v>
                </c:pt>
                <c:pt idx="558">
                  <c:v>98.254922860276977</c:v>
                </c:pt>
                <c:pt idx="559">
                  <c:v>97.431009935191582</c:v>
                </c:pt>
                <c:pt idx="560">
                  <c:v>99.095174002007113</c:v>
                </c:pt>
                <c:pt idx="561">
                  <c:v>96.838166074081983</c:v>
                </c:pt>
                <c:pt idx="562">
                  <c:v>97.515035049364599</c:v>
                </c:pt>
                <c:pt idx="563">
                  <c:v>96.43360070954526</c:v>
                </c:pt>
                <c:pt idx="564">
                  <c:v>95.563007165474843</c:v>
                </c:pt>
                <c:pt idx="565">
                  <c:v>94.52125135179277</c:v>
                </c:pt>
                <c:pt idx="566">
                  <c:v>96.890292765281899</c:v>
                </c:pt>
                <c:pt idx="567">
                  <c:v>98.054196198641435</c:v>
                </c:pt>
                <c:pt idx="568">
                  <c:v>98.082204570032459</c:v>
                </c:pt>
                <c:pt idx="569">
                  <c:v>98.029299868516119</c:v>
                </c:pt>
                <c:pt idx="570">
                  <c:v>99.35191740642469</c:v>
                </c:pt>
                <c:pt idx="571">
                  <c:v>99.755704760644988</c:v>
                </c:pt>
                <c:pt idx="572">
                  <c:v>97.448904172469184</c:v>
                </c:pt>
                <c:pt idx="573">
                  <c:v>97.85502555763874</c:v>
                </c:pt>
                <c:pt idx="574">
                  <c:v>96.035259427539856</c:v>
                </c:pt>
                <c:pt idx="575">
                  <c:v>98.278263169769488</c:v>
                </c:pt>
                <c:pt idx="576">
                  <c:v>99.916752896143237</c:v>
                </c:pt>
                <c:pt idx="577">
                  <c:v>98.603471482031694</c:v>
                </c:pt>
                <c:pt idx="578">
                  <c:v>98.053418188325011</c:v>
                </c:pt>
                <c:pt idx="579">
                  <c:v>97.174266530774048</c:v>
                </c:pt>
                <c:pt idx="580">
                  <c:v>99.964989535761106</c:v>
                </c:pt>
                <c:pt idx="581">
                  <c:v>100.30031198213676</c:v>
                </c:pt>
                <c:pt idx="582">
                  <c:v>98.501552130581132</c:v>
                </c:pt>
                <c:pt idx="583">
                  <c:v>100.85503333774193</c:v>
                </c:pt>
                <c:pt idx="584">
                  <c:v>101.55524262251703</c:v>
                </c:pt>
                <c:pt idx="585">
                  <c:v>100.3314323947934</c:v>
                </c:pt>
                <c:pt idx="586">
                  <c:v>100.03890051582069</c:v>
                </c:pt>
                <c:pt idx="587">
                  <c:v>100.59128784047662</c:v>
                </c:pt>
                <c:pt idx="588">
                  <c:v>101.0012992772283</c:v>
                </c:pt>
                <c:pt idx="589">
                  <c:v>99.476399057051367</c:v>
                </c:pt>
                <c:pt idx="590">
                  <c:v>98.549788770198973</c:v>
                </c:pt>
                <c:pt idx="591">
                  <c:v>99.16052686858616</c:v>
                </c:pt>
                <c:pt idx="592">
                  <c:v>99.40793414920671</c:v>
                </c:pt>
                <c:pt idx="593">
                  <c:v>100.53449308737824</c:v>
                </c:pt>
                <c:pt idx="594">
                  <c:v>98.561458924945242</c:v>
                </c:pt>
                <c:pt idx="595">
                  <c:v>98.924789742711894</c:v>
                </c:pt>
                <c:pt idx="596">
                  <c:v>99.714470213874947</c:v>
                </c:pt>
                <c:pt idx="597">
                  <c:v>101.1942458356997</c:v>
                </c:pt>
                <c:pt idx="598">
                  <c:v>99.805497420895705</c:v>
                </c:pt>
                <c:pt idx="599">
                  <c:v>99.397042004776907</c:v>
                </c:pt>
                <c:pt idx="600">
                  <c:v>99.19475932250856</c:v>
                </c:pt>
                <c:pt idx="601">
                  <c:v>96.226649965378485</c:v>
                </c:pt>
                <c:pt idx="602">
                  <c:v>96.652999618774899</c:v>
                </c:pt>
                <c:pt idx="603">
                  <c:v>98.635369905004893</c:v>
                </c:pt>
                <c:pt idx="604">
                  <c:v>95.268141255553019</c:v>
                </c:pt>
                <c:pt idx="605">
                  <c:v>95.853983023814877</c:v>
                </c:pt>
                <c:pt idx="606">
                  <c:v>97.177378572039842</c:v>
                </c:pt>
                <c:pt idx="607">
                  <c:v>97.383551305890293</c:v>
                </c:pt>
                <c:pt idx="608">
                  <c:v>92.793290439031196</c:v>
                </c:pt>
                <c:pt idx="609">
                  <c:v>94.418553990025885</c:v>
                </c:pt>
                <c:pt idx="610">
                  <c:v>89.96833498012181</c:v>
                </c:pt>
                <c:pt idx="611">
                  <c:v>93.867722686002779</c:v>
                </c:pt>
                <c:pt idx="612">
                  <c:v>97.646518792839146</c:v>
                </c:pt>
                <c:pt idx="613">
                  <c:v>93.912847284354939</c:v>
                </c:pt>
                <c:pt idx="614">
                  <c:v>92.444741817276451</c:v>
                </c:pt>
                <c:pt idx="615">
                  <c:v>92.261909392918497</c:v>
                </c:pt>
                <c:pt idx="616">
                  <c:v>94.075451440486049</c:v>
                </c:pt>
                <c:pt idx="617">
                  <c:v>94.373429391673682</c:v>
                </c:pt>
                <c:pt idx="618">
                  <c:v>86.078283398037811</c:v>
                </c:pt>
                <c:pt idx="619">
                  <c:v>90.744011265589322</c:v>
                </c:pt>
                <c:pt idx="620">
                  <c:v>90.331665797888419</c:v>
                </c:pt>
                <c:pt idx="621">
                  <c:v>86.692133537690665</c:v>
                </c:pt>
                <c:pt idx="622">
                  <c:v>85.521228011483387</c:v>
                </c:pt>
                <c:pt idx="623">
                  <c:v>82.227132331774683</c:v>
                </c:pt>
                <c:pt idx="624">
                  <c:v>77.507721752390395</c:v>
                </c:pt>
                <c:pt idx="625">
                  <c:v>76.629348105155842</c:v>
                </c:pt>
                <c:pt idx="626">
                  <c:v>70.792714711397025</c:v>
                </c:pt>
                <c:pt idx="627">
                  <c:v>69.960243672831055</c:v>
                </c:pt>
                <c:pt idx="628">
                  <c:v>78.061665097679153</c:v>
                </c:pt>
                <c:pt idx="629">
                  <c:v>77.646207588712585</c:v>
                </c:pt>
                <c:pt idx="630">
                  <c:v>70.630888565582339</c:v>
                </c:pt>
                <c:pt idx="631">
                  <c:v>73.633230376634742</c:v>
                </c:pt>
                <c:pt idx="632">
                  <c:v>73.175760310581666</c:v>
                </c:pt>
                <c:pt idx="633">
                  <c:v>76.665136579710989</c:v>
                </c:pt>
                <c:pt idx="634">
                  <c:v>74.303875269386012</c:v>
                </c:pt>
                <c:pt idx="635">
                  <c:v>69.770409155625359</c:v>
                </c:pt>
                <c:pt idx="636">
                  <c:v>70.651894844125579</c:v>
                </c:pt>
                <c:pt idx="637">
                  <c:v>68.213610512475341</c:v>
                </c:pt>
                <c:pt idx="638">
                  <c:v>66.046851781254574</c:v>
                </c:pt>
                <c:pt idx="639">
                  <c:v>73.172648269315999</c:v>
                </c:pt>
                <c:pt idx="640">
                  <c:v>72.361961519609693</c:v>
                </c:pt>
                <c:pt idx="641">
                  <c:v>74.229186279009994</c:v>
                </c:pt>
                <c:pt idx="642">
                  <c:v>75.369749402877019</c:v>
                </c:pt>
                <c:pt idx="643">
                  <c:v>75.179136875354899</c:v>
                </c:pt>
                <c:pt idx="644">
                  <c:v>78.248387573619155</c:v>
                </c:pt>
                <c:pt idx="645">
                  <c:v>74.126488917242966</c:v>
                </c:pt>
                <c:pt idx="646">
                  <c:v>70.400597511922939</c:v>
                </c:pt>
                <c:pt idx="647">
                  <c:v>72.431982448087197</c:v>
                </c:pt>
                <c:pt idx="648">
                  <c:v>71.515486295348211</c:v>
                </c:pt>
                <c:pt idx="649">
                  <c:v>69.939237394287773</c:v>
                </c:pt>
                <c:pt idx="650">
                  <c:v>66.309819268203427</c:v>
                </c:pt>
                <c:pt idx="651">
                  <c:v>70.8993021247461</c:v>
                </c:pt>
                <c:pt idx="652">
                  <c:v>67.942862922362295</c:v>
                </c:pt>
                <c:pt idx="653">
                  <c:v>66.189227669158839</c:v>
                </c:pt>
                <c:pt idx="654">
                  <c:v>66.840422303999702</c:v>
                </c:pt>
                <c:pt idx="655">
                  <c:v>62.75275610154587</c:v>
                </c:pt>
                <c:pt idx="656">
                  <c:v>58.540608248465347</c:v>
                </c:pt>
                <c:pt idx="657">
                  <c:v>62.243159344292856</c:v>
                </c:pt>
                <c:pt idx="658">
                  <c:v>66.271696762699023</c:v>
                </c:pt>
                <c:pt idx="659">
                  <c:v>66.705826519259602</c:v>
                </c:pt>
                <c:pt idx="660">
                  <c:v>69.06241976768608</c:v>
                </c:pt>
                <c:pt idx="661">
                  <c:v>69.728396598538851</c:v>
                </c:pt>
                <c:pt idx="662">
                  <c:v>63.501980036255247</c:v>
                </c:pt>
                <c:pt idx="663">
                  <c:v>66.038293667773985</c:v>
                </c:pt>
                <c:pt idx="664">
                  <c:v>67.744470291676024</c:v>
                </c:pt>
                <c:pt idx="665">
                  <c:v>65.758987964180378</c:v>
                </c:pt>
                <c:pt idx="666">
                  <c:v>68.159149790326197</c:v>
                </c:pt>
                <c:pt idx="667">
                  <c:v>70.775598484435875</c:v>
                </c:pt>
                <c:pt idx="668">
                  <c:v>69.139442789011355</c:v>
                </c:pt>
                <c:pt idx="669">
                  <c:v>69.961799693463902</c:v>
                </c:pt>
                <c:pt idx="670">
                  <c:v>67.96620323185482</c:v>
                </c:pt>
                <c:pt idx="671">
                  <c:v>68.443901566134727</c:v>
                </c:pt>
                <c:pt idx="672">
                  <c:v>67.575642053013581</c:v>
                </c:pt>
                <c:pt idx="673">
                  <c:v>71.046346074548907</c:v>
                </c:pt>
                <c:pt idx="674">
                  <c:v>70.364809037367792</c:v>
                </c:pt>
                <c:pt idx="675">
                  <c:v>68.875697291746036</c:v>
                </c:pt>
                <c:pt idx="676">
                  <c:v>69.077979974014397</c:v>
                </c:pt>
                <c:pt idx="677">
                  <c:v>67.813713209837118</c:v>
                </c:pt>
                <c:pt idx="678">
                  <c:v>67.15473847183209</c:v>
                </c:pt>
                <c:pt idx="679">
                  <c:v>67.542965619724072</c:v>
                </c:pt>
                <c:pt idx="680">
                  <c:v>67.904740416857862</c:v>
                </c:pt>
                <c:pt idx="681">
                  <c:v>67.641772929908981</c:v>
                </c:pt>
                <c:pt idx="682">
                  <c:v>69.292710821345423</c:v>
                </c:pt>
                <c:pt idx="683">
                  <c:v>70.273781830347005</c:v>
                </c:pt>
                <c:pt idx="684">
                  <c:v>72.495001283716945</c:v>
                </c:pt>
                <c:pt idx="685">
                  <c:v>72.156566796075637</c:v>
                </c:pt>
                <c:pt idx="686">
                  <c:v>72.720624275477817</c:v>
                </c:pt>
                <c:pt idx="687">
                  <c:v>70.538305337928705</c:v>
                </c:pt>
                <c:pt idx="688">
                  <c:v>70.777932515385075</c:v>
                </c:pt>
                <c:pt idx="689">
                  <c:v>69.270148522169336</c:v>
                </c:pt>
                <c:pt idx="690">
                  <c:v>67.707125796487986</c:v>
                </c:pt>
                <c:pt idx="691">
                  <c:v>67.826161374899769</c:v>
                </c:pt>
                <c:pt idx="692">
                  <c:v>65.556705281911974</c:v>
                </c:pt>
                <c:pt idx="693">
                  <c:v>65.643842437350656</c:v>
                </c:pt>
                <c:pt idx="694">
                  <c:v>66.140213019224575</c:v>
                </c:pt>
                <c:pt idx="695">
                  <c:v>62.646946698513176</c:v>
                </c:pt>
                <c:pt idx="696">
                  <c:v>65.371538826604791</c:v>
                </c:pt>
                <c:pt idx="697">
                  <c:v>64.380353683489787</c:v>
                </c:pt>
                <c:pt idx="698">
                  <c:v>64.726568274295275</c:v>
                </c:pt>
                <c:pt idx="699">
                  <c:v>65.086009040479837</c:v>
                </c:pt>
                <c:pt idx="700">
                  <c:v>65.797110469684796</c:v>
                </c:pt>
                <c:pt idx="701">
                  <c:v>68.005103747675648</c:v>
                </c:pt>
                <c:pt idx="702">
                  <c:v>65.752763881649017</c:v>
                </c:pt>
                <c:pt idx="703">
                  <c:v>64.254316012230277</c:v>
                </c:pt>
                <c:pt idx="704">
                  <c:v>64.220083558307948</c:v>
                </c:pt>
                <c:pt idx="705">
                  <c:v>65.236943041864691</c:v>
                </c:pt>
                <c:pt idx="706">
                  <c:v>64.748352563154953</c:v>
                </c:pt>
                <c:pt idx="707">
                  <c:v>65.808002614114628</c:v>
                </c:pt>
                <c:pt idx="708">
                  <c:v>67.577976083962852</c:v>
                </c:pt>
                <c:pt idx="709">
                  <c:v>67.678339414780623</c:v>
                </c:pt>
                <c:pt idx="710">
                  <c:v>64.353901332731652</c:v>
                </c:pt>
                <c:pt idx="711">
                  <c:v>64.865832120933916</c:v>
                </c:pt>
                <c:pt idx="712">
                  <c:v>64.978643616814352</c:v>
                </c:pt>
                <c:pt idx="713">
                  <c:v>64.329005002606337</c:v>
                </c:pt>
                <c:pt idx="714">
                  <c:v>61.398240140664257</c:v>
                </c:pt>
                <c:pt idx="715">
                  <c:v>61.339889366932994</c:v>
                </c:pt>
                <c:pt idx="716">
                  <c:v>60.602335586969879</c:v>
                </c:pt>
                <c:pt idx="717">
                  <c:v>59.910684415675334</c:v>
                </c:pt>
                <c:pt idx="718">
                  <c:v>57.831840850209659</c:v>
                </c:pt>
                <c:pt idx="719">
                  <c:v>60.151089603448114</c:v>
                </c:pt>
                <c:pt idx="720">
                  <c:v>59.510009102720673</c:v>
                </c:pt>
                <c:pt idx="721">
                  <c:v>58.570950650805607</c:v>
                </c:pt>
                <c:pt idx="722">
                  <c:v>57.190760349482218</c:v>
                </c:pt>
                <c:pt idx="723">
                  <c:v>54.524518995121866</c:v>
                </c:pt>
                <c:pt idx="724">
                  <c:v>54.175192363050726</c:v>
                </c:pt>
                <c:pt idx="725">
                  <c:v>55.462021426404107</c:v>
                </c:pt>
                <c:pt idx="726">
                  <c:v>53.103094147028379</c:v>
                </c:pt>
                <c:pt idx="727">
                  <c:v>53.167669003290982</c:v>
                </c:pt>
                <c:pt idx="728">
                  <c:v>52.634731936545478</c:v>
                </c:pt>
                <c:pt idx="729">
                  <c:v>55.985622369352619</c:v>
                </c:pt>
                <c:pt idx="730">
                  <c:v>56.122552185041975</c:v>
                </c:pt>
                <c:pt idx="731">
                  <c:v>58.408346494674518</c:v>
                </c:pt>
                <c:pt idx="732">
                  <c:v>58.860370488512686</c:v>
                </c:pt>
                <c:pt idx="733">
                  <c:v>58.653419744345818</c:v>
                </c:pt>
                <c:pt idx="734">
                  <c:v>60.538538741023714</c:v>
                </c:pt>
                <c:pt idx="735">
                  <c:v>61.801249484568167</c:v>
                </c:pt>
                <c:pt idx="736">
                  <c:v>60.99912084834245</c:v>
                </c:pt>
                <c:pt idx="737">
                  <c:v>59.793204857896406</c:v>
                </c:pt>
                <c:pt idx="738">
                  <c:v>64.024024958570948</c:v>
                </c:pt>
                <c:pt idx="739">
                  <c:v>62.716967626990744</c:v>
                </c:pt>
                <c:pt idx="740">
                  <c:v>63.32070363253019</c:v>
                </c:pt>
                <c:pt idx="741">
                  <c:v>64.797367213089288</c:v>
                </c:pt>
                <c:pt idx="742">
                  <c:v>63.480973757712071</c:v>
                </c:pt>
                <c:pt idx="743">
                  <c:v>61.270646448771949</c:v>
                </c:pt>
                <c:pt idx="744">
                  <c:v>62.075109115946915</c:v>
                </c:pt>
                <c:pt idx="745">
                  <c:v>63.102860743933505</c:v>
                </c:pt>
                <c:pt idx="746">
                  <c:v>64.915624781184633</c:v>
                </c:pt>
                <c:pt idx="747">
                  <c:v>65.547369158115075</c:v>
                </c:pt>
                <c:pt idx="748">
                  <c:v>65.001205915990482</c:v>
                </c:pt>
                <c:pt idx="749">
                  <c:v>63.450631355371804</c:v>
                </c:pt>
                <c:pt idx="750">
                  <c:v>64.198299269448356</c:v>
                </c:pt>
                <c:pt idx="751">
                  <c:v>66.641251662997092</c:v>
                </c:pt>
                <c:pt idx="752">
                  <c:v>66.810079901659535</c:v>
                </c:pt>
                <c:pt idx="753">
                  <c:v>65.469568126473391</c:v>
                </c:pt>
                <c:pt idx="754">
                  <c:v>66.291147020609515</c:v>
                </c:pt>
                <c:pt idx="755">
                  <c:v>67.321232679545346</c:v>
                </c:pt>
                <c:pt idx="756">
                  <c:v>67.655777115604565</c:v>
                </c:pt>
                <c:pt idx="757">
                  <c:v>64.76080072821766</c:v>
                </c:pt>
                <c:pt idx="758">
                  <c:v>66.13710097795898</c:v>
                </c:pt>
                <c:pt idx="759">
                  <c:v>65.629060241338806</c:v>
                </c:pt>
                <c:pt idx="760">
                  <c:v>66.280254876179654</c:v>
                </c:pt>
                <c:pt idx="761">
                  <c:v>67.393587638972093</c:v>
                </c:pt>
                <c:pt idx="762">
                  <c:v>66.715162643056644</c:v>
                </c:pt>
                <c:pt idx="763">
                  <c:v>66.532330218698689</c:v>
                </c:pt>
                <c:pt idx="764">
                  <c:v>67.970093283436938</c:v>
                </c:pt>
                <c:pt idx="765">
                  <c:v>67.905518427174357</c:v>
                </c:pt>
                <c:pt idx="766">
                  <c:v>68.271961286206661</c:v>
                </c:pt>
                <c:pt idx="767">
                  <c:v>70.584207946597388</c:v>
                </c:pt>
                <c:pt idx="768">
                  <c:v>70.316572397750008</c:v>
                </c:pt>
                <c:pt idx="769">
                  <c:v>71.54038262547364</c:v>
                </c:pt>
                <c:pt idx="770">
                  <c:v>70.595878101343644</c:v>
                </c:pt>
                <c:pt idx="771">
                  <c:v>72.295052632397926</c:v>
                </c:pt>
                <c:pt idx="772">
                  <c:v>70.739810009880756</c:v>
                </c:pt>
                <c:pt idx="773">
                  <c:v>70.670567091719661</c:v>
                </c:pt>
                <c:pt idx="774">
                  <c:v>68.769887888713427</c:v>
                </c:pt>
                <c:pt idx="775">
                  <c:v>69.48176732823481</c:v>
                </c:pt>
                <c:pt idx="776">
                  <c:v>68.688974815806105</c:v>
                </c:pt>
                <c:pt idx="777">
                  <c:v>70.77637649475237</c:v>
                </c:pt>
                <c:pt idx="778">
                  <c:v>70.653450864758511</c:v>
                </c:pt>
                <c:pt idx="779">
                  <c:v>70.290898057308283</c:v>
                </c:pt>
                <c:pt idx="780">
                  <c:v>69.112990438253249</c:v>
                </c:pt>
                <c:pt idx="781">
                  <c:v>69.009515066169811</c:v>
                </c:pt>
                <c:pt idx="782">
                  <c:v>70.82461313437021</c:v>
                </c:pt>
                <c:pt idx="783">
                  <c:v>69.4809893179184</c:v>
                </c:pt>
                <c:pt idx="784">
                  <c:v>70.552309523624331</c:v>
                </c:pt>
                <c:pt idx="785">
                  <c:v>71.510040223133402</c:v>
                </c:pt>
                <c:pt idx="786">
                  <c:v>73.356258703990463</c:v>
                </c:pt>
                <c:pt idx="787">
                  <c:v>73.501746633160394</c:v>
                </c:pt>
                <c:pt idx="788">
                  <c:v>72.491889242451393</c:v>
                </c:pt>
                <c:pt idx="789">
                  <c:v>73.324360281017363</c:v>
                </c:pt>
                <c:pt idx="790">
                  <c:v>73.139971836026589</c:v>
                </c:pt>
                <c:pt idx="791">
                  <c:v>73.066060855966995</c:v>
                </c:pt>
                <c:pt idx="792">
                  <c:v>73.32202625006812</c:v>
                </c:pt>
                <c:pt idx="793">
                  <c:v>73.066838866283419</c:v>
                </c:pt>
                <c:pt idx="794">
                  <c:v>73.51341678790665</c:v>
                </c:pt>
                <c:pt idx="795">
                  <c:v>73.616114149673678</c:v>
                </c:pt>
                <c:pt idx="796">
                  <c:v>71.866368948052283</c:v>
                </c:pt>
                <c:pt idx="797">
                  <c:v>70.95220682626254</c:v>
                </c:pt>
                <c:pt idx="798">
                  <c:v>70.854177526394025</c:v>
                </c:pt>
                <c:pt idx="799">
                  <c:v>71.450133428769291</c:v>
                </c:pt>
                <c:pt idx="800">
                  <c:v>71.672644379264497</c:v>
                </c:pt>
                <c:pt idx="801">
                  <c:v>69.479433297285553</c:v>
                </c:pt>
                <c:pt idx="802">
                  <c:v>69.63970342246742</c:v>
                </c:pt>
                <c:pt idx="803">
                  <c:v>70.094061447254816</c:v>
                </c:pt>
                <c:pt idx="804">
                  <c:v>71.59717737857207</c:v>
                </c:pt>
                <c:pt idx="805">
                  <c:v>71.49136797553939</c:v>
                </c:pt>
                <c:pt idx="806">
                  <c:v>72.139450569114587</c:v>
                </c:pt>
                <c:pt idx="807">
                  <c:v>71.524044408828914</c:v>
                </c:pt>
                <c:pt idx="808">
                  <c:v>71.836026545712045</c:v>
                </c:pt>
                <c:pt idx="809">
                  <c:v>69.742400784234434</c:v>
                </c:pt>
                <c:pt idx="810">
                  <c:v>69.921343157010284</c:v>
                </c:pt>
                <c:pt idx="811">
                  <c:v>68.545042907268979</c:v>
                </c:pt>
                <c:pt idx="812">
                  <c:v>68.430675390755695</c:v>
                </c:pt>
                <c:pt idx="813">
                  <c:v>68.673414609477732</c:v>
                </c:pt>
                <c:pt idx="814">
                  <c:v>68.397220947149762</c:v>
                </c:pt>
                <c:pt idx="815">
                  <c:v>70.102619560735363</c:v>
                </c:pt>
                <c:pt idx="816">
                  <c:v>70.475286502298999</c:v>
                </c:pt>
                <c:pt idx="817">
                  <c:v>72.563466191561673</c:v>
                </c:pt>
                <c:pt idx="818">
                  <c:v>73.190542506593616</c:v>
                </c:pt>
                <c:pt idx="819">
                  <c:v>73.16253413520262</c:v>
                </c:pt>
                <c:pt idx="820">
                  <c:v>73.998895225350694</c:v>
                </c:pt>
                <c:pt idx="821">
                  <c:v>74.267308784514498</c:v>
                </c:pt>
                <c:pt idx="822">
                  <c:v>74.227630258377246</c:v>
                </c:pt>
                <c:pt idx="823">
                  <c:v>75.956369181455358</c:v>
                </c:pt>
                <c:pt idx="824">
                  <c:v>76.187438245431153</c:v>
                </c:pt>
                <c:pt idx="825">
                  <c:v>76.414617257824858</c:v>
                </c:pt>
                <c:pt idx="826">
                  <c:v>76.215446616822163</c:v>
                </c:pt>
                <c:pt idx="827">
                  <c:v>75.867676005383856</c:v>
                </c:pt>
                <c:pt idx="828">
                  <c:v>76.77016797242733</c:v>
                </c:pt>
                <c:pt idx="829">
                  <c:v>76.82696272552576</c:v>
                </c:pt>
                <c:pt idx="830">
                  <c:v>78.005648354897218</c:v>
                </c:pt>
                <c:pt idx="831">
                  <c:v>78.240607470455075</c:v>
                </c:pt>
                <c:pt idx="832">
                  <c:v>78.012650447744946</c:v>
                </c:pt>
                <c:pt idx="833">
                  <c:v>77.573852629285881</c:v>
                </c:pt>
                <c:pt idx="834">
                  <c:v>78.616386453284392</c:v>
                </c:pt>
                <c:pt idx="835">
                  <c:v>78.353418966335511</c:v>
                </c:pt>
                <c:pt idx="836">
                  <c:v>77.361455812904111</c:v>
                </c:pt>
                <c:pt idx="837">
                  <c:v>78.253055635517754</c:v>
                </c:pt>
                <c:pt idx="838">
                  <c:v>78.791438774478166</c:v>
                </c:pt>
                <c:pt idx="839">
                  <c:v>78.119237861094049</c:v>
                </c:pt>
                <c:pt idx="840">
                  <c:v>76.224004730302738</c:v>
                </c:pt>
                <c:pt idx="841">
                  <c:v>76.997346984821036</c:v>
                </c:pt>
                <c:pt idx="842">
                  <c:v>77.52561598966804</c:v>
                </c:pt>
                <c:pt idx="843">
                  <c:v>78.374425244878765</c:v>
                </c:pt>
                <c:pt idx="844">
                  <c:v>79.833972598476691</c:v>
                </c:pt>
                <c:pt idx="845">
                  <c:v>79.790404020757336</c:v>
                </c:pt>
                <c:pt idx="846">
                  <c:v>79.979460527646623</c:v>
                </c:pt>
                <c:pt idx="847">
                  <c:v>79.988796651443607</c:v>
                </c:pt>
                <c:pt idx="848">
                  <c:v>80.211307601938827</c:v>
                </c:pt>
                <c:pt idx="849">
                  <c:v>80.051815487073398</c:v>
                </c:pt>
                <c:pt idx="850">
                  <c:v>79.405288914131035</c:v>
                </c:pt>
                <c:pt idx="851">
                  <c:v>77.648541619661898</c:v>
                </c:pt>
                <c:pt idx="852">
                  <c:v>77.392576225560774</c:v>
                </c:pt>
                <c:pt idx="853">
                  <c:v>78.053106984198635</c:v>
                </c:pt>
                <c:pt idx="854">
                  <c:v>79.076968560603135</c:v>
                </c:pt>
                <c:pt idx="855">
                  <c:v>79.776399835061838</c:v>
                </c:pt>
                <c:pt idx="856">
                  <c:v>80.397252067562434</c:v>
                </c:pt>
                <c:pt idx="857">
                  <c:v>81.235169178343341</c:v>
                </c:pt>
                <c:pt idx="858">
                  <c:v>81.125469723728557</c:v>
                </c:pt>
                <c:pt idx="859">
                  <c:v>81.639734542880035</c:v>
                </c:pt>
                <c:pt idx="860">
                  <c:v>81.895699936981174</c:v>
                </c:pt>
                <c:pt idx="861">
                  <c:v>83.150630577361454</c:v>
                </c:pt>
                <c:pt idx="862">
                  <c:v>82.896221203893163</c:v>
                </c:pt>
                <c:pt idx="863">
                  <c:v>83.114842102806278</c:v>
                </c:pt>
                <c:pt idx="864">
                  <c:v>82.831646347630567</c:v>
                </c:pt>
                <c:pt idx="865">
                  <c:v>83.376253569122326</c:v>
                </c:pt>
                <c:pt idx="866">
                  <c:v>82.536780437708586</c:v>
                </c:pt>
                <c:pt idx="867">
                  <c:v>81.751768028444062</c:v>
                </c:pt>
                <c:pt idx="868">
                  <c:v>81.253841425937324</c:v>
                </c:pt>
                <c:pt idx="869">
                  <c:v>82.700940614472557</c:v>
                </c:pt>
                <c:pt idx="870">
                  <c:v>82.51655216948177</c:v>
                </c:pt>
                <c:pt idx="871">
                  <c:v>82.241914527786648</c:v>
                </c:pt>
                <c:pt idx="872">
                  <c:v>80.123392436183721</c:v>
                </c:pt>
                <c:pt idx="873">
                  <c:v>79.762395649366326</c:v>
                </c:pt>
                <c:pt idx="874">
                  <c:v>80.948861381901949</c:v>
                </c:pt>
                <c:pt idx="875">
                  <c:v>82.058304093112284</c:v>
                </c:pt>
                <c:pt idx="876">
                  <c:v>82.280815043607475</c:v>
                </c:pt>
                <c:pt idx="877">
                  <c:v>82.895443193576753</c:v>
                </c:pt>
                <c:pt idx="878">
                  <c:v>83.363027393743238</c:v>
                </c:pt>
                <c:pt idx="879">
                  <c:v>83.728692242459147</c:v>
                </c:pt>
                <c:pt idx="880">
                  <c:v>83.495289147534095</c:v>
                </c:pt>
                <c:pt idx="881">
                  <c:v>84.960282573346902</c:v>
                </c:pt>
                <c:pt idx="882">
                  <c:v>85.313499257000117</c:v>
                </c:pt>
                <c:pt idx="883">
                  <c:v>84.622626096022017</c:v>
                </c:pt>
                <c:pt idx="884">
                  <c:v>85.418530649716416</c:v>
                </c:pt>
                <c:pt idx="885">
                  <c:v>84.885593582970898</c:v>
                </c:pt>
                <c:pt idx="886">
                  <c:v>84.134035617312293</c:v>
                </c:pt>
                <c:pt idx="887">
                  <c:v>85.029525491508025</c:v>
                </c:pt>
                <c:pt idx="888">
                  <c:v>83.993993760357256</c:v>
                </c:pt>
                <c:pt idx="889">
                  <c:v>83.009810710090022</c:v>
                </c:pt>
                <c:pt idx="890">
                  <c:v>82.734395058078476</c:v>
                </c:pt>
                <c:pt idx="891">
                  <c:v>81.117689620564391</c:v>
                </c:pt>
                <c:pt idx="892">
                  <c:v>82.944457843511017</c:v>
                </c:pt>
                <c:pt idx="893">
                  <c:v>80.616650976791973</c:v>
                </c:pt>
                <c:pt idx="894">
                  <c:v>81.137139878474812</c:v>
                </c:pt>
                <c:pt idx="895">
                  <c:v>81.333976488528251</c:v>
                </c:pt>
                <c:pt idx="896">
                  <c:v>81.418779613017676</c:v>
                </c:pt>
                <c:pt idx="897">
                  <c:v>82.984914379964692</c:v>
                </c:pt>
                <c:pt idx="898">
                  <c:v>83.192643134447977</c:v>
                </c:pt>
                <c:pt idx="899">
                  <c:v>85.042751666887099</c:v>
                </c:pt>
                <c:pt idx="900">
                  <c:v>85.037305594672191</c:v>
                </c:pt>
                <c:pt idx="901">
                  <c:v>85.465211268701424</c:v>
                </c:pt>
                <c:pt idx="902">
                  <c:v>84.588393642099703</c:v>
                </c:pt>
                <c:pt idx="903">
                  <c:v>85.07387207954379</c:v>
                </c:pt>
                <c:pt idx="904">
                  <c:v>86.30468440011515</c:v>
                </c:pt>
                <c:pt idx="905">
                  <c:v>86.384041452389667</c:v>
                </c:pt>
                <c:pt idx="906">
                  <c:v>86.343584915935992</c:v>
                </c:pt>
                <c:pt idx="907">
                  <c:v>85.184349544474969</c:v>
                </c:pt>
                <c:pt idx="908">
                  <c:v>84.910489913096256</c:v>
                </c:pt>
                <c:pt idx="909">
                  <c:v>86.066613243291613</c:v>
                </c:pt>
                <c:pt idx="910">
                  <c:v>86.020710634623029</c:v>
                </c:pt>
                <c:pt idx="911">
                  <c:v>86.408159772198601</c:v>
                </c:pt>
                <c:pt idx="912">
                  <c:v>84.919048026576846</c:v>
                </c:pt>
                <c:pt idx="913">
                  <c:v>85.241144297573413</c:v>
                </c:pt>
                <c:pt idx="914">
                  <c:v>86.270451946192821</c:v>
                </c:pt>
                <c:pt idx="915">
                  <c:v>86.300016338216665</c:v>
                </c:pt>
                <c:pt idx="916">
                  <c:v>85.574910723316208</c:v>
                </c:pt>
                <c:pt idx="917">
                  <c:v>86.046384975064782</c:v>
                </c:pt>
                <c:pt idx="918">
                  <c:v>85.833988158682999</c:v>
                </c:pt>
                <c:pt idx="919">
                  <c:v>84.954058490815612</c:v>
                </c:pt>
                <c:pt idx="920">
                  <c:v>85.266040627698743</c:v>
                </c:pt>
                <c:pt idx="921">
                  <c:v>85.763967230205481</c:v>
                </c:pt>
                <c:pt idx="922">
                  <c:v>86.079839418670716</c:v>
                </c:pt>
                <c:pt idx="923">
                  <c:v>86.67890736231162</c:v>
                </c:pt>
                <c:pt idx="924">
                  <c:v>86.19809698676606</c:v>
                </c:pt>
                <c:pt idx="925">
                  <c:v>86.295348276318137</c:v>
                </c:pt>
                <c:pt idx="926">
                  <c:v>85.276154761812123</c:v>
                </c:pt>
                <c:pt idx="927">
                  <c:v>85.773303354002465</c:v>
                </c:pt>
                <c:pt idx="928">
                  <c:v>86.674239300413106</c:v>
                </c:pt>
                <c:pt idx="929">
                  <c:v>86.983109396030557</c:v>
                </c:pt>
                <c:pt idx="930">
                  <c:v>87.183058047349675</c:v>
                </c:pt>
                <c:pt idx="931">
                  <c:v>87.641306123719176</c:v>
                </c:pt>
                <c:pt idx="932">
                  <c:v>87.742447464853356</c:v>
                </c:pt>
                <c:pt idx="933">
                  <c:v>87.619521834859512</c:v>
                </c:pt>
                <c:pt idx="934">
                  <c:v>87.63663806182069</c:v>
                </c:pt>
                <c:pt idx="935">
                  <c:v>86.755930383636866</c:v>
                </c:pt>
                <c:pt idx="936">
                  <c:v>88.147790839706531</c:v>
                </c:pt>
                <c:pt idx="937">
                  <c:v>88.422428481401653</c:v>
                </c:pt>
                <c:pt idx="938">
                  <c:v>88.470665121019493</c:v>
                </c:pt>
                <c:pt idx="939">
                  <c:v>88.824659814989147</c:v>
                </c:pt>
                <c:pt idx="940">
                  <c:v>89.080625209090257</c:v>
                </c:pt>
                <c:pt idx="941">
                  <c:v>89.236227272373625</c:v>
                </c:pt>
                <c:pt idx="942">
                  <c:v>88.399088171909156</c:v>
                </c:pt>
                <c:pt idx="943">
                  <c:v>89.135085931239431</c:v>
                </c:pt>
                <c:pt idx="944">
                  <c:v>89.351372799203304</c:v>
                </c:pt>
                <c:pt idx="945">
                  <c:v>88.38430597589722</c:v>
                </c:pt>
                <c:pt idx="946">
                  <c:v>89.48908062520907</c:v>
                </c:pt>
                <c:pt idx="947">
                  <c:v>88.540686049496983</c:v>
                </c:pt>
                <c:pt idx="948">
                  <c:v>86.863295807302379</c:v>
                </c:pt>
                <c:pt idx="949">
                  <c:v>84.940054305120043</c:v>
                </c:pt>
                <c:pt idx="950">
                  <c:v>85.330615483961267</c:v>
                </c:pt>
                <c:pt idx="951">
                  <c:v>84.971952728093129</c:v>
                </c:pt>
                <c:pt idx="952">
                  <c:v>85.386632226743259</c:v>
                </c:pt>
                <c:pt idx="953">
                  <c:v>84.377552846350682</c:v>
                </c:pt>
                <c:pt idx="954">
                  <c:v>83.548193849050378</c:v>
                </c:pt>
                <c:pt idx="955">
                  <c:v>84.74010565380091</c:v>
                </c:pt>
                <c:pt idx="956">
                  <c:v>85.839434230897822</c:v>
                </c:pt>
                <c:pt idx="957">
                  <c:v>85.369515999782081</c:v>
                </c:pt>
                <c:pt idx="958">
                  <c:v>82.711054748585894</c:v>
                </c:pt>
                <c:pt idx="959">
                  <c:v>82.950681926042265</c:v>
                </c:pt>
                <c:pt idx="960">
                  <c:v>82.215462177028385</c:v>
                </c:pt>
                <c:pt idx="961">
                  <c:v>83.28756039305074</c:v>
                </c:pt>
                <c:pt idx="962">
                  <c:v>83.101615927427133</c:v>
                </c:pt>
                <c:pt idx="963">
                  <c:v>83.906078594602093</c:v>
                </c:pt>
                <c:pt idx="964">
                  <c:v>83.675787540942707</c:v>
                </c:pt>
                <c:pt idx="965">
                  <c:v>85.182015513525613</c:v>
                </c:pt>
                <c:pt idx="966">
                  <c:v>85.543012300343008</c:v>
                </c:pt>
                <c:pt idx="967">
                  <c:v>86.106291769428765</c:v>
                </c:pt>
                <c:pt idx="968">
                  <c:v>86.294570266001642</c:v>
                </c:pt>
                <c:pt idx="969">
                  <c:v>86.204321069297293</c:v>
                </c:pt>
                <c:pt idx="970">
                  <c:v>85.161009234982359</c:v>
                </c:pt>
                <c:pt idx="971">
                  <c:v>85.988812211649844</c:v>
                </c:pt>
                <c:pt idx="972">
                  <c:v>85.809869838873979</c:v>
                </c:pt>
                <c:pt idx="973">
                  <c:v>85.930461437918595</c:v>
                </c:pt>
                <c:pt idx="974">
                  <c:v>86.803389012938226</c:v>
                </c:pt>
                <c:pt idx="975">
                  <c:v>87.005671695206587</c:v>
                </c:pt>
                <c:pt idx="976">
                  <c:v>87.043016190394596</c:v>
                </c:pt>
                <c:pt idx="977">
                  <c:v>87.368224502656815</c:v>
                </c:pt>
                <c:pt idx="978">
                  <c:v>88.592034730380433</c:v>
                </c:pt>
                <c:pt idx="979">
                  <c:v>88.576474524052088</c:v>
                </c:pt>
                <c:pt idx="980">
                  <c:v>88.728186535753366</c:v>
                </c:pt>
                <c:pt idx="981">
                  <c:v>89.129639859024408</c:v>
                </c:pt>
                <c:pt idx="982">
                  <c:v>89.489858635525394</c:v>
                </c:pt>
                <c:pt idx="983">
                  <c:v>89.470408377614987</c:v>
                </c:pt>
                <c:pt idx="984">
                  <c:v>89.510864914068662</c:v>
                </c:pt>
                <c:pt idx="985">
                  <c:v>90.2071841472617</c:v>
                </c:pt>
                <c:pt idx="986">
                  <c:v>90.732341110843024</c:v>
                </c:pt>
                <c:pt idx="987">
                  <c:v>90.70277671881918</c:v>
                </c:pt>
                <c:pt idx="988">
                  <c:v>90.241416601184028</c:v>
                </c:pt>
                <c:pt idx="989">
                  <c:v>90.701220698186333</c:v>
                </c:pt>
                <c:pt idx="990">
                  <c:v>91.351637322710786</c:v>
                </c:pt>
                <c:pt idx="991">
                  <c:v>90.849820668621959</c:v>
                </c:pt>
                <c:pt idx="992">
                  <c:v>90.694996615655029</c:v>
                </c:pt>
                <c:pt idx="993">
                  <c:v>90.761905502866867</c:v>
                </c:pt>
                <c:pt idx="994">
                  <c:v>91.277726342651221</c:v>
                </c:pt>
                <c:pt idx="995">
                  <c:v>91.281616394233296</c:v>
                </c:pt>
                <c:pt idx="996">
                  <c:v>90.982860432729254</c:v>
                </c:pt>
                <c:pt idx="997">
                  <c:v>91.657395377062599</c:v>
                </c:pt>
                <c:pt idx="998">
                  <c:v>92.384057012595889</c:v>
                </c:pt>
                <c:pt idx="999">
                  <c:v>92.539659075879257</c:v>
                </c:pt>
                <c:pt idx="1000">
                  <c:v>91.995829864703907</c:v>
                </c:pt>
                <c:pt idx="1001">
                  <c:v>92.306255980954205</c:v>
                </c:pt>
                <c:pt idx="1002">
                  <c:v>92.923218161872711</c:v>
                </c:pt>
                <c:pt idx="1003">
                  <c:v>93.087378338636654</c:v>
                </c:pt>
                <c:pt idx="1004">
                  <c:v>93.151175184582812</c:v>
                </c:pt>
                <c:pt idx="1005">
                  <c:v>94.189818956999233</c:v>
                </c:pt>
                <c:pt idx="1006">
                  <c:v>94.269176009273735</c:v>
                </c:pt>
                <c:pt idx="1007">
                  <c:v>92.748943850995332</c:v>
                </c:pt>
                <c:pt idx="1008">
                  <c:v>93.168291411543962</c:v>
                </c:pt>
                <c:pt idx="1009">
                  <c:v>93.919071366886186</c:v>
                </c:pt>
                <c:pt idx="1010">
                  <c:v>93.823376097966914</c:v>
                </c:pt>
                <c:pt idx="1011">
                  <c:v>94.035772914348698</c:v>
                </c:pt>
                <c:pt idx="1012">
                  <c:v>94.705639796783544</c:v>
                </c:pt>
                <c:pt idx="1013">
                  <c:v>94.298740401297565</c:v>
                </c:pt>
                <c:pt idx="1014">
                  <c:v>92.093859164572379</c:v>
                </c:pt>
                <c:pt idx="1015">
                  <c:v>92.689037056631221</c:v>
                </c:pt>
                <c:pt idx="1016">
                  <c:v>93.888728964545919</c:v>
                </c:pt>
                <c:pt idx="1017">
                  <c:v>92.325706238864598</c:v>
                </c:pt>
                <c:pt idx="1018">
                  <c:v>93.537068301525537</c:v>
                </c:pt>
                <c:pt idx="1019">
                  <c:v>91.307290734674993</c:v>
                </c:pt>
                <c:pt idx="1020">
                  <c:v>90.708222791034075</c:v>
                </c:pt>
                <c:pt idx="1021">
                  <c:v>87.771233846560662</c:v>
                </c:pt>
                <c:pt idx="1022">
                  <c:v>86.427610030108866</c:v>
                </c:pt>
                <c:pt idx="1023">
                  <c:v>90.228190425804897</c:v>
                </c:pt>
                <c:pt idx="1024">
                  <c:v>89.921654361136675</c:v>
                </c:pt>
                <c:pt idx="1025">
                  <c:v>91.157134743606534</c:v>
                </c:pt>
                <c:pt idx="1026">
                  <c:v>90.050026063345427</c:v>
                </c:pt>
                <c:pt idx="1027">
                  <c:v>88.357075614822477</c:v>
                </c:pt>
                <c:pt idx="1028">
                  <c:v>88.455104914690992</c:v>
                </c:pt>
                <c:pt idx="1029">
                  <c:v>87.199396263994274</c:v>
                </c:pt>
                <c:pt idx="1030">
                  <c:v>86.752040332054619</c:v>
                </c:pt>
                <c:pt idx="1031">
                  <c:v>83.370807496907233</c:v>
                </c:pt>
                <c:pt idx="1032">
                  <c:v>84.62340410633827</c:v>
                </c:pt>
                <c:pt idx="1033">
                  <c:v>83.531077622089086</c:v>
                </c:pt>
                <c:pt idx="1034">
                  <c:v>83.560642014112901</c:v>
                </c:pt>
                <c:pt idx="1035">
                  <c:v>83.087611741731507</c:v>
                </c:pt>
                <c:pt idx="1036">
                  <c:v>85.819205962670864</c:v>
                </c:pt>
                <c:pt idx="1037">
                  <c:v>84.757221880761946</c:v>
                </c:pt>
                <c:pt idx="1038">
                  <c:v>83.302342589062548</c:v>
                </c:pt>
                <c:pt idx="1039">
                  <c:v>85.455097134587817</c:v>
                </c:pt>
                <c:pt idx="1040">
                  <c:v>85.801311725393262</c:v>
                </c:pt>
                <c:pt idx="1041">
                  <c:v>82.848762574591547</c:v>
                </c:pt>
                <c:pt idx="1042">
                  <c:v>81.727649708634942</c:v>
                </c:pt>
                <c:pt idx="1043">
                  <c:v>82.624695603463508</c:v>
                </c:pt>
                <c:pt idx="1044">
                  <c:v>82.133771093804512</c:v>
                </c:pt>
                <c:pt idx="1045">
                  <c:v>84.557273229442799</c:v>
                </c:pt>
                <c:pt idx="1046">
                  <c:v>84.927606140057193</c:v>
                </c:pt>
                <c:pt idx="1047">
                  <c:v>84.774338107723096</c:v>
                </c:pt>
                <c:pt idx="1048">
                  <c:v>86.766044517750061</c:v>
                </c:pt>
                <c:pt idx="1049">
                  <c:v>86.71780787813222</c:v>
                </c:pt>
                <c:pt idx="1050">
                  <c:v>86.829063353379809</c:v>
                </c:pt>
                <c:pt idx="1051">
                  <c:v>86.943430869893078</c:v>
                </c:pt>
                <c:pt idx="1052">
                  <c:v>86.60810842351745</c:v>
                </c:pt>
                <c:pt idx="1053">
                  <c:v>85.216247967447785</c:v>
                </c:pt>
                <c:pt idx="1054">
                  <c:v>84.961838593979493</c:v>
                </c:pt>
                <c:pt idx="1055">
                  <c:v>83.534189663354681</c:v>
                </c:pt>
                <c:pt idx="1056">
                  <c:v>83.773038830494627</c:v>
                </c:pt>
                <c:pt idx="1057">
                  <c:v>83.602654571199352</c:v>
                </c:pt>
                <c:pt idx="1058">
                  <c:v>81.009546186582185</c:v>
                </c:pt>
                <c:pt idx="1059">
                  <c:v>80.190301323395303</c:v>
                </c:pt>
                <c:pt idx="1060">
                  <c:v>79.930445877712089</c:v>
                </c:pt>
                <c:pt idx="1061">
                  <c:v>79.557778936148452</c:v>
                </c:pt>
                <c:pt idx="1062">
                  <c:v>79.984128589544838</c:v>
                </c:pt>
                <c:pt idx="1063">
                  <c:v>82.490099818723323</c:v>
                </c:pt>
                <c:pt idx="1064">
                  <c:v>83.266554114507301</c:v>
                </c:pt>
                <c:pt idx="1065">
                  <c:v>83.866400068464642</c:v>
                </c:pt>
                <c:pt idx="1066">
                  <c:v>83.927862883461572</c:v>
                </c:pt>
                <c:pt idx="1067">
                  <c:v>85.218581998397028</c:v>
                </c:pt>
                <c:pt idx="1068">
                  <c:v>85.205355823017953</c:v>
                </c:pt>
                <c:pt idx="1069">
                  <c:v>85.307275174468558</c:v>
                </c:pt>
                <c:pt idx="1070">
                  <c:v>82.84876257459149</c:v>
                </c:pt>
                <c:pt idx="1071">
                  <c:v>83.34435514614897</c:v>
                </c:pt>
                <c:pt idx="1072">
                  <c:v>84.295861763126723</c:v>
                </c:pt>
                <c:pt idx="1073">
                  <c:v>83.21520543362378</c:v>
                </c:pt>
                <c:pt idx="1074">
                  <c:v>85.088654275555427</c:v>
                </c:pt>
                <c:pt idx="1075">
                  <c:v>85.788085550014117</c:v>
                </c:pt>
                <c:pt idx="1076">
                  <c:v>86.748928290788854</c:v>
                </c:pt>
                <c:pt idx="1077">
                  <c:v>86.657901083768081</c:v>
                </c:pt>
                <c:pt idx="1078">
                  <c:v>86.058055129810739</c:v>
                </c:pt>
                <c:pt idx="1079">
                  <c:v>85.700170384258996</c:v>
                </c:pt>
                <c:pt idx="1080">
                  <c:v>85.705616456473905</c:v>
                </c:pt>
                <c:pt idx="1081">
                  <c:v>87.593069484101036</c:v>
                </c:pt>
                <c:pt idx="1082">
                  <c:v>87.172943913235969</c:v>
                </c:pt>
                <c:pt idx="1083">
                  <c:v>87.700434907766549</c:v>
                </c:pt>
                <c:pt idx="1084">
                  <c:v>87.589179432518947</c:v>
                </c:pt>
                <c:pt idx="1085">
                  <c:v>87.264749130573151</c:v>
                </c:pt>
                <c:pt idx="1086">
                  <c:v>87.743225475169467</c:v>
                </c:pt>
                <c:pt idx="1087">
                  <c:v>87.219624532220962</c:v>
                </c:pt>
                <c:pt idx="1088">
                  <c:v>84.761889942660318</c:v>
                </c:pt>
                <c:pt idx="1089">
                  <c:v>84.30597589724006</c:v>
                </c:pt>
                <c:pt idx="1090">
                  <c:v>83.966763399282343</c:v>
                </c:pt>
                <c:pt idx="1091">
                  <c:v>83.976877533395765</c:v>
                </c:pt>
                <c:pt idx="1092">
                  <c:v>85.000739109800264</c:v>
                </c:pt>
                <c:pt idx="1093">
                  <c:v>85.126776781059803</c:v>
                </c:pt>
                <c:pt idx="1094">
                  <c:v>83.685123664739478</c:v>
                </c:pt>
                <c:pt idx="1095">
                  <c:v>83.378587600071256</c:v>
                </c:pt>
                <c:pt idx="1096">
                  <c:v>83.041709133062767</c:v>
                </c:pt>
                <c:pt idx="1097">
                  <c:v>81.836571152933161</c:v>
                </c:pt>
                <c:pt idx="1098">
                  <c:v>82.105762722413374</c:v>
                </c:pt>
                <c:pt idx="1099">
                  <c:v>81.47479635579937</c:v>
                </c:pt>
                <c:pt idx="1100">
                  <c:v>82.826200275415331</c:v>
                </c:pt>
                <c:pt idx="1101">
                  <c:v>81.607058109590227</c:v>
                </c:pt>
                <c:pt idx="1102">
                  <c:v>81.638956532563313</c:v>
                </c:pt>
                <c:pt idx="1103">
                  <c:v>84.047676472189707</c:v>
                </c:pt>
                <c:pt idx="1104">
                  <c:v>84.810904592594582</c:v>
                </c:pt>
                <c:pt idx="1105">
                  <c:v>85.932017458551186</c:v>
                </c:pt>
                <c:pt idx="1106">
                  <c:v>84.94627838765112</c:v>
                </c:pt>
                <c:pt idx="1107">
                  <c:v>85.493219640092136</c:v>
                </c:pt>
                <c:pt idx="1108">
                  <c:v>85.906343118109476</c:v>
                </c:pt>
                <c:pt idx="1109">
                  <c:v>86.324134658025301</c:v>
                </c:pt>
                <c:pt idx="1110">
                  <c:v>87.284977398800066</c:v>
                </c:pt>
                <c:pt idx="1111">
                  <c:v>87.222736573486699</c:v>
                </c:pt>
                <c:pt idx="1112">
                  <c:v>87.531606669104178</c:v>
                </c:pt>
                <c:pt idx="1113">
                  <c:v>87.499708246131107</c:v>
                </c:pt>
                <c:pt idx="1114">
                  <c:v>87.572063205557853</c:v>
                </c:pt>
                <c:pt idx="1115">
                  <c:v>88.904016867263422</c:v>
                </c:pt>
                <c:pt idx="1116">
                  <c:v>88.676059844553293</c:v>
                </c:pt>
                <c:pt idx="1117">
                  <c:v>88.24815417052406</c:v>
                </c:pt>
                <c:pt idx="1118">
                  <c:v>87.512934421510195</c:v>
                </c:pt>
                <c:pt idx="1119">
                  <c:v>89.367711015847846</c:v>
                </c:pt>
                <c:pt idx="1120">
                  <c:v>88.861226299860505</c:v>
                </c:pt>
                <c:pt idx="1121">
                  <c:v>89.29224401515539</c:v>
                </c:pt>
                <c:pt idx="1122">
                  <c:v>89.061174951179595</c:v>
                </c:pt>
                <c:pt idx="1123">
                  <c:v>88.786537309484473</c:v>
                </c:pt>
                <c:pt idx="1124">
                  <c:v>89.178654508958545</c:v>
                </c:pt>
                <c:pt idx="1125">
                  <c:v>88.462107007538677</c:v>
                </c:pt>
                <c:pt idx="1126">
                  <c:v>90.307547478079314</c:v>
                </c:pt>
                <c:pt idx="1127">
                  <c:v>90.246862673398809</c:v>
                </c:pt>
                <c:pt idx="1128">
                  <c:v>90.098262702963197</c:v>
                </c:pt>
                <c:pt idx="1129">
                  <c:v>90.649872017302727</c:v>
                </c:pt>
                <c:pt idx="1130">
                  <c:v>90.663098192681801</c:v>
                </c:pt>
                <c:pt idx="1131">
                  <c:v>91.009312783487275</c:v>
                </c:pt>
                <c:pt idx="1132">
                  <c:v>91.657395377062471</c:v>
                </c:pt>
                <c:pt idx="1133">
                  <c:v>91.323628951319662</c:v>
                </c:pt>
                <c:pt idx="1134">
                  <c:v>91.508795406626859</c:v>
                </c:pt>
                <c:pt idx="1135">
                  <c:v>92.171660196213978</c:v>
                </c:pt>
                <c:pt idx="1136">
                  <c:v>90.70822279103399</c:v>
                </c:pt>
                <c:pt idx="1137">
                  <c:v>91.662841449277408</c:v>
                </c:pt>
                <c:pt idx="1138">
                  <c:v>91.825445605408518</c:v>
                </c:pt>
                <c:pt idx="1139">
                  <c:v>92.044844514638058</c:v>
                </c:pt>
                <c:pt idx="1140">
                  <c:v>92.24245913500792</c:v>
                </c:pt>
                <c:pt idx="1141">
                  <c:v>92.244015155640767</c:v>
                </c:pt>
                <c:pt idx="1142">
                  <c:v>91.995829864703794</c:v>
                </c:pt>
                <c:pt idx="1143">
                  <c:v>92.099305236787217</c:v>
                </c:pt>
                <c:pt idx="1144">
                  <c:v>92.058848700333556</c:v>
                </c:pt>
                <c:pt idx="1145">
                  <c:v>92.145985855772253</c:v>
                </c:pt>
                <c:pt idx="1146">
                  <c:v>92.860977336559273</c:v>
                </c:pt>
                <c:pt idx="1147">
                  <c:v>93.202523865466247</c:v>
                </c:pt>
                <c:pt idx="1148">
                  <c:v>94.99972769638903</c:v>
                </c:pt>
                <c:pt idx="1149">
                  <c:v>95.372394637952681</c:v>
                </c:pt>
                <c:pt idx="1150">
                  <c:v>95.17011195568432</c:v>
                </c:pt>
                <c:pt idx="1151">
                  <c:v>94.403771794013778</c:v>
                </c:pt>
                <c:pt idx="1152">
                  <c:v>94.81689527203109</c:v>
                </c:pt>
                <c:pt idx="1153">
                  <c:v>94.414663938443596</c:v>
                </c:pt>
                <c:pt idx="1154">
                  <c:v>93.299775155018338</c:v>
                </c:pt>
                <c:pt idx="1155">
                  <c:v>93.186185648821478</c:v>
                </c:pt>
                <c:pt idx="1156">
                  <c:v>91.676067624656483</c:v>
                </c:pt>
                <c:pt idx="1157">
                  <c:v>91.695517882566918</c:v>
                </c:pt>
                <c:pt idx="1158">
                  <c:v>93.103716555281324</c:v>
                </c:pt>
                <c:pt idx="1159">
                  <c:v>93.340231691472027</c:v>
                </c:pt>
                <c:pt idx="1160">
                  <c:v>93.193187741669249</c:v>
                </c:pt>
                <c:pt idx="1161">
                  <c:v>91.862012090280118</c:v>
                </c:pt>
                <c:pt idx="1162">
                  <c:v>93.232866267806514</c:v>
                </c:pt>
                <c:pt idx="1163">
                  <c:v>92.536547034613506</c:v>
                </c:pt>
                <c:pt idx="1164">
                  <c:v>92.408953342721148</c:v>
                </c:pt>
                <c:pt idx="1165">
                  <c:v>91.848007904584634</c:v>
                </c:pt>
                <c:pt idx="1166">
                  <c:v>93.83349023208028</c:v>
                </c:pt>
                <c:pt idx="1167">
                  <c:v>95.036294181260658</c:v>
                </c:pt>
                <c:pt idx="1168">
                  <c:v>95.283701461881193</c:v>
                </c:pt>
                <c:pt idx="1169">
                  <c:v>95.159997821570911</c:v>
                </c:pt>
                <c:pt idx="1170">
                  <c:v>95.20901247150519</c:v>
                </c:pt>
                <c:pt idx="1171">
                  <c:v>95.561451144841996</c:v>
                </c:pt>
                <c:pt idx="1172">
                  <c:v>95.928672014190724</c:v>
                </c:pt>
                <c:pt idx="1173">
                  <c:v>96.50439964833916</c:v>
                </c:pt>
                <c:pt idx="1174">
                  <c:v>96.509067710237659</c:v>
                </c:pt>
                <c:pt idx="1175">
                  <c:v>96.596982875992751</c:v>
                </c:pt>
                <c:pt idx="1176">
                  <c:v>96.10216831475168</c:v>
                </c:pt>
                <c:pt idx="1177">
                  <c:v>96.696568196494098</c:v>
                </c:pt>
                <c:pt idx="1178">
                  <c:v>96.777481269401449</c:v>
                </c:pt>
                <c:pt idx="1179">
                  <c:v>97.024110539705575</c:v>
                </c:pt>
                <c:pt idx="1180">
                  <c:v>97.609174297650995</c:v>
                </c:pt>
                <c:pt idx="1181">
                  <c:v>97.939050671811714</c:v>
                </c:pt>
                <c:pt idx="1182">
                  <c:v>97.778002536313423</c:v>
                </c:pt>
                <c:pt idx="1183">
                  <c:v>97.837909330677505</c:v>
                </c:pt>
                <c:pt idx="1184">
                  <c:v>97.913376331369932</c:v>
                </c:pt>
                <c:pt idx="1185">
                  <c:v>98.01218364155487</c:v>
                </c:pt>
                <c:pt idx="1186">
                  <c:v>97.864361681435682</c:v>
                </c:pt>
                <c:pt idx="1187">
                  <c:v>97.845689433841656</c:v>
                </c:pt>
                <c:pt idx="1188">
                  <c:v>98.952798114102748</c:v>
                </c:pt>
                <c:pt idx="1189">
                  <c:v>98.822870391261148</c:v>
                </c:pt>
                <c:pt idx="1190">
                  <c:v>99.317684952502233</c:v>
                </c:pt>
                <c:pt idx="1191">
                  <c:v>99.106844156753297</c:v>
                </c:pt>
                <c:pt idx="1192">
                  <c:v>98.924011732395357</c:v>
                </c:pt>
                <c:pt idx="1193">
                  <c:v>98.787859927022424</c:v>
                </c:pt>
                <c:pt idx="1194">
                  <c:v>99.15585880668759</c:v>
                </c:pt>
                <c:pt idx="1195">
                  <c:v>100.04901464993407</c:v>
                </c:pt>
                <c:pt idx="1196">
                  <c:v>99.877852380322381</c:v>
                </c:pt>
                <c:pt idx="1197">
                  <c:v>100.6154061602855</c:v>
                </c:pt>
                <c:pt idx="1198">
                  <c:v>100.75389199660769</c:v>
                </c:pt>
                <c:pt idx="1199">
                  <c:v>99.734698482101692</c:v>
                </c:pt>
                <c:pt idx="1200">
                  <c:v>99.605548769576501</c:v>
                </c:pt>
                <c:pt idx="1201">
                  <c:v>99.84595395734928</c:v>
                </c:pt>
                <c:pt idx="1202">
                  <c:v>100.42868368434546</c:v>
                </c:pt>
                <c:pt idx="1203">
                  <c:v>100.45513603510364</c:v>
                </c:pt>
                <c:pt idx="1204">
                  <c:v>100.87915165755079</c:v>
                </c:pt>
                <c:pt idx="1205">
                  <c:v>101.10555265962807</c:v>
                </c:pt>
                <c:pt idx="1206">
                  <c:v>99.300568725541112</c:v>
                </c:pt>
                <c:pt idx="1207">
                  <c:v>100.06146281499673</c:v>
                </c:pt>
                <c:pt idx="1208">
                  <c:v>101.73185096434358</c:v>
                </c:pt>
                <c:pt idx="1209">
                  <c:v>101.4548792916992</c:v>
                </c:pt>
                <c:pt idx="1210">
                  <c:v>101.69372845883915</c:v>
                </c:pt>
                <c:pt idx="1211">
                  <c:v>101.98703834812827</c:v>
                </c:pt>
                <c:pt idx="1212">
                  <c:v>102.62345078695721</c:v>
                </c:pt>
                <c:pt idx="1213">
                  <c:v>103.05291248161929</c:v>
                </c:pt>
                <c:pt idx="1214">
                  <c:v>102.7658266748615</c:v>
                </c:pt>
                <c:pt idx="1215">
                  <c:v>102.84284969618675</c:v>
                </c:pt>
                <c:pt idx="1216">
                  <c:v>103.40924120653817</c:v>
                </c:pt>
                <c:pt idx="1217">
                  <c:v>103.65587047684227</c:v>
                </c:pt>
                <c:pt idx="1218">
                  <c:v>103.32054803046661</c:v>
                </c:pt>
                <c:pt idx="1219">
                  <c:v>103.96707460340895</c:v>
                </c:pt>
                <c:pt idx="1220">
                  <c:v>104.28683684345627</c:v>
                </c:pt>
                <c:pt idx="1221">
                  <c:v>104.48756350509179</c:v>
                </c:pt>
                <c:pt idx="1222">
                  <c:v>102.3425890627307</c:v>
                </c:pt>
                <c:pt idx="1223">
                  <c:v>101.7170687683316</c:v>
                </c:pt>
                <c:pt idx="1224">
                  <c:v>101.61592742719739</c:v>
                </c:pt>
                <c:pt idx="1225">
                  <c:v>102.68802564321975</c:v>
                </c:pt>
                <c:pt idx="1226">
                  <c:v>103.25908521546965</c:v>
                </c:pt>
                <c:pt idx="1227">
                  <c:v>101.63382166447497</c:v>
                </c:pt>
                <c:pt idx="1228">
                  <c:v>101.79798184123892</c:v>
                </c:pt>
                <c:pt idx="1229">
                  <c:v>103.55083908412597</c:v>
                </c:pt>
                <c:pt idx="1230">
                  <c:v>102.78683295340468</c:v>
                </c:pt>
                <c:pt idx="1231">
                  <c:v>101.9294655847134</c:v>
                </c:pt>
                <c:pt idx="1232">
                  <c:v>102.8389596446046</c:v>
                </c:pt>
                <c:pt idx="1233">
                  <c:v>102.69891778764956</c:v>
                </c:pt>
                <c:pt idx="1234">
                  <c:v>100.76089408945532</c:v>
                </c:pt>
                <c:pt idx="1235">
                  <c:v>101.47432954960954</c:v>
                </c:pt>
                <c:pt idx="1236">
                  <c:v>100.8604794099567</c:v>
                </c:pt>
                <c:pt idx="1237">
                  <c:v>99.730808430519502</c:v>
                </c:pt>
                <c:pt idx="1238">
                  <c:v>97.786560649793941</c:v>
                </c:pt>
                <c:pt idx="1239">
                  <c:v>99.096730022639818</c:v>
                </c:pt>
                <c:pt idx="1240">
                  <c:v>99.523079676036232</c:v>
                </c:pt>
                <c:pt idx="1241">
                  <c:v>101.01530346292364</c:v>
                </c:pt>
                <c:pt idx="1242">
                  <c:v>100.65664070705549</c:v>
                </c:pt>
                <c:pt idx="1243">
                  <c:v>100.94995059634462</c:v>
                </c:pt>
                <c:pt idx="1244">
                  <c:v>101.89289909984178</c:v>
                </c:pt>
                <c:pt idx="1245">
                  <c:v>102.21499537083834</c:v>
                </c:pt>
                <c:pt idx="1246">
                  <c:v>101.93413364661188</c:v>
                </c:pt>
                <c:pt idx="1247">
                  <c:v>102.65379318929742</c:v>
                </c:pt>
                <c:pt idx="1248">
                  <c:v>103.33999828837702</c:v>
                </c:pt>
                <c:pt idx="1249">
                  <c:v>103.15094178148772</c:v>
                </c:pt>
                <c:pt idx="1250">
                  <c:v>103.66287256968998</c:v>
                </c:pt>
                <c:pt idx="1251">
                  <c:v>103.69866104424514</c:v>
                </c:pt>
                <c:pt idx="1252">
                  <c:v>103.67998879665116</c:v>
                </c:pt>
                <c:pt idx="1253">
                  <c:v>103.90638979872844</c:v>
                </c:pt>
                <c:pt idx="1254">
                  <c:v>103.74845370449584</c:v>
                </c:pt>
                <c:pt idx="1255">
                  <c:v>103.33299619552928</c:v>
                </c:pt>
                <c:pt idx="1256">
                  <c:v>103.04435436813864</c:v>
                </c:pt>
                <c:pt idx="1257">
                  <c:v>102.24300374222933</c:v>
                </c:pt>
                <c:pt idx="1258">
                  <c:v>102.26245400013975</c:v>
                </c:pt>
                <c:pt idx="1259">
                  <c:v>102.27101211362033</c:v>
                </c:pt>
                <c:pt idx="1260">
                  <c:v>102.67246543689141</c:v>
                </c:pt>
                <c:pt idx="1261">
                  <c:v>101.5412384368214</c:v>
                </c:pt>
                <c:pt idx="1262">
                  <c:v>102.12319015350114</c:v>
                </c:pt>
                <c:pt idx="1263">
                  <c:v>103.50338045482454</c:v>
                </c:pt>
                <c:pt idx="1264">
                  <c:v>104.04954369694916</c:v>
                </c:pt>
                <c:pt idx="1265">
                  <c:v>103.88382749955237</c:v>
                </c:pt>
                <c:pt idx="1266">
                  <c:v>104.81666186893611</c:v>
                </c:pt>
                <c:pt idx="1267">
                  <c:v>105.47174655535905</c:v>
                </c:pt>
                <c:pt idx="1268">
                  <c:v>105.84674752787193</c:v>
                </c:pt>
                <c:pt idx="1269">
                  <c:v>106.09026475691037</c:v>
                </c:pt>
                <c:pt idx="1270">
                  <c:v>105.90432029128677</c:v>
                </c:pt>
                <c:pt idx="1271">
                  <c:v>105.54643554573502</c:v>
                </c:pt>
                <c:pt idx="1272">
                  <c:v>104.8228859514674</c:v>
                </c:pt>
                <c:pt idx="1273">
                  <c:v>103.87215734480608</c:v>
                </c:pt>
                <c:pt idx="1274">
                  <c:v>104.26894260617868</c:v>
                </c:pt>
                <c:pt idx="1275">
                  <c:v>104.74275088887651</c:v>
                </c:pt>
                <c:pt idx="1276">
                  <c:v>105.58844810282159</c:v>
                </c:pt>
                <c:pt idx="1277">
                  <c:v>104.41520854566505</c:v>
                </c:pt>
                <c:pt idx="1278">
                  <c:v>104.92636132355092</c:v>
                </c:pt>
                <c:pt idx="1279">
                  <c:v>104.07988609928944</c:v>
                </c:pt>
                <c:pt idx="1280">
                  <c:v>103.4341375366635</c:v>
                </c:pt>
                <c:pt idx="1281">
                  <c:v>103.3960150311591</c:v>
                </c:pt>
                <c:pt idx="1282">
                  <c:v>104.30628710136675</c:v>
                </c:pt>
                <c:pt idx="1283">
                  <c:v>104.53346611376044</c:v>
                </c:pt>
                <c:pt idx="1284">
                  <c:v>103.72978145690189</c:v>
                </c:pt>
                <c:pt idx="1285">
                  <c:v>102.49274505379918</c:v>
                </c:pt>
                <c:pt idx="1286">
                  <c:v>102.40794192930976</c:v>
                </c:pt>
                <c:pt idx="1287">
                  <c:v>102.73392825188839</c:v>
                </c:pt>
                <c:pt idx="1288">
                  <c:v>103.14004963705796</c:v>
                </c:pt>
                <c:pt idx="1289">
                  <c:v>103.56095321823943</c:v>
                </c:pt>
                <c:pt idx="1290">
                  <c:v>104.65794776438713</c:v>
                </c:pt>
                <c:pt idx="1291">
                  <c:v>102.27334614456966</c:v>
                </c:pt>
                <c:pt idx="1292">
                  <c:v>102.14808648362656</c:v>
                </c:pt>
                <c:pt idx="1293">
                  <c:v>101.15378929924589</c:v>
                </c:pt>
                <c:pt idx="1294">
                  <c:v>100.06535286657879</c:v>
                </c:pt>
                <c:pt idx="1295">
                  <c:v>99.969657597659506</c:v>
                </c:pt>
                <c:pt idx="1296">
                  <c:v>99.551088047427243</c:v>
                </c:pt>
                <c:pt idx="1297">
                  <c:v>100.28552978612468</c:v>
                </c:pt>
                <c:pt idx="1298">
                  <c:v>98.883555195941625</c:v>
                </c:pt>
                <c:pt idx="1299">
                  <c:v>98.949686072837039</c:v>
                </c:pt>
                <c:pt idx="1300">
                  <c:v>100.19761462036959</c:v>
                </c:pt>
                <c:pt idx="1301">
                  <c:v>98.450981460013892</c:v>
                </c:pt>
                <c:pt idx="1302">
                  <c:v>98.623699750258425</c:v>
                </c:pt>
                <c:pt idx="1303">
                  <c:v>98.924011732395286</c:v>
                </c:pt>
                <c:pt idx="1304">
                  <c:v>99.457726809457213</c:v>
                </c:pt>
                <c:pt idx="1305">
                  <c:v>100.79279251242843</c:v>
                </c:pt>
                <c:pt idx="1306">
                  <c:v>100.14081986727118</c:v>
                </c:pt>
                <c:pt idx="1307">
                  <c:v>99.857624112095465</c:v>
                </c:pt>
                <c:pt idx="1308">
                  <c:v>98.686718585888201</c:v>
                </c:pt>
                <c:pt idx="1309">
                  <c:v>99.593100604513751</c:v>
                </c:pt>
                <c:pt idx="1310">
                  <c:v>100.8822636988164</c:v>
                </c:pt>
                <c:pt idx="1311">
                  <c:v>101.71784677864804</c:v>
                </c:pt>
                <c:pt idx="1312">
                  <c:v>102.74715442726745</c:v>
                </c:pt>
                <c:pt idx="1313">
                  <c:v>104.22770805940858</c:v>
                </c:pt>
                <c:pt idx="1314">
                  <c:v>104.08844421276999</c:v>
                </c:pt>
                <c:pt idx="1315">
                  <c:v>104.19269759516982</c:v>
                </c:pt>
                <c:pt idx="1316">
                  <c:v>105.28191203815332</c:v>
                </c:pt>
                <c:pt idx="1317">
                  <c:v>104.5490263200887</c:v>
                </c:pt>
                <c:pt idx="1318">
                  <c:v>102.65768324087948</c:v>
                </c:pt>
                <c:pt idx="1319">
                  <c:v>102.20254720577567</c:v>
                </c:pt>
                <c:pt idx="1320">
                  <c:v>102.51997541487371</c:v>
                </c:pt>
                <c:pt idx="1321">
                  <c:v>101.83143628484484</c:v>
                </c:pt>
                <c:pt idx="1322">
                  <c:v>102.39704978487987</c:v>
                </c:pt>
                <c:pt idx="1323">
                  <c:v>101.56457874631391</c:v>
                </c:pt>
                <c:pt idx="1324">
                  <c:v>103.22096270996526</c:v>
                </c:pt>
                <c:pt idx="1325">
                  <c:v>103.15171979180417</c:v>
                </c:pt>
                <c:pt idx="1326">
                  <c:v>104.54902632008873</c:v>
                </c:pt>
                <c:pt idx="1327">
                  <c:v>104.64394357869158</c:v>
                </c:pt>
                <c:pt idx="1328">
                  <c:v>104.05343374853123</c:v>
                </c:pt>
                <c:pt idx="1329">
                  <c:v>103.62630608481842</c:v>
                </c:pt>
                <c:pt idx="1330">
                  <c:v>101.52178817891101</c:v>
                </c:pt>
                <c:pt idx="1331">
                  <c:v>101.19346782538312</c:v>
                </c:pt>
                <c:pt idx="1332">
                  <c:v>100.54071716990943</c:v>
                </c:pt>
                <c:pt idx="1333">
                  <c:v>100.12525966094286</c:v>
                </c:pt>
                <c:pt idx="1334">
                  <c:v>97.56638373024802</c:v>
                </c:pt>
                <c:pt idx="1335">
                  <c:v>98.055752219274183</c:v>
                </c:pt>
                <c:pt idx="1336">
                  <c:v>93.366684042230162</c:v>
                </c:pt>
                <c:pt idx="1337">
                  <c:v>93.313001330397412</c:v>
                </c:pt>
                <c:pt idx="1338">
                  <c:v>87.095142881594398</c:v>
                </c:pt>
                <c:pt idx="1339">
                  <c:v>91.224043630818329</c:v>
                </c:pt>
                <c:pt idx="1340">
                  <c:v>87.196284222728579</c:v>
                </c:pt>
                <c:pt idx="1341">
                  <c:v>91.232601744298904</c:v>
                </c:pt>
                <c:pt idx="1342">
                  <c:v>91.712634109528054</c:v>
                </c:pt>
                <c:pt idx="1343">
                  <c:v>93.710564602086379</c:v>
                </c:pt>
                <c:pt idx="1344">
                  <c:v>92.797958500929482</c:v>
                </c:pt>
                <c:pt idx="1345">
                  <c:v>92.885873666684589</c:v>
                </c:pt>
                <c:pt idx="1346">
                  <c:v>88.743746742081584</c:v>
                </c:pt>
                <c:pt idx="1347">
                  <c:v>87.411793080376029</c:v>
                </c:pt>
                <c:pt idx="1348">
                  <c:v>87.434355379552102</c:v>
                </c:pt>
                <c:pt idx="1349">
                  <c:v>90.432029128706006</c:v>
                </c:pt>
                <c:pt idx="1350">
                  <c:v>91.618494861241601</c:v>
                </c:pt>
                <c:pt idx="1351">
                  <c:v>90.192401951249622</c:v>
                </c:pt>
                <c:pt idx="1352">
                  <c:v>91.556254035928262</c:v>
                </c:pt>
                <c:pt idx="1353">
                  <c:v>94.145472368963354</c:v>
                </c:pt>
                <c:pt idx="1354">
                  <c:v>94.366427298825755</c:v>
                </c:pt>
                <c:pt idx="1355">
                  <c:v>94.830899457726588</c:v>
                </c:pt>
                <c:pt idx="1356">
                  <c:v>93.705118529871498</c:v>
                </c:pt>
                <c:pt idx="1357">
                  <c:v>91.336077116382356</c:v>
                </c:pt>
                <c:pt idx="1358">
                  <c:v>90.656874110150497</c:v>
                </c:pt>
                <c:pt idx="1359">
                  <c:v>93.25387254634974</c:v>
                </c:pt>
                <c:pt idx="1360">
                  <c:v>92.264243423867597</c:v>
                </c:pt>
                <c:pt idx="1361">
                  <c:v>89.800284751775607</c:v>
                </c:pt>
                <c:pt idx="1362">
                  <c:v>90.425805046174716</c:v>
                </c:pt>
                <c:pt idx="1363">
                  <c:v>91.25049598157652</c:v>
                </c:pt>
                <c:pt idx="1364">
                  <c:v>92.480530291831485</c:v>
                </c:pt>
                <c:pt idx="1365">
                  <c:v>94.070005368270969</c:v>
                </c:pt>
                <c:pt idx="1366">
                  <c:v>94.606832486598549</c:v>
                </c:pt>
                <c:pt idx="1367">
                  <c:v>93.679444189429717</c:v>
                </c:pt>
                <c:pt idx="1368">
                  <c:v>93.523842126146349</c:v>
                </c:pt>
                <c:pt idx="1369">
                  <c:v>90.775131678245828</c:v>
                </c:pt>
                <c:pt idx="1370">
                  <c:v>87.880933301175361</c:v>
                </c:pt>
                <c:pt idx="1371">
                  <c:v>88.415426388553712</c:v>
                </c:pt>
                <c:pt idx="1372">
                  <c:v>90.478709747691042</c:v>
                </c:pt>
                <c:pt idx="1373">
                  <c:v>91.445776570997126</c:v>
                </c:pt>
                <c:pt idx="1374">
                  <c:v>89.553655481471466</c:v>
                </c:pt>
                <c:pt idx="1375">
                  <c:v>90.280317117004756</c:v>
                </c:pt>
                <c:pt idx="1376">
                  <c:v>88.025643220028897</c:v>
                </c:pt>
                <c:pt idx="1377">
                  <c:v>85.521228011483231</c:v>
                </c:pt>
                <c:pt idx="1378">
                  <c:v>87.444469513665538</c:v>
                </c:pt>
                <c:pt idx="1379">
                  <c:v>89.006714229030436</c:v>
                </c:pt>
                <c:pt idx="1380">
                  <c:v>90.635867831607214</c:v>
                </c:pt>
                <c:pt idx="1381">
                  <c:v>89.89598002069485</c:v>
                </c:pt>
                <c:pt idx="1382">
                  <c:v>92.963674698326287</c:v>
                </c:pt>
                <c:pt idx="1383">
                  <c:v>93.01424536889337</c:v>
                </c:pt>
                <c:pt idx="1384">
                  <c:v>93.925295449417447</c:v>
                </c:pt>
                <c:pt idx="1385">
                  <c:v>93.645989745823826</c:v>
                </c:pt>
                <c:pt idx="1386">
                  <c:v>95.273587327767743</c:v>
                </c:pt>
                <c:pt idx="1387">
                  <c:v>93.428146857227091</c:v>
                </c:pt>
                <c:pt idx="1388">
                  <c:v>95.335828153081081</c:v>
                </c:pt>
                <c:pt idx="1389">
                  <c:v>94.129912162635051</c:v>
                </c:pt>
                <c:pt idx="1390">
                  <c:v>94.558595846980694</c:v>
                </c:pt>
                <c:pt idx="1391">
                  <c:v>96.337127430309479</c:v>
                </c:pt>
                <c:pt idx="1392">
                  <c:v>97.577275874677852</c:v>
                </c:pt>
                <c:pt idx="1393">
                  <c:v>95.621357939206035</c:v>
                </c:pt>
                <c:pt idx="1394">
                  <c:v>96.62888129896578</c:v>
                </c:pt>
                <c:pt idx="1395">
                  <c:v>99.942427236584905</c:v>
                </c:pt>
                <c:pt idx="1396">
                  <c:v>99.981327752405747</c:v>
                </c:pt>
                <c:pt idx="1397">
                  <c:v>97.508032956516757</c:v>
                </c:pt>
                <c:pt idx="1398">
                  <c:v>94.783440828425142</c:v>
                </c:pt>
                <c:pt idx="1399">
                  <c:v>96.309897069234907</c:v>
                </c:pt>
                <c:pt idx="1400">
                  <c:v>98.118771054903959</c:v>
                </c:pt>
                <c:pt idx="1401">
                  <c:v>97.502586884301849</c:v>
                </c:pt>
                <c:pt idx="1402">
                  <c:v>98.116437023954703</c:v>
                </c:pt>
                <c:pt idx="1403">
                  <c:v>99.267892292251574</c:v>
                </c:pt>
                <c:pt idx="1404">
                  <c:v>95.625247990788139</c:v>
                </c:pt>
                <c:pt idx="1405">
                  <c:v>96.449160915873549</c:v>
                </c:pt>
                <c:pt idx="1406">
                  <c:v>98.328833840336515</c:v>
                </c:pt>
                <c:pt idx="1407">
                  <c:v>97.389775388421455</c:v>
                </c:pt>
                <c:pt idx="1408">
                  <c:v>97.858915609220801</c:v>
                </c:pt>
                <c:pt idx="1409">
                  <c:v>96.232874047909718</c:v>
                </c:pt>
                <c:pt idx="1410">
                  <c:v>94.616168610395619</c:v>
                </c:pt>
                <c:pt idx="1411">
                  <c:v>94.57882411520761</c:v>
                </c:pt>
                <c:pt idx="1412">
                  <c:v>92.815074727890746</c:v>
                </c:pt>
                <c:pt idx="1413">
                  <c:v>92.430737631580854</c:v>
                </c:pt>
                <c:pt idx="1414">
                  <c:v>90.388460550986764</c:v>
                </c:pt>
                <c:pt idx="1415">
                  <c:v>90.145721332264742</c:v>
                </c:pt>
                <c:pt idx="1416">
                  <c:v>92.781620284284841</c:v>
                </c:pt>
                <c:pt idx="1417">
                  <c:v>92.987015007818897</c:v>
                </c:pt>
                <c:pt idx="1418">
                  <c:v>97.014774415908647</c:v>
                </c:pt>
                <c:pt idx="1419">
                  <c:v>96.82960796060145</c:v>
                </c:pt>
                <c:pt idx="1420">
                  <c:v>96.806267651108953</c:v>
                </c:pt>
                <c:pt idx="1421">
                  <c:v>97.802120856122428</c:v>
                </c:pt>
                <c:pt idx="1422">
                  <c:v>97.910264290104365</c:v>
                </c:pt>
                <c:pt idx="1423">
                  <c:v>98.107878910474227</c:v>
                </c:pt>
                <c:pt idx="1424">
                  <c:v>96.033703406907037</c:v>
                </c:pt>
                <c:pt idx="1425">
                  <c:v>97.655076906319664</c:v>
                </c:pt>
                <c:pt idx="1426">
                  <c:v>96.198641593987432</c:v>
                </c:pt>
                <c:pt idx="1427">
                  <c:v>95.363058514155796</c:v>
                </c:pt>
                <c:pt idx="1428">
                  <c:v>94.280846164020033</c:v>
                </c:pt>
                <c:pt idx="1429">
                  <c:v>94.586604218371832</c:v>
                </c:pt>
                <c:pt idx="1430">
                  <c:v>94.890806252090826</c:v>
                </c:pt>
                <c:pt idx="1431">
                  <c:v>93.777473489298373</c:v>
                </c:pt>
                <c:pt idx="1432">
                  <c:v>96.574420576816763</c:v>
                </c:pt>
                <c:pt idx="1433">
                  <c:v>96.762699073389612</c:v>
                </c:pt>
                <c:pt idx="1434">
                  <c:v>97.562493678666073</c:v>
                </c:pt>
                <c:pt idx="1435">
                  <c:v>98.443979367166293</c:v>
                </c:pt>
                <c:pt idx="1436">
                  <c:v>98.451759470330472</c:v>
                </c:pt>
                <c:pt idx="1437">
                  <c:v>97.223281180708369</c:v>
                </c:pt>
                <c:pt idx="1438">
                  <c:v>98.264258984074047</c:v>
                </c:pt>
                <c:pt idx="1439">
                  <c:v>97.842577392576132</c:v>
                </c:pt>
                <c:pt idx="1440">
                  <c:v>99.356585468323217</c:v>
                </c:pt>
                <c:pt idx="1441">
                  <c:v>99.375257715917201</c:v>
                </c:pt>
                <c:pt idx="1442">
                  <c:v>99.667789594889911</c:v>
                </c:pt>
                <c:pt idx="1443">
                  <c:v>99.414936242054452</c:v>
                </c:pt>
                <c:pt idx="1444">
                  <c:v>99.6397812234989</c:v>
                </c:pt>
                <c:pt idx="1445">
                  <c:v>100.5251569635812</c:v>
                </c:pt>
                <c:pt idx="1446">
                  <c:v>100.55627737623787</c:v>
                </c:pt>
                <c:pt idx="1447">
                  <c:v>100.79123649179574</c:v>
                </c:pt>
                <c:pt idx="1448">
                  <c:v>100.29253187897257</c:v>
                </c:pt>
                <c:pt idx="1449">
                  <c:v>100.64886060389146</c:v>
                </c:pt>
                <c:pt idx="1450">
                  <c:v>101.76686142858239</c:v>
                </c:pt>
                <c:pt idx="1451">
                  <c:v>102.26945609298764</c:v>
                </c:pt>
                <c:pt idx="1452">
                  <c:v>102.33792100083234</c:v>
                </c:pt>
                <c:pt idx="1453">
                  <c:v>102.38615764045016</c:v>
                </c:pt>
                <c:pt idx="1454">
                  <c:v>102.28112624773389</c:v>
                </c:pt>
                <c:pt idx="1455">
                  <c:v>103.16805800844902</c:v>
                </c:pt>
                <c:pt idx="1456">
                  <c:v>102.57521414733942</c:v>
                </c:pt>
                <c:pt idx="1457">
                  <c:v>102.41183198089189</c:v>
                </c:pt>
                <c:pt idx="1458">
                  <c:v>102.15353255584152</c:v>
                </c:pt>
                <c:pt idx="1459">
                  <c:v>102.10685193685653</c:v>
                </c:pt>
                <c:pt idx="1460">
                  <c:v>103.01556798643135</c:v>
                </c:pt>
                <c:pt idx="1461">
                  <c:v>103.12837948231179</c:v>
                </c:pt>
                <c:pt idx="1462">
                  <c:v>104.63460745489472</c:v>
                </c:pt>
                <c:pt idx="1463">
                  <c:v>104.59026086685896</c:v>
                </c:pt>
                <c:pt idx="1464">
                  <c:v>104.80187967292433</c:v>
                </c:pt>
                <c:pt idx="1465">
                  <c:v>105.02828067500162</c:v>
                </c:pt>
                <c:pt idx="1466">
                  <c:v>105.18310472796857</c:v>
                </c:pt>
                <c:pt idx="1467">
                  <c:v>104.45877712338454</c:v>
                </c:pt>
                <c:pt idx="1468">
                  <c:v>105.16910054227306</c:v>
                </c:pt>
                <c:pt idx="1469">
                  <c:v>105.07029323208812</c:v>
                </c:pt>
                <c:pt idx="1470">
                  <c:v>104.50467973205312</c:v>
                </c:pt>
                <c:pt idx="1471">
                  <c:v>105.65691301066639</c:v>
                </c:pt>
                <c:pt idx="1472">
                  <c:v>105.90509830160335</c:v>
                </c:pt>
                <c:pt idx="1473">
                  <c:v>105.98134331261218</c:v>
                </c:pt>
                <c:pt idx="1474">
                  <c:v>105.62734861864254</c:v>
                </c:pt>
                <c:pt idx="1475">
                  <c:v>106.07859460216429</c:v>
                </c:pt>
                <c:pt idx="1476">
                  <c:v>106.25598095430729</c:v>
                </c:pt>
                <c:pt idx="1477">
                  <c:v>106.3999128628444</c:v>
                </c:pt>
                <c:pt idx="1478">
                  <c:v>106.75701959807972</c:v>
                </c:pt>
                <c:pt idx="1479">
                  <c:v>106.25131289240882</c:v>
                </c:pt>
                <c:pt idx="1480">
                  <c:v>106.90561956851532</c:v>
                </c:pt>
                <c:pt idx="1481">
                  <c:v>106.55862696739345</c:v>
                </c:pt>
                <c:pt idx="1482">
                  <c:v>106.14628149969253</c:v>
                </c:pt>
                <c:pt idx="1483">
                  <c:v>104.51479386616651</c:v>
                </c:pt>
                <c:pt idx="1484">
                  <c:v>105.23600942948488</c:v>
                </c:pt>
                <c:pt idx="1485">
                  <c:v>106.26920712968638</c:v>
                </c:pt>
                <c:pt idx="1486">
                  <c:v>106.6551002466291</c:v>
                </c:pt>
                <c:pt idx="1487">
                  <c:v>106.67221647359028</c:v>
                </c:pt>
                <c:pt idx="1488">
                  <c:v>108.60635012020245</c:v>
                </c:pt>
                <c:pt idx="1489">
                  <c:v>108.47642239736084</c:v>
                </c:pt>
                <c:pt idx="1490">
                  <c:v>109.12372698061959</c:v>
                </c:pt>
                <c:pt idx="1491">
                  <c:v>109.24587460029703</c:v>
                </c:pt>
                <c:pt idx="1492">
                  <c:v>109.68000435685761</c:v>
                </c:pt>
                <c:pt idx="1493">
                  <c:v>109.3509059930133</c:v>
                </c:pt>
                <c:pt idx="1494">
                  <c:v>109.14628927979571</c:v>
                </c:pt>
                <c:pt idx="1495">
                  <c:v>108.35972084989832</c:v>
                </c:pt>
                <c:pt idx="1496">
                  <c:v>108.69659931690678</c:v>
                </c:pt>
                <c:pt idx="1497">
                  <c:v>110.20593933075538</c:v>
                </c:pt>
                <c:pt idx="1498">
                  <c:v>109.89551321450507</c:v>
                </c:pt>
                <c:pt idx="1499">
                  <c:v>109.35246201364613</c:v>
                </c:pt>
                <c:pt idx="1500">
                  <c:v>109.17663168213593</c:v>
                </c:pt>
                <c:pt idx="1501">
                  <c:v>109.58041903635628</c:v>
                </c:pt>
                <c:pt idx="1502">
                  <c:v>110.40277594080882</c:v>
                </c:pt>
                <c:pt idx="1503">
                  <c:v>109.96242210171692</c:v>
                </c:pt>
                <c:pt idx="1504">
                  <c:v>108.8405312254439</c:v>
                </c:pt>
                <c:pt idx="1505">
                  <c:v>108.77206631759921</c:v>
                </c:pt>
                <c:pt idx="1506">
                  <c:v>107.53658593512935</c:v>
                </c:pt>
                <c:pt idx="1507">
                  <c:v>105.6997035780693</c:v>
                </c:pt>
                <c:pt idx="1508">
                  <c:v>106.4870500182831</c:v>
                </c:pt>
                <c:pt idx="1509">
                  <c:v>107.95437747504516</c:v>
                </c:pt>
                <c:pt idx="1510">
                  <c:v>106.6076416173277</c:v>
                </c:pt>
                <c:pt idx="1511">
                  <c:v>106.55395890549494</c:v>
                </c:pt>
                <c:pt idx="1512">
                  <c:v>108.20411878661494</c:v>
                </c:pt>
                <c:pt idx="1513">
                  <c:v>107.76532096815588</c:v>
                </c:pt>
                <c:pt idx="1514">
                  <c:v>107.12579648806127</c:v>
                </c:pt>
                <c:pt idx="1515">
                  <c:v>107.25105614900437</c:v>
                </c:pt>
                <c:pt idx="1516">
                  <c:v>106.34934219227731</c:v>
                </c:pt>
                <c:pt idx="1517">
                  <c:v>106.74068138143495</c:v>
                </c:pt>
                <c:pt idx="1518">
                  <c:v>108.19711669376717</c:v>
                </c:pt>
                <c:pt idx="1519">
                  <c:v>108.91988827771839</c:v>
                </c:pt>
                <c:pt idx="1520">
                  <c:v>109.18285576466727</c:v>
                </c:pt>
                <c:pt idx="1521">
                  <c:v>108.75884014222012</c:v>
                </c:pt>
                <c:pt idx="1522">
                  <c:v>109.3742463025058</c:v>
                </c:pt>
                <c:pt idx="1523">
                  <c:v>109.10116468144349</c:v>
                </c:pt>
                <c:pt idx="1524">
                  <c:v>108.26558160161187</c:v>
                </c:pt>
                <c:pt idx="1525">
                  <c:v>106.51739242062334</c:v>
                </c:pt>
                <c:pt idx="1526">
                  <c:v>106.55473691581133</c:v>
                </c:pt>
                <c:pt idx="1527">
                  <c:v>106.09882287039109</c:v>
                </c:pt>
                <c:pt idx="1528">
                  <c:v>105.38772144118613</c:v>
                </c:pt>
                <c:pt idx="1529">
                  <c:v>105.65302295908427</c:v>
                </c:pt>
                <c:pt idx="1530">
                  <c:v>105.29513821353254</c:v>
                </c:pt>
                <c:pt idx="1531">
                  <c:v>104.12501069764167</c:v>
                </c:pt>
                <c:pt idx="1532">
                  <c:v>103.52672076431715</c:v>
                </c:pt>
                <c:pt idx="1533">
                  <c:v>103.0708067188969</c:v>
                </c:pt>
                <c:pt idx="1534">
                  <c:v>101.51945414796182</c:v>
                </c:pt>
                <c:pt idx="1535">
                  <c:v>100.76945220293605</c:v>
                </c:pt>
                <c:pt idx="1536">
                  <c:v>102.38537963013374</c:v>
                </c:pt>
                <c:pt idx="1537">
                  <c:v>102.43517229038443</c:v>
                </c:pt>
                <c:pt idx="1538">
                  <c:v>102.60866859094537</c:v>
                </c:pt>
                <c:pt idx="1539">
                  <c:v>102.75026646853324</c:v>
                </c:pt>
                <c:pt idx="1540">
                  <c:v>102.52775551803803</c:v>
                </c:pt>
                <c:pt idx="1541">
                  <c:v>103.66365058000656</c:v>
                </c:pt>
                <c:pt idx="1542">
                  <c:v>102.17765087565046</c:v>
                </c:pt>
                <c:pt idx="1543">
                  <c:v>101.94502579104183</c:v>
                </c:pt>
                <c:pt idx="1544">
                  <c:v>99.432830479331997</c:v>
                </c:pt>
                <c:pt idx="1545">
                  <c:v>99.443722623761843</c:v>
                </c:pt>
                <c:pt idx="1546">
                  <c:v>100.01322617537893</c:v>
                </c:pt>
                <c:pt idx="1547">
                  <c:v>102.31847074292189</c:v>
                </c:pt>
                <c:pt idx="1548">
                  <c:v>102.30757859849204</c:v>
                </c:pt>
                <c:pt idx="1549">
                  <c:v>103.13771560610878</c:v>
                </c:pt>
                <c:pt idx="1550">
                  <c:v>101.83610434674348</c:v>
                </c:pt>
                <c:pt idx="1551">
                  <c:v>103.02257007927909</c:v>
                </c:pt>
                <c:pt idx="1552">
                  <c:v>102.29902048501147</c:v>
                </c:pt>
                <c:pt idx="1553">
                  <c:v>103.40535115495612</c:v>
                </c:pt>
                <c:pt idx="1554">
                  <c:v>104.4743373297128</c:v>
                </c:pt>
                <c:pt idx="1555">
                  <c:v>104.62527133109764</c:v>
                </c:pt>
                <c:pt idx="1556">
                  <c:v>105.65224494876779</c:v>
                </c:pt>
                <c:pt idx="1557">
                  <c:v>105.47408058630833</c:v>
                </c:pt>
                <c:pt idx="1558">
                  <c:v>103.12604545136246</c:v>
                </c:pt>
                <c:pt idx="1559">
                  <c:v>103.86593326227484</c:v>
                </c:pt>
                <c:pt idx="1560">
                  <c:v>102.20877128830706</c:v>
                </c:pt>
                <c:pt idx="1561">
                  <c:v>102.69658375670039</c:v>
                </c:pt>
                <c:pt idx="1562">
                  <c:v>103.61930399197071</c:v>
                </c:pt>
                <c:pt idx="1563">
                  <c:v>103.40068309305759</c:v>
                </c:pt>
                <c:pt idx="1564">
                  <c:v>105.97745326103002</c:v>
                </c:pt>
                <c:pt idx="1565">
                  <c:v>106.23808671702965</c:v>
                </c:pt>
                <c:pt idx="1566">
                  <c:v>106.90017349630033</c:v>
                </c:pt>
                <c:pt idx="1567">
                  <c:v>106.39913485252792</c:v>
                </c:pt>
                <c:pt idx="1568">
                  <c:v>105.39550154435027</c:v>
                </c:pt>
                <c:pt idx="1569">
                  <c:v>105.22278325410572</c:v>
                </c:pt>
                <c:pt idx="1570">
                  <c:v>104.36774991636366</c:v>
                </c:pt>
                <c:pt idx="1571">
                  <c:v>104.36619389573082</c:v>
                </c:pt>
                <c:pt idx="1572">
                  <c:v>103.84570499404799</c:v>
                </c:pt>
                <c:pt idx="1573">
                  <c:v>105.55888371079779</c:v>
                </c:pt>
                <c:pt idx="1574">
                  <c:v>105.31458847144292</c:v>
                </c:pt>
                <c:pt idx="1575">
                  <c:v>106.09493281880897</c:v>
                </c:pt>
                <c:pt idx="1576">
                  <c:v>106.80370021706466</c:v>
                </c:pt>
                <c:pt idx="1577">
                  <c:v>107.09389806508811</c:v>
                </c:pt>
                <c:pt idx="1578">
                  <c:v>106.01635377685086</c:v>
                </c:pt>
                <c:pt idx="1579">
                  <c:v>105.07184925272088</c:v>
                </c:pt>
                <c:pt idx="1580">
                  <c:v>104.12189865637596</c:v>
                </c:pt>
                <c:pt idx="1581">
                  <c:v>104.08922222308645</c:v>
                </c:pt>
                <c:pt idx="1582">
                  <c:v>105.81095905331679</c:v>
                </c:pt>
                <c:pt idx="1583">
                  <c:v>107.82989582441839</c:v>
                </c:pt>
                <c:pt idx="1584">
                  <c:v>107.77776913321846</c:v>
                </c:pt>
                <c:pt idx="1585">
                  <c:v>107.31251896400121</c:v>
                </c:pt>
                <c:pt idx="1586">
                  <c:v>106.98731065173901</c:v>
                </c:pt>
                <c:pt idx="1587">
                  <c:v>106.19840819089238</c:v>
                </c:pt>
                <c:pt idx="1588">
                  <c:v>108.22045700325961</c:v>
                </c:pt>
                <c:pt idx="1589">
                  <c:v>108.47253234577865</c:v>
                </c:pt>
                <c:pt idx="1590">
                  <c:v>109.0264756910674</c:v>
                </c:pt>
                <c:pt idx="1591">
                  <c:v>109.09416258859568</c:v>
                </c:pt>
                <c:pt idx="1592">
                  <c:v>109.13928718694785</c:v>
                </c:pt>
                <c:pt idx="1593">
                  <c:v>109.3781363540878</c:v>
                </c:pt>
                <c:pt idx="1594">
                  <c:v>109.24120653839844</c:v>
                </c:pt>
                <c:pt idx="1595">
                  <c:v>109.22720235270295</c:v>
                </c:pt>
                <c:pt idx="1596">
                  <c:v>109.35168400332962</c:v>
                </c:pt>
                <c:pt idx="1597">
                  <c:v>110.12813829911359</c:v>
                </c:pt>
                <c:pt idx="1598">
                  <c:v>110.33431103296407</c:v>
                </c:pt>
                <c:pt idx="1599">
                  <c:v>110.33197700201482</c:v>
                </c:pt>
                <c:pt idx="1600">
                  <c:v>109.9460838850721</c:v>
                </c:pt>
                <c:pt idx="1601">
                  <c:v>109.97098021519743</c:v>
                </c:pt>
                <c:pt idx="1602">
                  <c:v>109.08327044416586</c:v>
                </c:pt>
                <c:pt idx="1603">
                  <c:v>109.78736978052308</c:v>
                </c:pt>
                <c:pt idx="1604">
                  <c:v>109.73368706869032</c:v>
                </c:pt>
                <c:pt idx="1605">
                  <c:v>109.6449938926188</c:v>
                </c:pt>
                <c:pt idx="1606">
                  <c:v>109.73757712027241</c:v>
                </c:pt>
                <c:pt idx="1607">
                  <c:v>108.88098776189752</c:v>
                </c:pt>
                <c:pt idx="1608">
                  <c:v>109.43337508655343</c:v>
                </c:pt>
                <c:pt idx="1609">
                  <c:v>109.3057813946611</c:v>
                </c:pt>
                <c:pt idx="1610">
                  <c:v>109.18907984719856</c:v>
                </c:pt>
                <c:pt idx="1611">
                  <c:v>111.42041343468192</c:v>
                </c:pt>
                <c:pt idx="1612">
                  <c:v>111.87165941820368</c:v>
                </c:pt>
                <c:pt idx="1613">
                  <c:v>111.18389829849121</c:v>
                </c:pt>
                <c:pt idx="1614">
                  <c:v>111.53244692024596</c:v>
                </c:pt>
                <c:pt idx="1615">
                  <c:v>111.76585001517101</c:v>
                </c:pt>
                <c:pt idx="1616">
                  <c:v>113.58872818653556</c:v>
                </c:pt>
                <c:pt idx="1617">
                  <c:v>114.03841814942447</c:v>
                </c:pt>
                <c:pt idx="1618">
                  <c:v>113.68208942450559</c:v>
                </c:pt>
                <c:pt idx="1619">
                  <c:v>113.53660149533565</c:v>
                </c:pt>
                <c:pt idx="1620">
                  <c:v>113.67119728007573</c:v>
                </c:pt>
                <c:pt idx="1621">
                  <c:v>113.60973446507882</c:v>
                </c:pt>
                <c:pt idx="1622">
                  <c:v>113.60117635159823</c:v>
                </c:pt>
                <c:pt idx="1623">
                  <c:v>113.34754498844636</c:v>
                </c:pt>
                <c:pt idx="1624">
                  <c:v>112.15718920432865</c:v>
                </c:pt>
                <c:pt idx="1625">
                  <c:v>111.51377467265195</c:v>
                </c:pt>
                <c:pt idx="1626">
                  <c:v>112.58976294025638</c:v>
                </c:pt>
                <c:pt idx="1627">
                  <c:v>112.08561225521828</c:v>
                </c:pt>
                <c:pt idx="1628">
                  <c:v>112.38281219608947</c:v>
                </c:pt>
                <c:pt idx="1629">
                  <c:v>112.48084149595799</c:v>
                </c:pt>
                <c:pt idx="1630">
                  <c:v>112.88851890176038</c:v>
                </c:pt>
                <c:pt idx="1631">
                  <c:v>113.69842764115027</c:v>
                </c:pt>
                <c:pt idx="1632">
                  <c:v>113.66186115627869</c:v>
                </c:pt>
                <c:pt idx="1633">
                  <c:v>113.26896594648821</c:v>
                </c:pt>
                <c:pt idx="1634">
                  <c:v>112.14863109084803</c:v>
                </c:pt>
                <c:pt idx="1635">
                  <c:v>111.45464588860423</c:v>
                </c:pt>
                <c:pt idx="1636">
                  <c:v>111.47643017746391</c:v>
                </c:pt>
                <c:pt idx="1637">
                  <c:v>111.14577579298677</c:v>
                </c:pt>
                <c:pt idx="1638">
                  <c:v>112.04359969813179</c:v>
                </c:pt>
                <c:pt idx="1639">
                  <c:v>113.19427695611222</c:v>
                </c:pt>
                <c:pt idx="1640">
                  <c:v>113.6603051356459</c:v>
                </c:pt>
                <c:pt idx="1641">
                  <c:v>113.3825554526851</c:v>
                </c:pt>
                <c:pt idx="1642">
                  <c:v>111.50366053853855</c:v>
                </c:pt>
                <c:pt idx="1643">
                  <c:v>111.55267518847282</c:v>
                </c:pt>
                <c:pt idx="1644">
                  <c:v>109.94141582317363</c:v>
                </c:pt>
                <c:pt idx="1645">
                  <c:v>109.60220332521591</c:v>
                </c:pt>
                <c:pt idx="1646">
                  <c:v>109.93052367874378</c:v>
                </c:pt>
                <c:pt idx="1647">
                  <c:v>109.85038861615284</c:v>
                </c:pt>
                <c:pt idx="1648">
                  <c:v>109.86750484311401</c:v>
                </c:pt>
                <c:pt idx="1649">
                  <c:v>111.06797476134511</c:v>
                </c:pt>
                <c:pt idx="1650">
                  <c:v>110.02621894766303</c:v>
                </c:pt>
                <c:pt idx="1651">
                  <c:v>110.26429010448656</c:v>
                </c:pt>
                <c:pt idx="1652">
                  <c:v>111.13021558665848</c:v>
                </c:pt>
                <c:pt idx="1653">
                  <c:v>108.4958726552712</c:v>
                </c:pt>
                <c:pt idx="1654">
                  <c:v>107.17169909672981</c:v>
                </c:pt>
                <c:pt idx="1655">
                  <c:v>107.35375351077134</c:v>
                </c:pt>
                <c:pt idx="1656">
                  <c:v>107.36775769646684</c:v>
                </c:pt>
                <c:pt idx="1657">
                  <c:v>106.93985202243762</c:v>
                </c:pt>
                <c:pt idx="1658">
                  <c:v>105.45852037998003</c:v>
                </c:pt>
                <c:pt idx="1659">
                  <c:v>105.290470151634</c:v>
                </c:pt>
                <c:pt idx="1660">
                  <c:v>105.80006690888702</c:v>
                </c:pt>
                <c:pt idx="1661">
                  <c:v>107.90147277352877</c:v>
                </c:pt>
                <c:pt idx="1662">
                  <c:v>107.9730497226391</c:v>
                </c:pt>
                <c:pt idx="1663">
                  <c:v>108.22356904452532</c:v>
                </c:pt>
                <c:pt idx="1664">
                  <c:v>109.63332373787256</c:v>
                </c:pt>
                <c:pt idx="1665">
                  <c:v>109.41081278737734</c:v>
                </c:pt>
                <c:pt idx="1666">
                  <c:v>108.83897520481099</c:v>
                </c:pt>
                <c:pt idx="1667">
                  <c:v>109.69400854255304</c:v>
                </c:pt>
                <c:pt idx="1668">
                  <c:v>110.16237075303593</c:v>
                </c:pt>
                <c:pt idx="1669">
                  <c:v>110.1802649903135</c:v>
                </c:pt>
                <c:pt idx="1670">
                  <c:v>109.65744205768139</c:v>
                </c:pt>
                <c:pt idx="1671">
                  <c:v>109.46994157142494</c:v>
                </c:pt>
                <c:pt idx="1672">
                  <c:v>109.64343787198591</c:v>
                </c:pt>
                <c:pt idx="1673">
                  <c:v>110.00599067943612</c:v>
                </c:pt>
                <c:pt idx="1674">
                  <c:v>110.32730894011625</c:v>
                </c:pt>
                <c:pt idx="1675">
                  <c:v>110.36465343530426</c:v>
                </c:pt>
                <c:pt idx="1676">
                  <c:v>111.08742501925545</c:v>
                </c:pt>
                <c:pt idx="1677">
                  <c:v>111.13721767950615</c:v>
                </c:pt>
                <c:pt idx="1678">
                  <c:v>110.4346743637818</c:v>
                </c:pt>
                <c:pt idx="1679">
                  <c:v>109.97798230804511</c:v>
                </c:pt>
                <c:pt idx="1680">
                  <c:v>111.28348361899248</c:v>
                </c:pt>
                <c:pt idx="1681">
                  <c:v>112.56175456886528</c:v>
                </c:pt>
                <c:pt idx="1682">
                  <c:v>111.70749924143965</c:v>
                </c:pt>
                <c:pt idx="1683">
                  <c:v>112.32057137077609</c:v>
                </c:pt>
                <c:pt idx="1684">
                  <c:v>111.26714540234777</c:v>
                </c:pt>
                <c:pt idx="1685">
                  <c:v>110.99561980191831</c:v>
                </c:pt>
                <c:pt idx="1686">
                  <c:v>110.46423875580562</c:v>
                </c:pt>
                <c:pt idx="1687">
                  <c:v>110.32964297106552</c:v>
                </c:pt>
                <c:pt idx="1688">
                  <c:v>109.11050080524043</c:v>
                </c:pt>
                <c:pt idx="1689">
                  <c:v>110.95905331704674</c:v>
                </c:pt>
                <c:pt idx="1690">
                  <c:v>113.77778469342478</c:v>
                </c:pt>
                <c:pt idx="1691">
                  <c:v>113.54049154691764</c:v>
                </c:pt>
                <c:pt idx="1692">
                  <c:v>114.09287887157357</c:v>
                </c:pt>
                <c:pt idx="1693">
                  <c:v>113.73655014665468</c:v>
                </c:pt>
                <c:pt idx="1694">
                  <c:v>113.36777325667313</c:v>
                </c:pt>
                <c:pt idx="1695">
                  <c:v>113.66886324912642</c:v>
                </c:pt>
                <c:pt idx="1696">
                  <c:v>114.53245470034905</c:v>
                </c:pt>
                <c:pt idx="1697">
                  <c:v>114.52700862813414</c:v>
                </c:pt>
                <c:pt idx="1698">
                  <c:v>114.42042121478505</c:v>
                </c:pt>
                <c:pt idx="1699">
                  <c:v>114.54957092731021</c:v>
                </c:pt>
                <c:pt idx="1700">
                  <c:v>114.5721332264863</c:v>
                </c:pt>
                <c:pt idx="1701">
                  <c:v>115.21865979942866</c:v>
                </c:pt>
                <c:pt idx="1702">
                  <c:v>115.61077699890272</c:v>
                </c:pt>
                <c:pt idx="1703">
                  <c:v>116.12270778710496</c:v>
                </c:pt>
                <c:pt idx="1704">
                  <c:v>116.29776010829875</c:v>
                </c:pt>
                <c:pt idx="1705">
                  <c:v>116.29853811861517</c:v>
                </c:pt>
                <c:pt idx="1706">
                  <c:v>116.93183851617846</c:v>
                </c:pt>
                <c:pt idx="1707">
                  <c:v>116.71555164821459</c:v>
                </c:pt>
                <c:pt idx="1708">
                  <c:v>117.31150755058984</c:v>
                </c:pt>
                <c:pt idx="1709">
                  <c:v>116.85403748453678</c:v>
                </c:pt>
                <c:pt idx="1710">
                  <c:v>116.55450351271629</c:v>
                </c:pt>
                <c:pt idx="1711">
                  <c:v>117.72618704924</c:v>
                </c:pt>
                <c:pt idx="1712">
                  <c:v>116.36778103677626</c:v>
                </c:pt>
                <c:pt idx="1713">
                  <c:v>117.5799211097536</c:v>
                </c:pt>
                <c:pt idx="1714">
                  <c:v>117.64449596601618</c:v>
                </c:pt>
                <c:pt idx="1715">
                  <c:v>117.43209914963441</c:v>
                </c:pt>
                <c:pt idx="1716">
                  <c:v>118.09651995985435</c:v>
                </c:pt>
                <c:pt idx="1717">
                  <c:v>118.024943010744</c:v>
                </c:pt>
                <c:pt idx="1718">
                  <c:v>118.21322150731686</c:v>
                </c:pt>
                <c:pt idx="1719">
                  <c:v>118.28324243579435</c:v>
                </c:pt>
                <c:pt idx="1720">
                  <c:v>118.36493351901814</c:v>
                </c:pt>
                <c:pt idx="1721">
                  <c:v>118.24122987870786</c:v>
                </c:pt>
                <c:pt idx="1722">
                  <c:v>119.10871138151259</c:v>
                </c:pt>
                <c:pt idx="1723">
                  <c:v>117.63126979063709</c:v>
                </c:pt>
                <c:pt idx="1724">
                  <c:v>116.88982595909189</c:v>
                </c:pt>
                <c:pt idx="1725">
                  <c:v>117.91524355612921</c:v>
                </c:pt>
                <c:pt idx="1726">
                  <c:v>115.7562649280726</c:v>
                </c:pt>
                <c:pt idx="1727">
                  <c:v>116.46347630569548</c:v>
                </c:pt>
                <c:pt idx="1728">
                  <c:v>117.94558595846948</c:v>
                </c:pt>
                <c:pt idx="1729">
                  <c:v>117.84366660701889</c:v>
                </c:pt>
                <c:pt idx="1730">
                  <c:v>118.11752623839759</c:v>
                </c:pt>
                <c:pt idx="1731">
                  <c:v>118.66213345988935</c:v>
                </c:pt>
                <c:pt idx="1732">
                  <c:v>119.79725051154145</c:v>
                </c:pt>
                <c:pt idx="1733">
                  <c:v>119.92717823438306</c:v>
                </c:pt>
                <c:pt idx="1734">
                  <c:v>120.14502112297976</c:v>
                </c:pt>
                <c:pt idx="1735">
                  <c:v>120.6834042619402</c:v>
                </c:pt>
                <c:pt idx="1736">
                  <c:v>121.07552146141425</c:v>
                </c:pt>
                <c:pt idx="1737">
                  <c:v>120.78454560307438</c:v>
                </c:pt>
                <c:pt idx="1738">
                  <c:v>120.94325970762343</c:v>
                </c:pt>
                <c:pt idx="1739">
                  <c:v>121.62090669322247</c:v>
                </c:pt>
                <c:pt idx="1740">
                  <c:v>121.42407008316901</c:v>
                </c:pt>
                <c:pt idx="1741">
                  <c:v>120.75498121105056</c:v>
                </c:pt>
                <c:pt idx="1742">
                  <c:v>120.46244933207785</c:v>
                </c:pt>
                <c:pt idx="1743">
                  <c:v>121.2692460302021</c:v>
                </c:pt>
                <c:pt idx="1744">
                  <c:v>120.26483471170802</c:v>
                </c:pt>
                <c:pt idx="1745">
                  <c:v>121.12764815261426</c:v>
                </c:pt>
                <c:pt idx="1746">
                  <c:v>120.72308278807752</c:v>
                </c:pt>
                <c:pt idx="1747">
                  <c:v>121.66291925030899</c:v>
                </c:pt>
                <c:pt idx="1748">
                  <c:v>121.59134230119864</c:v>
                </c:pt>
                <c:pt idx="1749">
                  <c:v>122.08460084180689</c:v>
                </c:pt>
                <c:pt idx="1750">
                  <c:v>121.53843759968231</c:v>
                </c:pt>
                <c:pt idx="1751">
                  <c:v>122.16706993534707</c:v>
                </c:pt>
                <c:pt idx="1752">
                  <c:v>120.87868485136087</c:v>
                </c:pt>
                <c:pt idx="1753">
                  <c:v>121.36805334038705</c:v>
                </c:pt>
                <c:pt idx="1754">
                  <c:v>120.84678642838779</c:v>
                </c:pt>
                <c:pt idx="1755">
                  <c:v>121.6084585281598</c:v>
                </c:pt>
                <c:pt idx="1756">
                  <c:v>122.03947624345469</c:v>
                </c:pt>
                <c:pt idx="1757">
                  <c:v>123.52703196844361</c:v>
                </c:pt>
                <c:pt idx="1758">
                  <c:v>123.96582978690267</c:v>
                </c:pt>
                <c:pt idx="1759">
                  <c:v>123.61416912388228</c:v>
                </c:pt>
                <c:pt idx="1760">
                  <c:v>120.77520947927739</c:v>
                </c:pt>
                <c:pt idx="1761">
                  <c:v>122.5031703920391</c:v>
                </c:pt>
                <c:pt idx="1762">
                  <c:v>120.74797911820281</c:v>
                </c:pt>
                <c:pt idx="1763">
                  <c:v>119.93884838912933</c:v>
                </c:pt>
                <c:pt idx="1764">
                  <c:v>121.00005446072183</c:v>
                </c:pt>
                <c:pt idx="1765">
                  <c:v>121.56411194012401</c:v>
                </c:pt>
                <c:pt idx="1766">
                  <c:v>122.83071273525056</c:v>
                </c:pt>
                <c:pt idx="1767">
                  <c:v>122.83149074556697</c:v>
                </c:pt>
                <c:pt idx="1768">
                  <c:v>123.32708331712446</c:v>
                </c:pt>
                <c:pt idx="1769">
                  <c:v>123.09990430473076</c:v>
                </c:pt>
                <c:pt idx="1770">
                  <c:v>123.98450203449663</c:v>
                </c:pt>
                <c:pt idx="1771">
                  <c:v>124.29259411979768</c:v>
                </c:pt>
                <c:pt idx="1772">
                  <c:v>123.13569277928592</c:v>
                </c:pt>
                <c:pt idx="1773">
                  <c:v>124.2941501404305</c:v>
                </c:pt>
                <c:pt idx="1774">
                  <c:v>125.60354150295998</c:v>
                </c:pt>
                <c:pt idx="1775">
                  <c:v>125.84316868041635</c:v>
                </c:pt>
                <c:pt idx="1776">
                  <c:v>126.50136540810495</c:v>
                </c:pt>
                <c:pt idx="1777">
                  <c:v>127.02496635105346</c:v>
                </c:pt>
                <c:pt idx="1778">
                  <c:v>126.55660414057056</c:v>
                </c:pt>
                <c:pt idx="1779">
                  <c:v>127.10354539301156</c:v>
                </c:pt>
                <c:pt idx="1780">
                  <c:v>127.10899146522645</c:v>
                </c:pt>
                <c:pt idx="1781">
                  <c:v>128.39815455952905</c:v>
                </c:pt>
                <c:pt idx="1782">
                  <c:v>129.05479526658482</c:v>
                </c:pt>
                <c:pt idx="1783">
                  <c:v>128.40826869364247</c:v>
                </c:pt>
                <c:pt idx="1784">
                  <c:v>129.73088623155101</c:v>
                </c:pt>
                <c:pt idx="1785">
                  <c:v>129.63908101421382</c:v>
                </c:pt>
                <c:pt idx="1786">
                  <c:v>129.86236997502544</c:v>
                </c:pt>
                <c:pt idx="1787">
                  <c:v>128.78793772805386</c:v>
                </c:pt>
                <c:pt idx="1788">
                  <c:v>128.41138073490814</c:v>
                </c:pt>
                <c:pt idx="1789">
                  <c:v>128.34058179611418</c:v>
                </c:pt>
                <c:pt idx="1790">
                  <c:v>129.15438058708611</c:v>
                </c:pt>
                <c:pt idx="1791">
                  <c:v>128.24410851687847</c:v>
                </c:pt>
                <c:pt idx="1792">
                  <c:v>128.71480475831063</c:v>
                </c:pt>
                <c:pt idx="1793">
                  <c:v>126.87325433935207</c:v>
                </c:pt>
                <c:pt idx="1794">
                  <c:v>127.62636832564354</c:v>
                </c:pt>
                <c:pt idx="1795">
                  <c:v>126.92304699960278</c:v>
                </c:pt>
                <c:pt idx="1796">
                  <c:v>125.17407980829782</c:v>
                </c:pt>
                <c:pt idx="1797">
                  <c:v>126.23684190052315</c:v>
                </c:pt>
                <c:pt idx="1798">
                  <c:v>127.85665937930291</c:v>
                </c:pt>
                <c:pt idx="1799">
                  <c:v>127.81231279126713</c:v>
                </c:pt>
                <c:pt idx="1800">
                  <c:v>126.51459158348393</c:v>
                </c:pt>
                <c:pt idx="1801">
                  <c:v>125.45571954284067</c:v>
                </c:pt>
                <c:pt idx="1802">
                  <c:v>127.3104961371783</c:v>
                </c:pt>
                <c:pt idx="1803">
                  <c:v>126.56127220246894</c:v>
                </c:pt>
                <c:pt idx="1804">
                  <c:v>127.51900290197801</c:v>
                </c:pt>
                <c:pt idx="1805">
                  <c:v>128.51252207604225</c:v>
                </c:pt>
                <c:pt idx="1806">
                  <c:v>126.73243447208063</c:v>
                </c:pt>
                <c:pt idx="1807">
                  <c:v>123.56282044299863</c:v>
                </c:pt>
                <c:pt idx="1808">
                  <c:v>123.89269681715933</c:v>
                </c:pt>
                <c:pt idx="1809">
                  <c:v>122.38802486520925</c:v>
                </c:pt>
                <c:pt idx="1810">
                  <c:v>123.55037227793592</c:v>
                </c:pt>
                <c:pt idx="1811">
                  <c:v>124.73528198983871</c:v>
                </c:pt>
                <c:pt idx="1812">
                  <c:v>125.50862424435702</c:v>
                </c:pt>
                <c:pt idx="1813">
                  <c:v>124.97024110539661</c:v>
                </c:pt>
                <c:pt idx="1814">
                  <c:v>125.64555406004639</c:v>
                </c:pt>
                <c:pt idx="1815">
                  <c:v>125.57708915220169</c:v>
                </c:pt>
                <c:pt idx="1816">
                  <c:v>125.68056452428513</c:v>
                </c:pt>
                <c:pt idx="1817">
                  <c:v>126.96272552574003</c:v>
                </c:pt>
                <c:pt idx="1818">
                  <c:v>127.62948036690922</c:v>
                </c:pt>
                <c:pt idx="1819">
                  <c:v>128.55220060217954</c:v>
                </c:pt>
                <c:pt idx="1820">
                  <c:v>128.57554091167205</c:v>
                </c:pt>
                <c:pt idx="1821">
                  <c:v>130.31828402044567</c:v>
                </c:pt>
                <c:pt idx="1822">
                  <c:v>130.72051535403315</c:v>
                </c:pt>
                <c:pt idx="1823">
                  <c:v>130.9002357371254</c:v>
                </c:pt>
                <c:pt idx="1824">
                  <c:v>130.4147572996813</c:v>
                </c:pt>
                <c:pt idx="1825">
                  <c:v>130.77653209681509</c:v>
                </c:pt>
                <c:pt idx="1826">
                  <c:v>131.43472882450368</c:v>
                </c:pt>
                <c:pt idx="1827">
                  <c:v>131.64634763056907</c:v>
                </c:pt>
                <c:pt idx="1828">
                  <c:v>131.91398317941645</c:v>
                </c:pt>
                <c:pt idx="1829">
                  <c:v>131.66968794006158</c:v>
                </c:pt>
                <c:pt idx="1830">
                  <c:v>131.16787128597275</c:v>
                </c:pt>
                <c:pt idx="1831">
                  <c:v>131.50319373234836</c:v>
                </c:pt>
                <c:pt idx="1832">
                  <c:v>131.61211517664671</c:v>
                </c:pt>
                <c:pt idx="1833">
                  <c:v>131.12041265667128</c:v>
                </c:pt>
                <c:pt idx="1834">
                  <c:v>131.16942730660554</c:v>
                </c:pt>
                <c:pt idx="1835">
                  <c:v>131.15153306932797</c:v>
                </c:pt>
                <c:pt idx="1836">
                  <c:v>132.79624687823303</c:v>
                </c:pt>
                <c:pt idx="1837">
                  <c:v>133.01408976682973</c:v>
                </c:pt>
                <c:pt idx="1838">
                  <c:v>132.8172531567763</c:v>
                </c:pt>
                <c:pt idx="1839">
                  <c:v>132.05713707763707</c:v>
                </c:pt>
                <c:pt idx="1840">
                  <c:v>131.55454241323184</c:v>
                </c:pt>
                <c:pt idx="1841">
                  <c:v>132.06569519111764</c:v>
                </c:pt>
                <c:pt idx="1842">
                  <c:v>131.59422093936905</c:v>
                </c:pt>
                <c:pt idx="1843">
                  <c:v>131.44250892766777</c:v>
                </c:pt>
                <c:pt idx="1844">
                  <c:v>131.80739576606726</c:v>
                </c:pt>
                <c:pt idx="1845">
                  <c:v>131.12508071856973</c:v>
                </c:pt>
                <c:pt idx="1846">
                  <c:v>129.2524098869545</c:v>
                </c:pt>
                <c:pt idx="1847">
                  <c:v>128.82528222324166</c:v>
                </c:pt>
                <c:pt idx="1848">
                  <c:v>128.06516614410245</c:v>
                </c:pt>
                <c:pt idx="1849">
                  <c:v>128.55453463312861</c:v>
                </c:pt>
                <c:pt idx="1850">
                  <c:v>127.81153478095058</c:v>
                </c:pt>
                <c:pt idx="1851">
                  <c:v>128.91319738899676</c:v>
                </c:pt>
                <c:pt idx="1852">
                  <c:v>129.42201613593338</c:v>
                </c:pt>
                <c:pt idx="1853">
                  <c:v>128.89919320330131</c:v>
                </c:pt>
                <c:pt idx="1854">
                  <c:v>126.85302607112516</c:v>
                </c:pt>
                <c:pt idx="1855">
                  <c:v>127.20157469287989</c:v>
                </c:pt>
                <c:pt idx="1856">
                  <c:v>127.45131600444967</c:v>
                </c:pt>
                <c:pt idx="1857">
                  <c:v>127.04675063991293</c:v>
                </c:pt>
                <c:pt idx="1858">
                  <c:v>127.57579765507633</c:v>
                </c:pt>
                <c:pt idx="1859">
                  <c:v>128.61132938622708</c:v>
                </c:pt>
                <c:pt idx="1860">
                  <c:v>128.76693144951042</c:v>
                </c:pt>
                <c:pt idx="1861">
                  <c:v>128.77393354235818</c:v>
                </c:pt>
                <c:pt idx="1862">
                  <c:v>130.06076260571152</c:v>
                </c:pt>
                <c:pt idx="1863">
                  <c:v>131.01615927427133</c:v>
                </c:pt>
                <c:pt idx="1864">
                  <c:v>131.41605657690957</c:v>
                </c:pt>
                <c:pt idx="1865">
                  <c:v>130.97181268623558</c:v>
                </c:pt>
                <c:pt idx="1866">
                  <c:v>131.32736340083807</c:v>
                </c:pt>
                <c:pt idx="1867">
                  <c:v>132.07503131491461</c:v>
                </c:pt>
                <c:pt idx="1868">
                  <c:v>132.63208670146904</c:v>
                </c:pt>
                <c:pt idx="1869">
                  <c:v>134.24723611835029</c:v>
                </c:pt>
                <c:pt idx="1870">
                  <c:v>133.99982883772975</c:v>
                </c:pt>
                <c:pt idx="1871">
                  <c:v>133.03276201442367</c:v>
                </c:pt>
                <c:pt idx="1872">
                  <c:v>132.40490768907532</c:v>
                </c:pt>
                <c:pt idx="1873">
                  <c:v>132.0610271292191</c:v>
                </c:pt>
                <c:pt idx="1874">
                  <c:v>131.69925233208528</c:v>
                </c:pt>
                <c:pt idx="1875">
                  <c:v>132.1582784187712</c:v>
                </c:pt>
                <c:pt idx="1876">
                  <c:v>131.61989527981078</c:v>
                </c:pt>
                <c:pt idx="1877">
                  <c:v>130.82632475706563</c:v>
                </c:pt>
                <c:pt idx="1878">
                  <c:v>131.87274863264622</c:v>
                </c:pt>
                <c:pt idx="1879">
                  <c:v>131.78483346689111</c:v>
                </c:pt>
                <c:pt idx="1880">
                  <c:v>130.60147977562119</c:v>
                </c:pt>
                <c:pt idx="1881">
                  <c:v>131.52264399025864</c:v>
                </c:pt>
                <c:pt idx="1882">
                  <c:v>130.40386515525128</c:v>
                </c:pt>
                <c:pt idx="1883">
                  <c:v>128.79571783121779</c:v>
                </c:pt>
                <c:pt idx="1884">
                  <c:v>128.86962881127741</c:v>
                </c:pt>
                <c:pt idx="1885">
                  <c:v>131.6829141154405</c:v>
                </c:pt>
                <c:pt idx="1886">
                  <c:v>132.51071709210794</c:v>
                </c:pt>
                <c:pt idx="1887">
                  <c:v>133.05065625170118</c:v>
                </c:pt>
                <c:pt idx="1888">
                  <c:v>132.1108197894697</c:v>
                </c:pt>
                <c:pt idx="1889">
                  <c:v>133.93758801241634</c:v>
                </c:pt>
                <c:pt idx="1890">
                  <c:v>134.84085798977623</c:v>
                </c:pt>
                <c:pt idx="1891">
                  <c:v>135.72389969890926</c:v>
                </c:pt>
                <c:pt idx="1892">
                  <c:v>135.73634786397193</c:v>
                </c:pt>
                <c:pt idx="1893">
                  <c:v>136.51513619070514</c:v>
                </c:pt>
                <c:pt idx="1894">
                  <c:v>135.87016563839563</c:v>
                </c:pt>
                <c:pt idx="1895">
                  <c:v>136.31285350843677</c:v>
                </c:pt>
                <c:pt idx="1896">
                  <c:v>136.91192145207771</c:v>
                </c:pt>
                <c:pt idx="1897">
                  <c:v>137.09397586611922</c:v>
                </c:pt>
                <c:pt idx="1898">
                  <c:v>137.85953801747334</c:v>
                </c:pt>
                <c:pt idx="1899">
                  <c:v>137.18733710408924</c:v>
                </c:pt>
                <c:pt idx="1900">
                  <c:v>136.66062411987505</c:v>
                </c:pt>
                <c:pt idx="1901">
                  <c:v>137.0574093812476</c:v>
                </c:pt>
                <c:pt idx="1902">
                  <c:v>137.54677787027376</c:v>
                </c:pt>
                <c:pt idx="1903">
                  <c:v>137.160884753331</c:v>
                </c:pt>
                <c:pt idx="1904">
                  <c:v>137.74594851127642</c:v>
                </c:pt>
                <c:pt idx="1905">
                  <c:v>135.93007243275963</c:v>
                </c:pt>
                <c:pt idx="1906">
                  <c:v>137.75528463507339</c:v>
                </c:pt>
                <c:pt idx="1907">
                  <c:v>137.85486995557477</c:v>
                </c:pt>
                <c:pt idx="1908">
                  <c:v>137.5281056226797</c:v>
                </c:pt>
                <c:pt idx="1909">
                  <c:v>138.64143838547213</c:v>
                </c:pt>
                <c:pt idx="1910">
                  <c:v>139.31208327822338</c:v>
                </c:pt>
                <c:pt idx="1911">
                  <c:v>139.9002590774345</c:v>
                </c:pt>
                <c:pt idx="1912">
                  <c:v>139.38288221701737</c:v>
                </c:pt>
                <c:pt idx="1913">
                  <c:v>139.09813044120881</c:v>
                </c:pt>
                <c:pt idx="1914">
                  <c:v>138.59242373553789</c:v>
                </c:pt>
                <c:pt idx="1915">
                  <c:v>139.71898267370941</c:v>
                </c:pt>
                <c:pt idx="1916">
                  <c:v>140.41218986563678</c:v>
                </c:pt>
                <c:pt idx="1917">
                  <c:v>140.23480351349377</c:v>
                </c:pt>
                <c:pt idx="1918">
                  <c:v>140.25580979203701</c:v>
                </c:pt>
                <c:pt idx="1919">
                  <c:v>140.60435841379174</c:v>
                </c:pt>
                <c:pt idx="1920">
                  <c:v>140.49388094886055</c:v>
                </c:pt>
                <c:pt idx="1921">
                  <c:v>140.11187788349994</c:v>
                </c:pt>
                <c:pt idx="1922">
                  <c:v>139.66452195156029</c:v>
                </c:pt>
                <c:pt idx="1923">
                  <c:v>139.48246753751874</c:v>
                </c:pt>
                <c:pt idx="1924">
                  <c:v>138.87717551134648</c:v>
                </c:pt>
                <c:pt idx="1925">
                  <c:v>140.43786420607853</c:v>
                </c:pt>
                <c:pt idx="1926">
                  <c:v>140.69305158986322</c:v>
                </c:pt>
                <c:pt idx="1927">
                  <c:v>140.24569565792356</c:v>
                </c:pt>
                <c:pt idx="1928">
                  <c:v>138.65855461243331</c:v>
                </c:pt>
                <c:pt idx="1929">
                  <c:v>138.13573167980121</c:v>
                </c:pt>
                <c:pt idx="1930">
                  <c:v>138.1217274941057</c:v>
                </c:pt>
                <c:pt idx="1931">
                  <c:v>138.99465506912534</c:v>
                </c:pt>
                <c:pt idx="1932">
                  <c:v>138.56363735383044</c:v>
                </c:pt>
                <c:pt idx="1933">
                  <c:v>140.87043794200628</c:v>
                </c:pt>
                <c:pt idx="1934">
                  <c:v>140.78874685878247</c:v>
                </c:pt>
                <c:pt idx="1935">
                  <c:v>141.46717185469794</c:v>
                </c:pt>
                <c:pt idx="1936">
                  <c:v>142.21950783067297</c:v>
                </c:pt>
                <c:pt idx="1937">
                  <c:v>142.63418732932308</c:v>
                </c:pt>
                <c:pt idx="1938">
                  <c:v>143.31105630460573</c:v>
                </c:pt>
                <c:pt idx="1939">
                  <c:v>143.26281966498789</c:v>
                </c:pt>
                <c:pt idx="1940">
                  <c:v>143.23714532454613</c:v>
                </c:pt>
                <c:pt idx="1941">
                  <c:v>143.80431484521395</c:v>
                </c:pt>
                <c:pt idx="1942">
                  <c:v>142.52993394692325</c:v>
                </c:pt>
                <c:pt idx="1943">
                  <c:v>142.48247531762181</c:v>
                </c:pt>
                <c:pt idx="1944">
                  <c:v>142.12459057207008</c:v>
                </c:pt>
                <c:pt idx="1945">
                  <c:v>142.98896003360915</c:v>
                </c:pt>
                <c:pt idx="1946">
                  <c:v>142.95861763126888</c:v>
                </c:pt>
                <c:pt idx="1947">
                  <c:v>143.0084102915196</c:v>
                </c:pt>
                <c:pt idx="1948">
                  <c:v>143.3382866656803</c:v>
                </c:pt>
                <c:pt idx="1949">
                  <c:v>141.53563676254259</c:v>
                </c:pt>
                <c:pt idx="1950">
                  <c:v>143.06676106525086</c:v>
                </c:pt>
                <c:pt idx="1951">
                  <c:v>143.8058708658468</c:v>
                </c:pt>
                <c:pt idx="1952">
                  <c:v>143.61214629705901</c:v>
                </c:pt>
                <c:pt idx="1953">
                  <c:v>143.05275687955535</c:v>
                </c:pt>
                <c:pt idx="1954">
                  <c:v>143.44954214092792</c:v>
                </c:pt>
                <c:pt idx="1955">
                  <c:v>143.53201123446809</c:v>
                </c:pt>
                <c:pt idx="1956">
                  <c:v>142.25607431554457</c:v>
                </c:pt>
                <c:pt idx="1957">
                  <c:v>139.28640893778166</c:v>
                </c:pt>
                <c:pt idx="1958">
                  <c:v>138.6072059315498</c:v>
                </c:pt>
                <c:pt idx="1959">
                  <c:v>139.45834921770975</c:v>
                </c:pt>
                <c:pt idx="1960">
                  <c:v>138.03459033866702</c:v>
                </c:pt>
                <c:pt idx="1961">
                  <c:v>139.58983296118419</c:v>
                </c:pt>
                <c:pt idx="1962">
                  <c:v>138.68734099414067</c:v>
                </c:pt>
                <c:pt idx="1963">
                  <c:v>135.52083900632434</c:v>
                </c:pt>
                <c:pt idx="1964">
                  <c:v>136.55637073747508</c:v>
                </c:pt>
                <c:pt idx="1965">
                  <c:v>136.2793990648307</c:v>
                </c:pt>
                <c:pt idx="1966">
                  <c:v>137.97468354430288</c:v>
                </c:pt>
                <c:pt idx="1967">
                  <c:v>139.81000988073009</c:v>
                </c:pt>
                <c:pt idx="1968">
                  <c:v>140.02940878995963</c:v>
                </c:pt>
                <c:pt idx="1969">
                  <c:v>141.57842732994547</c:v>
                </c:pt>
                <c:pt idx="1970">
                  <c:v>141.54030482444102</c:v>
                </c:pt>
                <c:pt idx="1971">
                  <c:v>142.36266172889358</c:v>
                </c:pt>
                <c:pt idx="1972">
                  <c:v>143.04731080734038</c:v>
                </c:pt>
                <c:pt idx="1973">
                  <c:v>143.21302700473717</c:v>
                </c:pt>
                <c:pt idx="1974">
                  <c:v>142.27863661472063</c:v>
                </c:pt>
                <c:pt idx="1975">
                  <c:v>143.13678199372833</c:v>
                </c:pt>
                <c:pt idx="1976">
                  <c:v>142.86214435203323</c:v>
                </c:pt>
                <c:pt idx="1977">
                  <c:v>143.74596407148269</c:v>
                </c:pt>
                <c:pt idx="1978">
                  <c:v>143.5522395026949</c:v>
                </c:pt>
                <c:pt idx="1979">
                  <c:v>143.5553515439606</c:v>
                </c:pt>
                <c:pt idx="1980">
                  <c:v>144.26567496284912</c:v>
                </c:pt>
                <c:pt idx="1981">
                  <c:v>144.66712828612017</c:v>
                </c:pt>
                <c:pt idx="1982">
                  <c:v>143.59969813199632</c:v>
                </c:pt>
                <c:pt idx="1983">
                  <c:v>145.79213120365884</c:v>
                </c:pt>
                <c:pt idx="1984">
                  <c:v>145.78435110049466</c:v>
                </c:pt>
                <c:pt idx="1985">
                  <c:v>146.03487042238089</c:v>
                </c:pt>
                <c:pt idx="1986">
                  <c:v>146.113449464339</c:v>
                </c:pt>
                <c:pt idx="1987">
                  <c:v>146.04576256681074</c:v>
                </c:pt>
                <c:pt idx="1988">
                  <c:v>145.3035407249491</c:v>
                </c:pt>
                <c:pt idx="1989">
                  <c:v>145.34788731298485</c:v>
                </c:pt>
                <c:pt idx="1990">
                  <c:v>143.64715676129774</c:v>
                </c:pt>
                <c:pt idx="1991">
                  <c:v>143.24181338644462</c:v>
                </c:pt>
                <c:pt idx="1992">
                  <c:v>144.61889164650231</c:v>
                </c:pt>
                <c:pt idx="1993">
                  <c:v>145.66298149113362</c:v>
                </c:pt>
                <c:pt idx="1994">
                  <c:v>144.76982564788713</c:v>
                </c:pt>
                <c:pt idx="1995">
                  <c:v>145.6443092435396</c:v>
                </c:pt>
                <c:pt idx="1996">
                  <c:v>145.21718157982679</c:v>
                </c:pt>
                <c:pt idx="1997">
                  <c:v>144.51074821252035</c:v>
                </c:pt>
                <c:pt idx="1998">
                  <c:v>145.14716065134925</c:v>
                </c:pt>
                <c:pt idx="1999">
                  <c:v>144.13107917810893</c:v>
                </c:pt>
                <c:pt idx="2000">
                  <c:v>143.85721954673022</c:v>
                </c:pt>
                <c:pt idx="2001">
                  <c:v>144.52475239821581</c:v>
                </c:pt>
                <c:pt idx="2002">
                  <c:v>145.66998358398132</c:v>
                </c:pt>
                <c:pt idx="2003">
                  <c:v>146.69540118101867</c:v>
                </c:pt>
                <c:pt idx="2004">
                  <c:v>147.1139707312509</c:v>
                </c:pt>
                <c:pt idx="2005">
                  <c:v>146.94825453385411</c:v>
                </c:pt>
                <c:pt idx="2006">
                  <c:v>145.10592610457917</c:v>
                </c:pt>
                <c:pt idx="2007">
                  <c:v>143.54601542016349</c:v>
                </c:pt>
                <c:pt idx="2008">
                  <c:v>144.08439855912388</c:v>
                </c:pt>
                <c:pt idx="2009">
                  <c:v>145.65753541891863</c:v>
                </c:pt>
                <c:pt idx="2010">
                  <c:v>142.61551508172894</c:v>
                </c:pt>
                <c:pt idx="2011">
                  <c:v>141.26255514148016</c:v>
                </c:pt>
                <c:pt idx="2012">
                  <c:v>142.423346533574</c:v>
                </c:pt>
                <c:pt idx="2013">
                  <c:v>143.38574529498158</c:v>
                </c:pt>
                <c:pt idx="2014">
                  <c:v>144.88963923661521</c:v>
                </c:pt>
                <c:pt idx="2015">
                  <c:v>145.08725385698509</c:v>
                </c:pt>
                <c:pt idx="2016">
                  <c:v>145.63497311974254</c:v>
                </c:pt>
                <c:pt idx="2017">
                  <c:v>146.23092902211781</c:v>
                </c:pt>
                <c:pt idx="2018">
                  <c:v>145.90727673048843</c:v>
                </c:pt>
                <c:pt idx="2019">
                  <c:v>146.15779605237461</c:v>
                </c:pt>
                <c:pt idx="2020">
                  <c:v>144.97444236110471</c:v>
                </c:pt>
                <c:pt idx="2021">
                  <c:v>145.44358258190402</c:v>
                </c:pt>
                <c:pt idx="2022">
                  <c:v>146.13601176351497</c:v>
                </c:pt>
                <c:pt idx="2023">
                  <c:v>146.57325356134123</c:v>
                </c:pt>
                <c:pt idx="2024">
                  <c:v>146.55224728279796</c:v>
                </c:pt>
                <c:pt idx="2025">
                  <c:v>146.35463266242809</c:v>
                </c:pt>
                <c:pt idx="2026">
                  <c:v>146.6284922938068</c:v>
                </c:pt>
                <c:pt idx="2027">
                  <c:v>145.31054281779674</c:v>
                </c:pt>
                <c:pt idx="2028">
                  <c:v>146.12667563971794</c:v>
                </c:pt>
                <c:pt idx="2029">
                  <c:v>145.9259489780824</c:v>
                </c:pt>
                <c:pt idx="2030">
                  <c:v>146.14768191826118</c:v>
                </c:pt>
                <c:pt idx="2031">
                  <c:v>147.5613266631905</c:v>
                </c:pt>
                <c:pt idx="2032">
                  <c:v>147.62356748850385</c:v>
                </c:pt>
                <c:pt idx="2033">
                  <c:v>146.92958228626009</c:v>
                </c:pt>
                <c:pt idx="2034">
                  <c:v>145.55406004683522</c:v>
                </c:pt>
                <c:pt idx="2035">
                  <c:v>146.09944527864337</c:v>
                </c:pt>
                <c:pt idx="2036">
                  <c:v>146.66116872709628</c:v>
                </c:pt>
                <c:pt idx="2037">
                  <c:v>145.70810608948571</c:v>
                </c:pt>
                <c:pt idx="2038">
                  <c:v>146.89068177043924</c:v>
                </c:pt>
                <c:pt idx="2039">
                  <c:v>147.23767437156113</c:v>
                </c:pt>
                <c:pt idx="2040">
                  <c:v>147.86319466596021</c:v>
                </c:pt>
                <c:pt idx="2041">
                  <c:v>148.74857040604252</c:v>
                </c:pt>
                <c:pt idx="2042">
                  <c:v>148.58285420864576</c:v>
                </c:pt>
                <c:pt idx="2043">
                  <c:v>149.38031478297293</c:v>
                </c:pt>
                <c:pt idx="2044">
                  <c:v>149.65573043498449</c:v>
                </c:pt>
                <c:pt idx="2045">
                  <c:v>149.76465187928287</c:v>
                </c:pt>
                <c:pt idx="2046">
                  <c:v>149.70785712618442</c:v>
                </c:pt>
                <c:pt idx="2047">
                  <c:v>149.99105288136016</c:v>
                </c:pt>
                <c:pt idx="2048">
                  <c:v>150.96978985941249</c:v>
                </c:pt>
                <c:pt idx="2049">
                  <c:v>151.66844312355477</c:v>
                </c:pt>
                <c:pt idx="2050">
                  <c:v>151.81081901145905</c:v>
                </c:pt>
                <c:pt idx="2051">
                  <c:v>151.77347451627102</c:v>
                </c:pt>
                <c:pt idx="2052">
                  <c:v>151.23664739794344</c:v>
                </c:pt>
                <c:pt idx="2053">
                  <c:v>150.16454918192107</c:v>
                </c:pt>
                <c:pt idx="2054">
                  <c:v>150.63524542335327</c:v>
                </c:pt>
                <c:pt idx="2055">
                  <c:v>150.76128309461279</c:v>
                </c:pt>
                <c:pt idx="2056">
                  <c:v>151.08882543782426</c:v>
                </c:pt>
                <c:pt idx="2057">
                  <c:v>152.25506290213301</c:v>
                </c:pt>
                <c:pt idx="2058">
                  <c:v>152.44956548123722</c:v>
                </c:pt>
                <c:pt idx="2059">
                  <c:v>152.71331097850251</c:v>
                </c:pt>
                <c:pt idx="2060">
                  <c:v>152.69308271027566</c:v>
                </c:pt>
                <c:pt idx="2061">
                  <c:v>151.71045568064127</c:v>
                </c:pt>
                <c:pt idx="2062">
                  <c:v>152.45345553281931</c:v>
                </c:pt>
                <c:pt idx="2063">
                  <c:v>152.273735149727</c:v>
                </c:pt>
                <c:pt idx="2064">
                  <c:v>152.56471100806687</c:v>
                </c:pt>
                <c:pt idx="2065">
                  <c:v>152.50791625496842</c:v>
                </c:pt>
                <c:pt idx="2066">
                  <c:v>153.52633175915798</c:v>
                </c:pt>
                <c:pt idx="2067">
                  <c:v>153.62747310029215</c:v>
                </c:pt>
                <c:pt idx="2068">
                  <c:v>154.46928026265513</c:v>
                </c:pt>
                <c:pt idx="2069">
                  <c:v>153.86321022616644</c:v>
                </c:pt>
                <c:pt idx="2070">
                  <c:v>152.77866384508144</c:v>
                </c:pt>
                <c:pt idx="2071">
                  <c:v>153.48820925365351</c:v>
                </c:pt>
                <c:pt idx="2072">
                  <c:v>152.85413084577382</c:v>
                </c:pt>
                <c:pt idx="2073">
                  <c:v>153.07897582721827</c:v>
                </c:pt>
                <c:pt idx="2074">
                  <c:v>153.82041965876348</c:v>
                </c:pt>
                <c:pt idx="2075">
                  <c:v>153.52321971789226</c:v>
                </c:pt>
                <c:pt idx="2076">
                  <c:v>154.16819027020176</c:v>
                </c:pt>
                <c:pt idx="2077">
                  <c:v>152.34375607820436</c:v>
                </c:pt>
                <c:pt idx="2078">
                  <c:v>153.90755681420211</c:v>
                </c:pt>
                <c:pt idx="2079">
                  <c:v>153.55045007896683</c:v>
                </c:pt>
                <c:pt idx="2080">
                  <c:v>154.32068029221946</c:v>
                </c:pt>
                <c:pt idx="2081">
                  <c:v>154.59142788233251</c:v>
                </c:pt>
                <c:pt idx="2082">
                  <c:v>154.66689488302492</c:v>
                </c:pt>
                <c:pt idx="2083">
                  <c:v>153.91689293799914</c:v>
                </c:pt>
                <c:pt idx="2084">
                  <c:v>153.96123952603492</c:v>
                </c:pt>
                <c:pt idx="2085">
                  <c:v>153.26414228252546</c:v>
                </c:pt>
                <c:pt idx="2086">
                  <c:v>153.27347840632245</c:v>
                </c:pt>
                <c:pt idx="2087">
                  <c:v>150.20811775964032</c:v>
                </c:pt>
                <c:pt idx="2088">
                  <c:v>149.77865606497826</c:v>
                </c:pt>
                <c:pt idx="2089">
                  <c:v>150.85542234289912</c:v>
                </c:pt>
                <c:pt idx="2090">
                  <c:v>149.39431896866839</c:v>
                </c:pt>
                <c:pt idx="2091">
                  <c:v>149.39665299961763</c:v>
                </c:pt>
                <c:pt idx="2092">
                  <c:v>148.56651599200092</c:v>
                </c:pt>
                <c:pt idx="2093">
                  <c:v>150.27969470875072</c:v>
                </c:pt>
                <c:pt idx="2094">
                  <c:v>150.6943742074009</c:v>
                </c:pt>
                <c:pt idx="2095">
                  <c:v>150.44774493709676</c:v>
                </c:pt>
                <c:pt idx="2096">
                  <c:v>151.45682431748935</c:v>
                </c:pt>
                <c:pt idx="2097">
                  <c:v>152.11502104517797</c:v>
                </c:pt>
                <c:pt idx="2098">
                  <c:v>152.10568492138094</c:v>
                </c:pt>
                <c:pt idx="2099">
                  <c:v>153.40340612916413</c:v>
                </c:pt>
                <c:pt idx="2100">
                  <c:v>154.17052430115106</c:v>
                </c:pt>
                <c:pt idx="2101">
                  <c:v>154.5525273665117</c:v>
                </c:pt>
                <c:pt idx="2102">
                  <c:v>155.00844141193193</c:v>
                </c:pt>
                <c:pt idx="2103">
                  <c:v>154.69957131631446</c:v>
                </c:pt>
                <c:pt idx="2104">
                  <c:v>155.44023713754322</c:v>
                </c:pt>
                <c:pt idx="2105">
                  <c:v>155.60361930399074</c:v>
                </c:pt>
                <c:pt idx="2106">
                  <c:v>155.61139940715489</c:v>
                </c:pt>
                <c:pt idx="2107">
                  <c:v>155.34843192020602</c:v>
                </c:pt>
                <c:pt idx="2108">
                  <c:v>155.86425275999034</c:v>
                </c:pt>
                <c:pt idx="2109">
                  <c:v>155.77944963550092</c:v>
                </c:pt>
                <c:pt idx="2110">
                  <c:v>155.65808002613988</c:v>
                </c:pt>
                <c:pt idx="2111">
                  <c:v>155.41923085899995</c:v>
                </c:pt>
                <c:pt idx="2112">
                  <c:v>156.20190923731525</c:v>
                </c:pt>
                <c:pt idx="2113">
                  <c:v>155.72187687208609</c:v>
                </c:pt>
                <c:pt idx="2114">
                  <c:v>154.7026833575801</c:v>
                </c:pt>
                <c:pt idx="2115">
                  <c:v>155.26674083698228</c:v>
                </c:pt>
                <c:pt idx="2116">
                  <c:v>155.40367065267165</c:v>
                </c:pt>
                <c:pt idx="2117">
                  <c:v>154.47706036581926</c:v>
                </c:pt>
                <c:pt idx="2118">
                  <c:v>154.36736091120451</c:v>
                </c:pt>
                <c:pt idx="2119">
                  <c:v>155.52270623108345</c:v>
                </c:pt>
                <c:pt idx="2120">
                  <c:v>155.72421090303538</c:v>
                </c:pt>
                <c:pt idx="2121">
                  <c:v>156.48588300280741</c:v>
                </c:pt>
                <c:pt idx="2122">
                  <c:v>156.41119401243142</c:v>
                </c:pt>
                <c:pt idx="2123">
                  <c:v>155.15781939268399</c:v>
                </c:pt>
                <c:pt idx="2124">
                  <c:v>154.26155150817183</c:v>
                </c:pt>
                <c:pt idx="2125">
                  <c:v>155.46980152956709</c:v>
                </c:pt>
                <c:pt idx="2126">
                  <c:v>152.95605019722444</c:v>
                </c:pt>
                <c:pt idx="2127">
                  <c:v>154.26777559070314</c:v>
                </c:pt>
                <c:pt idx="2128">
                  <c:v>153.87488038091266</c:v>
                </c:pt>
                <c:pt idx="2129">
                  <c:v>153.446196696567</c:v>
                </c:pt>
                <c:pt idx="2130">
                  <c:v>151.41325573976994</c:v>
                </c:pt>
                <c:pt idx="2131">
                  <c:v>151.41403375008633</c:v>
                </c:pt>
                <c:pt idx="2132">
                  <c:v>153.10465016766003</c:v>
                </c:pt>
                <c:pt idx="2133">
                  <c:v>152.86502299020367</c:v>
                </c:pt>
                <c:pt idx="2134">
                  <c:v>150.55277632981296</c:v>
                </c:pt>
                <c:pt idx="2135">
                  <c:v>153.18167318898531</c:v>
                </c:pt>
                <c:pt idx="2136">
                  <c:v>150.0167272218018</c:v>
                </c:pt>
                <c:pt idx="2137">
                  <c:v>148.29888044315354</c:v>
                </c:pt>
                <c:pt idx="2138">
                  <c:v>145.85670605992121</c:v>
                </c:pt>
                <c:pt idx="2139">
                  <c:v>146.08699711358057</c:v>
                </c:pt>
                <c:pt idx="2140">
                  <c:v>144.90364342231061</c:v>
                </c:pt>
                <c:pt idx="2141">
                  <c:v>144.92464970085391</c:v>
                </c:pt>
                <c:pt idx="2142">
                  <c:v>146.79187446025421</c:v>
                </c:pt>
                <c:pt idx="2143">
                  <c:v>148.13394225607317</c:v>
                </c:pt>
                <c:pt idx="2144">
                  <c:v>151.03358670535852</c:v>
                </c:pt>
                <c:pt idx="2145">
                  <c:v>149.93114608699591</c:v>
                </c:pt>
                <c:pt idx="2146">
                  <c:v>151.77580854722009</c:v>
                </c:pt>
                <c:pt idx="2147">
                  <c:v>152.84635074260959</c:v>
                </c:pt>
                <c:pt idx="2148">
                  <c:v>152.61683769926663</c:v>
                </c:pt>
                <c:pt idx="2149">
                  <c:v>154.43893786031472</c:v>
                </c:pt>
                <c:pt idx="2150">
                  <c:v>154.22498502330012</c:v>
                </c:pt>
                <c:pt idx="2151">
                  <c:v>155.18582776407487</c:v>
                </c:pt>
                <c:pt idx="2152">
                  <c:v>157.00637190449015</c:v>
                </c:pt>
                <c:pt idx="2153">
                  <c:v>156.98769965689615</c:v>
                </c:pt>
                <c:pt idx="2154">
                  <c:v>156.54345576622217</c:v>
                </c:pt>
                <c:pt idx="2155">
                  <c:v>157.43583359915223</c:v>
                </c:pt>
                <c:pt idx="2156">
                  <c:v>158.03023348089468</c:v>
                </c:pt>
                <c:pt idx="2157">
                  <c:v>158.0854722133603</c:v>
                </c:pt>
                <c:pt idx="2158">
                  <c:v>158.57873075396853</c:v>
                </c:pt>
                <c:pt idx="2159">
                  <c:v>158.68920821889972</c:v>
                </c:pt>
                <c:pt idx="2160">
                  <c:v>158.57795274365213</c:v>
                </c:pt>
                <c:pt idx="2161">
                  <c:v>158.66197785782512</c:v>
                </c:pt>
                <c:pt idx="2162">
                  <c:v>158.70010036332957</c:v>
                </c:pt>
                <c:pt idx="2163">
                  <c:v>158.81680191079209</c:v>
                </c:pt>
                <c:pt idx="2164">
                  <c:v>159.63215672239693</c:v>
                </c:pt>
                <c:pt idx="2165">
                  <c:v>159.39252954494052</c:v>
                </c:pt>
                <c:pt idx="2166">
                  <c:v>159.70606770245649</c:v>
                </c:pt>
                <c:pt idx="2167">
                  <c:v>160.54242879260454</c:v>
                </c:pt>
                <c:pt idx="2168">
                  <c:v>161.00223288960683</c:v>
                </c:pt>
                <c:pt idx="2169">
                  <c:v>160.81706643429965</c:v>
                </c:pt>
                <c:pt idx="2170">
                  <c:v>161.26831241782136</c:v>
                </c:pt>
                <c:pt idx="2171">
                  <c:v>160.85830098106973</c:v>
                </c:pt>
                <c:pt idx="2172">
                  <c:v>159.75975041428921</c:v>
                </c:pt>
                <c:pt idx="2173">
                  <c:v>160.77972193911165</c:v>
                </c:pt>
                <c:pt idx="2174">
                  <c:v>161.38501396528389</c:v>
                </c:pt>
                <c:pt idx="2175">
                  <c:v>161.19751347902744</c:v>
                </c:pt>
                <c:pt idx="2176">
                  <c:v>161.46592703819121</c:v>
                </c:pt>
                <c:pt idx="2177">
                  <c:v>160.29424350166752</c:v>
                </c:pt>
                <c:pt idx="2178">
                  <c:v>160.25612099616313</c:v>
                </c:pt>
                <c:pt idx="2179">
                  <c:v>157.63578225047138</c:v>
                </c:pt>
                <c:pt idx="2180">
                  <c:v>158.35077373125839</c:v>
                </c:pt>
                <c:pt idx="2181">
                  <c:v>155.78333968708299</c:v>
                </c:pt>
                <c:pt idx="2182">
                  <c:v>154.79526658523366</c:v>
                </c:pt>
                <c:pt idx="2183">
                  <c:v>153.48120716080572</c:v>
                </c:pt>
                <c:pt idx="2184">
                  <c:v>156.60491858121912</c:v>
                </c:pt>
                <c:pt idx="2185">
                  <c:v>160.36582045077787</c:v>
                </c:pt>
                <c:pt idx="2186">
                  <c:v>161.09870616884245</c:v>
                </c:pt>
                <c:pt idx="2187">
                  <c:v>161.71255630849527</c:v>
                </c:pt>
                <c:pt idx="2188">
                  <c:v>161.99497405335458</c:v>
                </c:pt>
                <c:pt idx="2189">
                  <c:v>161.97241175417849</c:v>
                </c:pt>
                <c:pt idx="2190">
                  <c:v>162.50846086218968</c:v>
                </c:pt>
                <c:pt idx="2191">
                  <c:v>162.64850271914472</c:v>
                </c:pt>
                <c:pt idx="2192">
                  <c:v>161.85337617576673</c:v>
                </c:pt>
                <c:pt idx="2193">
                  <c:v>160.18454404705273</c:v>
                </c:pt>
                <c:pt idx="2194">
                  <c:v>160.13008332490352</c:v>
                </c:pt>
                <c:pt idx="2195">
                  <c:v>157.20320851454358</c:v>
                </c:pt>
                <c:pt idx="2196">
                  <c:v>155.80512397594259</c:v>
                </c:pt>
                <c:pt idx="2197">
                  <c:v>157.61711000287733</c:v>
                </c:pt>
                <c:pt idx="2198">
                  <c:v>160.43661938957175</c:v>
                </c:pt>
                <c:pt idx="2199">
                  <c:v>159.08832751122145</c:v>
                </c:pt>
                <c:pt idx="2200">
                  <c:v>157.80072043755166</c:v>
                </c:pt>
                <c:pt idx="2201">
                  <c:v>157.39382104206567</c:v>
                </c:pt>
                <c:pt idx="2202">
                  <c:v>156.47888090995951</c:v>
                </c:pt>
                <c:pt idx="2203">
                  <c:v>155.0317817214243</c:v>
                </c:pt>
                <c:pt idx="2204">
                  <c:v>157.1129593178392</c:v>
                </c:pt>
                <c:pt idx="2205">
                  <c:v>157.35647654687762</c:v>
                </c:pt>
                <c:pt idx="2206">
                  <c:v>158.10103241968849</c:v>
                </c:pt>
                <c:pt idx="2207">
                  <c:v>160.5151984315298</c:v>
                </c:pt>
                <c:pt idx="2208">
                  <c:v>159.63371274302961</c:v>
                </c:pt>
                <c:pt idx="2209">
                  <c:v>160.04372417978121</c:v>
                </c:pt>
                <c:pt idx="2210">
                  <c:v>157.90108376836935</c:v>
                </c:pt>
                <c:pt idx="2211">
                  <c:v>155.77011351170378</c:v>
                </c:pt>
                <c:pt idx="2212">
                  <c:v>157.25533520574342</c:v>
                </c:pt>
                <c:pt idx="2213">
                  <c:v>155.21228011483296</c:v>
                </c:pt>
                <c:pt idx="2214">
                  <c:v>157.22421479308679</c:v>
                </c:pt>
                <c:pt idx="2215">
                  <c:v>159.49444889639102</c:v>
                </c:pt>
                <c:pt idx="2216">
                  <c:v>158.83158410680392</c:v>
                </c:pt>
                <c:pt idx="2217">
                  <c:v>160.46618378159556</c:v>
                </c:pt>
                <c:pt idx="2218">
                  <c:v>159.91768650852171</c:v>
                </c:pt>
                <c:pt idx="2219">
                  <c:v>159.23848350228988</c:v>
                </c:pt>
                <c:pt idx="2220">
                  <c:v>160.93843604366057</c:v>
                </c:pt>
                <c:pt idx="2221">
                  <c:v>160.93376798176209</c:v>
                </c:pt>
                <c:pt idx="2222">
                  <c:v>162.48589856301356</c:v>
                </c:pt>
                <c:pt idx="2223">
                  <c:v>163.14798534228424</c:v>
                </c:pt>
                <c:pt idx="2224">
                  <c:v>163.40861879828392</c:v>
                </c:pt>
                <c:pt idx="2225">
                  <c:v>163.35727011740039</c:v>
                </c:pt>
                <c:pt idx="2226">
                  <c:v>163.18377381683945</c:v>
                </c:pt>
                <c:pt idx="2227">
                  <c:v>164.18351707343501</c:v>
                </c:pt>
                <c:pt idx="2228">
                  <c:v>164.1337244131843</c:v>
                </c:pt>
                <c:pt idx="2229">
                  <c:v>164.58652641733889</c:v>
                </c:pt>
                <c:pt idx="2230">
                  <c:v>164.46048874607936</c:v>
                </c:pt>
                <c:pt idx="2231">
                  <c:v>164.21774952735731</c:v>
                </c:pt>
                <c:pt idx="2232">
                  <c:v>163.73227108991324</c:v>
                </c:pt>
                <c:pt idx="2233">
                  <c:v>164.73512638777447</c:v>
                </c:pt>
                <c:pt idx="2234">
                  <c:v>163.98745847369796</c:v>
                </c:pt>
                <c:pt idx="2235">
                  <c:v>163.26779893101244</c:v>
                </c:pt>
                <c:pt idx="2236">
                  <c:v>163.46307952043304</c:v>
                </c:pt>
                <c:pt idx="2237">
                  <c:v>161.14616479814384</c:v>
                </c:pt>
                <c:pt idx="2238">
                  <c:v>161.78179922665632</c:v>
                </c:pt>
                <c:pt idx="2239">
                  <c:v>159.03775684065434</c:v>
                </c:pt>
                <c:pt idx="2240">
                  <c:v>158.73277679661894</c:v>
                </c:pt>
                <c:pt idx="2241">
                  <c:v>160.73304132012649</c:v>
                </c:pt>
                <c:pt idx="2242">
                  <c:v>159.75663837302346</c:v>
                </c:pt>
                <c:pt idx="2243">
                  <c:v>161.91872904234572</c:v>
                </c:pt>
                <c:pt idx="2244">
                  <c:v>161.38112391370174</c:v>
                </c:pt>
                <c:pt idx="2245">
                  <c:v>163.34326593170488</c:v>
                </c:pt>
                <c:pt idx="2246">
                  <c:v>162.54736137801049</c:v>
                </c:pt>
                <c:pt idx="2247">
                  <c:v>164.01235480382329</c:v>
                </c:pt>
                <c:pt idx="2248">
                  <c:v>163.72604700738191</c:v>
                </c:pt>
                <c:pt idx="2249">
                  <c:v>162.72085767857141</c:v>
                </c:pt>
                <c:pt idx="2250">
                  <c:v>160.35181626508231</c:v>
                </c:pt>
                <c:pt idx="2251">
                  <c:v>159.97059121003809</c:v>
                </c:pt>
                <c:pt idx="2252">
                  <c:v>160.34948223413303</c:v>
                </c:pt>
                <c:pt idx="2253">
                  <c:v>162.31162425213614</c:v>
                </c:pt>
                <c:pt idx="2254">
                  <c:v>160.88397532151134</c:v>
                </c:pt>
                <c:pt idx="2255">
                  <c:v>160.24600686204957</c:v>
                </c:pt>
                <c:pt idx="2256">
                  <c:v>160.81162036208457</c:v>
                </c:pt>
                <c:pt idx="2257">
                  <c:v>161.87438245430991</c:v>
                </c:pt>
                <c:pt idx="2258">
                  <c:v>161.54061602856711</c:v>
                </c:pt>
                <c:pt idx="2259">
                  <c:v>161.97396777481126</c:v>
                </c:pt>
                <c:pt idx="2260">
                  <c:v>162.69596134844599</c:v>
                </c:pt>
                <c:pt idx="2261">
                  <c:v>163.54243657270746</c:v>
                </c:pt>
                <c:pt idx="2262">
                  <c:v>162.7932126379981</c:v>
                </c:pt>
                <c:pt idx="2263">
                  <c:v>163.05851415589626</c:v>
                </c:pt>
                <c:pt idx="2264">
                  <c:v>163.89798728730997</c:v>
                </c:pt>
                <c:pt idx="2265">
                  <c:v>163.7703935954176</c:v>
                </c:pt>
                <c:pt idx="2266">
                  <c:v>161.91795103202921</c:v>
                </c:pt>
                <c:pt idx="2267">
                  <c:v>163.4132868601823</c:v>
                </c:pt>
                <c:pt idx="2268">
                  <c:v>163.17132565177664</c:v>
                </c:pt>
                <c:pt idx="2269">
                  <c:v>164.00146265939335</c:v>
                </c:pt>
                <c:pt idx="2270">
                  <c:v>164.38813378665247</c:v>
                </c:pt>
                <c:pt idx="2271">
                  <c:v>164.7584666972669</c:v>
                </c:pt>
                <c:pt idx="2272">
                  <c:v>164.07615164976937</c:v>
                </c:pt>
                <c:pt idx="2273">
                  <c:v>164.53050967455678</c:v>
                </c:pt>
                <c:pt idx="2274">
                  <c:v>163.9151035142711</c:v>
                </c:pt>
                <c:pt idx="2275">
                  <c:v>162.2548294990377</c:v>
                </c:pt>
                <c:pt idx="2276">
                  <c:v>164.02713699983508</c:v>
                </c:pt>
                <c:pt idx="2277">
                  <c:v>164.50950339601349</c:v>
                </c:pt>
                <c:pt idx="2278">
                  <c:v>162.56214357402229</c:v>
                </c:pt>
                <c:pt idx="2279">
                  <c:v>161.83781596943828</c:v>
                </c:pt>
                <c:pt idx="2280">
                  <c:v>162.44855406782546</c:v>
                </c:pt>
                <c:pt idx="2281">
                  <c:v>164.63476305695661</c:v>
                </c:pt>
                <c:pt idx="2282">
                  <c:v>163.79684594617572</c:v>
                </c:pt>
                <c:pt idx="2283">
                  <c:v>163.31370153968089</c:v>
                </c:pt>
                <c:pt idx="2284">
                  <c:v>163.26390887943023</c:v>
                </c:pt>
                <c:pt idx="2285">
                  <c:v>165.02376821516498</c:v>
                </c:pt>
                <c:pt idx="2286">
                  <c:v>165.1505838967409</c:v>
                </c:pt>
                <c:pt idx="2287">
                  <c:v>165.65395657146257</c:v>
                </c:pt>
                <c:pt idx="2288">
                  <c:v>165.5473691581135</c:v>
                </c:pt>
                <c:pt idx="2289">
                  <c:v>165.39332311546298</c:v>
                </c:pt>
                <c:pt idx="2290">
                  <c:v>165.77999424272213</c:v>
                </c:pt>
                <c:pt idx="2291">
                  <c:v>165.4096613321077</c:v>
                </c:pt>
                <c:pt idx="2292">
                  <c:v>163.70893078042059</c:v>
                </c:pt>
                <c:pt idx="2293">
                  <c:v>165.20893467047213</c:v>
                </c:pt>
                <c:pt idx="2294">
                  <c:v>164.99964989535601</c:v>
                </c:pt>
                <c:pt idx="2295">
                  <c:v>163.95711607135752</c:v>
                </c:pt>
                <c:pt idx="2296">
                  <c:v>164.2947725486824</c:v>
                </c:pt>
                <c:pt idx="2297">
                  <c:v>164.12905635128558</c:v>
                </c:pt>
                <c:pt idx="2298">
                  <c:v>164.47682696272389</c:v>
                </c:pt>
                <c:pt idx="2299">
                  <c:v>163.05851415589606</c:v>
                </c:pt>
                <c:pt idx="2300">
                  <c:v>162.82433305065459</c:v>
                </c:pt>
                <c:pt idx="2301">
                  <c:v>161.77012907190985</c:v>
                </c:pt>
                <c:pt idx="2302">
                  <c:v>161.83781596943808</c:v>
                </c:pt>
                <c:pt idx="2303">
                  <c:v>163.78673181206213</c:v>
                </c:pt>
                <c:pt idx="2304">
                  <c:v>164.07148358787072</c:v>
                </c:pt>
                <c:pt idx="2305">
                  <c:v>162.92391837115593</c:v>
                </c:pt>
                <c:pt idx="2306">
                  <c:v>162.17080438486445</c:v>
                </c:pt>
                <c:pt idx="2307">
                  <c:v>163.09352462013479</c:v>
                </c:pt>
                <c:pt idx="2308">
                  <c:v>163.41639890144774</c:v>
                </c:pt>
                <c:pt idx="2309">
                  <c:v>165.03466035959462</c:v>
                </c:pt>
                <c:pt idx="2310">
                  <c:v>164.15939875362574</c:v>
                </c:pt>
                <c:pt idx="2311">
                  <c:v>165.15992002053775</c:v>
                </c:pt>
                <c:pt idx="2312">
                  <c:v>165.26495141325401</c:v>
                </c:pt>
                <c:pt idx="2313">
                  <c:v>164.04969929901102</c:v>
                </c:pt>
                <c:pt idx="2314">
                  <c:v>163.56188683061768</c:v>
                </c:pt>
                <c:pt idx="2315">
                  <c:v>163.49808998467151</c:v>
                </c:pt>
                <c:pt idx="2316">
                  <c:v>160.08651474718391</c:v>
                </c:pt>
                <c:pt idx="2317">
                  <c:v>160.5120863902639</c:v>
                </c:pt>
                <c:pt idx="2318">
                  <c:v>161.62541915305633</c:v>
                </c:pt>
                <c:pt idx="2319">
                  <c:v>161.57562649280564</c:v>
                </c:pt>
                <c:pt idx="2320">
                  <c:v>160.95166221903938</c:v>
                </c:pt>
                <c:pt idx="2321">
                  <c:v>161.93039919709167</c:v>
                </c:pt>
                <c:pt idx="2322">
                  <c:v>159.23381544039108</c:v>
                </c:pt>
                <c:pt idx="2323">
                  <c:v>159.59403421689206</c:v>
                </c:pt>
                <c:pt idx="2324">
                  <c:v>161.56317832774295</c:v>
                </c:pt>
                <c:pt idx="2325">
                  <c:v>163.35104603486872</c:v>
                </c:pt>
                <c:pt idx="2326">
                  <c:v>164.07848568071842</c:v>
                </c:pt>
                <c:pt idx="2327">
                  <c:v>163.95789408167386</c:v>
                </c:pt>
                <c:pt idx="2328">
                  <c:v>165.2719535061018</c:v>
                </c:pt>
                <c:pt idx="2329">
                  <c:v>165.45478593045974</c:v>
                </c:pt>
                <c:pt idx="2330">
                  <c:v>165.58237962235211</c:v>
                </c:pt>
                <c:pt idx="2331">
                  <c:v>164.8767242653621</c:v>
                </c:pt>
                <c:pt idx="2332">
                  <c:v>164.48305104525519</c:v>
                </c:pt>
                <c:pt idx="2333">
                  <c:v>163.54943866555502</c:v>
                </c:pt>
                <c:pt idx="2334">
                  <c:v>161.79891545361724</c:v>
                </c:pt>
                <c:pt idx="2335">
                  <c:v>160.86452506360067</c:v>
                </c:pt>
                <c:pt idx="2336">
                  <c:v>162.85700948394404</c:v>
                </c:pt>
                <c:pt idx="2337">
                  <c:v>164.04892128869457</c:v>
                </c:pt>
                <c:pt idx="2338">
                  <c:v>164.05358935059306</c:v>
                </c:pt>
                <c:pt idx="2339">
                  <c:v>163.68092240902942</c:v>
                </c:pt>
                <c:pt idx="2340">
                  <c:v>163.22967642550768</c:v>
                </c:pt>
                <c:pt idx="2341">
                  <c:v>162.86245555615898</c:v>
                </c:pt>
                <c:pt idx="2342">
                  <c:v>163.36971828246271</c:v>
                </c:pt>
                <c:pt idx="2343">
                  <c:v>162.10311748733619</c:v>
                </c:pt>
                <c:pt idx="2344">
                  <c:v>161.63708930780257</c:v>
                </c:pt>
                <c:pt idx="2345">
                  <c:v>163.7073747597876</c:v>
                </c:pt>
                <c:pt idx="2346">
                  <c:v>162.14279601347346</c:v>
                </c:pt>
                <c:pt idx="2347">
                  <c:v>162.29684205612395</c:v>
                </c:pt>
                <c:pt idx="2348">
                  <c:v>162.08989131195708</c:v>
                </c:pt>
                <c:pt idx="2349">
                  <c:v>162.72396971983676</c:v>
                </c:pt>
                <c:pt idx="2350">
                  <c:v>163.57200096473107</c:v>
                </c:pt>
                <c:pt idx="2351">
                  <c:v>163.14253927006899</c:v>
                </c:pt>
                <c:pt idx="2352">
                  <c:v>161.79580341235152</c:v>
                </c:pt>
                <c:pt idx="2353">
                  <c:v>158.38189414391462</c:v>
                </c:pt>
                <c:pt idx="2354">
                  <c:v>153.3372752522682</c:v>
                </c:pt>
                <c:pt idx="2355">
                  <c:v>147.29369111434258</c:v>
                </c:pt>
                <c:pt idx="2356">
                  <c:v>145.3019847043156</c:v>
                </c:pt>
                <c:pt idx="2357">
                  <c:v>150.97367991099398</c:v>
                </c:pt>
                <c:pt idx="2358">
                  <c:v>154.64199855289914</c:v>
                </c:pt>
                <c:pt idx="2359">
                  <c:v>154.73613780118555</c:v>
                </c:pt>
                <c:pt idx="2360">
                  <c:v>153.43763858308594</c:v>
                </c:pt>
                <c:pt idx="2361">
                  <c:v>148.89950440742678</c:v>
                </c:pt>
                <c:pt idx="2362">
                  <c:v>151.62331852520194</c:v>
                </c:pt>
                <c:pt idx="2363">
                  <c:v>151.79992686702857</c:v>
                </c:pt>
                <c:pt idx="2364">
                  <c:v>149.47289801062595</c:v>
                </c:pt>
                <c:pt idx="2365">
                  <c:v>153.22212972543846</c:v>
                </c:pt>
                <c:pt idx="2366">
                  <c:v>151.09271548940572</c:v>
                </c:pt>
                <c:pt idx="2367">
                  <c:v>151.89017606373292</c:v>
                </c:pt>
                <c:pt idx="2368">
                  <c:v>152.57171310091405</c:v>
                </c:pt>
                <c:pt idx="2369">
                  <c:v>151.94774882714779</c:v>
                </c:pt>
                <c:pt idx="2370">
                  <c:v>153.89744268008823</c:v>
                </c:pt>
                <c:pt idx="2371">
                  <c:v>155.23717644495792</c:v>
                </c:pt>
                <c:pt idx="2372">
                  <c:v>154.83961317326896</c:v>
                </c:pt>
                <c:pt idx="2373">
                  <c:v>152.33675398535613</c:v>
                </c:pt>
                <c:pt idx="2374">
                  <c:v>153.03229520823274</c:v>
                </c:pt>
                <c:pt idx="2375">
                  <c:v>151.14717621155486</c:v>
                </c:pt>
                <c:pt idx="2376">
                  <c:v>150.83752810562098</c:v>
                </c:pt>
                <c:pt idx="2377">
                  <c:v>150.33026537931724</c:v>
                </c:pt>
                <c:pt idx="2378">
                  <c:v>150.26024445083974</c:v>
                </c:pt>
                <c:pt idx="2379">
                  <c:v>146.40364731236173</c:v>
                </c:pt>
                <c:pt idx="2380">
                  <c:v>146.58414570577042</c:v>
                </c:pt>
                <c:pt idx="2381">
                  <c:v>149.38031478297233</c:v>
                </c:pt>
                <c:pt idx="2382">
                  <c:v>149.67518069289429</c:v>
                </c:pt>
                <c:pt idx="2383">
                  <c:v>151.81782110430612</c:v>
                </c:pt>
                <c:pt idx="2384">
                  <c:v>154.59453992359767</c:v>
                </c:pt>
                <c:pt idx="2385">
                  <c:v>154.03981856799251</c:v>
                </c:pt>
                <c:pt idx="2386">
                  <c:v>155.27763298141161</c:v>
                </c:pt>
                <c:pt idx="2387">
                  <c:v>156.64693113830518</c:v>
                </c:pt>
                <c:pt idx="2388">
                  <c:v>156.76052064450204</c:v>
                </c:pt>
                <c:pt idx="2389">
                  <c:v>156.96046929582113</c:v>
                </c:pt>
                <c:pt idx="2390">
                  <c:v>155.88914909011521</c:v>
                </c:pt>
                <c:pt idx="2391">
                  <c:v>155.15392934110136</c:v>
                </c:pt>
                <c:pt idx="2392">
                  <c:v>157.45839589832786</c:v>
                </c:pt>
                <c:pt idx="2393">
                  <c:v>158.17805544101338</c:v>
                </c:pt>
                <c:pt idx="2394">
                  <c:v>158.22084600841632</c:v>
                </c:pt>
                <c:pt idx="2395">
                  <c:v>157.99600102697184</c:v>
                </c:pt>
                <c:pt idx="2396">
                  <c:v>157.07561482265078</c:v>
                </c:pt>
                <c:pt idx="2397">
                  <c:v>159.68739545486193</c:v>
                </c:pt>
                <c:pt idx="2398">
                  <c:v>161.44881081122952</c:v>
                </c:pt>
                <c:pt idx="2399">
                  <c:v>161.13994071561203</c:v>
                </c:pt>
                <c:pt idx="2400">
                  <c:v>160.72837325822755</c:v>
                </c:pt>
                <c:pt idx="2401">
                  <c:v>162.63138649218305</c:v>
                </c:pt>
                <c:pt idx="2402">
                  <c:v>162.55825352243986</c:v>
                </c:pt>
                <c:pt idx="2403">
                  <c:v>161.77635315444101</c:v>
                </c:pt>
                <c:pt idx="2404">
                  <c:v>163.69726062567406</c:v>
                </c:pt>
                <c:pt idx="2405">
                  <c:v>164.14383854729729</c:v>
                </c:pt>
                <c:pt idx="2406">
                  <c:v>163.56188683061754</c:v>
                </c:pt>
                <c:pt idx="2407">
                  <c:v>163.37672037531033</c:v>
                </c:pt>
                <c:pt idx="2408">
                  <c:v>163.31992562221188</c:v>
                </c:pt>
                <c:pt idx="2409">
                  <c:v>161.71566834976045</c:v>
                </c:pt>
                <c:pt idx="2410">
                  <c:v>161.95996358911529</c:v>
                </c:pt>
                <c:pt idx="2411">
                  <c:v>161.43714065648322</c:v>
                </c:pt>
                <c:pt idx="2412">
                  <c:v>159.17857670792529</c:v>
                </c:pt>
                <c:pt idx="2413">
                  <c:v>157.39459905238161</c:v>
                </c:pt>
                <c:pt idx="2414">
                  <c:v>159.74030015637823</c:v>
                </c:pt>
                <c:pt idx="2415">
                  <c:v>159.52634731936359</c:v>
                </c:pt>
                <c:pt idx="2416">
                  <c:v>162.10467350796884</c:v>
                </c:pt>
                <c:pt idx="2417">
                  <c:v>161.9226190939273</c:v>
                </c:pt>
                <c:pt idx="2418">
                  <c:v>162.5395812748458</c:v>
                </c:pt>
                <c:pt idx="2419">
                  <c:v>162.33885461321026</c:v>
                </c:pt>
                <c:pt idx="2420">
                  <c:v>162.53724724389656</c:v>
                </c:pt>
                <c:pt idx="2421">
                  <c:v>162.51624096535332</c:v>
                </c:pt>
                <c:pt idx="2422">
                  <c:v>162.61271424458903</c:v>
                </c:pt>
                <c:pt idx="2423">
                  <c:v>161.8580442376647</c:v>
                </c:pt>
                <c:pt idx="2424">
                  <c:v>163.58678316074281</c:v>
                </c:pt>
                <c:pt idx="2425">
                  <c:v>161.7880233091872</c:v>
                </c:pt>
                <c:pt idx="2426">
                  <c:v>159.46255047341739</c:v>
                </c:pt>
                <c:pt idx="2427">
                  <c:v>162.73563987458283</c:v>
                </c:pt>
                <c:pt idx="2428">
                  <c:v>161.5981887919815</c:v>
                </c:pt>
                <c:pt idx="2429">
                  <c:v>160.54943088545167</c:v>
                </c:pt>
                <c:pt idx="2430">
                  <c:v>159.30694841013405</c:v>
                </c:pt>
                <c:pt idx="2431">
                  <c:v>159.66561116600224</c:v>
                </c:pt>
                <c:pt idx="2432">
                  <c:v>156.56446204476492</c:v>
                </c:pt>
                <c:pt idx="2433">
                  <c:v>157.3090179175758</c:v>
                </c:pt>
                <c:pt idx="2434">
                  <c:v>158.97940606692268</c:v>
                </c:pt>
                <c:pt idx="2435">
                  <c:v>161.28698466541485</c:v>
                </c:pt>
                <c:pt idx="2436">
                  <c:v>158.8611484988273</c:v>
                </c:pt>
                <c:pt idx="2437">
                  <c:v>156.03385900896868</c:v>
                </c:pt>
                <c:pt idx="2438">
                  <c:v>157.2475551025789</c:v>
                </c:pt>
                <c:pt idx="2439">
                  <c:v>158.63396948643364</c:v>
                </c:pt>
                <c:pt idx="2440">
                  <c:v>160.60389160760093</c:v>
                </c:pt>
                <c:pt idx="2441">
                  <c:v>160.34714820318339</c:v>
                </c:pt>
                <c:pt idx="2442">
                  <c:v>159.9978215711123</c:v>
                </c:pt>
                <c:pt idx="2443">
                  <c:v>161.69855212279938</c:v>
                </c:pt>
                <c:pt idx="2444">
                  <c:v>160.53153664817418</c:v>
                </c:pt>
                <c:pt idx="2445">
                  <c:v>159.02064061369276</c:v>
                </c:pt>
                <c:pt idx="2446">
                  <c:v>156.58702434394107</c:v>
                </c:pt>
                <c:pt idx="2447">
                  <c:v>156.90211852208986</c:v>
                </c:pt>
                <c:pt idx="2448">
                  <c:v>154.84428123516747</c:v>
                </c:pt>
                <c:pt idx="2449">
                  <c:v>151.17440657262949</c:v>
                </c:pt>
                <c:pt idx="2450">
                  <c:v>149.53591684625573</c:v>
                </c:pt>
                <c:pt idx="2451">
                  <c:v>149.6635105381481</c:v>
                </c:pt>
                <c:pt idx="2452">
                  <c:v>150.8313040230897</c:v>
                </c:pt>
                <c:pt idx="2453">
                  <c:v>147.06573409163244</c:v>
                </c:pt>
                <c:pt idx="2454">
                  <c:v>149.52113465024379</c:v>
                </c:pt>
                <c:pt idx="2455">
                  <c:v>146.29161382679771</c:v>
                </c:pt>
                <c:pt idx="2456">
                  <c:v>146.3694148584394</c:v>
                </c:pt>
                <c:pt idx="2457">
                  <c:v>144.65779216232247</c:v>
                </c:pt>
                <c:pt idx="2458">
                  <c:v>145.4093501279811</c:v>
                </c:pt>
                <c:pt idx="2459">
                  <c:v>148.35878723751716</c:v>
                </c:pt>
                <c:pt idx="2460">
                  <c:v>146.03876047396233</c:v>
                </c:pt>
                <c:pt idx="2461">
                  <c:v>148.10437786404893</c:v>
                </c:pt>
                <c:pt idx="2462">
                  <c:v>146.49545252969901</c:v>
                </c:pt>
                <c:pt idx="2463">
                  <c:v>147.30536126908891</c:v>
                </c:pt>
                <c:pt idx="2464">
                  <c:v>150.95267363245082</c:v>
                </c:pt>
                <c:pt idx="2465">
                  <c:v>150.88576474523902</c:v>
                </c:pt>
                <c:pt idx="2466">
                  <c:v>148.05769724506399</c:v>
                </c:pt>
                <c:pt idx="2467">
                  <c:v>148.79680704565996</c:v>
                </c:pt>
                <c:pt idx="2468">
                  <c:v>149.02398605805365</c:v>
                </c:pt>
                <c:pt idx="2469">
                  <c:v>146.26982953793822</c:v>
                </c:pt>
                <c:pt idx="2470">
                  <c:v>144.19954408595314</c:v>
                </c:pt>
                <c:pt idx="2471">
                  <c:v>144.10384881703388</c:v>
                </c:pt>
                <c:pt idx="2472">
                  <c:v>144.07661845595928</c:v>
                </c:pt>
                <c:pt idx="2473">
                  <c:v>142.30431095516181</c:v>
                </c:pt>
                <c:pt idx="2474">
                  <c:v>145.08180778476978</c:v>
                </c:pt>
                <c:pt idx="2475">
                  <c:v>147.47807955933348</c:v>
                </c:pt>
                <c:pt idx="2476">
                  <c:v>149.90858378781951</c:v>
                </c:pt>
                <c:pt idx="2477">
                  <c:v>149.20915251336081</c:v>
                </c:pt>
                <c:pt idx="2478">
                  <c:v>149.20526246177874</c:v>
                </c:pt>
                <c:pt idx="2479">
                  <c:v>151.36190705888606</c:v>
                </c:pt>
                <c:pt idx="2480">
                  <c:v>149.47678806220816</c:v>
                </c:pt>
              </c:numCache>
            </c:numRef>
          </c:val>
          <c:smooth val="0"/>
          <c:extLst xmlns:c16r2="http://schemas.microsoft.com/office/drawing/2015/06/chart">
            <c:ext xmlns:c16="http://schemas.microsoft.com/office/drawing/2014/chart" uri="{C3380CC4-5D6E-409C-BE32-E72D297353CC}">
              <c16:uniqueId val="{00000001-1A60-4896-ABB6-996D1CB7440F}"/>
            </c:ext>
          </c:extLst>
        </c:ser>
        <c:ser>
          <c:idx val="5"/>
          <c:order val="2"/>
          <c:tx>
            <c:strRef>
              <c:f>FINAL!$L$15</c:f>
              <c:strCache>
                <c:ptCount val="1"/>
                <c:pt idx="0">
                  <c:v>Final  Mean reversion Strategy</c:v>
                </c:pt>
              </c:strCache>
            </c:strRef>
          </c:tx>
          <c:spPr>
            <a:ln>
              <a:solidFill>
                <a:srgbClr val="00B050"/>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L$16:$L$2496</c:f>
              <c:numCache>
                <c:formatCode>General</c:formatCode>
                <c:ptCount val="2481"/>
                <c:pt idx="0">
                  <c:v>100</c:v>
                </c:pt>
                <c:pt idx="1">
                  <c:v>100.68066589708741</c:v>
                </c:pt>
                <c:pt idx="2">
                  <c:v>100.64945495958742</c:v>
                </c:pt>
                <c:pt idx="3">
                  <c:v>100.61731506471605</c:v>
                </c:pt>
                <c:pt idx="4">
                  <c:v>100.61731506471605</c:v>
                </c:pt>
                <c:pt idx="5">
                  <c:v>100.50989975162608</c:v>
                </c:pt>
                <c:pt idx="6">
                  <c:v>100.47856739208669</c:v>
                </c:pt>
                <c:pt idx="7">
                  <c:v>100.14287051499551</c:v>
                </c:pt>
                <c:pt idx="8">
                  <c:v>100.14287051499551</c:v>
                </c:pt>
                <c:pt idx="9">
                  <c:v>100.11221357068266</c:v>
                </c:pt>
                <c:pt idx="10">
                  <c:v>100.11221357068266</c:v>
                </c:pt>
                <c:pt idx="11">
                  <c:v>100.11221357068266</c:v>
                </c:pt>
                <c:pt idx="12">
                  <c:v>100.11221357068266</c:v>
                </c:pt>
                <c:pt idx="13">
                  <c:v>100.11221357068266</c:v>
                </c:pt>
                <c:pt idx="14">
                  <c:v>100.11221357068266</c:v>
                </c:pt>
                <c:pt idx="15">
                  <c:v>100.11221357068266</c:v>
                </c:pt>
                <c:pt idx="16">
                  <c:v>100.11221357068266</c:v>
                </c:pt>
                <c:pt idx="17">
                  <c:v>100.11221357068266</c:v>
                </c:pt>
                <c:pt idx="18">
                  <c:v>100.11221357068266</c:v>
                </c:pt>
                <c:pt idx="19">
                  <c:v>100.11221357068266</c:v>
                </c:pt>
                <c:pt idx="20">
                  <c:v>100.11221357068266</c:v>
                </c:pt>
                <c:pt idx="21">
                  <c:v>100.11221357068266</c:v>
                </c:pt>
                <c:pt idx="22">
                  <c:v>100.11221357068266</c:v>
                </c:pt>
                <c:pt idx="23">
                  <c:v>100.11221357068266</c:v>
                </c:pt>
                <c:pt idx="24">
                  <c:v>100.11221357068266</c:v>
                </c:pt>
                <c:pt idx="25">
                  <c:v>100.11221357068266</c:v>
                </c:pt>
                <c:pt idx="26">
                  <c:v>100.31376105941317</c:v>
                </c:pt>
                <c:pt idx="27">
                  <c:v>99.511803452640777</c:v>
                </c:pt>
                <c:pt idx="28">
                  <c:v>100.70075389806564</c:v>
                </c:pt>
                <c:pt idx="29">
                  <c:v>100.70075389806564</c:v>
                </c:pt>
                <c:pt idx="30">
                  <c:v>100.66876822265641</c:v>
                </c:pt>
                <c:pt idx="31">
                  <c:v>100.71273678456191</c:v>
                </c:pt>
                <c:pt idx="32">
                  <c:v>101.8719647796201</c:v>
                </c:pt>
                <c:pt idx="33">
                  <c:v>101.8719647796201</c:v>
                </c:pt>
                <c:pt idx="34">
                  <c:v>101.83851509060892</c:v>
                </c:pt>
                <c:pt idx="35">
                  <c:v>102.35267797635731</c:v>
                </c:pt>
                <c:pt idx="36">
                  <c:v>102.13753565165996</c:v>
                </c:pt>
                <c:pt idx="37">
                  <c:v>102.13753565165996</c:v>
                </c:pt>
                <c:pt idx="38">
                  <c:v>102.10375399905874</c:v>
                </c:pt>
                <c:pt idx="39">
                  <c:v>102.10375399905874</c:v>
                </c:pt>
                <c:pt idx="40">
                  <c:v>102.10375399905874</c:v>
                </c:pt>
                <c:pt idx="41">
                  <c:v>102.10375399905874</c:v>
                </c:pt>
                <c:pt idx="42">
                  <c:v>102.10375399905874</c:v>
                </c:pt>
                <c:pt idx="43">
                  <c:v>101.27419112049631</c:v>
                </c:pt>
                <c:pt idx="44">
                  <c:v>101.24148864855906</c:v>
                </c:pt>
                <c:pt idx="45">
                  <c:v>101.20882705471169</c:v>
                </c:pt>
                <c:pt idx="46">
                  <c:v>101.20882705471169</c:v>
                </c:pt>
                <c:pt idx="47">
                  <c:v>101.24236407244204</c:v>
                </c:pt>
                <c:pt idx="48">
                  <c:v>101.15038256226657</c:v>
                </c:pt>
                <c:pt idx="49">
                  <c:v>101.0664387857295</c:v>
                </c:pt>
                <c:pt idx="50">
                  <c:v>101.28705751010793</c:v>
                </c:pt>
                <c:pt idx="51">
                  <c:v>101.30137973168753</c:v>
                </c:pt>
                <c:pt idx="52">
                  <c:v>100.86902239043727</c:v>
                </c:pt>
                <c:pt idx="53">
                  <c:v>100.86902239043727</c:v>
                </c:pt>
                <c:pt idx="54">
                  <c:v>100.83682637941259</c:v>
                </c:pt>
                <c:pt idx="55">
                  <c:v>100.83682637941259</c:v>
                </c:pt>
                <c:pt idx="56">
                  <c:v>100.83682637941259</c:v>
                </c:pt>
                <c:pt idx="57">
                  <c:v>100.83682637941259</c:v>
                </c:pt>
                <c:pt idx="58">
                  <c:v>100.83682637941259</c:v>
                </c:pt>
                <c:pt idx="59">
                  <c:v>100.83682637941259</c:v>
                </c:pt>
                <c:pt idx="60">
                  <c:v>100.83682637941259</c:v>
                </c:pt>
                <c:pt idx="61">
                  <c:v>100.83682637941259</c:v>
                </c:pt>
                <c:pt idx="62">
                  <c:v>100.83682637941259</c:v>
                </c:pt>
                <c:pt idx="63">
                  <c:v>100.83682637941259</c:v>
                </c:pt>
                <c:pt idx="64">
                  <c:v>100.83682637941259</c:v>
                </c:pt>
                <c:pt idx="65">
                  <c:v>100.83682637941259</c:v>
                </c:pt>
                <c:pt idx="66">
                  <c:v>99.230300684758703</c:v>
                </c:pt>
                <c:pt idx="67">
                  <c:v>99.169534452733643</c:v>
                </c:pt>
                <c:pt idx="68">
                  <c:v>99.108844178498643</c:v>
                </c:pt>
                <c:pt idx="69">
                  <c:v>99.481082302540059</c:v>
                </c:pt>
                <c:pt idx="70">
                  <c:v>99.449567673203504</c:v>
                </c:pt>
                <c:pt idx="71">
                  <c:v>99.418092437153589</c:v>
                </c:pt>
                <c:pt idx="72">
                  <c:v>98.726110837430596</c:v>
                </c:pt>
                <c:pt idx="73">
                  <c:v>98.77937696808219</c:v>
                </c:pt>
                <c:pt idx="74">
                  <c:v>98.7194383588797</c:v>
                </c:pt>
                <c:pt idx="75">
                  <c:v>98.688203070236909</c:v>
                </c:pt>
                <c:pt idx="76">
                  <c:v>98.615249709153744</c:v>
                </c:pt>
                <c:pt idx="77">
                  <c:v>98.586712503556925</c:v>
                </c:pt>
                <c:pt idx="78">
                  <c:v>98.686859958722465</c:v>
                </c:pt>
                <c:pt idx="79">
                  <c:v>98.631753778287106</c:v>
                </c:pt>
                <c:pt idx="80">
                  <c:v>98.559711877042673</c:v>
                </c:pt>
                <c:pt idx="81">
                  <c:v>98.600021276456431</c:v>
                </c:pt>
                <c:pt idx="82">
                  <c:v>98.584791324854663</c:v>
                </c:pt>
                <c:pt idx="83">
                  <c:v>98.26022850503611</c:v>
                </c:pt>
                <c:pt idx="84">
                  <c:v>98.229013462624408</c:v>
                </c:pt>
                <c:pt idx="85">
                  <c:v>98.166844577076688</c:v>
                </c:pt>
                <c:pt idx="86">
                  <c:v>98.166844577076688</c:v>
                </c:pt>
                <c:pt idx="87">
                  <c:v>97.746921077735266</c:v>
                </c:pt>
                <c:pt idx="88">
                  <c:v>97.715346262106664</c:v>
                </c:pt>
                <c:pt idx="89">
                  <c:v>97.683810914997622</c:v>
                </c:pt>
                <c:pt idx="90">
                  <c:v>97.683810914997622</c:v>
                </c:pt>
                <c:pt idx="91">
                  <c:v>97.555849718870974</c:v>
                </c:pt>
                <c:pt idx="92">
                  <c:v>96.94544597325168</c:v>
                </c:pt>
                <c:pt idx="93">
                  <c:v>96.94544597325168</c:v>
                </c:pt>
                <c:pt idx="94">
                  <c:v>96.914873001503679</c:v>
                </c:pt>
                <c:pt idx="95">
                  <c:v>96.914873001503679</c:v>
                </c:pt>
                <c:pt idx="96">
                  <c:v>96.914873001503679</c:v>
                </c:pt>
                <c:pt idx="97">
                  <c:v>96.914873001503679</c:v>
                </c:pt>
                <c:pt idx="98">
                  <c:v>96.914873001503679</c:v>
                </c:pt>
                <c:pt idx="99">
                  <c:v>96.914873001503679</c:v>
                </c:pt>
                <c:pt idx="100">
                  <c:v>97.161788224602844</c:v>
                </c:pt>
                <c:pt idx="101">
                  <c:v>97.370635407828132</c:v>
                </c:pt>
                <c:pt idx="102">
                  <c:v>97.34197380928839</c:v>
                </c:pt>
                <c:pt idx="103">
                  <c:v>97.282387516467594</c:v>
                </c:pt>
                <c:pt idx="104">
                  <c:v>97.282387516467594</c:v>
                </c:pt>
                <c:pt idx="105">
                  <c:v>97.282387516467594</c:v>
                </c:pt>
                <c:pt idx="106">
                  <c:v>97.282387516467594</c:v>
                </c:pt>
                <c:pt idx="107">
                  <c:v>97.282387516467594</c:v>
                </c:pt>
                <c:pt idx="108">
                  <c:v>97.282387516467594</c:v>
                </c:pt>
                <c:pt idx="109">
                  <c:v>97.282387516467594</c:v>
                </c:pt>
                <c:pt idx="110">
                  <c:v>97.282387516467594</c:v>
                </c:pt>
                <c:pt idx="111">
                  <c:v>97.282387516467594</c:v>
                </c:pt>
                <c:pt idx="112">
                  <c:v>97.282387516467594</c:v>
                </c:pt>
                <c:pt idx="113">
                  <c:v>97.282387516467594</c:v>
                </c:pt>
                <c:pt idx="114">
                  <c:v>97.282387516467594</c:v>
                </c:pt>
                <c:pt idx="115">
                  <c:v>97.282387516467594</c:v>
                </c:pt>
                <c:pt idx="116">
                  <c:v>97.282387516467594</c:v>
                </c:pt>
                <c:pt idx="117">
                  <c:v>97.282387516467594</c:v>
                </c:pt>
                <c:pt idx="118">
                  <c:v>97.282387516467594</c:v>
                </c:pt>
                <c:pt idx="119">
                  <c:v>97.282387516467594</c:v>
                </c:pt>
                <c:pt idx="120">
                  <c:v>97.282387516467594</c:v>
                </c:pt>
                <c:pt idx="121">
                  <c:v>97.282387516467594</c:v>
                </c:pt>
                <c:pt idx="122">
                  <c:v>97.282387516467594</c:v>
                </c:pt>
                <c:pt idx="123">
                  <c:v>97.282387516467594</c:v>
                </c:pt>
                <c:pt idx="124">
                  <c:v>97.282387516467594</c:v>
                </c:pt>
                <c:pt idx="125">
                  <c:v>97.282387516467594</c:v>
                </c:pt>
                <c:pt idx="126">
                  <c:v>97.282387516467594</c:v>
                </c:pt>
                <c:pt idx="127">
                  <c:v>97.282387516467594</c:v>
                </c:pt>
                <c:pt idx="128">
                  <c:v>97.282387516467594</c:v>
                </c:pt>
                <c:pt idx="129">
                  <c:v>97.282387516467594</c:v>
                </c:pt>
                <c:pt idx="130">
                  <c:v>97.282387516467594</c:v>
                </c:pt>
                <c:pt idx="131">
                  <c:v>97.282387516467594</c:v>
                </c:pt>
                <c:pt idx="132">
                  <c:v>97.282387516467594</c:v>
                </c:pt>
                <c:pt idx="133">
                  <c:v>97.282387516467594</c:v>
                </c:pt>
                <c:pt idx="134">
                  <c:v>97.282387516467594</c:v>
                </c:pt>
                <c:pt idx="135">
                  <c:v>97.282387516467594</c:v>
                </c:pt>
                <c:pt idx="136">
                  <c:v>97.282387516467594</c:v>
                </c:pt>
                <c:pt idx="137">
                  <c:v>97.282387516467594</c:v>
                </c:pt>
                <c:pt idx="138">
                  <c:v>97.282387516467594</c:v>
                </c:pt>
                <c:pt idx="139">
                  <c:v>97.282387516467594</c:v>
                </c:pt>
                <c:pt idx="140">
                  <c:v>97.282387516467594</c:v>
                </c:pt>
                <c:pt idx="141">
                  <c:v>97.282387516467594</c:v>
                </c:pt>
                <c:pt idx="142">
                  <c:v>97.282387516467594</c:v>
                </c:pt>
                <c:pt idx="143">
                  <c:v>97.282387516467594</c:v>
                </c:pt>
                <c:pt idx="144">
                  <c:v>97.282387516467594</c:v>
                </c:pt>
                <c:pt idx="145">
                  <c:v>97.282387516467594</c:v>
                </c:pt>
                <c:pt idx="146">
                  <c:v>97.282387516467594</c:v>
                </c:pt>
                <c:pt idx="147">
                  <c:v>97.282387516467594</c:v>
                </c:pt>
                <c:pt idx="148">
                  <c:v>97.282387516467594</c:v>
                </c:pt>
                <c:pt idx="149">
                  <c:v>97.282387516467594</c:v>
                </c:pt>
                <c:pt idx="150">
                  <c:v>97.282387516467594</c:v>
                </c:pt>
                <c:pt idx="151">
                  <c:v>97.282387516467594</c:v>
                </c:pt>
                <c:pt idx="152">
                  <c:v>97.282387516467594</c:v>
                </c:pt>
                <c:pt idx="153">
                  <c:v>97.282387516467594</c:v>
                </c:pt>
                <c:pt idx="154">
                  <c:v>97.282387516467594</c:v>
                </c:pt>
                <c:pt idx="155">
                  <c:v>97.282387516467594</c:v>
                </c:pt>
                <c:pt idx="156">
                  <c:v>97.282387516467594</c:v>
                </c:pt>
                <c:pt idx="157">
                  <c:v>97.480452491234786</c:v>
                </c:pt>
                <c:pt idx="158">
                  <c:v>97.449283089388672</c:v>
                </c:pt>
                <c:pt idx="159">
                  <c:v>97.418152649294868</c:v>
                </c:pt>
                <c:pt idx="160">
                  <c:v>97.418152649294868</c:v>
                </c:pt>
                <c:pt idx="161">
                  <c:v>97.418152649294868</c:v>
                </c:pt>
                <c:pt idx="162">
                  <c:v>97.418152649294868</c:v>
                </c:pt>
                <c:pt idx="163">
                  <c:v>97.418152649294868</c:v>
                </c:pt>
                <c:pt idx="164">
                  <c:v>97.418152649294868</c:v>
                </c:pt>
                <c:pt idx="165">
                  <c:v>97.362430177346781</c:v>
                </c:pt>
                <c:pt idx="166">
                  <c:v>99.412031715991759</c:v>
                </c:pt>
                <c:pt idx="167">
                  <c:v>99.412031715991759</c:v>
                </c:pt>
                <c:pt idx="168">
                  <c:v>99.34749371925308</c:v>
                </c:pt>
                <c:pt idx="169">
                  <c:v>99.34749371925308</c:v>
                </c:pt>
                <c:pt idx="170">
                  <c:v>99.34749371925308</c:v>
                </c:pt>
                <c:pt idx="171">
                  <c:v>99.34749371925308</c:v>
                </c:pt>
                <c:pt idx="172">
                  <c:v>99.34749371925308</c:v>
                </c:pt>
                <c:pt idx="173">
                  <c:v>99.34749371925308</c:v>
                </c:pt>
                <c:pt idx="174">
                  <c:v>99.34749371925308</c:v>
                </c:pt>
                <c:pt idx="175">
                  <c:v>99.34749371925308</c:v>
                </c:pt>
                <c:pt idx="176">
                  <c:v>99.34749371925308</c:v>
                </c:pt>
                <c:pt idx="177">
                  <c:v>99.34749371925308</c:v>
                </c:pt>
                <c:pt idx="178">
                  <c:v>99.34749371925308</c:v>
                </c:pt>
                <c:pt idx="179">
                  <c:v>99.34749371925308</c:v>
                </c:pt>
                <c:pt idx="180">
                  <c:v>99.34749371925308</c:v>
                </c:pt>
                <c:pt idx="181">
                  <c:v>99.34749371925308</c:v>
                </c:pt>
                <c:pt idx="182">
                  <c:v>99.34749371925308</c:v>
                </c:pt>
                <c:pt idx="183">
                  <c:v>99.34749371925308</c:v>
                </c:pt>
                <c:pt idx="184">
                  <c:v>99.34749371925308</c:v>
                </c:pt>
                <c:pt idx="185">
                  <c:v>99.34749371925308</c:v>
                </c:pt>
                <c:pt idx="186">
                  <c:v>99.34749371925308</c:v>
                </c:pt>
                <c:pt idx="187">
                  <c:v>99.34749371925308</c:v>
                </c:pt>
                <c:pt idx="188">
                  <c:v>99.34749371925308</c:v>
                </c:pt>
                <c:pt idx="189">
                  <c:v>99.34749371925308</c:v>
                </c:pt>
                <c:pt idx="190">
                  <c:v>99.34749371925308</c:v>
                </c:pt>
                <c:pt idx="191">
                  <c:v>99.34749371925308</c:v>
                </c:pt>
                <c:pt idx="192">
                  <c:v>99.34749371925308</c:v>
                </c:pt>
                <c:pt idx="193">
                  <c:v>99.34749371925308</c:v>
                </c:pt>
                <c:pt idx="194">
                  <c:v>99.34749371925308</c:v>
                </c:pt>
                <c:pt idx="195">
                  <c:v>99.34749371925308</c:v>
                </c:pt>
                <c:pt idx="196">
                  <c:v>99.34749371925308</c:v>
                </c:pt>
                <c:pt idx="197">
                  <c:v>99.34749371925308</c:v>
                </c:pt>
                <c:pt idx="198">
                  <c:v>99.34749371925308</c:v>
                </c:pt>
                <c:pt idx="199">
                  <c:v>99.34749371925308</c:v>
                </c:pt>
                <c:pt idx="200">
                  <c:v>99.34749371925308</c:v>
                </c:pt>
                <c:pt idx="201">
                  <c:v>99.34749371925308</c:v>
                </c:pt>
                <c:pt idx="202">
                  <c:v>99.34749371925308</c:v>
                </c:pt>
                <c:pt idx="203">
                  <c:v>99.34749371925308</c:v>
                </c:pt>
                <c:pt idx="204">
                  <c:v>99.34749371925308</c:v>
                </c:pt>
                <c:pt idx="205">
                  <c:v>99.34749371925308</c:v>
                </c:pt>
                <c:pt idx="206">
                  <c:v>99.34749371925308</c:v>
                </c:pt>
                <c:pt idx="207">
                  <c:v>99.34749371925308</c:v>
                </c:pt>
                <c:pt idx="208">
                  <c:v>99.34749371925308</c:v>
                </c:pt>
                <c:pt idx="209">
                  <c:v>99.34749371925308</c:v>
                </c:pt>
                <c:pt idx="210">
                  <c:v>99.34749371925308</c:v>
                </c:pt>
                <c:pt idx="211">
                  <c:v>99.34749371925308</c:v>
                </c:pt>
                <c:pt idx="212">
                  <c:v>99.34749371925308</c:v>
                </c:pt>
                <c:pt idx="213">
                  <c:v>99.34749371925308</c:v>
                </c:pt>
                <c:pt idx="214">
                  <c:v>99.34749371925308</c:v>
                </c:pt>
                <c:pt idx="215">
                  <c:v>99.34749371925308</c:v>
                </c:pt>
                <c:pt idx="216">
                  <c:v>99.34749371925308</c:v>
                </c:pt>
                <c:pt idx="217">
                  <c:v>99.34749371925308</c:v>
                </c:pt>
                <c:pt idx="218">
                  <c:v>99.34749371925308</c:v>
                </c:pt>
                <c:pt idx="219">
                  <c:v>99.34749371925308</c:v>
                </c:pt>
                <c:pt idx="220">
                  <c:v>99.34749371925308</c:v>
                </c:pt>
                <c:pt idx="221">
                  <c:v>99.34749371925308</c:v>
                </c:pt>
                <c:pt idx="222">
                  <c:v>99.34749371925308</c:v>
                </c:pt>
                <c:pt idx="223">
                  <c:v>99.34749371925308</c:v>
                </c:pt>
                <c:pt idx="224">
                  <c:v>99.34749371925308</c:v>
                </c:pt>
                <c:pt idx="225">
                  <c:v>99.34749371925308</c:v>
                </c:pt>
                <c:pt idx="226">
                  <c:v>99.34749371925308</c:v>
                </c:pt>
                <c:pt idx="227">
                  <c:v>99.34749371925308</c:v>
                </c:pt>
                <c:pt idx="228">
                  <c:v>99.34749371925308</c:v>
                </c:pt>
                <c:pt idx="229">
                  <c:v>99.34749371925308</c:v>
                </c:pt>
                <c:pt idx="230">
                  <c:v>99.34749371925308</c:v>
                </c:pt>
                <c:pt idx="231">
                  <c:v>99.34749371925308</c:v>
                </c:pt>
                <c:pt idx="232">
                  <c:v>99.34749371925308</c:v>
                </c:pt>
                <c:pt idx="233">
                  <c:v>99.34749371925308</c:v>
                </c:pt>
                <c:pt idx="234">
                  <c:v>99.34749371925308</c:v>
                </c:pt>
                <c:pt idx="235">
                  <c:v>99.34749371925308</c:v>
                </c:pt>
                <c:pt idx="236">
                  <c:v>99.34749371925308</c:v>
                </c:pt>
                <c:pt idx="237">
                  <c:v>99.34749371925308</c:v>
                </c:pt>
                <c:pt idx="238">
                  <c:v>99.697794761967856</c:v>
                </c:pt>
                <c:pt idx="239">
                  <c:v>99.668766896337331</c:v>
                </c:pt>
                <c:pt idx="240">
                  <c:v>99.639775315538827</c:v>
                </c:pt>
                <c:pt idx="241">
                  <c:v>99.639775315538827</c:v>
                </c:pt>
                <c:pt idx="242">
                  <c:v>99.639775315538827</c:v>
                </c:pt>
                <c:pt idx="243">
                  <c:v>99.639775315538827</c:v>
                </c:pt>
                <c:pt idx="244">
                  <c:v>99.639775315538827</c:v>
                </c:pt>
                <c:pt idx="245">
                  <c:v>99.639775315538827</c:v>
                </c:pt>
                <c:pt idx="246">
                  <c:v>99.639775315538827</c:v>
                </c:pt>
                <c:pt idx="247">
                  <c:v>100.24736065934397</c:v>
                </c:pt>
                <c:pt idx="248">
                  <c:v>100.21430114200473</c:v>
                </c:pt>
                <c:pt idx="249">
                  <c:v>100.18128294906217</c:v>
                </c:pt>
                <c:pt idx="250">
                  <c:v>99.00351552303357</c:v>
                </c:pt>
                <c:pt idx="251">
                  <c:v>99.634600451931647</c:v>
                </c:pt>
                <c:pt idx="252">
                  <c:v>99.561296672943712</c:v>
                </c:pt>
                <c:pt idx="253">
                  <c:v>99.129863620796385</c:v>
                </c:pt>
                <c:pt idx="254">
                  <c:v>99.165468763954749</c:v>
                </c:pt>
                <c:pt idx="255">
                  <c:v>99.907183531240747</c:v>
                </c:pt>
                <c:pt idx="256">
                  <c:v>99.884781270264625</c:v>
                </c:pt>
                <c:pt idx="257">
                  <c:v>99.753787082394496</c:v>
                </c:pt>
                <c:pt idx="258">
                  <c:v>99.755379240731685</c:v>
                </c:pt>
                <c:pt idx="259">
                  <c:v>99.704685924674578</c:v>
                </c:pt>
                <c:pt idx="260">
                  <c:v>99.879906651103283</c:v>
                </c:pt>
                <c:pt idx="261">
                  <c:v>99.849698848667117</c:v>
                </c:pt>
                <c:pt idx="262">
                  <c:v>100.07517328822679</c:v>
                </c:pt>
                <c:pt idx="263">
                  <c:v>100.19691731160376</c:v>
                </c:pt>
                <c:pt idx="264">
                  <c:v>100.09374291467545</c:v>
                </c:pt>
                <c:pt idx="265">
                  <c:v>100.13274063339833</c:v>
                </c:pt>
                <c:pt idx="266">
                  <c:v>100.13274063339831</c:v>
                </c:pt>
                <c:pt idx="267">
                  <c:v>100.10071209841652</c:v>
                </c:pt>
                <c:pt idx="268">
                  <c:v>99.535511441844747</c:v>
                </c:pt>
                <c:pt idx="269">
                  <c:v>99.504229443352386</c:v>
                </c:pt>
                <c:pt idx="270">
                  <c:v>98.614618100764048</c:v>
                </c:pt>
                <c:pt idx="271">
                  <c:v>98.551771547321849</c:v>
                </c:pt>
                <c:pt idx="272">
                  <c:v>98.48900355207148</c:v>
                </c:pt>
                <c:pt idx="273">
                  <c:v>98.48900355207148</c:v>
                </c:pt>
                <c:pt idx="274">
                  <c:v>98.48900355207148</c:v>
                </c:pt>
                <c:pt idx="275">
                  <c:v>98.948151462973641</c:v>
                </c:pt>
                <c:pt idx="276">
                  <c:v>98.848276028011441</c:v>
                </c:pt>
                <c:pt idx="277">
                  <c:v>98.628281182410404</c:v>
                </c:pt>
                <c:pt idx="278">
                  <c:v>99.422876104332701</c:v>
                </c:pt>
                <c:pt idx="279">
                  <c:v>99.422876104332701</c:v>
                </c:pt>
                <c:pt idx="280">
                  <c:v>99.391524868352818</c:v>
                </c:pt>
                <c:pt idx="281">
                  <c:v>99.19205677557521</c:v>
                </c:pt>
                <c:pt idx="282">
                  <c:v>99.160994063756291</c:v>
                </c:pt>
                <c:pt idx="283">
                  <c:v>99.129970180327135</c:v>
                </c:pt>
                <c:pt idx="284">
                  <c:v>99.129970180327135</c:v>
                </c:pt>
                <c:pt idx="285">
                  <c:v>99.385055930735945</c:v>
                </c:pt>
                <c:pt idx="286">
                  <c:v>100.48569692939927</c:v>
                </c:pt>
                <c:pt idx="287">
                  <c:v>100.48569692939927</c:v>
                </c:pt>
                <c:pt idx="288">
                  <c:v>101.55326098766416</c:v>
                </c:pt>
                <c:pt idx="289">
                  <c:v>101.52074862930965</c:v>
                </c:pt>
                <c:pt idx="290">
                  <c:v>101.48827691140308</c:v>
                </c:pt>
                <c:pt idx="291">
                  <c:v>102.69031272598561</c:v>
                </c:pt>
                <c:pt idx="292">
                  <c:v>102.65637905295819</c:v>
                </c:pt>
                <c:pt idx="293">
                  <c:v>102.7984731166179</c:v>
                </c:pt>
                <c:pt idx="294">
                  <c:v>102.7615427456637</c:v>
                </c:pt>
                <c:pt idx="295">
                  <c:v>102.14129883558117</c:v>
                </c:pt>
                <c:pt idx="296">
                  <c:v>102.14129883558117</c:v>
                </c:pt>
                <c:pt idx="297">
                  <c:v>102.10940012793158</c:v>
                </c:pt>
                <c:pt idx="298">
                  <c:v>102.10940012793158</c:v>
                </c:pt>
                <c:pt idx="299">
                  <c:v>102.11455258456947</c:v>
                </c:pt>
                <c:pt idx="300">
                  <c:v>101.31067005910147</c:v>
                </c:pt>
                <c:pt idx="301">
                  <c:v>102.65229366734859</c:v>
                </c:pt>
                <c:pt idx="302">
                  <c:v>102.65229366734859</c:v>
                </c:pt>
                <c:pt idx="303">
                  <c:v>102.6177661585581</c:v>
                </c:pt>
                <c:pt idx="304">
                  <c:v>102.80819421225058</c:v>
                </c:pt>
                <c:pt idx="305">
                  <c:v>103.04897202613624</c:v>
                </c:pt>
                <c:pt idx="306">
                  <c:v>102.98846667124492</c:v>
                </c:pt>
                <c:pt idx="307">
                  <c:v>102.78541321716509</c:v>
                </c:pt>
                <c:pt idx="308">
                  <c:v>102.7212346270929</c:v>
                </c:pt>
                <c:pt idx="309">
                  <c:v>102.68647183373538</c:v>
                </c:pt>
                <c:pt idx="310">
                  <c:v>102.68647183373538</c:v>
                </c:pt>
                <c:pt idx="311">
                  <c:v>103.68778335630596</c:v>
                </c:pt>
                <c:pt idx="312">
                  <c:v>103.56520824222103</c:v>
                </c:pt>
                <c:pt idx="313">
                  <c:v>103.66578566103655</c:v>
                </c:pt>
                <c:pt idx="314">
                  <c:v>103.69570828150091</c:v>
                </c:pt>
                <c:pt idx="315">
                  <c:v>103.62251878176654</c:v>
                </c:pt>
                <c:pt idx="316">
                  <c:v>103.62251878176654</c:v>
                </c:pt>
                <c:pt idx="317">
                  <c:v>103.58661255546862</c:v>
                </c:pt>
                <c:pt idx="318">
                  <c:v>103.58661255546862</c:v>
                </c:pt>
                <c:pt idx="319">
                  <c:v>103.58661255546862</c:v>
                </c:pt>
                <c:pt idx="320">
                  <c:v>103.58661255546862</c:v>
                </c:pt>
                <c:pt idx="321">
                  <c:v>103.58661255546862</c:v>
                </c:pt>
                <c:pt idx="322">
                  <c:v>103.58661255546862</c:v>
                </c:pt>
                <c:pt idx="323">
                  <c:v>103.58661255546862</c:v>
                </c:pt>
                <c:pt idx="324">
                  <c:v>103.58661255546862</c:v>
                </c:pt>
                <c:pt idx="325">
                  <c:v>103.58661255546862</c:v>
                </c:pt>
                <c:pt idx="326">
                  <c:v>103.58661255546862</c:v>
                </c:pt>
                <c:pt idx="327">
                  <c:v>103.58661255546862</c:v>
                </c:pt>
                <c:pt idx="328">
                  <c:v>103.58661255546862</c:v>
                </c:pt>
                <c:pt idx="329">
                  <c:v>103.58661255546862</c:v>
                </c:pt>
                <c:pt idx="330">
                  <c:v>103.58661255546862</c:v>
                </c:pt>
                <c:pt idx="331">
                  <c:v>103.58661255546862</c:v>
                </c:pt>
                <c:pt idx="332">
                  <c:v>103.58661255546862</c:v>
                </c:pt>
                <c:pt idx="333">
                  <c:v>103.58661255546862</c:v>
                </c:pt>
                <c:pt idx="334">
                  <c:v>103.58661255546862</c:v>
                </c:pt>
                <c:pt idx="335">
                  <c:v>103.58661255546862</c:v>
                </c:pt>
                <c:pt idx="336">
                  <c:v>103.58661255546862</c:v>
                </c:pt>
                <c:pt idx="337">
                  <c:v>103.58661255546862</c:v>
                </c:pt>
                <c:pt idx="338">
                  <c:v>103.58661255546862</c:v>
                </c:pt>
                <c:pt idx="339">
                  <c:v>103.58661255546862</c:v>
                </c:pt>
                <c:pt idx="340">
                  <c:v>103.58661255546862</c:v>
                </c:pt>
                <c:pt idx="341">
                  <c:v>103.58661255546862</c:v>
                </c:pt>
                <c:pt idx="342">
                  <c:v>103.58661255546862</c:v>
                </c:pt>
                <c:pt idx="343">
                  <c:v>103.58661255546862</c:v>
                </c:pt>
                <c:pt idx="344">
                  <c:v>103.58661255546862</c:v>
                </c:pt>
                <c:pt idx="345">
                  <c:v>103.58661255546862</c:v>
                </c:pt>
                <c:pt idx="346">
                  <c:v>103.58661255546862</c:v>
                </c:pt>
                <c:pt idx="347">
                  <c:v>103.58661255546862</c:v>
                </c:pt>
                <c:pt idx="348">
                  <c:v>103.58661255546862</c:v>
                </c:pt>
                <c:pt idx="349">
                  <c:v>103.58661255546862</c:v>
                </c:pt>
                <c:pt idx="350">
                  <c:v>103.58661255546862</c:v>
                </c:pt>
                <c:pt idx="351">
                  <c:v>103.58661255546862</c:v>
                </c:pt>
                <c:pt idx="352">
                  <c:v>103.58661255546862</c:v>
                </c:pt>
                <c:pt idx="353">
                  <c:v>103.58661255546862</c:v>
                </c:pt>
                <c:pt idx="354">
                  <c:v>103.58661255546862</c:v>
                </c:pt>
                <c:pt idx="355">
                  <c:v>103.58661255546862</c:v>
                </c:pt>
                <c:pt idx="356">
                  <c:v>103.58661255546862</c:v>
                </c:pt>
                <c:pt idx="357">
                  <c:v>103.58661255546862</c:v>
                </c:pt>
                <c:pt idx="358">
                  <c:v>103.58661255546862</c:v>
                </c:pt>
                <c:pt idx="359">
                  <c:v>103.58661255546862</c:v>
                </c:pt>
                <c:pt idx="360">
                  <c:v>103.58661255546862</c:v>
                </c:pt>
                <c:pt idx="361">
                  <c:v>103.58661255546862</c:v>
                </c:pt>
                <c:pt idx="362">
                  <c:v>103.58661255546862</c:v>
                </c:pt>
                <c:pt idx="363">
                  <c:v>103.58661255546862</c:v>
                </c:pt>
                <c:pt idx="364">
                  <c:v>103.58661255546862</c:v>
                </c:pt>
                <c:pt idx="365">
                  <c:v>103.58661255546862</c:v>
                </c:pt>
                <c:pt idx="366">
                  <c:v>103.58661255546862</c:v>
                </c:pt>
                <c:pt idx="367">
                  <c:v>103.58661255546862</c:v>
                </c:pt>
                <c:pt idx="368">
                  <c:v>103.58661255546862</c:v>
                </c:pt>
                <c:pt idx="369">
                  <c:v>103.58661255546862</c:v>
                </c:pt>
                <c:pt idx="370">
                  <c:v>103.58661255546862</c:v>
                </c:pt>
                <c:pt idx="371">
                  <c:v>103.58661255546862</c:v>
                </c:pt>
                <c:pt idx="372">
                  <c:v>103.58661255546862</c:v>
                </c:pt>
                <c:pt idx="373">
                  <c:v>103.58661255546862</c:v>
                </c:pt>
                <c:pt idx="374">
                  <c:v>103.58661255546862</c:v>
                </c:pt>
                <c:pt idx="375">
                  <c:v>105.38589043821057</c:v>
                </c:pt>
                <c:pt idx="376">
                  <c:v>105.35119699867289</c:v>
                </c:pt>
                <c:pt idx="377">
                  <c:v>105.10132732069702</c:v>
                </c:pt>
                <c:pt idx="378">
                  <c:v>105.06698958505623</c:v>
                </c:pt>
                <c:pt idx="379">
                  <c:v>105.03269477158501</c:v>
                </c:pt>
                <c:pt idx="380">
                  <c:v>105.03269477158501</c:v>
                </c:pt>
                <c:pt idx="381">
                  <c:v>105.03269477158501</c:v>
                </c:pt>
                <c:pt idx="382">
                  <c:v>105.03269477158501</c:v>
                </c:pt>
                <c:pt idx="383">
                  <c:v>105.03269477158501</c:v>
                </c:pt>
                <c:pt idx="384">
                  <c:v>105.03269477158501</c:v>
                </c:pt>
                <c:pt idx="385">
                  <c:v>105.03269477158501</c:v>
                </c:pt>
                <c:pt idx="386">
                  <c:v>105.03269477158501</c:v>
                </c:pt>
                <c:pt idx="387">
                  <c:v>105.03269477158501</c:v>
                </c:pt>
                <c:pt idx="388">
                  <c:v>105.92098801498828</c:v>
                </c:pt>
                <c:pt idx="389">
                  <c:v>105.85630695774961</c:v>
                </c:pt>
                <c:pt idx="390">
                  <c:v>105.79170675183248</c:v>
                </c:pt>
                <c:pt idx="391">
                  <c:v>105.79170675183248</c:v>
                </c:pt>
                <c:pt idx="392">
                  <c:v>105.79170675183248</c:v>
                </c:pt>
                <c:pt idx="393">
                  <c:v>105.79170675183248</c:v>
                </c:pt>
                <c:pt idx="394">
                  <c:v>105.79170675183248</c:v>
                </c:pt>
                <c:pt idx="395">
                  <c:v>105.79170675183248</c:v>
                </c:pt>
                <c:pt idx="396">
                  <c:v>105.79170675183248</c:v>
                </c:pt>
                <c:pt idx="397">
                  <c:v>105.79170675183248</c:v>
                </c:pt>
                <c:pt idx="398">
                  <c:v>105.79170675183248</c:v>
                </c:pt>
                <c:pt idx="399">
                  <c:v>105.79170675183248</c:v>
                </c:pt>
                <c:pt idx="400">
                  <c:v>105.79170675183248</c:v>
                </c:pt>
                <c:pt idx="401">
                  <c:v>105.79170675183248</c:v>
                </c:pt>
                <c:pt idx="402">
                  <c:v>105.79170675183248</c:v>
                </c:pt>
                <c:pt idx="403">
                  <c:v>105.79170675183248</c:v>
                </c:pt>
                <c:pt idx="404">
                  <c:v>105.79170675183248</c:v>
                </c:pt>
                <c:pt idx="405">
                  <c:v>105.79170675183248</c:v>
                </c:pt>
                <c:pt idx="406">
                  <c:v>105.79170675183248</c:v>
                </c:pt>
                <c:pt idx="407">
                  <c:v>105.79170675183248</c:v>
                </c:pt>
                <c:pt idx="408">
                  <c:v>105.79170675183248</c:v>
                </c:pt>
                <c:pt idx="409">
                  <c:v>105.75599276578927</c:v>
                </c:pt>
                <c:pt idx="410">
                  <c:v>105.7262810929831</c:v>
                </c:pt>
                <c:pt idx="411">
                  <c:v>105.69660655976794</c:v>
                </c:pt>
                <c:pt idx="412">
                  <c:v>105.69660655976794</c:v>
                </c:pt>
                <c:pt idx="413">
                  <c:v>105.69660655976794</c:v>
                </c:pt>
                <c:pt idx="414">
                  <c:v>105.69660655976794</c:v>
                </c:pt>
                <c:pt idx="415">
                  <c:v>105.69660655976794</c:v>
                </c:pt>
                <c:pt idx="416">
                  <c:v>105.69660655976794</c:v>
                </c:pt>
                <c:pt idx="417">
                  <c:v>105.69660655976794</c:v>
                </c:pt>
                <c:pt idx="418">
                  <c:v>105.69660655976794</c:v>
                </c:pt>
                <c:pt idx="419">
                  <c:v>105.69660655976794</c:v>
                </c:pt>
                <c:pt idx="420">
                  <c:v>105.69660655976794</c:v>
                </c:pt>
                <c:pt idx="421">
                  <c:v>105.69660655976794</c:v>
                </c:pt>
                <c:pt idx="422">
                  <c:v>105.69660655976794</c:v>
                </c:pt>
                <c:pt idx="423">
                  <c:v>105.69660655976794</c:v>
                </c:pt>
                <c:pt idx="424">
                  <c:v>105.69660655976794</c:v>
                </c:pt>
                <c:pt idx="425">
                  <c:v>105.69660655976794</c:v>
                </c:pt>
                <c:pt idx="426">
                  <c:v>105.69660655976794</c:v>
                </c:pt>
                <c:pt idx="427">
                  <c:v>105.69660655976794</c:v>
                </c:pt>
                <c:pt idx="428">
                  <c:v>106.56436926784694</c:v>
                </c:pt>
                <c:pt idx="429">
                  <c:v>106.52852142409083</c:v>
                </c:pt>
                <c:pt idx="430">
                  <c:v>106.49271839013942</c:v>
                </c:pt>
                <c:pt idx="431">
                  <c:v>106.49271839013942</c:v>
                </c:pt>
                <c:pt idx="432">
                  <c:v>106.49271839013942</c:v>
                </c:pt>
                <c:pt idx="433">
                  <c:v>106.49271839013942</c:v>
                </c:pt>
                <c:pt idx="434">
                  <c:v>106.49271839013942</c:v>
                </c:pt>
                <c:pt idx="435">
                  <c:v>106.49271839013942</c:v>
                </c:pt>
                <c:pt idx="436">
                  <c:v>106.49271839013942</c:v>
                </c:pt>
                <c:pt idx="437">
                  <c:v>106.49271839013942</c:v>
                </c:pt>
                <c:pt idx="438">
                  <c:v>106.49271839013942</c:v>
                </c:pt>
                <c:pt idx="439">
                  <c:v>106.49271839013942</c:v>
                </c:pt>
                <c:pt idx="440">
                  <c:v>106.49271839013942</c:v>
                </c:pt>
                <c:pt idx="441">
                  <c:v>106.49271839013942</c:v>
                </c:pt>
                <c:pt idx="442">
                  <c:v>106.63617976578573</c:v>
                </c:pt>
                <c:pt idx="443">
                  <c:v>106.60636299901753</c:v>
                </c:pt>
                <c:pt idx="444">
                  <c:v>106.5765835032078</c:v>
                </c:pt>
                <c:pt idx="445">
                  <c:v>106.5765835032078</c:v>
                </c:pt>
                <c:pt idx="446">
                  <c:v>106.5765835032078</c:v>
                </c:pt>
                <c:pt idx="447">
                  <c:v>106.5765835032078</c:v>
                </c:pt>
                <c:pt idx="448">
                  <c:v>106.5765835032078</c:v>
                </c:pt>
                <c:pt idx="449">
                  <c:v>106.5765835032078</c:v>
                </c:pt>
                <c:pt idx="450">
                  <c:v>106.5765835032078</c:v>
                </c:pt>
                <c:pt idx="451">
                  <c:v>106.5765835032078</c:v>
                </c:pt>
                <c:pt idx="452">
                  <c:v>106.38849741127034</c:v>
                </c:pt>
                <c:pt idx="453">
                  <c:v>107.07183830088231</c:v>
                </c:pt>
                <c:pt idx="454">
                  <c:v>107.00571868078627</c:v>
                </c:pt>
                <c:pt idx="455">
                  <c:v>106.96911515223579</c:v>
                </c:pt>
                <c:pt idx="456">
                  <c:v>106.96911515223579</c:v>
                </c:pt>
                <c:pt idx="457">
                  <c:v>106.96911515223579</c:v>
                </c:pt>
                <c:pt idx="458">
                  <c:v>106.96911515223579</c:v>
                </c:pt>
                <c:pt idx="459">
                  <c:v>106.96911515223579</c:v>
                </c:pt>
                <c:pt idx="460">
                  <c:v>106.96911515223579</c:v>
                </c:pt>
                <c:pt idx="461">
                  <c:v>106.96911515223579</c:v>
                </c:pt>
                <c:pt idx="462">
                  <c:v>106.96911515223579</c:v>
                </c:pt>
                <c:pt idx="463">
                  <c:v>106.96911515223579</c:v>
                </c:pt>
                <c:pt idx="464">
                  <c:v>106.96911515223579</c:v>
                </c:pt>
                <c:pt idx="465">
                  <c:v>106.96911515223579</c:v>
                </c:pt>
                <c:pt idx="466">
                  <c:v>106.96911515223579</c:v>
                </c:pt>
                <c:pt idx="467">
                  <c:v>106.96911515223579</c:v>
                </c:pt>
                <c:pt idx="468">
                  <c:v>106.96911515223579</c:v>
                </c:pt>
                <c:pt idx="469">
                  <c:v>106.96911515223579</c:v>
                </c:pt>
                <c:pt idx="470">
                  <c:v>106.96911515223579</c:v>
                </c:pt>
                <c:pt idx="471">
                  <c:v>106.96911515223579</c:v>
                </c:pt>
                <c:pt idx="472">
                  <c:v>106.96911515223579</c:v>
                </c:pt>
                <c:pt idx="473">
                  <c:v>106.96911515223579</c:v>
                </c:pt>
                <c:pt idx="474">
                  <c:v>106.96911515223579</c:v>
                </c:pt>
                <c:pt idx="475">
                  <c:v>106.96911515223579</c:v>
                </c:pt>
                <c:pt idx="476">
                  <c:v>106.96911515223579</c:v>
                </c:pt>
                <c:pt idx="477">
                  <c:v>106.96911515223579</c:v>
                </c:pt>
                <c:pt idx="478">
                  <c:v>106.96911515223579</c:v>
                </c:pt>
                <c:pt idx="479">
                  <c:v>106.96911515223579</c:v>
                </c:pt>
                <c:pt idx="480">
                  <c:v>106.96911515223579</c:v>
                </c:pt>
                <c:pt idx="481">
                  <c:v>106.96911515223579</c:v>
                </c:pt>
                <c:pt idx="482">
                  <c:v>106.96911515223579</c:v>
                </c:pt>
                <c:pt idx="483">
                  <c:v>106.96911515223579</c:v>
                </c:pt>
                <c:pt idx="484">
                  <c:v>106.96911515223579</c:v>
                </c:pt>
                <c:pt idx="485">
                  <c:v>106.96911515223579</c:v>
                </c:pt>
                <c:pt idx="486">
                  <c:v>106.96911515223579</c:v>
                </c:pt>
                <c:pt idx="487">
                  <c:v>106.95250459047057</c:v>
                </c:pt>
                <c:pt idx="488">
                  <c:v>107.1888911937268</c:v>
                </c:pt>
                <c:pt idx="489">
                  <c:v>107.1888911937268</c:v>
                </c:pt>
                <c:pt idx="490">
                  <c:v>107.15918303165451</c:v>
                </c:pt>
                <c:pt idx="491">
                  <c:v>107.15918303165452</c:v>
                </c:pt>
                <c:pt idx="492">
                  <c:v>107.15918303165452</c:v>
                </c:pt>
                <c:pt idx="493">
                  <c:v>107.15918303165452</c:v>
                </c:pt>
                <c:pt idx="494">
                  <c:v>107.15918303165452</c:v>
                </c:pt>
                <c:pt idx="495">
                  <c:v>107.15918303165452</c:v>
                </c:pt>
                <c:pt idx="496">
                  <c:v>107.15918303165452</c:v>
                </c:pt>
                <c:pt idx="497">
                  <c:v>107.16418111581987</c:v>
                </c:pt>
                <c:pt idx="498">
                  <c:v>107.80779701539035</c:v>
                </c:pt>
                <c:pt idx="499">
                  <c:v>106.94356491648517</c:v>
                </c:pt>
                <c:pt idx="500">
                  <c:v>107.42559485009031</c:v>
                </c:pt>
                <c:pt idx="501">
                  <c:v>107.30849248243064</c:v>
                </c:pt>
                <c:pt idx="502">
                  <c:v>107.11715274429372</c:v>
                </c:pt>
                <c:pt idx="503">
                  <c:v>107.11715274429372</c:v>
                </c:pt>
                <c:pt idx="504">
                  <c:v>107.11062083907453</c:v>
                </c:pt>
                <c:pt idx="505">
                  <c:v>106.00888863864003</c:v>
                </c:pt>
                <c:pt idx="506">
                  <c:v>105.65843073890474</c:v>
                </c:pt>
                <c:pt idx="507">
                  <c:v>105.88154276159139</c:v>
                </c:pt>
                <c:pt idx="508">
                  <c:v>105.58256446000937</c:v>
                </c:pt>
                <c:pt idx="509">
                  <c:v>105.58256446000937</c:v>
                </c:pt>
                <c:pt idx="510">
                  <c:v>105.54858159397915</c:v>
                </c:pt>
                <c:pt idx="511">
                  <c:v>105.54858159397915</c:v>
                </c:pt>
                <c:pt idx="512">
                  <c:v>105.54858159397915</c:v>
                </c:pt>
                <c:pt idx="513">
                  <c:v>105.54858159397915</c:v>
                </c:pt>
                <c:pt idx="514">
                  <c:v>105.54858159397915</c:v>
                </c:pt>
                <c:pt idx="515">
                  <c:v>105.54858159397915</c:v>
                </c:pt>
                <c:pt idx="516">
                  <c:v>105.54858159397915</c:v>
                </c:pt>
                <c:pt idx="517">
                  <c:v>105.54858159397915</c:v>
                </c:pt>
                <c:pt idx="518">
                  <c:v>105.54858159397915</c:v>
                </c:pt>
                <c:pt idx="519">
                  <c:v>105.54858159397915</c:v>
                </c:pt>
                <c:pt idx="520">
                  <c:v>105.54858159397915</c:v>
                </c:pt>
                <c:pt idx="521">
                  <c:v>105.54858159397915</c:v>
                </c:pt>
                <c:pt idx="522">
                  <c:v>105.54858159397915</c:v>
                </c:pt>
                <c:pt idx="523">
                  <c:v>105.54858159397915</c:v>
                </c:pt>
                <c:pt idx="524">
                  <c:v>105.54858159397915</c:v>
                </c:pt>
                <c:pt idx="525">
                  <c:v>105.54858159397915</c:v>
                </c:pt>
                <c:pt idx="526">
                  <c:v>105.54858159397915</c:v>
                </c:pt>
                <c:pt idx="527">
                  <c:v>105.54858159397915</c:v>
                </c:pt>
                <c:pt idx="528">
                  <c:v>105.54858159397915</c:v>
                </c:pt>
                <c:pt idx="529">
                  <c:v>105.54858159397915</c:v>
                </c:pt>
                <c:pt idx="530">
                  <c:v>105.54858159397915</c:v>
                </c:pt>
                <c:pt idx="531">
                  <c:v>106.03542394001602</c:v>
                </c:pt>
                <c:pt idx="532">
                  <c:v>106.00514436021376</c:v>
                </c:pt>
                <c:pt idx="533">
                  <c:v>105.97490262988626</c:v>
                </c:pt>
                <c:pt idx="534">
                  <c:v>105.97490262988626</c:v>
                </c:pt>
                <c:pt idx="535">
                  <c:v>105.97490262988626</c:v>
                </c:pt>
                <c:pt idx="536">
                  <c:v>105.97490262988626</c:v>
                </c:pt>
                <c:pt idx="537">
                  <c:v>105.97490262988626</c:v>
                </c:pt>
                <c:pt idx="538">
                  <c:v>105.97319645322884</c:v>
                </c:pt>
                <c:pt idx="539">
                  <c:v>105.94299465778506</c:v>
                </c:pt>
                <c:pt idx="540">
                  <c:v>105.61184322308739</c:v>
                </c:pt>
                <c:pt idx="541">
                  <c:v>105.46984120289055</c:v>
                </c:pt>
                <c:pt idx="542">
                  <c:v>104.63649440682198</c:v>
                </c:pt>
                <c:pt idx="543">
                  <c:v>104.63649440682198</c:v>
                </c:pt>
                <c:pt idx="544">
                  <c:v>104.60632328854638</c:v>
                </c:pt>
                <c:pt idx="545">
                  <c:v>104.8524910648792</c:v>
                </c:pt>
                <c:pt idx="546">
                  <c:v>104.73261924820174</c:v>
                </c:pt>
                <c:pt idx="547">
                  <c:v>104.93719945828894</c:v>
                </c:pt>
                <c:pt idx="548">
                  <c:v>104.84833521417535</c:v>
                </c:pt>
                <c:pt idx="549">
                  <c:v>104.77300161349291</c:v>
                </c:pt>
                <c:pt idx="550">
                  <c:v>104.77300161349291</c:v>
                </c:pt>
                <c:pt idx="551">
                  <c:v>104.7428405990392</c:v>
                </c:pt>
                <c:pt idx="552">
                  <c:v>104.7428405990392</c:v>
                </c:pt>
                <c:pt idx="553">
                  <c:v>104.17379034604964</c:v>
                </c:pt>
                <c:pt idx="554">
                  <c:v>104.10763983371022</c:v>
                </c:pt>
                <c:pt idx="555">
                  <c:v>104.0415720095112</c:v>
                </c:pt>
                <c:pt idx="556">
                  <c:v>104.0415720095112</c:v>
                </c:pt>
                <c:pt idx="557">
                  <c:v>104.0415720095112</c:v>
                </c:pt>
                <c:pt idx="558">
                  <c:v>104.0415720095112</c:v>
                </c:pt>
                <c:pt idx="559">
                  <c:v>104.0415720095112</c:v>
                </c:pt>
                <c:pt idx="560">
                  <c:v>104.0415720095112</c:v>
                </c:pt>
                <c:pt idx="561">
                  <c:v>104.0415720095112</c:v>
                </c:pt>
                <c:pt idx="562">
                  <c:v>104.0415720095112</c:v>
                </c:pt>
                <c:pt idx="563">
                  <c:v>104.0415720095112</c:v>
                </c:pt>
                <c:pt idx="564">
                  <c:v>104.0415720095112</c:v>
                </c:pt>
                <c:pt idx="565">
                  <c:v>103.86944996858485</c:v>
                </c:pt>
                <c:pt idx="566">
                  <c:v>105.25387442683082</c:v>
                </c:pt>
                <c:pt idx="567">
                  <c:v>105.25387442683082</c:v>
                </c:pt>
                <c:pt idx="568">
                  <c:v>105.2184186613615</c:v>
                </c:pt>
                <c:pt idx="569">
                  <c:v>105.2184186613615</c:v>
                </c:pt>
                <c:pt idx="570">
                  <c:v>105.2184186613615</c:v>
                </c:pt>
                <c:pt idx="571">
                  <c:v>105.16253752369643</c:v>
                </c:pt>
                <c:pt idx="572">
                  <c:v>106.31078208614967</c:v>
                </c:pt>
                <c:pt idx="573">
                  <c:v>106.20579616310113</c:v>
                </c:pt>
                <c:pt idx="574">
                  <c:v>106.14470721878725</c:v>
                </c:pt>
                <c:pt idx="575">
                  <c:v>106.11474960692777</c:v>
                </c:pt>
                <c:pt idx="576">
                  <c:v>106.11474960692777</c:v>
                </c:pt>
                <c:pt idx="577">
                  <c:v>106.11474960692777</c:v>
                </c:pt>
                <c:pt idx="578">
                  <c:v>106.11474960692777</c:v>
                </c:pt>
                <c:pt idx="579">
                  <c:v>106.11474960692777</c:v>
                </c:pt>
                <c:pt idx="580">
                  <c:v>106.11474960692777</c:v>
                </c:pt>
                <c:pt idx="581">
                  <c:v>106.11474960692777</c:v>
                </c:pt>
                <c:pt idx="582">
                  <c:v>106.11474960692777</c:v>
                </c:pt>
                <c:pt idx="583">
                  <c:v>106.11474960692777</c:v>
                </c:pt>
                <c:pt idx="584">
                  <c:v>106.11474960692777</c:v>
                </c:pt>
                <c:pt idx="585">
                  <c:v>106.11474960692777</c:v>
                </c:pt>
                <c:pt idx="586">
                  <c:v>106.11474960692777</c:v>
                </c:pt>
                <c:pt idx="587">
                  <c:v>105.60232338521882</c:v>
                </c:pt>
                <c:pt idx="588">
                  <c:v>105.53565209159441</c:v>
                </c:pt>
                <c:pt idx="589">
                  <c:v>105.46906413708706</c:v>
                </c:pt>
                <c:pt idx="590">
                  <c:v>105.46906413708706</c:v>
                </c:pt>
                <c:pt idx="591">
                  <c:v>105.2302082731504</c:v>
                </c:pt>
                <c:pt idx="592">
                  <c:v>105.23356657774129</c:v>
                </c:pt>
                <c:pt idx="593">
                  <c:v>105.16810978561662</c:v>
                </c:pt>
                <c:pt idx="594">
                  <c:v>105.13743606528158</c:v>
                </c:pt>
                <c:pt idx="595">
                  <c:v>104.59760976740419</c:v>
                </c:pt>
                <c:pt idx="596">
                  <c:v>104.60593800488678</c:v>
                </c:pt>
                <c:pt idx="597">
                  <c:v>104.54110364849902</c:v>
                </c:pt>
                <c:pt idx="598">
                  <c:v>104.51059202814314</c:v>
                </c:pt>
                <c:pt idx="599">
                  <c:v>104.51059202814314</c:v>
                </c:pt>
                <c:pt idx="600">
                  <c:v>104.51059202814314</c:v>
                </c:pt>
                <c:pt idx="601">
                  <c:v>104.51059202814314</c:v>
                </c:pt>
                <c:pt idx="602">
                  <c:v>104.51059202814314</c:v>
                </c:pt>
                <c:pt idx="603">
                  <c:v>104.51059202814314</c:v>
                </c:pt>
                <c:pt idx="604">
                  <c:v>104.51059202814314</c:v>
                </c:pt>
                <c:pt idx="605">
                  <c:v>104.51059202814314</c:v>
                </c:pt>
                <c:pt idx="606">
                  <c:v>104.51059202814314</c:v>
                </c:pt>
                <c:pt idx="607">
                  <c:v>104.51059202814314</c:v>
                </c:pt>
                <c:pt idx="608">
                  <c:v>104.51059202814314</c:v>
                </c:pt>
                <c:pt idx="609">
                  <c:v>104.89069761800675</c:v>
                </c:pt>
                <c:pt idx="610">
                  <c:v>104.85481104025695</c:v>
                </c:pt>
                <c:pt idx="611">
                  <c:v>105.5998827985858</c:v>
                </c:pt>
                <c:pt idx="612">
                  <c:v>105.56310973936027</c:v>
                </c:pt>
                <c:pt idx="613">
                  <c:v>105.52638264645879</c:v>
                </c:pt>
                <c:pt idx="614">
                  <c:v>105.60775245460221</c:v>
                </c:pt>
                <c:pt idx="615">
                  <c:v>105.57096955830664</c:v>
                </c:pt>
                <c:pt idx="616">
                  <c:v>105.53423264063147</c:v>
                </c:pt>
                <c:pt idx="617">
                  <c:v>105.53423264063147</c:v>
                </c:pt>
                <c:pt idx="618">
                  <c:v>105.53423264063147</c:v>
                </c:pt>
                <c:pt idx="619">
                  <c:v>105.53423264063147</c:v>
                </c:pt>
                <c:pt idx="620">
                  <c:v>105.53423264063147</c:v>
                </c:pt>
                <c:pt idx="621">
                  <c:v>105.53423264063147</c:v>
                </c:pt>
                <c:pt idx="622">
                  <c:v>105.53423264063147</c:v>
                </c:pt>
                <c:pt idx="623">
                  <c:v>105.53423264063147</c:v>
                </c:pt>
                <c:pt idx="624">
                  <c:v>105.53423264063147</c:v>
                </c:pt>
                <c:pt idx="625">
                  <c:v>105.53423264063147</c:v>
                </c:pt>
                <c:pt idx="626">
                  <c:v>105.53423264063147</c:v>
                </c:pt>
                <c:pt idx="627">
                  <c:v>105.53423264063147</c:v>
                </c:pt>
                <c:pt idx="628">
                  <c:v>105.53423264063147</c:v>
                </c:pt>
                <c:pt idx="629">
                  <c:v>105.53423264063147</c:v>
                </c:pt>
                <c:pt idx="630">
                  <c:v>105.53423264063147</c:v>
                </c:pt>
                <c:pt idx="631">
                  <c:v>105.53423264063147</c:v>
                </c:pt>
                <c:pt idx="632">
                  <c:v>105.53423264063147</c:v>
                </c:pt>
                <c:pt idx="633">
                  <c:v>105.53423264063147</c:v>
                </c:pt>
                <c:pt idx="634">
                  <c:v>105.53423264063147</c:v>
                </c:pt>
                <c:pt idx="635">
                  <c:v>105.53423264063147</c:v>
                </c:pt>
                <c:pt idx="636">
                  <c:v>105.53423264063147</c:v>
                </c:pt>
                <c:pt idx="637">
                  <c:v>105.53423264063147</c:v>
                </c:pt>
                <c:pt idx="638">
                  <c:v>105.53423264063147</c:v>
                </c:pt>
                <c:pt idx="639">
                  <c:v>105.53423264063147</c:v>
                </c:pt>
                <c:pt idx="640">
                  <c:v>105.53423264063147</c:v>
                </c:pt>
                <c:pt idx="641">
                  <c:v>105.53423264063147</c:v>
                </c:pt>
                <c:pt idx="642">
                  <c:v>105.53423264063147</c:v>
                </c:pt>
                <c:pt idx="643">
                  <c:v>105.53423264063147</c:v>
                </c:pt>
                <c:pt idx="644">
                  <c:v>105.53423264063147</c:v>
                </c:pt>
                <c:pt idx="645">
                  <c:v>105.53423264063147</c:v>
                </c:pt>
                <c:pt idx="646">
                  <c:v>105.53423264063147</c:v>
                </c:pt>
                <c:pt idx="647">
                  <c:v>105.53423264063147</c:v>
                </c:pt>
                <c:pt idx="648">
                  <c:v>105.53423264063147</c:v>
                </c:pt>
                <c:pt idx="649">
                  <c:v>105.53423264063147</c:v>
                </c:pt>
                <c:pt idx="650">
                  <c:v>105.53423264063147</c:v>
                </c:pt>
                <c:pt idx="651">
                  <c:v>105.53423264063147</c:v>
                </c:pt>
                <c:pt idx="652">
                  <c:v>105.53423264063147</c:v>
                </c:pt>
                <c:pt idx="653">
                  <c:v>105.53423264063147</c:v>
                </c:pt>
                <c:pt idx="654">
                  <c:v>105.53423264063147</c:v>
                </c:pt>
                <c:pt idx="655">
                  <c:v>105.53423264063147</c:v>
                </c:pt>
                <c:pt idx="656">
                  <c:v>105.53423264063147</c:v>
                </c:pt>
                <c:pt idx="657">
                  <c:v>105.53423264063147</c:v>
                </c:pt>
                <c:pt idx="658">
                  <c:v>105.53423264063147</c:v>
                </c:pt>
                <c:pt idx="659">
                  <c:v>105.53423264063147</c:v>
                </c:pt>
                <c:pt idx="660">
                  <c:v>105.53423264063147</c:v>
                </c:pt>
                <c:pt idx="661">
                  <c:v>105.53423264063147</c:v>
                </c:pt>
                <c:pt idx="662">
                  <c:v>105.53423264063147</c:v>
                </c:pt>
                <c:pt idx="663">
                  <c:v>105.53423264063147</c:v>
                </c:pt>
                <c:pt idx="664">
                  <c:v>105.53423264063147</c:v>
                </c:pt>
                <c:pt idx="665">
                  <c:v>105.53423264063147</c:v>
                </c:pt>
                <c:pt idx="666">
                  <c:v>105.53423264063147</c:v>
                </c:pt>
                <c:pt idx="667">
                  <c:v>105.53423264063147</c:v>
                </c:pt>
                <c:pt idx="668">
                  <c:v>105.50878659504008</c:v>
                </c:pt>
                <c:pt idx="669">
                  <c:v>105.47934832917372</c:v>
                </c:pt>
                <c:pt idx="670">
                  <c:v>105.44994686113968</c:v>
                </c:pt>
                <c:pt idx="671">
                  <c:v>105.44994686113968</c:v>
                </c:pt>
                <c:pt idx="672">
                  <c:v>105.44994686113968</c:v>
                </c:pt>
                <c:pt idx="673">
                  <c:v>105.44994686113968</c:v>
                </c:pt>
                <c:pt idx="674">
                  <c:v>105.44994686113968</c:v>
                </c:pt>
                <c:pt idx="675">
                  <c:v>105.44994686113968</c:v>
                </c:pt>
                <c:pt idx="676">
                  <c:v>105.44994686113968</c:v>
                </c:pt>
                <c:pt idx="677">
                  <c:v>105.44994686113968</c:v>
                </c:pt>
                <c:pt idx="678">
                  <c:v>105.44994686113968</c:v>
                </c:pt>
                <c:pt idx="679">
                  <c:v>105.44994686113968</c:v>
                </c:pt>
                <c:pt idx="680">
                  <c:v>105.44994686113968</c:v>
                </c:pt>
                <c:pt idx="681">
                  <c:v>105.44994686113968</c:v>
                </c:pt>
                <c:pt idx="682">
                  <c:v>105.44994686113968</c:v>
                </c:pt>
                <c:pt idx="683">
                  <c:v>104.57066268578004</c:v>
                </c:pt>
                <c:pt idx="684">
                  <c:v>102.39786052128953</c:v>
                </c:pt>
                <c:pt idx="685">
                  <c:v>102.39786052128953</c:v>
                </c:pt>
                <c:pt idx="686">
                  <c:v>102.36639238919544</c:v>
                </c:pt>
                <c:pt idx="687">
                  <c:v>102.36639238919544</c:v>
                </c:pt>
                <c:pt idx="688">
                  <c:v>102.04305532162742</c:v>
                </c:pt>
                <c:pt idx="689">
                  <c:v>101.79977283219617</c:v>
                </c:pt>
                <c:pt idx="690">
                  <c:v>101.63422093301486</c:v>
                </c:pt>
                <c:pt idx="691">
                  <c:v>101.63422093301486</c:v>
                </c:pt>
                <c:pt idx="692">
                  <c:v>101.60370735040611</c:v>
                </c:pt>
                <c:pt idx="693">
                  <c:v>101.60370735040611</c:v>
                </c:pt>
                <c:pt idx="694">
                  <c:v>101.60370735040611</c:v>
                </c:pt>
                <c:pt idx="695">
                  <c:v>101.60370735040611</c:v>
                </c:pt>
                <c:pt idx="696">
                  <c:v>101.60370735040611</c:v>
                </c:pt>
                <c:pt idx="697">
                  <c:v>101.60370735040611</c:v>
                </c:pt>
                <c:pt idx="698">
                  <c:v>101.60370735040611</c:v>
                </c:pt>
                <c:pt idx="699">
                  <c:v>101.60370735040611</c:v>
                </c:pt>
                <c:pt idx="700">
                  <c:v>101.60370735040611</c:v>
                </c:pt>
                <c:pt idx="701">
                  <c:v>101.60370735040611</c:v>
                </c:pt>
                <c:pt idx="702">
                  <c:v>101.60370735040611</c:v>
                </c:pt>
                <c:pt idx="703">
                  <c:v>103.25566082950024</c:v>
                </c:pt>
                <c:pt idx="704">
                  <c:v>103.19375573082189</c:v>
                </c:pt>
                <c:pt idx="705">
                  <c:v>103.13192801351688</c:v>
                </c:pt>
                <c:pt idx="706">
                  <c:v>103.24772583246664</c:v>
                </c:pt>
                <c:pt idx="707">
                  <c:v>102.8965773344961</c:v>
                </c:pt>
                <c:pt idx="708">
                  <c:v>102.73919238703409</c:v>
                </c:pt>
                <c:pt idx="709">
                  <c:v>102.70912345155229</c:v>
                </c:pt>
                <c:pt idx="710">
                  <c:v>102.67793287390882</c:v>
                </c:pt>
                <c:pt idx="711">
                  <c:v>102.67793287390882</c:v>
                </c:pt>
                <c:pt idx="712">
                  <c:v>103.08272926598441</c:v>
                </c:pt>
                <c:pt idx="713">
                  <c:v>103.05219192118184</c:v>
                </c:pt>
                <c:pt idx="714">
                  <c:v>103.32231178313901</c:v>
                </c:pt>
                <c:pt idx="715">
                  <c:v>103.29078441992377</c:v>
                </c:pt>
                <c:pt idx="716">
                  <c:v>103.25929646591254</c:v>
                </c:pt>
                <c:pt idx="717">
                  <c:v>103.25929646591254</c:v>
                </c:pt>
                <c:pt idx="718">
                  <c:v>103.25929646591254</c:v>
                </c:pt>
                <c:pt idx="719">
                  <c:v>103.25929646591254</c:v>
                </c:pt>
                <c:pt idx="720">
                  <c:v>103.25929646591254</c:v>
                </c:pt>
                <c:pt idx="721">
                  <c:v>103.20998480959736</c:v>
                </c:pt>
                <c:pt idx="722">
                  <c:v>103.17958540001261</c:v>
                </c:pt>
                <c:pt idx="723">
                  <c:v>103.14922398968983</c:v>
                </c:pt>
                <c:pt idx="724">
                  <c:v>103.14922398968983</c:v>
                </c:pt>
                <c:pt idx="725">
                  <c:v>103.14922398968983</c:v>
                </c:pt>
                <c:pt idx="726">
                  <c:v>103.14922398968983</c:v>
                </c:pt>
                <c:pt idx="727">
                  <c:v>103.14922398968983</c:v>
                </c:pt>
                <c:pt idx="728">
                  <c:v>103.14922398968983</c:v>
                </c:pt>
                <c:pt idx="729">
                  <c:v>103.14922398968983</c:v>
                </c:pt>
                <c:pt idx="730">
                  <c:v>103.14922398968983</c:v>
                </c:pt>
                <c:pt idx="731">
                  <c:v>103.14922398968983</c:v>
                </c:pt>
                <c:pt idx="732">
                  <c:v>103.14922398968983</c:v>
                </c:pt>
                <c:pt idx="733">
                  <c:v>103.14922398968983</c:v>
                </c:pt>
                <c:pt idx="734">
                  <c:v>103.14922398968983</c:v>
                </c:pt>
                <c:pt idx="735">
                  <c:v>103.14922398968983</c:v>
                </c:pt>
                <c:pt idx="736">
                  <c:v>103.14922398968983</c:v>
                </c:pt>
                <c:pt idx="737">
                  <c:v>103.14922398968983</c:v>
                </c:pt>
                <c:pt idx="738">
                  <c:v>103.14922398968983</c:v>
                </c:pt>
                <c:pt idx="739">
                  <c:v>103.14922398968983</c:v>
                </c:pt>
                <c:pt idx="740">
                  <c:v>103.19307867750611</c:v>
                </c:pt>
                <c:pt idx="741">
                  <c:v>103.16270040058646</c:v>
                </c:pt>
                <c:pt idx="742">
                  <c:v>103.1393507430133</c:v>
                </c:pt>
                <c:pt idx="743">
                  <c:v>103.10789341063648</c:v>
                </c:pt>
                <c:pt idx="744">
                  <c:v>103.0764753999251</c:v>
                </c:pt>
                <c:pt idx="745">
                  <c:v>103.0764753999251</c:v>
                </c:pt>
                <c:pt idx="746">
                  <c:v>103.17223560732222</c:v>
                </c:pt>
                <c:pt idx="747">
                  <c:v>103.14181352836958</c:v>
                </c:pt>
                <c:pt idx="748">
                  <c:v>103.14157055185501</c:v>
                </c:pt>
                <c:pt idx="749">
                  <c:v>103.01539163009899</c:v>
                </c:pt>
                <c:pt idx="750">
                  <c:v>103.01539163009899</c:v>
                </c:pt>
                <c:pt idx="751">
                  <c:v>102.33915891914053</c:v>
                </c:pt>
                <c:pt idx="752">
                  <c:v>102.20517133166946</c:v>
                </c:pt>
                <c:pt idx="753">
                  <c:v>102.1321638324294</c:v>
                </c:pt>
                <c:pt idx="754">
                  <c:v>101.65674487963679</c:v>
                </c:pt>
                <c:pt idx="755">
                  <c:v>101.65674487963679</c:v>
                </c:pt>
                <c:pt idx="756">
                  <c:v>101.62793063388082</c:v>
                </c:pt>
                <c:pt idx="757">
                  <c:v>101.62793063388082</c:v>
                </c:pt>
                <c:pt idx="758">
                  <c:v>101.62793063388082</c:v>
                </c:pt>
                <c:pt idx="759">
                  <c:v>101.62793063388082</c:v>
                </c:pt>
                <c:pt idx="760">
                  <c:v>101.62793063388082</c:v>
                </c:pt>
                <c:pt idx="761">
                  <c:v>101.62793063388082</c:v>
                </c:pt>
                <c:pt idx="762">
                  <c:v>101.62793063388082</c:v>
                </c:pt>
                <c:pt idx="763">
                  <c:v>101.62793063388082</c:v>
                </c:pt>
                <c:pt idx="764">
                  <c:v>101.62793063388082</c:v>
                </c:pt>
                <c:pt idx="765">
                  <c:v>101.62793063388082</c:v>
                </c:pt>
                <c:pt idx="766">
                  <c:v>101.62793063388082</c:v>
                </c:pt>
                <c:pt idx="767">
                  <c:v>101.62793063388082</c:v>
                </c:pt>
                <c:pt idx="768">
                  <c:v>101.62793063388082</c:v>
                </c:pt>
                <c:pt idx="769">
                  <c:v>101.62793063388082</c:v>
                </c:pt>
                <c:pt idx="770">
                  <c:v>101.62793063388082</c:v>
                </c:pt>
                <c:pt idx="771">
                  <c:v>101.62793063388082</c:v>
                </c:pt>
                <c:pt idx="772">
                  <c:v>101.62793063388082</c:v>
                </c:pt>
                <c:pt idx="773">
                  <c:v>101.62793063388082</c:v>
                </c:pt>
                <c:pt idx="774">
                  <c:v>101.62793063388082</c:v>
                </c:pt>
                <c:pt idx="775">
                  <c:v>101.62793063388082</c:v>
                </c:pt>
                <c:pt idx="776">
                  <c:v>101.62793063388082</c:v>
                </c:pt>
                <c:pt idx="777">
                  <c:v>101.62793063388082</c:v>
                </c:pt>
                <c:pt idx="778">
                  <c:v>101.62793063388082</c:v>
                </c:pt>
                <c:pt idx="779">
                  <c:v>101.62793063388082</c:v>
                </c:pt>
                <c:pt idx="780">
                  <c:v>101.62793063388082</c:v>
                </c:pt>
                <c:pt idx="781">
                  <c:v>101.62793063388082</c:v>
                </c:pt>
                <c:pt idx="782">
                  <c:v>101.62793063388082</c:v>
                </c:pt>
                <c:pt idx="783">
                  <c:v>101.62793063388082</c:v>
                </c:pt>
                <c:pt idx="784">
                  <c:v>101.62793063388082</c:v>
                </c:pt>
                <c:pt idx="785">
                  <c:v>101.62793063388082</c:v>
                </c:pt>
                <c:pt idx="786">
                  <c:v>101.55017283246505</c:v>
                </c:pt>
                <c:pt idx="787">
                  <c:v>101.47691860448239</c:v>
                </c:pt>
                <c:pt idx="788">
                  <c:v>102.8238397863898</c:v>
                </c:pt>
                <c:pt idx="789">
                  <c:v>102.51811114296537</c:v>
                </c:pt>
                <c:pt idx="790">
                  <c:v>102.46739393031831</c:v>
                </c:pt>
                <c:pt idx="791">
                  <c:v>102.39767176386938</c:v>
                </c:pt>
                <c:pt idx="792">
                  <c:v>102.11731100377808</c:v>
                </c:pt>
                <c:pt idx="793">
                  <c:v>102.11279027214633</c:v>
                </c:pt>
                <c:pt idx="794">
                  <c:v>101.15429497413291</c:v>
                </c:pt>
                <c:pt idx="795">
                  <c:v>100.70589872746399</c:v>
                </c:pt>
                <c:pt idx="796">
                  <c:v>102.01612862883454</c:v>
                </c:pt>
                <c:pt idx="797">
                  <c:v>103.00917935938384</c:v>
                </c:pt>
                <c:pt idx="798">
                  <c:v>103.08830345447426</c:v>
                </c:pt>
                <c:pt idx="799">
                  <c:v>103.09359317177082</c:v>
                </c:pt>
                <c:pt idx="800">
                  <c:v>103.60242166934482</c:v>
                </c:pt>
                <c:pt idx="801">
                  <c:v>103.00926643328924</c:v>
                </c:pt>
                <c:pt idx="802">
                  <c:v>102.55544874439468</c:v>
                </c:pt>
                <c:pt idx="803">
                  <c:v>103.65479233841822</c:v>
                </c:pt>
                <c:pt idx="804">
                  <c:v>104.08013997862817</c:v>
                </c:pt>
                <c:pt idx="805">
                  <c:v>104.08013997862817</c:v>
                </c:pt>
                <c:pt idx="806">
                  <c:v>104.04005818570948</c:v>
                </c:pt>
                <c:pt idx="807">
                  <c:v>104.04005818570948</c:v>
                </c:pt>
                <c:pt idx="808">
                  <c:v>104.04005818570948</c:v>
                </c:pt>
                <c:pt idx="809">
                  <c:v>104.04005818570948</c:v>
                </c:pt>
                <c:pt idx="810">
                  <c:v>104.04005818570948</c:v>
                </c:pt>
                <c:pt idx="811">
                  <c:v>104.04005818570948</c:v>
                </c:pt>
                <c:pt idx="812">
                  <c:v>104.04005818570948</c:v>
                </c:pt>
                <c:pt idx="813">
                  <c:v>105.38091024088521</c:v>
                </c:pt>
                <c:pt idx="814">
                  <c:v>105.30918194855862</c:v>
                </c:pt>
                <c:pt idx="815">
                  <c:v>105.23754331659742</c:v>
                </c:pt>
                <c:pt idx="816">
                  <c:v>105.23754331659742</c:v>
                </c:pt>
                <c:pt idx="817">
                  <c:v>105.23754331659742</c:v>
                </c:pt>
                <c:pt idx="818">
                  <c:v>105.23754331659742</c:v>
                </c:pt>
                <c:pt idx="819">
                  <c:v>105.23754331659742</c:v>
                </c:pt>
                <c:pt idx="820">
                  <c:v>105.23754331659742</c:v>
                </c:pt>
                <c:pt idx="821">
                  <c:v>105.23754331659742</c:v>
                </c:pt>
                <c:pt idx="822">
                  <c:v>105.23754331659742</c:v>
                </c:pt>
                <c:pt idx="823">
                  <c:v>105.23754331659742</c:v>
                </c:pt>
                <c:pt idx="824">
                  <c:v>105.23754331659742</c:v>
                </c:pt>
                <c:pt idx="825">
                  <c:v>105.23754331659742</c:v>
                </c:pt>
                <c:pt idx="826">
                  <c:v>105.23754331659742</c:v>
                </c:pt>
                <c:pt idx="827">
                  <c:v>105.23754331659742</c:v>
                </c:pt>
                <c:pt idx="828">
                  <c:v>105.23754331659742</c:v>
                </c:pt>
                <c:pt idx="829">
                  <c:v>105.23754331659742</c:v>
                </c:pt>
                <c:pt idx="830">
                  <c:v>105.23754331659742</c:v>
                </c:pt>
                <c:pt idx="831">
                  <c:v>105.23754331659742</c:v>
                </c:pt>
                <c:pt idx="832">
                  <c:v>105.23754331659742</c:v>
                </c:pt>
                <c:pt idx="833">
                  <c:v>105.23754331659742</c:v>
                </c:pt>
                <c:pt idx="834">
                  <c:v>105.23754331659742</c:v>
                </c:pt>
                <c:pt idx="835">
                  <c:v>105.23754331659742</c:v>
                </c:pt>
                <c:pt idx="836">
                  <c:v>105.23754331659742</c:v>
                </c:pt>
                <c:pt idx="837">
                  <c:v>105.23754331659742</c:v>
                </c:pt>
                <c:pt idx="838">
                  <c:v>105.23754331659742</c:v>
                </c:pt>
                <c:pt idx="839">
                  <c:v>105.23754331659742</c:v>
                </c:pt>
                <c:pt idx="840">
                  <c:v>105.23754331659742</c:v>
                </c:pt>
                <c:pt idx="841">
                  <c:v>104.41314973396548</c:v>
                </c:pt>
                <c:pt idx="842">
                  <c:v>105.01485001348831</c:v>
                </c:pt>
                <c:pt idx="843">
                  <c:v>104.9244685276272</c:v>
                </c:pt>
                <c:pt idx="844">
                  <c:v>104.89302004587238</c:v>
                </c:pt>
                <c:pt idx="845">
                  <c:v>104.89302004587238</c:v>
                </c:pt>
                <c:pt idx="846">
                  <c:v>104.89302004587238</c:v>
                </c:pt>
                <c:pt idx="847">
                  <c:v>104.89302004587238</c:v>
                </c:pt>
                <c:pt idx="848">
                  <c:v>104.89302004587238</c:v>
                </c:pt>
                <c:pt idx="849">
                  <c:v>104.89302004587238</c:v>
                </c:pt>
                <c:pt idx="850">
                  <c:v>104.89302004587238</c:v>
                </c:pt>
                <c:pt idx="851">
                  <c:v>104.89302004587238</c:v>
                </c:pt>
                <c:pt idx="852">
                  <c:v>104.59732462770413</c:v>
                </c:pt>
                <c:pt idx="853">
                  <c:v>104.56948096467083</c:v>
                </c:pt>
                <c:pt idx="854">
                  <c:v>106.71568286603512</c:v>
                </c:pt>
                <c:pt idx="855">
                  <c:v>106.65458451026096</c:v>
                </c:pt>
                <c:pt idx="856">
                  <c:v>106.59356252743152</c:v>
                </c:pt>
                <c:pt idx="857">
                  <c:v>106.59356252743152</c:v>
                </c:pt>
                <c:pt idx="858">
                  <c:v>106.59356252743152</c:v>
                </c:pt>
                <c:pt idx="859">
                  <c:v>106.59356252743152</c:v>
                </c:pt>
                <c:pt idx="860">
                  <c:v>106.59356252743152</c:v>
                </c:pt>
                <c:pt idx="861">
                  <c:v>106.59356252743152</c:v>
                </c:pt>
                <c:pt idx="862">
                  <c:v>106.59356252743152</c:v>
                </c:pt>
                <c:pt idx="863">
                  <c:v>106.59356252743152</c:v>
                </c:pt>
                <c:pt idx="864">
                  <c:v>106.59356252743152</c:v>
                </c:pt>
                <c:pt idx="865">
                  <c:v>106.59356252743152</c:v>
                </c:pt>
                <c:pt idx="866">
                  <c:v>106.59356252743152</c:v>
                </c:pt>
                <c:pt idx="867">
                  <c:v>106.59356252743152</c:v>
                </c:pt>
                <c:pt idx="868">
                  <c:v>106.59356252743152</c:v>
                </c:pt>
                <c:pt idx="869">
                  <c:v>106.59356252743152</c:v>
                </c:pt>
                <c:pt idx="870">
                  <c:v>106.59356252743152</c:v>
                </c:pt>
                <c:pt idx="871">
                  <c:v>106.59356252743152</c:v>
                </c:pt>
                <c:pt idx="872">
                  <c:v>106.59356252743152</c:v>
                </c:pt>
                <c:pt idx="873">
                  <c:v>106.56479009170633</c:v>
                </c:pt>
                <c:pt idx="874">
                  <c:v>108.22347509545104</c:v>
                </c:pt>
                <c:pt idx="875">
                  <c:v>108.22347509545104</c:v>
                </c:pt>
                <c:pt idx="876">
                  <c:v>108.1604919993901</c:v>
                </c:pt>
                <c:pt idx="877">
                  <c:v>108.16049199939012</c:v>
                </c:pt>
                <c:pt idx="878">
                  <c:v>108.16049199939012</c:v>
                </c:pt>
                <c:pt idx="879">
                  <c:v>108.16049199939012</c:v>
                </c:pt>
                <c:pt idx="880">
                  <c:v>108.16049199939012</c:v>
                </c:pt>
                <c:pt idx="881">
                  <c:v>108.16049199939012</c:v>
                </c:pt>
                <c:pt idx="882">
                  <c:v>108.16049199939012</c:v>
                </c:pt>
                <c:pt idx="883">
                  <c:v>108.16049199939012</c:v>
                </c:pt>
                <c:pt idx="884">
                  <c:v>108.16049199939012</c:v>
                </c:pt>
                <c:pt idx="885">
                  <c:v>108.16049199939012</c:v>
                </c:pt>
                <c:pt idx="886">
                  <c:v>108.16049199939012</c:v>
                </c:pt>
                <c:pt idx="887">
                  <c:v>108.16049199939012</c:v>
                </c:pt>
                <c:pt idx="888">
                  <c:v>108.16049199939012</c:v>
                </c:pt>
                <c:pt idx="889">
                  <c:v>108.16049199939012</c:v>
                </c:pt>
                <c:pt idx="890">
                  <c:v>108.16049199939012</c:v>
                </c:pt>
                <c:pt idx="891">
                  <c:v>108.16049199939012</c:v>
                </c:pt>
                <c:pt idx="892">
                  <c:v>108.09416921201834</c:v>
                </c:pt>
                <c:pt idx="893">
                  <c:v>108.06284294434992</c:v>
                </c:pt>
                <c:pt idx="894">
                  <c:v>107.86090228939111</c:v>
                </c:pt>
                <c:pt idx="895">
                  <c:v>107.54167098004928</c:v>
                </c:pt>
                <c:pt idx="896">
                  <c:v>108.42799817745345</c:v>
                </c:pt>
                <c:pt idx="897">
                  <c:v>111.5500642590649</c:v>
                </c:pt>
                <c:pt idx="898">
                  <c:v>112.318827884706</c:v>
                </c:pt>
                <c:pt idx="899">
                  <c:v>112.21931642650587</c:v>
                </c:pt>
                <c:pt idx="900">
                  <c:v>112.18714773222163</c:v>
                </c:pt>
                <c:pt idx="901">
                  <c:v>112.18714773222163</c:v>
                </c:pt>
                <c:pt idx="902">
                  <c:v>112.18714773222163</c:v>
                </c:pt>
                <c:pt idx="903">
                  <c:v>111.79273481319095</c:v>
                </c:pt>
                <c:pt idx="904">
                  <c:v>111.76109934592336</c:v>
                </c:pt>
                <c:pt idx="905">
                  <c:v>111.72950342298985</c:v>
                </c:pt>
                <c:pt idx="906">
                  <c:v>111.72950342298985</c:v>
                </c:pt>
                <c:pt idx="907">
                  <c:v>111.72950342298985</c:v>
                </c:pt>
                <c:pt idx="908">
                  <c:v>111.72950342298985</c:v>
                </c:pt>
                <c:pt idx="909">
                  <c:v>111.72950342298985</c:v>
                </c:pt>
                <c:pt idx="910">
                  <c:v>111.72950342298985</c:v>
                </c:pt>
                <c:pt idx="911">
                  <c:v>111.72950342298985</c:v>
                </c:pt>
                <c:pt idx="912">
                  <c:v>111.72950342298985</c:v>
                </c:pt>
                <c:pt idx="913">
                  <c:v>111.72950342298985</c:v>
                </c:pt>
                <c:pt idx="914">
                  <c:v>111.72950342298985</c:v>
                </c:pt>
                <c:pt idx="915">
                  <c:v>111.72950342298985</c:v>
                </c:pt>
                <c:pt idx="916">
                  <c:v>111.72950342298985</c:v>
                </c:pt>
                <c:pt idx="917">
                  <c:v>111.72950342298985</c:v>
                </c:pt>
                <c:pt idx="918">
                  <c:v>111.72950342298985</c:v>
                </c:pt>
                <c:pt idx="919">
                  <c:v>111.72950342298985</c:v>
                </c:pt>
                <c:pt idx="920">
                  <c:v>111.72950342298985</c:v>
                </c:pt>
                <c:pt idx="921">
                  <c:v>111.72950342298985</c:v>
                </c:pt>
                <c:pt idx="922">
                  <c:v>111.72950342298985</c:v>
                </c:pt>
                <c:pt idx="923">
                  <c:v>111.72950342298985</c:v>
                </c:pt>
                <c:pt idx="924">
                  <c:v>111.72950342298985</c:v>
                </c:pt>
                <c:pt idx="925">
                  <c:v>111.72950342298985</c:v>
                </c:pt>
                <c:pt idx="926">
                  <c:v>111.72950342298985</c:v>
                </c:pt>
                <c:pt idx="927">
                  <c:v>111.72950342298985</c:v>
                </c:pt>
                <c:pt idx="928">
                  <c:v>111.72950342298985</c:v>
                </c:pt>
                <c:pt idx="929">
                  <c:v>111.72950342298985</c:v>
                </c:pt>
                <c:pt idx="930">
                  <c:v>111.72950342298985</c:v>
                </c:pt>
                <c:pt idx="931">
                  <c:v>111.72950342298985</c:v>
                </c:pt>
                <c:pt idx="932">
                  <c:v>111.72950342298985</c:v>
                </c:pt>
                <c:pt idx="933">
                  <c:v>111.72950342298985</c:v>
                </c:pt>
                <c:pt idx="934">
                  <c:v>111.72950342298985</c:v>
                </c:pt>
                <c:pt idx="935">
                  <c:v>111.72950342298985</c:v>
                </c:pt>
                <c:pt idx="936">
                  <c:v>111.72950342298985</c:v>
                </c:pt>
                <c:pt idx="937">
                  <c:v>111.72950342298985</c:v>
                </c:pt>
                <c:pt idx="938">
                  <c:v>111.72950342298985</c:v>
                </c:pt>
                <c:pt idx="939">
                  <c:v>111.72950342298985</c:v>
                </c:pt>
                <c:pt idx="940">
                  <c:v>111.72950342298985</c:v>
                </c:pt>
                <c:pt idx="941">
                  <c:v>111.72950342298985</c:v>
                </c:pt>
                <c:pt idx="942">
                  <c:v>111.72950342298985</c:v>
                </c:pt>
                <c:pt idx="943">
                  <c:v>111.72950342298985</c:v>
                </c:pt>
                <c:pt idx="944">
                  <c:v>111.72950342298985</c:v>
                </c:pt>
                <c:pt idx="945">
                  <c:v>111.72950342298985</c:v>
                </c:pt>
                <c:pt idx="946">
                  <c:v>111.72950342298985</c:v>
                </c:pt>
                <c:pt idx="947">
                  <c:v>111.72950342298985</c:v>
                </c:pt>
                <c:pt idx="948">
                  <c:v>111.72950342298985</c:v>
                </c:pt>
                <c:pt idx="949">
                  <c:v>111.72950342298985</c:v>
                </c:pt>
                <c:pt idx="950">
                  <c:v>111.71141553052468</c:v>
                </c:pt>
                <c:pt idx="951">
                  <c:v>111.42377940018203</c:v>
                </c:pt>
                <c:pt idx="952">
                  <c:v>111.42377940018203</c:v>
                </c:pt>
                <c:pt idx="953">
                  <c:v>111.12829661225641</c:v>
                </c:pt>
                <c:pt idx="954">
                  <c:v>110.65241350941848</c:v>
                </c:pt>
                <c:pt idx="955">
                  <c:v>113.13685753443612</c:v>
                </c:pt>
                <c:pt idx="956">
                  <c:v>113.03632353917384</c:v>
                </c:pt>
                <c:pt idx="957">
                  <c:v>112.96608751446145</c:v>
                </c:pt>
                <c:pt idx="958">
                  <c:v>112.96608751446145</c:v>
                </c:pt>
                <c:pt idx="959">
                  <c:v>113.47900058207216</c:v>
                </c:pt>
                <c:pt idx="960">
                  <c:v>113.44498615405909</c:v>
                </c:pt>
                <c:pt idx="961">
                  <c:v>113.41101424408104</c:v>
                </c:pt>
                <c:pt idx="962">
                  <c:v>113.45283862771012</c:v>
                </c:pt>
                <c:pt idx="963">
                  <c:v>113.95124940058479</c:v>
                </c:pt>
                <c:pt idx="964">
                  <c:v>113.9921332376038</c:v>
                </c:pt>
                <c:pt idx="965">
                  <c:v>113.82938090582452</c:v>
                </c:pt>
                <c:pt idx="966">
                  <c:v>113.82938090582452</c:v>
                </c:pt>
                <c:pt idx="967">
                  <c:v>113.75815355940382</c:v>
                </c:pt>
                <c:pt idx="968">
                  <c:v>113.75815355940382</c:v>
                </c:pt>
                <c:pt idx="969">
                  <c:v>113.75815355940382</c:v>
                </c:pt>
                <c:pt idx="970">
                  <c:v>113.75815355940382</c:v>
                </c:pt>
                <c:pt idx="971">
                  <c:v>113.75815355940382</c:v>
                </c:pt>
                <c:pt idx="972">
                  <c:v>113.75815355940382</c:v>
                </c:pt>
                <c:pt idx="973">
                  <c:v>113.75815355940382</c:v>
                </c:pt>
                <c:pt idx="974">
                  <c:v>113.75815355940382</c:v>
                </c:pt>
                <c:pt idx="975">
                  <c:v>113.75815355940382</c:v>
                </c:pt>
                <c:pt idx="976">
                  <c:v>113.75815355940382</c:v>
                </c:pt>
                <c:pt idx="977">
                  <c:v>113.75815355940382</c:v>
                </c:pt>
                <c:pt idx="978">
                  <c:v>113.75815355940382</c:v>
                </c:pt>
                <c:pt idx="979">
                  <c:v>113.75815355940382</c:v>
                </c:pt>
                <c:pt idx="980">
                  <c:v>113.75815355940382</c:v>
                </c:pt>
                <c:pt idx="981">
                  <c:v>113.75815355940382</c:v>
                </c:pt>
                <c:pt idx="982">
                  <c:v>113.75815355940382</c:v>
                </c:pt>
                <c:pt idx="983">
                  <c:v>113.75815355940382</c:v>
                </c:pt>
                <c:pt idx="984">
                  <c:v>113.75815355940382</c:v>
                </c:pt>
                <c:pt idx="985">
                  <c:v>113.75815355940382</c:v>
                </c:pt>
                <c:pt idx="986">
                  <c:v>113.75815355940382</c:v>
                </c:pt>
                <c:pt idx="987">
                  <c:v>113.75815355940382</c:v>
                </c:pt>
                <c:pt idx="988">
                  <c:v>113.75815355940382</c:v>
                </c:pt>
                <c:pt idx="989">
                  <c:v>113.75815355940382</c:v>
                </c:pt>
                <c:pt idx="990">
                  <c:v>113.75815355940382</c:v>
                </c:pt>
                <c:pt idx="991">
                  <c:v>113.75815355940382</c:v>
                </c:pt>
                <c:pt idx="992">
                  <c:v>113.75815355940382</c:v>
                </c:pt>
                <c:pt idx="993">
                  <c:v>113.75815355940382</c:v>
                </c:pt>
                <c:pt idx="994">
                  <c:v>113.75815355940382</c:v>
                </c:pt>
                <c:pt idx="995">
                  <c:v>113.75815355940382</c:v>
                </c:pt>
                <c:pt idx="996">
                  <c:v>113.75815355940382</c:v>
                </c:pt>
                <c:pt idx="997">
                  <c:v>113.75815355940382</c:v>
                </c:pt>
                <c:pt idx="998">
                  <c:v>113.75815355940382</c:v>
                </c:pt>
                <c:pt idx="999">
                  <c:v>113.75815355940382</c:v>
                </c:pt>
                <c:pt idx="1000">
                  <c:v>113.75815355940382</c:v>
                </c:pt>
                <c:pt idx="1001">
                  <c:v>113.75815355940382</c:v>
                </c:pt>
                <c:pt idx="1002">
                  <c:v>113.75815355940382</c:v>
                </c:pt>
                <c:pt idx="1003">
                  <c:v>113.75815355940382</c:v>
                </c:pt>
                <c:pt idx="1004">
                  <c:v>113.75815355940382</c:v>
                </c:pt>
                <c:pt idx="1005">
                  <c:v>113.75815355940382</c:v>
                </c:pt>
                <c:pt idx="1006">
                  <c:v>113.75815355940382</c:v>
                </c:pt>
                <c:pt idx="1007">
                  <c:v>113.75815355940382</c:v>
                </c:pt>
                <c:pt idx="1008">
                  <c:v>113.75815355940382</c:v>
                </c:pt>
                <c:pt idx="1009">
                  <c:v>113.75815355940382</c:v>
                </c:pt>
                <c:pt idx="1010">
                  <c:v>113.75815355940382</c:v>
                </c:pt>
                <c:pt idx="1011">
                  <c:v>113.75815355940382</c:v>
                </c:pt>
                <c:pt idx="1012">
                  <c:v>113.75815355940382</c:v>
                </c:pt>
                <c:pt idx="1013">
                  <c:v>113.75815355940382</c:v>
                </c:pt>
                <c:pt idx="1014">
                  <c:v>113.75815355940382</c:v>
                </c:pt>
                <c:pt idx="1015">
                  <c:v>113.14203358129267</c:v>
                </c:pt>
                <c:pt idx="1016">
                  <c:v>115.95457220784417</c:v>
                </c:pt>
                <c:pt idx="1017">
                  <c:v>115.95457220784417</c:v>
                </c:pt>
                <c:pt idx="1018">
                  <c:v>116.15919116608866</c:v>
                </c:pt>
                <c:pt idx="1019">
                  <c:v>108.9509748421172</c:v>
                </c:pt>
                <c:pt idx="1020">
                  <c:v>108.91757478864709</c:v>
                </c:pt>
                <c:pt idx="1021">
                  <c:v>108.85248719987285</c:v>
                </c:pt>
                <c:pt idx="1022">
                  <c:v>108.85248719987287</c:v>
                </c:pt>
                <c:pt idx="1023">
                  <c:v>108.85248719987287</c:v>
                </c:pt>
                <c:pt idx="1024">
                  <c:v>108.85248719987287</c:v>
                </c:pt>
                <c:pt idx="1025">
                  <c:v>108.85248719987287</c:v>
                </c:pt>
                <c:pt idx="1026">
                  <c:v>108.85248719987287</c:v>
                </c:pt>
                <c:pt idx="1027">
                  <c:v>108.85248719987287</c:v>
                </c:pt>
                <c:pt idx="1028">
                  <c:v>108.85248719987287</c:v>
                </c:pt>
                <c:pt idx="1029">
                  <c:v>108.85248719987287</c:v>
                </c:pt>
                <c:pt idx="1030">
                  <c:v>108.85248719987287</c:v>
                </c:pt>
                <c:pt idx="1031">
                  <c:v>108.85248719987287</c:v>
                </c:pt>
                <c:pt idx="1032">
                  <c:v>108.89937134111486</c:v>
                </c:pt>
                <c:pt idx="1033">
                  <c:v>109.17476373501893</c:v>
                </c:pt>
                <c:pt idx="1034">
                  <c:v>109.84965271559872</c:v>
                </c:pt>
                <c:pt idx="1035">
                  <c:v>110.23414572882055</c:v>
                </c:pt>
                <c:pt idx="1036">
                  <c:v>111.07345040390874</c:v>
                </c:pt>
                <c:pt idx="1037">
                  <c:v>111.07345040390874</c:v>
                </c:pt>
                <c:pt idx="1038">
                  <c:v>111.02978712324794</c:v>
                </c:pt>
                <c:pt idx="1039">
                  <c:v>110.43958046643891</c:v>
                </c:pt>
                <c:pt idx="1040">
                  <c:v>110.39670952319996</c:v>
                </c:pt>
                <c:pt idx="1041">
                  <c:v>111.27612655372175</c:v>
                </c:pt>
                <c:pt idx="1042">
                  <c:v>111.82575344798791</c:v>
                </c:pt>
                <c:pt idx="1043">
                  <c:v>112.01573545040901</c:v>
                </c:pt>
                <c:pt idx="1044">
                  <c:v>112.01691256009883</c:v>
                </c:pt>
                <c:pt idx="1045">
                  <c:v>112.71024407097516</c:v>
                </c:pt>
                <c:pt idx="1046">
                  <c:v>112.83419662994967</c:v>
                </c:pt>
                <c:pt idx="1047">
                  <c:v>112.7581601134505</c:v>
                </c:pt>
                <c:pt idx="1048">
                  <c:v>112.7267975927254</c:v>
                </c:pt>
                <c:pt idx="1049">
                  <c:v>112.7267975927254</c:v>
                </c:pt>
                <c:pt idx="1050">
                  <c:v>112.7267975927254</c:v>
                </c:pt>
                <c:pt idx="1051">
                  <c:v>112.7267975927254</c:v>
                </c:pt>
                <c:pt idx="1052">
                  <c:v>112.7267975927254</c:v>
                </c:pt>
                <c:pt idx="1053">
                  <c:v>112.7267975927254</c:v>
                </c:pt>
                <c:pt idx="1054">
                  <c:v>112.7267975927254</c:v>
                </c:pt>
                <c:pt idx="1055">
                  <c:v>112.7267975927254</c:v>
                </c:pt>
                <c:pt idx="1056">
                  <c:v>112.72166800860532</c:v>
                </c:pt>
                <c:pt idx="1057">
                  <c:v>112.69035110301128</c:v>
                </c:pt>
                <c:pt idx="1058">
                  <c:v>112.65907334354924</c:v>
                </c:pt>
                <c:pt idx="1059">
                  <c:v>112.44542338606161</c:v>
                </c:pt>
                <c:pt idx="1060">
                  <c:v>112.9366585213911</c:v>
                </c:pt>
                <c:pt idx="1061">
                  <c:v>114.33636344118233</c:v>
                </c:pt>
                <c:pt idx="1062">
                  <c:v>116.6589106011397</c:v>
                </c:pt>
                <c:pt idx="1063">
                  <c:v>116.6589106011397</c:v>
                </c:pt>
                <c:pt idx="1064">
                  <c:v>116.60933185443925</c:v>
                </c:pt>
                <c:pt idx="1065">
                  <c:v>116.60933185443925</c:v>
                </c:pt>
                <c:pt idx="1066">
                  <c:v>116.60933185443925</c:v>
                </c:pt>
                <c:pt idx="1067">
                  <c:v>116.55623417267007</c:v>
                </c:pt>
                <c:pt idx="1068">
                  <c:v>117.50233496875369</c:v>
                </c:pt>
                <c:pt idx="1069">
                  <c:v>117.50233496875369</c:v>
                </c:pt>
                <c:pt idx="1070">
                  <c:v>118.61523335776388</c:v>
                </c:pt>
                <c:pt idx="1071">
                  <c:v>118.38239128344532</c:v>
                </c:pt>
                <c:pt idx="1072">
                  <c:v>118.31561969137232</c:v>
                </c:pt>
                <c:pt idx="1073">
                  <c:v>118.28466604221157</c:v>
                </c:pt>
                <c:pt idx="1074">
                  <c:v>117.62041995484864</c:v>
                </c:pt>
                <c:pt idx="1075">
                  <c:v>117.58551578403572</c:v>
                </c:pt>
                <c:pt idx="1076">
                  <c:v>117.55065524343627</c:v>
                </c:pt>
                <c:pt idx="1077">
                  <c:v>117.43521248329205</c:v>
                </c:pt>
                <c:pt idx="1078">
                  <c:v>117.70072009982422</c:v>
                </c:pt>
                <c:pt idx="1079">
                  <c:v>117.70005875852647</c:v>
                </c:pt>
                <c:pt idx="1080">
                  <c:v>117.70005875852647</c:v>
                </c:pt>
                <c:pt idx="1081">
                  <c:v>116.06431627240832</c:v>
                </c:pt>
                <c:pt idx="1082">
                  <c:v>116.27603575798744</c:v>
                </c:pt>
                <c:pt idx="1083">
                  <c:v>115.9254855372879</c:v>
                </c:pt>
                <c:pt idx="1084">
                  <c:v>115.9746773664784</c:v>
                </c:pt>
                <c:pt idx="1085">
                  <c:v>115.87466881723316</c:v>
                </c:pt>
                <c:pt idx="1086">
                  <c:v>115.27506762490685</c:v>
                </c:pt>
                <c:pt idx="1087">
                  <c:v>115.27506762490685</c:v>
                </c:pt>
                <c:pt idx="1088">
                  <c:v>117.6775680977585</c:v>
                </c:pt>
                <c:pt idx="1089">
                  <c:v>118.07303731464461</c:v>
                </c:pt>
                <c:pt idx="1090">
                  <c:v>117.28366171223222</c:v>
                </c:pt>
                <c:pt idx="1091">
                  <c:v>117.52632233875877</c:v>
                </c:pt>
                <c:pt idx="1092">
                  <c:v>118.33819927572137</c:v>
                </c:pt>
                <c:pt idx="1093">
                  <c:v>118.7200380151133</c:v>
                </c:pt>
                <c:pt idx="1094">
                  <c:v>118.65292343479445</c:v>
                </c:pt>
                <c:pt idx="1095">
                  <c:v>118.66246861846763</c:v>
                </c:pt>
                <c:pt idx="1096">
                  <c:v>119.03454224207358</c:v>
                </c:pt>
                <c:pt idx="1097">
                  <c:v>119.03454224207358</c:v>
                </c:pt>
                <c:pt idx="1098">
                  <c:v>118.73452306610122</c:v>
                </c:pt>
                <c:pt idx="1099">
                  <c:v>118.69915863841402</c:v>
                </c:pt>
                <c:pt idx="1100">
                  <c:v>117.79603845758545</c:v>
                </c:pt>
                <c:pt idx="1101">
                  <c:v>117.80581452282449</c:v>
                </c:pt>
                <c:pt idx="1102">
                  <c:v>117.73984228688342</c:v>
                </c:pt>
                <c:pt idx="1103">
                  <c:v>117.70805841328296</c:v>
                </c:pt>
                <c:pt idx="1104">
                  <c:v>117.70805841328296</c:v>
                </c:pt>
                <c:pt idx="1105">
                  <c:v>117.70805841328296</c:v>
                </c:pt>
                <c:pt idx="1106">
                  <c:v>117.70805841328296</c:v>
                </c:pt>
                <c:pt idx="1107">
                  <c:v>117.70805841328296</c:v>
                </c:pt>
                <c:pt idx="1108">
                  <c:v>117.70805841328296</c:v>
                </c:pt>
                <c:pt idx="1109">
                  <c:v>117.70805841328296</c:v>
                </c:pt>
                <c:pt idx="1110">
                  <c:v>117.70805841328296</c:v>
                </c:pt>
                <c:pt idx="1111">
                  <c:v>117.70805841328296</c:v>
                </c:pt>
                <c:pt idx="1112">
                  <c:v>117.70805841328296</c:v>
                </c:pt>
                <c:pt idx="1113">
                  <c:v>117.70805841328296</c:v>
                </c:pt>
                <c:pt idx="1114">
                  <c:v>117.70805841328296</c:v>
                </c:pt>
                <c:pt idx="1115">
                  <c:v>117.70805841328296</c:v>
                </c:pt>
                <c:pt idx="1116">
                  <c:v>117.70805841328296</c:v>
                </c:pt>
                <c:pt idx="1117">
                  <c:v>117.70805841328296</c:v>
                </c:pt>
                <c:pt idx="1118">
                  <c:v>117.70805841328296</c:v>
                </c:pt>
                <c:pt idx="1119">
                  <c:v>117.70805841328296</c:v>
                </c:pt>
                <c:pt idx="1120">
                  <c:v>117.70805841328296</c:v>
                </c:pt>
                <c:pt idx="1121">
                  <c:v>117.70805841328296</c:v>
                </c:pt>
                <c:pt idx="1122">
                  <c:v>117.70805841328296</c:v>
                </c:pt>
                <c:pt idx="1123">
                  <c:v>117.70805841328296</c:v>
                </c:pt>
                <c:pt idx="1124">
                  <c:v>117.67328074930261</c:v>
                </c:pt>
                <c:pt idx="1125">
                  <c:v>117.6415559624372</c:v>
                </c:pt>
                <c:pt idx="1126">
                  <c:v>117.61098178349889</c:v>
                </c:pt>
                <c:pt idx="1127">
                  <c:v>117.57933487034073</c:v>
                </c:pt>
                <c:pt idx="1128">
                  <c:v>117.54772751582402</c:v>
                </c:pt>
                <c:pt idx="1129">
                  <c:v>117.54772751582402</c:v>
                </c:pt>
                <c:pt idx="1130">
                  <c:v>117.54772751582402</c:v>
                </c:pt>
                <c:pt idx="1131">
                  <c:v>117.54772751582402</c:v>
                </c:pt>
                <c:pt idx="1132">
                  <c:v>117.54772751582402</c:v>
                </c:pt>
                <c:pt idx="1133">
                  <c:v>117.54772751582402</c:v>
                </c:pt>
                <c:pt idx="1134">
                  <c:v>117.54772751582402</c:v>
                </c:pt>
                <c:pt idx="1135">
                  <c:v>117.54772751582402</c:v>
                </c:pt>
                <c:pt idx="1136">
                  <c:v>117.54772751582402</c:v>
                </c:pt>
                <c:pt idx="1137">
                  <c:v>117.54772751582402</c:v>
                </c:pt>
                <c:pt idx="1138">
                  <c:v>117.54772751582402</c:v>
                </c:pt>
                <c:pt idx="1139">
                  <c:v>117.54772751582402</c:v>
                </c:pt>
                <c:pt idx="1140">
                  <c:v>117.54772751582402</c:v>
                </c:pt>
                <c:pt idx="1141">
                  <c:v>117.54772751582402</c:v>
                </c:pt>
                <c:pt idx="1142">
                  <c:v>117.54772751582402</c:v>
                </c:pt>
                <c:pt idx="1143">
                  <c:v>117.54772751582402</c:v>
                </c:pt>
                <c:pt idx="1144">
                  <c:v>117.54772751582402</c:v>
                </c:pt>
                <c:pt idx="1145">
                  <c:v>117.54772751582402</c:v>
                </c:pt>
                <c:pt idx="1146">
                  <c:v>117.54772751582402</c:v>
                </c:pt>
                <c:pt idx="1147">
                  <c:v>117.54772751582402</c:v>
                </c:pt>
                <c:pt idx="1148">
                  <c:v>117.54772751582402</c:v>
                </c:pt>
                <c:pt idx="1149">
                  <c:v>117.54772751582402</c:v>
                </c:pt>
                <c:pt idx="1150">
                  <c:v>117.54772751582402</c:v>
                </c:pt>
                <c:pt idx="1151">
                  <c:v>117.54772751582402</c:v>
                </c:pt>
                <c:pt idx="1152">
                  <c:v>117.54772751582402</c:v>
                </c:pt>
                <c:pt idx="1153">
                  <c:v>117.54772751582402</c:v>
                </c:pt>
                <c:pt idx="1154">
                  <c:v>117.54772751582402</c:v>
                </c:pt>
                <c:pt idx="1155">
                  <c:v>117.54772751582402</c:v>
                </c:pt>
                <c:pt idx="1156">
                  <c:v>117.54772751582402</c:v>
                </c:pt>
                <c:pt idx="1157">
                  <c:v>117.54772751582402</c:v>
                </c:pt>
                <c:pt idx="1158">
                  <c:v>117.54772751582402</c:v>
                </c:pt>
                <c:pt idx="1159">
                  <c:v>117.54772751582402</c:v>
                </c:pt>
                <c:pt idx="1160">
                  <c:v>117.54772751582402</c:v>
                </c:pt>
                <c:pt idx="1161">
                  <c:v>117.54772751582402</c:v>
                </c:pt>
                <c:pt idx="1162">
                  <c:v>117.54772751582402</c:v>
                </c:pt>
                <c:pt idx="1163">
                  <c:v>117.54772751582402</c:v>
                </c:pt>
                <c:pt idx="1164">
                  <c:v>117.7591693342309</c:v>
                </c:pt>
                <c:pt idx="1165">
                  <c:v>117.72733718663433</c:v>
                </c:pt>
                <c:pt idx="1166">
                  <c:v>118.39773715913549</c:v>
                </c:pt>
                <c:pt idx="1167">
                  <c:v>123.23777035861696</c:v>
                </c:pt>
                <c:pt idx="1168">
                  <c:v>123.23777035861696</c:v>
                </c:pt>
                <c:pt idx="1169">
                  <c:v>123.16499253590106</c:v>
                </c:pt>
                <c:pt idx="1170">
                  <c:v>123.16499253590109</c:v>
                </c:pt>
                <c:pt idx="1171">
                  <c:v>123.16499253590109</c:v>
                </c:pt>
                <c:pt idx="1172">
                  <c:v>123.16499253590109</c:v>
                </c:pt>
                <c:pt idx="1173">
                  <c:v>123.16499253590109</c:v>
                </c:pt>
                <c:pt idx="1174">
                  <c:v>123.16499253590109</c:v>
                </c:pt>
                <c:pt idx="1175">
                  <c:v>123.16499253590109</c:v>
                </c:pt>
                <c:pt idx="1176">
                  <c:v>123.16499253590109</c:v>
                </c:pt>
                <c:pt idx="1177">
                  <c:v>123.16499253590109</c:v>
                </c:pt>
                <c:pt idx="1178">
                  <c:v>123.16499253590109</c:v>
                </c:pt>
                <c:pt idx="1179">
                  <c:v>123.16499253590109</c:v>
                </c:pt>
                <c:pt idx="1180">
                  <c:v>123.16499253590109</c:v>
                </c:pt>
                <c:pt idx="1181">
                  <c:v>123.16499253590109</c:v>
                </c:pt>
                <c:pt idx="1182">
                  <c:v>123.16499253590109</c:v>
                </c:pt>
                <c:pt idx="1183">
                  <c:v>123.16499253590109</c:v>
                </c:pt>
                <c:pt idx="1184">
                  <c:v>123.16499253590109</c:v>
                </c:pt>
                <c:pt idx="1185">
                  <c:v>123.23246138087225</c:v>
                </c:pt>
                <c:pt idx="1186">
                  <c:v>123.20062442785073</c:v>
                </c:pt>
                <c:pt idx="1187">
                  <c:v>123.16882727102048</c:v>
                </c:pt>
                <c:pt idx="1188">
                  <c:v>123.16882727102048</c:v>
                </c:pt>
                <c:pt idx="1189">
                  <c:v>123.16882727102048</c:v>
                </c:pt>
                <c:pt idx="1190">
                  <c:v>123.16882727102048</c:v>
                </c:pt>
                <c:pt idx="1191">
                  <c:v>123.16882727102048</c:v>
                </c:pt>
                <c:pt idx="1192">
                  <c:v>123.16882727102048</c:v>
                </c:pt>
                <c:pt idx="1193">
                  <c:v>123.16882727102048</c:v>
                </c:pt>
                <c:pt idx="1194">
                  <c:v>123.16882727102048</c:v>
                </c:pt>
                <c:pt idx="1195">
                  <c:v>123.16882727102048</c:v>
                </c:pt>
                <c:pt idx="1196">
                  <c:v>123.16882727102048</c:v>
                </c:pt>
                <c:pt idx="1197">
                  <c:v>123.16882727102048</c:v>
                </c:pt>
                <c:pt idx="1198">
                  <c:v>123.16882727102048</c:v>
                </c:pt>
                <c:pt idx="1199">
                  <c:v>123.16882727102048</c:v>
                </c:pt>
                <c:pt idx="1200">
                  <c:v>123.16882727102048</c:v>
                </c:pt>
                <c:pt idx="1201">
                  <c:v>123.16882727102048</c:v>
                </c:pt>
                <c:pt idx="1202">
                  <c:v>123.16882727102048</c:v>
                </c:pt>
                <c:pt idx="1203">
                  <c:v>123.16882727102048</c:v>
                </c:pt>
                <c:pt idx="1204">
                  <c:v>123.16882727102048</c:v>
                </c:pt>
                <c:pt idx="1205">
                  <c:v>123.16882727102048</c:v>
                </c:pt>
                <c:pt idx="1206">
                  <c:v>123.16882727102048</c:v>
                </c:pt>
                <c:pt idx="1207">
                  <c:v>122.76898741672971</c:v>
                </c:pt>
                <c:pt idx="1208">
                  <c:v>122.73772980616337</c:v>
                </c:pt>
                <c:pt idx="1209">
                  <c:v>122.70651126761022</c:v>
                </c:pt>
                <c:pt idx="1210">
                  <c:v>122.70651126761022</c:v>
                </c:pt>
                <c:pt idx="1211">
                  <c:v>122.70651126761022</c:v>
                </c:pt>
                <c:pt idx="1212">
                  <c:v>122.70651126761022</c:v>
                </c:pt>
                <c:pt idx="1213">
                  <c:v>122.70651126761022</c:v>
                </c:pt>
                <c:pt idx="1214">
                  <c:v>122.70651126761022</c:v>
                </c:pt>
                <c:pt idx="1215">
                  <c:v>122.70651126761022</c:v>
                </c:pt>
                <c:pt idx="1216">
                  <c:v>122.70651126761022</c:v>
                </c:pt>
                <c:pt idx="1217">
                  <c:v>122.70651126761022</c:v>
                </c:pt>
                <c:pt idx="1218">
                  <c:v>122.70651126761022</c:v>
                </c:pt>
                <c:pt idx="1219">
                  <c:v>122.70651126761022</c:v>
                </c:pt>
                <c:pt idx="1220">
                  <c:v>122.70651126761022</c:v>
                </c:pt>
                <c:pt idx="1221">
                  <c:v>122.70651126761022</c:v>
                </c:pt>
                <c:pt idx="1222">
                  <c:v>122.70651126761022</c:v>
                </c:pt>
                <c:pt idx="1223">
                  <c:v>122.70651126761022</c:v>
                </c:pt>
                <c:pt idx="1224">
                  <c:v>122.70651126761022</c:v>
                </c:pt>
                <c:pt idx="1225">
                  <c:v>122.70651126761022</c:v>
                </c:pt>
                <c:pt idx="1226">
                  <c:v>124.02331850955838</c:v>
                </c:pt>
                <c:pt idx="1227">
                  <c:v>121.49670533156375</c:v>
                </c:pt>
                <c:pt idx="1228">
                  <c:v>121.46063474906872</c:v>
                </c:pt>
                <c:pt idx="1229">
                  <c:v>121.38950524427942</c:v>
                </c:pt>
                <c:pt idx="1230">
                  <c:v>120.83949043385732</c:v>
                </c:pt>
                <c:pt idx="1231">
                  <c:v>121.17366410535236</c:v>
                </c:pt>
                <c:pt idx="1232">
                  <c:v>121.13807639592802</c:v>
                </c:pt>
                <c:pt idx="1233">
                  <c:v>121.1028933138677</c:v>
                </c:pt>
                <c:pt idx="1234">
                  <c:v>121.1028933138677</c:v>
                </c:pt>
                <c:pt idx="1235">
                  <c:v>121.1028933138677</c:v>
                </c:pt>
                <c:pt idx="1236">
                  <c:v>121.1028933138677</c:v>
                </c:pt>
                <c:pt idx="1237">
                  <c:v>121.1028933138677</c:v>
                </c:pt>
                <c:pt idx="1238">
                  <c:v>121.1028933138677</c:v>
                </c:pt>
                <c:pt idx="1239">
                  <c:v>121.1028933138677</c:v>
                </c:pt>
                <c:pt idx="1240">
                  <c:v>121.1028933138677</c:v>
                </c:pt>
                <c:pt idx="1241">
                  <c:v>121.1028933138677</c:v>
                </c:pt>
                <c:pt idx="1242">
                  <c:v>121.1028933138677</c:v>
                </c:pt>
                <c:pt idx="1243">
                  <c:v>120.66939625065203</c:v>
                </c:pt>
                <c:pt idx="1244">
                  <c:v>120.22164733457851</c:v>
                </c:pt>
                <c:pt idx="1245">
                  <c:v>119.5625227149086</c:v>
                </c:pt>
                <c:pt idx="1246">
                  <c:v>121.06680810860959</c:v>
                </c:pt>
                <c:pt idx="1247">
                  <c:v>120.09523272326123</c:v>
                </c:pt>
                <c:pt idx="1248">
                  <c:v>119.18131211061144</c:v>
                </c:pt>
                <c:pt idx="1249">
                  <c:v>119.14582412646403</c:v>
                </c:pt>
                <c:pt idx="1250">
                  <c:v>118.70951479177367</c:v>
                </c:pt>
                <c:pt idx="1251">
                  <c:v>118.67457479079367</c:v>
                </c:pt>
                <c:pt idx="1252">
                  <c:v>118.63967846481491</c:v>
                </c:pt>
                <c:pt idx="1253">
                  <c:v>118.63967846481491</c:v>
                </c:pt>
                <c:pt idx="1254">
                  <c:v>118.63967846481491</c:v>
                </c:pt>
                <c:pt idx="1255">
                  <c:v>118.63967846481491</c:v>
                </c:pt>
                <c:pt idx="1256">
                  <c:v>118.63967846481491</c:v>
                </c:pt>
                <c:pt idx="1257">
                  <c:v>118.63967846481491</c:v>
                </c:pt>
                <c:pt idx="1258">
                  <c:v>118.63967846481491</c:v>
                </c:pt>
                <c:pt idx="1259">
                  <c:v>118.63967846481491</c:v>
                </c:pt>
                <c:pt idx="1260">
                  <c:v>118.63967846481491</c:v>
                </c:pt>
                <c:pt idx="1261">
                  <c:v>118.63967846481491</c:v>
                </c:pt>
                <c:pt idx="1262">
                  <c:v>118.63967846481491</c:v>
                </c:pt>
                <c:pt idx="1263">
                  <c:v>118.63967846481491</c:v>
                </c:pt>
                <c:pt idx="1264">
                  <c:v>118.63967846481491</c:v>
                </c:pt>
                <c:pt idx="1265">
                  <c:v>118.63967846481491</c:v>
                </c:pt>
                <c:pt idx="1266">
                  <c:v>118.63967846481491</c:v>
                </c:pt>
                <c:pt idx="1267">
                  <c:v>118.63967846481491</c:v>
                </c:pt>
                <c:pt idx="1268">
                  <c:v>118.63967846481491</c:v>
                </c:pt>
                <c:pt idx="1269">
                  <c:v>118.63967846481491</c:v>
                </c:pt>
                <c:pt idx="1270">
                  <c:v>118.63967846481491</c:v>
                </c:pt>
                <c:pt idx="1271">
                  <c:v>118.63967846481491</c:v>
                </c:pt>
                <c:pt idx="1272">
                  <c:v>118.63967846481491</c:v>
                </c:pt>
                <c:pt idx="1273">
                  <c:v>118.63967846481491</c:v>
                </c:pt>
                <c:pt idx="1274">
                  <c:v>118.80880787564627</c:v>
                </c:pt>
                <c:pt idx="1275">
                  <c:v>119.7270464373898</c:v>
                </c:pt>
                <c:pt idx="1276">
                  <c:v>119.7270464373898</c:v>
                </c:pt>
                <c:pt idx="1277">
                  <c:v>119.69512612961196</c:v>
                </c:pt>
                <c:pt idx="1278">
                  <c:v>119.69512612961196</c:v>
                </c:pt>
                <c:pt idx="1279">
                  <c:v>119.69512612961196</c:v>
                </c:pt>
                <c:pt idx="1280">
                  <c:v>119.69512612961196</c:v>
                </c:pt>
                <c:pt idx="1281">
                  <c:v>119.69512612961196</c:v>
                </c:pt>
                <c:pt idx="1282">
                  <c:v>119.69512612961196</c:v>
                </c:pt>
                <c:pt idx="1283">
                  <c:v>119.69512612961196</c:v>
                </c:pt>
                <c:pt idx="1284">
                  <c:v>119.69512612961196</c:v>
                </c:pt>
                <c:pt idx="1285">
                  <c:v>119.69512612961196</c:v>
                </c:pt>
                <c:pt idx="1286">
                  <c:v>119.69512612961196</c:v>
                </c:pt>
                <c:pt idx="1287">
                  <c:v>119.69512612961196</c:v>
                </c:pt>
                <c:pt idx="1288">
                  <c:v>119.69512612961196</c:v>
                </c:pt>
                <c:pt idx="1289">
                  <c:v>119.69512612961196</c:v>
                </c:pt>
                <c:pt idx="1290">
                  <c:v>119.69512612961196</c:v>
                </c:pt>
                <c:pt idx="1291">
                  <c:v>119.69512612961196</c:v>
                </c:pt>
                <c:pt idx="1292">
                  <c:v>119.69512612961196</c:v>
                </c:pt>
                <c:pt idx="1293">
                  <c:v>119.69512612961196</c:v>
                </c:pt>
                <c:pt idx="1294">
                  <c:v>119.69512612961196</c:v>
                </c:pt>
                <c:pt idx="1295">
                  <c:v>119.72301261912955</c:v>
                </c:pt>
                <c:pt idx="1296">
                  <c:v>119.3476458935813</c:v>
                </c:pt>
                <c:pt idx="1297">
                  <c:v>120.54935939739016</c:v>
                </c:pt>
                <c:pt idx="1298">
                  <c:v>120.4481894714105</c:v>
                </c:pt>
                <c:pt idx="1299">
                  <c:v>120.21488256949286</c:v>
                </c:pt>
                <c:pt idx="1300">
                  <c:v>120.94023895853394</c:v>
                </c:pt>
                <c:pt idx="1301">
                  <c:v>120.90485664417275</c:v>
                </c:pt>
                <c:pt idx="1302">
                  <c:v>120.86998718262956</c:v>
                </c:pt>
                <c:pt idx="1303">
                  <c:v>120.86998718262956</c:v>
                </c:pt>
                <c:pt idx="1304">
                  <c:v>120.86998718262956</c:v>
                </c:pt>
                <c:pt idx="1305">
                  <c:v>120.86998718262956</c:v>
                </c:pt>
                <c:pt idx="1306">
                  <c:v>120.70625661663206</c:v>
                </c:pt>
                <c:pt idx="1307">
                  <c:v>120.6716354051233</c:v>
                </c:pt>
                <c:pt idx="1308">
                  <c:v>120.57392709999641</c:v>
                </c:pt>
                <c:pt idx="1309">
                  <c:v>120.53947130038344</c:v>
                </c:pt>
                <c:pt idx="1310">
                  <c:v>120.50505857051998</c:v>
                </c:pt>
                <c:pt idx="1311">
                  <c:v>120.56327155173898</c:v>
                </c:pt>
                <c:pt idx="1312">
                  <c:v>120.46208423556637</c:v>
                </c:pt>
                <c:pt idx="1313">
                  <c:v>120.36102340353898</c:v>
                </c:pt>
                <c:pt idx="1314">
                  <c:v>120.36102340353898</c:v>
                </c:pt>
                <c:pt idx="1315">
                  <c:v>120.36102340353898</c:v>
                </c:pt>
                <c:pt idx="1316">
                  <c:v>120.36102340353898</c:v>
                </c:pt>
                <c:pt idx="1317">
                  <c:v>120.36102340353898</c:v>
                </c:pt>
                <c:pt idx="1318">
                  <c:v>120.36102340353898</c:v>
                </c:pt>
                <c:pt idx="1319">
                  <c:v>120.36102340353898</c:v>
                </c:pt>
                <c:pt idx="1320">
                  <c:v>119.74092598344617</c:v>
                </c:pt>
                <c:pt idx="1321">
                  <c:v>119.67604176291819</c:v>
                </c:pt>
                <c:pt idx="1322">
                  <c:v>119.6112386476659</c:v>
                </c:pt>
                <c:pt idx="1323">
                  <c:v>119.6112386476659</c:v>
                </c:pt>
                <c:pt idx="1324">
                  <c:v>119.6112386476659</c:v>
                </c:pt>
                <c:pt idx="1325">
                  <c:v>120.10871152310504</c:v>
                </c:pt>
                <c:pt idx="1326">
                  <c:v>120.73933187819532</c:v>
                </c:pt>
                <c:pt idx="1327">
                  <c:v>120.67319965029893</c:v>
                </c:pt>
                <c:pt idx="1328">
                  <c:v>120.63859648575794</c:v>
                </c:pt>
                <c:pt idx="1329">
                  <c:v>121.3655255724418</c:v>
                </c:pt>
                <c:pt idx="1330">
                  <c:v>121.2986106024276</c:v>
                </c:pt>
                <c:pt idx="1331">
                  <c:v>121.23177927612592</c:v>
                </c:pt>
                <c:pt idx="1332">
                  <c:v>121.23177927612592</c:v>
                </c:pt>
                <c:pt idx="1333">
                  <c:v>121.23177927612592</c:v>
                </c:pt>
                <c:pt idx="1334">
                  <c:v>121.23177927612592</c:v>
                </c:pt>
                <c:pt idx="1335">
                  <c:v>121.23177927612592</c:v>
                </c:pt>
                <c:pt idx="1336">
                  <c:v>121.23177927612592</c:v>
                </c:pt>
                <c:pt idx="1337">
                  <c:v>121.23177927612592</c:v>
                </c:pt>
                <c:pt idx="1338">
                  <c:v>121.23177927612592</c:v>
                </c:pt>
                <c:pt idx="1339">
                  <c:v>121.23177927612592</c:v>
                </c:pt>
                <c:pt idx="1340">
                  <c:v>121.23177927612592</c:v>
                </c:pt>
                <c:pt idx="1341">
                  <c:v>121.23177927612592</c:v>
                </c:pt>
                <c:pt idx="1342">
                  <c:v>121.23177927612592</c:v>
                </c:pt>
                <c:pt idx="1343">
                  <c:v>121.23177927612592</c:v>
                </c:pt>
                <c:pt idx="1344">
                  <c:v>121.23177927612592</c:v>
                </c:pt>
                <c:pt idx="1345">
                  <c:v>121.23177927612592</c:v>
                </c:pt>
                <c:pt idx="1346">
                  <c:v>121.23177927612592</c:v>
                </c:pt>
                <c:pt idx="1347">
                  <c:v>121.23177927612592</c:v>
                </c:pt>
                <c:pt idx="1348">
                  <c:v>121.23177927612592</c:v>
                </c:pt>
                <c:pt idx="1349">
                  <c:v>121.23177927612592</c:v>
                </c:pt>
                <c:pt idx="1350">
                  <c:v>121.23177927612592</c:v>
                </c:pt>
                <c:pt idx="1351">
                  <c:v>121.23177927612592</c:v>
                </c:pt>
                <c:pt idx="1352">
                  <c:v>121.23177927612592</c:v>
                </c:pt>
                <c:pt idx="1353">
                  <c:v>121.23177927612592</c:v>
                </c:pt>
                <c:pt idx="1354">
                  <c:v>121.23177927612592</c:v>
                </c:pt>
                <c:pt idx="1355">
                  <c:v>121.23177927612592</c:v>
                </c:pt>
                <c:pt idx="1356">
                  <c:v>121.23177927612592</c:v>
                </c:pt>
                <c:pt idx="1357">
                  <c:v>121.23177927612592</c:v>
                </c:pt>
                <c:pt idx="1358">
                  <c:v>121.23177927612592</c:v>
                </c:pt>
                <c:pt idx="1359">
                  <c:v>121.23177927612592</c:v>
                </c:pt>
                <c:pt idx="1360">
                  <c:v>121.23177927612592</c:v>
                </c:pt>
                <c:pt idx="1361">
                  <c:v>121.23177927612592</c:v>
                </c:pt>
                <c:pt idx="1362">
                  <c:v>121.23177927612592</c:v>
                </c:pt>
                <c:pt idx="1363">
                  <c:v>121.23177927612592</c:v>
                </c:pt>
                <c:pt idx="1364">
                  <c:v>121.23177927612592</c:v>
                </c:pt>
                <c:pt idx="1365">
                  <c:v>121.23177927612592</c:v>
                </c:pt>
                <c:pt idx="1366">
                  <c:v>121.23177927612592</c:v>
                </c:pt>
                <c:pt idx="1367">
                  <c:v>121.23177927612592</c:v>
                </c:pt>
                <c:pt idx="1368">
                  <c:v>121.11119476294203</c:v>
                </c:pt>
                <c:pt idx="1369">
                  <c:v>122.03275443392201</c:v>
                </c:pt>
                <c:pt idx="1370">
                  <c:v>122.03275443392201</c:v>
                </c:pt>
                <c:pt idx="1371">
                  <c:v>121.99995356540194</c:v>
                </c:pt>
                <c:pt idx="1372">
                  <c:v>121.99995356540194</c:v>
                </c:pt>
                <c:pt idx="1373">
                  <c:v>121.99995356540194</c:v>
                </c:pt>
                <c:pt idx="1374">
                  <c:v>121.99995356540194</c:v>
                </c:pt>
                <c:pt idx="1375">
                  <c:v>121.99995356540194</c:v>
                </c:pt>
                <c:pt idx="1376">
                  <c:v>121.99995356540194</c:v>
                </c:pt>
                <c:pt idx="1377">
                  <c:v>121.99995356540194</c:v>
                </c:pt>
                <c:pt idx="1378">
                  <c:v>121.99995356540194</c:v>
                </c:pt>
                <c:pt idx="1379">
                  <c:v>121.99995356540194</c:v>
                </c:pt>
                <c:pt idx="1380">
                  <c:v>121.99995356540194</c:v>
                </c:pt>
                <c:pt idx="1381">
                  <c:v>121.99995356540194</c:v>
                </c:pt>
                <c:pt idx="1382">
                  <c:v>121.99995356540194</c:v>
                </c:pt>
                <c:pt idx="1383">
                  <c:v>121.99995356540194</c:v>
                </c:pt>
                <c:pt idx="1384">
                  <c:v>121.99995356540194</c:v>
                </c:pt>
                <c:pt idx="1385">
                  <c:v>121.99995356540194</c:v>
                </c:pt>
                <c:pt idx="1386">
                  <c:v>121.99995356540194</c:v>
                </c:pt>
                <c:pt idx="1387">
                  <c:v>121.99995356540194</c:v>
                </c:pt>
                <c:pt idx="1388">
                  <c:v>121.99995356540194</c:v>
                </c:pt>
                <c:pt idx="1389">
                  <c:v>121.99995356540194</c:v>
                </c:pt>
                <c:pt idx="1390">
                  <c:v>122.07256734896191</c:v>
                </c:pt>
                <c:pt idx="1391">
                  <c:v>122.30186989637872</c:v>
                </c:pt>
                <c:pt idx="1392">
                  <c:v>122.30186989637872</c:v>
                </c:pt>
                <c:pt idx="1393">
                  <c:v>122.53993877946978</c:v>
                </c:pt>
                <c:pt idx="1394">
                  <c:v>122.50432460810308</c:v>
                </c:pt>
                <c:pt idx="1395">
                  <c:v>122.89345228178026</c:v>
                </c:pt>
                <c:pt idx="1396">
                  <c:v>122.85739621853567</c:v>
                </c:pt>
                <c:pt idx="1397">
                  <c:v>122.82138522537014</c:v>
                </c:pt>
                <c:pt idx="1398">
                  <c:v>125.62656611348449</c:v>
                </c:pt>
                <c:pt idx="1399">
                  <c:v>125.58709365795028</c:v>
                </c:pt>
                <c:pt idx="1400">
                  <c:v>126.07485566455065</c:v>
                </c:pt>
                <c:pt idx="1401">
                  <c:v>125.91363891626105</c:v>
                </c:pt>
                <c:pt idx="1402">
                  <c:v>125.85016200862796</c:v>
                </c:pt>
                <c:pt idx="1403">
                  <c:v>125.77731421695523</c:v>
                </c:pt>
                <c:pt idx="1404">
                  <c:v>125.74367401868719</c:v>
                </c:pt>
                <c:pt idx="1405">
                  <c:v>125.74367401868719</c:v>
                </c:pt>
                <c:pt idx="1406">
                  <c:v>125.74367401868719</c:v>
                </c:pt>
                <c:pt idx="1407">
                  <c:v>125.74367401868719</c:v>
                </c:pt>
                <c:pt idx="1408">
                  <c:v>125.74367401868719</c:v>
                </c:pt>
                <c:pt idx="1409">
                  <c:v>125.74367401868719</c:v>
                </c:pt>
                <c:pt idx="1410">
                  <c:v>125.74367401868719</c:v>
                </c:pt>
                <c:pt idx="1411">
                  <c:v>125.74367401868719</c:v>
                </c:pt>
                <c:pt idx="1412">
                  <c:v>125.74367401868719</c:v>
                </c:pt>
                <c:pt idx="1413">
                  <c:v>125.74367401868719</c:v>
                </c:pt>
                <c:pt idx="1414">
                  <c:v>125.74367401868719</c:v>
                </c:pt>
                <c:pt idx="1415">
                  <c:v>125.74367401868719</c:v>
                </c:pt>
                <c:pt idx="1416">
                  <c:v>125.74367401868719</c:v>
                </c:pt>
                <c:pt idx="1417">
                  <c:v>125.74367401868719</c:v>
                </c:pt>
                <c:pt idx="1418">
                  <c:v>125.74367401868719</c:v>
                </c:pt>
                <c:pt idx="1419">
                  <c:v>125.74367401868719</c:v>
                </c:pt>
                <c:pt idx="1420">
                  <c:v>125.74367401868719</c:v>
                </c:pt>
                <c:pt idx="1421">
                  <c:v>125.74367401868719</c:v>
                </c:pt>
                <c:pt idx="1422">
                  <c:v>125.74367401868719</c:v>
                </c:pt>
                <c:pt idx="1423">
                  <c:v>125.74367401868719</c:v>
                </c:pt>
                <c:pt idx="1424">
                  <c:v>125.74367401868719</c:v>
                </c:pt>
                <c:pt idx="1425">
                  <c:v>125.11481166234327</c:v>
                </c:pt>
                <c:pt idx="1426">
                  <c:v>125.08199959226847</c:v>
                </c:pt>
                <c:pt idx="1427">
                  <c:v>125.04922853728128</c:v>
                </c:pt>
                <c:pt idx="1428">
                  <c:v>125.04922853728128</c:v>
                </c:pt>
                <c:pt idx="1429">
                  <c:v>125.04922853728128</c:v>
                </c:pt>
                <c:pt idx="1430">
                  <c:v>125.04922853728128</c:v>
                </c:pt>
                <c:pt idx="1431">
                  <c:v>125.04922853728128</c:v>
                </c:pt>
                <c:pt idx="1432">
                  <c:v>125.04922853728128</c:v>
                </c:pt>
                <c:pt idx="1433">
                  <c:v>125.04922853728128</c:v>
                </c:pt>
                <c:pt idx="1434">
                  <c:v>125.04922853728128</c:v>
                </c:pt>
                <c:pt idx="1435">
                  <c:v>125.04922853728128</c:v>
                </c:pt>
                <c:pt idx="1436">
                  <c:v>125.04922853728128</c:v>
                </c:pt>
                <c:pt idx="1437">
                  <c:v>125.04922853728128</c:v>
                </c:pt>
                <c:pt idx="1438">
                  <c:v>125.04922853728128</c:v>
                </c:pt>
                <c:pt idx="1439">
                  <c:v>125.04922853728128</c:v>
                </c:pt>
                <c:pt idx="1440">
                  <c:v>125.04922853728128</c:v>
                </c:pt>
                <c:pt idx="1441">
                  <c:v>125.04922853728128</c:v>
                </c:pt>
                <c:pt idx="1442">
                  <c:v>125.04922853728128</c:v>
                </c:pt>
                <c:pt idx="1443">
                  <c:v>124.47313453421593</c:v>
                </c:pt>
                <c:pt idx="1444">
                  <c:v>124.24614612039171</c:v>
                </c:pt>
                <c:pt idx="1445">
                  <c:v>123.63855217667886</c:v>
                </c:pt>
                <c:pt idx="1446">
                  <c:v>124.3499710903144</c:v>
                </c:pt>
                <c:pt idx="1447">
                  <c:v>123.45753433212937</c:v>
                </c:pt>
                <c:pt idx="1448">
                  <c:v>123.84420188434578</c:v>
                </c:pt>
                <c:pt idx="1449">
                  <c:v>123.67682144077152</c:v>
                </c:pt>
                <c:pt idx="1450">
                  <c:v>123.03797152615132</c:v>
                </c:pt>
                <c:pt idx="1451">
                  <c:v>122.61828526309067</c:v>
                </c:pt>
                <c:pt idx="1452">
                  <c:v>121.9140898611457</c:v>
                </c:pt>
                <c:pt idx="1453">
                  <c:v>121.9140898611457</c:v>
                </c:pt>
                <c:pt idx="1454">
                  <c:v>121.6948911061742</c:v>
                </c:pt>
                <c:pt idx="1455">
                  <c:v>120.52939201218216</c:v>
                </c:pt>
                <c:pt idx="1456">
                  <c:v>120.43414765424872</c:v>
                </c:pt>
                <c:pt idx="1457">
                  <c:v>119.69108440595282</c:v>
                </c:pt>
                <c:pt idx="1458">
                  <c:v>120.71091355237562</c:v>
                </c:pt>
                <c:pt idx="1459">
                  <c:v>121.08001304923832</c:v>
                </c:pt>
                <c:pt idx="1460">
                  <c:v>119.1293866456345</c:v>
                </c:pt>
                <c:pt idx="1461">
                  <c:v>118.37379731527206</c:v>
                </c:pt>
                <c:pt idx="1462">
                  <c:v>118.37379731527206</c:v>
                </c:pt>
                <c:pt idx="1463">
                  <c:v>118.32866712116954</c:v>
                </c:pt>
                <c:pt idx="1464">
                  <c:v>118.32866712116954</c:v>
                </c:pt>
                <c:pt idx="1465">
                  <c:v>118.32866712116954</c:v>
                </c:pt>
                <c:pt idx="1466">
                  <c:v>119.82767334313955</c:v>
                </c:pt>
                <c:pt idx="1467">
                  <c:v>120.73303192623089</c:v>
                </c:pt>
                <c:pt idx="1468">
                  <c:v>123.54554774627421</c:v>
                </c:pt>
                <c:pt idx="1469">
                  <c:v>122.4324089664109</c:v>
                </c:pt>
                <c:pt idx="1470">
                  <c:v>120.98408427000658</c:v>
                </c:pt>
                <c:pt idx="1471">
                  <c:v>123.99008093234445</c:v>
                </c:pt>
                <c:pt idx="1472">
                  <c:v>124.45818136931003</c:v>
                </c:pt>
                <c:pt idx="1473">
                  <c:v>124.41773026161788</c:v>
                </c:pt>
                <c:pt idx="1474">
                  <c:v>125.02621513267557</c:v>
                </c:pt>
                <c:pt idx="1475">
                  <c:v>125.40323844468814</c:v>
                </c:pt>
                <c:pt idx="1476">
                  <c:v>125.37017002018675</c:v>
                </c:pt>
                <c:pt idx="1477">
                  <c:v>125.88877741686946</c:v>
                </c:pt>
                <c:pt idx="1478">
                  <c:v>125.10800489387091</c:v>
                </c:pt>
                <c:pt idx="1479">
                  <c:v>125.1631859758802</c:v>
                </c:pt>
                <c:pt idx="1480">
                  <c:v>124.13867601518035</c:v>
                </c:pt>
                <c:pt idx="1481">
                  <c:v>124.13867601518035</c:v>
                </c:pt>
                <c:pt idx="1482">
                  <c:v>123.73660533808228</c:v>
                </c:pt>
                <c:pt idx="1483">
                  <c:v>123.69232515546446</c:v>
                </c:pt>
                <c:pt idx="1484">
                  <c:v>122.50932408964599</c:v>
                </c:pt>
                <c:pt idx="1485">
                  <c:v>123.49988335411794</c:v>
                </c:pt>
                <c:pt idx="1486">
                  <c:v>123.42186015876527</c:v>
                </c:pt>
                <c:pt idx="1487">
                  <c:v>123.37646844967912</c:v>
                </c:pt>
                <c:pt idx="1488">
                  <c:v>123.37646844967912</c:v>
                </c:pt>
                <c:pt idx="1489">
                  <c:v>123.37646844967912</c:v>
                </c:pt>
                <c:pt idx="1490">
                  <c:v>123.37646844967912</c:v>
                </c:pt>
                <c:pt idx="1491">
                  <c:v>123.37646844967912</c:v>
                </c:pt>
                <c:pt idx="1492">
                  <c:v>123.37646844967912</c:v>
                </c:pt>
                <c:pt idx="1493">
                  <c:v>123.37646844967912</c:v>
                </c:pt>
                <c:pt idx="1494">
                  <c:v>123.37646844967912</c:v>
                </c:pt>
                <c:pt idx="1495">
                  <c:v>123.37646844967912</c:v>
                </c:pt>
                <c:pt idx="1496">
                  <c:v>123.37646844967912</c:v>
                </c:pt>
                <c:pt idx="1497">
                  <c:v>123.37646844967912</c:v>
                </c:pt>
                <c:pt idx="1498">
                  <c:v>123.37646844967912</c:v>
                </c:pt>
                <c:pt idx="1499">
                  <c:v>123.37646844967912</c:v>
                </c:pt>
                <c:pt idx="1500">
                  <c:v>123.37646844967912</c:v>
                </c:pt>
                <c:pt idx="1501">
                  <c:v>123.37646844967912</c:v>
                </c:pt>
                <c:pt idx="1502">
                  <c:v>123.37646844967912</c:v>
                </c:pt>
                <c:pt idx="1503">
                  <c:v>123.37646844967912</c:v>
                </c:pt>
                <c:pt idx="1504">
                  <c:v>123.37646844967912</c:v>
                </c:pt>
                <c:pt idx="1505">
                  <c:v>123.37646844967912</c:v>
                </c:pt>
                <c:pt idx="1506">
                  <c:v>122.77493829646461</c:v>
                </c:pt>
                <c:pt idx="1507">
                  <c:v>121.09203370631965</c:v>
                </c:pt>
                <c:pt idx="1508">
                  <c:v>122.17542177965861</c:v>
                </c:pt>
                <c:pt idx="1509">
                  <c:v>129.39805956442461</c:v>
                </c:pt>
                <c:pt idx="1510">
                  <c:v>127.20198297790105</c:v>
                </c:pt>
                <c:pt idx="1511">
                  <c:v>126.85437293473099</c:v>
                </c:pt>
                <c:pt idx="1512">
                  <c:v>128.28356074977327</c:v>
                </c:pt>
                <c:pt idx="1513">
                  <c:v>128.15340697572256</c:v>
                </c:pt>
                <c:pt idx="1514">
                  <c:v>127.81818573994414</c:v>
                </c:pt>
                <c:pt idx="1515">
                  <c:v>127.30144520477492</c:v>
                </c:pt>
                <c:pt idx="1516">
                  <c:v>127.30144520477492</c:v>
                </c:pt>
                <c:pt idx="1517">
                  <c:v>125.92887422398158</c:v>
                </c:pt>
                <c:pt idx="1518">
                  <c:v>125.64325331430871</c:v>
                </c:pt>
                <c:pt idx="1519">
                  <c:v>125.53153421711559</c:v>
                </c:pt>
                <c:pt idx="1520">
                  <c:v>125.50268349593061</c:v>
                </c:pt>
                <c:pt idx="1521">
                  <c:v>125.5026834959306</c:v>
                </c:pt>
                <c:pt idx="1522">
                  <c:v>125.5026834959306</c:v>
                </c:pt>
                <c:pt idx="1523">
                  <c:v>125.5026834959306</c:v>
                </c:pt>
                <c:pt idx="1524">
                  <c:v>125.5026834959306</c:v>
                </c:pt>
                <c:pt idx="1525">
                  <c:v>125.5026834959306</c:v>
                </c:pt>
                <c:pt idx="1526">
                  <c:v>125.48357985649503</c:v>
                </c:pt>
                <c:pt idx="1527">
                  <c:v>125.00870753575126</c:v>
                </c:pt>
                <c:pt idx="1528">
                  <c:v>123.9259449513693</c:v>
                </c:pt>
                <c:pt idx="1529">
                  <c:v>123.9259449513693</c:v>
                </c:pt>
                <c:pt idx="1530">
                  <c:v>121.89842005769773</c:v>
                </c:pt>
                <c:pt idx="1531">
                  <c:v>121.3380183231676</c:v>
                </c:pt>
                <c:pt idx="1532">
                  <c:v>121.29432553173109</c:v>
                </c:pt>
                <c:pt idx="1533">
                  <c:v>121.26049542749692</c:v>
                </c:pt>
                <c:pt idx="1534">
                  <c:v>121.26049542749692</c:v>
                </c:pt>
                <c:pt idx="1535">
                  <c:v>121.26049542749692</c:v>
                </c:pt>
                <c:pt idx="1536">
                  <c:v>126.33449782927977</c:v>
                </c:pt>
                <c:pt idx="1537">
                  <c:v>126.28282035682776</c:v>
                </c:pt>
                <c:pt idx="1538">
                  <c:v>126.2312074812163</c:v>
                </c:pt>
                <c:pt idx="1539">
                  <c:v>126.2312074812163</c:v>
                </c:pt>
                <c:pt idx="1540">
                  <c:v>126.2312074812163</c:v>
                </c:pt>
                <c:pt idx="1541">
                  <c:v>126.2312074812163</c:v>
                </c:pt>
                <c:pt idx="1542">
                  <c:v>126.2312074812163</c:v>
                </c:pt>
                <c:pt idx="1543">
                  <c:v>126.2312074812163</c:v>
                </c:pt>
                <c:pt idx="1544">
                  <c:v>126.2312074812163</c:v>
                </c:pt>
                <c:pt idx="1545">
                  <c:v>126.49340002337726</c:v>
                </c:pt>
                <c:pt idx="1546">
                  <c:v>127.65317583552252</c:v>
                </c:pt>
                <c:pt idx="1547">
                  <c:v>127.65317583552252</c:v>
                </c:pt>
                <c:pt idx="1548">
                  <c:v>127.59985001556271</c:v>
                </c:pt>
                <c:pt idx="1549">
                  <c:v>127.59985001556271</c:v>
                </c:pt>
                <c:pt idx="1550">
                  <c:v>127.59985001556271</c:v>
                </c:pt>
                <c:pt idx="1551">
                  <c:v>127.59985001556271</c:v>
                </c:pt>
                <c:pt idx="1552">
                  <c:v>127.59985001556271</c:v>
                </c:pt>
                <c:pt idx="1553">
                  <c:v>127.59985001556271</c:v>
                </c:pt>
                <c:pt idx="1554">
                  <c:v>127.59985001556271</c:v>
                </c:pt>
                <c:pt idx="1555">
                  <c:v>126.97103267348461</c:v>
                </c:pt>
                <c:pt idx="1556">
                  <c:v>126.93803087855835</c:v>
                </c:pt>
                <c:pt idx="1557">
                  <c:v>126.90507033587576</c:v>
                </c:pt>
                <c:pt idx="1558">
                  <c:v>126.90507033587576</c:v>
                </c:pt>
                <c:pt idx="1559">
                  <c:v>125.26044467353944</c:v>
                </c:pt>
                <c:pt idx="1560">
                  <c:v>125.22958111361311</c:v>
                </c:pt>
                <c:pt idx="1561">
                  <c:v>124.46175452582901</c:v>
                </c:pt>
                <c:pt idx="1562">
                  <c:v>124.38825115314009</c:v>
                </c:pt>
                <c:pt idx="1563">
                  <c:v>124.31483965966706</c:v>
                </c:pt>
                <c:pt idx="1564">
                  <c:v>124.31483965966706</c:v>
                </c:pt>
                <c:pt idx="1565">
                  <c:v>124.31483965966706</c:v>
                </c:pt>
                <c:pt idx="1566">
                  <c:v>124.31483965966706</c:v>
                </c:pt>
                <c:pt idx="1567">
                  <c:v>124.31483965966706</c:v>
                </c:pt>
                <c:pt idx="1568">
                  <c:v>124.31483965966706</c:v>
                </c:pt>
                <c:pt idx="1569">
                  <c:v>124.31483965966706</c:v>
                </c:pt>
                <c:pt idx="1570">
                  <c:v>124.31483965966706</c:v>
                </c:pt>
                <c:pt idx="1571">
                  <c:v>124.31483965966706</c:v>
                </c:pt>
                <c:pt idx="1572">
                  <c:v>124.31483965966706</c:v>
                </c:pt>
                <c:pt idx="1573">
                  <c:v>124.31483965966706</c:v>
                </c:pt>
                <c:pt idx="1574">
                  <c:v>124.31483965966706</c:v>
                </c:pt>
                <c:pt idx="1575">
                  <c:v>124.31483965966706</c:v>
                </c:pt>
                <c:pt idx="1576">
                  <c:v>124.31483965966706</c:v>
                </c:pt>
                <c:pt idx="1577">
                  <c:v>124.31483965966706</c:v>
                </c:pt>
                <c:pt idx="1578">
                  <c:v>124.31483965966706</c:v>
                </c:pt>
                <c:pt idx="1579">
                  <c:v>124.31483965966706</c:v>
                </c:pt>
                <c:pt idx="1580">
                  <c:v>124.31483965966706</c:v>
                </c:pt>
                <c:pt idx="1581">
                  <c:v>125.56925062322276</c:v>
                </c:pt>
                <c:pt idx="1582">
                  <c:v>130.98656594718747</c:v>
                </c:pt>
                <c:pt idx="1583">
                  <c:v>130.98656594718747</c:v>
                </c:pt>
                <c:pt idx="1584">
                  <c:v>130.90490656022189</c:v>
                </c:pt>
                <c:pt idx="1585">
                  <c:v>130.90490656022189</c:v>
                </c:pt>
                <c:pt idx="1586">
                  <c:v>130.8809283427355</c:v>
                </c:pt>
                <c:pt idx="1587">
                  <c:v>131.00700323486257</c:v>
                </c:pt>
                <c:pt idx="1588">
                  <c:v>131.00700323486257</c:v>
                </c:pt>
                <c:pt idx="1589">
                  <c:v>130.97806095623574</c:v>
                </c:pt>
                <c:pt idx="1590">
                  <c:v>130.97806095623574</c:v>
                </c:pt>
                <c:pt idx="1591">
                  <c:v>130.97806095623574</c:v>
                </c:pt>
                <c:pt idx="1592">
                  <c:v>130.97806095623574</c:v>
                </c:pt>
                <c:pt idx="1593">
                  <c:v>130.97806095623574</c:v>
                </c:pt>
                <c:pt idx="1594">
                  <c:v>130.97806095623574</c:v>
                </c:pt>
                <c:pt idx="1595">
                  <c:v>130.97806095623574</c:v>
                </c:pt>
                <c:pt idx="1596">
                  <c:v>130.97806095623574</c:v>
                </c:pt>
                <c:pt idx="1597">
                  <c:v>130.97806095623574</c:v>
                </c:pt>
                <c:pt idx="1598">
                  <c:v>130.97806095623574</c:v>
                </c:pt>
                <c:pt idx="1599">
                  <c:v>130.97806095623574</c:v>
                </c:pt>
                <c:pt idx="1600">
                  <c:v>130.97806095623574</c:v>
                </c:pt>
                <c:pt idx="1601">
                  <c:v>130.97806095623574</c:v>
                </c:pt>
                <c:pt idx="1602">
                  <c:v>130.97806095623574</c:v>
                </c:pt>
                <c:pt idx="1603">
                  <c:v>130.97806095623574</c:v>
                </c:pt>
                <c:pt idx="1604">
                  <c:v>130.97806095623574</c:v>
                </c:pt>
                <c:pt idx="1605">
                  <c:v>130.97806095623574</c:v>
                </c:pt>
                <c:pt idx="1606">
                  <c:v>130.97806095623574</c:v>
                </c:pt>
                <c:pt idx="1607">
                  <c:v>130.82140596689416</c:v>
                </c:pt>
                <c:pt idx="1608">
                  <c:v>132.06667397329315</c:v>
                </c:pt>
                <c:pt idx="1609">
                  <c:v>131.95484979351141</c:v>
                </c:pt>
                <c:pt idx="1610">
                  <c:v>131.87180394515096</c:v>
                </c:pt>
                <c:pt idx="1611">
                  <c:v>131.87180394515096</c:v>
                </c:pt>
                <c:pt idx="1612">
                  <c:v>131.87180394515096</c:v>
                </c:pt>
                <c:pt idx="1613">
                  <c:v>131.87180394515096</c:v>
                </c:pt>
                <c:pt idx="1614">
                  <c:v>131.87180394515096</c:v>
                </c:pt>
                <c:pt idx="1615">
                  <c:v>131.87180394515096</c:v>
                </c:pt>
                <c:pt idx="1616">
                  <c:v>131.87180394515096</c:v>
                </c:pt>
                <c:pt idx="1617">
                  <c:v>131.87180394515096</c:v>
                </c:pt>
                <c:pt idx="1618">
                  <c:v>131.87180394515096</c:v>
                </c:pt>
                <c:pt idx="1619">
                  <c:v>131.87180394515096</c:v>
                </c:pt>
                <c:pt idx="1620">
                  <c:v>131.87180394515096</c:v>
                </c:pt>
                <c:pt idx="1621">
                  <c:v>131.87180394515096</c:v>
                </c:pt>
                <c:pt idx="1622">
                  <c:v>131.87180394515096</c:v>
                </c:pt>
                <c:pt idx="1623">
                  <c:v>131.87180394515096</c:v>
                </c:pt>
                <c:pt idx="1624">
                  <c:v>131.87180394515096</c:v>
                </c:pt>
                <c:pt idx="1625">
                  <c:v>131.87180394515096</c:v>
                </c:pt>
                <c:pt idx="1626">
                  <c:v>132.54718708080094</c:v>
                </c:pt>
                <c:pt idx="1627">
                  <c:v>132.51770430068481</c:v>
                </c:pt>
                <c:pt idx="1628">
                  <c:v>132.48825837404385</c:v>
                </c:pt>
                <c:pt idx="1629">
                  <c:v>132.45789494441169</c:v>
                </c:pt>
                <c:pt idx="1630">
                  <c:v>132.42852377946605</c:v>
                </c:pt>
                <c:pt idx="1631">
                  <c:v>132.39918932847661</c:v>
                </c:pt>
                <c:pt idx="1632">
                  <c:v>132.39918932847661</c:v>
                </c:pt>
                <c:pt idx="1633">
                  <c:v>132.39918932847661</c:v>
                </c:pt>
                <c:pt idx="1634">
                  <c:v>132.39918932847661</c:v>
                </c:pt>
                <c:pt idx="1635">
                  <c:v>132.49805360619598</c:v>
                </c:pt>
                <c:pt idx="1636">
                  <c:v>132.78393998415038</c:v>
                </c:pt>
                <c:pt idx="1637">
                  <c:v>132.78393998415038</c:v>
                </c:pt>
                <c:pt idx="1638">
                  <c:v>132.16326667957605</c:v>
                </c:pt>
                <c:pt idx="1639">
                  <c:v>132.08061954183717</c:v>
                </c:pt>
                <c:pt idx="1640">
                  <c:v>131.99807571302046</c:v>
                </c:pt>
                <c:pt idx="1641">
                  <c:v>131.99807571302046</c:v>
                </c:pt>
                <c:pt idx="1642">
                  <c:v>131.99807571302046</c:v>
                </c:pt>
                <c:pt idx="1643">
                  <c:v>131.99807571302046</c:v>
                </c:pt>
                <c:pt idx="1644">
                  <c:v>131.99807571302046</c:v>
                </c:pt>
                <c:pt idx="1645">
                  <c:v>131.99807571302046</c:v>
                </c:pt>
                <c:pt idx="1646">
                  <c:v>131.99807571302046</c:v>
                </c:pt>
                <c:pt idx="1647">
                  <c:v>132.06333284455178</c:v>
                </c:pt>
                <c:pt idx="1648">
                  <c:v>131.26811441248557</c:v>
                </c:pt>
                <c:pt idx="1649">
                  <c:v>131.26811441248557</c:v>
                </c:pt>
                <c:pt idx="1650">
                  <c:v>131.23492482414849</c:v>
                </c:pt>
                <c:pt idx="1651">
                  <c:v>131.70973087498245</c:v>
                </c:pt>
                <c:pt idx="1652">
                  <c:v>131.43275071857954</c:v>
                </c:pt>
                <c:pt idx="1653">
                  <c:v>131.38412089913498</c:v>
                </c:pt>
                <c:pt idx="1654">
                  <c:v>131.35101672579191</c:v>
                </c:pt>
                <c:pt idx="1655">
                  <c:v>131.35101672579191</c:v>
                </c:pt>
                <c:pt idx="1656">
                  <c:v>131.35101672579191</c:v>
                </c:pt>
                <c:pt idx="1657">
                  <c:v>131.35101672579191</c:v>
                </c:pt>
                <c:pt idx="1658">
                  <c:v>131.35101672579191</c:v>
                </c:pt>
                <c:pt idx="1659">
                  <c:v>131.4816444271022</c:v>
                </c:pt>
                <c:pt idx="1660">
                  <c:v>131.4484183493492</c:v>
                </c:pt>
                <c:pt idx="1661">
                  <c:v>131.41523380419335</c:v>
                </c:pt>
                <c:pt idx="1662">
                  <c:v>131.41523380419335</c:v>
                </c:pt>
                <c:pt idx="1663">
                  <c:v>131.41523380419335</c:v>
                </c:pt>
                <c:pt idx="1664">
                  <c:v>131.41523380419335</c:v>
                </c:pt>
                <c:pt idx="1665">
                  <c:v>131.41523380419335</c:v>
                </c:pt>
                <c:pt idx="1666">
                  <c:v>131.41523380419335</c:v>
                </c:pt>
                <c:pt idx="1667">
                  <c:v>131.41523380419335</c:v>
                </c:pt>
                <c:pt idx="1668">
                  <c:v>131.41523380419335</c:v>
                </c:pt>
                <c:pt idx="1669">
                  <c:v>131.41523380419335</c:v>
                </c:pt>
                <c:pt idx="1670">
                  <c:v>131.41523380419335</c:v>
                </c:pt>
                <c:pt idx="1671">
                  <c:v>131.41523380419335</c:v>
                </c:pt>
                <c:pt idx="1672">
                  <c:v>131.41523380419335</c:v>
                </c:pt>
                <c:pt idx="1673">
                  <c:v>131.41523380419335</c:v>
                </c:pt>
                <c:pt idx="1674">
                  <c:v>131.41523380419335</c:v>
                </c:pt>
                <c:pt idx="1675">
                  <c:v>131.41523380419335</c:v>
                </c:pt>
                <c:pt idx="1676">
                  <c:v>131.41523380419335</c:v>
                </c:pt>
                <c:pt idx="1677">
                  <c:v>131.41523380419335</c:v>
                </c:pt>
                <c:pt idx="1678">
                  <c:v>131.41523380419335</c:v>
                </c:pt>
                <c:pt idx="1679">
                  <c:v>131.40597411971373</c:v>
                </c:pt>
                <c:pt idx="1680">
                  <c:v>132.83908791339118</c:v>
                </c:pt>
                <c:pt idx="1681">
                  <c:v>132.83908791339118</c:v>
                </c:pt>
                <c:pt idx="1682">
                  <c:v>132.75559599911003</c:v>
                </c:pt>
                <c:pt idx="1683">
                  <c:v>134.24241420775985</c:v>
                </c:pt>
                <c:pt idx="1684">
                  <c:v>133.49291316510602</c:v>
                </c:pt>
                <c:pt idx="1685">
                  <c:v>132.82191985420013</c:v>
                </c:pt>
                <c:pt idx="1686">
                  <c:v>132.82191985420013</c:v>
                </c:pt>
                <c:pt idx="1687">
                  <c:v>132.78899240477912</c:v>
                </c:pt>
                <c:pt idx="1688">
                  <c:v>132.78899240477912</c:v>
                </c:pt>
                <c:pt idx="1689">
                  <c:v>141.63765878408989</c:v>
                </c:pt>
                <c:pt idx="1690">
                  <c:v>144.68269981694937</c:v>
                </c:pt>
                <c:pt idx="1691">
                  <c:v>144.58168722989004</c:v>
                </c:pt>
                <c:pt idx="1692">
                  <c:v>144.54496020473439</c:v>
                </c:pt>
                <c:pt idx="1693">
                  <c:v>144.54496020473439</c:v>
                </c:pt>
                <c:pt idx="1694">
                  <c:v>144.54496020473439</c:v>
                </c:pt>
                <c:pt idx="1695">
                  <c:v>144.54496020473439</c:v>
                </c:pt>
                <c:pt idx="1696">
                  <c:v>144.54496020473439</c:v>
                </c:pt>
                <c:pt idx="1697">
                  <c:v>144.54496020473439</c:v>
                </c:pt>
                <c:pt idx="1698">
                  <c:v>144.54496020473439</c:v>
                </c:pt>
                <c:pt idx="1699">
                  <c:v>144.54496020473439</c:v>
                </c:pt>
                <c:pt idx="1700">
                  <c:v>144.54496020473439</c:v>
                </c:pt>
                <c:pt idx="1701">
                  <c:v>144.54496020473439</c:v>
                </c:pt>
                <c:pt idx="1702">
                  <c:v>144.54496020473439</c:v>
                </c:pt>
                <c:pt idx="1703">
                  <c:v>144.54496020473439</c:v>
                </c:pt>
                <c:pt idx="1704">
                  <c:v>144.54496020473439</c:v>
                </c:pt>
                <c:pt idx="1705">
                  <c:v>144.54496020473439</c:v>
                </c:pt>
                <c:pt idx="1706">
                  <c:v>144.54496020473439</c:v>
                </c:pt>
                <c:pt idx="1707">
                  <c:v>144.54496020473439</c:v>
                </c:pt>
                <c:pt idx="1708">
                  <c:v>144.54496020473439</c:v>
                </c:pt>
                <c:pt idx="1709">
                  <c:v>144.54496020473439</c:v>
                </c:pt>
                <c:pt idx="1710">
                  <c:v>144.54496020473439</c:v>
                </c:pt>
                <c:pt idx="1711">
                  <c:v>144.54496020473439</c:v>
                </c:pt>
                <c:pt idx="1712">
                  <c:v>144.54496020473439</c:v>
                </c:pt>
                <c:pt idx="1713">
                  <c:v>144.42885474619277</c:v>
                </c:pt>
                <c:pt idx="1714">
                  <c:v>144.39970209509022</c:v>
                </c:pt>
                <c:pt idx="1715">
                  <c:v>144.37058588480156</c:v>
                </c:pt>
                <c:pt idx="1716">
                  <c:v>144.37058588480156</c:v>
                </c:pt>
                <c:pt idx="1717">
                  <c:v>144.37058588480156</c:v>
                </c:pt>
                <c:pt idx="1718">
                  <c:v>144.37058588480156</c:v>
                </c:pt>
                <c:pt idx="1719">
                  <c:v>144.37058588480156</c:v>
                </c:pt>
                <c:pt idx="1720">
                  <c:v>144.37058588480156</c:v>
                </c:pt>
                <c:pt idx="1721">
                  <c:v>144.37058588480156</c:v>
                </c:pt>
                <c:pt idx="1722">
                  <c:v>144.37058588480156</c:v>
                </c:pt>
                <c:pt idx="1723">
                  <c:v>144.37058588480156</c:v>
                </c:pt>
                <c:pt idx="1724">
                  <c:v>144.80180211948024</c:v>
                </c:pt>
                <c:pt idx="1725">
                  <c:v>145.99909398711657</c:v>
                </c:pt>
                <c:pt idx="1726">
                  <c:v>145.99909398711657</c:v>
                </c:pt>
                <c:pt idx="1727">
                  <c:v>145.90983423082835</c:v>
                </c:pt>
                <c:pt idx="1728">
                  <c:v>148.74823327815216</c:v>
                </c:pt>
                <c:pt idx="1729">
                  <c:v>145.69029124302062</c:v>
                </c:pt>
                <c:pt idx="1730">
                  <c:v>145.56544399556608</c:v>
                </c:pt>
                <c:pt idx="1731">
                  <c:v>146.308352637978</c:v>
                </c:pt>
                <c:pt idx="1732">
                  <c:v>146.308352637978</c:v>
                </c:pt>
                <c:pt idx="1733">
                  <c:v>146.2681388352056</c:v>
                </c:pt>
                <c:pt idx="1734">
                  <c:v>146.2681388352056</c:v>
                </c:pt>
                <c:pt idx="1735">
                  <c:v>146.2681388352056</c:v>
                </c:pt>
                <c:pt idx="1736">
                  <c:v>146.2681388352056</c:v>
                </c:pt>
                <c:pt idx="1737">
                  <c:v>146.2681388352056</c:v>
                </c:pt>
                <c:pt idx="1738">
                  <c:v>146.2681388352056</c:v>
                </c:pt>
                <c:pt idx="1739">
                  <c:v>146.2681388352056</c:v>
                </c:pt>
                <c:pt idx="1740">
                  <c:v>146.2681388352056</c:v>
                </c:pt>
                <c:pt idx="1741">
                  <c:v>146.2681388352056</c:v>
                </c:pt>
                <c:pt idx="1742">
                  <c:v>146.2681388352056</c:v>
                </c:pt>
                <c:pt idx="1743">
                  <c:v>146.2681388352056</c:v>
                </c:pt>
                <c:pt idx="1744">
                  <c:v>146.2681388352056</c:v>
                </c:pt>
                <c:pt idx="1745">
                  <c:v>146.2681388352056</c:v>
                </c:pt>
                <c:pt idx="1746">
                  <c:v>146.2681388352056</c:v>
                </c:pt>
                <c:pt idx="1747">
                  <c:v>146.2681388352056</c:v>
                </c:pt>
                <c:pt idx="1748">
                  <c:v>146.2681388352056</c:v>
                </c:pt>
                <c:pt idx="1749">
                  <c:v>146.2681388352056</c:v>
                </c:pt>
                <c:pt idx="1750">
                  <c:v>146.2681388352056</c:v>
                </c:pt>
                <c:pt idx="1751">
                  <c:v>146.2681388352056</c:v>
                </c:pt>
                <c:pt idx="1752">
                  <c:v>146.2681388352056</c:v>
                </c:pt>
                <c:pt idx="1753">
                  <c:v>146.2681388352056</c:v>
                </c:pt>
                <c:pt idx="1754">
                  <c:v>146.2681388352056</c:v>
                </c:pt>
                <c:pt idx="1755">
                  <c:v>146.2681388352056</c:v>
                </c:pt>
                <c:pt idx="1756">
                  <c:v>146.2681388352056</c:v>
                </c:pt>
                <c:pt idx="1757">
                  <c:v>146.2681388352056</c:v>
                </c:pt>
                <c:pt idx="1758">
                  <c:v>146.2681388352056</c:v>
                </c:pt>
                <c:pt idx="1759">
                  <c:v>146.2681388352056</c:v>
                </c:pt>
                <c:pt idx="1760">
                  <c:v>146.2681388352056</c:v>
                </c:pt>
                <c:pt idx="1761">
                  <c:v>142.58910907904919</c:v>
                </c:pt>
                <c:pt idx="1762">
                  <c:v>142.55354433072546</c:v>
                </c:pt>
                <c:pt idx="1763">
                  <c:v>142.76045968378673</c:v>
                </c:pt>
                <c:pt idx="1764">
                  <c:v>142.72468074720709</c:v>
                </c:pt>
                <c:pt idx="1765">
                  <c:v>143.92786869119669</c:v>
                </c:pt>
                <c:pt idx="1766">
                  <c:v>143.87688751167116</c:v>
                </c:pt>
                <c:pt idx="1767">
                  <c:v>143.82597005862004</c:v>
                </c:pt>
                <c:pt idx="1768">
                  <c:v>143.82597005862004</c:v>
                </c:pt>
                <c:pt idx="1769">
                  <c:v>143.82597005862004</c:v>
                </c:pt>
                <c:pt idx="1770">
                  <c:v>143.82597005862004</c:v>
                </c:pt>
                <c:pt idx="1771">
                  <c:v>143.82597005862004</c:v>
                </c:pt>
                <c:pt idx="1772">
                  <c:v>143.82597005862004</c:v>
                </c:pt>
                <c:pt idx="1773">
                  <c:v>143.82597005862004</c:v>
                </c:pt>
                <c:pt idx="1774">
                  <c:v>143.82597005862004</c:v>
                </c:pt>
                <c:pt idx="1775">
                  <c:v>143.82597005862004</c:v>
                </c:pt>
                <c:pt idx="1776">
                  <c:v>143.82597005862004</c:v>
                </c:pt>
                <c:pt idx="1777">
                  <c:v>143.82597005862004</c:v>
                </c:pt>
                <c:pt idx="1778">
                  <c:v>143.82597005862004</c:v>
                </c:pt>
                <c:pt idx="1779">
                  <c:v>143.82597005862004</c:v>
                </c:pt>
                <c:pt idx="1780">
                  <c:v>143.82597005862004</c:v>
                </c:pt>
                <c:pt idx="1781">
                  <c:v>143.82597005862004</c:v>
                </c:pt>
                <c:pt idx="1782">
                  <c:v>143.82597005862004</c:v>
                </c:pt>
                <c:pt idx="1783">
                  <c:v>143.82597005862004</c:v>
                </c:pt>
                <c:pt idx="1784">
                  <c:v>143.82597005862004</c:v>
                </c:pt>
                <c:pt idx="1785">
                  <c:v>143.82597005862004</c:v>
                </c:pt>
                <c:pt idx="1786">
                  <c:v>143.82597005862004</c:v>
                </c:pt>
                <c:pt idx="1787">
                  <c:v>143.77540011173588</c:v>
                </c:pt>
                <c:pt idx="1788">
                  <c:v>143.7463835091437</c:v>
                </c:pt>
                <c:pt idx="1789">
                  <c:v>143.71740317730473</c:v>
                </c:pt>
                <c:pt idx="1790">
                  <c:v>143.71740317730473</c:v>
                </c:pt>
                <c:pt idx="1791">
                  <c:v>143.71740317730473</c:v>
                </c:pt>
                <c:pt idx="1792">
                  <c:v>143.65762760114859</c:v>
                </c:pt>
                <c:pt idx="1793">
                  <c:v>143.19034765982465</c:v>
                </c:pt>
                <c:pt idx="1794">
                  <c:v>143.22453013687607</c:v>
                </c:pt>
                <c:pt idx="1795">
                  <c:v>142.94439229647656</c:v>
                </c:pt>
                <c:pt idx="1796">
                  <c:v>142.94439229647654</c:v>
                </c:pt>
                <c:pt idx="1797">
                  <c:v>142.90897483892914</c:v>
                </c:pt>
                <c:pt idx="1798">
                  <c:v>142.90897483892914</c:v>
                </c:pt>
                <c:pt idx="1799">
                  <c:v>143.26438461186703</c:v>
                </c:pt>
                <c:pt idx="1800">
                  <c:v>144.57160603836624</c:v>
                </c:pt>
                <c:pt idx="1801">
                  <c:v>144.51976720775204</c:v>
                </c:pt>
                <c:pt idx="1802">
                  <c:v>144.43152672533071</c:v>
                </c:pt>
                <c:pt idx="1803">
                  <c:v>144.43152672533071</c:v>
                </c:pt>
                <c:pt idx="1804">
                  <c:v>144.43152672533071</c:v>
                </c:pt>
                <c:pt idx="1805">
                  <c:v>144.43152672533071</c:v>
                </c:pt>
                <c:pt idx="1806">
                  <c:v>144.43152672533071</c:v>
                </c:pt>
                <c:pt idx="1807">
                  <c:v>144.43152672533071</c:v>
                </c:pt>
                <c:pt idx="1808">
                  <c:v>144.43152672533071</c:v>
                </c:pt>
                <c:pt idx="1809">
                  <c:v>144.43152672533071</c:v>
                </c:pt>
                <c:pt idx="1810">
                  <c:v>144.43152672533071</c:v>
                </c:pt>
                <c:pt idx="1811">
                  <c:v>144.43152672533071</c:v>
                </c:pt>
                <c:pt idx="1812">
                  <c:v>144.43152672533071</c:v>
                </c:pt>
                <c:pt idx="1813">
                  <c:v>144.43152672533071</c:v>
                </c:pt>
                <c:pt idx="1814">
                  <c:v>144.43152672533071</c:v>
                </c:pt>
                <c:pt idx="1815">
                  <c:v>144.40818619909601</c:v>
                </c:pt>
                <c:pt idx="1816">
                  <c:v>144.37996544433528</c:v>
                </c:pt>
                <c:pt idx="1817">
                  <c:v>144.35177996551801</c:v>
                </c:pt>
                <c:pt idx="1818">
                  <c:v>144.35177996551801</c:v>
                </c:pt>
                <c:pt idx="1819">
                  <c:v>144.35177996551801</c:v>
                </c:pt>
                <c:pt idx="1820">
                  <c:v>144.35177996551801</c:v>
                </c:pt>
                <c:pt idx="1821">
                  <c:v>144.35177996551801</c:v>
                </c:pt>
                <c:pt idx="1822">
                  <c:v>144.35177996551801</c:v>
                </c:pt>
                <c:pt idx="1823">
                  <c:v>144.35177996551801</c:v>
                </c:pt>
                <c:pt idx="1824">
                  <c:v>144.35177996551801</c:v>
                </c:pt>
                <c:pt idx="1825">
                  <c:v>144.35177996551801</c:v>
                </c:pt>
                <c:pt idx="1826">
                  <c:v>144.35177996551801</c:v>
                </c:pt>
                <c:pt idx="1827">
                  <c:v>144.35177996551801</c:v>
                </c:pt>
                <c:pt idx="1828">
                  <c:v>144.35177996551801</c:v>
                </c:pt>
                <c:pt idx="1829">
                  <c:v>144.35177996551801</c:v>
                </c:pt>
                <c:pt idx="1830">
                  <c:v>144.35177996551801</c:v>
                </c:pt>
                <c:pt idx="1831">
                  <c:v>144.35177996551801</c:v>
                </c:pt>
                <c:pt idx="1832">
                  <c:v>144.35177996551801</c:v>
                </c:pt>
                <c:pt idx="1833">
                  <c:v>144.35177996551801</c:v>
                </c:pt>
                <c:pt idx="1834">
                  <c:v>144.35177996551801</c:v>
                </c:pt>
                <c:pt idx="1835">
                  <c:v>144.35177996551801</c:v>
                </c:pt>
                <c:pt idx="1836">
                  <c:v>144.35177996551801</c:v>
                </c:pt>
                <c:pt idx="1837">
                  <c:v>144.35177996551801</c:v>
                </c:pt>
                <c:pt idx="1838">
                  <c:v>144.35177996551801</c:v>
                </c:pt>
                <c:pt idx="1839">
                  <c:v>144.35177996551801</c:v>
                </c:pt>
                <c:pt idx="1840">
                  <c:v>144.35177996551801</c:v>
                </c:pt>
                <c:pt idx="1841">
                  <c:v>144.35177996551801</c:v>
                </c:pt>
                <c:pt idx="1842">
                  <c:v>144.35177996551801</c:v>
                </c:pt>
                <c:pt idx="1843">
                  <c:v>144.35177996551801</c:v>
                </c:pt>
                <c:pt idx="1844">
                  <c:v>144.35177996551801</c:v>
                </c:pt>
                <c:pt idx="1845">
                  <c:v>144.35177996551801</c:v>
                </c:pt>
                <c:pt idx="1846">
                  <c:v>144.35177996551801</c:v>
                </c:pt>
                <c:pt idx="1847">
                  <c:v>144.31067061474019</c:v>
                </c:pt>
                <c:pt idx="1848">
                  <c:v>143.732241147064</c:v>
                </c:pt>
                <c:pt idx="1849">
                  <c:v>145.05488383866106</c:v>
                </c:pt>
                <c:pt idx="1850">
                  <c:v>144.9377245300326</c:v>
                </c:pt>
                <c:pt idx="1851">
                  <c:v>147.73971561887006</c:v>
                </c:pt>
                <c:pt idx="1852">
                  <c:v>147.99856637509046</c:v>
                </c:pt>
                <c:pt idx="1853">
                  <c:v>147.60043976108759</c:v>
                </c:pt>
                <c:pt idx="1854">
                  <c:v>149.75798546629332</c:v>
                </c:pt>
                <c:pt idx="1855">
                  <c:v>149.63494728063031</c:v>
                </c:pt>
                <c:pt idx="1856">
                  <c:v>149.53942893994926</c:v>
                </c:pt>
                <c:pt idx="1857">
                  <c:v>149.53942893994926</c:v>
                </c:pt>
                <c:pt idx="1858">
                  <c:v>149.53942893994926</c:v>
                </c:pt>
                <c:pt idx="1859">
                  <c:v>149.53942893994926</c:v>
                </c:pt>
                <c:pt idx="1860">
                  <c:v>149.53942893994926</c:v>
                </c:pt>
                <c:pt idx="1861">
                  <c:v>149.47095190125498</c:v>
                </c:pt>
                <c:pt idx="1862">
                  <c:v>149.43161272659196</c:v>
                </c:pt>
                <c:pt idx="1863">
                  <c:v>148.59457684283899</c:v>
                </c:pt>
                <c:pt idx="1864">
                  <c:v>148.50035896520518</c:v>
                </c:pt>
                <c:pt idx="1865">
                  <c:v>148.40625885991838</c:v>
                </c:pt>
                <c:pt idx="1866">
                  <c:v>148.40625885991838</c:v>
                </c:pt>
                <c:pt idx="1867">
                  <c:v>148.40625885991838</c:v>
                </c:pt>
                <c:pt idx="1868">
                  <c:v>148.40625885991838</c:v>
                </c:pt>
                <c:pt idx="1869">
                  <c:v>148.40625885991838</c:v>
                </c:pt>
                <c:pt idx="1870">
                  <c:v>148.40625885991838</c:v>
                </c:pt>
                <c:pt idx="1871">
                  <c:v>148.40625885991838</c:v>
                </c:pt>
                <c:pt idx="1872">
                  <c:v>148.40625885991838</c:v>
                </c:pt>
                <c:pt idx="1873">
                  <c:v>148.40625885991838</c:v>
                </c:pt>
                <c:pt idx="1874">
                  <c:v>148.40625885991838</c:v>
                </c:pt>
                <c:pt idx="1875">
                  <c:v>148.40625885991838</c:v>
                </c:pt>
                <c:pt idx="1876">
                  <c:v>148.40625885991838</c:v>
                </c:pt>
                <c:pt idx="1877">
                  <c:v>148.40625885991838</c:v>
                </c:pt>
                <c:pt idx="1878">
                  <c:v>149.50918047541145</c:v>
                </c:pt>
                <c:pt idx="1879">
                  <c:v>149.46906921856362</c:v>
                </c:pt>
                <c:pt idx="1880">
                  <c:v>149.42900810078686</c:v>
                </c:pt>
                <c:pt idx="1881">
                  <c:v>149.42900810078686</c:v>
                </c:pt>
                <c:pt idx="1882">
                  <c:v>149.42900810078686</c:v>
                </c:pt>
                <c:pt idx="1883">
                  <c:v>149.42900810078686</c:v>
                </c:pt>
                <c:pt idx="1884">
                  <c:v>149.42900810078686</c:v>
                </c:pt>
                <c:pt idx="1885">
                  <c:v>149.42900810078686</c:v>
                </c:pt>
                <c:pt idx="1886">
                  <c:v>149.42900810078686</c:v>
                </c:pt>
                <c:pt idx="1887">
                  <c:v>149.51054311298896</c:v>
                </c:pt>
                <c:pt idx="1888">
                  <c:v>149.47043015284416</c:v>
                </c:pt>
                <c:pt idx="1889">
                  <c:v>149.43036733389954</c:v>
                </c:pt>
                <c:pt idx="1890">
                  <c:v>149.43036733389954</c:v>
                </c:pt>
                <c:pt idx="1891">
                  <c:v>149.43036733389954</c:v>
                </c:pt>
                <c:pt idx="1892">
                  <c:v>149.43036733389954</c:v>
                </c:pt>
                <c:pt idx="1893">
                  <c:v>149.43036733389954</c:v>
                </c:pt>
                <c:pt idx="1894">
                  <c:v>149.43036733389954</c:v>
                </c:pt>
                <c:pt idx="1895">
                  <c:v>149.43036733389954</c:v>
                </c:pt>
                <c:pt idx="1896">
                  <c:v>149.43036733389954</c:v>
                </c:pt>
                <c:pt idx="1897">
                  <c:v>149.43036733389954</c:v>
                </c:pt>
                <c:pt idx="1898">
                  <c:v>149.43036733389954</c:v>
                </c:pt>
                <c:pt idx="1899">
                  <c:v>149.43036733389954</c:v>
                </c:pt>
                <c:pt idx="1900">
                  <c:v>149.43036733389954</c:v>
                </c:pt>
                <c:pt idx="1901">
                  <c:v>149.43036733389954</c:v>
                </c:pt>
                <c:pt idx="1902">
                  <c:v>149.43036733389954</c:v>
                </c:pt>
                <c:pt idx="1903">
                  <c:v>149.43036733389954</c:v>
                </c:pt>
                <c:pt idx="1904">
                  <c:v>149.43036733389954</c:v>
                </c:pt>
                <c:pt idx="1905">
                  <c:v>149.43036733389954</c:v>
                </c:pt>
                <c:pt idx="1906">
                  <c:v>149.43036733389954</c:v>
                </c:pt>
                <c:pt idx="1907">
                  <c:v>149.43036733389954</c:v>
                </c:pt>
                <c:pt idx="1908">
                  <c:v>149.43036733389954</c:v>
                </c:pt>
                <c:pt idx="1909">
                  <c:v>149.43036733389954</c:v>
                </c:pt>
                <c:pt idx="1910">
                  <c:v>149.43036733389954</c:v>
                </c:pt>
                <c:pt idx="1911">
                  <c:v>149.43036733389954</c:v>
                </c:pt>
                <c:pt idx="1912">
                  <c:v>149.43036733389954</c:v>
                </c:pt>
                <c:pt idx="1913">
                  <c:v>149.43036733389954</c:v>
                </c:pt>
                <c:pt idx="1914">
                  <c:v>149.43036733389954</c:v>
                </c:pt>
                <c:pt idx="1915">
                  <c:v>149.43036733389954</c:v>
                </c:pt>
                <c:pt idx="1916">
                  <c:v>149.43036733389954</c:v>
                </c:pt>
                <c:pt idx="1917">
                  <c:v>149.43036733389954</c:v>
                </c:pt>
                <c:pt idx="1918">
                  <c:v>149.43036733389954</c:v>
                </c:pt>
                <c:pt idx="1919">
                  <c:v>149.43036733389954</c:v>
                </c:pt>
                <c:pt idx="1920">
                  <c:v>149.43036733389954</c:v>
                </c:pt>
                <c:pt idx="1921">
                  <c:v>149.43036733389954</c:v>
                </c:pt>
                <c:pt idx="1922">
                  <c:v>149.43036733389954</c:v>
                </c:pt>
                <c:pt idx="1923">
                  <c:v>149.43036733389954</c:v>
                </c:pt>
                <c:pt idx="1924">
                  <c:v>149.43036733389954</c:v>
                </c:pt>
                <c:pt idx="1925">
                  <c:v>149.43036733389954</c:v>
                </c:pt>
                <c:pt idx="1926">
                  <c:v>149.43036733389954</c:v>
                </c:pt>
                <c:pt idx="1927">
                  <c:v>149.43036733389954</c:v>
                </c:pt>
                <c:pt idx="1928">
                  <c:v>149.43036733389954</c:v>
                </c:pt>
                <c:pt idx="1929">
                  <c:v>150.11368462360892</c:v>
                </c:pt>
                <c:pt idx="1930">
                  <c:v>149.95162739121511</c:v>
                </c:pt>
                <c:pt idx="1931">
                  <c:v>149.42689884736504</c:v>
                </c:pt>
                <c:pt idx="1932">
                  <c:v>149.42689884736504</c:v>
                </c:pt>
                <c:pt idx="1933">
                  <c:v>151.54723573893534</c:v>
                </c:pt>
                <c:pt idx="1934">
                  <c:v>151.763004377491</c:v>
                </c:pt>
                <c:pt idx="1935">
                  <c:v>151.43077147722013</c:v>
                </c:pt>
                <c:pt idx="1936">
                  <c:v>149.37047572885672</c:v>
                </c:pt>
                <c:pt idx="1937">
                  <c:v>149.37047572885672</c:v>
                </c:pt>
                <c:pt idx="1938">
                  <c:v>149.27528797761536</c:v>
                </c:pt>
                <c:pt idx="1939">
                  <c:v>149.27528797761536</c:v>
                </c:pt>
                <c:pt idx="1940">
                  <c:v>149.27528797761536</c:v>
                </c:pt>
                <c:pt idx="1941">
                  <c:v>149.27528797761536</c:v>
                </c:pt>
                <c:pt idx="1942">
                  <c:v>149.27528797761536</c:v>
                </c:pt>
                <c:pt idx="1943">
                  <c:v>148.88759692147835</c:v>
                </c:pt>
                <c:pt idx="1944">
                  <c:v>149.04566651772353</c:v>
                </c:pt>
                <c:pt idx="1945">
                  <c:v>149.04566651772353</c:v>
                </c:pt>
                <c:pt idx="1946">
                  <c:v>148.92351873074622</c:v>
                </c:pt>
                <c:pt idx="1947">
                  <c:v>148.92351873074622</c:v>
                </c:pt>
                <c:pt idx="1948">
                  <c:v>148.92351873074622</c:v>
                </c:pt>
                <c:pt idx="1949">
                  <c:v>148.92351873074622</c:v>
                </c:pt>
                <c:pt idx="1950">
                  <c:v>148.92351873074622</c:v>
                </c:pt>
                <c:pt idx="1951">
                  <c:v>148.92351873074622</c:v>
                </c:pt>
                <c:pt idx="1952">
                  <c:v>148.92351873074622</c:v>
                </c:pt>
                <c:pt idx="1953">
                  <c:v>148.92351873074622</c:v>
                </c:pt>
                <c:pt idx="1954">
                  <c:v>148.92351873074622</c:v>
                </c:pt>
                <c:pt idx="1955">
                  <c:v>148.92351873074622</c:v>
                </c:pt>
                <c:pt idx="1956">
                  <c:v>148.92351873074622</c:v>
                </c:pt>
                <c:pt idx="1957">
                  <c:v>148.92351873074622</c:v>
                </c:pt>
                <c:pt idx="1958">
                  <c:v>148.92351873074622</c:v>
                </c:pt>
                <c:pt idx="1959">
                  <c:v>148.92351873074622</c:v>
                </c:pt>
                <c:pt idx="1960">
                  <c:v>148.92351873074622</c:v>
                </c:pt>
                <c:pt idx="1961">
                  <c:v>148.92351873074622</c:v>
                </c:pt>
                <c:pt idx="1962">
                  <c:v>148.92351873074622</c:v>
                </c:pt>
                <c:pt idx="1963">
                  <c:v>148.92351873074622</c:v>
                </c:pt>
                <c:pt idx="1964">
                  <c:v>150.38363850509853</c:v>
                </c:pt>
                <c:pt idx="1965">
                  <c:v>148.89909963913072</c:v>
                </c:pt>
                <c:pt idx="1966">
                  <c:v>154.65593006878709</c:v>
                </c:pt>
                <c:pt idx="1967">
                  <c:v>154.65593006878709</c:v>
                </c:pt>
                <c:pt idx="1968">
                  <c:v>154.5846052584447</c:v>
                </c:pt>
                <c:pt idx="1969">
                  <c:v>154.5846052584447</c:v>
                </c:pt>
                <c:pt idx="1970">
                  <c:v>154.14764803047652</c:v>
                </c:pt>
                <c:pt idx="1971">
                  <c:v>154.12092646199778</c:v>
                </c:pt>
                <c:pt idx="1972">
                  <c:v>152.80563214153554</c:v>
                </c:pt>
                <c:pt idx="1973">
                  <c:v>152.71251556199806</c:v>
                </c:pt>
                <c:pt idx="1974">
                  <c:v>152.61951537818501</c:v>
                </c:pt>
                <c:pt idx="1975">
                  <c:v>152.11141590771192</c:v>
                </c:pt>
                <c:pt idx="1976">
                  <c:v>152.16424326421978</c:v>
                </c:pt>
                <c:pt idx="1977">
                  <c:v>152.04527361446901</c:v>
                </c:pt>
                <c:pt idx="1978">
                  <c:v>151.93722885495163</c:v>
                </c:pt>
                <c:pt idx="1979">
                  <c:v>151.99476036878588</c:v>
                </c:pt>
                <c:pt idx="1980">
                  <c:v>151.94235255372894</c:v>
                </c:pt>
                <c:pt idx="1981">
                  <c:v>151.84961494078897</c:v>
                </c:pt>
                <c:pt idx="1982">
                  <c:v>151.84961494078897</c:v>
                </c:pt>
                <c:pt idx="1983">
                  <c:v>151.84961494078897</c:v>
                </c:pt>
                <c:pt idx="1984">
                  <c:v>151.84961494078897</c:v>
                </c:pt>
                <c:pt idx="1985">
                  <c:v>151.79081236877951</c:v>
                </c:pt>
                <c:pt idx="1986">
                  <c:v>151.8190307151732</c:v>
                </c:pt>
                <c:pt idx="1987">
                  <c:v>151.75276945851519</c:v>
                </c:pt>
                <c:pt idx="1988">
                  <c:v>151.71240753614956</c:v>
                </c:pt>
                <c:pt idx="1989">
                  <c:v>151.71240753614956</c:v>
                </c:pt>
                <c:pt idx="1990">
                  <c:v>151.71240753614956</c:v>
                </c:pt>
                <c:pt idx="1991">
                  <c:v>151.71240753614956</c:v>
                </c:pt>
                <c:pt idx="1992">
                  <c:v>151.71240753614956</c:v>
                </c:pt>
                <c:pt idx="1993">
                  <c:v>151.71240753614956</c:v>
                </c:pt>
                <c:pt idx="1994">
                  <c:v>151.63482566206912</c:v>
                </c:pt>
                <c:pt idx="1995">
                  <c:v>151.594611169449</c:v>
                </c:pt>
                <c:pt idx="1996">
                  <c:v>151.55444694494471</c:v>
                </c:pt>
                <c:pt idx="1997">
                  <c:v>151.55444694494471</c:v>
                </c:pt>
                <c:pt idx="1998">
                  <c:v>151.4962466344995</c:v>
                </c:pt>
                <c:pt idx="1999">
                  <c:v>151.47050287716604</c:v>
                </c:pt>
                <c:pt idx="2000">
                  <c:v>151.44479129952927</c:v>
                </c:pt>
                <c:pt idx="2001">
                  <c:v>151.44479129952927</c:v>
                </c:pt>
                <c:pt idx="2002">
                  <c:v>150.81470109889099</c:v>
                </c:pt>
                <c:pt idx="2003">
                  <c:v>150.72309781501161</c:v>
                </c:pt>
                <c:pt idx="2004">
                  <c:v>150.63160903523706</c:v>
                </c:pt>
                <c:pt idx="2005">
                  <c:v>150.63160903523706</c:v>
                </c:pt>
                <c:pt idx="2006">
                  <c:v>150.63160903523706</c:v>
                </c:pt>
                <c:pt idx="2007">
                  <c:v>150.63160903523706</c:v>
                </c:pt>
                <c:pt idx="2008">
                  <c:v>149.08718584918594</c:v>
                </c:pt>
                <c:pt idx="2009">
                  <c:v>148.99774195936868</c:v>
                </c:pt>
                <c:pt idx="2010">
                  <c:v>148.90840987441368</c:v>
                </c:pt>
                <c:pt idx="2011">
                  <c:v>148.90840987441368</c:v>
                </c:pt>
                <c:pt idx="2012">
                  <c:v>148.90840987441368</c:v>
                </c:pt>
                <c:pt idx="2013">
                  <c:v>148.90840987441368</c:v>
                </c:pt>
                <c:pt idx="2014">
                  <c:v>148.90840987441368</c:v>
                </c:pt>
                <c:pt idx="2015">
                  <c:v>150.24989134518191</c:v>
                </c:pt>
                <c:pt idx="2016">
                  <c:v>150.15738389721926</c:v>
                </c:pt>
                <c:pt idx="2017">
                  <c:v>150.10601643657358</c:v>
                </c:pt>
                <c:pt idx="2018">
                  <c:v>150.06660225984197</c:v>
                </c:pt>
                <c:pt idx="2019">
                  <c:v>150.06660225984197</c:v>
                </c:pt>
                <c:pt idx="2020">
                  <c:v>150.18583096222778</c:v>
                </c:pt>
                <c:pt idx="2021">
                  <c:v>149.29392137011513</c:v>
                </c:pt>
                <c:pt idx="2022">
                  <c:v>149.2686616264096</c:v>
                </c:pt>
                <c:pt idx="2023">
                  <c:v>149.20461470502593</c:v>
                </c:pt>
                <c:pt idx="2024">
                  <c:v>149.20461470502593</c:v>
                </c:pt>
                <c:pt idx="2025">
                  <c:v>149.20461470502593</c:v>
                </c:pt>
                <c:pt idx="2026">
                  <c:v>149.20461470502593</c:v>
                </c:pt>
                <c:pt idx="2027">
                  <c:v>149.20461470502593</c:v>
                </c:pt>
                <c:pt idx="2028">
                  <c:v>149.20461470502593</c:v>
                </c:pt>
                <c:pt idx="2029">
                  <c:v>149.20461470502593</c:v>
                </c:pt>
                <c:pt idx="2030">
                  <c:v>149.20461470502593</c:v>
                </c:pt>
                <c:pt idx="2031">
                  <c:v>149.20461470502593</c:v>
                </c:pt>
                <c:pt idx="2032">
                  <c:v>149.20461470502593</c:v>
                </c:pt>
                <c:pt idx="2033">
                  <c:v>149.20461470502593</c:v>
                </c:pt>
                <c:pt idx="2034">
                  <c:v>149.20461470502593</c:v>
                </c:pt>
                <c:pt idx="2035">
                  <c:v>149.20461470502593</c:v>
                </c:pt>
                <c:pt idx="2036">
                  <c:v>149.20461470502593</c:v>
                </c:pt>
                <c:pt idx="2037">
                  <c:v>149.20461470502593</c:v>
                </c:pt>
                <c:pt idx="2038">
                  <c:v>149.20461470502593</c:v>
                </c:pt>
                <c:pt idx="2039">
                  <c:v>149.20461470502593</c:v>
                </c:pt>
                <c:pt idx="2040">
                  <c:v>149.20461470502593</c:v>
                </c:pt>
                <c:pt idx="2041">
                  <c:v>149.20461470502593</c:v>
                </c:pt>
                <c:pt idx="2042">
                  <c:v>149.20461470502593</c:v>
                </c:pt>
                <c:pt idx="2043">
                  <c:v>149.20461470502593</c:v>
                </c:pt>
                <c:pt idx="2044">
                  <c:v>149.20461470502593</c:v>
                </c:pt>
                <c:pt idx="2045">
                  <c:v>149.20461470502593</c:v>
                </c:pt>
                <c:pt idx="2046">
                  <c:v>149.20461470502593</c:v>
                </c:pt>
                <c:pt idx="2047">
                  <c:v>149.20461470502593</c:v>
                </c:pt>
                <c:pt idx="2048">
                  <c:v>149.20461470502593</c:v>
                </c:pt>
                <c:pt idx="2049">
                  <c:v>149.20461470502593</c:v>
                </c:pt>
                <c:pt idx="2050">
                  <c:v>149.20461470502593</c:v>
                </c:pt>
                <c:pt idx="2051">
                  <c:v>149.20461470502593</c:v>
                </c:pt>
                <c:pt idx="2052">
                  <c:v>149.20461470502593</c:v>
                </c:pt>
                <c:pt idx="2053">
                  <c:v>149.20461470502593</c:v>
                </c:pt>
                <c:pt idx="2054">
                  <c:v>149.20461470502593</c:v>
                </c:pt>
                <c:pt idx="2055">
                  <c:v>149.20461470502593</c:v>
                </c:pt>
                <c:pt idx="2056">
                  <c:v>149.20461470502593</c:v>
                </c:pt>
                <c:pt idx="2057">
                  <c:v>149.20461470502593</c:v>
                </c:pt>
                <c:pt idx="2058">
                  <c:v>149.20461470502593</c:v>
                </c:pt>
                <c:pt idx="2059">
                  <c:v>149.20461470502593</c:v>
                </c:pt>
                <c:pt idx="2060">
                  <c:v>149.20461470502593</c:v>
                </c:pt>
                <c:pt idx="2061">
                  <c:v>149.20461470502593</c:v>
                </c:pt>
                <c:pt idx="2062">
                  <c:v>149.20461470502593</c:v>
                </c:pt>
                <c:pt idx="2063">
                  <c:v>149.20461470502593</c:v>
                </c:pt>
                <c:pt idx="2064">
                  <c:v>149.20461470502593</c:v>
                </c:pt>
                <c:pt idx="2065">
                  <c:v>149.20461470502593</c:v>
                </c:pt>
                <c:pt idx="2066">
                  <c:v>149.20461470502593</c:v>
                </c:pt>
                <c:pt idx="2067">
                  <c:v>149.20461470502593</c:v>
                </c:pt>
                <c:pt idx="2068">
                  <c:v>149.20461470502593</c:v>
                </c:pt>
                <c:pt idx="2069">
                  <c:v>149.20461470502593</c:v>
                </c:pt>
                <c:pt idx="2070">
                  <c:v>149.20461470502593</c:v>
                </c:pt>
                <c:pt idx="2071">
                  <c:v>149.20461470502593</c:v>
                </c:pt>
                <c:pt idx="2072">
                  <c:v>149.20461470502593</c:v>
                </c:pt>
                <c:pt idx="2073">
                  <c:v>149.05105734576938</c:v>
                </c:pt>
                <c:pt idx="2074">
                  <c:v>151.23004283337715</c:v>
                </c:pt>
                <c:pt idx="2075">
                  <c:v>151.23004283337715</c:v>
                </c:pt>
                <c:pt idx="2076">
                  <c:v>151.20073933633026</c:v>
                </c:pt>
                <c:pt idx="2077">
                  <c:v>151.1754635753052</c:v>
                </c:pt>
                <c:pt idx="2078">
                  <c:v>151.04084394658597</c:v>
                </c:pt>
                <c:pt idx="2079">
                  <c:v>151.00117050847584</c:v>
                </c:pt>
                <c:pt idx="2080">
                  <c:v>150.99109670171435</c:v>
                </c:pt>
                <c:pt idx="2081">
                  <c:v>150.95148544766036</c:v>
                </c:pt>
                <c:pt idx="2082">
                  <c:v>150.88575798038775</c:v>
                </c:pt>
                <c:pt idx="2083">
                  <c:v>150.87312907235517</c:v>
                </c:pt>
                <c:pt idx="2084">
                  <c:v>150.82053422604073</c:v>
                </c:pt>
                <c:pt idx="2085">
                  <c:v>150.58573497151028</c:v>
                </c:pt>
                <c:pt idx="2086">
                  <c:v>150.5464801709978</c:v>
                </c:pt>
                <c:pt idx="2087">
                  <c:v>150.50727443898597</c:v>
                </c:pt>
                <c:pt idx="2088">
                  <c:v>150.50727443898597</c:v>
                </c:pt>
                <c:pt idx="2089">
                  <c:v>150.50727443898597</c:v>
                </c:pt>
                <c:pt idx="2090">
                  <c:v>150.50727443898597</c:v>
                </c:pt>
                <c:pt idx="2091">
                  <c:v>150.50727443898597</c:v>
                </c:pt>
                <c:pt idx="2092">
                  <c:v>150.50727443898597</c:v>
                </c:pt>
                <c:pt idx="2093">
                  <c:v>150.50727443898597</c:v>
                </c:pt>
                <c:pt idx="2094">
                  <c:v>150.50727443898597</c:v>
                </c:pt>
                <c:pt idx="2095">
                  <c:v>150.50727443898597</c:v>
                </c:pt>
                <c:pt idx="2096">
                  <c:v>150.50727443898597</c:v>
                </c:pt>
                <c:pt idx="2097">
                  <c:v>150.50727443898597</c:v>
                </c:pt>
                <c:pt idx="2098">
                  <c:v>150.50727443898597</c:v>
                </c:pt>
                <c:pt idx="2099">
                  <c:v>150.50727443898597</c:v>
                </c:pt>
                <c:pt idx="2100">
                  <c:v>150.50727443898597</c:v>
                </c:pt>
                <c:pt idx="2101">
                  <c:v>150.50727443898597</c:v>
                </c:pt>
                <c:pt idx="2102">
                  <c:v>150.50727443898597</c:v>
                </c:pt>
                <c:pt idx="2103">
                  <c:v>150.50727443898597</c:v>
                </c:pt>
                <c:pt idx="2104">
                  <c:v>150.50727443898597</c:v>
                </c:pt>
                <c:pt idx="2105">
                  <c:v>150.50727443898597</c:v>
                </c:pt>
                <c:pt idx="2106">
                  <c:v>150.50727443898597</c:v>
                </c:pt>
                <c:pt idx="2107">
                  <c:v>150.50727443898597</c:v>
                </c:pt>
                <c:pt idx="2108">
                  <c:v>150.4902439026084</c:v>
                </c:pt>
                <c:pt idx="2109">
                  <c:v>150.44825394321506</c:v>
                </c:pt>
                <c:pt idx="2110">
                  <c:v>150.83131953533709</c:v>
                </c:pt>
                <c:pt idx="2111">
                  <c:v>150.83131953533709</c:v>
                </c:pt>
                <c:pt idx="2112">
                  <c:v>150.54010057726435</c:v>
                </c:pt>
                <c:pt idx="2113">
                  <c:v>150.44837371698813</c:v>
                </c:pt>
                <c:pt idx="2114">
                  <c:v>150.35676151528725</c:v>
                </c:pt>
                <c:pt idx="2115">
                  <c:v>150.22622197160194</c:v>
                </c:pt>
                <c:pt idx="2116">
                  <c:v>150.38186027067087</c:v>
                </c:pt>
                <c:pt idx="2117">
                  <c:v>149.67068114979079</c:v>
                </c:pt>
                <c:pt idx="2118">
                  <c:v>149.5936475610437</c:v>
                </c:pt>
                <c:pt idx="2119">
                  <c:v>149.47789115592187</c:v>
                </c:pt>
                <c:pt idx="2120">
                  <c:v>149.47789115592187</c:v>
                </c:pt>
                <c:pt idx="2121">
                  <c:v>149.47789115592187</c:v>
                </c:pt>
                <c:pt idx="2122">
                  <c:v>149.47789115592187</c:v>
                </c:pt>
                <c:pt idx="2123">
                  <c:v>149.47789115592187</c:v>
                </c:pt>
                <c:pt idx="2124">
                  <c:v>149.47789115592187</c:v>
                </c:pt>
                <c:pt idx="2125">
                  <c:v>149.47789115592187</c:v>
                </c:pt>
                <c:pt idx="2126">
                  <c:v>147.03979211768686</c:v>
                </c:pt>
                <c:pt idx="2127">
                  <c:v>147.00406915700947</c:v>
                </c:pt>
                <c:pt idx="2128">
                  <c:v>146.9683908500329</c:v>
                </c:pt>
                <c:pt idx="2129">
                  <c:v>146.9683908500329</c:v>
                </c:pt>
                <c:pt idx="2130">
                  <c:v>146.9683908500329</c:v>
                </c:pt>
                <c:pt idx="2131">
                  <c:v>148.14392218368678</c:v>
                </c:pt>
                <c:pt idx="2132">
                  <c:v>148.07121711519019</c:v>
                </c:pt>
                <c:pt idx="2133">
                  <c:v>147.99860292802927</c:v>
                </c:pt>
                <c:pt idx="2134">
                  <c:v>147.99860292802927</c:v>
                </c:pt>
                <c:pt idx="2135">
                  <c:v>147.63238112616872</c:v>
                </c:pt>
                <c:pt idx="2136">
                  <c:v>147.56031548399406</c:v>
                </c:pt>
                <c:pt idx="2137">
                  <c:v>151.39274677788163</c:v>
                </c:pt>
                <c:pt idx="2138">
                  <c:v>151.31598067864232</c:v>
                </c:pt>
                <c:pt idx="2139">
                  <c:v>151.23931053702708</c:v>
                </c:pt>
                <c:pt idx="2140">
                  <c:v>151.23931053702708</c:v>
                </c:pt>
                <c:pt idx="2141">
                  <c:v>151.23931053702708</c:v>
                </c:pt>
                <c:pt idx="2142">
                  <c:v>151.23931053702708</c:v>
                </c:pt>
                <c:pt idx="2143">
                  <c:v>151.23931053702708</c:v>
                </c:pt>
                <c:pt idx="2144">
                  <c:v>151.23931053702708</c:v>
                </c:pt>
                <c:pt idx="2145">
                  <c:v>151.49001692198271</c:v>
                </c:pt>
                <c:pt idx="2146">
                  <c:v>151.41312923506328</c:v>
                </c:pt>
                <c:pt idx="2147">
                  <c:v>151.07509081647416</c:v>
                </c:pt>
                <c:pt idx="2148">
                  <c:v>150.97413530284237</c:v>
                </c:pt>
                <c:pt idx="2149">
                  <c:v>149.11489779629053</c:v>
                </c:pt>
                <c:pt idx="2150">
                  <c:v>149.87788929472302</c:v>
                </c:pt>
                <c:pt idx="2151">
                  <c:v>149.48037513495817</c:v>
                </c:pt>
                <c:pt idx="2152">
                  <c:v>149.07507655236813</c:v>
                </c:pt>
                <c:pt idx="2153">
                  <c:v>149.16433195608596</c:v>
                </c:pt>
                <c:pt idx="2154">
                  <c:v>149.08185913857616</c:v>
                </c:pt>
                <c:pt idx="2155">
                  <c:v>148.78271006988186</c:v>
                </c:pt>
                <c:pt idx="2156">
                  <c:v>148.78271006988186</c:v>
                </c:pt>
                <c:pt idx="2157">
                  <c:v>148.70902024521581</c:v>
                </c:pt>
                <c:pt idx="2158">
                  <c:v>148.70902024521581</c:v>
                </c:pt>
                <c:pt idx="2159">
                  <c:v>148.70902024521581</c:v>
                </c:pt>
                <c:pt idx="2160">
                  <c:v>148.70902024521581</c:v>
                </c:pt>
                <c:pt idx="2161">
                  <c:v>148.70902024521581</c:v>
                </c:pt>
                <c:pt idx="2162">
                  <c:v>148.70902024521581</c:v>
                </c:pt>
                <c:pt idx="2163">
                  <c:v>148.70902024521581</c:v>
                </c:pt>
                <c:pt idx="2164">
                  <c:v>148.70902024521581</c:v>
                </c:pt>
                <c:pt idx="2165">
                  <c:v>148.70902024521581</c:v>
                </c:pt>
                <c:pt idx="2166">
                  <c:v>148.70902024521581</c:v>
                </c:pt>
                <c:pt idx="2167">
                  <c:v>148.70902024521581</c:v>
                </c:pt>
                <c:pt idx="2168">
                  <c:v>148.70902024521581</c:v>
                </c:pt>
                <c:pt idx="2169">
                  <c:v>148.57190997142976</c:v>
                </c:pt>
                <c:pt idx="2170">
                  <c:v>148.53644765017913</c:v>
                </c:pt>
                <c:pt idx="2171">
                  <c:v>148.5010296568301</c:v>
                </c:pt>
                <c:pt idx="2172">
                  <c:v>150.59307173966621</c:v>
                </c:pt>
                <c:pt idx="2173">
                  <c:v>150.53857366955623</c:v>
                </c:pt>
                <c:pt idx="2174">
                  <c:v>150.48414372203391</c:v>
                </c:pt>
                <c:pt idx="2175">
                  <c:v>150.48414372203391</c:v>
                </c:pt>
                <c:pt idx="2176">
                  <c:v>150.48414372203391</c:v>
                </c:pt>
                <c:pt idx="2177">
                  <c:v>150.48414372203391</c:v>
                </c:pt>
                <c:pt idx="2178">
                  <c:v>150.48414372203391</c:v>
                </c:pt>
                <c:pt idx="2179">
                  <c:v>147.91725629144588</c:v>
                </c:pt>
                <c:pt idx="2180">
                  <c:v>147.8661029906462</c:v>
                </c:pt>
                <c:pt idx="2181">
                  <c:v>147.81501363147251</c:v>
                </c:pt>
                <c:pt idx="2182">
                  <c:v>147.81501363147251</c:v>
                </c:pt>
                <c:pt idx="2183">
                  <c:v>147.81501363147251</c:v>
                </c:pt>
                <c:pt idx="2184">
                  <c:v>147.81501363147251</c:v>
                </c:pt>
                <c:pt idx="2185">
                  <c:v>147.81501363147251</c:v>
                </c:pt>
                <c:pt idx="2186">
                  <c:v>147.81501363147251</c:v>
                </c:pt>
                <c:pt idx="2187">
                  <c:v>147.81501363147251</c:v>
                </c:pt>
                <c:pt idx="2188">
                  <c:v>147.81501363147251</c:v>
                </c:pt>
                <c:pt idx="2189">
                  <c:v>148.23621124331208</c:v>
                </c:pt>
                <c:pt idx="2190">
                  <c:v>147.20399301881122</c:v>
                </c:pt>
                <c:pt idx="2191">
                  <c:v>147.64090055614778</c:v>
                </c:pt>
                <c:pt idx="2192">
                  <c:v>148.32701104954964</c:v>
                </c:pt>
                <c:pt idx="2193">
                  <c:v>148.32701104954964</c:v>
                </c:pt>
                <c:pt idx="2194">
                  <c:v>148.25277334039183</c:v>
                </c:pt>
                <c:pt idx="2195">
                  <c:v>148.25277334039183</c:v>
                </c:pt>
                <c:pt idx="2196">
                  <c:v>148.25277334039183</c:v>
                </c:pt>
                <c:pt idx="2197">
                  <c:v>148.25277334039183</c:v>
                </c:pt>
                <c:pt idx="2198">
                  <c:v>148.25277334039183</c:v>
                </c:pt>
                <c:pt idx="2199">
                  <c:v>148.25277334039183</c:v>
                </c:pt>
                <c:pt idx="2200">
                  <c:v>148.25277334039183</c:v>
                </c:pt>
                <c:pt idx="2201">
                  <c:v>148.25277334039183</c:v>
                </c:pt>
                <c:pt idx="2202">
                  <c:v>148.25277334039183</c:v>
                </c:pt>
                <c:pt idx="2203">
                  <c:v>148.25277334039183</c:v>
                </c:pt>
                <c:pt idx="2204">
                  <c:v>148.25277334039183</c:v>
                </c:pt>
                <c:pt idx="2205">
                  <c:v>148.25277334039183</c:v>
                </c:pt>
                <c:pt idx="2206">
                  <c:v>148.25277334039183</c:v>
                </c:pt>
                <c:pt idx="2207">
                  <c:v>148.25277334039183</c:v>
                </c:pt>
                <c:pt idx="2208">
                  <c:v>148.25277334039183</c:v>
                </c:pt>
                <c:pt idx="2209">
                  <c:v>148.25277334039183</c:v>
                </c:pt>
                <c:pt idx="2210">
                  <c:v>148.25277334039183</c:v>
                </c:pt>
                <c:pt idx="2211">
                  <c:v>151.1174771892685</c:v>
                </c:pt>
                <c:pt idx="2212">
                  <c:v>151.08912447313537</c:v>
                </c:pt>
                <c:pt idx="2213">
                  <c:v>151.06080719789742</c:v>
                </c:pt>
                <c:pt idx="2214">
                  <c:v>151.06080719789742</c:v>
                </c:pt>
                <c:pt idx="2215">
                  <c:v>151.06080719789742</c:v>
                </c:pt>
                <c:pt idx="2216">
                  <c:v>150.70878801554454</c:v>
                </c:pt>
                <c:pt idx="2217">
                  <c:v>150.68094616087856</c:v>
                </c:pt>
                <c:pt idx="2218">
                  <c:v>150.65313910853095</c:v>
                </c:pt>
                <c:pt idx="2219">
                  <c:v>150.65313910853095</c:v>
                </c:pt>
                <c:pt idx="2220">
                  <c:v>150.65313910853095</c:v>
                </c:pt>
                <c:pt idx="2221">
                  <c:v>150.65313910853095</c:v>
                </c:pt>
                <c:pt idx="2222">
                  <c:v>150.65313910853095</c:v>
                </c:pt>
                <c:pt idx="2223">
                  <c:v>150.65313910853095</c:v>
                </c:pt>
                <c:pt idx="2224">
                  <c:v>150.65313910853095</c:v>
                </c:pt>
                <c:pt idx="2225">
                  <c:v>150.65313910853095</c:v>
                </c:pt>
                <c:pt idx="2226">
                  <c:v>150.65313910853095</c:v>
                </c:pt>
                <c:pt idx="2227">
                  <c:v>150.65313910853095</c:v>
                </c:pt>
                <c:pt idx="2228">
                  <c:v>151.05198286429456</c:v>
                </c:pt>
                <c:pt idx="2229">
                  <c:v>146.38089166540664</c:v>
                </c:pt>
                <c:pt idx="2230">
                  <c:v>146.38089166540664</c:v>
                </c:pt>
                <c:pt idx="2231">
                  <c:v>145.05065844294765</c:v>
                </c:pt>
                <c:pt idx="2232">
                  <c:v>144.98127860339258</c:v>
                </c:pt>
                <c:pt idx="2233">
                  <c:v>144.91198548863696</c:v>
                </c:pt>
                <c:pt idx="2234">
                  <c:v>145.62259786499916</c:v>
                </c:pt>
                <c:pt idx="2235">
                  <c:v>145.58633587867135</c:v>
                </c:pt>
                <c:pt idx="2236">
                  <c:v>145.55011921982646</c:v>
                </c:pt>
                <c:pt idx="2237">
                  <c:v>146.58793187658776</c:v>
                </c:pt>
                <c:pt idx="2238">
                  <c:v>145.32528162491238</c:v>
                </c:pt>
                <c:pt idx="2239">
                  <c:v>145.22018478552249</c:v>
                </c:pt>
                <c:pt idx="2240">
                  <c:v>145.15000949709338</c:v>
                </c:pt>
                <c:pt idx="2241">
                  <c:v>148.09189478603787</c:v>
                </c:pt>
                <c:pt idx="2242">
                  <c:v>148.0116608978615</c:v>
                </c:pt>
                <c:pt idx="2243">
                  <c:v>147.58083669736587</c:v>
                </c:pt>
                <c:pt idx="2244">
                  <c:v>147.48610406248287</c:v>
                </c:pt>
                <c:pt idx="2245">
                  <c:v>147.39148984339346</c:v>
                </c:pt>
                <c:pt idx="2246">
                  <c:v>147.39148984339346</c:v>
                </c:pt>
                <c:pt idx="2247">
                  <c:v>147.39148984339346</c:v>
                </c:pt>
                <c:pt idx="2248">
                  <c:v>147.39148984339346</c:v>
                </c:pt>
                <c:pt idx="2249">
                  <c:v>147.39148984339346</c:v>
                </c:pt>
                <c:pt idx="2250">
                  <c:v>147.39148984339346</c:v>
                </c:pt>
                <c:pt idx="2251">
                  <c:v>147.39148984339346</c:v>
                </c:pt>
                <c:pt idx="2252">
                  <c:v>147.39148984339346</c:v>
                </c:pt>
                <c:pt idx="2253">
                  <c:v>147.39148984339346</c:v>
                </c:pt>
                <c:pt idx="2254">
                  <c:v>147.39148984339346</c:v>
                </c:pt>
                <c:pt idx="2255">
                  <c:v>147.39148984339346</c:v>
                </c:pt>
                <c:pt idx="2256">
                  <c:v>147.39148984339346</c:v>
                </c:pt>
                <c:pt idx="2257">
                  <c:v>147.39148984339346</c:v>
                </c:pt>
                <c:pt idx="2258">
                  <c:v>147.39148984339346</c:v>
                </c:pt>
                <c:pt idx="2259">
                  <c:v>147.39148984339346</c:v>
                </c:pt>
                <c:pt idx="2260">
                  <c:v>147.39148984339346</c:v>
                </c:pt>
                <c:pt idx="2261">
                  <c:v>147.39148984339346</c:v>
                </c:pt>
                <c:pt idx="2262">
                  <c:v>147.39148984339346</c:v>
                </c:pt>
                <c:pt idx="2263">
                  <c:v>147.39148984339346</c:v>
                </c:pt>
                <c:pt idx="2264">
                  <c:v>147.39148984339346</c:v>
                </c:pt>
                <c:pt idx="2265">
                  <c:v>147.39148984339346</c:v>
                </c:pt>
                <c:pt idx="2266">
                  <c:v>147.39148984339346</c:v>
                </c:pt>
                <c:pt idx="2267">
                  <c:v>147.39148984339346</c:v>
                </c:pt>
                <c:pt idx="2268">
                  <c:v>147.39148984339346</c:v>
                </c:pt>
                <c:pt idx="2269">
                  <c:v>147.39148984339346</c:v>
                </c:pt>
                <c:pt idx="2270">
                  <c:v>147.39148984339346</c:v>
                </c:pt>
                <c:pt idx="2271">
                  <c:v>147.39148984339346</c:v>
                </c:pt>
                <c:pt idx="2272">
                  <c:v>147.39148984339346</c:v>
                </c:pt>
                <c:pt idx="2273">
                  <c:v>147.39148984339346</c:v>
                </c:pt>
                <c:pt idx="2274">
                  <c:v>147.39148984339346</c:v>
                </c:pt>
                <c:pt idx="2275">
                  <c:v>147.39148984339346</c:v>
                </c:pt>
                <c:pt idx="2276">
                  <c:v>147.53042645152766</c:v>
                </c:pt>
                <c:pt idx="2277">
                  <c:v>147.50275957355254</c:v>
                </c:pt>
                <c:pt idx="2278">
                  <c:v>147.47512727917487</c:v>
                </c:pt>
                <c:pt idx="2279">
                  <c:v>147.82996348239215</c:v>
                </c:pt>
                <c:pt idx="2280">
                  <c:v>148.17346199167812</c:v>
                </c:pt>
                <c:pt idx="2281">
                  <c:v>152.58224538382268</c:v>
                </c:pt>
                <c:pt idx="2282">
                  <c:v>152.58224538382268</c:v>
                </c:pt>
                <c:pt idx="2283">
                  <c:v>152.4864915610236</c:v>
                </c:pt>
                <c:pt idx="2284">
                  <c:v>152.4864915610236</c:v>
                </c:pt>
                <c:pt idx="2285">
                  <c:v>152.4864915610236</c:v>
                </c:pt>
                <c:pt idx="2286">
                  <c:v>152.4864915610236</c:v>
                </c:pt>
                <c:pt idx="2287">
                  <c:v>152.4864915610236</c:v>
                </c:pt>
                <c:pt idx="2288">
                  <c:v>152.4864915610236</c:v>
                </c:pt>
                <c:pt idx="2289">
                  <c:v>152.4864915610236</c:v>
                </c:pt>
                <c:pt idx="2290">
                  <c:v>152.4864915610236</c:v>
                </c:pt>
                <c:pt idx="2291">
                  <c:v>152.4864915610236</c:v>
                </c:pt>
                <c:pt idx="2292">
                  <c:v>152.4864915610236</c:v>
                </c:pt>
                <c:pt idx="2293">
                  <c:v>152.4864915610236</c:v>
                </c:pt>
                <c:pt idx="2294">
                  <c:v>152.4864915610236</c:v>
                </c:pt>
                <c:pt idx="2295">
                  <c:v>152.4864915610236</c:v>
                </c:pt>
                <c:pt idx="2296">
                  <c:v>152.4864915610236</c:v>
                </c:pt>
                <c:pt idx="2297">
                  <c:v>152.4864915610236</c:v>
                </c:pt>
                <c:pt idx="2298">
                  <c:v>152.4864915610236</c:v>
                </c:pt>
                <c:pt idx="2299">
                  <c:v>152.4864915610236</c:v>
                </c:pt>
                <c:pt idx="2300">
                  <c:v>152.2785179058792</c:v>
                </c:pt>
                <c:pt idx="2301">
                  <c:v>152.25080663311803</c:v>
                </c:pt>
                <c:pt idx="2302">
                  <c:v>152.4144246758772</c:v>
                </c:pt>
                <c:pt idx="2303">
                  <c:v>152.31855142701107</c:v>
                </c:pt>
                <c:pt idx="2304">
                  <c:v>152.22279801970603</c:v>
                </c:pt>
                <c:pt idx="2305">
                  <c:v>152.22279801970603</c:v>
                </c:pt>
                <c:pt idx="2306">
                  <c:v>152.22279801970603</c:v>
                </c:pt>
                <c:pt idx="2307">
                  <c:v>151.8997307361582</c:v>
                </c:pt>
                <c:pt idx="2308">
                  <c:v>151.87249253238451</c:v>
                </c:pt>
                <c:pt idx="2309">
                  <c:v>151.84528837636557</c:v>
                </c:pt>
                <c:pt idx="2310">
                  <c:v>151.84528837636557</c:v>
                </c:pt>
                <c:pt idx="2311">
                  <c:v>151.84528837636557</c:v>
                </c:pt>
                <c:pt idx="2312">
                  <c:v>151.84528837636557</c:v>
                </c:pt>
                <c:pt idx="2313">
                  <c:v>151.84528837636557</c:v>
                </c:pt>
                <c:pt idx="2314">
                  <c:v>151.84528837636557</c:v>
                </c:pt>
                <c:pt idx="2315">
                  <c:v>151.84528837636557</c:v>
                </c:pt>
                <c:pt idx="2316">
                  <c:v>151.84528837636557</c:v>
                </c:pt>
                <c:pt idx="2317">
                  <c:v>151.84528837636557</c:v>
                </c:pt>
                <c:pt idx="2318">
                  <c:v>151.84528837636557</c:v>
                </c:pt>
                <c:pt idx="2319">
                  <c:v>149.8388940965423</c:v>
                </c:pt>
                <c:pt idx="2320">
                  <c:v>149.80157393959857</c:v>
                </c:pt>
                <c:pt idx="2321">
                  <c:v>149.76430043285103</c:v>
                </c:pt>
                <c:pt idx="2322">
                  <c:v>149.76430043285103</c:v>
                </c:pt>
                <c:pt idx="2323">
                  <c:v>149.76430043285103</c:v>
                </c:pt>
                <c:pt idx="2324">
                  <c:v>149.76430043285103</c:v>
                </c:pt>
                <c:pt idx="2325">
                  <c:v>149.76430043285103</c:v>
                </c:pt>
                <c:pt idx="2326">
                  <c:v>149.76430043285103</c:v>
                </c:pt>
                <c:pt idx="2327">
                  <c:v>149.76430043285103</c:v>
                </c:pt>
                <c:pt idx="2328">
                  <c:v>149.76430043285103</c:v>
                </c:pt>
                <c:pt idx="2329">
                  <c:v>149.76430043285103</c:v>
                </c:pt>
                <c:pt idx="2330">
                  <c:v>149.76430043285103</c:v>
                </c:pt>
                <c:pt idx="2331">
                  <c:v>149.76430043285103</c:v>
                </c:pt>
                <c:pt idx="2332">
                  <c:v>149.76430043285103</c:v>
                </c:pt>
                <c:pt idx="2333">
                  <c:v>149.76430043285103</c:v>
                </c:pt>
                <c:pt idx="2334">
                  <c:v>149.76430043285103</c:v>
                </c:pt>
                <c:pt idx="2335">
                  <c:v>149.76430043285103</c:v>
                </c:pt>
                <c:pt idx="2336">
                  <c:v>149.81087560748912</c:v>
                </c:pt>
                <c:pt idx="2337">
                  <c:v>149.7836472376969</c:v>
                </c:pt>
                <c:pt idx="2338">
                  <c:v>149.75645290336689</c:v>
                </c:pt>
                <c:pt idx="2339">
                  <c:v>149.75645290336689</c:v>
                </c:pt>
                <c:pt idx="2340">
                  <c:v>149.75645290336689</c:v>
                </c:pt>
                <c:pt idx="2341">
                  <c:v>149.75645290336689</c:v>
                </c:pt>
                <c:pt idx="2342">
                  <c:v>149.75645290336689</c:v>
                </c:pt>
                <c:pt idx="2343">
                  <c:v>149.75645290336689</c:v>
                </c:pt>
                <c:pt idx="2344">
                  <c:v>149.75645290336689</c:v>
                </c:pt>
                <c:pt idx="2345">
                  <c:v>149.82802502192874</c:v>
                </c:pt>
                <c:pt idx="2346">
                  <c:v>149.80077521536845</c:v>
                </c:pt>
                <c:pt idx="2347">
                  <c:v>149.18107353899359</c:v>
                </c:pt>
                <c:pt idx="2348">
                  <c:v>149.08878166579217</c:v>
                </c:pt>
                <c:pt idx="2349">
                  <c:v>148.99660515743221</c:v>
                </c:pt>
                <c:pt idx="2350">
                  <c:v>148.99964323009334</c:v>
                </c:pt>
                <c:pt idx="2351">
                  <c:v>148.97245770788081</c:v>
                </c:pt>
                <c:pt idx="2352">
                  <c:v>148.90737563382112</c:v>
                </c:pt>
                <c:pt idx="2353">
                  <c:v>148.27949109856803</c:v>
                </c:pt>
                <c:pt idx="2354">
                  <c:v>148.22436553720661</c:v>
                </c:pt>
                <c:pt idx="2355">
                  <c:v>148.18826207967979</c:v>
                </c:pt>
                <c:pt idx="2356">
                  <c:v>147.73077250768429</c:v>
                </c:pt>
                <c:pt idx="2357">
                  <c:v>151.02110907338783</c:v>
                </c:pt>
                <c:pt idx="2358">
                  <c:v>149.9426359998634</c:v>
                </c:pt>
                <c:pt idx="2359">
                  <c:v>149.36779243750354</c:v>
                </c:pt>
                <c:pt idx="2360">
                  <c:v>144.88108883343963</c:v>
                </c:pt>
                <c:pt idx="2361">
                  <c:v>144.88108883343963</c:v>
                </c:pt>
                <c:pt idx="2362">
                  <c:v>144.81822005589686</c:v>
                </c:pt>
                <c:pt idx="2363">
                  <c:v>144.81822005589686</c:v>
                </c:pt>
                <c:pt idx="2364">
                  <c:v>144.81822005589686</c:v>
                </c:pt>
                <c:pt idx="2365">
                  <c:v>144.81822005589686</c:v>
                </c:pt>
                <c:pt idx="2366">
                  <c:v>144.11987476690126</c:v>
                </c:pt>
                <c:pt idx="2367">
                  <c:v>144.05795750694165</c:v>
                </c:pt>
                <c:pt idx="2368">
                  <c:v>143.98764389086236</c:v>
                </c:pt>
                <c:pt idx="2369">
                  <c:v>143.88040494088173</c:v>
                </c:pt>
                <c:pt idx="2370">
                  <c:v>141.93348921572735</c:v>
                </c:pt>
                <c:pt idx="2371">
                  <c:v>141.93348921572735</c:v>
                </c:pt>
                <c:pt idx="2372">
                  <c:v>141.84718733682229</c:v>
                </c:pt>
                <c:pt idx="2373">
                  <c:v>141.84718733682229</c:v>
                </c:pt>
                <c:pt idx="2374">
                  <c:v>140.59477996633458</c:v>
                </c:pt>
                <c:pt idx="2375">
                  <c:v>140.53645203191215</c:v>
                </c:pt>
                <c:pt idx="2376">
                  <c:v>140.03553612270244</c:v>
                </c:pt>
                <c:pt idx="2377">
                  <c:v>139.90852395651171</c:v>
                </c:pt>
                <c:pt idx="2378">
                  <c:v>139.93432665856662</c:v>
                </c:pt>
                <c:pt idx="2379">
                  <c:v>139.93432665856662</c:v>
                </c:pt>
                <c:pt idx="2380">
                  <c:v>139.8768242907789</c:v>
                </c:pt>
                <c:pt idx="2381">
                  <c:v>139.8768242907789</c:v>
                </c:pt>
                <c:pt idx="2382">
                  <c:v>140.1882920963879</c:v>
                </c:pt>
                <c:pt idx="2383">
                  <c:v>140.16160220371</c:v>
                </c:pt>
                <c:pt idx="2384">
                  <c:v>140.1877126919515</c:v>
                </c:pt>
                <c:pt idx="2385">
                  <c:v>140.13021624335033</c:v>
                </c:pt>
                <c:pt idx="2386">
                  <c:v>138.89066520820916</c:v>
                </c:pt>
                <c:pt idx="2387">
                  <c:v>138.83479006896266</c:v>
                </c:pt>
                <c:pt idx="2388">
                  <c:v>138.77898477364022</c:v>
                </c:pt>
                <c:pt idx="2389">
                  <c:v>138.77898477364022</c:v>
                </c:pt>
                <c:pt idx="2390">
                  <c:v>138.77898477364022</c:v>
                </c:pt>
                <c:pt idx="2391">
                  <c:v>138.77898477364022</c:v>
                </c:pt>
                <c:pt idx="2392">
                  <c:v>138.77898477364022</c:v>
                </c:pt>
                <c:pt idx="2393">
                  <c:v>138.77898477364022</c:v>
                </c:pt>
                <c:pt idx="2394">
                  <c:v>138.77898477364022</c:v>
                </c:pt>
                <c:pt idx="2395">
                  <c:v>143.01514890161863</c:v>
                </c:pt>
                <c:pt idx="2396">
                  <c:v>142.91873871384405</c:v>
                </c:pt>
                <c:pt idx="2397">
                  <c:v>142.82244903880417</c:v>
                </c:pt>
                <c:pt idx="2398">
                  <c:v>142.55362650659976</c:v>
                </c:pt>
                <c:pt idx="2399">
                  <c:v>142.45779322181895</c:v>
                </c:pt>
                <c:pt idx="2400">
                  <c:v>142.36207972864412</c:v>
                </c:pt>
                <c:pt idx="2401">
                  <c:v>142.10089556393402</c:v>
                </c:pt>
                <c:pt idx="2402">
                  <c:v>142.26534342741394</c:v>
                </c:pt>
                <c:pt idx="2403">
                  <c:v>142.63091177246847</c:v>
                </c:pt>
                <c:pt idx="2404">
                  <c:v>142.18749868299145</c:v>
                </c:pt>
                <c:pt idx="2405">
                  <c:v>142.16716737325251</c:v>
                </c:pt>
                <c:pt idx="2406">
                  <c:v>142.56246966259701</c:v>
                </c:pt>
                <c:pt idx="2407">
                  <c:v>142.14314073797951</c:v>
                </c:pt>
                <c:pt idx="2408">
                  <c:v>142.22895987445557</c:v>
                </c:pt>
                <c:pt idx="2409">
                  <c:v>142.49134730026842</c:v>
                </c:pt>
                <c:pt idx="2410">
                  <c:v>142.49134730026842</c:v>
                </c:pt>
                <c:pt idx="2411">
                  <c:v>142.45311379185171</c:v>
                </c:pt>
                <c:pt idx="2412">
                  <c:v>142.45418502699548</c:v>
                </c:pt>
                <c:pt idx="2413">
                  <c:v>142.39666176059535</c:v>
                </c:pt>
                <c:pt idx="2414">
                  <c:v>146.27160728764733</c:v>
                </c:pt>
                <c:pt idx="2415">
                  <c:v>146.21095625283232</c:v>
                </c:pt>
                <c:pt idx="2416">
                  <c:v>146.15038103181084</c:v>
                </c:pt>
                <c:pt idx="2417">
                  <c:v>146.15038103181084</c:v>
                </c:pt>
                <c:pt idx="2418">
                  <c:v>146.15038103181084</c:v>
                </c:pt>
                <c:pt idx="2419">
                  <c:v>146.15038103181084</c:v>
                </c:pt>
                <c:pt idx="2420">
                  <c:v>146.21774769033951</c:v>
                </c:pt>
                <c:pt idx="2421">
                  <c:v>146.16028393390212</c:v>
                </c:pt>
                <c:pt idx="2422">
                  <c:v>146.32096367548905</c:v>
                </c:pt>
                <c:pt idx="2423">
                  <c:v>146.26337089907022</c:v>
                </c:pt>
                <c:pt idx="2424">
                  <c:v>146.20585011362192</c:v>
                </c:pt>
                <c:pt idx="2425">
                  <c:v>146.20585011362192</c:v>
                </c:pt>
                <c:pt idx="2426">
                  <c:v>147.41517541784754</c:v>
                </c:pt>
                <c:pt idx="2427">
                  <c:v>147.38704055156813</c:v>
                </c:pt>
                <c:pt idx="2428">
                  <c:v>147.35894085387156</c:v>
                </c:pt>
                <c:pt idx="2429">
                  <c:v>148.31764268140631</c:v>
                </c:pt>
                <c:pt idx="2430">
                  <c:v>148.25899541965538</c:v>
                </c:pt>
                <c:pt idx="2431">
                  <c:v>147.89624684589518</c:v>
                </c:pt>
                <c:pt idx="2432">
                  <c:v>147.83612756217633</c:v>
                </c:pt>
                <c:pt idx="2433">
                  <c:v>147.77608342756213</c:v>
                </c:pt>
                <c:pt idx="2434">
                  <c:v>147.77608342756213</c:v>
                </c:pt>
                <c:pt idx="2435">
                  <c:v>147.77608342756213</c:v>
                </c:pt>
                <c:pt idx="2436">
                  <c:v>147.77608342756213</c:v>
                </c:pt>
                <c:pt idx="2437">
                  <c:v>147.77608342756213</c:v>
                </c:pt>
                <c:pt idx="2438">
                  <c:v>147.77608342756213</c:v>
                </c:pt>
                <c:pt idx="2439">
                  <c:v>147.77608342756213</c:v>
                </c:pt>
                <c:pt idx="2440">
                  <c:v>147.77608342756213</c:v>
                </c:pt>
                <c:pt idx="2441">
                  <c:v>147.77608342756213</c:v>
                </c:pt>
                <c:pt idx="2442">
                  <c:v>147.77608342756213</c:v>
                </c:pt>
                <c:pt idx="2443">
                  <c:v>147.77608342756213</c:v>
                </c:pt>
                <c:pt idx="2444">
                  <c:v>148.55407834379668</c:v>
                </c:pt>
                <c:pt idx="2445">
                  <c:v>148.465072197631</c:v>
                </c:pt>
                <c:pt idx="2446">
                  <c:v>148.37617730914803</c:v>
                </c:pt>
                <c:pt idx="2447">
                  <c:v>148.37617730914803</c:v>
                </c:pt>
                <c:pt idx="2448">
                  <c:v>148.37617730914803</c:v>
                </c:pt>
                <c:pt idx="2449">
                  <c:v>148.37617730914803</c:v>
                </c:pt>
                <c:pt idx="2450">
                  <c:v>148.37617730914803</c:v>
                </c:pt>
                <c:pt idx="2451">
                  <c:v>148.37617730914803</c:v>
                </c:pt>
                <c:pt idx="2452">
                  <c:v>148.37617730914803</c:v>
                </c:pt>
                <c:pt idx="2453">
                  <c:v>148.37617730914803</c:v>
                </c:pt>
                <c:pt idx="2454">
                  <c:v>148.37617730914803</c:v>
                </c:pt>
                <c:pt idx="2455">
                  <c:v>148.37617730914803</c:v>
                </c:pt>
                <c:pt idx="2456">
                  <c:v>148.37617730914803</c:v>
                </c:pt>
                <c:pt idx="2457">
                  <c:v>148.37617730914803</c:v>
                </c:pt>
                <c:pt idx="2458">
                  <c:v>148.37617730914803</c:v>
                </c:pt>
                <c:pt idx="2459">
                  <c:v>148.37617730914803</c:v>
                </c:pt>
                <c:pt idx="2460">
                  <c:v>148.37617730914803</c:v>
                </c:pt>
                <c:pt idx="2461">
                  <c:v>148.37617730914803</c:v>
                </c:pt>
                <c:pt idx="2462">
                  <c:v>148.37617730914803</c:v>
                </c:pt>
                <c:pt idx="2463">
                  <c:v>148.37617730914803</c:v>
                </c:pt>
                <c:pt idx="2464">
                  <c:v>148.37617730914803</c:v>
                </c:pt>
                <c:pt idx="2465">
                  <c:v>148.36182672579204</c:v>
                </c:pt>
                <c:pt idx="2466">
                  <c:v>148.33354095826698</c:v>
                </c:pt>
                <c:pt idx="2467">
                  <c:v>148.30529054795133</c:v>
                </c:pt>
                <c:pt idx="2468">
                  <c:v>148.30529054795133</c:v>
                </c:pt>
                <c:pt idx="2469">
                  <c:v>148.30529054795133</c:v>
                </c:pt>
                <c:pt idx="2470">
                  <c:v>148.30529054795133</c:v>
                </c:pt>
                <c:pt idx="2471">
                  <c:v>148.30529054795133</c:v>
                </c:pt>
                <c:pt idx="2472">
                  <c:v>148.30529054795133</c:v>
                </c:pt>
                <c:pt idx="2473">
                  <c:v>148.30529054795133</c:v>
                </c:pt>
                <c:pt idx="2474">
                  <c:v>148.30529054795133</c:v>
                </c:pt>
                <c:pt idx="2475">
                  <c:v>148.30529054795133</c:v>
                </c:pt>
                <c:pt idx="2476">
                  <c:v>148.30529054795133</c:v>
                </c:pt>
                <c:pt idx="2477">
                  <c:v>148.30529054795133</c:v>
                </c:pt>
                <c:pt idx="2478">
                  <c:v>148.30529054795133</c:v>
                </c:pt>
                <c:pt idx="2479">
                  <c:v>148.30529054795133</c:v>
                </c:pt>
                <c:pt idx="2480">
                  <c:v>148.30529054795133</c:v>
                </c:pt>
              </c:numCache>
            </c:numRef>
          </c:val>
          <c:smooth val="0"/>
          <c:extLst xmlns:c16r2="http://schemas.microsoft.com/office/drawing/2015/06/chart">
            <c:ext xmlns:c16="http://schemas.microsoft.com/office/drawing/2014/chart" uri="{C3380CC4-5D6E-409C-BE32-E72D297353CC}">
              <c16:uniqueId val="{00000002-1A60-4896-ABB6-996D1CB7440F}"/>
            </c:ext>
          </c:extLst>
        </c:ser>
        <c:dLbls>
          <c:showLegendKey val="0"/>
          <c:showVal val="0"/>
          <c:showCatName val="0"/>
          <c:showSerName val="0"/>
          <c:showPercent val="0"/>
          <c:showBubbleSize val="0"/>
        </c:dLbls>
        <c:marker val="1"/>
        <c:smooth val="0"/>
        <c:axId val="559623168"/>
        <c:axId val="559641344"/>
      </c:lineChart>
      <c:dateAx>
        <c:axId val="559623168"/>
        <c:scaling>
          <c:orientation val="minMax"/>
        </c:scaling>
        <c:delete val="0"/>
        <c:axPos val="b"/>
        <c:numFmt formatCode="m/d/yyyy" sourceLinked="1"/>
        <c:majorTickMark val="none"/>
        <c:minorTickMark val="none"/>
        <c:tickLblPos val="nextTo"/>
        <c:crossAx val="559641344"/>
        <c:crosses val="autoZero"/>
        <c:auto val="1"/>
        <c:lblOffset val="100"/>
        <c:baseTimeUnit val="days"/>
      </c:dateAx>
      <c:valAx>
        <c:axId val="559641344"/>
        <c:scaling>
          <c:orientation val="minMax"/>
        </c:scaling>
        <c:delete val="0"/>
        <c:axPos val="l"/>
        <c:majorGridlines/>
        <c:numFmt formatCode="General" sourceLinked="1"/>
        <c:majorTickMark val="none"/>
        <c:minorTickMark val="none"/>
        <c:tickLblPos val="nextTo"/>
        <c:spPr>
          <a:ln w="9525">
            <a:noFill/>
          </a:ln>
        </c:spPr>
        <c:crossAx val="55962316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scatterChart>
        <c:scatterStyle val="lineMarker"/>
        <c:varyColors val="0"/>
        <c:ser>
          <c:idx val="0"/>
          <c:order val="0"/>
          <c:tx>
            <c:strRef>
              <c:f>Sheet8!$Z$36</c:f>
              <c:strCache>
                <c:ptCount val="1"/>
                <c:pt idx="0">
                  <c:v>S&amp;P Index monthly performance for Mean reversion monthly performance &gt;= 2%</c:v>
                </c:pt>
              </c:strCache>
            </c:strRef>
          </c:tx>
          <c:spPr>
            <a:ln w="28575">
              <a:noFill/>
            </a:ln>
          </c:spPr>
          <c:xVal>
            <c:numRef>
              <c:f>Sheet8!$Y$37:$Y$375</c:f>
              <c:numCache>
                <c:formatCode>0.00%</c:formatCode>
                <c:ptCount val="339"/>
                <c:pt idx="0">
                  <c:v>0.100958356414937</c:v>
                </c:pt>
                <c:pt idx="1">
                  <c:v>0.10018970437867569</c:v>
                </c:pt>
                <c:pt idx="2">
                  <c:v>9.9987737795320886E-2</c:v>
                </c:pt>
                <c:pt idx="3">
                  <c:v>9.9910231260586846E-2</c:v>
                </c:pt>
                <c:pt idx="4">
                  <c:v>9.9910231260586846E-2</c:v>
                </c:pt>
                <c:pt idx="5">
                  <c:v>9.9910231260586846E-2</c:v>
                </c:pt>
                <c:pt idx="6">
                  <c:v>9.9910231260586846E-2</c:v>
                </c:pt>
                <c:pt idx="7">
                  <c:v>9.9910231260586846E-2</c:v>
                </c:pt>
                <c:pt idx="8">
                  <c:v>9.9910231260586846E-2</c:v>
                </c:pt>
                <c:pt idx="9">
                  <c:v>9.9910231260586846E-2</c:v>
                </c:pt>
                <c:pt idx="10">
                  <c:v>9.9910231260586846E-2</c:v>
                </c:pt>
                <c:pt idx="11">
                  <c:v>8.8805026386257868E-2</c:v>
                </c:pt>
                <c:pt idx="12">
                  <c:v>8.8531192134658987E-2</c:v>
                </c:pt>
                <c:pt idx="13">
                  <c:v>8.8531192134658987E-2</c:v>
                </c:pt>
                <c:pt idx="14">
                  <c:v>8.8261337913220661E-2</c:v>
                </c:pt>
                <c:pt idx="15">
                  <c:v>8.8261337913220661E-2</c:v>
                </c:pt>
                <c:pt idx="16">
                  <c:v>8.8120691546566876E-2</c:v>
                </c:pt>
                <c:pt idx="17">
                  <c:v>8.8120691546566876E-2</c:v>
                </c:pt>
                <c:pt idx="18">
                  <c:v>8.2791264177140667E-2</c:v>
                </c:pt>
                <c:pt idx="19">
                  <c:v>7.7787214495450341E-2</c:v>
                </c:pt>
                <c:pt idx="20">
                  <c:v>7.6745833705209154E-2</c:v>
                </c:pt>
                <c:pt idx="21">
                  <c:v>5.3989604594875784E-2</c:v>
                </c:pt>
                <c:pt idx="22">
                  <c:v>5.3832379090995364E-2</c:v>
                </c:pt>
                <c:pt idx="23">
                  <c:v>5.3832379090995364E-2</c:v>
                </c:pt>
                <c:pt idx="24">
                  <c:v>5.3599564740705041E-2</c:v>
                </c:pt>
                <c:pt idx="25">
                  <c:v>5.3599564740705041E-2</c:v>
                </c:pt>
                <c:pt idx="26">
                  <c:v>5.3599564740705041E-2</c:v>
                </c:pt>
                <c:pt idx="27">
                  <c:v>5.3599564740705041E-2</c:v>
                </c:pt>
                <c:pt idx="28">
                  <c:v>5.3599564740705041E-2</c:v>
                </c:pt>
                <c:pt idx="29">
                  <c:v>5.3599564740705041E-2</c:v>
                </c:pt>
                <c:pt idx="30">
                  <c:v>5.3599564740705041E-2</c:v>
                </c:pt>
                <c:pt idx="31">
                  <c:v>5.3599564740705041E-2</c:v>
                </c:pt>
                <c:pt idx="32">
                  <c:v>5.3599564740705041E-2</c:v>
                </c:pt>
                <c:pt idx="33">
                  <c:v>5.3599564740705041E-2</c:v>
                </c:pt>
                <c:pt idx="34">
                  <c:v>5.3599564740705041E-2</c:v>
                </c:pt>
                <c:pt idx="35">
                  <c:v>5.3599564740705041E-2</c:v>
                </c:pt>
                <c:pt idx="36">
                  <c:v>5.3599564740705041E-2</c:v>
                </c:pt>
                <c:pt idx="37">
                  <c:v>5.3552571315565123E-2</c:v>
                </c:pt>
                <c:pt idx="38">
                  <c:v>5.3046125601716954E-2</c:v>
                </c:pt>
                <c:pt idx="39">
                  <c:v>5.3011104053194646E-2</c:v>
                </c:pt>
                <c:pt idx="40">
                  <c:v>5.3011104053194646E-2</c:v>
                </c:pt>
                <c:pt idx="41">
                  <c:v>5.2818221067124638E-2</c:v>
                </c:pt>
                <c:pt idx="42">
                  <c:v>5.2424228199389633E-2</c:v>
                </c:pt>
                <c:pt idx="43">
                  <c:v>5.2278811543007064E-2</c:v>
                </c:pt>
                <c:pt idx="44">
                  <c:v>5.2236343893250714E-2</c:v>
                </c:pt>
                <c:pt idx="45">
                  <c:v>5.1985321293386288E-2</c:v>
                </c:pt>
                <c:pt idx="46">
                  <c:v>5.1606510300156394E-2</c:v>
                </c:pt>
                <c:pt idx="47">
                  <c:v>5.0170800656940573E-2</c:v>
                </c:pt>
                <c:pt idx="48">
                  <c:v>4.9578469520964896E-2</c:v>
                </c:pt>
                <c:pt idx="49">
                  <c:v>4.9303879540394391E-2</c:v>
                </c:pt>
                <c:pt idx="50">
                  <c:v>4.8806641901907533E-2</c:v>
                </c:pt>
                <c:pt idx="51">
                  <c:v>4.8406234327473152E-2</c:v>
                </c:pt>
                <c:pt idx="52">
                  <c:v>4.8406234327473152E-2</c:v>
                </c:pt>
                <c:pt idx="53">
                  <c:v>4.8373215478697107E-2</c:v>
                </c:pt>
                <c:pt idx="54">
                  <c:v>4.7787100089373258E-2</c:v>
                </c:pt>
                <c:pt idx="55">
                  <c:v>4.7787100089373258E-2</c:v>
                </c:pt>
                <c:pt idx="56">
                  <c:v>4.7787100089373258E-2</c:v>
                </c:pt>
                <c:pt idx="57">
                  <c:v>4.7787100089373258E-2</c:v>
                </c:pt>
                <c:pt idx="58">
                  <c:v>4.7787100089373258E-2</c:v>
                </c:pt>
                <c:pt idx="59">
                  <c:v>4.7787100089373258E-2</c:v>
                </c:pt>
                <c:pt idx="60">
                  <c:v>4.7787100089373258E-2</c:v>
                </c:pt>
                <c:pt idx="61">
                  <c:v>4.7787100089373258E-2</c:v>
                </c:pt>
                <c:pt idx="62">
                  <c:v>4.7787100089373258E-2</c:v>
                </c:pt>
                <c:pt idx="63">
                  <c:v>4.7787100089373258E-2</c:v>
                </c:pt>
                <c:pt idx="64">
                  <c:v>4.7787100089373258E-2</c:v>
                </c:pt>
                <c:pt idx="65">
                  <c:v>4.7787100089373258E-2</c:v>
                </c:pt>
                <c:pt idx="66">
                  <c:v>4.7787100089373258E-2</c:v>
                </c:pt>
                <c:pt idx="67">
                  <c:v>4.7787100089373258E-2</c:v>
                </c:pt>
                <c:pt idx="68">
                  <c:v>4.7787100089373258E-2</c:v>
                </c:pt>
                <c:pt idx="69">
                  <c:v>4.7787100089373036E-2</c:v>
                </c:pt>
                <c:pt idx="70">
                  <c:v>4.7093138007192836E-2</c:v>
                </c:pt>
                <c:pt idx="71">
                  <c:v>4.6820981813125551E-2</c:v>
                </c:pt>
                <c:pt idx="72">
                  <c:v>4.6771975839935642E-2</c:v>
                </c:pt>
                <c:pt idx="73">
                  <c:v>4.6730540152123412E-2</c:v>
                </c:pt>
                <c:pt idx="74">
                  <c:v>4.6491217520188588E-2</c:v>
                </c:pt>
                <c:pt idx="75">
                  <c:v>4.6478691023258856E-2</c:v>
                </c:pt>
                <c:pt idx="76">
                  <c:v>4.5304012749773914E-2</c:v>
                </c:pt>
                <c:pt idx="77">
                  <c:v>4.5291388438105651E-2</c:v>
                </c:pt>
                <c:pt idx="78">
                  <c:v>4.5257510321701888E-2</c:v>
                </c:pt>
                <c:pt idx="79">
                  <c:v>4.4998799935217493E-2</c:v>
                </c:pt>
                <c:pt idx="80">
                  <c:v>4.4929941936620033E-2</c:v>
                </c:pt>
                <c:pt idx="81">
                  <c:v>4.4745489780525283E-2</c:v>
                </c:pt>
                <c:pt idx="82">
                  <c:v>4.4461384207002075E-2</c:v>
                </c:pt>
                <c:pt idx="83">
                  <c:v>4.3755844907781949E-2</c:v>
                </c:pt>
                <c:pt idx="84">
                  <c:v>4.370214216689372E-2</c:v>
                </c:pt>
                <c:pt idx="85">
                  <c:v>4.3411349090245466E-2</c:v>
                </c:pt>
                <c:pt idx="86">
                  <c:v>4.3380875422638576E-2</c:v>
                </c:pt>
                <c:pt idx="87">
                  <c:v>4.3220430036268631E-2</c:v>
                </c:pt>
                <c:pt idx="88">
                  <c:v>4.3101714011823056E-2</c:v>
                </c:pt>
                <c:pt idx="89">
                  <c:v>4.3074321987015773E-2</c:v>
                </c:pt>
                <c:pt idx="90">
                  <c:v>4.3042765219186041E-2</c:v>
                </c:pt>
                <c:pt idx="91">
                  <c:v>4.2809022946699304E-2</c:v>
                </c:pt>
                <c:pt idx="92">
                  <c:v>4.2792465977248284E-2</c:v>
                </c:pt>
                <c:pt idx="93">
                  <c:v>4.2363816572541957E-2</c:v>
                </c:pt>
                <c:pt idx="94">
                  <c:v>4.2073893814247088E-2</c:v>
                </c:pt>
                <c:pt idx="95">
                  <c:v>4.2049149337489933E-2</c:v>
                </c:pt>
                <c:pt idx="96">
                  <c:v>4.1815780035537431E-2</c:v>
                </c:pt>
                <c:pt idx="97">
                  <c:v>4.1649251364958229E-2</c:v>
                </c:pt>
                <c:pt idx="98">
                  <c:v>4.132951791241557E-2</c:v>
                </c:pt>
                <c:pt idx="99">
                  <c:v>4.1008492115501838E-2</c:v>
                </c:pt>
                <c:pt idx="100">
                  <c:v>4.0997552863961673E-2</c:v>
                </c:pt>
                <c:pt idx="101">
                  <c:v>4.0477181447607036E-2</c:v>
                </c:pt>
                <c:pt idx="102">
                  <c:v>4.0366534545158705E-2</c:v>
                </c:pt>
                <c:pt idx="103">
                  <c:v>4.0297139340359944E-2</c:v>
                </c:pt>
                <c:pt idx="104">
                  <c:v>4.0162635247635858E-2</c:v>
                </c:pt>
                <c:pt idx="105">
                  <c:v>3.9773324376646269E-2</c:v>
                </c:pt>
                <c:pt idx="106">
                  <c:v>3.9533975836773205E-2</c:v>
                </c:pt>
                <c:pt idx="107">
                  <c:v>3.8941485702946643E-2</c:v>
                </c:pt>
                <c:pt idx="108">
                  <c:v>3.8718392462269158E-2</c:v>
                </c:pt>
                <c:pt idx="109">
                  <c:v>3.8492317310908186E-2</c:v>
                </c:pt>
                <c:pt idx="110">
                  <c:v>3.844597790235027E-2</c:v>
                </c:pt>
                <c:pt idx="111">
                  <c:v>3.8013381472228769E-2</c:v>
                </c:pt>
                <c:pt idx="112">
                  <c:v>3.8013381472228769E-2</c:v>
                </c:pt>
                <c:pt idx="113">
                  <c:v>3.7931422840975504E-2</c:v>
                </c:pt>
                <c:pt idx="114">
                  <c:v>3.7787968455291976E-2</c:v>
                </c:pt>
                <c:pt idx="115">
                  <c:v>3.7777723160469456E-2</c:v>
                </c:pt>
                <c:pt idx="116">
                  <c:v>3.764123897152305E-2</c:v>
                </c:pt>
                <c:pt idx="117">
                  <c:v>3.7525942717962391E-2</c:v>
                </c:pt>
                <c:pt idx="118">
                  <c:v>3.7451602620118152E-2</c:v>
                </c:pt>
                <c:pt idx="119">
                  <c:v>3.7358666574506927E-2</c:v>
                </c:pt>
                <c:pt idx="120">
                  <c:v>3.7228526409201379E-2</c:v>
                </c:pt>
                <c:pt idx="121">
                  <c:v>3.7228526409201379E-2</c:v>
                </c:pt>
                <c:pt idx="122">
                  <c:v>3.7228526409201379E-2</c:v>
                </c:pt>
                <c:pt idx="123">
                  <c:v>3.7105065453287178E-2</c:v>
                </c:pt>
                <c:pt idx="124">
                  <c:v>3.7083279876810815E-2</c:v>
                </c:pt>
                <c:pt idx="125">
                  <c:v>3.6914346269674603E-2</c:v>
                </c:pt>
                <c:pt idx="126">
                  <c:v>3.6883760485938E-2</c:v>
                </c:pt>
                <c:pt idx="127">
                  <c:v>3.6693997957359281E-2</c:v>
                </c:pt>
                <c:pt idx="128">
                  <c:v>3.6599252994139242E-2</c:v>
                </c:pt>
                <c:pt idx="129">
                  <c:v>3.6578947642837756E-2</c:v>
                </c:pt>
                <c:pt idx="130">
                  <c:v>3.6257068095029155E-2</c:v>
                </c:pt>
                <c:pt idx="131">
                  <c:v>3.6001332718294199E-2</c:v>
                </c:pt>
                <c:pt idx="132">
                  <c:v>3.5937547674649073E-2</c:v>
                </c:pt>
                <c:pt idx="133">
                  <c:v>3.5937547674649073E-2</c:v>
                </c:pt>
                <c:pt idx="134">
                  <c:v>3.5937547674649073E-2</c:v>
                </c:pt>
                <c:pt idx="135">
                  <c:v>3.5937547674649073E-2</c:v>
                </c:pt>
                <c:pt idx="136">
                  <c:v>3.5937547674649073E-2</c:v>
                </c:pt>
                <c:pt idx="137">
                  <c:v>3.5880419584773504E-2</c:v>
                </c:pt>
                <c:pt idx="138">
                  <c:v>3.586657492646661E-2</c:v>
                </c:pt>
                <c:pt idx="139">
                  <c:v>3.5686334628972416E-2</c:v>
                </c:pt>
                <c:pt idx="140">
                  <c:v>3.5592300116566111E-2</c:v>
                </c:pt>
                <c:pt idx="141">
                  <c:v>3.5592300116566111E-2</c:v>
                </c:pt>
                <c:pt idx="142">
                  <c:v>3.5592300116566111E-2</c:v>
                </c:pt>
                <c:pt idx="143">
                  <c:v>3.5592300116566111E-2</c:v>
                </c:pt>
                <c:pt idx="144">
                  <c:v>3.5592300116566111E-2</c:v>
                </c:pt>
                <c:pt idx="145">
                  <c:v>3.5463171544956484E-2</c:v>
                </c:pt>
                <c:pt idx="146">
                  <c:v>3.5440227139860836E-2</c:v>
                </c:pt>
                <c:pt idx="147">
                  <c:v>3.533088870337231E-2</c:v>
                </c:pt>
                <c:pt idx="148">
                  <c:v>3.5295342307374744E-2</c:v>
                </c:pt>
                <c:pt idx="149">
                  <c:v>3.5217471143988766E-2</c:v>
                </c:pt>
                <c:pt idx="150">
                  <c:v>3.5217471143988766E-2</c:v>
                </c:pt>
                <c:pt idx="151">
                  <c:v>3.5190648582839712E-2</c:v>
                </c:pt>
                <c:pt idx="152">
                  <c:v>3.5146449464998009E-2</c:v>
                </c:pt>
                <c:pt idx="153">
                  <c:v>3.5079276559235151E-2</c:v>
                </c:pt>
                <c:pt idx="154">
                  <c:v>3.4943217629766377E-2</c:v>
                </c:pt>
                <c:pt idx="155">
                  <c:v>3.48998450718081E-2</c:v>
                </c:pt>
                <c:pt idx="156">
                  <c:v>3.4884213557565991E-2</c:v>
                </c:pt>
                <c:pt idx="157">
                  <c:v>3.4860200096211713E-2</c:v>
                </c:pt>
                <c:pt idx="158">
                  <c:v>3.4593907728642348E-2</c:v>
                </c:pt>
                <c:pt idx="159">
                  <c:v>3.4567814756765625E-2</c:v>
                </c:pt>
                <c:pt idx="160">
                  <c:v>3.4567814756765625E-2</c:v>
                </c:pt>
                <c:pt idx="161">
                  <c:v>3.4567814756765625E-2</c:v>
                </c:pt>
                <c:pt idx="162">
                  <c:v>3.4567814756765625E-2</c:v>
                </c:pt>
                <c:pt idx="163">
                  <c:v>3.4567814756765625E-2</c:v>
                </c:pt>
                <c:pt idx="164">
                  <c:v>3.4567814756765625E-2</c:v>
                </c:pt>
                <c:pt idx="165">
                  <c:v>3.4567814756765625E-2</c:v>
                </c:pt>
                <c:pt idx="166">
                  <c:v>3.4567814756765625E-2</c:v>
                </c:pt>
                <c:pt idx="167">
                  <c:v>3.4567814756765625E-2</c:v>
                </c:pt>
                <c:pt idx="168">
                  <c:v>3.4567814756765625E-2</c:v>
                </c:pt>
                <c:pt idx="169">
                  <c:v>3.4567814756765625E-2</c:v>
                </c:pt>
                <c:pt idx="170">
                  <c:v>3.4567814756765625E-2</c:v>
                </c:pt>
                <c:pt idx="171">
                  <c:v>3.4567814756765625E-2</c:v>
                </c:pt>
                <c:pt idx="172">
                  <c:v>3.4567814756765625E-2</c:v>
                </c:pt>
                <c:pt idx="173">
                  <c:v>3.3981081246073908E-2</c:v>
                </c:pt>
                <c:pt idx="174">
                  <c:v>3.3930816354037496E-2</c:v>
                </c:pt>
                <c:pt idx="175">
                  <c:v>3.3841802126390208E-2</c:v>
                </c:pt>
                <c:pt idx="176">
                  <c:v>3.3787381347166745E-2</c:v>
                </c:pt>
                <c:pt idx="177">
                  <c:v>3.3631177680278679E-2</c:v>
                </c:pt>
                <c:pt idx="178">
                  <c:v>3.3593511716203839E-2</c:v>
                </c:pt>
                <c:pt idx="179">
                  <c:v>3.3581973848836766E-2</c:v>
                </c:pt>
                <c:pt idx="180">
                  <c:v>3.3400849591014303E-2</c:v>
                </c:pt>
                <c:pt idx="181">
                  <c:v>3.3289487501162007E-2</c:v>
                </c:pt>
                <c:pt idx="182">
                  <c:v>3.2997366761422064E-2</c:v>
                </c:pt>
                <c:pt idx="183">
                  <c:v>3.2997366761422064E-2</c:v>
                </c:pt>
                <c:pt idx="184">
                  <c:v>3.2997366761422064E-2</c:v>
                </c:pt>
                <c:pt idx="185">
                  <c:v>3.2997366761422064E-2</c:v>
                </c:pt>
                <c:pt idx="186">
                  <c:v>3.2997366761422064E-2</c:v>
                </c:pt>
                <c:pt idx="187">
                  <c:v>3.2997366761422064E-2</c:v>
                </c:pt>
                <c:pt idx="188">
                  <c:v>3.2997366761422064E-2</c:v>
                </c:pt>
                <c:pt idx="189">
                  <c:v>3.2997366761422064E-2</c:v>
                </c:pt>
                <c:pt idx="190">
                  <c:v>3.2991208657964011E-2</c:v>
                </c:pt>
                <c:pt idx="191">
                  <c:v>3.2986786398871315E-2</c:v>
                </c:pt>
                <c:pt idx="192">
                  <c:v>3.2807312326828209E-2</c:v>
                </c:pt>
                <c:pt idx="193">
                  <c:v>3.2535301531109395E-2</c:v>
                </c:pt>
                <c:pt idx="194">
                  <c:v>3.2518923211334538E-2</c:v>
                </c:pt>
                <c:pt idx="195">
                  <c:v>3.2270914872041923E-2</c:v>
                </c:pt>
                <c:pt idx="196">
                  <c:v>3.2079400331583408E-2</c:v>
                </c:pt>
                <c:pt idx="197">
                  <c:v>3.1959314292817398E-2</c:v>
                </c:pt>
                <c:pt idx="198">
                  <c:v>3.1813009437019701E-2</c:v>
                </c:pt>
                <c:pt idx="199">
                  <c:v>3.1813009437019701E-2</c:v>
                </c:pt>
                <c:pt idx="200">
                  <c:v>3.1577503783576821E-2</c:v>
                </c:pt>
                <c:pt idx="201">
                  <c:v>3.1559097611967513E-2</c:v>
                </c:pt>
                <c:pt idx="202">
                  <c:v>3.1338358369282338E-2</c:v>
                </c:pt>
                <c:pt idx="203">
                  <c:v>3.1302559335548708E-2</c:v>
                </c:pt>
                <c:pt idx="204">
                  <c:v>3.1006840901611765E-2</c:v>
                </c:pt>
                <c:pt idx="205">
                  <c:v>3.0961984338201631E-2</c:v>
                </c:pt>
                <c:pt idx="206">
                  <c:v>3.0686244903185944E-2</c:v>
                </c:pt>
                <c:pt idx="207">
                  <c:v>3.0686244903185944E-2</c:v>
                </c:pt>
                <c:pt idx="208">
                  <c:v>3.0686244903185944E-2</c:v>
                </c:pt>
                <c:pt idx="209">
                  <c:v>3.0686244903185944E-2</c:v>
                </c:pt>
                <c:pt idx="210">
                  <c:v>3.0686244903185944E-2</c:v>
                </c:pt>
                <c:pt idx="211">
                  <c:v>3.0686244903185944E-2</c:v>
                </c:pt>
                <c:pt idx="212">
                  <c:v>3.0686244903185944E-2</c:v>
                </c:pt>
                <c:pt idx="213">
                  <c:v>3.0472498104119783E-2</c:v>
                </c:pt>
                <c:pt idx="214">
                  <c:v>3.0448825958523607E-2</c:v>
                </c:pt>
                <c:pt idx="215">
                  <c:v>3.0092373147456719E-2</c:v>
                </c:pt>
                <c:pt idx="216">
                  <c:v>3.0073150335495846E-2</c:v>
                </c:pt>
                <c:pt idx="217">
                  <c:v>2.9726343675519518E-2</c:v>
                </c:pt>
                <c:pt idx="218">
                  <c:v>2.9697688355921237E-2</c:v>
                </c:pt>
                <c:pt idx="219">
                  <c:v>2.9645971758658796E-2</c:v>
                </c:pt>
                <c:pt idx="220">
                  <c:v>2.9645971758658796E-2</c:v>
                </c:pt>
                <c:pt idx="221">
                  <c:v>2.9615822518536339E-2</c:v>
                </c:pt>
                <c:pt idx="222">
                  <c:v>2.9402798834881061E-2</c:v>
                </c:pt>
                <c:pt idx="223">
                  <c:v>2.9392064845577215E-2</c:v>
                </c:pt>
                <c:pt idx="224">
                  <c:v>2.9079347128147637E-2</c:v>
                </c:pt>
                <c:pt idx="225">
                  <c:v>2.9070767619810978E-2</c:v>
                </c:pt>
                <c:pt idx="226">
                  <c:v>2.9059953813713513E-2</c:v>
                </c:pt>
                <c:pt idx="227">
                  <c:v>2.8739368511272678E-2</c:v>
                </c:pt>
                <c:pt idx="228">
                  <c:v>2.8380356267015072E-2</c:v>
                </c:pt>
                <c:pt idx="229">
                  <c:v>2.8260933400266364E-2</c:v>
                </c:pt>
                <c:pt idx="230">
                  <c:v>2.8189366487421985E-2</c:v>
                </c:pt>
                <c:pt idx="231">
                  <c:v>2.8141876532423948E-2</c:v>
                </c:pt>
                <c:pt idx="232">
                  <c:v>2.8141876532423948E-2</c:v>
                </c:pt>
                <c:pt idx="233">
                  <c:v>2.810261006185355E-2</c:v>
                </c:pt>
                <c:pt idx="234">
                  <c:v>2.8087488047386033E-2</c:v>
                </c:pt>
                <c:pt idx="235">
                  <c:v>2.8087488047386033E-2</c:v>
                </c:pt>
                <c:pt idx="236">
                  <c:v>2.8087488047386033E-2</c:v>
                </c:pt>
                <c:pt idx="237">
                  <c:v>2.8067531032398119E-2</c:v>
                </c:pt>
                <c:pt idx="238">
                  <c:v>2.7693910834317936E-2</c:v>
                </c:pt>
                <c:pt idx="239">
                  <c:v>2.7517374478764012E-2</c:v>
                </c:pt>
                <c:pt idx="240">
                  <c:v>2.7443582724583582E-2</c:v>
                </c:pt>
                <c:pt idx="241">
                  <c:v>2.7314637677094078E-2</c:v>
                </c:pt>
                <c:pt idx="242">
                  <c:v>2.7073009610103949E-2</c:v>
                </c:pt>
                <c:pt idx="243">
                  <c:v>2.7006505116485169E-2</c:v>
                </c:pt>
                <c:pt idx="244">
                  <c:v>2.6750177865066282E-2</c:v>
                </c:pt>
                <c:pt idx="245">
                  <c:v>2.6750177865066282E-2</c:v>
                </c:pt>
                <c:pt idx="246">
                  <c:v>2.6679887035211625E-2</c:v>
                </c:pt>
                <c:pt idx="247">
                  <c:v>2.6585448466450057E-2</c:v>
                </c:pt>
                <c:pt idx="248">
                  <c:v>2.6482397600398944E-2</c:v>
                </c:pt>
                <c:pt idx="249">
                  <c:v>2.6474678599243795E-2</c:v>
                </c:pt>
                <c:pt idx="250">
                  <c:v>2.6442735151978924E-2</c:v>
                </c:pt>
                <c:pt idx="251">
                  <c:v>2.639346281790278E-2</c:v>
                </c:pt>
                <c:pt idx="252">
                  <c:v>2.6191661111352182E-2</c:v>
                </c:pt>
                <c:pt idx="253">
                  <c:v>2.6152628700280012E-2</c:v>
                </c:pt>
                <c:pt idx="254">
                  <c:v>2.6144416841786144E-2</c:v>
                </c:pt>
                <c:pt idx="255">
                  <c:v>2.6067902088027672E-2</c:v>
                </c:pt>
                <c:pt idx="256">
                  <c:v>2.6067832964705717E-2</c:v>
                </c:pt>
                <c:pt idx="257">
                  <c:v>2.5527199317769034E-2</c:v>
                </c:pt>
                <c:pt idx="258">
                  <c:v>2.5442568531450993E-2</c:v>
                </c:pt>
                <c:pt idx="259">
                  <c:v>2.5263189760760696E-2</c:v>
                </c:pt>
                <c:pt idx="260">
                  <c:v>2.5261501786411289E-2</c:v>
                </c:pt>
                <c:pt idx="261">
                  <c:v>2.5258350534048235E-2</c:v>
                </c:pt>
                <c:pt idx="262">
                  <c:v>2.5230887584922757E-2</c:v>
                </c:pt>
                <c:pt idx="263">
                  <c:v>2.5064260592096321E-2</c:v>
                </c:pt>
                <c:pt idx="264">
                  <c:v>2.4818085678737889E-2</c:v>
                </c:pt>
                <c:pt idx="265">
                  <c:v>2.4518770217675456E-2</c:v>
                </c:pt>
                <c:pt idx="266">
                  <c:v>2.4447545199635767E-2</c:v>
                </c:pt>
                <c:pt idx="267">
                  <c:v>2.4129285418410529E-2</c:v>
                </c:pt>
                <c:pt idx="268">
                  <c:v>2.4129285418410529E-2</c:v>
                </c:pt>
                <c:pt idx="269">
                  <c:v>2.3931204530308836E-2</c:v>
                </c:pt>
                <c:pt idx="270">
                  <c:v>2.3792996536839306E-2</c:v>
                </c:pt>
                <c:pt idx="271">
                  <c:v>2.3734888005527255E-2</c:v>
                </c:pt>
                <c:pt idx="272">
                  <c:v>2.3665052262281883E-2</c:v>
                </c:pt>
                <c:pt idx="273">
                  <c:v>2.3492910390331634E-2</c:v>
                </c:pt>
                <c:pt idx="274">
                  <c:v>2.3469995688043088E-2</c:v>
                </c:pt>
                <c:pt idx="275">
                  <c:v>2.3417524315940241E-2</c:v>
                </c:pt>
                <c:pt idx="276">
                  <c:v>2.3402953590841769E-2</c:v>
                </c:pt>
                <c:pt idx="277">
                  <c:v>2.3355478759601755E-2</c:v>
                </c:pt>
                <c:pt idx="278">
                  <c:v>2.3301182800068654E-2</c:v>
                </c:pt>
                <c:pt idx="279">
                  <c:v>2.3192624863135114E-2</c:v>
                </c:pt>
                <c:pt idx="280">
                  <c:v>2.3104186033370278E-2</c:v>
                </c:pt>
                <c:pt idx="281">
                  <c:v>2.2886006248049373E-2</c:v>
                </c:pt>
                <c:pt idx="282">
                  <c:v>2.2611746696402646E-2</c:v>
                </c:pt>
                <c:pt idx="283">
                  <c:v>2.2610354407412991E-2</c:v>
                </c:pt>
                <c:pt idx="284">
                  <c:v>2.2565805389413107E-2</c:v>
                </c:pt>
                <c:pt idx="285">
                  <c:v>2.253549374702879E-2</c:v>
                </c:pt>
                <c:pt idx="286">
                  <c:v>2.250515924601415E-2</c:v>
                </c:pt>
                <c:pt idx="287">
                  <c:v>2.2464983155668028E-2</c:v>
                </c:pt>
                <c:pt idx="288">
                  <c:v>2.2379531185701129E-2</c:v>
                </c:pt>
                <c:pt idx="289">
                  <c:v>2.224732241509253E-2</c:v>
                </c:pt>
                <c:pt idx="290">
                  <c:v>2.1922377833896167E-2</c:v>
                </c:pt>
                <c:pt idx="291">
                  <c:v>2.1911078529241568E-2</c:v>
                </c:pt>
                <c:pt idx="292">
                  <c:v>2.1894890580262949E-2</c:v>
                </c:pt>
                <c:pt idx="293">
                  <c:v>2.1891364448304307E-2</c:v>
                </c:pt>
                <c:pt idx="294">
                  <c:v>2.1891364448304307E-2</c:v>
                </c:pt>
                <c:pt idx="295">
                  <c:v>2.1760998941562582E-2</c:v>
                </c:pt>
                <c:pt idx="296">
                  <c:v>2.1672517376790212E-2</c:v>
                </c:pt>
                <c:pt idx="297">
                  <c:v>2.1654464577010701E-2</c:v>
                </c:pt>
                <c:pt idx="298">
                  <c:v>2.1632673622601573E-2</c:v>
                </c:pt>
                <c:pt idx="299">
                  <c:v>2.1631810034791865E-2</c:v>
                </c:pt>
                <c:pt idx="300">
                  <c:v>2.1616554617570616E-2</c:v>
                </c:pt>
                <c:pt idx="301">
                  <c:v>2.1513338459519415E-2</c:v>
                </c:pt>
                <c:pt idx="302">
                  <c:v>2.1406270843824293E-2</c:v>
                </c:pt>
                <c:pt idx="303">
                  <c:v>2.1287443830476427E-2</c:v>
                </c:pt>
                <c:pt idx="304">
                  <c:v>2.1287443830476427E-2</c:v>
                </c:pt>
                <c:pt idx="305">
                  <c:v>2.1287443830476427E-2</c:v>
                </c:pt>
                <c:pt idx="306">
                  <c:v>2.1287443830476427E-2</c:v>
                </c:pt>
                <c:pt idx="307">
                  <c:v>2.1287443830476427E-2</c:v>
                </c:pt>
                <c:pt idx="308">
                  <c:v>2.1287443830476427E-2</c:v>
                </c:pt>
                <c:pt idx="309">
                  <c:v>2.1227955599217863E-2</c:v>
                </c:pt>
                <c:pt idx="310">
                  <c:v>2.1227955599217863E-2</c:v>
                </c:pt>
                <c:pt idx="311">
                  <c:v>2.1227955599217863E-2</c:v>
                </c:pt>
                <c:pt idx="312">
                  <c:v>2.1227955599217863E-2</c:v>
                </c:pt>
                <c:pt idx="313">
                  <c:v>2.1227955599217863E-2</c:v>
                </c:pt>
                <c:pt idx="314">
                  <c:v>2.1227955599217863E-2</c:v>
                </c:pt>
                <c:pt idx="315">
                  <c:v>2.1227955599217863E-2</c:v>
                </c:pt>
                <c:pt idx="316">
                  <c:v>2.1227955599217863E-2</c:v>
                </c:pt>
                <c:pt idx="317">
                  <c:v>2.1227955599217863E-2</c:v>
                </c:pt>
                <c:pt idx="318">
                  <c:v>2.1227955599217863E-2</c:v>
                </c:pt>
                <c:pt idx="319">
                  <c:v>2.1106510008805923E-2</c:v>
                </c:pt>
                <c:pt idx="320">
                  <c:v>2.1105958456626661E-2</c:v>
                </c:pt>
                <c:pt idx="321">
                  <c:v>2.1105958456626661E-2</c:v>
                </c:pt>
                <c:pt idx="322">
                  <c:v>2.0962134861767012E-2</c:v>
                </c:pt>
                <c:pt idx="323">
                  <c:v>2.0950412665844187E-2</c:v>
                </c:pt>
                <c:pt idx="324">
                  <c:v>2.0950412665844187E-2</c:v>
                </c:pt>
                <c:pt idx="325">
                  <c:v>2.088254974609538E-2</c:v>
                </c:pt>
                <c:pt idx="326">
                  <c:v>2.0848532666679409E-2</c:v>
                </c:pt>
                <c:pt idx="327">
                  <c:v>2.0796153076694468E-2</c:v>
                </c:pt>
                <c:pt idx="328">
                  <c:v>2.0727695941264113E-2</c:v>
                </c:pt>
                <c:pt idx="329">
                  <c:v>2.0687946464795104E-2</c:v>
                </c:pt>
                <c:pt idx="330">
                  <c:v>2.0622945685244476E-2</c:v>
                </c:pt>
                <c:pt idx="331">
                  <c:v>2.053610377048054E-2</c:v>
                </c:pt>
                <c:pt idx="332">
                  <c:v>2.0526330677890892E-2</c:v>
                </c:pt>
                <c:pt idx="333">
                  <c:v>2.0388393534246152E-2</c:v>
                </c:pt>
                <c:pt idx="334">
                  <c:v>2.0271034747981975E-2</c:v>
                </c:pt>
                <c:pt idx="335">
                  <c:v>2.0250960984297794E-2</c:v>
                </c:pt>
                <c:pt idx="336">
                  <c:v>2.0236629847930176E-2</c:v>
                </c:pt>
                <c:pt idx="337">
                  <c:v>2.0230519421562398E-2</c:v>
                </c:pt>
                <c:pt idx="338">
                  <c:v>2.0230519421562398E-2</c:v>
                </c:pt>
              </c:numCache>
            </c:numRef>
          </c:xVal>
          <c:yVal>
            <c:numRef>
              <c:f>Sheet8!$Z$37:$Z$375</c:f>
              <c:numCache>
                <c:formatCode>0.00%</c:formatCode>
                <c:ptCount val="339"/>
                <c:pt idx="0">
                  <c:v>3.2651216653250437E-2</c:v>
                </c:pt>
                <c:pt idx="1">
                  <c:v>3.5410724674698413E-2</c:v>
                </c:pt>
                <c:pt idx="2">
                  <c:v>4.1773369742073463E-2</c:v>
                </c:pt>
                <c:pt idx="3">
                  <c:v>2.9541890681003879E-2</c:v>
                </c:pt>
                <c:pt idx="4">
                  <c:v>3.0287644474532582E-2</c:v>
                </c:pt>
                <c:pt idx="5">
                  <c:v>3.0559995473641521E-2</c:v>
                </c:pt>
                <c:pt idx="6">
                  <c:v>3.0962852980726652E-2</c:v>
                </c:pt>
                <c:pt idx="7">
                  <c:v>3.7260910916199874E-2</c:v>
                </c:pt>
                <c:pt idx="8">
                  <c:v>3.7331119436875726E-2</c:v>
                </c:pt>
                <c:pt idx="9">
                  <c:v>3.7763913855697995E-2</c:v>
                </c:pt>
                <c:pt idx="10">
                  <c:v>4.2230197931843572E-2</c:v>
                </c:pt>
                <c:pt idx="11">
                  <c:v>3.9524728202199544E-2</c:v>
                </c:pt>
                <c:pt idx="12">
                  <c:v>6.3281856004513193E-2</c:v>
                </c:pt>
                <c:pt idx="13">
                  <c:v>7.0969674065728627E-2</c:v>
                </c:pt>
                <c:pt idx="14">
                  <c:v>5.348155832503898E-2</c:v>
                </c:pt>
                <c:pt idx="15">
                  <c:v>5.6591282054894165E-2</c:v>
                </c:pt>
                <c:pt idx="16">
                  <c:v>2.7087552443685992E-2</c:v>
                </c:pt>
                <c:pt idx="17">
                  <c:v>3.5361727117649178E-2</c:v>
                </c:pt>
                <c:pt idx="18">
                  <c:v>4.5219032968569772E-2</c:v>
                </c:pt>
                <c:pt idx="19">
                  <c:v>7.2318937815600837E-3</c:v>
                </c:pt>
                <c:pt idx="20">
                  <c:v>3.5409263761610799E-2</c:v>
                </c:pt>
                <c:pt idx="21">
                  <c:v>9.8764946313771862E-3</c:v>
                </c:pt>
                <c:pt idx="22">
                  <c:v>-6.5646788256357169E-3</c:v>
                </c:pt>
                <c:pt idx="23">
                  <c:v>1.7117828573099736E-2</c:v>
                </c:pt>
                <c:pt idx="24">
                  <c:v>2.9195086662532344E-2</c:v>
                </c:pt>
                <c:pt idx="25">
                  <c:v>3.0257680656152308E-2</c:v>
                </c:pt>
                <c:pt idx="26">
                  <c:v>3.0696576151121091E-2</c:v>
                </c:pt>
                <c:pt idx="27">
                  <c:v>3.1126618977548981E-2</c:v>
                </c:pt>
                <c:pt idx="28">
                  <c:v>3.4884063739146765E-2</c:v>
                </c:pt>
                <c:pt idx="29">
                  <c:v>3.6148943406828726E-2</c:v>
                </c:pt>
                <c:pt idx="30">
                  <c:v>3.7151679914895874E-2</c:v>
                </c:pt>
                <c:pt idx="31">
                  <c:v>4.0707146316762755E-2</c:v>
                </c:pt>
                <c:pt idx="32">
                  <c:v>4.528614132257891E-2</c:v>
                </c:pt>
                <c:pt idx="33">
                  <c:v>4.5734093704573375E-2</c:v>
                </c:pt>
                <c:pt idx="34">
                  <c:v>4.6389538844296974E-2</c:v>
                </c:pt>
                <c:pt idx="35">
                  <c:v>5.3275495220114433E-2</c:v>
                </c:pt>
                <c:pt idx="36">
                  <c:v>5.6175325597208614E-2</c:v>
                </c:pt>
                <c:pt idx="37">
                  <c:v>8.2511334244657064E-3</c:v>
                </c:pt>
                <c:pt idx="38">
                  <c:v>4.0635206667417378E-2</c:v>
                </c:pt>
                <c:pt idx="39">
                  <c:v>1.2597639043871345E-2</c:v>
                </c:pt>
                <c:pt idx="40">
                  <c:v>4.2331306807921187E-2</c:v>
                </c:pt>
                <c:pt idx="41">
                  <c:v>7.0523101258870291E-3</c:v>
                </c:pt>
                <c:pt idx="42">
                  <c:v>3.0325987318085446E-2</c:v>
                </c:pt>
                <c:pt idx="43">
                  <c:v>1.3617149758454072E-2</c:v>
                </c:pt>
                <c:pt idx="44">
                  <c:v>-4.4616502633208266E-2</c:v>
                </c:pt>
                <c:pt idx="45">
                  <c:v>-1.1723505628786768E-3</c:v>
                </c:pt>
                <c:pt idx="46">
                  <c:v>-1.7536518847834914E-2</c:v>
                </c:pt>
                <c:pt idx="47">
                  <c:v>-4.0132970144439506E-2</c:v>
                </c:pt>
                <c:pt idx="48">
                  <c:v>-3.0451629068196318E-2</c:v>
                </c:pt>
                <c:pt idx="49">
                  <c:v>-3.9175350341358661E-2</c:v>
                </c:pt>
                <c:pt idx="50">
                  <c:v>-6.003080339553879E-3</c:v>
                </c:pt>
                <c:pt idx="51">
                  <c:v>2.2329627032622312E-2</c:v>
                </c:pt>
                <c:pt idx="52">
                  <c:v>2.3425521754065759E-2</c:v>
                </c:pt>
                <c:pt idx="53">
                  <c:v>-3.4576665915409199E-2</c:v>
                </c:pt>
                <c:pt idx="54">
                  <c:v>-1.7130970347102314E-3</c:v>
                </c:pt>
                <c:pt idx="55">
                  <c:v>4.1119967300227156E-3</c:v>
                </c:pt>
                <c:pt idx="56">
                  <c:v>1.6152958628647074E-2</c:v>
                </c:pt>
                <c:pt idx="57">
                  <c:v>1.7797507200236762E-2</c:v>
                </c:pt>
                <c:pt idx="58">
                  <c:v>2.2183034757816467E-2</c:v>
                </c:pt>
                <c:pt idx="59">
                  <c:v>3.1292005844292037E-2</c:v>
                </c:pt>
                <c:pt idx="60">
                  <c:v>3.5339932121980722E-2</c:v>
                </c:pt>
                <c:pt idx="61">
                  <c:v>4.210781405376518E-2</c:v>
                </c:pt>
                <c:pt idx="62">
                  <c:v>4.5735290440349186E-2</c:v>
                </c:pt>
                <c:pt idx="63">
                  <c:v>4.9392915258480219E-2</c:v>
                </c:pt>
                <c:pt idx="64">
                  <c:v>5.0924998330328153E-2</c:v>
                </c:pt>
                <c:pt idx="65">
                  <c:v>5.4763480828963207E-2</c:v>
                </c:pt>
                <c:pt idx="66">
                  <c:v>5.5422156984193283E-2</c:v>
                </c:pt>
                <c:pt idx="67">
                  <c:v>5.8104926853875583E-2</c:v>
                </c:pt>
                <c:pt idx="68">
                  <c:v>6.440083677047248E-2</c:v>
                </c:pt>
                <c:pt idx="69">
                  <c:v>1.6870587849904251E-3</c:v>
                </c:pt>
                <c:pt idx="70">
                  <c:v>3.0593320356206544E-2</c:v>
                </c:pt>
                <c:pt idx="71">
                  <c:v>4.8455088710797511E-2</c:v>
                </c:pt>
                <c:pt idx="72">
                  <c:v>-2.1582840127383762E-2</c:v>
                </c:pt>
                <c:pt idx="73">
                  <c:v>6.8777832756060864E-2</c:v>
                </c:pt>
                <c:pt idx="74">
                  <c:v>6.5503367074668306E-2</c:v>
                </c:pt>
                <c:pt idx="75">
                  <c:v>6.0635145147167391E-2</c:v>
                </c:pt>
                <c:pt idx="76">
                  <c:v>2.9263545422997472E-2</c:v>
                </c:pt>
                <c:pt idx="77">
                  <c:v>3.7286772904136178E-2</c:v>
                </c:pt>
                <c:pt idx="78">
                  <c:v>4.2428570343303385E-2</c:v>
                </c:pt>
                <c:pt idx="79">
                  <c:v>-4.2664947527505492E-2</c:v>
                </c:pt>
                <c:pt idx="80">
                  <c:v>-1.1450665476988586E-3</c:v>
                </c:pt>
                <c:pt idx="81">
                  <c:v>5.7902116707002849E-2</c:v>
                </c:pt>
                <c:pt idx="82">
                  <c:v>2.9369887489879565E-2</c:v>
                </c:pt>
                <c:pt idx="83">
                  <c:v>1.2396475887302083E-2</c:v>
                </c:pt>
                <c:pt idx="84">
                  <c:v>1.4000965071823357E-2</c:v>
                </c:pt>
                <c:pt idx="85">
                  <c:v>-1.4972930038071874E-3</c:v>
                </c:pt>
                <c:pt idx="86">
                  <c:v>1.2097174020822887E-2</c:v>
                </c:pt>
                <c:pt idx="87">
                  <c:v>9.3291574247709175E-3</c:v>
                </c:pt>
                <c:pt idx="88">
                  <c:v>9.7249185011536454E-3</c:v>
                </c:pt>
                <c:pt idx="89">
                  <c:v>4.7978533362234677E-2</c:v>
                </c:pt>
                <c:pt idx="90">
                  <c:v>1.5489347832527978E-2</c:v>
                </c:pt>
                <c:pt idx="91">
                  <c:v>-1.6963605182927055E-2</c:v>
                </c:pt>
                <c:pt idx="92">
                  <c:v>3.8484106213152458E-2</c:v>
                </c:pt>
                <c:pt idx="93">
                  <c:v>-1.6812675412246958E-2</c:v>
                </c:pt>
                <c:pt idx="94">
                  <c:v>5.08429466883209E-3</c:v>
                </c:pt>
                <c:pt idx="95">
                  <c:v>3.4393432470602558E-2</c:v>
                </c:pt>
                <c:pt idx="96">
                  <c:v>3.4436643263122457E-2</c:v>
                </c:pt>
                <c:pt idx="97">
                  <c:v>1.4508489931321034E-2</c:v>
                </c:pt>
                <c:pt idx="98">
                  <c:v>8.3291753983298911E-3</c:v>
                </c:pt>
                <c:pt idx="99">
                  <c:v>7.7683615819201801E-3</c:v>
                </c:pt>
                <c:pt idx="100">
                  <c:v>2.1095207873522703E-2</c:v>
                </c:pt>
                <c:pt idx="101">
                  <c:v>-1.4894783939035428E-2</c:v>
                </c:pt>
                <c:pt idx="102">
                  <c:v>-4.6396935092974489E-2</c:v>
                </c:pt>
                <c:pt idx="103">
                  <c:v>4.2758712180884784E-2</c:v>
                </c:pt>
                <c:pt idx="104">
                  <c:v>2.993099807699573E-2</c:v>
                </c:pt>
                <c:pt idx="105">
                  <c:v>-9.5358824074007753E-3</c:v>
                </c:pt>
                <c:pt idx="106">
                  <c:v>-9.2971582271079711E-3</c:v>
                </c:pt>
                <c:pt idx="107">
                  <c:v>5.2142221712055514E-2</c:v>
                </c:pt>
                <c:pt idx="108">
                  <c:v>-1.7456995921262597E-2</c:v>
                </c:pt>
                <c:pt idx="109">
                  <c:v>-2.2024609657739891E-2</c:v>
                </c:pt>
                <c:pt idx="110">
                  <c:v>3.5852385779180374E-3</c:v>
                </c:pt>
                <c:pt idx="111">
                  <c:v>-2.0830953196999569E-2</c:v>
                </c:pt>
                <c:pt idx="112">
                  <c:v>-1.2277664095703189E-2</c:v>
                </c:pt>
                <c:pt idx="113">
                  <c:v>-1.4166170282266299E-2</c:v>
                </c:pt>
                <c:pt idx="114">
                  <c:v>-3.0183132530120282E-2</c:v>
                </c:pt>
                <c:pt idx="115">
                  <c:v>1.006900506168984E-2</c:v>
                </c:pt>
                <c:pt idx="116">
                  <c:v>-3.5067577861449428E-2</c:v>
                </c:pt>
                <c:pt idx="117">
                  <c:v>2.0149511428011468E-2</c:v>
                </c:pt>
                <c:pt idx="118">
                  <c:v>-3.2545554876493132E-2</c:v>
                </c:pt>
                <c:pt idx="119">
                  <c:v>-1.1745040249856675E-2</c:v>
                </c:pt>
                <c:pt idx="120">
                  <c:v>-4.3772092086221681E-3</c:v>
                </c:pt>
                <c:pt idx="121">
                  <c:v>1.5629210455402776E-2</c:v>
                </c:pt>
                <c:pt idx="122">
                  <c:v>2.3593212758225457E-2</c:v>
                </c:pt>
                <c:pt idx="123">
                  <c:v>-1.1006678209250165E-2</c:v>
                </c:pt>
                <c:pt idx="124">
                  <c:v>7.1909374486949229E-3</c:v>
                </c:pt>
                <c:pt idx="125">
                  <c:v>-2.8519426104020362E-2</c:v>
                </c:pt>
                <c:pt idx="126">
                  <c:v>4.0113936679842865E-2</c:v>
                </c:pt>
                <c:pt idx="127">
                  <c:v>-1.0886077154953155E-2</c:v>
                </c:pt>
                <c:pt idx="128">
                  <c:v>-3.0249827991174261E-2</c:v>
                </c:pt>
                <c:pt idx="129">
                  <c:v>-6.8338354656175326E-2</c:v>
                </c:pt>
                <c:pt idx="130">
                  <c:v>-3.6252000391910899E-3</c:v>
                </c:pt>
                <c:pt idx="131">
                  <c:v>-2.0348340827594069E-2</c:v>
                </c:pt>
                <c:pt idx="132">
                  <c:v>-4.329562298241818E-2</c:v>
                </c:pt>
                <c:pt idx="133">
                  <c:v>-4.088508308620975E-2</c:v>
                </c:pt>
                <c:pt idx="134">
                  <c:v>-3.1666998605855756E-2</c:v>
                </c:pt>
                <c:pt idx="135">
                  <c:v>-2.821329631672953E-2</c:v>
                </c:pt>
                <c:pt idx="136">
                  <c:v>-2.491501558293141E-2</c:v>
                </c:pt>
                <c:pt idx="137">
                  <c:v>-5.8586190212884137E-2</c:v>
                </c:pt>
                <c:pt idx="138">
                  <c:v>6.3631482049708366E-2</c:v>
                </c:pt>
                <c:pt idx="139">
                  <c:v>-7.2767334947363205E-2</c:v>
                </c:pt>
                <c:pt idx="140">
                  <c:v>-1.9640438369659674E-2</c:v>
                </c:pt>
                <c:pt idx="141">
                  <c:v>-1.8006832910679837E-2</c:v>
                </c:pt>
                <c:pt idx="142">
                  <c:v>-4.2469664525347506E-3</c:v>
                </c:pt>
                <c:pt idx="143">
                  <c:v>2.2061790951068971E-3</c:v>
                </c:pt>
                <c:pt idx="144">
                  <c:v>3.8830149590794338E-2</c:v>
                </c:pt>
                <c:pt idx="145">
                  <c:v>-2.1136547776049897E-2</c:v>
                </c:pt>
                <c:pt idx="146">
                  <c:v>-5.9656165912493675E-2</c:v>
                </c:pt>
                <c:pt idx="147">
                  <c:v>6.1740792811286749E-3</c:v>
                </c:pt>
                <c:pt idx="148">
                  <c:v>-1.2954252831279045E-2</c:v>
                </c:pt>
                <c:pt idx="149">
                  <c:v>1.5556168710690876E-3</c:v>
                </c:pt>
                <c:pt idx="150">
                  <c:v>1.1916716877552247E-2</c:v>
                </c:pt>
                <c:pt idx="151">
                  <c:v>-1.5181327615053308E-2</c:v>
                </c:pt>
                <c:pt idx="152">
                  <c:v>7.0056725721472368E-3</c:v>
                </c:pt>
                <c:pt idx="153">
                  <c:v>3.2981530342590659E-5</c:v>
                </c:pt>
                <c:pt idx="154">
                  <c:v>3.7099796658825346E-2</c:v>
                </c:pt>
                <c:pt idx="155">
                  <c:v>-4.9214739406601149E-3</c:v>
                </c:pt>
                <c:pt idx="156">
                  <c:v>-1.6023734994085936E-2</c:v>
                </c:pt>
                <c:pt idx="157">
                  <c:v>-1.7816309730697366E-2</c:v>
                </c:pt>
                <c:pt idx="158">
                  <c:v>-7.4435979537010866E-3</c:v>
                </c:pt>
                <c:pt idx="159">
                  <c:v>-6.3701486053203693E-3</c:v>
                </c:pt>
                <c:pt idx="160">
                  <c:v>2.5630680874244582E-4</c:v>
                </c:pt>
                <c:pt idx="161">
                  <c:v>1.2596381403155998E-3</c:v>
                </c:pt>
                <c:pt idx="162">
                  <c:v>2.8513873914763899E-3</c:v>
                </c:pt>
                <c:pt idx="163">
                  <c:v>3.1972395731276748E-3</c:v>
                </c:pt>
                <c:pt idx="164">
                  <c:v>6.2141197294751649E-3</c:v>
                </c:pt>
                <c:pt idx="165">
                  <c:v>6.868790437807748E-3</c:v>
                </c:pt>
                <c:pt idx="166">
                  <c:v>6.9040077385575938E-3</c:v>
                </c:pt>
                <c:pt idx="167">
                  <c:v>8.4275934802535701E-3</c:v>
                </c:pt>
                <c:pt idx="168">
                  <c:v>1.0844608057078764E-2</c:v>
                </c:pt>
                <c:pt idx="169">
                  <c:v>1.2572464289309915E-2</c:v>
                </c:pt>
                <c:pt idx="170">
                  <c:v>1.3059417253856065E-2</c:v>
                </c:pt>
                <c:pt idx="171">
                  <c:v>1.3617573153927198E-2</c:v>
                </c:pt>
                <c:pt idx="172">
                  <c:v>2.3073448716593115E-2</c:v>
                </c:pt>
                <c:pt idx="173">
                  <c:v>3.0534205009897786E-3</c:v>
                </c:pt>
                <c:pt idx="174">
                  <c:v>7.0131925612098023E-2</c:v>
                </c:pt>
                <c:pt idx="175">
                  <c:v>-5.051586112419737E-3</c:v>
                </c:pt>
                <c:pt idx="176">
                  <c:v>-1.986294567489777E-4</c:v>
                </c:pt>
                <c:pt idx="177">
                  <c:v>2.7689450431944262E-2</c:v>
                </c:pt>
                <c:pt idx="178">
                  <c:v>6.2135664448370598E-4</c:v>
                </c:pt>
                <c:pt idx="179">
                  <c:v>-2.8087838330774773E-3</c:v>
                </c:pt>
                <c:pt idx="180">
                  <c:v>0.10237493772016504</c:v>
                </c:pt>
                <c:pt idx="181">
                  <c:v>1.9877169755810886E-2</c:v>
                </c:pt>
                <c:pt idx="182">
                  <c:v>-1.3999322908565537E-3</c:v>
                </c:pt>
                <c:pt idx="183">
                  <c:v>1.1303294441256551E-2</c:v>
                </c:pt>
                <c:pt idx="184">
                  <c:v>1.248381727390413E-2</c:v>
                </c:pt>
                <c:pt idx="185">
                  <c:v>1.7175957325903379E-2</c:v>
                </c:pt>
                <c:pt idx="186">
                  <c:v>2.4675805854020183E-2</c:v>
                </c:pt>
                <c:pt idx="187">
                  <c:v>3.6271615352172271E-2</c:v>
                </c:pt>
                <c:pt idx="188">
                  <c:v>4.4404321945439751E-2</c:v>
                </c:pt>
                <c:pt idx="189">
                  <c:v>4.6862261780305392E-2</c:v>
                </c:pt>
                <c:pt idx="190">
                  <c:v>-1.2663044904596132E-3</c:v>
                </c:pt>
                <c:pt idx="191">
                  <c:v>3.4261634298271559E-3</c:v>
                </c:pt>
                <c:pt idx="192">
                  <c:v>-7.7530613723642006E-3</c:v>
                </c:pt>
                <c:pt idx="193">
                  <c:v>1.712848693708291E-2</c:v>
                </c:pt>
                <c:pt idx="194">
                  <c:v>4.8272845461283298E-2</c:v>
                </c:pt>
                <c:pt idx="195">
                  <c:v>-8.0388171267454789E-3</c:v>
                </c:pt>
                <c:pt idx="196">
                  <c:v>7.5761607595045577E-2</c:v>
                </c:pt>
                <c:pt idx="197">
                  <c:v>-6.3399934212621023E-2</c:v>
                </c:pt>
                <c:pt idx="198">
                  <c:v>-1.8552822412728709E-2</c:v>
                </c:pt>
                <c:pt idx="199">
                  <c:v>-1.7364155422021965E-2</c:v>
                </c:pt>
                <c:pt idx="200">
                  <c:v>9.6999090633516083E-3</c:v>
                </c:pt>
                <c:pt idx="201">
                  <c:v>9.1444100185207766E-2</c:v>
                </c:pt>
                <c:pt idx="202">
                  <c:v>8.5572722630913312E-3</c:v>
                </c:pt>
                <c:pt idx="203">
                  <c:v>-6.390885375073263E-2</c:v>
                </c:pt>
                <c:pt idx="204">
                  <c:v>-1.722752962102303E-2</c:v>
                </c:pt>
                <c:pt idx="205">
                  <c:v>6.7813773652804832E-2</c:v>
                </c:pt>
                <c:pt idx="206">
                  <c:v>5.1658015670983382E-3</c:v>
                </c:pt>
                <c:pt idx="207">
                  <c:v>9.4093260866023876E-3</c:v>
                </c:pt>
                <c:pt idx="208">
                  <c:v>2.2211697071649494E-2</c:v>
                </c:pt>
                <c:pt idx="209">
                  <c:v>2.6870987782149802E-2</c:v>
                </c:pt>
                <c:pt idx="210">
                  <c:v>2.8070997206283366E-2</c:v>
                </c:pt>
                <c:pt idx="211">
                  <c:v>4.7424345885449526E-2</c:v>
                </c:pt>
                <c:pt idx="212">
                  <c:v>5.0005815595766334E-2</c:v>
                </c:pt>
                <c:pt idx="213">
                  <c:v>3.7127752633780986E-2</c:v>
                </c:pt>
                <c:pt idx="214">
                  <c:v>5.6837075967510753E-2</c:v>
                </c:pt>
                <c:pt idx="215">
                  <c:v>6.0957142513748952E-3</c:v>
                </c:pt>
                <c:pt idx="216">
                  <c:v>2.1392310287327021E-4</c:v>
                </c:pt>
                <c:pt idx="217">
                  <c:v>0.10830308488669327</c:v>
                </c:pt>
                <c:pt idx="218">
                  <c:v>-1.1481330877616269E-4</c:v>
                </c:pt>
                <c:pt idx="219">
                  <c:v>-3.6126922878666146E-2</c:v>
                </c:pt>
                <c:pt idx="220">
                  <c:v>-2.1349791079153468E-2</c:v>
                </c:pt>
                <c:pt idx="221">
                  <c:v>1.4157328303561201E-2</c:v>
                </c:pt>
                <c:pt idx="222">
                  <c:v>0.10138351350149022</c:v>
                </c:pt>
                <c:pt idx="223">
                  <c:v>-4.3927587470885543E-3</c:v>
                </c:pt>
                <c:pt idx="224">
                  <c:v>1.05387353517572E-2</c:v>
                </c:pt>
                <c:pt idx="225">
                  <c:v>-8.9710536073052127E-2</c:v>
                </c:pt>
                <c:pt idx="226">
                  <c:v>-4.4001152239666608E-2</c:v>
                </c:pt>
                <c:pt idx="227">
                  <c:v>-2.012465447747136E-4</c:v>
                </c:pt>
                <c:pt idx="228">
                  <c:v>2.9550134977624598E-2</c:v>
                </c:pt>
                <c:pt idx="229">
                  <c:v>-1.1663220931061979E-2</c:v>
                </c:pt>
                <c:pt idx="230">
                  <c:v>-2.3549123057179377E-2</c:v>
                </c:pt>
                <c:pt idx="231">
                  <c:v>-5.274320477758454E-2</c:v>
                </c:pt>
                <c:pt idx="232">
                  <c:v>-3.6559660811628314E-2</c:v>
                </c:pt>
                <c:pt idx="233">
                  <c:v>-4.3074360704699055E-3</c:v>
                </c:pt>
                <c:pt idx="234">
                  <c:v>-6.3394248477124382E-3</c:v>
                </c:pt>
                <c:pt idx="235">
                  <c:v>1.5426696491611658E-3</c:v>
                </c:pt>
                <c:pt idx="236">
                  <c:v>2.1838056485204538E-2</c:v>
                </c:pt>
                <c:pt idx="237">
                  <c:v>4.1383035190478923E-2</c:v>
                </c:pt>
                <c:pt idx="238">
                  <c:v>9.5866143648344115E-2</c:v>
                </c:pt>
                <c:pt idx="239">
                  <c:v>-4.1762452107290127E-3</c:v>
                </c:pt>
                <c:pt idx="240">
                  <c:v>-7.1719591656171922E-4</c:v>
                </c:pt>
                <c:pt idx="241">
                  <c:v>-6.8856091831760668E-2</c:v>
                </c:pt>
                <c:pt idx="242">
                  <c:v>-6.4808856989336805E-3</c:v>
                </c:pt>
                <c:pt idx="243">
                  <c:v>-1.0701767657665062E-2</c:v>
                </c:pt>
                <c:pt idx="244">
                  <c:v>3.160966603635873E-2</c:v>
                </c:pt>
                <c:pt idx="245">
                  <c:v>3.1851932628155444E-2</c:v>
                </c:pt>
                <c:pt idx="246">
                  <c:v>1.1123535134978102E-2</c:v>
                </c:pt>
                <c:pt idx="247">
                  <c:v>-4.1464593995509835E-2</c:v>
                </c:pt>
                <c:pt idx="248">
                  <c:v>2.5939706354299652E-2</c:v>
                </c:pt>
                <c:pt idx="249">
                  <c:v>3.5589337671994459E-2</c:v>
                </c:pt>
                <c:pt idx="250">
                  <c:v>-6.7093397745570549E-2</c:v>
                </c:pt>
                <c:pt idx="251">
                  <c:v>8.6713853938333862E-3</c:v>
                </c:pt>
                <c:pt idx="252">
                  <c:v>-3.1656471420782317E-4</c:v>
                </c:pt>
                <c:pt idx="253">
                  <c:v>9.0704949167690341E-2</c:v>
                </c:pt>
                <c:pt idx="254">
                  <c:v>-5.4725194255725085E-2</c:v>
                </c:pt>
                <c:pt idx="255">
                  <c:v>-4.0516636526288785E-4</c:v>
                </c:pt>
                <c:pt idx="256">
                  <c:v>-5.2748893625772508E-3</c:v>
                </c:pt>
                <c:pt idx="257">
                  <c:v>3.1656534954407345E-2</c:v>
                </c:pt>
                <c:pt idx="258">
                  <c:v>-2.7791471864522244E-3</c:v>
                </c:pt>
                <c:pt idx="259">
                  <c:v>-1.5826061233545907E-2</c:v>
                </c:pt>
                <c:pt idx="260">
                  <c:v>4.6997508400576038E-2</c:v>
                </c:pt>
                <c:pt idx="261">
                  <c:v>-2.2662319791688534E-2</c:v>
                </c:pt>
                <c:pt idx="262">
                  <c:v>5.5128544924458733E-3</c:v>
                </c:pt>
                <c:pt idx="263">
                  <c:v>1.119094336718951E-2</c:v>
                </c:pt>
                <c:pt idx="264">
                  <c:v>-5.4114319899930541E-3</c:v>
                </c:pt>
                <c:pt idx="265">
                  <c:v>-2.4976932132743546E-2</c:v>
                </c:pt>
                <c:pt idx="266">
                  <c:v>4.2598948063751418E-2</c:v>
                </c:pt>
                <c:pt idx="267">
                  <c:v>1.3310102224231457E-2</c:v>
                </c:pt>
                <c:pt idx="268">
                  <c:v>3.0457080151389482E-2</c:v>
                </c:pt>
                <c:pt idx="269">
                  <c:v>4.0850986121256261E-2</c:v>
                </c:pt>
                <c:pt idx="270">
                  <c:v>-5.0586451767320462E-3</c:v>
                </c:pt>
                <c:pt idx="271">
                  <c:v>8.8017059425113953E-3</c:v>
                </c:pt>
                <c:pt idx="272">
                  <c:v>2.8749781011129016E-2</c:v>
                </c:pt>
                <c:pt idx="273">
                  <c:v>-6.9956189838842664E-2</c:v>
                </c:pt>
                <c:pt idx="274">
                  <c:v>-1.7189223815795129E-2</c:v>
                </c:pt>
                <c:pt idx="275">
                  <c:v>5.215875099582612E-2</c:v>
                </c:pt>
                <c:pt idx="276">
                  <c:v>-2.9515895156011496E-3</c:v>
                </c:pt>
                <c:pt idx="277">
                  <c:v>-3.3158420909130681E-2</c:v>
                </c:pt>
                <c:pt idx="278">
                  <c:v>1.7861057924199786E-2</c:v>
                </c:pt>
                <c:pt idx="279">
                  <c:v>-7.164932001650226E-2</c:v>
                </c:pt>
                <c:pt idx="280">
                  <c:v>4.2357853965564241E-2</c:v>
                </c:pt>
                <c:pt idx="281">
                  <c:v>8.6069409113078699E-3</c:v>
                </c:pt>
                <c:pt idx="282">
                  <c:v>3.0857776853199681E-2</c:v>
                </c:pt>
                <c:pt idx="283">
                  <c:v>-6.464975691472985E-2</c:v>
                </c:pt>
                <c:pt idx="284">
                  <c:v>8.2494498806113814E-3</c:v>
                </c:pt>
                <c:pt idx="285">
                  <c:v>-1.0355259075396139E-2</c:v>
                </c:pt>
                <c:pt idx="286">
                  <c:v>-2.0613010965625622E-2</c:v>
                </c:pt>
                <c:pt idx="287">
                  <c:v>-6.8524807587958536E-3</c:v>
                </c:pt>
                <c:pt idx="288">
                  <c:v>-4.669774318126918E-2</c:v>
                </c:pt>
                <c:pt idx="289">
                  <c:v>2.7590694429537876E-2</c:v>
                </c:pt>
                <c:pt idx="290">
                  <c:v>2.6004914392077527E-2</c:v>
                </c:pt>
                <c:pt idx="291">
                  <c:v>1.7780593936487232E-3</c:v>
                </c:pt>
                <c:pt idx="292">
                  <c:v>3.9705356610856057E-2</c:v>
                </c:pt>
                <c:pt idx="293">
                  <c:v>2.2202911144905357E-2</c:v>
                </c:pt>
                <c:pt idx="294">
                  <c:v>2.5182648567469101E-2</c:v>
                </c:pt>
                <c:pt idx="295">
                  <c:v>-4.667020803746702E-3</c:v>
                </c:pt>
                <c:pt idx="296">
                  <c:v>3.6637642330878073E-2</c:v>
                </c:pt>
                <c:pt idx="297">
                  <c:v>-8.6645509906510765E-2</c:v>
                </c:pt>
                <c:pt idx="298">
                  <c:v>3.1547090364814068E-2</c:v>
                </c:pt>
                <c:pt idx="299">
                  <c:v>6.8339604049090452E-2</c:v>
                </c:pt>
                <c:pt idx="300">
                  <c:v>5.8374694421809092E-2</c:v>
                </c:pt>
                <c:pt idx="301">
                  <c:v>4.0264877757041129E-2</c:v>
                </c:pt>
                <c:pt idx="302">
                  <c:v>-2.1802798568176796E-3</c:v>
                </c:pt>
                <c:pt idx="303">
                  <c:v>-5.7202185094080815E-2</c:v>
                </c:pt>
                <c:pt idx="304">
                  <c:v>-5.6129077678291783E-2</c:v>
                </c:pt>
                <c:pt idx="305">
                  <c:v>-3.558060850416378E-2</c:v>
                </c:pt>
                <c:pt idx="306">
                  <c:v>-2.1512276062327196E-2</c:v>
                </c:pt>
                <c:pt idx="307">
                  <c:v>-2.08105218410648E-2</c:v>
                </c:pt>
                <c:pt idx="308">
                  <c:v>-2.0232659344371462E-2</c:v>
                </c:pt>
                <c:pt idx="309">
                  <c:v>3.3212667752422487E-3</c:v>
                </c:pt>
                <c:pt idx="310">
                  <c:v>1.1042122596788051E-2</c:v>
                </c:pt>
                <c:pt idx="311">
                  <c:v>1.1385131517898772E-2</c:v>
                </c:pt>
                <c:pt idx="312">
                  <c:v>1.6231353946390303E-2</c:v>
                </c:pt>
                <c:pt idx="313">
                  <c:v>1.6444127097465122E-2</c:v>
                </c:pt>
                <c:pt idx="314">
                  <c:v>1.7377961747073511E-2</c:v>
                </c:pt>
                <c:pt idx="315">
                  <c:v>2.0795712283844026E-2</c:v>
                </c:pt>
                <c:pt idx="316">
                  <c:v>2.1853541175880453E-2</c:v>
                </c:pt>
                <c:pt idx="317">
                  <c:v>2.3162171085685967E-2</c:v>
                </c:pt>
                <c:pt idx="318">
                  <c:v>3.2520442868514188E-2</c:v>
                </c:pt>
                <c:pt idx="319">
                  <c:v>2.0507596978184717E-2</c:v>
                </c:pt>
                <c:pt idx="320">
                  <c:v>-2.5643071848482024E-2</c:v>
                </c:pt>
                <c:pt idx="321">
                  <c:v>-1.5057178027937157E-2</c:v>
                </c:pt>
                <c:pt idx="322">
                  <c:v>1.0473294466381233E-2</c:v>
                </c:pt>
                <c:pt idx="323">
                  <c:v>6.3690205011388556E-3</c:v>
                </c:pt>
                <c:pt idx="324">
                  <c:v>9.8611022093626488E-3</c:v>
                </c:pt>
                <c:pt idx="325">
                  <c:v>7.6611395717764319E-2</c:v>
                </c:pt>
                <c:pt idx="326">
                  <c:v>3.2578976842243312E-2</c:v>
                </c:pt>
                <c:pt idx="327">
                  <c:v>3.5671896947852888E-2</c:v>
                </c:pt>
                <c:pt idx="328">
                  <c:v>-3.5733141700642457E-2</c:v>
                </c:pt>
                <c:pt idx="329">
                  <c:v>-1.799428820923199E-2</c:v>
                </c:pt>
                <c:pt idx="330">
                  <c:v>3.5699050270549426E-2</c:v>
                </c:pt>
                <c:pt idx="331">
                  <c:v>3.5601879304839601E-2</c:v>
                </c:pt>
                <c:pt idx="332">
                  <c:v>5.0428063581990923E-2</c:v>
                </c:pt>
                <c:pt idx="333">
                  <c:v>9.916018839017271E-3</c:v>
                </c:pt>
                <c:pt idx="334">
                  <c:v>3.4471408647140933E-2</c:v>
                </c:pt>
                <c:pt idx="335">
                  <c:v>-6.1247468752182899E-2</c:v>
                </c:pt>
                <c:pt idx="336">
                  <c:v>3.0626323109663733E-2</c:v>
                </c:pt>
                <c:pt idx="337">
                  <c:v>-5.1718931650385103E-2</c:v>
                </c:pt>
                <c:pt idx="338">
                  <c:v>-5.0719169295318944E-2</c:v>
                </c:pt>
              </c:numCache>
            </c:numRef>
          </c:yVal>
          <c:smooth val="0"/>
          <c:extLst xmlns:c16r2="http://schemas.microsoft.com/office/drawing/2015/06/chart">
            <c:ext xmlns:c16="http://schemas.microsoft.com/office/drawing/2014/chart" uri="{C3380CC4-5D6E-409C-BE32-E72D297353CC}">
              <c16:uniqueId val="{00000000-7087-4E67-A521-49D62B93BBF7}"/>
            </c:ext>
          </c:extLst>
        </c:ser>
        <c:dLbls>
          <c:showLegendKey val="0"/>
          <c:showVal val="0"/>
          <c:showCatName val="0"/>
          <c:showSerName val="0"/>
          <c:showPercent val="0"/>
          <c:showBubbleSize val="0"/>
        </c:dLbls>
        <c:axId val="559655936"/>
        <c:axId val="559666304"/>
      </c:scatterChart>
      <c:valAx>
        <c:axId val="559655936"/>
        <c:scaling>
          <c:orientation val="minMax"/>
        </c:scaling>
        <c:delete val="0"/>
        <c:axPos val="b"/>
        <c:title>
          <c:tx>
            <c:rich>
              <a:bodyPr/>
              <a:lstStyle/>
              <a:p>
                <a:pPr>
                  <a:defRPr/>
                </a:pPr>
                <a:r>
                  <a:rPr lang="en-US" sz="1000" b="1" i="0" u="none" strike="noStrike" baseline="0" dirty="0">
                    <a:effectLst/>
                  </a:rPr>
                  <a:t>Rolling </a:t>
                </a:r>
                <a:r>
                  <a:rPr lang="en-US" dirty="0"/>
                  <a:t>Monthly</a:t>
                </a:r>
                <a:r>
                  <a:rPr lang="en-US" baseline="0" dirty="0"/>
                  <a:t> Mean Reversion Performances above 2%</a:t>
                </a:r>
                <a:endParaRPr lang="en-US" dirty="0"/>
              </a:p>
            </c:rich>
          </c:tx>
          <c:layout/>
          <c:overlay val="0"/>
        </c:title>
        <c:numFmt formatCode="0.00%" sourceLinked="1"/>
        <c:majorTickMark val="none"/>
        <c:minorTickMark val="none"/>
        <c:tickLblPos val="nextTo"/>
        <c:crossAx val="559666304"/>
        <c:crosses val="autoZero"/>
        <c:crossBetween val="midCat"/>
      </c:valAx>
      <c:valAx>
        <c:axId val="559666304"/>
        <c:scaling>
          <c:orientation val="minMax"/>
        </c:scaling>
        <c:delete val="0"/>
        <c:axPos val="l"/>
        <c:title>
          <c:tx>
            <c:rich>
              <a:bodyPr rot="-5400000" vert="horz"/>
              <a:lstStyle/>
              <a:p>
                <a:pPr>
                  <a:defRPr/>
                </a:pPr>
                <a:r>
                  <a:rPr lang="en-US"/>
                  <a:t>corresponding</a:t>
                </a:r>
                <a:r>
                  <a:rPr lang="en-US" baseline="0"/>
                  <a:t> monthly S&amp;P 500 performances</a:t>
                </a:r>
                <a:endParaRPr lang="en-US"/>
              </a:p>
            </c:rich>
          </c:tx>
          <c:layout/>
          <c:overlay val="0"/>
        </c:title>
        <c:numFmt formatCode="0.00%" sourceLinked="1"/>
        <c:majorTickMark val="none"/>
        <c:minorTickMark val="none"/>
        <c:tickLblPos val="nextTo"/>
        <c:crossAx val="559655936"/>
        <c:crosses val="autoZero"/>
        <c:crossBetween val="midCat"/>
      </c:valAx>
    </c:plotArea>
    <c:legend>
      <c:legendPos val="b"/>
      <c:layout/>
      <c:overlay val="0"/>
    </c:legend>
    <c:plotVisOnly val="1"/>
    <c:dispBlanksAs val="gap"/>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8.1912024449688162E-2"/>
          <c:y val="5.8223642510254026E-2"/>
          <c:w val="0.87842211631454969"/>
          <c:h val="0.67805714177173271"/>
        </c:manualLayout>
      </c:layout>
      <c:scatterChart>
        <c:scatterStyle val="lineMarker"/>
        <c:varyColors val="0"/>
        <c:ser>
          <c:idx val="0"/>
          <c:order val="0"/>
          <c:tx>
            <c:strRef>
              <c:f>Sheet8!$AD$36</c:f>
              <c:strCache>
                <c:ptCount val="1"/>
                <c:pt idx="0">
                  <c:v>S&amp;P Index monthly performance for Mean reversion monthly performance &lt;= -2%</c:v>
                </c:pt>
              </c:strCache>
            </c:strRef>
          </c:tx>
          <c:spPr>
            <a:ln w="28575">
              <a:noFill/>
            </a:ln>
          </c:spPr>
          <c:xVal>
            <c:numRef>
              <c:f>Sheet8!$AC$37:$AC$210</c:f>
              <c:numCache>
                <c:formatCode>0.00%</c:formatCode>
                <c:ptCount val="174"/>
                <c:pt idx="0">
                  <c:v>-7.3412137434599622E-2</c:v>
                </c:pt>
                <c:pt idx="1">
                  <c:v>-6.6747588333086916E-2</c:v>
                </c:pt>
                <c:pt idx="2">
                  <c:v>-6.3540928012949749E-2</c:v>
                </c:pt>
                <c:pt idx="3">
                  <c:v>-5.7957897761155897E-2</c:v>
                </c:pt>
                <c:pt idx="4">
                  <c:v>-5.501600357924219E-2</c:v>
                </c:pt>
                <c:pt idx="5">
                  <c:v>-5.4746417087497057E-2</c:v>
                </c:pt>
                <c:pt idx="6">
                  <c:v>-5.3786408889866189E-2</c:v>
                </c:pt>
                <c:pt idx="7">
                  <c:v>-5.3743325686396504E-2</c:v>
                </c:pt>
                <c:pt idx="8">
                  <c:v>-5.3382426265980998E-2</c:v>
                </c:pt>
                <c:pt idx="9">
                  <c:v>-5.3382426265980998E-2</c:v>
                </c:pt>
                <c:pt idx="10">
                  <c:v>-5.2949351163554592E-2</c:v>
                </c:pt>
                <c:pt idx="11">
                  <c:v>-5.1866732419000861E-2</c:v>
                </c:pt>
                <c:pt idx="12">
                  <c:v>-5.1825853159457314E-2</c:v>
                </c:pt>
                <c:pt idx="13">
                  <c:v>-5.1304830173300564E-2</c:v>
                </c:pt>
                <c:pt idx="14">
                  <c:v>-4.9363803972955811E-2</c:v>
                </c:pt>
                <c:pt idx="15">
                  <c:v>-4.9239415686629928E-2</c:v>
                </c:pt>
                <c:pt idx="16">
                  <c:v>-4.7829447675693304E-2</c:v>
                </c:pt>
                <c:pt idx="17">
                  <c:v>-4.7627062762077621E-2</c:v>
                </c:pt>
                <c:pt idx="18">
                  <c:v>-4.7423965998724227E-2</c:v>
                </c:pt>
                <c:pt idx="19">
                  <c:v>-4.7413288072181037E-2</c:v>
                </c:pt>
                <c:pt idx="20">
                  <c:v>-4.7404542769560853E-2</c:v>
                </c:pt>
                <c:pt idx="21">
                  <c:v>-4.7340091265592132E-2</c:v>
                </c:pt>
                <c:pt idx="22">
                  <c:v>-4.6099632391361389E-2</c:v>
                </c:pt>
                <c:pt idx="23">
                  <c:v>-4.3830159531517698E-2</c:v>
                </c:pt>
                <c:pt idx="24">
                  <c:v>-4.312364613908104E-2</c:v>
                </c:pt>
                <c:pt idx="25">
                  <c:v>-4.3123646139080929E-2</c:v>
                </c:pt>
                <c:pt idx="26">
                  <c:v>-4.3123646139080929E-2</c:v>
                </c:pt>
                <c:pt idx="27">
                  <c:v>-4.3123646139080929E-2</c:v>
                </c:pt>
                <c:pt idx="28">
                  <c:v>-4.3123646139080929E-2</c:v>
                </c:pt>
                <c:pt idx="29">
                  <c:v>-4.3123646139080929E-2</c:v>
                </c:pt>
                <c:pt idx="30">
                  <c:v>-4.3123646139080929E-2</c:v>
                </c:pt>
                <c:pt idx="31">
                  <c:v>-4.3123646139080929E-2</c:v>
                </c:pt>
                <c:pt idx="32">
                  <c:v>-4.3123646139080929E-2</c:v>
                </c:pt>
                <c:pt idx="33">
                  <c:v>-4.3123646139080929E-2</c:v>
                </c:pt>
                <c:pt idx="34">
                  <c:v>-4.3123646139080929E-2</c:v>
                </c:pt>
                <c:pt idx="35">
                  <c:v>-4.2848278186146671E-2</c:v>
                </c:pt>
                <c:pt idx="36">
                  <c:v>-4.2711507406383298E-2</c:v>
                </c:pt>
                <c:pt idx="37">
                  <c:v>-4.2551488568500884E-2</c:v>
                </c:pt>
                <c:pt idx="38">
                  <c:v>-4.247167654388595E-2</c:v>
                </c:pt>
                <c:pt idx="39">
                  <c:v>-4.2257882770366351E-2</c:v>
                </c:pt>
                <c:pt idx="40">
                  <c:v>-4.2095121485905773E-2</c:v>
                </c:pt>
                <c:pt idx="41">
                  <c:v>-4.0931001951272306E-2</c:v>
                </c:pt>
                <c:pt idx="42">
                  <c:v>-4.088407425775209E-2</c:v>
                </c:pt>
                <c:pt idx="43">
                  <c:v>-4.0605485877656444E-2</c:v>
                </c:pt>
                <c:pt idx="44">
                  <c:v>-4.0290648898335668E-2</c:v>
                </c:pt>
                <c:pt idx="45">
                  <c:v>-3.8336368421126976E-2</c:v>
                </c:pt>
                <c:pt idx="46">
                  <c:v>-3.8098014401458213E-2</c:v>
                </c:pt>
                <c:pt idx="47">
                  <c:v>-3.6906112392821822E-2</c:v>
                </c:pt>
                <c:pt idx="48">
                  <c:v>-3.6671449420051627E-2</c:v>
                </c:pt>
                <c:pt idx="49">
                  <c:v>-3.6644783979024931E-2</c:v>
                </c:pt>
                <c:pt idx="50">
                  <c:v>-3.652847623356259E-2</c:v>
                </c:pt>
                <c:pt idx="51">
                  <c:v>-3.6479932024007233E-2</c:v>
                </c:pt>
                <c:pt idx="52">
                  <c:v>-3.6474551436222469E-2</c:v>
                </c:pt>
                <c:pt idx="53">
                  <c:v>-3.6474551436222469E-2</c:v>
                </c:pt>
                <c:pt idx="54">
                  <c:v>-3.6474551436222469E-2</c:v>
                </c:pt>
                <c:pt idx="55">
                  <c:v>-3.6474551436222469E-2</c:v>
                </c:pt>
                <c:pt idx="56">
                  <c:v>-3.6474551436222469E-2</c:v>
                </c:pt>
                <c:pt idx="57">
                  <c:v>-3.6474551436222469E-2</c:v>
                </c:pt>
                <c:pt idx="58">
                  <c:v>-3.6474551436222469E-2</c:v>
                </c:pt>
                <c:pt idx="59">
                  <c:v>-3.6474551436222469E-2</c:v>
                </c:pt>
                <c:pt idx="60">
                  <c:v>-3.6474551436222469E-2</c:v>
                </c:pt>
                <c:pt idx="61">
                  <c:v>-3.6474551436222469E-2</c:v>
                </c:pt>
                <c:pt idx="62">
                  <c:v>-3.6474551436222469E-2</c:v>
                </c:pt>
                <c:pt idx="63">
                  <c:v>-3.6453841032077827E-2</c:v>
                </c:pt>
                <c:pt idx="64">
                  <c:v>-3.6240183147268845E-2</c:v>
                </c:pt>
                <c:pt idx="65">
                  <c:v>-3.6185185879225812E-2</c:v>
                </c:pt>
                <c:pt idx="66">
                  <c:v>-3.6174347857029443E-2</c:v>
                </c:pt>
                <c:pt idx="67">
                  <c:v>-3.6144457490608239E-2</c:v>
                </c:pt>
                <c:pt idx="68">
                  <c:v>-3.606266922254131E-2</c:v>
                </c:pt>
                <c:pt idx="69">
                  <c:v>-3.6000134209357992E-2</c:v>
                </c:pt>
                <c:pt idx="70">
                  <c:v>-3.5543077425649217E-2</c:v>
                </c:pt>
                <c:pt idx="71">
                  <c:v>-3.5455975880368196E-2</c:v>
                </c:pt>
                <c:pt idx="72">
                  <c:v>-3.5153600780944538E-2</c:v>
                </c:pt>
                <c:pt idx="73">
                  <c:v>-3.493473262519442E-2</c:v>
                </c:pt>
                <c:pt idx="74">
                  <c:v>-3.4812925828515029E-2</c:v>
                </c:pt>
                <c:pt idx="75">
                  <c:v>-3.469285685047041E-2</c:v>
                </c:pt>
                <c:pt idx="76">
                  <c:v>-3.4540495125722104E-2</c:v>
                </c:pt>
                <c:pt idx="77">
                  <c:v>-3.4357984210460213E-2</c:v>
                </c:pt>
                <c:pt idx="78">
                  <c:v>-3.3080994021080556E-2</c:v>
                </c:pt>
                <c:pt idx="79">
                  <c:v>-3.2975092236302572E-2</c:v>
                </c:pt>
                <c:pt idx="80">
                  <c:v>-3.2975092236302572E-2</c:v>
                </c:pt>
                <c:pt idx="81">
                  <c:v>-3.2975092236302572E-2</c:v>
                </c:pt>
                <c:pt idx="82">
                  <c:v>-3.2975092236302572E-2</c:v>
                </c:pt>
                <c:pt idx="83">
                  <c:v>-3.2555285434499259E-2</c:v>
                </c:pt>
                <c:pt idx="84">
                  <c:v>-3.2555285434499259E-2</c:v>
                </c:pt>
                <c:pt idx="85">
                  <c:v>-3.2390678278562235E-2</c:v>
                </c:pt>
                <c:pt idx="86">
                  <c:v>-3.2371643642195358E-2</c:v>
                </c:pt>
                <c:pt idx="87">
                  <c:v>-3.2154917042824471E-2</c:v>
                </c:pt>
                <c:pt idx="88">
                  <c:v>-3.1974618678216604E-2</c:v>
                </c:pt>
                <c:pt idx="89">
                  <c:v>-3.1741223312382161E-2</c:v>
                </c:pt>
                <c:pt idx="90">
                  <c:v>-3.1672155151971748E-2</c:v>
                </c:pt>
                <c:pt idx="91">
                  <c:v>-3.0978068123644897E-2</c:v>
                </c:pt>
                <c:pt idx="92">
                  <c:v>-3.0822739076510564E-2</c:v>
                </c:pt>
                <c:pt idx="93">
                  <c:v>-3.0017181839216645E-2</c:v>
                </c:pt>
                <c:pt idx="94">
                  <c:v>-3.0017181839216645E-2</c:v>
                </c:pt>
                <c:pt idx="95">
                  <c:v>-2.9719002458870492E-2</c:v>
                </c:pt>
                <c:pt idx="96">
                  <c:v>-2.9719002458870492E-2</c:v>
                </c:pt>
                <c:pt idx="97">
                  <c:v>-2.9086771250284804E-2</c:v>
                </c:pt>
                <c:pt idx="98">
                  <c:v>-2.7343170847686338E-2</c:v>
                </c:pt>
                <c:pt idx="99">
                  <c:v>-2.6824135345281608E-2</c:v>
                </c:pt>
                <c:pt idx="100">
                  <c:v>-2.6478241116888346E-2</c:v>
                </c:pt>
                <c:pt idx="101">
                  <c:v>-2.6478241116888346E-2</c:v>
                </c:pt>
                <c:pt idx="102">
                  <c:v>-2.6151610831498751E-2</c:v>
                </c:pt>
                <c:pt idx="103">
                  <c:v>-2.6151610831498751E-2</c:v>
                </c:pt>
                <c:pt idx="104">
                  <c:v>-2.5861711543518018E-2</c:v>
                </c:pt>
                <c:pt idx="105">
                  <c:v>-2.5744625526558207E-2</c:v>
                </c:pt>
                <c:pt idx="106">
                  <c:v>-2.5744625526558207E-2</c:v>
                </c:pt>
                <c:pt idx="107">
                  <c:v>-2.5744625526558207E-2</c:v>
                </c:pt>
                <c:pt idx="108">
                  <c:v>-2.5744625526558207E-2</c:v>
                </c:pt>
                <c:pt idx="109">
                  <c:v>-2.5744625526558207E-2</c:v>
                </c:pt>
                <c:pt idx="110">
                  <c:v>-2.5744625526558207E-2</c:v>
                </c:pt>
                <c:pt idx="111">
                  <c:v>-2.5744625526558207E-2</c:v>
                </c:pt>
                <c:pt idx="112">
                  <c:v>-2.5622018915075429E-2</c:v>
                </c:pt>
                <c:pt idx="113">
                  <c:v>-2.5552151598679518E-2</c:v>
                </c:pt>
                <c:pt idx="114">
                  <c:v>-2.5421854086074003E-2</c:v>
                </c:pt>
                <c:pt idx="115">
                  <c:v>-2.5395787039207751E-2</c:v>
                </c:pt>
                <c:pt idx="116">
                  <c:v>-2.5152639429571355E-2</c:v>
                </c:pt>
                <c:pt idx="117">
                  <c:v>-2.5071235647014745E-2</c:v>
                </c:pt>
                <c:pt idx="118">
                  <c:v>-2.5071235647014745E-2</c:v>
                </c:pt>
                <c:pt idx="119">
                  <c:v>-2.4871191986156616E-2</c:v>
                </c:pt>
                <c:pt idx="120">
                  <c:v>-2.4233333131347901E-2</c:v>
                </c:pt>
                <c:pt idx="121">
                  <c:v>-2.4225768620675381E-2</c:v>
                </c:pt>
                <c:pt idx="122">
                  <c:v>-2.3981156657574165E-2</c:v>
                </c:pt>
                <c:pt idx="123">
                  <c:v>-2.3513040164631294E-2</c:v>
                </c:pt>
                <c:pt idx="124">
                  <c:v>-2.3402534019778098E-2</c:v>
                </c:pt>
                <c:pt idx="125">
                  <c:v>-2.3275986460021048E-2</c:v>
                </c:pt>
                <c:pt idx="126">
                  <c:v>-2.3129966629560128E-2</c:v>
                </c:pt>
                <c:pt idx="127">
                  <c:v>-2.3038636067420071E-2</c:v>
                </c:pt>
                <c:pt idx="128">
                  <c:v>-2.2582171455911904E-2</c:v>
                </c:pt>
                <c:pt idx="129">
                  <c:v>-2.2333458275296425E-2</c:v>
                </c:pt>
                <c:pt idx="130">
                  <c:v>-2.231440592338052E-2</c:v>
                </c:pt>
                <c:pt idx="131">
                  <c:v>-2.2225229996935658E-2</c:v>
                </c:pt>
                <c:pt idx="132">
                  <c:v>-2.2225229996935658E-2</c:v>
                </c:pt>
                <c:pt idx="133">
                  <c:v>-2.2182422665107171E-2</c:v>
                </c:pt>
                <c:pt idx="134">
                  <c:v>-2.2077612451856021E-2</c:v>
                </c:pt>
                <c:pt idx="135">
                  <c:v>-2.2031402117911214E-2</c:v>
                </c:pt>
                <c:pt idx="136">
                  <c:v>-2.186773106908968E-2</c:v>
                </c:pt>
                <c:pt idx="137">
                  <c:v>-2.1772367201840503E-2</c:v>
                </c:pt>
                <c:pt idx="138">
                  <c:v>-2.1650058435143449E-2</c:v>
                </c:pt>
                <c:pt idx="139">
                  <c:v>-2.1650058435143449E-2</c:v>
                </c:pt>
                <c:pt idx="140">
                  <c:v>-2.1650058435143449E-2</c:v>
                </c:pt>
                <c:pt idx="141">
                  <c:v>-2.1650058435143449E-2</c:v>
                </c:pt>
                <c:pt idx="142">
                  <c:v>-2.1630337695004775E-2</c:v>
                </c:pt>
                <c:pt idx="143">
                  <c:v>-2.1630337695004775E-2</c:v>
                </c:pt>
                <c:pt idx="144">
                  <c:v>-2.1599021895476134E-2</c:v>
                </c:pt>
                <c:pt idx="145">
                  <c:v>-2.1321242425863085E-2</c:v>
                </c:pt>
                <c:pt idx="146">
                  <c:v>-2.1310646030027858E-2</c:v>
                </c:pt>
                <c:pt idx="147">
                  <c:v>-2.1307922773086685E-2</c:v>
                </c:pt>
                <c:pt idx="148">
                  <c:v>-2.1073390704476225E-2</c:v>
                </c:pt>
                <c:pt idx="149">
                  <c:v>-2.102203156727156E-2</c:v>
                </c:pt>
                <c:pt idx="150">
                  <c:v>-2.0955955728217734E-2</c:v>
                </c:pt>
                <c:pt idx="151">
                  <c:v>-2.09196771727308E-2</c:v>
                </c:pt>
                <c:pt idx="152">
                  <c:v>-2.0912016313497928E-2</c:v>
                </c:pt>
                <c:pt idx="153">
                  <c:v>-2.080879219909848E-2</c:v>
                </c:pt>
                <c:pt idx="154">
                  <c:v>-2.0716423861694699E-2</c:v>
                </c:pt>
                <c:pt idx="155">
                  <c:v>-2.0665132433012934E-2</c:v>
                </c:pt>
                <c:pt idx="156">
                  <c:v>-2.0624381742263664E-2</c:v>
                </c:pt>
                <c:pt idx="157">
                  <c:v>-2.0410773733100074E-2</c:v>
                </c:pt>
                <c:pt idx="158">
                  <c:v>-2.0410773733100074E-2</c:v>
                </c:pt>
                <c:pt idx="159">
                  <c:v>-2.0393218683294689E-2</c:v>
                </c:pt>
                <c:pt idx="160">
                  <c:v>-2.0339851358206373E-2</c:v>
                </c:pt>
                <c:pt idx="161">
                  <c:v>-2.0339851358206373E-2</c:v>
                </c:pt>
                <c:pt idx="162">
                  <c:v>-2.0339851358206373E-2</c:v>
                </c:pt>
                <c:pt idx="163">
                  <c:v>-2.0339851358206373E-2</c:v>
                </c:pt>
                <c:pt idx="164">
                  <c:v>-2.0339851358206373E-2</c:v>
                </c:pt>
                <c:pt idx="165">
                  <c:v>-2.0339851358206373E-2</c:v>
                </c:pt>
                <c:pt idx="166">
                  <c:v>-2.0339851358206373E-2</c:v>
                </c:pt>
                <c:pt idx="167">
                  <c:v>-2.0339851358206373E-2</c:v>
                </c:pt>
                <c:pt idx="168">
                  <c:v>-2.0339851358206373E-2</c:v>
                </c:pt>
                <c:pt idx="169">
                  <c:v>-2.0339851358206373E-2</c:v>
                </c:pt>
                <c:pt idx="170">
                  <c:v>-2.0250465173869081E-2</c:v>
                </c:pt>
                <c:pt idx="171">
                  <c:v>-2.0149355163217586E-2</c:v>
                </c:pt>
                <c:pt idx="172">
                  <c:v>-2.004785359185568E-2</c:v>
                </c:pt>
                <c:pt idx="173">
                  <c:v>-1.9956576104246726E-2</c:v>
                </c:pt>
              </c:numCache>
            </c:numRef>
          </c:xVal>
          <c:yVal>
            <c:numRef>
              <c:f>Sheet8!$AD$37:$AD$210</c:f>
              <c:numCache>
                <c:formatCode>0.00%</c:formatCode>
                <c:ptCount val="174"/>
                <c:pt idx="0">
                  <c:v>-4.7255618368370333E-3</c:v>
                </c:pt>
                <c:pt idx="1">
                  <c:v>-5.3273698721109541E-2</c:v>
                </c:pt>
                <c:pt idx="2">
                  <c:v>-5.2683181907314358E-2</c:v>
                </c:pt>
                <c:pt idx="3">
                  <c:v>-2.4632991488717892E-2</c:v>
                </c:pt>
                <c:pt idx="4">
                  <c:v>2.4059665858515045E-2</c:v>
                </c:pt>
                <c:pt idx="5">
                  <c:v>-4.7441004328506509E-2</c:v>
                </c:pt>
                <c:pt idx="6">
                  <c:v>-5.7958040342492745E-2</c:v>
                </c:pt>
                <c:pt idx="7">
                  <c:v>4.9388787410425516E-2</c:v>
                </c:pt>
                <c:pt idx="8">
                  <c:v>3.7962194415297024E-2</c:v>
                </c:pt>
                <c:pt idx="9">
                  <c:v>5.2924136851170367E-2</c:v>
                </c:pt>
                <c:pt idx="10">
                  <c:v>3.4605726034878437E-2</c:v>
                </c:pt>
                <c:pt idx="11">
                  <c:v>-1.4282887426493085E-2</c:v>
                </c:pt>
                <c:pt idx="12">
                  <c:v>-3.3776581373758163E-2</c:v>
                </c:pt>
                <c:pt idx="13">
                  <c:v>-5.9335328123638287E-2</c:v>
                </c:pt>
                <c:pt idx="14">
                  <c:v>5.4186459645800156E-2</c:v>
                </c:pt>
                <c:pt idx="15">
                  <c:v>-8.6403939247750694E-2</c:v>
                </c:pt>
                <c:pt idx="16">
                  <c:v>-5.089369170020841E-2</c:v>
                </c:pt>
                <c:pt idx="17">
                  <c:v>5.4079800109315235E-2</c:v>
                </c:pt>
                <c:pt idx="18">
                  <c:v>-5.0955080763304239E-2</c:v>
                </c:pt>
                <c:pt idx="19">
                  <c:v>-5.8462884867836351E-2</c:v>
                </c:pt>
                <c:pt idx="20">
                  <c:v>-5.4242328619104052E-2</c:v>
                </c:pt>
                <c:pt idx="21">
                  <c:v>5.2870547073790908E-2</c:v>
                </c:pt>
                <c:pt idx="22">
                  <c:v>-2.3287551267643036E-2</c:v>
                </c:pt>
                <c:pt idx="23">
                  <c:v>-2.8410376979636331E-2</c:v>
                </c:pt>
                <c:pt idx="24">
                  <c:v>-4.5921603450463588E-2</c:v>
                </c:pt>
                <c:pt idx="25">
                  <c:v>-0.11140686933014965</c:v>
                </c:pt>
                <c:pt idx="26">
                  <c:v>-7.6310710173381313E-2</c:v>
                </c:pt>
                <c:pt idx="27">
                  <c:v>-6.4065735854098915E-2</c:v>
                </c:pt>
                <c:pt idx="28">
                  <c:v>-6.3686322106470183E-2</c:v>
                </c:pt>
                <c:pt idx="29">
                  <c:v>-6.2715095694372613E-2</c:v>
                </c:pt>
                <c:pt idx="30">
                  <c:v>-4.6295286587872631E-2</c:v>
                </c:pt>
                <c:pt idx="31">
                  <c:v>-4.3951596249948821E-2</c:v>
                </c:pt>
                <c:pt idx="32">
                  <c:v>-3.4008090398502722E-2</c:v>
                </c:pt>
                <c:pt idx="33">
                  <c:v>-2.9002737845056803E-2</c:v>
                </c:pt>
                <c:pt idx="34">
                  <c:v>-2.140649795372962E-2</c:v>
                </c:pt>
                <c:pt idx="35">
                  <c:v>4.022348134626097E-2</c:v>
                </c:pt>
                <c:pt idx="36">
                  <c:v>-0.1000934911927992</c:v>
                </c:pt>
                <c:pt idx="37">
                  <c:v>-1.9790825934894229E-2</c:v>
                </c:pt>
                <c:pt idx="38">
                  <c:v>-9.7734033319570313E-2</c:v>
                </c:pt>
                <c:pt idx="39">
                  <c:v>-1.1655325742774947E-2</c:v>
                </c:pt>
                <c:pt idx="40">
                  <c:v>-9.7258820994713835E-2</c:v>
                </c:pt>
                <c:pt idx="41">
                  <c:v>1.3415185258529139E-2</c:v>
                </c:pt>
                <c:pt idx="42">
                  <c:v>4.7564625850340381E-2</c:v>
                </c:pt>
                <c:pt idx="43">
                  <c:v>5.1114796020298225E-2</c:v>
                </c:pt>
                <c:pt idx="44">
                  <c:v>-0.11799257360673021</c:v>
                </c:pt>
                <c:pt idx="45">
                  <c:v>-6.323204115024994E-2</c:v>
                </c:pt>
                <c:pt idx="46">
                  <c:v>-7.7056145386802055E-2</c:v>
                </c:pt>
                <c:pt idx="47">
                  <c:v>4.196533710573469E-2</c:v>
                </c:pt>
                <c:pt idx="48">
                  <c:v>3.6760313896727181E-2</c:v>
                </c:pt>
                <c:pt idx="49">
                  <c:v>3.2064908389634939E-2</c:v>
                </c:pt>
                <c:pt idx="50">
                  <c:v>-3.1757819752388228E-3</c:v>
                </c:pt>
                <c:pt idx="51">
                  <c:v>2.4882562694204413E-2</c:v>
                </c:pt>
                <c:pt idx="52">
                  <c:v>-0.10968355410097086</c:v>
                </c:pt>
                <c:pt idx="53">
                  <c:v>-6.905538886090401E-2</c:v>
                </c:pt>
                <c:pt idx="54">
                  <c:v>-6.8004685317835767E-2</c:v>
                </c:pt>
                <c:pt idx="55">
                  <c:v>-5.087655882884512E-2</c:v>
                </c:pt>
                <c:pt idx="56">
                  <c:v>-4.55239034911602E-2</c:v>
                </c:pt>
                <c:pt idx="57">
                  <c:v>-4.2183397178680249E-2</c:v>
                </c:pt>
                <c:pt idx="58">
                  <c:v>-3.0805412669725141E-2</c:v>
                </c:pt>
                <c:pt idx="59">
                  <c:v>-2.8587218071082665E-2</c:v>
                </c:pt>
                <c:pt idx="60">
                  <c:v>-2.7926663752846581E-2</c:v>
                </c:pt>
                <c:pt idx="61">
                  <c:v>-2.5848067730230739E-2</c:v>
                </c:pt>
                <c:pt idx="62">
                  <c:v>1.4780018331808087E-3</c:v>
                </c:pt>
                <c:pt idx="63">
                  <c:v>-3.2227214091900436E-2</c:v>
                </c:pt>
                <c:pt idx="64">
                  <c:v>3.8439270603954023E-2</c:v>
                </c:pt>
                <c:pt idx="65">
                  <c:v>-2.0604631463276846E-3</c:v>
                </c:pt>
                <c:pt idx="66">
                  <c:v>2.8765202315086169E-2</c:v>
                </c:pt>
                <c:pt idx="67">
                  <c:v>5.745614035087665E-2</c:v>
                </c:pt>
                <c:pt idx="68">
                  <c:v>-5.5023911806058035E-3</c:v>
                </c:pt>
                <c:pt idx="69">
                  <c:v>5.6536624243730627E-2</c:v>
                </c:pt>
                <c:pt idx="70">
                  <c:v>8.1987083761609902E-3</c:v>
                </c:pt>
                <c:pt idx="71">
                  <c:v>2.5939181681796875E-2</c:v>
                </c:pt>
                <c:pt idx="72">
                  <c:v>1.8904655271354542E-3</c:v>
                </c:pt>
                <c:pt idx="73">
                  <c:v>-6.2571098066132813E-2</c:v>
                </c:pt>
                <c:pt idx="74">
                  <c:v>-5.9921861892093031E-2</c:v>
                </c:pt>
                <c:pt idx="75">
                  <c:v>5.0710604654139679E-2</c:v>
                </c:pt>
                <c:pt idx="76">
                  <c:v>-2.6442819620927538E-2</c:v>
                </c:pt>
                <c:pt idx="77">
                  <c:v>-0.11387319004991614</c:v>
                </c:pt>
                <c:pt idx="78">
                  <c:v>3.2977904803166425E-5</c:v>
                </c:pt>
                <c:pt idx="79">
                  <c:v>-7.7914722878151488E-2</c:v>
                </c:pt>
                <c:pt idx="80">
                  <c:v>-7.081968149954343E-2</c:v>
                </c:pt>
                <c:pt idx="81">
                  <c:v>-6.9009993694228111E-2</c:v>
                </c:pt>
                <c:pt idx="82">
                  <c:v>-5.2060821055368356E-2</c:v>
                </c:pt>
                <c:pt idx="83">
                  <c:v>-8.779146250786507E-2</c:v>
                </c:pt>
                <c:pt idx="84">
                  <c:v>-6.2580804623926123E-2</c:v>
                </c:pt>
                <c:pt idx="85">
                  <c:v>5.2093946756535114E-3</c:v>
                </c:pt>
                <c:pt idx="86">
                  <c:v>3.0553502461977411E-2</c:v>
                </c:pt>
                <c:pt idx="87">
                  <c:v>1.2828012273842226E-3</c:v>
                </c:pt>
                <c:pt idx="88">
                  <c:v>1.8409844551618759E-2</c:v>
                </c:pt>
                <c:pt idx="89">
                  <c:v>3.9104685594843369E-2</c:v>
                </c:pt>
                <c:pt idx="90">
                  <c:v>-5.8618767046907383E-3</c:v>
                </c:pt>
                <c:pt idx="91">
                  <c:v>-9.7794223247248735E-2</c:v>
                </c:pt>
                <c:pt idx="92">
                  <c:v>4.6336140177078988E-2</c:v>
                </c:pt>
                <c:pt idx="93">
                  <c:v>3.4905886515916862E-2</c:v>
                </c:pt>
                <c:pt idx="94">
                  <c:v>0.10586592839733955</c:v>
                </c:pt>
                <c:pt idx="95">
                  <c:v>6.5128511381123522E-2</c:v>
                </c:pt>
                <c:pt idx="96">
                  <c:v>9.7772175162874841E-2</c:v>
                </c:pt>
                <c:pt idx="97">
                  <c:v>3.8809111166130394E-2</c:v>
                </c:pt>
                <c:pt idx="98">
                  <c:v>1.4572546791345564E-2</c:v>
                </c:pt>
                <c:pt idx="99">
                  <c:v>5.7030521339207718E-2</c:v>
                </c:pt>
                <c:pt idx="100">
                  <c:v>2.9901334328191975E-2</c:v>
                </c:pt>
                <c:pt idx="101">
                  <c:v>4.7353782966544244E-2</c:v>
                </c:pt>
                <c:pt idx="102">
                  <c:v>3.0073072623998831E-2</c:v>
                </c:pt>
                <c:pt idx="103">
                  <c:v>6.3850641773628425E-2</c:v>
                </c:pt>
                <c:pt idx="104">
                  <c:v>4.1385511425770849E-2</c:v>
                </c:pt>
                <c:pt idx="105">
                  <c:v>7.9898503224631323E-3</c:v>
                </c:pt>
                <c:pt idx="106">
                  <c:v>1.1926134906385499E-2</c:v>
                </c:pt>
                <c:pt idx="107">
                  <c:v>1.5511900151916835E-2</c:v>
                </c:pt>
                <c:pt idx="108">
                  <c:v>1.84636219998493E-2</c:v>
                </c:pt>
                <c:pt idx="109">
                  <c:v>2.4844720496893569E-2</c:v>
                </c:pt>
                <c:pt idx="110">
                  <c:v>2.849451326626018E-2</c:v>
                </c:pt>
                <c:pt idx="111">
                  <c:v>3.1866025797030462E-2</c:v>
                </c:pt>
                <c:pt idx="112">
                  <c:v>5.895413827425422E-3</c:v>
                </c:pt>
                <c:pt idx="113">
                  <c:v>2.589386830609941E-2</c:v>
                </c:pt>
                <c:pt idx="114">
                  <c:v>2.6123595505617381E-2</c:v>
                </c:pt>
                <c:pt idx="115">
                  <c:v>-5.7985954513228855E-5</c:v>
                </c:pt>
                <c:pt idx="116">
                  <c:v>8.8870378676233486E-3</c:v>
                </c:pt>
                <c:pt idx="117">
                  <c:v>6.0178844759525729E-2</c:v>
                </c:pt>
                <c:pt idx="118">
                  <c:v>9.1284689094453642E-2</c:v>
                </c:pt>
                <c:pt idx="119">
                  <c:v>2.5245408486383347E-2</c:v>
                </c:pt>
                <c:pt idx="120">
                  <c:v>-8.6080221457486283E-3</c:v>
                </c:pt>
                <c:pt idx="121">
                  <c:v>-2.219784308819972E-3</c:v>
                </c:pt>
                <c:pt idx="122">
                  <c:v>-4.3465905421291584E-3</c:v>
                </c:pt>
                <c:pt idx="123">
                  <c:v>-9.4854613019219602E-3</c:v>
                </c:pt>
                <c:pt idx="124">
                  <c:v>-1.5513859147336495E-2</c:v>
                </c:pt>
                <c:pt idx="125">
                  <c:v>-8.6344819310838483E-3</c:v>
                </c:pt>
                <c:pt idx="126">
                  <c:v>-2.802804802525094E-2</c:v>
                </c:pt>
                <c:pt idx="127">
                  <c:v>-1.7014829851701219E-2</c:v>
                </c:pt>
                <c:pt idx="128">
                  <c:v>-5.1629836859146128E-3</c:v>
                </c:pt>
                <c:pt idx="129">
                  <c:v>1.9681394843394262E-2</c:v>
                </c:pt>
                <c:pt idx="130">
                  <c:v>4.1441667713166819E-3</c:v>
                </c:pt>
                <c:pt idx="131">
                  <c:v>8.1644414561523604E-3</c:v>
                </c:pt>
                <c:pt idx="132">
                  <c:v>1.4308553558093795E-2</c:v>
                </c:pt>
                <c:pt idx="133">
                  <c:v>1.0495788971873532E-2</c:v>
                </c:pt>
                <c:pt idx="134">
                  <c:v>1.0819176991216928E-3</c:v>
                </c:pt>
                <c:pt idx="135">
                  <c:v>7.3648015988534432E-3</c:v>
                </c:pt>
                <c:pt idx="136">
                  <c:v>3.2666845518960486E-3</c:v>
                </c:pt>
                <c:pt idx="137">
                  <c:v>3.8309615280558651E-2</c:v>
                </c:pt>
                <c:pt idx="138">
                  <c:v>-4.9578983464148019E-3</c:v>
                </c:pt>
                <c:pt idx="139">
                  <c:v>-2.7863336966310603E-3</c:v>
                </c:pt>
                <c:pt idx="140">
                  <c:v>-3.9993524857906415E-4</c:v>
                </c:pt>
                <c:pt idx="141">
                  <c:v>5.0775942215544045E-3</c:v>
                </c:pt>
                <c:pt idx="142">
                  <c:v>2.1560647171138481E-2</c:v>
                </c:pt>
                <c:pt idx="143">
                  <c:v>3.8625557320368209E-2</c:v>
                </c:pt>
                <c:pt idx="144">
                  <c:v>4.0003941760489159E-2</c:v>
                </c:pt>
                <c:pt idx="145">
                  <c:v>8.1313019565694145E-3</c:v>
                </c:pt>
                <c:pt idx="146">
                  <c:v>5.6683986773653494E-4</c:v>
                </c:pt>
                <c:pt idx="147">
                  <c:v>-1.2810598426803432E-3</c:v>
                </c:pt>
                <c:pt idx="148">
                  <c:v>1.229126525369284E-2</c:v>
                </c:pt>
                <c:pt idx="149">
                  <c:v>-1.0829808439715816E-2</c:v>
                </c:pt>
                <c:pt idx="150">
                  <c:v>3.1886540321450108E-2</c:v>
                </c:pt>
                <c:pt idx="151">
                  <c:v>2.0821249572420708E-2</c:v>
                </c:pt>
                <c:pt idx="152">
                  <c:v>1.7173868242082557E-2</c:v>
                </c:pt>
                <c:pt idx="153">
                  <c:v>-7.2711757837060742E-2</c:v>
                </c:pt>
                <c:pt idx="154">
                  <c:v>2.9775232348938641E-3</c:v>
                </c:pt>
                <c:pt idx="155">
                  <c:v>1.3645267235158132E-2</c:v>
                </c:pt>
                <c:pt idx="156">
                  <c:v>1.0379628088544646E-2</c:v>
                </c:pt>
                <c:pt idx="157">
                  <c:v>5.1412933635273106E-3</c:v>
                </c:pt>
                <c:pt idx="158">
                  <c:v>1.8868209217584475E-2</c:v>
                </c:pt>
                <c:pt idx="159">
                  <c:v>-3.4905768788784375E-3</c:v>
                </c:pt>
                <c:pt idx="160">
                  <c:v>1.0219542128149905E-2</c:v>
                </c:pt>
                <c:pt idx="161">
                  <c:v>1.096751336280577E-2</c:v>
                </c:pt>
                <c:pt idx="162">
                  <c:v>1.370729487268485E-2</c:v>
                </c:pt>
                <c:pt idx="163">
                  <c:v>1.5472137884503523E-2</c:v>
                </c:pt>
                <c:pt idx="164">
                  <c:v>2.0278298936835526E-2</c:v>
                </c:pt>
                <c:pt idx="165">
                  <c:v>2.5384789409222508E-2</c:v>
                </c:pt>
                <c:pt idx="166">
                  <c:v>2.5526789230258862E-2</c:v>
                </c:pt>
                <c:pt idx="167">
                  <c:v>2.8281688399020011E-2</c:v>
                </c:pt>
                <c:pt idx="168">
                  <c:v>3.6083283610212735E-2</c:v>
                </c:pt>
                <c:pt idx="169">
                  <c:v>4.585958882311747E-2</c:v>
                </c:pt>
                <c:pt idx="170">
                  <c:v>1.7286216919074615E-3</c:v>
                </c:pt>
                <c:pt idx="171">
                  <c:v>-9.511260182079817E-3</c:v>
                </c:pt>
                <c:pt idx="172">
                  <c:v>3.4704890130439203E-2</c:v>
                </c:pt>
                <c:pt idx="173">
                  <c:v>3.2853413669301501E-2</c:v>
                </c:pt>
              </c:numCache>
            </c:numRef>
          </c:yVal>
          <c:smooth val="0"/>
          <c:extLst xmlns:c16r2="http://schemas.microsoft.com/office/drawing/2015/06/chart">
            <c:ext xmlns:c16="http://schemas.microsoft.com/office/drawing/2014/chart" uri="{C3380CC4-5D6E-409C-BE32-E72D297353CC}">
              <c16:uniqueId val="{00000000-E39F-4F28-B0C7-1006D78DFB37}"/>
            </c:ext>
          </c:extLst>
        </c:ser>
        <c:dLbls>
          <c:showLegendKey val="0"/>
          <c:showVal val="0"/>
          <c:showCatName val="0"/>
          <c:showSerName val="0"/>
          <c:showPercent val="0"/>
          <c:showBubbleSize val="0"/>
        </c:dLbls>
        <c:axId val="559979904"/>
        <c:axId val="559998464"/>
      </c:scatterChart>
      <c:valAx>
        <c:axId val="559979904"/>
        <c:scaling>
          <c:orientation val="minMax"/>
        </c:scaling>
        <c:delete val="0"/>
        <c:axPos val="b"/>
        <c:title>
          <c:tx>
            <c:rich>
              <a:bodyPr/>
              <a:lstStyle/>
              <a:p>
                <a:pPr>
                  <a:defRPr/>
                </a:pPr>
                <a:r>
                  <a:rPr lang="en-US" sz="1000" b="1" i="0" baseline="0" dirty="0">
                    <a:effectLst/>
                  </a:rPr>
                  <a:t>Rolling Monthly Mean Reversion Performances below -2%</a:t>
                </a:r>
                <a:endParaRPr lang="en-US" sz="1000" dirty="0">
                  <a:effectLst/>
                </a:endParaRPr>
              </a:p>
            </c:rich>
          </c:tx>
          <c:layout/>
          <c:overlay val="0"/>
        </c:title>
        <c:numFmt formatCode="0.00%" sourceLinked="1"/>
        <c:majorTickMark val="none"/>
        <c:minorTickMark val="none"/>
        <c:tickLblPos val="nextTo"/>
        <c:crossAx val="559998464"/>
        <c:crosses val="autoZero"/>
        <c:crossBetween val="midCat"/>
      </c:valAx>
      <c:valAx>
        <c:axId val="559998464"/>
        <c:scaling>
          <c:orientation val="minMax"/>
        </c:scaling>
        <c:delete val="0"/>
        <c:axPos val="l"/>
        <c:title>
          <c:tx>
            <c:rich>
              <a:bodyPr rot="-5400000" vert="horz"/>
              <a:lstStyle/>
              <a:p>
                <a:pPr>
                  <a:defRPr/>
                </a:pPr>
                <a:r>
                  <a:rPr lang="en-US" sz="1000" b="1" i="0" baseline="0">
                    <a:effectLst/>
                  </a:rPr>
                  <a:t>corresponding monthly S&amp;P 500 performances</a:t>
                </a:r>
                <a:endParaRPr lang="en-US" sz="1000">
                  <a:effectLst/>
                </a:endParaRPr>
              </a:p>
            </c:rich>
          </c:tx>
          <c:layout>
            <c:manualLayout>
              <c:xMode val="edge"/>
              <c:yMode val="edge"/>
              <c:x val="0"/>
              <c:y val="5.8223642510254026E-2"/>
            </c:manualLayout>
          </c:layout>
          <c:overlay val="0"/>
        </c:title>
        <c:numFmt formatCode="0.00%" sourceLinked="1"/>
        <c:majorTickMark val="none"/>
        <c:minorTickMark val="none"/>
        <c:tickLblPos val="nextTo"/>
        <c:crossAx val="559979904"/>
        <c:crosses val="autoZero"/>
        <c:crossBetween val="midCat"/>
      </c:valAx>
    </c:plotArea>
    <c:legend>
      <c:legendPos val="b"/>
      <c:layout/>
      <c:overlay val="0"/>
    </c:legend>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Historical simulation</a:t>
            </a:r>
          </a:p>
        </c:rich>
      </c:tx>
      <c:layout/>
      <c:overlay val="0"/>
    </c:title>
    <c:autoTitleDeleted val="0"/>
    <c:plotArea>
      <c:layout/>
      <c:lineChart>
        <c:grouping val="standard"/>
        <c:varyColors val="0"/>
        <c:ser>
          <c:idx val="0"/>
          <c:order val="0"/>
          <c:tx>
            <c:strRef>
              <c:f>FINAL!$F$15</c:f>
              <c:strCache>
                <c:ptCount val="1"/>
                <c:pt idx="0">
                  <c:v>Basic Mean Reversion Strategy</c:v>
                </c:pt>
              </c:strCache>
            </c:strRef>
          </c:tx>
          <c:spPr>
            <a:ln>
              <a:solidFill>
                <a:srgbClr val="FF0000"/>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F$16:$F$2496</c:f>
              <c:numCache>
                <c:formatCode>General</c:formatCode>
                <c:ptCount val="2481"/>
                <c:pt idx="0">
                  <c:v>100</c:v>
                </c:pt>
                <c:pt idx="1">
                  <c:v>102.84766358834962</c:v>
                </c:pt>
                <c:pt idx="2">
                  <c:v>102.92271325005522</c:v>
                </c:pt>
                <c:pt idx="3">
                  <c:v>102.04187660904215</c:v>
                </c:pt>
                <c:pt idx="4">
                  <c:v>103.3093839246246</c:v>
                </c:pt>
                <c:pt idx="5">
                  <c:v>102.86550353184874</c:v>
                </c:pt>
                <c:pt idx="6">
                  <c:v>102.86460834082682</c:v>
                </c:pt>
                <c:pt idx="7">
                  <c:v>101.47564662125946</c:v>
                </c:pt>
                <c:pt idx="8">
                  <c:v>100.90071051445949</c:v>
                </c:pt>
                <c:pt idx="9">
                  <c:v>99.919051341501245</c:v>
                </c:pt>
                <c:pt idx="10">
                  <c:v>102.36791270249361</c:v>
                </c:pt>
                <c:pt idx="11">
                  <c:v>100.56502462855296</c:v>
                </c:pt>
                <c:pt idx="12">
                  <c:v>100.02318861808135</c:v>
                </c:pt>
                <c:pt idx="13">
                  <c:v>98.524820892234786</c:v>
                </c:pt>
                <c:pt idx="14">
                  <c:v>97.876793768954599</c:v>
                </c:pt>
                <c:pt idx="15">
                  <c:v>97.585942005828173</c:v>
                </c:pt>
                <c:pt idx="16">
                  <c:v>96.616187215168438</c:v>
                </c:pt>
                <c:pt idx="17">
                  <c:v>96.775645494700754</c:v>
                </c:pt>
                <c:pt idx="18">
                  <c:v>99.844962579424717</c:v>
                </c:pt>
                <c:pt idx="19">
                  <c:v>104.29117182001877</c:v>
                </c:pt>
                <c:pt idx="20">
                  <c:v>104.44702470768048</c:v>
                </c:pt>
                <c:pt idx="21">
                  <c:v>105.7049865848844</c:v>
                </c:pt>
                <c:pt idx="22">
                  <c:v>95.139755160745111</c:v>
                </c:pt>
                <c:pt idx="23">
                  <c:v>93.733305959814004</c:v>
                </c:pt>
                <c:pt idx="24">
                  <c:v>92.256708855948972</c:v>
                </c:pt>
                <c:pt idx="25">
                  <c:v>86.169301191489879</c:v>
                </c:pt>
                <c:pt idx="26">
                  <c:v>86.863989441922243</c:v>
                </c:pt>
                <c:pt idx="27">
                  <c:v>84.208404366293507</c:v>
                </c:pt>
                <c:pt idx="28">
                  <c:v>88.311736445405828</c:v>
                </c:pt>
                <c:pt idx="29">
                  <c:v>91.169520827912237</c:v>
                </c:pt>
                <c:pt idx="30">
                  <c:v>82.351997891047006</c:v>
                </c:pt>
                <c:pt idx="31">
                  <c:v>82.493679700924048</c:v>
                </c:pt>
                <c:pt idx="32">
                  <c:v>86.332227601153136</c:v>
                </c:pt>
                <c:pt idx="33">
                  <c:v>87.352217976804013</c:v>
                </c:pt>
                <c:pt idx="34">
                  <c:v>89.402927383095033</c:v>
                </c:pt>
                <c:pt idx="35">
                  <c:v>91.122868584213847</c:v>
                </c:pt>
                <c:pt idx="36">
                  <c:v>90.517093331568063</c:v>
                </c:pt>
                <c:pt idx="37">
                  <c:v>89.195998702599738</c:v>
                </c:pt>
                <c:pt idx="38">
                  <c:v>88.09969946719842</c:v>
                </c:pt>
                <c:pt idx="39">
                  <c:v>84.434068804071728</c:v>
                </c:pt>
                <c:pt idx="40">
                  <c:v>72.601339003168036</c:v>
                </c:pt>
                <c:pt idx="41">
                  <c:v>69.645371117735451</c:v>
                </c:pt>
                <c:pt idx="42">
                  <c:v>87.420973620175744</c:v>
                </c:pt>
                <c:pt idx="43">
                  <c:v>84.734161627524841</c:v>
                </c:pt>
                <c:pt idx="44">
                  <c:v>84.69327002253938</c:v>
                </c:pt>
                <c:pt idx="45">
                  <c:v>84.419325793087083</c:v>
                </c:pt>
                <c:pt idx="46">
                  <c:v>83.508624303771768</c:v>
                </c:pt>
                <c:pt idx="47">
                  <c:v>83.615942068033632</c:v>
                </c:pt>
                <c:pt idx="48">
                  <c:v>83.426123062299325</c:v>
                </c:pt>
                <c:pt idx="49">
                  <c:v>83.157167751579934</c:v>
                </c:pt>
                <c:pt idx="50">
                  <c:v>83.864028700819148</c:v>
                </c:pt>
                <c:pt idx="51">
                  <c:v>83.909917005039432</c:v>
                </c:pt>
                <c:pt idx="52">
                  <c:v>82.524646912903108</c:v>
                </c:pt>
                <c:pt idx="53">
                  <c:v>82.444113525907611</c:v>
                </c:pt>
                <c:pt idx="54">
                  <c:v>81.732236155507067</c:v>
                </c:pt>
                <c:pt idx="55">
                  <c:v>83.295321623091723</c:v>
                </c:pt>
                <c:pt idx="56">
                  <c:v>82.731917711852745</c:v>
                </c:pt>
                <c:pt idx="57">
                  <c:v>82.889129990457064</c:v>
                </c:pt>
                <c:pt idx="58">
                  <c:v>82.840022289419878</c:v>
                </c:pt>
                <c:pt idx="59">
                  <c:v>82.558459298990726</c:v>
                </c:pt>
                <c:pt idx="60">
                  <c:v>82.83138366787864</c:v>
                </c:pt>
                <c:pt idx="61">
                  <c:v>84.537710266103375</c:v>
                </c:pt>
                <c:pt idx="62">
                  <c:v>84.440955567473651</c:v>
                </c:pt>
                <c:pt idx="63">
                  <c:v>84.764299135785279</c:v>
                </c:pt>
                <c:pt idx="64">
                  <c:v>85.967376284287823</c:v>
                </c:pt>
                <c:pt idx="65">
                  <c:v>90.545968260390467</c:v>
                </c:pt>
                <c:pt idx="66">
                  <c:v>87.649396375290053</c:v>
                </c:pt>
                <c:pt idx="67">
                  <c:v>87.103703116068829</c:v>
                </c:pt>
                <c:pt idx="68">
                  <c:v>90.094530576086044</c:v>
                </c:pt>
                <c:pt idx="69">
                  <c:v>91.444665073022364</c:v>
                </c:pt>
                <c:pt idx="70">
                  <c:v>90.949650972717635</c:v>
                </c:pt>
                <c:pt idx="71">
                  <c:v>92.067519907733427</c:v>
                </c:pt>
                <c:pt idx="72">
                  <c:v>89.373927063925734</c:v>
                </c:pt>
                <c:pt idx="73">
                  <c:v>89.667686770683432</c:v>
                </c:pt>
                <c:pt idx="74">
                  <c:v>91.659981571627995</c:v>
                </c:pt>
                <c:pt idx="75">
                  <c:v>90.188237871232161</c:v>
                </c:pt>
                <c:pt idx="76">
                  <c:v>89.900956024193022</c:v>
                </c:pt>
                <c:pt idx="77">
                  <c:v>90.561223414019238</c:v>
                </c:pt>
                <c:pt idx="78">
                  <c:v>91.072187570423168</c:v>
                </c:pt>
                <c:pt idx="79">
                  <c:v>90.976296282684459</c:v>
                </c:pt>
                <c:pt idx="80">
                  <c:v>90.9534585159427</c:v>
                </c:pt>
                <c:pt idx="81">
                  <c:v>91.084143743758986</c:v>
                </c:pt>
                <c:pt idx="82">
                  <c:v>91.028559845692229</c:v>
                </c:pt>
                <c:pt idx="83">
                  <c:v>90.604110232009404</c:v>
                </c:pt>
                <c:pt idx="84">
                  <c:v>90.584692245304126</c:v>
                </c:pt>
                <c:pt idx="85">
                  <c:v>86.059057139799293</c:v>
                </c:pt>
                <c:pt idx="86">
                  <c:v>85.376239040373662</c:v>
                </c:pt>
                <c:pt idx="87">
                  <c:v>83.980140840165433</c:v>
                </c:pt>
                <c:pt idx="88">
                  <c:v>83.006950945747462</c:v>
                </c:pt>
                <c:pt idx="89">
                  <c:v>82.459145480557893</c:v>
                </c:pt>
                <c:pt idx="90">
                  <c:v>84.458801657924667</c:v>
                </c:pt>
                <c:pt idx="91">
                  <c:v>84.02987917510211</c:v>
                </c:pt>
                <c:pt idx="92">
                  <c:v>82.08885960978526</c:v>
                </c:pt>
                <c:pt idx="93">
                  <c:v>80.690277273031214</c:v>
                </c:pt>
                <c:pt idx="94">
                  <c:v>82.202857255138255</c:v>
                </c:pt>
                <c:pt idx="95">
                  <c:v>81.593244796735036</c:v>
                </c:pt>
                <c:pt idx="96">
                  <c:v>80.297248172157452</c:v>
                </c:pt>
                <c:pt idx="97">
                  <c:v>78.580960532819049</c:v>
                </c:pt>
                <c:pt idx="98">
                  <c:v>78.820019940938721</c:v>
                </c:pt>
                <c:pt idx="99">
                  <c:v>83.066906078735641</c:v>
                </c:pt>
                <c:pt idx="100">
                  <c:v>83.906542883106709</c:v>
                </c:pt>
                <c:pt idx="101">
                  <c:v>84.330044583521797</c:v>
                </c:pt>
                <c:pt idx="102">
                  <c:v>84.79198354254325</c:v>
                </c:pt>
                <c:pt idx="103">
                  <c:v>90.533836953312345</c:v>
                </c:pt>
                <c:pt idx="104">
                  <c:v>92.003187944566506</c:v>
                </c:pt>
                <c:pt idx="105">
                  <c:v>92.28485366688254</c:v>
                </c:pt>
                <c:pt idx="106">
                  <c:v>92.086894277424975</c:v>
                </c:pt>
                <c:pt idx="107">
                  <c:v>91.234410534477234</c:v>
                </c:pt>
                <c:pt idx="108">
                  <c:v>90.839307524118254</c:v>
                </c:pt>
                <c:pt idx="109">
                  <c:v>89.068840495148876</c:v>
                </c:pt>
                <c:pt idx="110">
                  <c:v>91.490011827832518</c:v>
                </c:pt>
                <c:pt idx="111">
                  <c:v>91.681135307923412</c:v>
                </c:pt>
                <c:pt idx="112">
                  <c:v>88.954905512822094</c:v>
                </c:pt>
                <c:pt idx="113">
                  <c:v>88.20469560329569</c:v>
                </c:pt>
                <c:pt idx="114">
                  <c:v>88.01211713166397</c:v>
                </c:pt>
                <c:pt idx="115">
                  <c:v>87.81209217067898</c:v>
                </c:pt>
                <c:pt idx="116">
                  <c:v>87.278649783641484</c:v>
                </c:pt>
                <c:pt idx="117">
                  <c:v>89.076355371622185</c:v>
                </c:pt>
                <c:pt idx="118">
                  <c:v>89.871803734102244</c:v>
                </c:pt>
                <c:pt idx="119">
                  <c:v>88.058383485153641</c:v>
                </c:pt>
                <c:pt idx="120">
                  <c:v>88.063974807711105</c:v>
                </c:pt>
                <c:pt idx="121">
                  <c:v>87.154050965820176</c:v>
                </c:pt>
                <c:pt idx="122">
                  <c:v>85.406652911585851</c:v>
                </c:pt>
                <c:pt idx="123">
                  <c:v>81.841363906394832</c:v>
                </c:pt>
                <c:pt idx="124">
                  <c:v>81.135550277733685</c:v>
                </c:pt>
                <c:pt idx="125">
                  <c:v>79.318603966916584</c:v>
                </c:pt>
                <c:pt idx="126">
                  <c:v>78.273452756211682</c:v>
                </c:pt>
                <c:pt idx="127">
                  <c:v>76.617525226558925</c:v>
                </c:pt>
                <c:pt idx="128">
                  <c:v>77.471395354820231</c:v>
                </c:pt>
                <c:pt idx="129">
                  <c:v>77.102035427291952</c:v>
                </c:pt>
                <c:pt idx="130">
                  <c:v>76.67254369129121</c:v>
                </c:pt>
                <c:pt idx="131">
                  <c:v>75.201847390128236</c:v>
                </c:pt>
                <c:pt idx="132">
                  <c:v>73.177777617679823</c:v>
                </c:pt>
                <c:pt idx="133">
                  <c:v>72.13242987850164</c:v>
                </c:pt>
                <c:pt idx="134">
                  <c:v>70.354415435848836</c:v>
                </c:pt>
                <c:pt idx="135">
                  <c:v>68.881060164607362</c:v>
                </c:pt>
                <c:pt idx="136">
                  <c:v>69.245259829695769</c:v>
                </c:pt>
                <c:pt idx="137">
                  <c:v>69.48934739122528</c:v>
                </c:pt>
                <c:pt idx="138">
                  <c:v>69.243909537612666</c:v>
                </c:pt>
                <c:pt idx="139">
                  <c:v>70.712740459984289</c:v>
                </c:pt>
                <c:pt idx="140">
                  <c:v>71.321670896678157</c:v>
                </c:pt>
                <c:pt idx="141">
                  <c:v>70.595677963942961</c:v>
                </c:pt>
                <c:pt idx="142">
                  <c:v>71.317389607009019</c:v>
                </c:pt>
                <c:pt idx="143">
                  <c:v>71.275943214522727</c:v>
                </c:pt>
                <c:pt idx="144">
                  <c:v>69.473174889681559</c:v>
                </c:pt>
                <c:pt idx="145">
                  <c:v>69.914965707300865</c:v>
                </c:pt>
                <c:pt idx="146">
                  <c:v>70.385185115428712</c:v>
                </c:pt>
                <c:pt idx="147">
                  <c:v>70.501938736284956</c:v>
                </c:pt>
                <c:pt idx="148">
                  <c:v>69.029207898165254</c:v>
                </c:pt>
                <c:pt idx="149">
                  <c:v>68.437049058454775</c:v>
                </c:pt>
                <c:pt idx="150">
                  <c:v>68.200185204294556</c:v>
                </c:pt>
                <c:pt idx="151">
                  <c:v>68.7297178259997</c:v>
                </c:pt>
                <c:pt idx="152">
                  <c:v>67.315083122725937</c:v>
                </c:pt>
                <c:pt idx="153">
                  <c:v>67.724288942390004</c:v>
                </c:pt>
                <c:pt idx="154">
                  <c:v>68.371171575864267</c:v>
                </c:pt>
                <c:pt idx="155">
                  <c:v>68.899743661454735</c:v>
                </c:pt>
                <c:pt idx="156">
                  <c:v>72.439563307177124</c:v>
                </c:pt>
                <c:pt idx="157">
                  <c:v>73.019563934054531</c:v>
                </c:pt>
                <c:pt idx="158">
                  <c:v>76.188813569979459</c:v>
                </c:pt>
                <c:pt idx="159">
                  <c:v>76.779614327932507</c:v>
                </c:pt>
                <c:pt idx="160">
                  <c:v>78.126949957002807</c:v>
                </c:pt>
                <c:pt idx="161">
                  <c:v>77.03702766001166</c:v>
                </c:pt>
                <c:pt idx="162">
                  <c:v>76.911284998066137</c:v>
                </c:pt>
                <c:pt idx="163">
                  <c:v>76.949712875073317</c:v>
                </c:pt>
                <c:pt idx="164">
                  <c:v>78.776304182037947</c:v>
                </c:pt>
                <c:pt idx="165">
                  <c:v>78.687869083280972</c:v>
                </c:pt>
                <c:pt idx="166">
                  <c:v>82.039076615469469</c:v>
                </c:pt>
                <c:pt idx="167">
                  <c:v>83.559985393420789</c:v>
                </c:pt>
                <c:pt idx="168">
                  <c:v>80.11374952564077</c:v>
                </c:pt>
                <c:pt idx="169">
                  <c:v>78.755463294369036</c:v>
                </c:pt>
                <c:pt idx="170">
                  <c:v>79.884028658034779</c:v>
                </c:pt>
                <c:pt idx="171">
                  <c:v>80.070059921290593</c:v>
                </c:pt>
                <c:pt idx="172">
                  <c:v>77.869917183499751</c:v>
                </c:pt>
                <c:pt idx="173">
                  <c:v>77.613812132599179</c:v>
                </c:pt>
                <c:pt idx="174">
                  <c:v>78.178868424703069</c:v>
                </c:pt>
                <c:pt idx="175">
                  <c:v>79.308819621084552</c:v>
                </c:pt>
                <c:pt idx="176">
                  <c:v>77.106763449699429</c:v>
                </c:pt>
                <c:pt idx="177">
                  <c:v>76.329166866188643</c:v>
                </c:pt>
                <c:pt idx="178">
                  <c:v>77.071707591831412</c:v>
                </c:pt>
                <c:pt idx="179">
                  <c:v>78.403387844023314</c:v>
                </c:pt>
                <c:pt idx="180">
                  <c:v>77.826707641377268</c:v>
                </c:pt>
                <c:pt idx="181">
                  <c:v>77.530064871825203</c:v>
                </c:pt>
                <c:pt idx="182">
                  <c:v>78.237470601414316</c:v>
                </c:pt>
                <c:pt idx="183">
                  <c:v>77.752633923182742</c:v>
                </c:pt>
                <c:pt idx="184">
                  <c:v>77.664321290413739</c:v>
                </c:pt>
                <c:pt idx="185">
                  <c:v>77.525278139857562</c:v>
                </c:pt>
                <c:pt idx="186">
                  <c:v>77.094595394945983</c:v>
                </c:pt>
                <c:pt idx="187">
                  <c:v>75.741344659705007</c:v>
                </c:pt>
                <c:pt idx="188">
                  <c:v>74.603031326546059</c:v>
                </c:pt>
                <c:pt idx="189">
                  <c:v>74.663275330620323</c:v>
                </c:pt>
                <c:pt idx="190">
                  <c:v>75.603481581346443</c:v>
                </c:pt>
                <c:pt idx="191">
                  <c:v>73.281878319658645</c:v>
                </c:pt>
                <c:pt idx="192">
                  <c:v>74.279933423623177</c:v>
                </c:pt>
                <c:pt idx="193">
                  <c:v>71.895721941236488</c:v>
                </c:pt>
                <c:pt idx="194">
                  <c:v>70.950425976972696</c:v>
                </c:pt>
                <c:pt idx="195">
                  <c:v>74.144918856402214</c:v>
                </c:pt>
                <c:pt idx="196">
                  <c:v>74.450947704395404</c:v>
                </c:pt>
                <c:pt idx="197">
                  <c:v>74.282085336410177</c:v>
                </c:pt>
                <c:pt idx="198">
                  <c:v>74.555666159731459</c:v>
                </c:pt>
                <c:pt idx="199">
                  <c:v>74.606699886323511</c:v>
                </c:pt>
                <c:pt idx="200">
                  <c:v>73.889475279858445</c:v>
                </c:pt>
                <c:pt idx="201">
                  <c:v>73.554796901717268</c:v>
                </c:pt>
                <c:pt idx="202">
                  <c:v>73.224310898420583</c:v>
                </c:pt>
                <c:pt idx="203">
                  <c:v>73.223735557189869</c:v>
                </c:pt>
                <c:pt idx="204">
                  <c:v>71.845872569162069</c:v>
                </c:pt>
                <c:pt idx="205">
                  <c:v>72.236573450465173</c:v>
                </c:pt>
                <c:pt idx="206">
                  <c:v>73.623706565923101</c:v>
                </c:pt>
                <c:pt idx="207">
                  <c:v>74.948233117921362</c:v>
                </c:pt>
                <c:pt idx="208">
                  <c:v>73.763396628867525</c:v>
                </c:pt>
                <c:pt idx="209">
                  <c:v>75.750298721973095</c:v>
                </c:pt>
                <c:pt idx="210">
                  <c:v>74.958966192305923</c:v>
                </c:pt>
                <c:pt idx="211">
                  <c:v>75.008908906379844</c:v>
                </c:pt>
                <c:pt idx="212">
                  <c:v>73.775920729841545</c:v>
                </c:pt>
                <c:pt idx="213">
                  <c:v>72.929731628072531</c:v>
                </c:pt>
                <c:pt idx="214">
                  <c:v>72.34393946527409</c:v>
                </c:pt>
                <c:pt idx="215">
                  <c:v>75.197492409524656</c:v>
                </c:pt>
                <c:pt idx="216">
                  <c:v>74.217746630201432</c:v>
                </c:pt>
                <c:pt idx="217">
                  <c:v>84.814340975356075</c:v>
                </c:pt>
                <c:pt idx="218">
                  <c:v>77.446446299709848</c:v>
                </c:pt>
                <c:pt idx="219">
                  <c:v>73.338576910959873</c:v>
                </c:pt>
                <c:pt idx="220">
                  <c:v>69.431872571547842</c:v>
                </c:pt>
                <c:pt idx="221">
                  <c:v>65.629897597504126</c:v>
                </c:pt>
                <c:pt idx="222">
                  <c:v>70.169469993732491</c:v>
                </c:pt>
                <c:pt idx="223">
                  <c:v>73.240060946356067</c:v>
                </c:pt>
                <c:pt idx="224">
                  <c:v>75.08133377604203</c:v>
                </c:pt>
                <c:pt idx="225">
                  <c:v>75.23613284327935</c:v>
                </c:pt>
                <c:pt idx="226">
                  <c:v>75.035098984144255</c:v>
                </c:pt>
                <c:pt idx="227">
                  <c:v>77.357407153171252</c:v>
                </c:pt>
                <c:pt idx="228">
                  <c:v>78.300627831662311</c:v>
                </c:pt>
                <c:pt idx="229">
                  <c:v>78.67828819004076</c:v>
                </c:pt>
                <c:pt idx="230">
                  <c:v>77.963606358207713</c:v>
                </c:pt>
                <c:pt idx="231">
                  <c:v>78.677197774653649</c:v>
                </c:pt>
                <c:pt idx="232">
                  <c:v>79.362220174283479</c:v>
                </c:pt>
                <c:pt idx="233">
                  <c:v>79.724707980530454</c:v>
                </c:pt>
                <c:pt idx="234">
                  <c:v>79.729066830573842</c:v>
                </c:pt>
                <c:pt idx="235">
                  <c:v>79.631488712517964</c:v>
                </c:pt>
                <c:pt idx="236">
                  <c:v>79.70712824039029</c:v>
                </c:pt>
                <c:pt idx="237">
                  <c:v>80.6094025007379</c:v>
                </c:pt>
                <c:pt idx="238">
                  <c:v>81.843993629188446</c:v>
                </c:pt>
                <c:pt idx="239">
                  <c:v>81.702595038563317</c:v>
                </c:pt>
                <c:pt idx="240">
                  <c:v>81.784262289988916</c:v>
                </c:pt>
                <c:pt idx="241">
                  <c:v>81.489322998272627</c:v>
                </c:pt>
                <c:pt idx="242">
                  <c:v>82.558099990971172</c:v>
                </c:pt>
                <c:pt idx="243">
                  <c:v>83.427106767762467</c:v>
                </c:pt>
                <c:pt idx="244">
                  <c:v>83.369626428123397</c:v>
                </c:pt>
                <c:pt idx="245">
                  <c:v>82.963717470230534</c:v>
                </c:pt>
                <c:pt idx="246">
                  <c:v>81.604365121750092</c:v>
                </c:pt>
                <c:pt idx="247">
                  <c:v>83.523156201472119</c:v>
                </c:pt>
                <c:pt idx="248">
                  <c:v>81.074717275475265</c:v>
                </c:pt>
                <c:pt idx="249">
                  <c:v>80.290665340555975</c:v>
                </c:pt>
                <c:pt idx="250">
                  <c:v>76.706198929094128</c:v>
                </c:pt>
                <c:pt idx="251">
                  <c:v>77.704139873410071</c:v>
                </c:pt>
                <c:pt idx="252">
                  <c:v>77.64276085764449</c:v>
                </c:pt>
                <c:pt idx="253">
                  <c:v>76.992161568945733</c:v>
                </c:pt>
                <c:pt idx="254">
                  <c:v>77.045853980080125</c:v>
                </c:pt>
                <c:pt idx="255">
                  <c:v>78.164356833794798</c:v>
                </c:pt>
                <c:pt idx="256">
                  <c:v>78.096092625820006</c:v>
                </c:pt>
                <c:pt idx="257">
                  <c:v>77.796654493558989</c:v>
                </c:pt>
                <c:pt idx="258">
                  <c:v>77.801506121168103</c:v>
                </c:pt>
                <c:pt idx="259">
                  <c:v>77.647033361746992</c:v>
                </c:pt>
                <c:pt idx="260">
                  <c:v>77.910546177647248</c:v>
                </c:pt>
                <c:pt idx="261">
                  <c:v>77.919256732273126</c:v>
                </c:pt>
                <c:pt idx="262">
                  <c:v>78.992681852864692</c:v>
                </c:pt>
                <c:pt idx="263">
                  <c:v>79.369283895360738</c:v>
                </c:pt>
                <c:pt idx="264">
                  <c:v>79.240038941299588</c:v>
                </c:pt>
                <c:pt idx="265">
                  <c:v>79.360825419243113</c:v>
                </c:pt>
                <c:pt idx="266">
                  <c:v>79.448569680040379</c:v>
                </c:pt>
                <c:pt idx="267">
                  <c:v>79.694263355188326</c:v>
                </c:pt>
                <c:pt idx="268">
                  <c:v>77.934128816970855</c:v>
                </c:pt>
                <c:pt idx="269">
                  <c:v>76.218973107916213</c:v>
                </c:pt>
                <c:pt idx="270">
                  <c:v>74.94033359209881</c:v>
                </c:pt>
                <c:pt idx="271">
                  <c:v>74.862262133081146</c:v>
                </c:pt>
                <c:pt idx="272">
                  <c:v>75.211381614212158</c:v>
                </c:pt>
                <c:pt idx="273">
                  <c:v>74.640801188700777</c:v>
                </c:pt>
                <c:pt idx="274">
                  <c:v>74.609169598052361</c:v>
                </c:pt>
                <c:pt idx="275">
                  <c:v>75.30690485008688</c:v>
                </c:pt>
                <c:pt idx="276">
                  <c:v>75.190232780576949</c:v>
                </c:pt>
                <c:pt idx="277">
                  <c:v>74.797828493911311</c:v>
                </c:pt>
                <c:pt idx="278">
                  <c:v>77.245041325501418</c:v>
                </c:pt>
                <c:pt idx="279">
                  <c:v>75.933930089393129</c:v>
                </c:pt>
                <c:pt idx="280">
                  <c:v>76.309765787862929</c:v>
                </c:pt>
                <c:pt idx="281">
                  <c:v>75.702117736553035</c:v>
                </c:pt>
                <c:pt idx="282">
                  <c:v>75.636519323876072</c:v>
                </c:pt>
                <c:pt idx="283">
                  <c:v>74.74235407220651</c:v>
                </c:pt>
                <c:pt idx="284">
                  <c:v>75.632196571708533</c:v>
                </c:pt>
                <c:pt idx="285">
                  <c:v>76.410501845521281</c:v>
                </c:pt>
                <c:pt idx="286">
                  <c:v>79.864237423362212</c:v>
                </c:pt>
                <c:pt idx="287">
                  <c:v>81.101039566666074</c:v>
                </c:pt>
                <c:pt idx="288">
                  <c:v>84.683223305338672</c:v>
                </c:pt>
                <c:pt idx="289">
                  <c:v>86.864593395485841</c:v>
                </c:pt>
                <c:pt idx="290">
                  <c:v>82.069973305934965</c:v>
                </c:pt>
                <c:pt idx="291">
                  <c:v>85.872301983307111</c:v>
                </c:pt>
                <c:pt idx="292">
                  <c:v>91.208759796919807</c:v>
                </c:pt>
                <c:pt idx="293">
                  <c:v>91.829835978518915</c:v>
                </c:pt>
                <c:pt idx="294">
                  <c:v>91.814344925358796</c:v>
                </c:pt>
                <c:pt idx="295">
                  <c:v>89.862032291049559</c:v>
                </c:pt>
                <c:pt idx="296">
                  <c:v>95.244586271329013</c:v>
                </c:pt>
                <c:pt idx="297">
                  <c:v>95.485502313307435</c:v>
                </c:pt>
                <c:pt idx="298">
                  <c:v>96.451319011184339</c:v>
                </c:pt>
                <c:pt idx="299">
                  <c:v>96.469671208681547</c:v>
                </c:pt>
                <c:pt idx="300">
                  <c:v>93.726961833738585</c:v>
                </c:pt>
                <c:pt idx="301">
                  <c:v>98.511759022424428</c:v>
                </c:pt>
                <c:pt idx="302">
                  <c:v>98.84238189135759</c:v>
                </c:pt>
                <c:pt idx="303">
                  <c:v>97.173192428672678</c:v>
                </c:pt>
                <c:pt idx="304">
                  <c:v>97.84394967887556</c:v>
                </c:pt>
                <c:pt idx="305">
                  <c:v>98.814362135954454</c:v>
                </c:pt>
                <c:pt idx="306">
                  <c:v>98.560891618579561</c:v>
                </c:pt>
                <c:pt idx="307">
                  <c:v>98.073266527773043</c:v>
                </c:pt>
                <c:pt idx="308">
                  <c:v>98.125871958202126</c:v>
                </c:pt>
                <c:pt idx="309">
                  <c:v>102.29222961367323</c:v>
                </c:pt>
                <c:pt idx="310">
                  <c:v>101.196848861517</c:v>
                </c:pt>
                <c:pt idx="311">
                  <c:v>104.84501625195699</c:v>
                </c:pt>
                <c:pt idx="312">
                  <c:v>104.52948369950865</c:v>
                </c:pt>
                <c:pt idx="313">
                  <c:v>104.73118684036888</c:v>
                </c:pt>
                <c:pt idx="314">
                  <c:v>104.94756502223359</c:v>
                </c:pt>
                <c:pt idx="315">
                  <c:v>104.78766000649588</c:v>
                </c:pt>
                <c:pt idx="316">
                  <c:v>104.95117753902075</c:v>
                </c:pt>
                <c:pt idx="317">
                  <c:v>102.72137337361247</c:v>
                </c:pt>
                <c:pt idx="318">
                  <c:v>103.08539271761741</c:v>
                </c:pt>
                <c:pt idx="319">
                  <c:v>99.76986801496345</c:v>
                </c:pt>
                <c:pt idx="320">
                  <c:v>100.04221073099369</c:v>
                </c:pt>
                <c:pt idx="321">
                  <c:v>92.74968798837881</c:v>
                </c:pt>
                <c:pt idx="322">
                  <c:v>89.383191217784898</c:v>
                </c:pt>
                <c:pt idx="323">
                  <c:v>92.181831908907625</c:v>
                </c:pt>
                <c:pt idx="324">
                  <c:v>87.054255238238369</c:v>
                </c:pt>
                <c:pt idx="325">
                  <c:v>81.613333266661343</c:v>
                </c:pt>
                <c:pt idx="326">
                  <c:v>85.308427485099102</c:v>
                </c:pt>
                <c:pt idx="327">
                  <c:v>77.920986081430172</c:v>
                </c:pt>
                <c:pt idx="328">
                  <c:v>79.73270264565511</c:v>
                </c:pt>
                <c:pt idx="329">
                  <c:v>84.675778409564387</c:v>
                </c:pt>
                <c:pt idx="330">
                  <c:v>86.912968937751856</c:v>
                </c:pt>
                <c:pt idx="331">
                  <c:v>84.901352106937125</c:v>
                </c:pt>
                <c:pt idx="332">
                  <c:v>90.376305324189161</c:v>
                </c:pt>
                <c:pt idx="333">
                  <c:v>93.279305299021033</c:v>
                </c:pt>
                <c:pt idx="334">
                  <c:v>90.245894503035615</c:v>
                </c:pt>
                <c:pt idx="335">
                  <c:v>84.401842514559348</c:v>
                </c:pt>
                <c:pt idx="336">
                  <c:v>79.406611801520938</c:v>
                </c:pt>
                <c:pt idx="337">
                  <c:v>81.678728667631901</c:v>
                </c:pt>
                <c:pt idx="338">
                  <c:v>87.906712970434299</c:v>
                </c:pt>
                <c:pt idx="339">
                  <c:v>89.832774798593988</c:v>
                </c:pt>
                <c:pt idx="340">
                  <c:v>91.071781441259475</c:v>
                </c:pt>
                <c:pt idx="341">
                  <c:v>90.941553444011731</c:v>
                </c:pt>
                <c:pt idx="342">
                  <c:v>89.768411677721744</c:v>
                </c:pt>
                <c:pt idx="343">
                  <c:v>91.048513128237971</c:v>
                </c:pt>
                <c:pt idx="344">
                  <c:v>94.495937580543639</c:v>
                </c:pt>
                <c:pt idx="345">
                  <c:v>93.596286793573995</c:v>
                </c:pt>
                <c:pt idx="346">
                  <c:v>93.325399795042586</c:v>
                </c:pt>
                <c:pt idx="347">
                  <c:v>93.248986790124874</c:v>
                </c:pt>
                <c:pt idx="348">
                  <c:v>93.610536779498602</c:v>
                </c:pt>
                <c:pt idx="349">
                  <c:v>93.58616236765512</c:v>
                </c:pt>
                <c:pt idx="350">
                  <c:v>93.422646702636882</c:v>
                </c:pt>
                <c:pt idx="351">
                  <c:v>92.338807887441476</c:v>
                </c:pt>
                <c:pt idx="352">
                  <c:v>92.102783565948911</c:v>
                </c:pt>
                <c:pt idx="353">
                  <c:v>95.07195058870326</c:v>
                </c:pt>
                <c:pt idx="354">
                  <c:v>95.227134345313317</c:v>
                </c:pt>
                <c:pt idx="355">
                  <c:v>95.125145536334557</c:v>
                </c:pt>
                <c:pt idx="356">
                  <c:v>95.109827695436493</c:v>
                </c:pt>
                <c:pt idx="357">
                  <c:v>94.868500299134922</c:v>
                </c:pt>
                <c:pt idx="358">
                  <c:v>96.037707097618707</c:v>
                </c:pt>
                <c:pt idx="359">
                  <c:v>97.091783556579884</c:v>
                </c:pt>
                <c:pt idx="360">
                  <c:v>97.984107412836664</c:v>
                </c:pt>
                <c:pt idx="361">
                  <c:v>93.512900926152469</c:v>
                </c:pt>
                <c:pt idx="362">
                  <c:v>92.750509685846296</c:v>
                </c:pt>
                <c:pt idx="363">
                  <c:v>93.548844626039397</c:v>
                </c:pt>
                <c:pt idx="364">
                  <c:v>89.547252050058049</c:v>
                </c:pt>
                <c:pt idx="365">
                  <c:v>88.217172815955635</c:v>
                </c:pt>
                <c:pt idx="366">
                  <c:v>89.138311305946786</c:v>
                </c:pt>
                <c:pt idx="367">
                  <c:v>86.827666548742727</c:v>
                </c:pt>
                <c:pt idx="368">
                  <c:v>88.657984228063697</c:v>
                </c:pt>
                <c:pt idx="369">
                  <c:v>89.320804571048356</c:v>
                </c:pt>
                <c:pt idx="370">
                  <c:v>89.491108429456688</c:v>
                </c:pt>
                <c:pt idx="371">
                  <c:v>88.484907542716826</c:v>
                </c:pt>
                <c:pt idx="372">
                  <c:v>88.370945222595353</c:v>
                </c:pt>
                <c:pt idx="373">
                  <c:v>84.003600690464779</c:v>
                </c:pt>
                <c:pt idx="374">
                  <c:v>84.532883179036418</c:v>
                </c:pt>
                <c:pt idx="375">
                  <c:v>90.392847383454139</c:v>
                </c:pt>
                <c:pt idx="376">
                  <c:v>89.041637860660728</c:v>
                </c:pt>
                <c:pt idx="377">
                  <c:v>88.350315136216366</c:v>
                </c:pt>
                <c:pt idx="378">
                  <c:v>88.522678894436197</c:v>
                </c:pt>
                <c:pt idx="379">
                  <c:v>88.920544880440758</c:v>
                </c:pt>
                <c:pt idx="380">
                  <c:v>88.729759011078642</c:v>
                </c:pt>
                <c:pt idx="381">
                  <c:v>82.629137084531706</c:v>
                </c:pt>
                <c:pt idx="382">
                  <c:v>83.606430860026308</c:v>
                </c:pt>
                <c:pt idx="383">
                  <c:v>86.269725434040055</c:v>
                </c:pt>
                <c:pt idx="384">
                  <c:v>84.463050430623042</c:v>
                </c:pt>
                <c:pt idx="385">
                  <c:v>85.109738976422264</c:v>
                </c:pt>
                <c:pt idx="386">
                  <c:v>87.846462646969627</c:v>
                </c:pt>
                <c:pt idx="387">
                  <c:v>88.388620456137645</c:v>
                </c:pt>
                <c:pt idx="388">
                  <c:v>89.932472927685652</c:v>
                </c:pt>
                <c:pt idx="389">
                  <c:v>82.26015581404728</c:v>
                </c:pt>
                <c:pt idx="390">
                  <c:v>87.049181405433799</c:v>
                </c:pt>
                <c:pt idx="391">
                  <c:v>89.469151737058013</c:v>
                </c:pt>
                <c:pt idx="392">
                  <c:v>87.891694092722545</c:v>
                </c:pt>
                <c:pt idx="393">
                  <c:v>91.082164853756467</c:v>
                </c:pt>
                <c:pt idx="394">
                  <c:v>81.551791864323249</c:v>
                </c:pt>
                <c:pt idx="395">
                  <c:v>81.416818495235873</c:v>
                </c:pt>
                <c:pt idx="396">
                  <c:v>76.238661194675842</c:v>
                </c:pt>
                <c:pt idx="397">
                  <c:v>74.536468232071698</c:v>
                </c:pt>
                <c:pt idx="398">
                  <c:v>82.582946672954847</c:v>
                </c:pt>
                <c:pt idx="399">
                  <c:v>80.385650499538215</c:v>
                </c:pt>
                <c:pt idx="400">
                  <c:v>79.074468111765626</c:v>
                </c:pt>
                <c:pt idx="401">
                  <c:v>79.186445316495622</c:v>
                </c:pt>
                <c:pt idx="402">
                  <c:v>78.477614040358404</c:v>
                </c:pt>
                <c:pt idx="403">
                  <c:v>79.195084859765998</c:v>
                </c:pt>
                <c:pt idx="404">
                  <c:v>78.503666639567371</c:v>
                </c:pt>
                <c:pt idx="405">
                  <c:v>78.644567809722446</c:v>
                </c:pt>
                <c:pt idx="406">
                  <c:v>77.997037617332879</c:v>
                </c:pt>
                <c:pt idx="407">
                  <c:v>78.012707481795942</c:v>
                </c:pt>
                <c:pt idx="408">
                  <c:v>79.417650138351604</c:v>
                </c:pt>
                <c:pt idx="409">
                  <c:v>79.298502285992171</c:v>
                </c:pt>
                <c:pt idx="410">
                  <c:v>78.484181433426699</c:v>
                </c:pt>
                <c:pt idx="411">
                  <c:v>78.58365125272465</c:v>
                </c:pt>
                <c:pt idx="412">
                  <c:v>78.90123216582306</c:v>
                </c:pt>
                <c:pt idx="413">
                  <c:v>76.609421414526679</c:v>
                </c:pt>
                <c:pt idx="414">
                  <c:v>74.919202224839481</c:v>
                </c:pt>
                <c:pt idx="415">
                  <c:v>75.652451902843652</c:v>
                </c:pt>
                <c:pt idx="416">
                  <c:v>73.24102713739731</c:v>
                </c:pt>
                <c:pt idx="417">
                  <c:v>78.880479468202253</c:v>
                </c:pt>
                <c:pt idx="418">
                  <c:v>76.354770949230115</c:v>
                </c:pt>
                <c:pt idx="419">
                  <c:v>76.134757104726049</c:v>
                </c:pt>
                <c:pt idx="420">
                  <c:v>77.264803728060144</c:v>
                </c:pt>
                <c:pt idx="421">
                  <c:v>78.399484255768314</c:v>
                </c:pt>
                <c:pt idx="422">
                  <c:v>78.422326026112614</c:v>
                </c:pt>
                <c:pt idx="423">
                  <c:v>78.616719579835674</c:v>
                </c:pt>
                <c:pt idx="424">
                  <c:v>78.671870697087002</c:v>
                </c:pt>
                <c:pt idx="425">
                  <c:v>79.049237047077455</c:v>
                </c:pt>
                <c:pt idx="426">
                  <c:v>78.80357602230545</c:v>
                </c:pt>
                <c:pt idx="427">
                  <c:v>77.483163885758373</c:v>
                </c:pt>
                <c:pt idx="428">
                  <c:v>79.900846789491041</c:v>
                </c:pt>
                <c:pt idx="429">
                  <c:v>80.211766785162411</c:v>
                </c:pt>
                <c:pt idx="430">
                  <c:v>81.14436991932908</c:v>
                </c:pt>
                <c:pt idx="431">
                  <c:v>82.935144674251632</c:v>
                </c:pt>
                <c:pt idx="432">
                  <c:v>82.391181114409605</c:v>
                </c:pt>
                <c:pt idx="433">
                  <c:v>80.204254874293937</c:v>
                </c:pt>
                <c:pt idx="434">
                  <c:v>80.487540348918202</c:v>
                </c:pt>
                <c:pt idx="435">
                  <c:v>75.603988746803125</c:v>
                </c:pt>
                <c:pt idx="436">
                  <c:v>77.314756775935493</c:v>
                </c:pt>
                <c:pt idx="437">
                  <c:v>79.841416387518407</c:v>
                </c:pt>
                <c:pt idx="438">
                  <c:v>75.995564979422596</c:v>
                </c:pt>
                <c:pt idx="439">
                  <c:v>76.387196270403749</c:v>
                </c:pt>
                <c:pt idx="440">
                  <c:v>75.821490933521559</c:v>
                </c:pt>
                <c:pt idx="441">
                  <c:v>75.578432877885845</c:v>
                </c:pt>
                <c:pt idx="442">
                  <c:v>76.035733927337958</c:v>
                </c:pt>
                <c:pt idx="443">
                  <c:v>76.256769861589405</c:v>
                </c:pt>
                <c:pt idx="444">
                  <c:v>74.65815908824456</c:v>
                </c:pt>
                <c:pt idx="445">
                  <c:v>78.235995861003133</c:v>
                </c:pt>
                <c:pt idx="446">
                  <c:v>78.138835125030454</c:v>
                </c:pt>
                <c:pt idx="447">
                  <c:v>77.761372227320606</c:v>
                </c:pt>
                <c:pt idx="448">
                  <c:v>78.183331388766035</c:v>
                </c:pt>
                <c:pt idx="449">
                  <c:v>78.069368344636999</c:v>
                </c:pt>
                <c:pt idx="450">
                  <c:v>77.959302455852125</c:v>
                </c:pt>
                <c:pt idx="451">
                  <c:v>77.776370609831076</c:v>
                </c:pt>
                <c:pt idx="452">
                  <c:v>77.161561581937661</c:v>
                </c:pt>
                <c:pt idx="453">
                  <c:v>79.084349420492515</c:v>
                </c:pt>
                <c:pt idx="454">
                  <c:v>83.887277437092138</c:v>
                </c:pt>
                <c:pt idx="455">
                  <c:v>84.617829591234525</c:v>
                </c:pt>
                <c:pt idx="456">
                  <c:v>85.901294896351061</c:v>
                </c:pt>
                <c:pt idx="457">
                  <c:v>83.48156581037675</c:v>
                </c:pt>
                <c:pt idx="458">
                  <c:v>85.338047941836678</c:v>
                </c:pt>
                <c:pt idx="459">
                  <c:v>86.11345774502422</c:v>
                </c:pt>
                <c:pt idx="460">
                  <c:v>88.517221308995929</c:v>
                </c:pt>
                <c:pt idx="461">
                  <c:v>87.784208460160784</c:v>
                </c:pt>
                <c:pt idx="462">
                  <c:v>87.270302620249538</c:v>
                </c:pt>
                <c:pt idx="463">
                  <c:v>87.053348207315011</c:v>
                </c:pt>
                <c:pt idx="464">
                  <c:v>86.495831983665227</c:v>
                </c:pt>
                <c:pt idx="465">
                  <c:v>86.354725214076453</c:v>
                </c:pt>
                <c:pt idx="466">
                  <c:v>84.486089009875158</c:v>
                </c:pt>
                <c:pt idx="467">
                  <c:v>82.104089123136816</c:v>
                </c:pt>
                <c:pt idx="468">
                  <c:v>80.53640709327577</c:v>
                </c:pt>
                <c:pt idx="469">
                  <c:v>81.110480558426943</c:v>
                </c:pt>
                <c:pt idx="470">
                  <c:v>83.486814034218781</c:v>
                </c:pt>
                <c:pt idx="471">
                  <c:v>88.644161912384732</c:v>
                </c:pt>
                <c:pt idx="472">
                  <c:v>88.670123509097536</c:v>
                </c:pt>
                <c:pt idx="473">
                  <c:v>89.852189603902275</c:v>
                </c:pt>
                <c:pt idx="474">
                  <c:v>92.958057371248643</c:v>
                </c:pt>
                <c:pt idx="475">
                  <c:v>86.059023225141544</c:v>
                </c:pt>
                <c:pt idx="476">
                  <c:v>85.910768052439721</c:v>
                </c:pt>
                <c:pt idx="477">
                  <c:v>83.009882408426037</c:v>
                </c:pt>
                <c:pt idx="478">
                  <c:v>87.9099881114672</c:v>
                </c:pt>
                <c:pt idx="479">
                  <c:v>85.979421417894642</c:v>
                </c:pt>
                <c:pt idx="480">
                  <c:v>85.777550883589129</c:v>
                </c:pt>
                <c:pt idx="481">
                  <c:v>83.446489523236238</c:v>
                </c:pt>
                <c:pt idx="482">
                  <c:v>83.398933795579126</c:v>
                </c:pt>
                <c:pt idx="483">
                  <c:v>90.120047798487775</c:v>
                </c:pt>
                <c:pt idx="484">
                  <c:v>85.941762646410069</c:v>
                </c:pt>
                <c:pt idx="485">
                  <c:v>84.942529241711782</c:v>
                </c:pt>
                <c:pt idx="486">
                  <c:v>84.942797355084082</c:v>
                </c:pt>
                <c:pt idx="487">
                  <c:v>84.882876246426576</c:v>
                </c:pt>
                <c:pt idx="488">
                  <c:v>85.841723267219407</c:v>
                </c:pt>
                <c:pt idx="489">
                  <c:v>85.397957226000301</c:v>
                </c:pt>
                <c:pt idx="490">
                  <c:v>85.323006448333814</c:v>
                </c:pt>
                <c:pt idx="491">
                  <c:v>84.805228437900112</c:v>
                </c:pt>
                <c:pt idx="492">
                  <c:v>83.074945157996751</c:v>
                </c:pt>
                <c:pt idx="493">
                  <c:v>84.198838294604968</c:v>
                </c:pt>
                <c:pt idx="494">
                  <c:v>82.850250317060102</c:v>
                </c:pt>
                <c:pt idx="495">
                  <c:v>81.918973907649757</c:v>
                </c:pt>
                <c:pt idx="496">
                  <c:v>78.888851482885187</c:v>
                </c:pt>
                <c:pt idx="497">
                  <c:v>78.904321804089463</c:v>
                </c:pt>
                <c:pt idx="498">
                  <c:v>80.995104472921511</c:v>
                </c:pt>
                <c:pt idx="499">
                  <c:v>78.316828437957867</c:v>
                </c:pt>
                <c:pt idx="500">
                  <c:v>79.810650781452409</c:v>
                </c:pt>
                <c:pt idx="501">
                  <c:v>79.447747731059223</c:v>
                </c:pt>
                <c:pt idx="502">
                  <c:v>78.854781286237838</c:v>
                </c:pt>
                <c:pt idx="503">
                  <c:v>77.820812832789841</c:v>
                </c:pt>
                <c:pt idx="504">
                  <c:v>77.88937111425706</c:v>
                </c:pt>
                <c:pt idx="505">
                  <c:v>74.998219049870173</c:v>
                </c:pt>
                <c:pt idx="506">
                  <c:v>74.04634555198875</c:v>
                </c:pt>
                <c:pt idx="507">
                  <c:v>74.652336804046598</c:v>
                </c:pt>
                <c:pt idx="508">
                  <c:v>73.840286278341523</c:v>
                </c:pt>
                <c:pt idx="509">
                  <c:v>71.710457902293129</c:v>
                </c:pt>
                <c:pt idx="510">
                  <c:v>69.881908521559836</c:v>
                </c:pt>
                <c:pt idx="511">
                  <c:v>69.371364320531541</c:v>
                </c:pt>
                <c:pt idx="512">
                  <c:v>70.282146282557605</c:v>
                </c:pt>
                <c:pt idx="513">
                  <c:v>71.732363576967686</c:v>
                </c:pt>
                <c:pt idx="514">
                  <c:v>67.068528833227631</c:v>
                </c:pt>
                <c:pt idx="515">
                  <c:v>66.640872354818285</c:v>
                </c:pt>
                <c:pt idx="516">
                  <c:v>66.675604435509186</c:v>
                </c:pt>
                <c:pt idx="517">
                  <c:v>63.729325477273854</c:v>
                </c:pt>
                <c:pt idx="518">
                  <c:v>66.703038790777853</c:v>
                </c:pt>
                <c:pt idx="519">
                  <c:v>66.594596123094206</c:v>
                </c:pt>
                <c:pt idx="520">
                  <c:v>66.921553993501405</c:v>
                </c:pt>
                <c:pt idx="521">
                  <c:v>65.290742642405363</c:v>
                </c:pt>
                <c:pt idx="522">
                  <c:v>65.089354573493893</c:v>
                </c:pt>
                <c:pt idx="523">
                  <c:v>63.58045998765656</c:v>
                </c:pt>
                <c:pt idx="524">
                  <c:v>60.554794346513923</c:v>
                </c:pt>
                <c:pt idx="525">
                  <c:v>61.340423818215541</c:v>
                </c:pt>
                <c:pt idx="526">
                  <c:v>60.181296061552018</c:v>
                </c:pt>
                <c:pt idx="527">
                  <c:v>63.407145593231206</c:v>
                </c:pt>
                <c:pt idx="528">
                  <c:v>67.419709676088985</c:v>
                </c:pt>
                <c:pt idx="529">
                  <c:v>66.803964234970138</c:v>
                </c:pt>
                <c:pt idx="530">
                  <c:v>65.112771985793614</c:v>
                </c:pt>
                <c:pt idx="531">
                  <c:v>66.448235315463933</c:v>
                </c:pt>
                <c:pt idx="532">
                  <c:v>66.886985950755914</c:v>
                </c:pt>
                <c:pt idx="533">
                  <c:v>68.700878897500431</c:v>
                </c:pt>
                <c:pt idx="534">
                  <c:v>69.281701925549626</c:v>
                </c:pt>
                <c:pt idx="535">
                  <c:v>72.773609162287372</c:v>
                </c:pt>
                <c:pt idx="536">
                  <c:v>74.268149733280708</c:v>
                </c:pt>
                <c:pt idx="537">
                  <c:v>74.331805707285852</c:v>
                </c:pt>
                <c:pt idx="538">
                  <c:v>74.326557085686389</c:v>
                </c:pt>
                <c:pt idx="539">
                  <c:v>72.426830548740469</c:v>
                </c:pt>
                <c:pt idx="540">
                  <c:v>71.569026873612316</c:v>
                </c:pt>
                <c:pt idx="541">
                  <c:v>71.25378730181589</c:v>
                </c:pt>
                <c:pt idx="542">
                  <c:v>68.87579205678945</c:v>
                </c:pt>
                <c:pt idx="543">
                  <c:v>70.735747752269205</c:v>
                </c:pt>
                <c:pt idx="544">
                  <c:v>73.2939075326899</c:v>
                </c:pt>
                <c:pt idx="545">
                  <c:v>73.632081910417327</c:v>
                </c:pt>
                <c:pt idx="546">
                  <c:v>73.559447425351834</c:v>
                </c:pt>
                <c:pt idx="547">
                  <c:v>73.840842739743948</c:v>
                </c:pt>
                <c:pt idx="548">
                  <c:v>73.570322050818888</c:v>
                </c:pt>
                <c:pt idx="549">
                  <c:v>73.452970787847093</c:v>
                </c:pt>
                <c:pt idx="550">
                  <c:v>73.40383514292985</c:v>
                </c:pt>
                <c:pt idx="551">
                  <c:v>73.341738700661836</c:v>
                </c:pt>
                <c:pt idx="552">
                  <c:v>73.491479075294009</c:v>
                </c:pt>
                <c:pt idx="553">
                  <c:v>72.709636359682307</c:v>
                </c:pt>
                <c:pt idx="554">
                  <c:v>72.511282309815186</c:v>
                </c:pt>
                <c:pt idx="555">
                  <c:v>73.020763380432783</c:v>
                </c:pt>
                <c:pt idx="556">
                  <c:v>73.001948736608782</c:v>
                </c:pt>
                <c:pt idx="557">
                  <c:v>71.780218264335033</c:v>
                </c:pt>
                <c:pt idx="558">
                  <c:v>71.855278321360558</c:v>
                </c:pt>
                <c:pt idx="559">
                  <c:v>70.890078163339155</c:v>
                </c:pt>
                <c:pt idx="560">
                  <c:v>73.866528974568809</c:v>
                </c:pt>
                <c:pt idx="561">
                  <c:v>69.135870639316238</c:v>
                </c:pt>
                <c:pt idx="562">
                  <c:v>69.057648071974384</c:v>
                </c:pt>
                <c:pt idx="563">
                  <c:v>68.337628587922012</c:v>
                </c:pt>
                <c:pt idx="564">
                  <c:v>67.534901048151724</c:v>
                </c:pt>
                <c:pt idx="565">
                  <c:v>67.106788485349725</c:v>
                </c:pt>
                <c:pt idx="566">
                  <c:v>70.634097924050792</c:v>
                </c:pt>
                <c:pt idx="567">
                  <c:v>71.92335458140262</c:v>
                </c:pt>
                <c:pt idx="568">
                  <c:v>71.672059363117171</c:v>
                </c:pt>
                <c:pt idx="569">
                  <c:v>70.804176279424112</c:v>
                </c:pt>
                <c:pt idx="570">
                  <c:v>69.302076754724169</c:v>
                </c:pt>
                <c:pt idx="571">
                  <c:v>69.139240841171556</c:v>
                </c:pt>
                <c:pt idx="572">
                  <c:v>72.571614171737181</c:v>
                </c:pt>
                <c:pt idx="573">
                  <c:v>72.255487222282142</c:v>
                </c:pt>
                <c:pt idx="574">
                  <c:v>73.192261073977903</c:v>
                </c:pt>
                <c:pt idx="575">
                  <c:v>70.816658642371834</c:v>
                </c:pt>
                <c:pt idx="576">
                  <c:v>71.875490366385009</c:v>
                </c:pt>
                <c:pt idx="577">
                  <c:v>74.212701991098612</c:v>
                </c:pt>
                <c:pt idx="578">
                  <c:v>74.74329033381531</c:v>
                </c:pt>
                <c:pt idx="579">
                  <c:v>74.50276105448016</c:v>
                </c:pt>
                <c:pt idx="580">
                  <c:v>74.497468055429849</c:v>
                </c:pt>
                <c:pt idx="581">
                  <c:v>74.306687497726344</c:v>
                </c:pt>
                <c:pt idx="582">
                  <c:v>77.061815927427787</c:v>
                </c:pt>
                <c:pt idx="583">
                  <c:v>74.905619182372604</c:v>
                </c:pt>
                <c:pt idx="584">
                  <c:v>73.284057952826061</c:v>
                </c:pt>
                <c:pt idx="585">
                  <c:v>76.773693518400364</c:v>
                </c:pt>
                <c:pt idx="586">
                  <c:v>77.561032953421005</c:v>
                </c:pt>
                <c:pt idx="587">
                  <c:v>76.82296972603433</c:v>
                </c:pt>
                <c:pt idx="588">
                  <c:v>76.734429101626219</c:v>
                </c:pt>
                <c:pt idx="589">
                  <c:v>77.163407393740371</c:v>
                </c:pt>
                <c:pt idx="590">
                  <c:v>78.36919573911976</c:v>
                </c:pt>
                <c:pt idx="591">
                  <c:v>78.126533509485753</c:v>
                </c:pt>
                <c:pt idx="592">
                  <c:v>78.444161758846988</c:v>
                </c:pt>
                <c:pt idx="593">
                  <c:v>78.464721338953467</c:v>
                </c:pt>
                <c:pt idx="594">
                  <c:v>78.883302503526807</c:v>
                </c:pt>
                <c:pt idx="595">
                  <c:v>78.328892465223561</c:v>
                </c:pt>
                <c:pt idx="596">
                  <c:v>78.662548506400157</c:v>
                </c:pt>
                <c:pt idx="597">
                  <c:v>78.791639884573499</c:v>
                </c:pt>
                <c:pt idx="598">
                  <c:v>79.6798814750438</c:v>
                </c:pt>
                <c:pt idx="599">
                  <c:v>80.981238650218657</c:v>
                </c:pt>
                <c:pt idx="600">
                  <c:v>80.151004139585069</c:v>
                </c:pt>
                <c:pt idx="601">
                  <c:v>80.108406293564656</c:v>
                </c:pt>
                <c:pt idx="602">
                  <c:v>79.019016944906355</c:v>
                </c:pt>
                <c:pt idx="603">
                  <c:v>82.504427193018984</c:v>
                </c:pt>
                <c:pt idx="604">
                  <c:v>75.559215695673856</c:v>
                </c:pt>
                <c:pt idx="605">
                  <c:v>74.996738733032544</c:v>
                </c:pt>
                <c:pt idx="606">
                  <c:v>74.037758355831059</c:v>
                </c:pt>
                <c:pt idx="607">
                  <c:v>73.81560396388187</c:v>
                </c:pt>
                <c:pt idx="608">
                  <c:v>71.206039686667225</c:v>
                </c:pt>
                <c:pt idx="609">
                  <c:v>72.161444540033699</c:v>
                </c:pt>
                <c:pt idx="610">
                  <c:v>67.972382498782011</c:v>
                </c:pt>
                <c:pt idx="611">
                  <c:v>69.823596332650084</c:v>
                </c:pt>
                <c:pt idx="612">
                  <c:v>71.327061506111718</c:v>
                </c:pt>
                <c:pt idx="613">
                  <c:v>69.600680607716782</c:v>
                </c:pt>
                <c:pt idx="614">
                  <c:v>69.793674446950575</c:v>
                </c:pt>
                <c:pt idx="615">
                  <c:v>70.223901430287711</c:v>
                </c:pt>
                <c:pt idx="616">
                  <c:v>72.390371126535896</c:v>
                </c:pt>
                <c:pt idx="617">
                  <c:v>70.128145503637128</c:v>
                </c:pt>
                <c:pt idx="618">
                  <c:v>65.010631590850508</c:v>
                </c:pt>
                <c:pt idx="619">
                  <c:v>67.720461923875888</c:v>
                </c:pt>
                <c:pt idx="620">
                  <c:v>64.993141275829558</c:v>
                </c:pt>
                <c:pt idx="621">
                  <c:v>62.01655286897131</c:v>
                </c:pt>
                <c:pt idx="622">
                  <c:v>59.794378671117791</c:v>
                </c:pt>
                <c:pt idx="623">
                  <c:v>56.919603225805197</c:v>
                </c:pt>
                <c:pt idx="624">
                  <c:v>50.120442584663287</c:v>
                </c:pt>
                <c:pt idx="625">
                  <c:v>45.638020844897</c:v>
                </c:pt>
                <c:pt idx="626">
                  <c:v>38.877528249442108</c:v>
                </c:pt>
                <c:pt idx="627">
                  <c:v>35.586674340745674</c:v>
                </c:pt>
                <c:pt idx="628">
                  <c:v>39.389120687495108</c:v>
                </c:pt>
                <c:pt idx="629">
                  <c:v>40.616589232135681</c:v>
                </c:pt>
                <c:pt idx="630">
                  <c:v>33.650033261585051</c:v>
                </c:pt>
                <c:pt idx="631">
                  <c:v>31.691223758162078</c:v>
                </c:pt>
                <c:pt idx="632">
                  <c:v>28.98459820760667</c:v>
                </c:pt>
                <c:pt idx="633">
                  <c:v>30.107952184021077</c:v>
                </c:pt>
                <c:pt idx="634">
                  <c:v>30.897452066516252</c:v>
                </c:pt>
                <c:pt idx="635">
                  <c:v>28.810120903287576</c:v>
                </c:pt>
                <c:pt idx="636">
                  <c:v>28.352489124247693</c:v>
                </c:pt>
                <c:pt idx="637">
                  <c:v>26.460701271436488</c:v>
                </c:pt>
                <c:pt idx="638">
                  <c:v>25.521164933018884</c:v>
                </c:pt>
                <c:pt idx="639">
                  <c:v>27.288135222689682</c:v>
                </c:pt>
                <c:pt idx="640">
                  <c:v>26.15013305489477</c:v>
                </c:pt>
                <c:pt idx="641">
                  <c:v>26.282037497329167</c:v>
                </c:pt>
                <c:pt idx="642">
                  <c:v>26.420692366792494</c:v>
                </c:pt>
                <c:pt idx="643">
                  <c:v>26.720486859970592</c:v>
                </c:pt>
                <c:pt idx="644">
                  <c:v>27.150377922537324</c:v>
                </c:pt>
                <c:pt idx="645">
                  <c:v>27.243875084426865</c:v>
                </c:pt>
                <c:pt idx="646">
                  <c:v>28.909915456384752</c:v>
                </c:pt>
                <c:pt idx="647">
                  <c:v>28.614193966364777</c:v>
                </c:pt>
                <c:pt idx="648">
                  <c:v>28.425429062631746</c:v>
                </c:pt>
                <c:pt idx="649">
                  <c:v>28.364745071250518</c:v>
                </c:pt>
                <c:pt idx="650">
                  <c:v>27.922153767975129</c:v>
                </c:pt>
                <c:pt idx="651">
                  <c:v>28.737296111613595</c:v>
                </c:pt>
                <c:pt idx="652">
                  <c:v>27.422556912475414</c:v>
                </c:pt>
                <c:pt idx="653">
                  <c:v>27.183783131369182</c:v>
                </c:pt>
                <c:pt idx="654">
                  <c:v>26.972319172343301</c:v>
                </c:pt>
                <c:pt idx="655">
                  <c:v>25.608864868131434</c:v>
                </c:pt>
                <c:pt idx="656">
                  <c:v>24.992501056365946</c:v>
                </c:pt>
                <c:pt idx="657">
                  <c:v>25.894360110811355</c:v>
                </c:pt>
                <c:pt idx="658">
                  <c:v>27.249293469569619</c:v>
                </c:pt>
                <c:pt idx="659">
                  <c:v>27.573582198033019</c:v>
                </c:pt>
                <c:pt idx="660">
                  <c:v>27.755234146325286</c:v>
                </c:pt>
                <c:pt idx="661">
                  <c:v>27.746336237916459</c:v>
                </c:pt>
                <c:pt idx="662">
                  <c:v>29.190043941813716</c:v>
                </c:pt>
                <c:pt idx="663">
                  <c:v>28.681946579600211</c:v>
                </c:pt>
                <c:pt idx="664">
                  <c:v>28.661258560496453</c:v>
                </c:pt>
                <c:pt idx="665">
                  <c:v>28.739499645813744</c:v>
                </c:pt>
                <c:pt idx="666">
                  <c:v>28.640882386047284</c:v>
                </c:pt>
                <c:pt idx="667">
                  <c:v>28.852848928371667</c:v>
                </c:pt>
                <c:pt idx="668">
                  <c:v>28.821707552393153</c:v>
                </c:pt>
                <c:pt idx="669">
                  <c:v>28.686451616640188</c:v>
                </c:pt>
                <c:pt idx="670">
                  <c:v>28.671329258179718</c:v>
                </c:pt>
                <c:pt idx="671">
                  <c:v>28.591486657852194</c:v>
                </c:pt>
                <c:pt idx="672">
                  <c:v>28.633091696396846</c:v>
                </c:pt>
                <c:pt idx="673">
                  <c:v>28.046301793236928</c:v>
                </c:pt>
                <c:pt idx="674">
                  <c:v>28.010594451196344</c:v>
                </c:pt>
                <c:pt idx="675">
                  <c:v>27.379080812369015</c:v>
                </c:pt>
                <c:pt idx="676">
                  <c:v>26.437928913223509</c:v>
                </c:pt>
                <c:pt idx="677">
                  <c:v>25.554965224653639</c:v>
                </c:pt>
                <c:pt idx="678">
                  <c:v>25.903662336926615</c:v>
                </c:pt>
                <c:pt idx="679">
                  <c:v>25.667116863937444</c:v>
                </c:pt>
                <c:pt idx="680">
                  <c:v>25.341064423923509</c:v>
                </c:pt>
                <c:pt idx="681">
                  <c:v>26.008260471872731</c:v>
                </c:pt>
                <c:pt idx="682">
                  <c:v>24.794455448974418</c:v>
                </c:pt>
                <c:pt idx="683">
                  <c:v>24.022085468876867</c:v>
                </c:pt>
                <c:pt idx="684">
                  <c:v>22.14350694862436</c:v>
                </c:pt>
                <c:pt idx="685">
                  <c:v>22.860693765644424</c:v>
                </c:pt>
                <c:pt idx="686">
                  <c:v>22.613057755688548</c:v>
                </c:pt>
                <c:pt idx="687">
                  <c:v>24.894995014690885</c:v>
                </c:pt>
                <c:pt idx="688">
                  <c:v>24.574847750409599</c:v>
                </c:pt>
                <c:pt idx="689">
                  <c:v>24.3646838649614</c:v>
                </c:pt>
                <c:pt idx="690">
                  <c:v>24.200558251169159</c:v>
                </c:pt>
                <c:pt idx="691">
                  <c:v>24.607611714956938</c:v>
                </c:pt>
                <c:pt idx="692">
                  <c:v>21.887076077078486</c:v>
                </c:pt>
                <c:pt idx="693">
                  <c:v>21.260555020721483</c:v>
                </c:pt>
                <c:pt idx="694">
                  <c:v>21.855358129619674</c:v>
                </c:pt>
                <c:pt idx="695">
                  <c:v>19.093379968359983</c:v>
                </c:pt>
                <c:pt idx="696">
                  <c:v>20.321144196314972</c:v>
                </c:pt>
                <c:pt idx="697">
                  <c:v>20.552747091353378</c:v>
                </c:pt>
                <c:pt idx="698">
                  <c:v>20.659230029234831</c:v>
                </c:pt>
                <c:pt idx="699">
                  <c:v>21.209092680344597</c:v>
                </c:pt>
                <c:pt idx="700">
                  <c:v>21.515328791251772</c:v>
                </c:pt>
                <c:pt idx="701">
                  <c:v>21.213829539868868</c:v>
                </c:pt>
                <c:pt idx="702">
                  <c:v>21.499345171964261</c:v>
                </c:pt>
                <c:pt idx="703">
                  <c:v>22.241236569330518</c:v>
                </c:pt>
                <c:pt idx="704">
                  <c:v>22.357471902912167</c:v>
                </c:pt>
                <c:pt idx="705">
                  <c:v>21.896223714762641</c:v>
                </c:pt>
                <c:pt idx="706">
                  <c:v>21.997005567679931</c:v>
                </c:pt>
                <c:pt idx="707">
                  <c:v>21.85504655580695</c:v>
                </c:pt>
                <c:pt idx="708">
                  <c:v>21.744133331076061</c:v>
                </c:pt>
                <c:pt idx="709">
                  <c:v>21.72674810879623</c:v>
                </c:pt>
                <c:pt idx="710">
                  <c:v>22.218550742404918</c:v>
                </c:pt>
                <c:pt idx="711">
                  <c:v>22.097978819104991</c:v>
                </c:pt>
                <c:pt idx="712">
                  <c:v>22.470305666837767</c:v>
                </c:pt>
                <c:pt idx="713">
                  <c:v>22.399842966282467</c:v>
                </c:pt>
                <c:pt idx="714">
                  <c:v>22.670046642222868</c:v>
                </c:pt>
                <c:pt idx="715">
                  <c:v>22.69319702673252</c:v>
                </c:pt>
                <c:pt idx="716">
                  <c:v>22.725074724400258</c:v>
                </c:pt>
                <c:pt idx="717">
                  <c:v>21.920318902141037</c:v>
                </c:pt>
                <c:pt idx="718">
                  <c:v>21.210951611128475</c:v>
                </c:pt>
                <c:pt idx="719">
                  <c:v>23.163143641379541</c:v>
                </c:pt>
                <c:pt idx="720">
                  <c:v>23.704962402974786</c:v>
                </c:pt>
                <c:pt idx="721">
                  <c:v>23.656994137296142</c:v>
                </c:pt>
                <c:pt idx="722">
                  <c:v>23.71690198892885</c:v>
                </c:pt>
                <c:pt idx="723">
                  <c:v>24.014680857604059</c:v>
                </c:pt>
                <c:pt idx="724">
                  <c:v>24.04532010184489</c:v>
                </c:pt>
                <c:pt idx="725">
                  <c:v>25.426666768355695</c:v>
                </c:pt>
                <c:pt idx="726">
                  <c:v>24.213136799345971</c:v>
                </c:pt>
                <c:pt idx="727">
                  <c:v>24.052784661655547</c:v>
                </c:pt>
                <c:pt idx="728">
                  <c:v>23.950658299698347</c:v>
                </c:pt>
                <c:pt idx="729">
                  <c:v>24.265020246287328</c:v>
                </c:pt>
                <c:pt idx="730">
                  <c:v>24.344539358284273</c:v>
                </c:pt>
                <c:pt idx="731">
                  <c:v>23.794892305997408</c:v>
                </c:pt>
                <c:pt idx="732">
                  <c:v>23.999188851802941</c:v>
                </c:pt>
                <c:pt idx="733">
                  <c:v>24.851329188147854</c:v>
                </c:pt>
                <c:pt idx="734">
                  <c:v>23.916745784021479</c:v>
                </c:pt>
                <c:pt idx="735">
                  <c:v>23.817557052032409</c:v>
                </c:pt>
                <c:pt idx="736">
                  <c:v>24.849523942640126</c:v>
                </c:pt>
                <c:pt idx="737">
                  <c:v>26.094328915989419</c:v>
                </c:pt>
                <c:pt idx="738">
                  <c:v>26.345277033529676</c:v>
                </c:pt>
                <c:pt idx="739">
                  <c:v>25.976637038270272</c:v>
                </c:pt>
                <c:pt idx="740">
                  <c:v>26.023597269801119</c:v>
                </c:pt>
                <c:pt idx="741">
                  <c:v>26.236356791894483</c:v>
                </c:pt>
                <c:pt idx="742">
                  <c:v>26.243646827475565</c:v>
                </c:pt>
                <c:pt idx="743">
                  <c:v>26.957395377632409</c:v>
                </c:pt>
                <c:pt idx="744">
                  <c:v>26.921984067285504</c:v>
                </c:pt>
                <c:pt idx="745">
                  <c:v>27.441558862190988</c:v>
                </c:pt>
                <c:pt idx="746">
                  <c:v>27.549958329545195</c:v>
                </c:pt>
                <c:pt idx="747">
                  <c:v>27.455927831592025</c:v>
                </c:pt>
                <c:pt idx="748">
                  <c:v>27.488894070161578</c:v>
                </c:pt>
                <c:pt idx="749">
                  <c:v>27.385249344917753</c:v>
                </c:pt>
                <c:pt idx="750">
                  <c:v>27.131514293967626</c:v>
                </c:pt>
                <c:pt idx="751">
                  <c:v>26.413713054665887</c:v>
                </c:pt>
                <c:pt idx="752">
                  <c:v>26.297613404694754</c:v>
                </c:pt>
                <c:pt idx="753">
                  <c:v>26.216260125645299</c:v>
                </c:pt>
                <c:pt idx="754">
                  <c:v>25.686494127158493</c:v>
                </c:pt>
                <c:pt idx="755">
                  <c:v>24.725418392879604</c:v>
                </c:pt>
                <c:pt idx="756">
                  <c:v>24.226891097931929</c:v>
                </c:pt>
                <c:pt idx="757">
                  <c:v>26.145439042042181</c:v>
                </c:pt>
                <c:pt idx="758">
                  <c:v>25.081824367022669</c:v>
                </c:pt>
                <c:pt idx="759">
                  <c:v>25.113251136923406</c:v>
                </c:pt>
                <c:pt idx="760">
                  <c:v>24.771097554296663</c:v>
                </c:pt>
                <c:pt idx="761">
                  <c:v>24.745326949343266</c:v>
                </c:pt>
                <c:pt idx="762">
                  <c:v>24.966382524615867</c:v>
                </c:pt>
                <c:pt idx="763">
                  <c:v>24.8636098287176</c:v>
                </c:pt>
                <c:pt idx="764">
                  <c:v>25.133315756259641</c:v>
                </c:pt>
                <c:pt idx="765">
                  <c:v>25.10105687578794</c:v>
                </c:pt>
                <c:pt idx="766">
                  <c:v>24.66834411144178</c:v>
                </c:pt>
                <c:pt idx="767">
                  <c:v>24.025158186075121</c:v>
                </c:pt>
                <c:pt idx="768">
                  <c:v>23.865901829089246</c:v>
                </c:pt>
                <c:pt idx="769">
                  <c:v>22.796036083964044</c:v>
                </c:pt>
                <c:pt idx="770">
                  <c:v>23.242124120768299</c:v>
                </c:pt>
                <c:pt idx="771">
                  <c:v>22.206602411339098</c:v>
                </c:pt>
                <c:pt idx="772">
                  <c:v>22.376839628062051</c:v>
                </c:pt>
                <c:pt idx="773">
                  <c:v>22.031666459089248</c:v>
                </c:pt>
                <c:pt idx="774">
                  <c:v>23.030790958043745</c:v>
                </c:pt>
                <c:pt idx="775">
                  <c:v>21.787311777621465</c:v>
                </c:pt>
                <c:pt idx="776">
                  <c:v>21.909673557753099</c:v>
                </c:pt>
                <c:pt idx="777">
                  <c:v>20.326602417838846</c:v>
                </c:pt>
                <c:pt idx="778">
                  <c:v>20.175950185519081</c:v>
                </c:pt>
                <c:pt idx="779">
                  <c:v>20.216884736071414</c:v>
                </c:pt>
                <c:pt idx="780">
                  <c:v>21.343581631326376</c:v>
                </c:pt>
                <c:pt idx="781">
                  <c:v>21.705528185719619</c:v>
                </c:pt>
                <c:pt idx="782">
                  <c:v>21.589270554129396</c:v>
                </c:pt>
                <c:pt idx="783">
                  <c:v>21.386196598779531</c:v>
                </c:pt>
                <c:pt idx="784">
                  <c:v>21.160227203424917</c:v>
                </c:pt>
                <c:pt idx="785">
                  <c:v>21.187588460549158</c:v>
                </c:pt>
                <c:pt idx="786">
                  <c:v>21.131460920692973</c:v>
                </c:pt>
                <c:pt idx="787">
                  <c:v>21.104998499741054</c:v>
                </c:pt>
                <c:pt idx="788">
                  <c:v>22.07845848978894</c:v>
                </c:pt>
                <c:pt idx="789">
                  <c:v>21.857499308076584</c:v>
                </c:pt>
                <c:pt idx="790">
                  <c:v>21.820844470375725</c:v>
                </c:pt>
                <c:pt idx="791">
                  <c:v>21.770454187433284</c:v>
                </c:pt>
                <c:pt idx="792">
                  <c:v>21.567829129342055</c:v>
                </c:pt>
                <c:pt idx="793">
                  <c:v>21.56456186216386</c:v>
                </c:pt>
                <c:pt idx="794">
                  <c:v>20.871828808590699</c:v>
                </c:pt>
                <c:pt idx="795">
                  <c:v>20.547759507667166</c:v>
                </c:pt>
                <c:pt idx="796">
                  <c:v>21.49470161822364</c:v>
                </c:pt>
                <c:pt idx="797">
                  <c:v>22.212408910426593</c:v>
                </c:pt>
                <c:pt idx="798">
                  <c:v>22.269594246772847</c:v>
                </c:pt>
                <c:pt idx="799">
                  <c:v>22.273417282757457</c:v>
                </c:pt>
                <c:pt idx="800">
                  <c:v>22.641162768416113</c:v>
                </c:pt>
                <c:pt idx="801">
                  <c:v>22.21247184132725</c:v>
                </c:pt>
                <c:pt idx="802">
                  <c:v>22.029228227172531</c:v>
                </c:pt>
                <c:pt idx="803">
                  <c:v>22.845507610702732</c:v>
                </c:pt>
                <c:pt idx="804">
                  <c:v>23.174642887702923</c:v>
                </c:pt>
                <c:pt idx="805">
                  <c:v>22.730742537095246</c:v>
                </c:pt>
                <c:pt idx="806">
                  <c:v>21.84793906098356</c:v>
                </c:pt>
                <c:pt idx="807">
                  <c:v>22.323638363914451</c:v>
                </c:pt>
                <c:pt idx="808">
                  <c:v>22.004224360588172</c:v>
                </c:pt>
                <c:pt idx="809">
                  <c:v>23.316624805492459</c:v>
                </c:pt>
                <c:pt idx="810">
                  <c:v>23.074827451069805</c:v>
                </c:pt>
                <c:pt idx="811">
                  <c:v>23.294970432657294</c:v>
                </c:pt>
                <c:pt idx="812">
                  <c:v>23.426265691694663</c:v>
                </c:pt>
                <c:pt idx="813">
                  <c:v>23.986761012961889</c:v>
                </c:pt>
                <c:pt idx="814">
                  <c:v>23.933047897167064</c:v>
                </c:pt>
                <c:pt idx="815">
                  <c:v>24.925885787074616</c:v>
                </c:pt>
                <c:pt idx="816">
                  <c:v>25.210705366778953</c:v>
                </c:pt>
                <c:pt idx="817">
                  <c:v>24.685258032306532</c:v>
                </c:pt>
                <c:pt idx="818">
                  <c:v>24.163833097179761</c:v>
                </c:pt>
                <c:pt idx="819">
                  <c:v>24.204462235905744</c:v>
                </c:pt>
                <c:pt idx="820">
                  <c:v>23.703588204649684</c:v>
                </c:pt>
                <c:pt idx="821">
                  <c:v>23.243459710249084</c:v>
                </c:pt>
                <c:pt idx="822">
                  <c:v>22.699983438528466</c:v>
                </c:pt>
                <c:pt idx="823">
                  <c:v>21.905988543908553</c:v>
                </c:pt>
                <c:pt idx="824">
                  <c:v>21.695676672302103</c:v>
                </c:pt>
                <c:pt idx="825">
                  <c:v>21.987278198921462</c:v>
                </c:pt>
                <c:pt idx="826">
                  <c:v>22.77933775125609</c:v>
                </c:pt>
                <c:pt idx="827">
                  <c:v>23.069574134582894</c:v>
                </c:pt>
                <c:pt idx="828">
                  <c:v>22.870741503291466</c:v>
                </c:pt>
                <c:pt idx="829">
                  <c:v>22.819385317145645</c:v>
                </c:pt>
                <c:pt idx="830">
                  <c:v>22.652112161421748</c:v>
                </c:pt>
                <c:pt idx="831">
                  <c:v>22.652762512235856</c:v>
                </c:pt>
                <c:pt idx="832">
                  <c:v>22.50846549641836</c:v>
                </c:pt>
                <c:pt idx="833">
                  <c:v>22.779576961964196</c:v>
                </c:pt>
                <c:pt idx="834">
                  <c:v>22.154358700805854</c:v>
                </c:pt>
                <c:pt idx="835">
                  <c:v>22.119410100594802</c:v>
                </c:pt>
                <c:pt idx="836">
                  <c:v>22.595134468465957</c:v>
                </c:pt>
                <c:pt idx="837">
                  <c:v>22.033403641089468</c:v>
                </c:pt>
                <c:pt idx="838">
                  <c:v>21.777709248548099</c:v>
                </c:pt>
                <c:pt idx="839">
                  <c:v>22.14706545906062</c:v>
                </c:pt>
                <c:pt idx="840">
                  <c:v>23.398320353981699</c:v>
                </c:pt>
                <c:pt idx="841">
                  <c:v>22.99644289922405</c:v>
                </c:pt>
                <c:pt idx="842">
                  <c:v>23.615817125543117</c:v>
                </c:pt>
                <c:pt idx="843">
                  <c:v>23.879435238992084</c:v>
                </c:pt>
                <c:pt idx="844">
                  <c:v>23.623683291285097</c:v>
                </c:pt>
                <c:pt idx="845">
                  <c:v>23.640990219506865</c:v>
                </c:pt>
                <c:pt idx="846">
                  <c:v>23.942878917205114</c:v>
                </c:pt>
                <c:pt idx="847">
                  <c:v>24.416748936963934</c:v>
                </c:pt>
                <c:pt idx="848">
                  <c:v>24.081181376558504</c:v>
                </c:pt>
                <c:pt idx="849">
                  <c:v>23.998686994371766</c:v>
                </c:pt>
                <c:pt idx="850">
                  <c:v>24.179139890689875</c:v>
                </c:pt>
                <c:pt idx="851">
                  <c:v>24.336862068036378</c:v>
                </c:pt>
                <c:pt idx="852">
                  <c:v>24.018027373084042</c:v>
                </c:pt>
                <c:pt idx="853">
                  <c:v>25.225664954098072</c:v>
                </c:pt>
                <c:pt idx="854">
                  <c:v>26.399171342893194</c:v>
                </c:pt>
                <c:pt idx="855">
                  <c:v>26.841067587424412</c:v>
                </c:pt>
                <c:pt idx="856">
                  <c:v>26.062816281386144</c:v>
                </c:pt>
                <c:pt idx="857">
                  <c:v>24.550182847307244</c:v>
                </c:pt>
                <c:pt idx="858">
                  <c:v>24.861231528309727</c:v>
                </c:pt>
                <c:pt idx="859">
                  <c:v>24.277145779822437</c:v>
                </c:pt>
                <c:pt idx="860">
                  <c:v>24.365641859218467</c:v>
                </c:pt>
                <c:pt idx="861">
                  <c:v>23.288508525562769</c:v>
                </c:pt>
                <c:pt idx="862">
                  <c:v>23.420859351916388</c:v>
                </c:pt>
                <c:pt idx="863">
                  <c:v>24.003841087629755</c:v>
                </c:pt>
                <c:pt idx="864">
                  <c:v>23.957657534822417</c:v>
                </c:pt>
                <c:pt idx="865">
                  <c:v>23.447074326483264</c:v>
                </c:pt>
                <c:pt idx="866">
                  <c:v>23.571746411879822</c:v>
                </c:pt>
                <c:pt idx="867">
                  <c:v>23.975486661220653</c:v>
                </c:pt>
                <c:pt idx="868">
                  <c:v>23.980118746218203</c:v>
                </c:pt>
                <c:pt idx="869">
                  <c:v>24.174841626794088</c:v>
                </c:pt>
                <c:pt idx="870">
                  <c:v>24.147340698270277</c:v>
                </c:pt>
                <c:pt idx="871">
                  <c:v>24.309971221475777</c:v>
                </c:pt>
                <c:pt idx="872">
                  <c:v>24.882576624771591</c:v>
                </c:pt>
                <c:pt idx="873">
                  <c:v>24.867892810454997</c:v>
                </c:pt>
                <c:pt idx="874">
                  <c:v>25.745476139001244</c:v>
                </c:pt>
                <c:pt idx="875">
                  <c:v>26.511862199393825</c:v>
                </c:pt>
                <c:pt idx="876">
                  <c:v>26.544105091093218</c:v>
                </c:pt>
                <c:pt idx="877">
                  <c:v>26.225719998315416</c:v>
                </c:pt>
                <c:pt idx="878">
                  <c:v>25.68625244846822</c:v>
                </c:pt>
                <c:pt idx="879">
                  <c:v>25.161983113123892</c:v>
                </c:pt>
                <c:pt idx="880">
                  <c:v>24.637737747674187</c:v>
                </c:pt>
                <c:pt idx="881">
                  <c:v>24.322755064514556</c:v>
                </c:pt>
                <c:pt idx="882">
                  <c:v>23.380547362982636</c:v>
                </c:pt>
                <c:pt idx="883">
                  <c:v>23.754147234341524</c:v>
                </c:pt>
                <c:pt idx="884">
                  <c:v>23.143023528640814</c:v>
                </c:pt>
                <c:pt idx="885">
                  <c:v>23.047828973621506</c:v>
                </c:pt>
                <c:pt idx="886">
                  <c:v>23.047623272990343</c:v>
                </c:pt>
                <c:pt idx="887">
                  <c:v>22.20270052427384</c:v>
                </c:pt>
                <c:pt idx="888">
                  <c:v>22.576430306326074</c:v>
                </c:pt>
                <c:pt idx="889">
                  <c:v>23.044955307742914</c:v>
                </c:pt>
                <c:pt idx="890">
                  <c:v>23.137770713123206</c:v>
                </c:pt>
                <c:pt idx="891">
                  <c:v>23.898622228512913</c:v>
                </c:pt>
                <c:pt idx="892">
                  <c:v>23.835542593553832</c:v>
                </c:pt>
                <c:pt idx="893">
                  <c:v>21.117457242216844</c:v>
                </c:pt>
                <c:pt idx="894">
                  <c:v>21.045845184434842</c:v>
                </c:pt>
                <c:pt idx="895">
                  <c:v>20.938192127222571</c:v>
                </c:pt>
                <c:pt idx="896">
                  <c:v>21.310593194637413</c:v>
                </c:pt>
                <c:pt idx="897">
                  <c:v>22.622366933203629</c:v>
                </c:pt>
                <c:pt idx="898">
                  <c:v>23.318061549553263</c:v>
                </c:pt>
                <c:pt idx="899">
                  <c:v>23.004912948378838</c:v>
                </c:pt>
                <c:pt idx="900">
                  <c:v>22.977824902565132</c:v>
                </c:pt>
                <c:pt idx="901">
                  <c:v>23.109104906002944</c:v>
                </c:pt>
                <c:pt idx="902">
                  <c:v>24.232478522743992</c:v>
                </c:pt>
                <c:pt idx="903">
                  <c:v>23.860627692374944</c:v>
                </c:pt>
                <c:pt idx="904">
                  <c:v>23.655131792576825</c:v>
                </c:pt>
                <c:pt idx="905">
                  <c:v>23.605336022864236</c:v>
                </c:pt>
                <c:pt idx="906">
                  <c:v>23.139218422503824</c:v>
                </c:pt>
                <c:pt idx="907">
                  <c:v>23.236150663061533</c:v>
                </c:pt>
                <c:pt idx="908">
                  <c:v>22.937128902996683</c:v>
                </c:pt>
                <c:pt idx="909">
                  <c:v>22.499908017812565</c:v>
                </c:pt>
                <c:pt idx="910">
                  <c:v>22.421427728622941</c:v>
                </c:pt>
                <c:pt idx="911">
                  <c:v>22.04974534578038</c:v>
                </c:pt>
                <c:pt idx="912">
                  <c:v>23.726158608054714</c:v>
                </c:pt>
                <c:pt idx="913">
                  <c:v>23.771515707889058</c:v>
                </c:pt>
                <c:pt idx="914">
                  <c:v>23.656441516595891</c:v>
                </c:pt>
                <c:pt idx="915">
                  <c:v>23.68551543920557</c:v>
                </c:pt>
                <c:pt idx="916">
                  <c:v>24.005921370298058</c:v>
                </c:pt>
                <c:pt idx="917">
                  <c:v>23.548652087115091</c:v>
                </c:pt>
                <c:pt idx="918">
                  <c:v>23.509485101039697</c:v>
                </c:pt>
                <c:pt idx="919">
                  <c:v>24.030281239872544</c:v>
                </c:pt>
                <c:pt idx="920">
                  <c:v>23.806049306357963</c:v>
                </c:pt>
                <c:pt idx="921">
                  <c:v>24.015885122876526</c:v>
                </c:pt>
                <c:pt idx="922">
                  <c:v>23.984511271064935</c:v>
                </c:pt>
                <c:pt idx="923">
                  <c:v>23.69114524295415</c:v>
                </c:pt>
                <c:pt idx="924">
                  <c:v>23.516436305192716</c:v>
                </c:pt>
                <c:pt idx="925">
                  <c:v>22.59863898102769</c:v>
                </c:pt>
                <c:pt idx="926">
                  <c:v>22.917261054591656</c:v>
                </c:pt>
                <c:pt idx="927">
                  <c:v>22.588471265159875</c:v>
                </c:pt>
                <c:pt idx="928">
                  <c:v>21.791070487535514</c:v>
                </c:pt>
                <c:pt idx="929">
                  <c:v>21.227029825358006</c:v>
                </c:pt>
                <c:pt idx="930">
                  <c:v>21.038388745166891</c:v>
                </c:pt>
                <c:pt idx="931">
                  <c:v>20.709988727972195</c:v>
                </c:pt>
                <c:pt idx="932">
                  <c:v>20.475002461494562</c:v>
                </c:pt>
                <c:pt idx="933">
                  <c:v>20.615053226005255</c:v>
                </c:pt>
                <c:pt idx="934">
                  <c:v>20.989560758861696</c:v>
                </c:pt>
                <c:pt idx="935">
                  <c:v>21.504089262351073</c:v>
                </c:pt>
                <c:pt idx="936">
                  <c:v>20.70648114042379</c:v>
                </c:pt>
                <c:pt idx="937">
                  <c:v>20.7940077565782</c:v>
                </c:pt>
                <c:pt idx="938">
                  <c:v>20.104851109735396</c:v>
                </c:pt>
                <c:pt idx="939">
                  <c:v>19.759861983013181</c:v>
                </c:pt>
                <c:pt idx="940">
                  <c:v>19.227692233996134</c:v>
                </c:pt>
                <c:pt idx="941">
                  <c:v>18.840068540094414</c:v>
                </c:pt>
                <c:pt idx="942">
                  <c:v>19.563853652634567</c:v>
                </c:pt>
                <c:pt idx="943">
                  <c:v>18.740999785524604</c:v>
                </c:pt>
                <c:pt idx="944">
                  <c:v>18.304554341883829</c:v>
                </c:pt>
                <c:pt idx="945">
                  <c:v>18.761233266663361</c:v>
                </c:pt>
                <c:pt idx="946">
                  <c:v>17.928217323803285</c:v>
                </c:pt>
                <c:pt idx="947">
                  <c:v>17.801678418635159</c:v>
                </c:pt>
                <c:pt idx="948">
                  <c:v>18.841223180785406</c:v>
                </c:pt>
                <c:pt idx="949">
                  <c:v>20.585670995028249</c:v>
                </c:pt>
                <c:pt idx="950">
                  <c:v>20.570921567315391</c:v>
                </c:pt>
                <c:pt idx="951">
                  <c:v>20.36208781026814</c:v>
                </c:pt>
                <c:pt idx="952">
                  <c:v>21.025249750223878</c:v>
                </c:pt>
                <c:pt idx="953">
                  <c:v>20.802423682349076</c:v>
                </c:pt>
                <c:pt idx="954">
                  <c:v>20.426724561617412</c:v>
                </c:pt>
                <c:pt idx="955">
                  <c:v>21.370459330848352</c:v>
                </c:pt>
                <c:pt idx="956">
                  <c:v>22.229505151882488</c:v>
                </c:pt>
                <c:pt idx="957">
                  <c:v>22.183338514028851</c:v>
                </c:pt>
                <c:pt idx="958">
                  <c:v>25.572781760767864</c:v>
                </c:pt>
                <c:pt idx="959">
                  <c:v>26.064065930146882</c:v>
                </c:pt>
                <c:pt idx="960">
                  <c:v>25.760606609175504</c:v>
                </c:pt>
                <c:pt idx="961">
                  <c:v>26.435601094810785</c:v>
                </c:pt>
                <c:pt idx="962">
                  <c:v>26.476334619876653</c:v>
                </c:pt>
                <c:pt idx="963">
                  <c:v>26.994841320958333</c:v>
                </c:pt>
                <c:pt idx="964">
                  <c:v>27.014168471580735</c:v>
                </c:pt>
                <c:pt idx="965">
                  <c:v>26.954627213339375</c:v>
                </c:pt>
                <c:pt idx="966">
                  <c:v>26.920930153100606</c:v>
                </c:pt>
                <c:pt idx="967">
                  <c:v>26.262796958582047</c:v>
                </c:pt>
                <c:pt idx="968">
                  <c:v>25.731514398605441</c:v>
                </c:pt>
                <c:pt idx="969">
                  <c:v>25.244767293935105</c:v>
                </c:pt>
                <c:pt idx="970">
                  <c:v>26.087228257466915</c:v>
                </c:pt>
                <c:pt idx="971">
                  <c:v>25.422587187382756</c:v>
                </c:pt>
                <c:pt idx="972">
                  <c:v>25.258371160566234</c:v>
                </c:pt>
                <c:pt idx="973">
                  <c:v>24.646186779193201</c:v>
                </c:pt>
                <c:pt idx="974">
                  <c:v>24.267137861604869</c:v>
                </c:pt>
                <c:pt idx="975">
                  <c:v>24.06029693124789</c:v>
                </c:pt>
                <c:pt idx="976">
                  <c:v>23.861319676705936</c:v>
                </c:pt>
                <c:pt idx="977">
                  <c:v>23.860856081630878</c:v>
                </c:pt>
                <c:pt idx="978">
                  <c:v>22.848510801936431</c:v>
                </c:pt>
                <c:pt idx="979">
                  <c:v>22.68479908969595</c:v>
                </c:pt>
                <c:pt idx="980">
                  <c:v>22.852073065468204</c:v>
                </c:pt>
                <c:pt idx="981">
                  <c:v>22.97518591597305</c:v>
                </c:pt>
                <c:pt idx="982">
                  <c:v>22.974912699547268</c:v>
                </c:pt>
                <c:pt idx="983">
                  <c:v>22.815363692564631</c:v>
                </c:pt>
                <c:pt idx="984">
                  <c:v>22.867810500569437</c:v>
                </c:pt>
                <c:pt idx="985">
                  <c:v>22.229225599624584</c:v>
                </c:pt>
                <c:pt idx="986">
                  <c:v>21.660792912511106</c:v>
                </c:pt>
                <c:pt idx="987">
                  <c:v>21.319610182285693</c:v>
                </c:pt>
                <c:pt idx="988">
                  <c:v>21.749608149292637</c:v>
                </c:pt>
                <c:pt idx="989">
                  <c:v>21.425628388064666</c:v>
                </c:pt>
                <c:pt idx="990">
                  <c:v>20.940429070792909</c:v>
                </c:pt>
                <c:pt idx="991">
                  <c:v>21.423870387940688</c:v>
                </c:pt>
                <c:pt idx="992">
                  <c:v>21.638096071824592</c:v>
                </c:pt>
                <c:pt idx="993">
                  <c:v>21.42231233640797</c:v>
                </c:pt>
                <c:pt idx="994">
                  <c:v>21.153782807401758</c:v>
                </c:pt>
                <c:pt idx="995">
                  <c:v>20.813086750594429</c:v>
                </c:pt>
                <c:pt idx="996">
                  <c:v>20.638109160836787</c:v>
                </c:pt>
                <c:pt idx="997">
                  <c:v>20.47439068673339</c:v>
                </c:pt>
                <c:pt idx="998">
                  <c:v>19.602784385734818</c:v>
                </c:pt>
                <c:pt idx="999">
                  <c:v>19.001973981420477</c:v>
                </c:pt>
                <c:pt idx="1000">
                  <c:v>19.490719019359748</c:v>
                </c:pt>
                <c:pt idx="1001">
                  <c:v>18.999622958608906</c:v>
                </c:pt>
                <c:pt idx="1002">
                  <c:v>18.726370502712253</c:v>
                </c:pt>
                <c:pt idx="1003">
                  <c:v>18.616907793646444</c:v>
                </c:pt>
                <c:pt idx="1004">
                  <c:v>18.671104926021606</c:v>
                </c:pt>
                <c:pt idx="1005">
                  <c:v>18.181070848073478</c:v>
                </c:pt>
                <c:pt idx="1006">
                  <c:v>18.180021325109308</c:v>
                </c:pt>
                <c:pt idx="1007">
                  <c:v>18.792302023545407</c:v>
                </c:pt>
                <c:pt idx="1008">
                  <c:v>18.367024138846322</c:v>
                </c:pt>
                <c:pt idx="1009">
                  <c:v>18.268603950982893</c:v>
                </c:pt>
                <c:pt idx="1010">
                  <c:v>18.324880612386714</c:v>
                </c:pt>
                <c:pt idx="1011">
                  <c:v>18.272926626695551</c:v>
                </c:pt>
                <c:pt idx="1012">
                  <c:v>18.125851752591796</c:v>
                </c:pt>
                <c:pt idx="1013">
                  <c:v>18.370475737441808</c:v>
                </c:pt>
                <c:pt idx="1014">
                  <c:v>20.623373287074127</c:v>
                </c:pt>
                <c:pt idx="1015">
                  <c:v>20.400102733231105</c:v>
                </c:pt>
                <c:pt idx="1016">
                  <c:v>21.444815156597365</c:v>
                </c:pt>
                <c:pt idx="1017">
                  <c:v>19.314094803682963</c:v>
                </c:pt>
                <c:pt idx="1018">
                  <c:v>19.501690612201163</c:v>
                </c:pt>
                <c:pt idx="1019">
                  <c:v>17.143512686367899</c:v>
                </c:pt>
                <c:pt idx="1020">
                  <c:v>16.611056239521442</c:v>
                </c:pt>
                <c:pt idx="1021">
                  <c:v>13.123935719624468</c:v>
                </c:pt>
                <c:pt idx="1022">
                  <c:v>11.432460052284718</c:v>
                </c:pt>
                <c:pt idx="1023">
                  <c:v>13.337531879767456</c:v>
                </c:pt>
                <c:pt idx="1024">
                  <c:v>13.502693564742273</c:v>
                </c:pt>
                <c:pt idx="1025">
                  <c:v>14.029085430008124</c:v>
                </c:pt>
                <c:pt idx="1026">
                  <c:v>13.850921304385817</c:v>
                </c:pt>
                <c:pt idx="1027">
                  <c:v>13.791495150935154</c:v>
                </c:pt>
                <c:pt idx="1028">
                  <c:v>13.78487233962743</c:v>
                </c:pt>
                <c:pt idx="1029">
                  <c:v>13.553294323786488</c:v>
                </c:pt>
                <c:pt idx="1030">
                  <c:v>13.499521473247672</c:v>
                </c:pt>
                <c:pt idx="1031">
                  <c:v>12.971671830170626</c:v>
                </c:pt>
                <c:pt idx="1032">
                  <c:v>12.990264676125074</c:v>
                </c:pt>
                <c:pt idx="1033">
                  <c:v>13.115714880733387</c:v>
                </c:pt>
                <c:pt idx="1034">
                  <c:v>13.383687395183404</c:v>
                </c:pt>
                <c:pt idx="1035">
                  <c:v>13.536354815316715</c:v>
                </c:pt>
                <c:pt idx="1036">
                  <c:v>13.869610492390915</c:v>
                </c:pt>
                <c:pt idx="1037">
                  <c:v>13.833211086609865</c:v>
                </c:pt>
                <c:pt idx="1038">
                  <c:v>14.06706455748712</c:v>
                </c:pt>
                <c:pt idx="1039">
                  <c:v>13.829082375990223</c:v>
                </c:pt>
                <c:pt idx="1040">
                  <c:v>13.821517513347827</c:v>
                </c:pt>
                <c:pt idx="1041">
                  <c:v>14.349596140675034</c:v>
                </c:pt>
                <c:pt idx="1042">
                  <c:v>14.593272451915583</c:v>
                </c:pt>
                <c:pt idx="1043">
                  <c:v>14.704323356888199</c:v>
                </c:pt>
                <c:pt idx="1044">
                  <c:v>14.704817700703687</c:v>
                </c:pt>
                <c:pt idx="1045">
                  <c:v>14.995992047027812</c:v>
                </c:pt>
                <c:pt idx="1046">
                  <c:v>15.070351248232662</c:v>
                </c:pt>
                <c:pt idx="1047">
                  <c:v>14.995194878160605</c:v>
                </c:pt>
                <c:pt idx="1048">
                  <c:v>14.702594032273034</c:v>
                </c:pt>
                <c:pt idx="1049">
                  <c:v>14.518606964584642</c:v>
                </c:pt>
                <c:pt idx="1050">
                  <c:v>14.327644039580823</c:v>
                </c:pt>
                <c:pt idx="1051">
                  <c:v>14.125667021663734</c:v>
                </c:pt>
                <c:pt idx="1052">
                  <c:v>14.239779233229484</c:v>
                </c:pt>
                <c:pt idx="1053">
                  <c:v>14.919422923446687</c:v>
                </c:pt>
                <c:pt idx="1054">
                  <c:v>15.04542206682544</c:v>
                </c:pt>
                <c:pt idx="1055">
                  <c:v>15.243926982047755</c:v>
                </c:pt>
                <c:pt idx="1056">
                  <c:v>15.240806502967361</c:v>
                </c:pt>
                <c:pt idx="1057">
                  <c:v>15.12130968770116</c:v>
                </c:pt>
                <c:pt idx="1058">
                  <c:v>14.505524106677074</c:v>
                </c:pt>
                <c:pt idx="1059">
                  <c:v>14.418624779758288</c:v>
                </c:pt>
                <c:pt idx="1060">
                  <c:v>14.636451529551652</c:v>
                </c:pt>
                <c:pt idx="1061">
                  <c:v>15.206465118703667</c:v>
                </c:pt>
                <c:pt idx="1062">
                  <c:v>16.152295503310423</c:v>
                </c:pt>
                <c:pt idx="1063">
                  <c:v>16.760111506468675</c:v>
                </c:pt>
                <c:pt idx="1064">
                  <c:v>16.581902997091522</c:v>
                </c:pt>
                <c:pt idx="1065">
                  <c:v>16.254390404995391</c:v>
                </c:pt>
                <c:pt idx="1066">
                  <c:v>15.825175690705592</c:v>
                </c:pt>
                <c:pt idx="1067">
                  <c:v>15.793649364360606</c:v>
                </c:pt>
                <c:pt idx="1068">
                  <c:v>16.375131250833775</c:v>
                </c:pt>
                <c:pt idx="1069">
                  <c:v>16.220766185054174</c:v>
                </c:pt>
                <c:pt idx="1070">
                  <c:v>16.896377804038522</c:v>
                </c:pt>
                <c:pt idx="1071">
                  <c:v>16.76317379200221</c:v>
                </c:pt>
                <c:pt idx="1072">
                  <c:v>16.812829989898898</c:v>
                </c:pt>
                <c:pt idx="1073">
                  <c:v>16.777612281885247</c:v>
                </c:pt>
                <c:pt idx="1074">
                  <c:v>16.387776477445961</c:v>
                </c:pt>
                <c:pt idx="1075">
                  <c:v>16.293256536722705</c:v>
                </c:pt>
                <c:pt idx="1076">
                  <c:v>15.806687167445947</c:v>
                </c:pt>
                <c:pt idx="1077">
                  <c:v>15.734709048956649</c:v>
                </c:pt>
                <c:pt idx="1078">
                  <c:v>15.919920416557343</c:v>
                </c:pt>
                <c:pt idx="1079">
                  <c:v>15.919507562729549</c:v>
                </c:pt>
                <c:pt idx="1080">
                  <c:v>15.734037877997034</c:v>
                </c:pt>
                <c:pt idx="1081">
                  <c:v>14.744461444284692</c:v>
                </c:pt>
                <c:pt idx="1082">
                  <c:v>14.893696240546474</c:v>
                </c:pt>
                <c:pt idx="1083">
                  <c:v>14.67685148167396</c:v>
                </c:pt>
                <c:pt idx="1084">
                  <c:v>14.707280760303499</c:v>
                </c:pt>
                <c:pt idx="1085">
                  <c:v>14.645417071548723</c:v>
                </c:pt>
                <c:pt idx="1086">
                  <c:v>14.274513365625467</c:v>
                </c:pt>
                <c:pt idx="1087">
                  <c:v>14.36640869130362</c:v>
                </c:pt>
                <c:pt idx="1088">
                  <c:v>15.880082470151381</c:v>
                </c:pt>
                <c:pt idx="1089">
                  <c:v>16.154457622477501</c:v>
                </c:pt>
                <c:pt idx="1090">
                  <c:v>15.733325166080975</c:v>
                </c:pt>
                <c:pt idx="1091">
                  <c:v>15.911946623043137</c:v>
                </c:pt>
                <c:pt idx="1092">
                  <c:v>16.383400047945802</c:v>
                </c:pt>
                <c:pt idx="1093">
                  <c:v>16.632671288951819</c:v>
                </c:pt>
                <c:pt idx="1094">
                  <c:v>16.262383520482594</c:v>
                </c:pt>
                <c:pt idx="1095">
                  <c:v>16.286249601510111</c:v>
                </c:pt>
                <c:pt idx="1096">
                  <c:v>16.521341428819039</c:v>
                </c:pt>
                <c:pt idx="1097">
                  <c:v>16.343746480753961</c:v>
                </c:pt>
                <c:pt idx="1098">
                  <c:v>16.19267670303168</c:v>
                </c:pt>
                <c:pt idx="1099">
                  <c:v>16.166654408077555</c:v>
                </c:pt>
                <c:pt idx="1100">
                  <c:v>15.670146275758588</c:v>
                </c:pt>
                <c:pt idx="1101">
                  <c:v>15.697255329631775</c:v>
                </c:pt>
                <c:pt idx="1102">
                  <c:v>15.361948239626853</c:v>
                </c:pt>
                <c:pt idx="1103">
                  <c:v>14.747111430470895</c:v>
                </c:pt>
                <c:pt idx="1104">
                  <c:v>14.363723654820008</c:v>
                </c:pt>
                <c:pt idx="1105">
                  <c:v>13.5527000940625</c:v>
                </c:pt>
                <c:pt idx="1106">
                  <c:v>14.039155902450419</c:v>
                </c:pt>
                <c:pt idx="1107">
                  <c:v>13.69352499650129</c:v>
                </c:pt>
                <c:pt idx="1108">
                  <c:v>13.635371033246136</c:v>
                </c:pt>
                <c:pt idx="1109">
                  <c:v>13.363032969261029</c:v>
                </c:pt>
                <c:pt idx="1110">
                  <c:v>12.719039507538671</c:v>
                </c:pt>
                <c:pt idx="1111">
                  <c:v>12.717692228853693</c:v>
                </c:pt>
                <c:pt idx="1112">
                  <c:v>12.470266908749389</c:v>
                </c:pt>
                <c:pt idx="1113">
                  <c:v>12.420248339620976</c:v>
                </c:pt>
                <c:pt idx="1114">
                  <c:v>12.395397960054611</c:v>
                </c:pt>
                <c:pt idx="1115">
                  <c:v>12.048965382531676</c:v>
                </c:pt>
                <c:pt idx="1116">
                  <c:v>12.097706689199425</c:v>
                </c:pt>
                <c:pt idx="1117">
                  <c:v>12.344994850474647</c:v>
                </c:pt>
                <c:pt idx="1118">
                  <c:v>12.765010330723602</c:v>
                </c:pt>
                <c:pt idx="1119">
                  <c:v>12.41100590363444</c:v>
                </c:pt>
                <c:pt idx="1120">
                  <c:v>12.361931751481814</c:v>
                </c:pt>
                <c:pt idx="1121">
                  <c:v>12.321631297188635</c:v>
                </c:pt>
                <c:pt idx="1122">
                  <c:v>12.411956662331333</c:v>
                </c:pt>
                <c:pt idx="1123">
                  <c:v>12.56346464655271</c:v>
                </c:pt>
                <c:pt idx="1124">
                  <c:v>12.546272645542446</c:v>
                </c:pt>
                <c:pt idx="1125">
                  <c:v>12.368126380863053</c:v>
                </c:pt>
                <c:pt idx="1126">
                  <c:v>12.36866844876913</c:v>
                </c:pt>
                <c:pt idx="1127">
                  <c:v>12.455994120573628</c:v>
                </c:pt>
                <c:pt idx="1128">
                  <c:v>12.25504948059733</c:v>
                </c:pt>
                <c:pt idx="1129">
                  <c:v>11.720711250441093</c:v>
                </c:pt>
                <c:pt idx="1130">
                  <c:v>11.372505698564717</c:v>
                </c:pt>
                <c:pt idx="1131">
                  <c:v>11.024717094733607</c:v>
                </c:pt>
                <c:pt idx="1132">
                  <c:v>11.023976938923719</c:v>
                </c:pt>
                <c:pt idx="1133">
                  <c:v>11.504439885960407</c:v>
                </c:pt>
                <c:pt idx="1134">
                  <c:v>11.432027796916376</c:v>
                </c:pt>
                <c:pt idx="1135">
                  <c:v>11.075363887913603</c:v>
                </c:pt>
                <c:pt idx="1136">
                  <c:v>11.317331742952907</c:v>
                </c:pt>
                <c:pt idx="1137">
                  <c:v>10.722963916252377</c:v>
                </c:pt>
                <c:pt idx="1138">
                  <c:v>10.606063716338102</c:v>
                </c:pt>
                <c:pt idx="1139">
                  <c:v>10.157070806609399</c:v>
                </c:pt>
                <c:pt idx="1140">
                  <c:v>10.08395082348283</c:v>
                </c:pt>
                <c:pt idx="1141">
                  <c:v>10.30039233031718</c:v>
                </c:pt>
                <c:pt idx="1142">
                  <c:v>10.516502796999797</c:v>
                </c:pt>
                <c:pt idx="1143">
                  <c:v>10.467885507392493</c:v>
                </c:pt>
                <c:pt idx="1144">
                  <c:v>10.461232055631697</c:v>
                </c:pt>
                <c:pt idx="1145">
                  <c:v>10.40212292204054</c:v>
                </c:pt>
                <c:pt idx="1146">
                  <c:v>10.304923532068688</c:v>
                </c:pt>
                <c:pt idx="1147">
                  <c:v>10.075733014186641</c:v>
                </c:pt>
                <c:pt idx="1148">
                  <c:v>9.4743870396476009</c:v>
                </c:pt>
                <c:pt idx="1149">
                  <c:v>9.4965097336000071</c:v>
                </c:pt>
                <c:pt idx="1150">
                  <c:v>9.573244982095364</c:v>
                </c:pt>
                <c:pt idx="1151">
                  <c:v>9.6754616275083762</c:v>
                </c:pt>
                <c:pt idx="1152">
                  <c:v>9.5472521843368305</c:v>
                </c:pt>
                <c:pt idx="1153">
                  <c:v>9.70055051335369</c:v>
                </c:pt>
                <c:pt idx="1154">
                  <c:v>10.253206882506408</c:v>
                </c:pt>
                <c:pt idx="1155">
                  <c:v>10.122796816121213</c:v>
                </c:pt>
                <c:pt idx="1156">
                  <c:v>9.8113009649196901</c:v>
                </c:pt>
                <c:pt idx="1157">
                  <c:v>9.9407037638631568</c:v>
                </c:pt>
                <c:pt idx="1158">
                  <c:v>10.622896217589474</c:v>
                </c:pt>
                <c:pt idx="1159">
                  <c:v>10.749258202241231</c:v>
                </c:pt>
                <c:pt idx="1160">
                  <c:v>10.469216988420193</c:v>
                </c:pt>
                <c:pt idx="1161">
                  <c:v>10.949298856958105</c:v>
                </c:pt>
                <c:pt idx="1162">
                  <c:v>10.447577952198326</c:v>
                </c:pt>
                <c:pt idx="1163">
                  <c:v>10.813066895802667</c:v>
                </c:pt>
                <c:pt idx="1164">
                  <c:v>10.903599465557159</c:v>
                </c:pt>
                <c:pt idx="1165">
                  <c:v>10.839717698846481</c:v>
                </c:pt>
                <c:pt idx="1166">
                  <c:v>10.984204447328425</c:v>
                </c:pt>
                <c:pt idx="1167">
                  <c:v>11.993845124786022</c:v>
                </c:pt>
                <c:pt idx="1168">
                  <c:v>12.186093145611224</c:v>
                </c:pt>
                <c:pt idx="1169">
                  <c:v>12.005615797253297</c:v>
                </c:pt>
                <c:pt idx="1170">
                  <c:v>11.994696737876618</c:v>
                </c:pt>
                <c:pt idx="1171">
                  <c:v>11.735152146645724</c:v>
                </c:pt>
                <c:pt idx="1172">
                  <c:v>11.605638770548985</c:v>
                </c:pt>
                <c:pt idx="1173">
                  <c:v>11.637595216196793</c:v>
                </c:pt>
                <c:pt idx="1174">
                  <c:v>11.798709233677446</c:v>
                </c:pt>
                <c:pt idx="1175">
                  <c:v>12.032456905151731</c:v>
                </c:pt>
                <c:pt idx="1176">
                  <c:v>12.166677632177882</c:v>
                </c:pt>
                <c:pt idx="1177">
                  <c:v>12.102452353734197</c:v>
                </c:pt>
                <c:pt idx="1178">
                  <c:v>12.131651834874887</c:v>
                </c:pt>
                <c:pt idx="1179">
                  <c:v>12.101907168048795</c:v>
                </c:pt>
                <c:pt idx="1180">
                  <c:v>12.057109194086728</c:v>
                </c:pt>
                <c:pt idx="1181">
                  <c:v>12.048411139471741</c:v>
                </c:pt>
                <c:pt idx="1182">
                  <c:v>12.300187373962135</c:v>
                </c:pt>
                <c:pt idx="1183">
                  <c:v>12.542077337311534</c:v>
                </c:pt>
                <c:pt idx="1184">
                  <c:v>12.541608314773214</c:v>
                </c:pt>
                <c:pt idx="1185">
                  <c:v>12.574919263127597</c:v>
                </c:pt>
                <c:pt idx="1186">
                  <c:v>12.602827665666483</c:v>
                </c:pt>
                <c:pt idx="1187">
                  <c:v>12.635424716503463</c:v>
                </c:pt>
                <c:pt idx="1188">
                  <c:v>12.666522869344567</c:v>
                </c:pt>
                <c:pt idx="1189">
                  <c:v>12.568323548359174</c:v>
                </c:pt>
                <c:pt idx="1190">
                  <c:v>12.293768655044804</c:v>
                </c:pt>
                <c:pt idx="1191">
                  <c:v>12.260331765347647</c:v>
                </c:pt>
                <c:pt idx="1192">
                  <c:v>12.293128603850381</c:v>
                </c:pt>
                <c:pt idx="1193">
                  <c:v>12.260187334670995</c:v>
                </c:pt>
                <c:pt idx="1194">
                  <c:v>11.799948583456604</c:v>
                </c:pt>
                <c:pt idx="1195">
                  <c:v>11.174464116205048</c:v>
                </c:pt>
                <c:pt idx="1196">
                  <c:v>11.140297518953977</c:v>
                </c:pt>
                <c:pt idx="1197">
                  <c:v>10.6207297541835</c:v>
                </c:pt>
                <c:pt idx="1198">
                  <c:v>10.302171874904511</c:v>
                </c:pt>
                <c:pt idx="1199">
                  <c:v>10.820931612105593</c:v>
                </c:pt>
                <c:pt idx="1200">
                  <c:v>10.76201992035317</c:v>
                </c:pt>
                <c:pt idx="1201">
                  <c:v>10.877303548234989</c:v>
                </c:pt>
                <c:pt idx="1202">
                  <c:v>10.617377662279647</c:v>
                </c:pt>
                <c:pt idx="1203">
                  <c:v>10.5059495098964</c:v>
                </c:pt>
                <c:pt idx="1204">
                  <c:v>10.129635818846312</c:v>
                </c:pt>
                <c:pt idx="1205">
                  <c:v>9.9556822895558561</c:v>
                </c:pt>
                <c:pt idx="1206">
                  <c:v>11.196162441587569</c:v>
                </c:pt>
                <c:pt idx="1207">
                  <c:v>11.019956640126612</c:v>
                </c:pt>
                <c:pt idx="1208">
                  <c:v>11.625339121883588</c:v>
                </c:pt>
                <c:pt idx="1209">
                  <c:v>11.575962282029462</c:v>
                </c:pt>
                <c:pt idx="1210">
                  <c:v>11.464358319067639</c:v>
                </c:pt>
                <c:pt idx="1211">
                  <c:v>11.392127658418406</c:v>
                </c:pt>
                <c:pt idx="1212">
                  <c:v>11.295648879347524</c:v>
                </c:pt>
                <c:pt idx="1213">
                  <c:v>11.242447363058751</c:v>
                </c:pt>
                <c:pt idx="1214">
                  <c:v>11.239051909261777</c:v>
                </c:pt>
                <c:pt idx="1215">
                  <c:v>11.265364756858041</c:v>
                </c:pt>
                <c:pt idx="1216">
                  <c:v>11.143947617112024</c:v>
                </c:pt>
                <c:pt idx="1217">
                  <c:v>11.0472084510369</c:v>
                </c:pt>
                <c:pt idx="1218">
                  <c:v>11.139820594830065</c:v>
                </c:pt>
                <c:pt idx="1219">
                  <c:v>11.255091968404228</c:v>
                </c:pt>
                <c:pt idx="1220">
                  <c:v>11.284839255634903</c:v>
                </c:pt>
                <c:pt idx="1221">
                  <c:v>11.277269735550359</c:v>
                </c:pt>
                <c:pt idx="1222">
                  <c:v>10.915726741848644</c:v>
                </c:pt>
                <c:pt idx="1223">
                  <c:v>10.678589590858218</c:v>
                </c:pt>
                <c:pt idx="1224">
                  <c:v>10.857238828325515</c:v>
                </c:pt>
                <c:pt idx="1225">
                  <c:v>11.701537493412241</c:v>
                </c:pt>
                <c:pt idx="1226">
                  <c:v>12.251219762067498</c:v>
                </c:pt>
                <c:pt idx="1227">
                  <c:v>11.738245994184519</c:v>
                </c:pt>
                <c:pt idx="1228">
                  <c:v>11.708401467149061</c:v>
                </c:pt>
                <c:pt idx="1229">
                  <c:v>12.230086031469455</c:v>
                </c:pt>
                <c:pt idx="1230">
                  <c:v>12.111725384150441</c:v>
                </c:pt>
                <c:pt idx="1231">
                  <c:v>12.288115090649281</c:v>
                </c:pt>
                <c:pt idx="1232">
                  <c:v>12.203632208372133</c:v>
                </c:pt>
                <c:pt idx="1233">
                  <c:v>12.141110361347391</c:v>
                </c:pt>
                <c:pt idx="1234">
                  <c:v>12.212198750369465</c:v>
                </c:pt>
                <c:pt idx="1235">
                  <c:v>12.283585924781722</c:v>
                </c:pt>
                <c:pt idx="1236">
                  <c:v>12.170349626559673</c:v>
                </c:pt>
                <c:pt idx="1237">
                  <c:v>11.925675100122655</c:v>
                </c:pt>
                <c:pt idx="1238">
                  <c:v>11.659457209974667</c:v>
                </c:pt>
                <c:pt idx="1239">
                  <c:v>11.901829553104593</c:v>
                </c:pt>
                <c:pt idx="1240">
                  <c:v>12.288051672099559</c:v>
                </c:pt>
                <c:pt idx="1241">
                  <c:v>12.863164282128514</c:v>
                </c:pt>
                <c:pt idx="1242">
                  <c:v>12.8682975967627</c:v>
                </c:pt>
                <c:pt idx="1243">
                  <c:v>12.644658408147821</c:v>
                </c:pt>
                <c:pt idx="1244">
                  <c:v>12.457038738341073</c:v>
                </c:pt>
                <c:pt idx="1245">
                  <c:v>12.325228760108068</c:v>
                </c:pt>
                <c:pt idx="1246">
                  <c:v>12.667103127350163</c:v>
                </c:pt>
                <c:pt idx="1247">
                  <c:v>12.229528667833499</c:v>
                </c:pt>
                <c:pt idx="1248">
                  <c:v>12.037938688209891</c:v>
                </c:pt>
                <c:pt idx="1249">
                  <c:v>12.065219746587964</c:v>
                </c:pt>
                <c:pt idx="1250">
                  <c:v>11.908864953284676</c:v>
                </c:pt>
                <c:pt idx="1251">
                  <c:v>11.689726658357779</c:v>
                </c:pt>
                <c:pt idx="1252">
                  <c:v>11.604504811742297</c:v>
                </c:pt>
                <c:pt idx="1253">
                  <c:v>11.476181510677248</c:v>
                </c:pt>
                <c:pt idx="1254">
                  <c:v>11.503793152257217</c:v>
                </c:pt>
                <c:pt idx="1255">
                  <c:v>11.652266319393815</c:v>
                </c:pt>
                <c:pt idx="1256">
                  <c:v>11.516627569060949</c:v>
                </c:pt>
                <c:pt idx="1257">
                  <c:v>11.588023081512778</c:v>
                </c:pt>
                <c:pt idx="1258">
                  <c:v>11.457808834135843</c:v>
                </c:pt>
                <c:pt idx="1259">
                  <c:v>11.435113082637166</c:v>
                </c:pt>
                <c:pt idx="1260">
                  <c:v>11.261454004331197</c:v>
                </c:pt>
                <c:pt idx="1261">
                  <c:v>11.565555062184552</c:v>
                </c:pt>
                <c:pt idx="1262">
                  <c:v>10.935034988586727</c:v>
                </c:pt>
                <c:pt idx="1263">
                  <c:v>10.437580848834456</c:v>
                </c:pt>
                <c:pt idx="1264">
                  <c:v>10.290775581405752</c:v>
                </c:pt>
                <c:pt idx="1265">
                  <c:v>10.031757619442322</c:v>
                </c:pt>
                <c:pt idx="1266">
                  <c:v>9.9449700991362722</c:v>
                </c:pt>
                <c:pt idx="1267">
                  <c:v>9.7723262649575702</c:v>
                </c:pt>
                <c:pt idx="1268">
                  <c:v>9.6282421620782817</c:v>
                </c:pt>
                <c:pt idx="1269">
                  <c:v>9.5991906136374574</c:v>
                </c:pt>
                <c:pt idx="1270">
                  <c:v>9.9152660586486974</c:v>
                </c:pt>
                <c:pt idx="1271">
                  <c:v>10.173209013687577</c:v>
                </c:pt>
                <c:pt idx="1272">
                  <c:v>10.316315153187388</c:v>
                </c:pt>
                <c:pt idx="1273">
                  <c:v>10.201382771962127</c:v>
                </c:pt>
                <c:pt idx="1274">
                  <c:v>10.27195262961637</c:v>
                </c:pt>
                <c:pt idx="1275">
                  <c:v>10.667930927454082</c:v>
                </c:pt>
                <c:pt idx="1276">
                  <c:v>11.156100887982312</c:v>
                </c:pt>
                <c:pt idx="1277">
                  <c:v>11.130568467967223</c:v>
                </c:pt>
                <c:pt idx="1278">
                  <c:v>10.750006092189297</c:v>
                </c:pt>
                <c:pt idx="1279">
                  <c:v>10.793043829160601</c:v>
                </c:pt>
                <c:pt idx="1280">
                  <c:v>11.008762748197299</c:v>
                </c:pt>
                <c:pt idx="1281">
                  <c:v>10.841880234085631</c:v>
                </c:pt>
                <c:pt idx="1282">
                  <c:v>10.747687093855228</c:v>
                </c:pt>
                <c:pt idx="1283">
                  <c:v>10.586680676475781</c:v>
                </c:pt>
                <c:pt idx="1284">
                  <c:v>10.817745531515085</c:v>
                </c:pt>
                <c:pt idx="1285">
                  <c:v>11.116867983580105</c:v>
                </c:pt>
                <c:pt idx="1286">
                  <c:v>10.977331599932619</c:v>
                </c:pt>
                <c:pt idx="1287">
                  <c:v>10.999809522797387</c:v>
                </c:pt>
                <c:pt idx="1288">
                  <c:v>10.911046344921221</c:v>
                </c:pt>
                <c:pt idx="1289">
                  <c:v>10.733448516143373</c:v>
                </c:pt>
                <c:pt idx="1290">
                  <c:v>10.382085451858956</c:v>
                </c:pt>
                <c:pt idx="1291">
                  <c:v>11.259594154042279</c:v>
                </c:pt>
                <c:pt idx="1292">
                  <c:v>11.163408647862353</c:v>
                </c:pt>
                <c:pt idx="1293">
                  <c:v>11.107535368296817</c:v>
                </c:pt>
                <c:pt idx="1294">
                  <c:v>11.088010930767048</c:v>
                </c:pt>
                <c:pt idx="1295">
                  <c:v>11.100134587813631</c:v>
                </c:pt>
                <c:pt idx="1296">
                  <c:v>10.950818995003438</c:v>
                </c:pt>
                <c:pt idx="1297">
                  <c:v>11.191939889372451</c:v>
                </c:pt>
                <c:pt idx="1298">
                  <c:v>10.826775351368092</c:v>
                </c:pt>
                <c:pt idx="1299">
                  <c:v>10.794967052037464</c:v>
                </c:pt>
                <c:pt idx="1300">
                  <c:v>11.11112123510858</c:v>
                </c:pt>
                <c:pt idx="1301">
                  <c:v>10.092072927178105</c:v>
                </c:pt>
                <c:pt idx="1302">
                  <c:v>10.186149220642005</c:v>
                </c:pt>
                <c:pt idx="1303">
                  <c:v>10.389726920903323</c:v>
                </c:pt>
                <c:pt idx="1304">
                  <c:v>10.873575591846077</c:v>
                </c:pt>
                <c:pt idx="1305">
                  <c:v>11.138316327304834</c:v>
                </c:pt>
                <c:pt idx="1306">
                  <c:v>11.072859147428291</c:v>
                </c:pt>
                <c:pt idx="1307">
                  <c:v>11.006759215661768</c:v>
                </c:pt>
                <c:pt idx="1308">
                  <c:v>10.981639844617897</c:v>
                </c:pt>
                <c:pt idx="1309">
                  <c:v>10.872312757292873</c:v>
                </c:pt>
                <c:pt idx="1310">
                  <c:v>11.088008207228183</c:v>
                </c:pt>
                <c:pt idx="1311">
                  <c:v>11.09598759810056</c:v>
                </c:pt>
                <c:pt idx="1312">
                  <c:v>10.700141050427987</c:v>
                </c:pt>
                <c:pt idx="1313">
                  <c:v>10.240853408160165</c:v>
                </c:pt>
                <c:pt idx="1314">
                  <c:v>10.23989874752764</c:v>
                </c:pt>
                <c:pt idx="1315">
                  <c:v>10.42113616487905</c:v>
                </c:pt>
                <c:pt idx="1316">
                  <c:v>10.11867029479566</c:v>
                </c:pt>
                <c:pt idx="1317">
                  <c:v>10.329459656892348</c:v>
                </c:pt>
                <c:pt idx="1318">
                  <c:v>11.38609181070629</c:v>
                </c:pt>
                <c:pt idx="1319">
                  <c:v>11.789341825865023</c:v>
                </c:pt>
                <c:pt idx="1320">
                  <c:v>11.650166268465536</c:v>
                </c:pt>
                <c:pt idx="1321">
                  <c:v>11.199943977053385</c:v>
                </c:pt>
                <c:pt idx="1322">
                  <c:v>11.443080775697224</c:v>
                </c:pt>
                <c:pt idx="1323">
                  <c:v>10.989339117638284</c:v>
                </c:pt>
                <c:pt idx="1324">
                  <c:v>11.642509341920452</c:v>
                </c:pt>
                <c:pt idx="1325">
                  <c:v>11.876781601462094</c:v>
                </c:pt>
                <c:pt idx="1326">
                  <c:v>12.167454239380643</c:v>
                </c:pt>
                <c:pt idx="1327">
                  <c:v>12.160386522833127</c:v>
                </c:pt>
                <c:pt idx="1328">
                  <c:v>12.681666728557902</c:v>
                </c:pt>
                <c:pt idx="1329">
                  <c:v>12.856246109687307</c:v>
                </c:pt>
                <c:pt idx="1330">
                  <c:v>13.030642990231122</c:v>
                </c:pt>
                <c:pt idx="1331">
                  <c:v>13.024116144180214</c:v>
                </c:pt>
                <c:pt idx="1332">
                  <c:v>13.135134718412186</c:v>
                </c:pt>
                <c:pt idx="1333">
                  <c:v>13.36896263808196</c:v>
                </c:pt>
                <c:pt idx="1334">
                  <c:v>12.560539514686976</c:v>
                </c:pt>
                <c:pt idx="1335">
                  <c:v>12.648288719375209</c:v>
                </c:pt>
                <c:pt idx="1336">
                  <c:v>9.5026220440936324</c:v>
                </c:pt>
                <c:pt idx="1337">
                  <c:v>8.9535528418263368</c:v>
                </c:pt>
                <c:pt idx="1338">
                  <c:v>6.6801869596486343</c:v>
                </c:pt>
                <c:pt idx="1339">
                  <c:v>7.7822047261232763</c:v>
                </c:pt>
                <c:pt idx="1340">
                  <c:v>6.3760223060842849</c:v>
                </c:pt>
                <c:pt idx="1341">
                  <c:v>6.4591969816863379</c:v>
                </c:pt>
                <c:pt idx="1342">
                  <c:v>6.4187233494697313</c:v>
                </c:pt>
                <c:pt idx="1343">
                  <c:v>6.5806089197704454</c:v>
                </c:pt>
                <c:pt idx="1344">
                  <c:v>6.5542277079191154</c:v>
                </c:pt>
                <c:pt idx="1345">
                  <c:v>6.4792856309872757</c:v>
                </c:pt>
                <c:pt idx="1346">
                  <c:v>6.231549297892907</c:v>
                </c:pt>
                <c:pt idx="1347">
                  <c:v>6.1690549836728712</c:v>
                </c:pt>
                <c:pt idx="1348">
                  <c:v>6.0804054756535804</c:v>
                </c:pt>
                <c:pt idx="1349">
                  <c:v>6.2473896788180898</c:v>
                </c:pt>
                <c:pt idx="1350">
                  <c:v>6.3131824496359519</c:v>
                </c:pt>
                <c:pt idx="1351">
                  <c:v>6.249333823726114</c:v>
                </c:pt>
                <c:pt idx="1352">
                  <c:v>6.273855239583976</c:v>
                </c:pt>
                <c:pt idx="1353">
                  <c:v>6.3675078905782838</c:v>
                </c:pt>
                <c:pt idx="1354">
                  <c:v>6.3451448579181173</c:v>
                </c:pt>
                <c:pt idx="1355">
                  <c:v>6.3308384954897425</c:v>
                </c:pt>
                <c:pt idx="1356">
                  <c:v>6.3360943584849263</c:v>
                </c:pt>
                <c:pt idx="1357">
                  <c:v>6.3997598723489935</c:v>
                </c:pt>
                <c:pt idx="1358">
                  <c:v>6.4284759335187367</c:v>
                </c:pt>
                <c:pt idx="1359">
                  <c:v>6.4577066379027093</c:v>
                </c:pt>
                <c:pt idx="1360">
                  <c:v>6.4012890876123913</c:v>
                </c:pt>
                <c:pt idx="1361">
                  <c:v>6.3780993884694919</c:v>
                </c:pt>
                <c:pt idx="1362">
                  <c:v>6.3852300024070274</c:v>
                </c:pt>
                <c:pt idx="1363">
                  <c:v>6.4393177514354516</c:v>
                </c:pt>
                <c:pt idx="1364">
                  <c:v>6.6928068820241577</c:v>
                </c:pt>
                <c:pt idx="1365">
                  <c:v>6.9468787801623151</c:v>
                </c:pt>
                <c:pt idx="1366">
                  <c:v>6.9555220732893739</c:v>
                </c:pt>
                <c:pt idx="1367">
                  <c:v>7.0501108052549322</c:v>
                </c:pt>
                <c:pt idx="1368">
                  <c:v>7.0166932129715169</c:v>
                </c:pt>
                <c:pt idx="1369">
                  <c:v>7.2808559580673764</c:v>
                </c:pt>
                <c:pt idx="1370">
                  <c:v>7.5338188004732105</c:v>
                </c:pt>
                <c:pt idx="1371">
                  <c:v>7.4902521353643978</c:v>
                </c:pt>
                <c:pt idx="1372">
                  <c:v>7.7286828318184551</c:v>
                </c:pt>
                <c:pt idx="1373">
                  <c:v>7.8679433430395012</c:v>
                </c:pt>
                <c:pt idx="1374">
                  <c:v>7.5528764776191117</c:v>
                </c:pt>
                <c:pt idx="1375">
                  <c:v>7.6154167999236595</c:v>
                </c:pt>
                <c:pt idx="1376">
                  <c:v>6.9863930587609095</c:v>
                </c:pt>
                <c:pt idx="1377">
                  <c:v>6.7159856214675751</c:v>
                </c:pt>
                <c:pt idx="1378">
                  <c:v>7.3094261754648793</c:v>
                </c:pt>
                <c:pt idx="1379">
                  <c:v>7.7281163540553113</c:v>
                </c:pt>
                <c:pt idx="1380">
                  <c:v>7.747582301212276</c:v>
                </c:pt>
                <c:pt idx="1381">
                  <c:v>7.7439339892546588</c:v>
                </c:pt>
                <c:pt idx="1382">
                  <c:v>7.5453578822610545</c:v>
                </c:pt>
                <c:pt idx="1383">
                  <c:v>7.5311885977976312</c:v>
                </c:pt>
                <c:pt idx="1384">
                  <c:v>7.0929095903200983</c:v>
                </c:pt>
                <c:pt idx="1385">
                  <c:v>7.0633329020895372</c:v>
                </c:pt>
                <c:pt idx="1386">
                  <c:v>6.6424426321902219</c:v>
                </c:pt>
                <c:pt idx="1387">
                  <c:v>7.456322418265195</c:v>
                </c:pt>
                <c:pt idx="1388">
                  <c:v>7.0130410486716332</c:v>
                </c:pt>
                <c:pt idx="1389">
                  <c:v>7.1458704080459645</c:v>
                </c:pt>
                <c:pt idx="1390">
                  <c:v>7.1656693544319738</c:v>
                </c:pt>
                <c:pt idx="1391">
                  <c:v>7.2371483015749716</c:v>
                </c:pt>
                <c:pt idx="1392">
                  <c:v>7.3455739249697602</c:v>
                </c:pt>
                <c:pt idx="1393">
                  <c:v>7.4161676723061687</c:v>
                </c:pt>
                <c:pt idx="1394">
                  <c:v>7.2420873309579727</c:v>
                </c:pt>
                <c:pt idx="1395">
                  <c:v>7.3501743805183564</c:v>
                </c:pt>
                <c:pt idx="1396">
                  <c:v>7.3481760778535916</c:v>
                </c:pt>
                <c:pt idx="1397">
                  <c:v>8.1026648751470862</c:v>
                </c:pt>
                <c:pt idx="1398">
                  <c:v>8.8926280922805727</c:v>
                </c:pt>
                <c:pt idx="1399">
                  <c:v>8.8555244024870845</c:v>
                </c:pt>
                <c:pt idx="1400">
                  <c:v>9.0318494530659876</c:v>
                </c:pt>
                <c:pt idx="1401">
                  <c:v>8.9953018037239953</c:v>
                </c:pt>
                <c:pt idx="1402">
                  <c:v>8.9984537261152457</c:v>
                </c:pt>
                <c:pt idx="1403">
                  <c:v>9.0851404274169187</c:v>
                </c:pt>
                <c:pt idx="1404">
                  <c:v>8.8726207262037011</c:v>
                </c:pt>
                <c:pt idx="1405">
                  <c:v>8.7498852809505205</c:v>
                </c:pt>
                <c:pt idx="1406">
                  <c:v>8.9142502642201453</c:v>
                </c:pt>
                <c:pt idx="1407">
                  <c:v>8.8806163906200446</c:v>
                </c:pt>
                <c:pt idx="1408">
                  <c:v>8.8773322110493496</c:v>
                </c:pt>
                <c:pt idx="1409">
                  <c:v>8.8589680070165109</c:v>
                </c:pt>
                <c:pt idx="1410">
                  <c:v>8.8470095064210152</c:v>
                </c:pt>
                <c:pt idx="1411">
                  <c:v>8.9218781509701994</c:v>
                </c:pt>
                <c:pt idx="1412">
                  <c:v>8.8761939441967179</c:v>
                </c:pt>
                <c:pt idx="1413">
                  <c:v>8.892955868024556</c:v>
                </c:pt>
                <c:pt idx="1414">
                  <c:v>8.843280764634514</c:v>
                </c:pt>
                <c:pt idx="1415">
                  <c:v>8.8364316115815917</c:v>
                </c:pt>
                <c:pt idx="1416">
                  <c:v>8.9372989240068605</c:v>
                </c:pt>
                <c:pt idx="1417">
                  <c:v>8.982994497615719</c:v>
                </c:pt>
                <c:pt idx="1418">
                  <c:v>8.9210274961158262</c:v>
                </c:pt>
                <c:pt idx="1419">
                  <c:v>8.8936372118227141</c:v>
                </c:pt>
                <c:pt idx="1420">
                  <c:v>8.8645869325934594</c:v>
                </c:pt>
                <c:pt idx="1421">
                  <c:v>8.8643721958902741</c:v>
                </c:pt>
                <c:pt idx="1422">
                  <c:v>8.9187927727983141</c:v>
                </c:pt>
                <c:pt idx="1423">
                  <c:v>8.9975295589031941</c:v>
                </c:pt>
                <c:pt idx="1424">
                  <c:v>9.1763032007212306</c:v>
                </c:pt>
                <c:pt idx="1425">
                  <c:v>8.9616101300697544</c:v>
                </c:pt>
                <c:pt idx="1426">
                  <c:v>8.9218909961873827</c:v>
                </c:pt>
                <c:pt idx="1427">
                  <c:v>8.7939550073890569</c:v>
                </c:pt>
                <c:pt idx="1428">
                  <c:v>8.7880151669878206</c:v>
                </c:pt>
                <c:pt idx="1429">
                  <c:v>8.6888404457163677</c:v>
                </c:pt>
                <c:pt idx="1430">
                  <c:v>8.6827604180457278</c:v>
                </c:pt>
                <c:pt idx="1431">
                  <c:v>8.5769785690705262</c:v>
                </c:pt>
                <c:pt idx="1432">
                  <c:v>8.2316229307527689</c:v>
                </c:pt>
                <c:pt idx="1433">
                  <c:v>7.719575056113098</c:v>
                </c:pt>
                <c:pt idx="1434">
                  <c:v>7.9041771886746206</c:v>
                </c:pt>
                <c:pt idx="1435">
                  <c:v>8.0926953159641535</c:v>
                </c:pt>
                <c:pt idx="1436">
                  <c:v>8.0135473210261274</c:v>
                </c:pt>
                <c:pt idx="1437">
                  <c:v>8.3297245357808567</c:v>
                </c:pt>
                <c:pt idx="1438">
                  <c:v>8.1340436209724487</c:v>
                </c:pt>
                <c:pt idx="1439">
                  <c:v>8.1448159471339245</c:v>
                </c:pt>
                <c:pt idx="1440">
                  <c:v>7.9312325286583398</c:v>
                </c:pt>
                <c:pt idx="1441">
                  <c:v>7.9599519136088457</c:v>
                </c:pt>
                <c:pt idx="1442">
                  <c:v>7.8589051353014439</c:v>
                </c:pt>
                <c:pt idx="1443">
                  <c:v>7.6969698923320928</c:v>
                </c:pt>
                <c:pt idx="1444">
                  <c:v>7.6427865454619148</c:v>
                </c:pt>
                <c:pt idx="1445">
                  <c:v>7.4717816590836863</c:v>
                </c:pt>
                <c:pt idx="1446">
                  <c:v>7.6720076681682414</c:v>
                </c:pt>
                <c:pt idx="1447">
                  <c:v>7.4208349104204903</c:v>
                </c:pt>
                <c:pt idx="1448">
                  <c:v>7.5296609471463665</c:v>
                </c:pt>
                <c:pt idx="1449">
                  <c:v>7.4825523904671387</c:v>
                </c:pt>
                <c:pt idx="1450">
                  <c:v>7.3027506360342445</c:v>
                </c:pt>
                <c:pt idx="1451">
                  <c:v>7.1846316151456664</c:v>
                </c:pt>
                <c:pt idx="1452">
                  <c:v>6.9864386345477829</c:v>
                </c:pt>
                <c:pt idx="1453">
                  <c:v>6.8081077362895277</c:v>
                </c:pt>
                <c:pt idx="1454">
                  <c:v>6.7757682273322501</c:v>
                </c:pt>
                <c:pt idx="1455">
                  <c:v>6.5839309791124707</c:v>
                </c:pt>
                <c:pt idx="1456">
                  <c:v>6.567540849037675</c:v>
                </c:pt>
                <c:pt idx="1457">
                  <c:v>6.439670772976263</c:v>
                </c:pt>
                <c:pt idx="1458">
                  <c:v>6.6151681223900498</c:v>
                </c:pt>
                <c:pt idx="1459">
                  <c:v>6.6786846276758389</c:v>
                </c:pt>
                <c:pt idx="1460">
                  <c:v>6.3430109859390935</c:v>
                </c:pt>
                <c:pt idx="1461">
                  <c:v>6.2129853584219035</c:v>
                </c:pt>
                <c:pt idx="1462">
                  <c:v>5.8173328641336015</c:v>
                </c:pt>
                <c:pt idx="1463">
                  <c:v>5.8651445190357903</c:v>
                </c:pt>
                <c:pt idx="1464">
                  <c:v>5.9622476251050207</c:v>
                </c:pt>
                <c:pt idx="1465">
                  <c:v>6.2212592335266939</c:v>
                </c:pt>
                <c:pt idx="1466">
                  <c:v>6.4798825955507535</c:v>
                </c:pt>
                <c:pt idx="1467">
                  <c:v>6.6441838555436599</c:v>
                </c:pt>
                <c:pt idx="1468">
                  <c:v>6.9773688887948744</c:v>
                </c:pt>
                <c:pt idx="1469">
                  <c:v>6.7975193941421042</c:v>
                </c:pt>
                <c:pt idx="1470">
                  <c:v>6.5563043113046851</c:v>
                </c:pt>
                <c:pt idx="1471">
                  <c:v>6.8917582061657718</c:v>
                </c:pt>
                <c:pt idx="1472">
                  <c:v>6.9494634448004895</c:v>
                </c:pt>
                <c:pt idx="1473">
                  <c:v>6.9538020247803569</c:v>
                </c:pt>
                <c:pt idx="1474">
                  <c:v>7.0299928064098669</c:v>
                </c:pt>
                <c:pt idx="1475">
                  <c:v>7.102250753425519</c:v>
                </c:pt>
                <c:pt idx="1476">
                  <c:v>7.2290125744946447</c:v>
                </c:pt>
                <c:pt idx="1477">
                  <c:v>7.3392158932579212</c:v>
                </c:pt>
                <c:pt idx="1478">
                  <c:v>7.1958933837034884</c:v>
                </c:pt>
                <c:pt idx="1479">
                  <c:v>7.2066848307637539</c:v>
                </c:pt>
                <c:pt idx="1480">
                  <c:v>7.0063273060282194</c:v>
                </c:pt>
                <c:pt idx="1481">
                  <c:v>7.0589001420794641</c:v>
                </c:pt>
                <c:pt idx="1482">
                  <c:v>6.988503101067101</c:v>
                </c:pt>
                <c:pt idx="1483">
                  <c:v>7.3496171319331918</c:v>
                </c:pt>
                <c:pt idx="1484">
                  <c:v>7.0422641632122307</c:v>
                </c:pt>
                <c:pt idx="1485">
                  <c:v>7.2461791444776118</c:v>
                </c:pt>
                <c:pt idx="1486">
                  <c:v>7.2152061556072624</c:v>
                </c:pt>
                <c:pt idx="1487">
                  <c:v>6.986743919684403</c:v>
                </c:pt>
                <c:pt idx="1488">
                  <c:v>6.7913869649534346</c:v>
                </c:pt>
                <c:pt idx="1489">
                  <c:v>7.1053398676704207</c:v>
                </c:pt>
                <c:pt idx="1490">
                  <c:v>6.8052210376884439</c:v>
                </c:pt>
                <c:pt idx="1491">
                  <c:v>6.7661731033694519</c:v>
                </c:pt>
                <c:pt idx="1492">
                  <c:v>6.2615181032493608</c:v>
                </c:pt>
                <c:pt idx="1493">
                  <c:v>5.978728124005543</c:v>
                </c:pt>
                <c:pt idx="1494">
                  <c:v>5.6651141553816329</c:v>
                </c:pt>
                <c:pt idx="1495">
                  <c:v>5.7427099959904462</c:v>
                </c:pt>
                <c:pt idx="1496">
                  <c:v>5.320046414719628</c:v>
                </c:pt>
                <c:pt idx="1497">
                  <c:v>4.8810647937708769</c:v>
                </c:pt>
                <c:pt idx="1498">
                  <c:v>5.5059571596456527</c:v>
                </c:pt>
                <c:pt idx="1499">
                  <c:v>5.5200463092075296</c:v>
                </c:pt>
                <c:pt idx="1500">
                  <c:v>5.4274555298958163</c:v>
                </c:pt>
                <c:pt idx="1501">
                  <c:v>5.3944953411239149</c:v>
                </c:pt>
                <c:pt idx="1502">
                  <c:v>5.4181781595529612</c:v>
                </c:pt>
                <c:pt idx="1503">
                  <c:v>5.4440057388409029</c:v>
                </c:pt>
                <c:pt idx="1504">
                  <c:v>5.4752688387575033</c:v>
                </c:pt>
                <c:pt idx="1505">
                  <c:v>5.4718588475823671</c:v>
                </c:pt>
                <c:pt idx="1506">
                  <c:v>5.34728352950534</c:v>
                </c:pt>
                <c:pt idx="1507">
                  <c:v>5.0926248131946563</c:v>
                </c:pt>
                <c:pt idx="1508">
                  <c:v>5.1924208348578507</c:v>
                </c:pt>
                <c:pt idx="1509">
                  <c:v>5.8187563023584676</c:v>
                </c:pt>
                <c:pt idx="1510">
                  <c:v>5.3226149159974403</c:v>
                </c:pt>
                <c:pt idx="1511">
                  <c:v>5.3041333407837925</c:v>
                </c:pt>
                <c:pt idx="1512">
                  <c:v>5.4261383810511852</c:v>
                </c:pt>
                <c:pt idx="1513">
                  <c:v>5.3960868243491049</c:v>
                </c:pt>
                <c:pt idx="1514">
                  <c:v>5.3787313905573946</c:v>
                </c:pt>
                <c:pt idx="1515">
                  <c:v>5.3470070989516421</c:v>
                </c:pt>
                <c:pt idx="1516">
                  <c:v>5.4050739568568478</c:v>
                </c:pt>
                <c:pt idx="1517">
                  <c:v>5.302280639547579</c:v>
                </c:pt>
                <c:pt idx="1518">
                  <c:v>5.256180530288086</c:v>
                </c:pt>
                <c:pt idx="1519">
                  <c:v>5.2005000588487889</c:v>
                </c:pt>
                <c:pt idx="1520">
                  <c:v>5.2066898001428878</c:v>
                </c:pt>
                <c:pt idx="1521">
                  <c:v>5.315879849031905</c:v>
                </c:pt>
                <c:pt idx="1522">
                  <c:v>5.2116789546819779</c:v>
                </c:pt>
                <c:pt idx="1523">
                  <c:v>5.2145230718754743</c:v>
                </c:pt>
                <c:pt idx="1524">
                  <c:v>5.3377455515981937</c:v>
                </c:pt>
                <c:pt idx="1525">
                  <c:v>5.4836662270811383</c:v>
                </c:pt>
                <c:pt idx="1526">
                  <c:v>5.4800761366671429</c:v>
                </c:pt>
                <c:pt idx="1527">
                  <c:v>5.4437635253040222</c:v>
                </c:pt>
                <c:pt idx="1528">
                  <c:v>5.3578408370402677</c:v>
                </c:pt>
                <c:pt idx="1529">
                  <c:v>5.4966088029797469</c:v>
                </c:pt>
                <c:pt idx="1530">
                  <c:v>5.330980581951656</c:v>
                </c:pt>
                <c:pt idx="1531">
                  <c:v>5.2377820829511954</c:v>
                </c:pt>
                <c:pt idx="1532">
                  <c:v>5.092463140732618</c:v>
                </c:pt>
                <c:pt idx="1533">
                  <c:v>4.9827020265688127</c:v>
                </c:pt>
                <c:pt idx="1534">
                  <c:v>4.6148954098053023</c:v>
                </c:pt>
                <c:pt idx="1535">
                  <c:v>4.2618642887116831</c:v>
                </c:pt>
                <c:pt idx="1536">
                  <c:v>4.8581123368367027</c:v>
                </c:pt>
                <c:pt idx="1537">
                  <c:v>4.7163814570554408</c:v>
                </c:pt>
                <c:pt idx="1538">
                  <c:v>4.7159148828911714</c:v>
                </c:pt>
                <c:pt idx="1539">
                  <c:v>4.7525863819296355</c:v>
                </c:pt>
                <c:pt idx="1540">
                  <c:v>4.7375641053336581</c:v>
                </c:pt>
                <c:pt idx="1541">
                  <c:v>4.7077563856382634</c:v>
                </c:pt>
                <c:pt idx="1542">
                  <c:v>4.7587447819971738</c:v>
                </c:pt>
                <c:pt idx="1543">
                  <c:v>4.7874623588620402</c:v>
                </c:pt>
                <c:pt idx="1544">
                  <c:v>4.7186175076229411</c:v>
                </c:pt>
                <c:pt idx="1545">
                  <c:v>4.7486181306156654</c:v>
                </c:pt>
                <c:pt idx="1546">
                  <c:v>4.8872578948169174</c:v>
                </c:pt>
                <c:pt idx="1547">
                  <c:v>5.0783680167416021</c:v>
                </c:pt>
                <c:pt idx="1548">
                  <c:v>5.0799853037424771</c:v>
                </c:pt>
                <c:pt idx="1549">
                  <c:v>4.9458463340214296</c:v>
                </c:pt>
                <c:pt idx="1550">
                  <c:v>5.2635760584523128</c:v>
                </c:pt>
                <c:pt idx="1551">
                  <c:v>5.0749543353985</c:v>
                </c:pt>
                <c:pt idx="1552">
                  <c:v>5.077159314973569</c:v>
                </c:pt>
                <c:pt idx="1553">
                  <c:v>4.9587772932212166</c:v>
                </c:pt>
                <c:pt idx="1554">
                  <c:v>4.9715835988271095</c:v>
                </c:pt>
                <c:pt idx="1555">
                  <c:v>4.8559273394575504</c:v>
                </c:pt>
                <c:pt idx="1556">
                  <c:v>4.8641010531383069</c:v>
                </c:pt>
                <c:pt idx="1557">
                  <c:v>4.635576613289099</c:v>
                </c:pt>
                <c:pt idx="1558">
                  <c:v>5.1140531230068271</c:v>
                </c:pt>
                <c:pt idx="1559">
                  <c:v>4.794685294984828</c:v>
                </c:pt>
                <c:pt idx="1560">
                  <c:v>4.8007487932367532</c:v>
                </c:pt>
                <c:pt idx="1561">
                  <c:v>4.7413543260501143</c:v>
                </c:pt>
                <c:pt idx="1562">
                  <c:v>4.7374558681670509</c:v>
                </c:pt>
                <c:pt idx="1563">
                  <c:v>4.717923327003902</c:v>
                </c:pt>
                <c:pt idx="1564">
                  <c:v>4.6509863909997771</c:v>
                </c:pt>
                <c:pt idx="1565">
                  <c:v>4.5953780269441991</c:v>
                </c:pt>
                <c:pt idx="1566">
                  <c:v>4.5319017893232596</c:v>
                </c:pt>
                <c:pt idx="1567">
                  <c:v>4.7487492109970644</c:v>
                </c:pt>
                <c:pt idx="1568">
                  <c:v>4.6352807964500276</c:v>
                </c:pt>
                <c:pt idx="1569">
                  <c:v>4.650721643200197</c:v>
                </c:pt>
                <c:pt idx="1570">
                  <c:v>4.7601668213631223</c:v>
                </c:pt>
                <c:pt idx="1571">
                  <c:v>4.6669434348841099</c:v>
                </c:pt>
                <c:pt idx="1572">
                  <c:v>4.6670025088422813</c:v>
                </c:pt>
                <c:pt idx="1573">
                  <c:v>4.5852542533744201</c:v>
                </c:pt>
                <c:pt idx="1574">
                  <c:v>4.5823981554938955</c:v>
                </c:pt>
                <c:pt idx="1575">
                  <c:v>4.5046383635489686</c:v>
                </c:pt>
                <c:pt idx="1576">
                  <c:v>4.5133275496440843</c:v>
                </c:pt>
                <c:pt idx="1577">
                  <c:v>4.4384604177278311</c:v>
                </c:pt>
                <c:pt idx="1578">
                  <c:v>4.5699562372218905</c:v>
                </c:pt>
                <c:pt idx="1579">
                  <c:v>4.8475275676929011</c:v>
                </c:pt>
                <c:pt idx="1580">
                  <c:v>4.9105170338645729</c:v>
                </c:pt>
                <c:pt idx="1581">
                  <c:v>5.015533215714556</c:v>
                </c:pt>
                <c:pt idx="1582">
                  <c:v>5.4753268661005752</c:v>
                </c:pt>
                <c:pt idx="1583">
                  <c:v>5.5921532026373635</c:v>
                </c:pt>
                <c:pt idx="1584">
                  <c:v>5.6352329817669622</c:v>
                </c:pt>
                <c:pt idx="1585">
                  <c:v>5.681947225045219</c:v>
                </c:pt>
                <c:pt idx="1586">
                  <c:v>5.6760369099144636</c:v>
                </c:pt>
                <c:pt idx="1587">
                  <c:v>5.714207758203111</c:v>
                </c:pt>
                <c:pt idx="1588">
                  <c:v>5.6946147189159468</c:v>
                </c:pt>
                <c:pt idx="1589">
                  <c:v>5.6074466375957703</c:v>
                </c:pt>
                <c:pt idx="1590">
                  <c:v>5.8695856116641831</c:v>
                </c:pt>
                <c:pt idx="1591">
                  <c:v>5.5863018849522206</c:v>
                </c:pt>
                <c:pt idx="1592">
                  <c:v>5.5296943048856813</c:v>
                </c:pt>
                <c:pt idx="1593">
                  <c:v>5.4658305680737973</c:v>
                </c:pt>
                <c:pt idx="1594">
                  <c:v>5.2989623383148663</c:v>
                </c:pt>
                <c:pt idx="1595">
                  <c:v>5.4944769940863507</c:v>
                </c:pt>
                <c:pt idx="1596">
                  <c:v>5.4272950724069959</c:v>
                </c:pt>
                <c:pt idx="1597">
                  <c:v>5.3721641240242866</c:v>
                </c:pt>
                <c:pt idx="1598">
                  <c:v>5.3067396430483553</c:v>
                </c:pt>
                <c:pt idx="1599">
                  <c:v>5.3126594788284738</c:v>
                </c:pt>
                <c:pt idx="1600">
                  <c:v>5.4072898322981811</c:v>
                </c:pt>
                <c:pt idx="1601">
                  <c:v>5.4533952279344948</c:v>
                </c:pt>
                <c:pt idx="1602">
                  <c:v>5.4605991516284043</c:v>
                </c:pt>
                <c:pt idx="1603">
                  <c:v>5.4774410237971987</c:v>
                </c:pt>
                <c:pt idx="1604">
                  <c:v>5.4385594090795175</c:v>
                </c:pt>
                <c:pt idx="1605">
                  <c:v>5.444079092521279</c:v>
                </c:pt>
                <c:pt idx="1606">
                  <c:v>5.4411905517262786</c:v>
                </c:pt>
                <c:pt idx="1607">
                  <c:v>5.4043302685624788</c:v>
                </c:pt>
                <c:pt idx="1608">
                  <c:v>5.5098542123249699</c:v>
                </c:pt>
                <c:pt idx="1609">
                  <c:v>5.591112283450772</c:v>
                </c:pt>
                <c:pt idx="1610">
                  <c:v>5.5787088544391645</c:v>
                </c:pt>
                <c:pt idx="1611">
                  <c:v>5.1923357917685866</c:v>
                </c:pt>
                <c:pt idx="1612">
                  <c:v>4.864499401687759</c:v>
                </c:pt>
                <c:pt idx="1613">
                  <c:v>5.3148487724995954</c:v>
                </c:pt>
                <c:pt idx="1614">
                  <c:v>5.345977992696386</c:v>
                </c:pt>
                <c:pt idx="1615">
                  <c:v>5.0882667981267886</c:v>
                </c:pt>
                <c:pt idx="1616">
                  <c:v>4.8296333424933575</c:v>
                </c:pt>
                <c:pt idx="1617">
                  <c:v>5.0921578431139318</c:v>
                </c:pt>
                <c:pt idx="1618">
                  <c:v>4.9447967962450114</c:v>
                </c:pt>
                <c:pt idx="1619">
                  <c:v>4.8331456180931367</c:v>
                </c:pt>
                <c:pt idx="1620">
                  <c:v>4.7904661302430167</c:v>
                </c:pt>
                <c:pt idx="1621">
                  <c:v>4.8742850475400736</c:v>
                </c:pt>
                <c:pt idx="1622">
                  <c:v>4.7984472056998211</c:v>
                </c:pt>
                <c:pt idx="1623">
                  <c:v>4.7778111348876493</c:v>
                </c:pt>
                <c:pt idx="1624">
                  <c:v>4.9931416479400195</c:v>
                </c:pt>
                <c:pt idx="1625">
                  <c:v>5.0886682630305256</c:v>
                </c:pt>
                <c:pt idx="1626">
                  <c:v>5.2386758831864615</c:v>
                </c:pt>
                <c:pt idx="1627">
                  <c:v>5.1711243668342224</c:v>
                </c:pt>
                <c:pt idx="1628">
                  <c:v>5.2022367250926624</c:v>
                </c:pt>
                <c:pt idx="1629">
                  <c:v>5.1955229168907566</c:v>
                </c:pt>
                <c:pt idx="1630">
                  <c:v>5.1996077424693485</c:v>
                </c:pt>
                <c:pt idx="1631">
                  <c:v>5.2056347824519209</c:v>
                </c:pt>
                <c:pt idx="1632">
                  <c:v>5.2042146839680283</c:v>
                </c:pt>
                <c:pt idx="1633">
                  <c:v>5.2226415453577308</c:v>
                </c:pt>
                <c:pt idx="1634">
                  <c:v>5.3628315527264254</c:v>
                </c:pt>
                <c:pt idx="1635">
                  <c:v>5.3708219587569355</c:v>
                </c:pt>
                <c:pt idx="1636">
                  <c:v>5.4006413874585242</c:v>
                </c:pt>
                <c:pt idx="1637">
                  <c:v>5.3482912008217989</c:v>
                </c:pt>
                <c:pt idx="1638">
                  <c:v>5.3052369487343611</c:v>
                </c:pt>
                <c:pt idx="1639">
                  <c:v>5.3319843580254025</c:v>
                </c:pt>
                <c:pt idx="1640">
                  <c:v>5.2824863608926158</c:v>
                </c:pt>
                <c:pt idx="1641">
                  <c:v>5.3369652511135328</c:v>
                </c:pt>
                <c:pt idx="1642">
                  <c:v>5.5879800709974479</c:v>
                </c:pt>
                <c:pt idx="1643">
                  <c:v>5.536835086142526</c:v>
                </c:pt>
                <c:pt idx="1644">
                  <c:v>5.3998697706235248</c:v>
                </c:pt>
                <c:pt idx="1645">
                  <c:v>5.3946869445230803</c:v>
                </c:pt>
                <c:pt idx="1646">
                  <c:v>5.5120953383326938</c:v>
                </c:pt>
                <c:pt idx="1647">
                  <c:v>5.5252801628659096</c:v>
                </c:pt>
                <c:pt idx="1648">
                  <c:v>5.3715174960279253</c:v>
                </c:pt>
                <c:pt idx="1649">
                  <c:v>5.7460447440326572</c:v>
                </c:pt>
                <c:pt idx="1650">
                  <c:v>5.4346913125896723</c:v>
                </c:pt>
                <c:pt idx="1651">
                  <c:v>5.4742748272871147</c:v>
                </c:pt>
                <c:pt idx="1652">
                  <c:v>5.4343320794764054</c:v>
                </c:pt>
                <c:pt idx="1653">
                  <c:v>5.4358084462841108</c:v>
                </c:pt>
                <c:pt idx="1654">
                  <c:v>5.3649318153125565</c:v>
                </c:pt>
                <c:pt idx="1655">
                  <c:v>5.3448191472072422</c:v>
                </c:pt>
                <c:pt idx="1656">
                  <c:v>5.4239621023093836</c:v>
                </c:pt>
                <c:pt idx="1657">
                  <c:v>5.4347394295576104</c:v>
                </c:pt>
                <c:pt idx="1658">
                  <c:v>5.5496181608675892</c:v>
                </c:pt>
                <c:pt idx="1659">
                  <c:v>5.5770256253826478</c:v>
                </c:pt>
                <c:pt idx="1660">
                  <c:v>5.5832070310410185</c:v>
                </c:pt>
                <c:pt idx="1661">
                  <c:v>5.623417292698381</c:v>
                </c:pt>
                <c:pt idx="1662">
                  <c:v>5.598185632343581</c:v>
                </c:pt>
                <c:pt idx="1663">
                  <c:v>5.6057581977813902</c:v>
                </c:pt>
                <c:pt idx="1664">
                  <c:v>5.5017077961929868</c:v>
                </c:pt>
                <c:pt idx="1665">
                  <c:v>5.3799267212629456</c:v>
                </c:pt>
                <c:pt idx="1666">
                  <c:v>5.5380837459625711</c:v>
                </c:pt>
                <c:pt idx="1667">
                  <c:v>5.3354400751196067</c:v>
                </c:pt>
                <c:pt idx="1668">
                  <c:v>5.2881245093806095</c:v>
                </c:pt>
                <c:pt idx="1669">
                  <c:v>5.3588229787593251</c:v>
                </c:pt>
                <c:pt idx="1670">
                  <c:v>5.5551019712846159</c:v>
                </c:pt>
                <c:pt idx="1671">
                  <c:v>5.5660419602081532</c:v>
                </c:pt>
                <c:pt idx="1672">
                  <c:v>5.5946833334116395</c:v>
                </c:pt>
                <c:pt idx="1673">
                  <c:v>5.5570135847093427</c:v>
                </c:pt>
                <c:pt idx="1674">
                  <c:v>5.5685974693010367</c:v>
                </c:pt>
                <c:pt idx="1675">
                  <c:v>5.5645327116470069</c:v>
                </c:pt>
                <c:pt idx="1676">
                  <c:v>5.5691284743738212</c:v>
                </c:pt>
                <c:pt idx="1677">
                  <c:v>5.5648108265030478</c:v>
                </c:pt>
                <c:pt idx="1678">
                  <c:v>5.6384134962994779</c:v>
                </c:pt>
                <c:pt idx="1679">
                  <c:v>5.6376148090168501</c:v>
                </c:pt>
                <c:pt idx="1680">
                  <c:v>5.768274005036309</c:v>
                </c:pt>
                <c:pt idx="1681">
                  <c:v>5.802434848965178</c:v>
                </c:pt>
                <c:pt idx="1682">
                  <c:v>5.9531055203753915</c:v>
                </c:pt>
                <c:pt idx="1683">
                  <c:v>6.0857869840746677</c:v>
                </c:pt>
                <c:pt idx="1684">
                  <c:v>5.9396430183516129</c:v>
                </c:pt>
                <c:pt idx="1685">
                  <c:v>5.8029754776229527</c:v>
                </c:pt>
                <c:pt idx="1686">
                  <c:v>5.5382191431724275</c:v>
                </c:pt>
                <c:pt idx="1687">
                  <c:v>5.6512669185656952</c:v>
                </c:pt>
                <c:pt idx="1688">
                  <c:v>4.6894069497332591</c:v>
                </c:pt>
                <c:pt idx="1689">
                  <c:v>5.6633003495537713</c:v>
                </c:pt>
                <c:pt idx="1690">
                  <c:v>6.3326235440066565</c:v>
                </c:pt>
                <c:pt idx="1691">
                  <c:v>6.3352141370578234</c:v>
                </c:pt>
                <c:pt idx="1692">
                  <c:v>6.1746323852873033</c:v>
                </c:pt>
                <c:pt idx="1693">
                  <c:v>6.051236138731686</c:v>
                </c:pt>
                <c:pt idx="1694">
                  <c:v>6.022221240213038</c:v>
                </c:pt>
                <c:pt idx="1695">
                  <c:v>6.0363761884546223</c:v>
                </c:pt>
                <c:pt idx="1696">
                  <c:v>5.8958812733640471</c:v>
                </c:pt>
                <c:pt idx="1697">
                  <c:v>5.8740130057969351</c:v>
                </c:pt>
                <c:pt idx="1698">
                  <c:v>5.86328405578071</c:v>
                </c:pt>
                <c:pt idx="1699">
                  <c:v>5.835712070845263</c:v>
                </c:pt>
                <c:pt idx="1700">
                  <c:v>5.8006984647439364</c:v>
                </c:pt>
                <c:pt idx="1701">
                  <c:v>5.8174018344085869</c:v>
                </c:pt>
                <c:pt idx="1702">
                  <c:v>5.7151839537944014</c:v>
                </c:pt>
                <c:pt idx="1703">
                  <c:v>5.6798250247716888</c:v>
                </c:pt>
                <c:pt idx="1704">
                  <c:v>5.6246021092730762</c:v>
                </c:pt>
                <c:pt idx="1705">
                  <c:v>5.6715163193997116</c:v>
                </c:pt>
                <c:pt idx="1706">
                  <c:v>5.7017845174847057</c:v>
                </c:pt>
                <c:pt idx="1707">
                  <c:v>5.7697959065133837</c:v>
                </c:pt>
                <c:pt idx="1708">
                  <c:v>5.7147239708315762</c:v>
                </c:pt>
                <c:pt idx="1709">
                  <c:v>5.7360313430114438</c:v>
                </c:pt>
                <c:pt idx="1710">
                  <c:v>5.7142357342020782</c:v>
                </c:pt>
                <c:pt idx="1711">
                  <c:v>5.8284478126345265</c:v>
                </c:pt>
                <c:pt idx="1712">
                  <c:v>5.562651610206129</c:v>
                </c:pt>
                <c:pt idx="1713">
                  <c:v>5.5350960176230739</c:v>
                </c:pt>
                <c:pt idx="1714">
                  <c:v>5.6183716907589272</c:v>
                </c:pt>
                <c:pt idx="1715">
                  <c:v>5.6048562439434999</c:v>
                </c:pt>
                <c:pt idx="1716">
                  <c:v>5.5578283155383073</c:v>
                </c:pt>
                <c:pt idx="1717">
                  <c:v>5.5395279908949853</c:v>
                </c:pt>
                <c:pt idx="1718">
                  <c:v>5.4917919716825931</c:v>
                </c:pt>
                <c:pt idx="1719">
                  <c:v>5.4767985280816474</c:v>
                </c:pt>
                <c:pt idx="1720">
                  <c:v>5.4077115705564909</c:v>
                </c:pt>
                <c:pt idx="1721">
                  <c:v>5.3918066411558829</c:v>
                </c:pt>
                <c:pt idx="1722">
                  <c:v>5.2052988066132402</c:v>
                </c:pt>
                <c:pt idx="1723">
                  <c:v>5.6395894588643403</c:v>
                </c:pt>
                <c:pt idx="1724">
                  <c:v>5.6744405198328209</c:v>
                </c:pt>
                <c:pt idx="1725">
                  <c:v>5.7782991570268045</c:v>
                </c:pt>
                <c:pt idx="1726">
                  <c:v>5.1102367863594464</c:v>
                </c:pt>
                <c:pt idx="1727">
                  <c:v>5.1075658771916181</c:v>
                </c:pt>
                <c:pt idx="1728">
                  <c:v>5.5909351181648654</c:v>
                </c:pt>
                <c:pt idx="1729">
                  <c:v>5.3634808529503442</c:v>
                </c:pt>
                <c:pt idx="1730">
                  <c:v>5.3506423511137333</c:v>
                </c:pt>
                <c:pt idx="1731">
                  <c:v>5.4857618260458683</c:v>
                </c:pt>
                <c:pt idx="1732">
                  <c:v>5.5388592545885587</c:v>
                </c:pt>
                <c:pt idx="1733">
                  <c:v>5.5478687530130246</c:v>
                </c:pt>
                <c:pt idx="1734">
                  <c:v>5.4441799532545021</c:v>
                </c:pt>
                <c:pt idx="1735">
                  <c:v>5.3733357556592418</c:v>
                </c:pt>
                <c:pt idx="1736">
                  <c:v>5.1749392246162325</c:v>
                </c:pt>
                <c:pt idx="1737">
                  <c:v>5.2493400052282642</c:v>
                </c:pt>
                <c:pt idx="1738">
                  <c:v>5.13785248439798</c:v>
                </c:pt>
                <c:pt idx="1739">
                  <c:v>5.0343919283295957</c:v>
                </c:pt>
                <c:pt idx="1740">
                  <c:v>5.0567473054755494</c:v>
                </c:pt>
                <c:pt idx="1741">
                  <c:v>5.2239633252772801</c:v>
                </c:pt>
                <c:pt idx="1742">
                  <c:v>5.2211828726977254</c:v>
                </c:pt>
                <c:pt idx="1743">
                  <c:v>5.1842289265649413</c:v>
                </c:pt>
                <c:pt idx="1744">
                  <c:v>5.1915718402945545</c:v>
                </c:pt>
                <c:pt idx="1745">
                  <c:v>5.1692771075913386</c:v>
                </c:pt>
                <c:pt idx="1746">
                  <c:v>5.1594905816822907</c:v>
                </c:pt>
                <c:pt idx="1747">
                  <c:v>5.1479749153203276</c:v>
                </c:pt>
                <c:pt idx="1748">
                  <c:v>5.1691319660620563</c:v>
                </c:pt>
                <c:pt idx="1749">
                  <c:v>5.1278439364075199</c:v>
                </c:pt>
                <c:pt idx="1750">
                  <c:v>5.156833626452463</c:v>
                </c:pt>
                <c:pt idx="1751">
                  <c:v>5.0102743118743263</c:v>
                </c:pt>
                <c:pt idx="1752">
                  <c:v>5.1189209866258452</c:v>
                </c:pt>
                <c:pt idx="1753">
                  <c:v>4.9722177905045175</c:v>
                </c:pt>
                <c:pt idx="1754">
                  <c:v>4.9468865049114488</c:v>
                </c:pt>
                <c:pt idx="1755">
                  <c:v>4.879804057186405</c:v>
                </c:pt>
                <c:pt idx="1756">
                  <c:v>4.8771436254053269</c:v>
                </c:pt>
                <c:pt idx="1757">
                  <c:v>4.706405051842963</c:v>
                </c:pt>
                <c:pt idx="1758">
                  <c:v>4.7229107665418528</c:v>
                </c:pt>
                <c:pt idx="1759">
                  <c:v>4.6088505254059555</c:v>
                </c:pt>
                <c:pt idx="1760">
                  <c:v>5.4228850066034857</c:v>
                </c:pt>
                <c:pt idx="1761">
                  <c:v>4.8019562510255716</c:v>
                </c:pt>
                <c:pt idx="1762">
                  <c:v>4.2744518106277845</c:v>
                </c:pt>
                <c:pt idx="1763">
                  <c:v>4.310919679202855</c:v>
                </c:pt>
                <c:pt idx="1764">
                  <c:v>4.467766033178977</c:v>
                </c:pt>
                <c:pt idx="1765">
                  <c:v>4.6077349636932512</c:v>
                </c:pt>
                <c:pt idx="1766">
                  <c:v>4.6559291807184735</c:v>
                </c:pt>
                <c:pt idx="1767">
                  <c:v>4.654591903430398</c:v>
                </c:pt>
                <c:pt idx="1768">
                  <c:v>4.6676093874842861</c:v>
                </c:pt>
                <c:pt idx="1769">
                  <c:v>4.6672503709339885</c:v>
                </c:pt>
                <c:pt idx="1770">
                  <c:v>4.662733435936838</c:v>
                </c:pt>
                <c:pt idx="1771">
                  <c:v>4.635638336725135</c:v>
                </c:pt>
                <c:pt idx="1772">
                  <c:v>4.6864277339291585</c:v>
                </c:pt>
                <c:pt idx="1773">
                  <c:v>4.6201593942618366</c:v>
                </c:pt>
                <c:pt idx="1774">
                  <c:v>4.6170981508762363</c:v>
                </c:pt>
                <c:pt idx="1775">
                  <c:v>4.5987552105868632</c:v>
                </c:pt>
                <c:pt idx="1776">
                  <c:v>4.5946570162942812</c:v>
                </c:pt>
                <c:pt idx="1777">
                  <c:v>4.6092187640232716</c:v>
                </c:pt>
                <c:pt idx="1778">
                  <c:v>4.6292146344709559</c:v>
                </c:pt>
                <c:pt idx="1779">
                  <c:v>4.6043704846424029</c:v>
                </c:pt>
                <c:pt idx="1780">
                  <c:v>4.5974630415439259</c:v>
                </c:pt>
                <c:pt idx="1781">
                  <c:v>4.5892070114205286</c:v>
                </c:pt>
                <c:pt idx="1782">
                  <c:v>4.6075995275631376</c:v>
                </c:pt>
                <c:pt idx="1783">
                  <c:v>4.6565611878996513</c:v>
                </c:pt>
                <c:pt idx="1784">
                  <c:v>4.6205256326515274</c:v>
                </c:pt>
                <c:pt idx="1785">
                  <c:v>4.6147453564100305</c:v>
                </c:pt>
                <c:pt idx="1786">
                  <c:v>4.6407785995953779</c:v>
                </c:pt>
                <c:pt idx="1787">
                  <c:v>4.6306906774802252</c:v>
                </c:pt>
                <c:pt idx="1788">
                  <c:v>4.5770783279031173</c:v>
                </c:pt>
                <c:pt idx="1789">
                  <c:v>4.5734170955024611</c:v>
                </c:pt>
                <c:pt idx="1790">
                  <c:v>4.6554608146912999</c:v>
                </c:pt>
                <c:pt idx="1791">
                  <c:v>4.5940027869531601</c:v>
                </c:pt>
                <c:pt idx="1792">
                  <c:v>4.5821433275770067</c:v>
                </c:pt>
                <c:pt idx="1793">
                  <c:v>4.4951627831144076</c:v>
                </c:pt>
                <c:pt idx="1794">
                  <c:v>4.5005444641522763</c:v>
                </c:pt>
                <c:pt idx="1795">
                  <c:v>4.4665185387712159</c:v>
                </c:pt>
                <c:pt idx="1796">
                  <c:v>4.2029050420543621</c:v>
                </c:pt>
                <c:pt idx="1797">
                  <c:v>4.3256160123932137</c:v>
                </c:pt>
                <c:pt idx="1798">
                  <c:v>4.5213586600657862</c:v>
                </c:pt>
                <c:pt idx="1799">
                  <c:v>4.5781437298081622</c:v>
                </c:pt>
                <c:pt idx="1800">
                  <c:v>4.6668211272384585</c:v>
                </c:pt>
                <c:pt idx="1801">
                  <c:v>4.9929172056128284</c:v>
                </c:pt>
                <c:pt idx="1802">
                  <c:v>5.368054572706364</c:v>
                </c:pt>
                <c:pt idx="1803">
                  <c:v>5.1851519390185157</c:v>
                </c:pt>
                <c:pt idx="1804">
                  <c:v>5.219359042813223</c:v>
                </c:pt>
                <c:pt idx="1805">
                  <c:v>5.245372745453289</c:v>
                </c:pt>
                <c:pt idx="1806">
                  <c:v>5.2442963752590206</c:v>
                </c:pt>
                <c:pt idx="1807">
                  <c:v>5.2591547698173313</c:v>
                </c:pt>
                <c:pt idx="1808">
                  <c:v>5.2445673449774173</c:v>
                </c:pt>
                <c:pt idx="1809">
                  <c:v>4.914697792048778</c:v>
                </c:pt>
                <c:pt idx="1810">
                  <c:v>5.0000519920332538</c:v>
                </c:pt>
                <c:pt idx="1811">
                  <c:v>5.1318848923965463</c:v>
                </c:pt>
                <c:pt idx="1812">
                  <c:v>5.2028400482923143</c:v>
                </c:pt>
                <c:pt idx="1813">
                  <c:v>5.2054822413848321</c:v>
                </c:pt>
                <c:pt idx="1814">
                  <c:v>5.1751811156216894</c:v>
                </c:pt>
                <c:pt idx="1815">
                  <c:v>5.1698363480059379</c:v>
                </c:pt>
                <c:pt idx="1816">
                  <c:v>5.1152170722114905</c:v>
                </c:pt>
                <c:pt idx="1817">
                  <c:v>4.9091710891335758</c:v>
                </c:pt>
                <c:pt idx="1818">
                  <c:v>4.7666740440059767</c:v>
                </c:pt>
                <c:pt idx="1819">
                  <c:v>4.686182516650427</c:v>
                </c:pt>
                <c:pt idx="1820">
                  <c:v>4.6084330805950477</c:v>
                </c:pt>
                <c:pt idx="1821">
                  <c:v>4.4996483427436669</c:v>
                </c:pt>
                <c:pt idx="1822">
                  <c:v>4.5414671078459206</c:v>
                </c:pt>
                <c:pt idx="1823">
                  <c:v>4.4152155681620764</c:v>
                </c:pt>
                <c:pt idx="1824">
                  <c:v>4.5411012332727347</c:v>
                </c:pt>
                <c:pt idx="1825">
                  <c:v>4.3726212427893385</c:v>
                </c:pt>
                <c:pt idx="1826">
                  <c:v>4.3399034663979119</c:v>
                </c:pt>
                <c:pt idx="1827">
                  <c:v>4.1968279003166504</c:v>
                </c:pt>
                <c:pt idx="1828">
                  <c:v>4.1533853247195438</c:v>
                </c:pt>
                <c:pt idx="1829">
                  <c:v>4.1368815553817484</c:v>
                </c:pt>
                <c:pt idx="1830">
                  <c:v>4.1792070327624478</c:v>
                </c:pt>
                <c:pt idx="1831">
                  <c:v>4.0943922059236089</c:v>
                </c:pt>
                <c:pt idx="1832">
                  <c:v>4.0800940440414539</c:v>
                </c:pt>
                <c:pt idx="1833">
                  <c:v>4.1365397316496022</c:v>
                </c:pt>
                <c:pt idx="1834">
                  <c:v>4.0375846261556783</c:v>
                </c:pt>
                <c:pt idx="1835">
                  <c:v>3.9555490953032262</c:v>
                </c:pt>
                <c:pt idx="1836">
                  <c:v>3.8674404729829046</c:v>
                </c:pt>
                <c:pt idx="1837">
                  <c:v>3.7392921296156025</c:v>
                </c:pt>
                <c:pt idx="1838">
                  <c:v>3.7105818885159914</c:v>
                </c:pt>
                <c:pt idx="1839">
                  <c:v>3.8100414082274789</c:v>
                </c:pt>
                <c:pt idx="1840">
                  <c:v>3.8524655779201114</c:v>
                </c:pt>
                <c:pt idx="1841">
                  <c:v>3.7670691901078031</c:v>
                </c:pt>
                <c:pt idx="1842">
                  <c:v>3.8521850536954489</c:v>
                </c:pt>
                <c:pt idx="1843">
                  <c:v>3.7951296190592707</c:v>
                </c:pt>
                <c:pt idx="1844">
                  <c:v>3.7693632144400802</c:v>
                </c:pt>
                <c:pt idx="1845">
                  <c:v>3.8080171509032668</c:v>
                </c:pt>
                <c:pt idx="1846">
                  <c:v>4.0612442849916599</c:v>
                </c:pt>
                <c:pt idx="1847">
                  <c:v>4.0538307125596207</c:v>
                </c:pt>
                <c:pt idx="1848">
                  <c:v>3.9545852673676523</c:v>
                </c:pt>
                <c:pt idx="1849">
                  <c:v>4.0287724413054926</c:v>
                </c:pt>
                <c:pt idx="1850">
                  <c:v>3.912764367431123</c:v>
                </c:pt>
                <c:pt idx="1851">
                  <c:v>4.0704848275800174</c:v>
                </c:pt>
                <c:pt idx="1852">
                  <c:v>4.1359944446897803</c:v>
                </c:pt>
                <c:pt idx="1853">
                  <c:v>4.0843928909519516</c:v>
                </c:pt>
                <c:pt idx="1854">
                  <c:v>4.2029125502076772</c:v>
                </c:pt>
                <c:pt idx="1855">
                  <c:v>4.1652296055232298</c:v>
                </c:pt>
                <c:pt idx="1856">
                  <c:v>4.1629332024325061</c:v>
                </c:pt>
                <c:pt idx="1857">
                  <c:v>4.1269456778697737</c:v>
                </c:pt>
                <c:pt idx="1858">
                  <c:v>4.2801530292943699</c:v>
                </c:pt>
                <c:pt idx="1859">
                  <c:v>4.3179021132129716</c:v>
                </c:pt>
                <c:pt idx="1860">
                  <c:v>4.3591410236172905</c:v>
                </c:pt>
                <c:pt idx="1861">
                  <c:v>4.3496767622763537</c:v>
                </c:pt>
                <c:pt idx="1862">
                  <c:v>4.3016904577564512</c:v>
                </c:pt>
                <c:pt idx="1863">
                  <c:v>4.2566623038972438</c:v>
                </c:pt>
                <c:pt idx="1864">
                  <c:v>4.0809850555196485</c:v>
                </c:pt>
                <c:pt idx="1865">
                  <c:v>4.1507556571661626</c:v>
                </c:pt>
                <c:pt idx="1866">
                  <c:v>4.1505987419616837</c:v>
                </c:pt>
                <c:pt idx="1867">
                  <c:v>4.0849216245169258</c:v>
                </c:pt>
                <c:pt idx="1868">
                  <c:v>4.0585085742168792</c:v>
                </c:pt>
                <c:pt idx="1869">
                  <c:v>3.8614359923566193</c:v>
                </c:pt>
                <c:pt idx="1870">
                  <c:v>3.8741583735500109</c:v>
                </c:pt>
                <c:pt idx="1871">
                  <c:v>3.9397962316087312</c:v>
                </c:pt>
                <c:pt idx="1872">
                  <c:v>4.0315729420305235</c:v>
                </c:pt>
                <c:pt idx="1873">
                  <c:v>3.9605805191132459</c:v>
                </c:pt>
                <c:pt idx="1874">
                  <c:v>3.9537583819602258</c:v>
                </c:pt>
                <c:pt idx="1875">
                  <c:v>3.9233733198001297</c:v>
                </c:pt>
                <c:pt idx="1876">
                  <c:v>4.0206999777109518</c:v>
                </c:pt>
                <c:pt idx="1877">
                  <c:v>4.1868312449658198</c:v>
                </c:pt>
                <c:pt idx="1878">
                  <c:v>4.3358577144269441</c:v>
                </c:pt>
                <c:pt idx="1879">
                  <c:v>4.0815283475244462</c:v>
                </c:pt>
                <c:pt idx="1880">
                  <c:v>3.9626149524838574</c:v>
                </c:pt>
                <c:pt idx="1881">
                  <c:v>4.0619401491757561</c:v>
                </c:pt>
                <c:pt idx="1882">
                  <c:v>3.6506745610830444</c:v>
                </c:pt>
                <c:pt idx="1883">
                  <c:v>3.4722599530041962</c:v>
                </c:pt>
                <c:pt idx="1884">
                  <c:v>3.5703270198068142</c:v>
                </c:pt>
                <c:pt idx="1885">
                  <c:v>4.0341538171954374</c:v>
                </c:pt>
                <c:pt idx="1886">
                  <c:v>4.1407412494383902</c:v>
                </c:pt>
                <c:pt idx="1887">
                  <c:v>4.1512888188298014</c:v>
                </c:pt>
                <c:pt idx="1888">
                  <c:v>4.2525979252577866</c:v>
                </c:pt>
                <c:pt idx="1889">
                  <c:v>4.0373137197699833</c:v>
                </c:pt>
                <c:pt idx="1890">
                  <c:v>3.9813940149254172</c:v>
                </c:pt>
                <c:pt idx="1891">
                  <c:v>3.9221767111934378</c:v>
                </c:pt>
                <c:pt idx="1892">
                  <c:v>3.9900451560406989</c:v>
                </c:pt>
                <c:pt idx="1893">
                  <c:v>3.9898922242282322</c:v>
                </c:pt>
                <c:pt idx="1894">
                  <c:v>4.0131486989081786</c:v>
                </c:pt>
                <c:pt idx="1895">
                  <c:v>3.9660236914219085</c:v>
                </c:pt>
                <c:pt idx="1896">
                  <c:v>3.9694179010343253</c:v>
                </c:pt>
                <c:pt idx="1897">
                  <c:v>3.9750182557140574</c:v>
                </c:pt>
                <c:pt idx="1898">
                  <c:v>3.9656117487570914</c:v>
                </c:pt>
                <c:pt idx="1899">
                  <c:v>3.9696190881597087</c:v>
                </c:pt>
                <c:pt idx="1900">
                  <c:v>3.9675002474133887</c:v>
                </c:pt>
                <c:pt idx="1901">
                  <c:v>3.9666879995101274</c:v>
                </c:pt>
                <c:pt idx="1902">
                  <c:v>3.9642907847387567</c:v>
                </c:pt>
                <c:pt idx="1903">
                  <c:v>3.9647228589208638</c:v>
                </c:pt>
                <c:pt idx="1904">
                  <c:v>3.9272366358778807</c:v>
                </c:pt>
                <c:pt idx="1905">
                  <c:v>3.9797843368833212</c:v>
                </c:pt>
                <c:pt idx="1906">
                  <c:v>3.8853714327443978</c:v>
                </c:pt>
                <c:pt idx="1907">
                  <c:v>3.8769415422211604</c:v>
                </c:pt>
                <c:pt idx="1908">
                  <c:v>3.8825619220921253</c:v>
                </c:pt>
                <c:pt idx="1909">
                  <c:v>3.852262172940478</c:v>
                </c:pt>
                <c:pt idx="1910">
                  <c:v>3.7975024874016072</c:v>
                </c:pt>
                <c:pt idx="1911">
                  <c:v>3.7318032864085886</c:v>
                </c:pt>
                <c:pt idx="1912">
                  <c:v>3.7186501168071824</c:v>
                </c:pt>
                <c:pt idx="1913">
                  <c:v>3.7706382961507519</c:v>
                </c:pt>
                <c:pt idx="1914">
                  <c:v>3.6795016401403009</c:v>
                </c:pt>
                <c:pt idx="1915">
                  <c:v>3.5622970044352202</c:v>
                </c:pt>
                <c:pt idx="1916">
                  <c:v>3.5360365895373511</c:v>
                </c:pt>
                <c:pt idx="1917">
                  <c:v>3.548979183027885</c:v>
                </c:pt>
                <c:pt idx="1918">
                  <c:v>3.5749594245540059</c:v>
                </c:pt>
                <c:pt idx="1919">
                  <c:v>3.6008999536893245</c:v>
                </c:pt>
                <c:pt idx="1920">
                  <c:v>3.6268400942477808</c:v>
                </c:pt>
                <c:pt idx="1921">
                  <c:v>3.6937095569787357</c:v>
                </c:pt>
                <c:pt idx="1922">
                  <c:v>3.6977790797928369</c:v>
                </c:pt>
                <c:pt idx="1923">
                  <c:v>3.7897341483924762</c:v>
                </c:pt>
                <c:pt idx="1924">
                  <c:v>3.7097163604406234</c:v>
                </c:pt>
                <c:pt idx="1925">
                  <c:v>3.8579181475588116</c:v>
                </c:pt>
                <c:pt idx="1926">
                  <c:v>3.9126429930943707</c:v>
                </c:pt>
                <c:pt idx="1927">
                  <c:v>3.920666888789694</c:v>
                </c:pt>
                <c:pt idx="1928">
                  <c:v>4.1820270572229834</c:v>
                </c:pt>
                <c:pt idx="1929">
                  <c:v>4.2713002288481423</c:v>
                </c:pt>
                <c:pt idx="1930">
                  <c:v>4.2554671061339473</c:v>
                </c:pt>
                <c:pt idx="1931">
                  <c:v>4.1868269166042911</c:v>
                </c:pt>
                <c:pt idx="1932">
                  <c:v>4.2398493372137072</c:v>
                </c:pt>
                <c:pt idx="1933">
                  <c:v>4.5260247863439451</c:v>
                </c:pt>
                <c:pt idx="1934">
                  <c:v>4.5409576918817267</c:v>
                </c:pt>
                <c:pt idx="1935">
                  <c:v>4.5249544228317182</c:v>
                </c:pt>
                <c:pt idx="1936">
                  <c:v>4.4057537432896998</c:v>
                </c:pt>
                <c:pt idx="1937">
                  <c:v>4.27400971071825</c:v>
                </c:pt>
                <c:pt idx="1938">
                  <c:v>4.2720530137031751</c:v>
                </c:pt>
                <c:pt idx="1939">
                  <c:v>4.3676985223847202</c:v>
                </c:pt>
                <c:pt idx="1940">
                  <c:v>4.4312514114178914</c:v>
                </c:pt>
                <c:pt idx="1941">
                  <c:v>4.4470470509535671</c:v>
                </c:pt>
                <c:pt idx="1942">
                  <c:v>4.4979596030131148</c:v>
                </c:pt>
                <c:pt idx="1943">
                  <c:v>4.4801560607157862</c:v>
                </c:pt>
                <c:pt idx="1944">
                  <c:v>4.4930151251881369</c:v>
                </c:pt>
                <c:pt idx="1945">
                  <c:v>4.5093207215522657</c:v>
                </c:pt>
                <c:pt idx="1946">
                  <c:v>4.5068900420979405</c:v>
                </c:pt>
                <c:pt idx="1947">
                  <c:v>4.4975674644942742</c:v>
                </c:pt>
                <c:pt idx="1948">
                  <c:v>4.471532408286695</c:v>
                </c:pt>
                <c:pt idx="1949">
                  <c:v>4.5367322985980953</c:v>
                </c:pt>
                <c:pt idx="1950">
                  <c:v>4.3003766412269249</c:v>
                </c:pt>
                <c:pt idx="1951">
                  <c:v>4.2915946615879088</c:v>
                </c:pt>
                <c:pt idx="1952">
                  <c:v>4.3801221301678845</c:v>
                </c:pt>
                <c:pt idx="1953">
                  <c:v>4.3645937255634095</c:v>
                </c:pt>
                <c:pt idx="1954">
                  <c:v>4.3451555834618114</c:v>
                </c:pt>
                <c:pt idx="1955">
                  <c:v>4.3179121163699943</c:v>
                </c:pt>
                <c:pt idx="1956">
                  <c:v>4.3820349977762465</c:v>
                </c:pt>
                <c:pt idx="1957">
                  <c:v>4.9956321455964723</c:v>
                </c:pt>
                <c:pt idx="1958">
                  <c:v>4.9840443894065025</c:v>
                </c:pt>
                <c:pt idx="1959">
                  <c:v>5.2522148569799452</c:v>
                </c:pt>
                <c:pt idx="1960">
                  <c:v>4.8369168260689239</c:v>
                </c:pt>
                <c:pt idx="1961">
                  <c:v>4.7823192996551374</c:v>
                </c:pt>
                <c:pt idx="1962">
                  <c:v>4.5062246047199821</c:v>
                </c:pt>
                <c:pt idx="1963">
                  <c:v>4.0959991208023832</c:v>
                </c:pt>
                <c:pt idx="1964">
                  <c:v>4.2125186602347515</c:v>
                </c:pt>
                <c:pt idx="1965">
                  <c:v>4.099316092479107</c:v>
                </c:pt>
                <c:pt idx="1966">
                  <c:v>4.5593098435991459</c:v>
                </c:pt>
                <c:pt idx="1967">
                  <c:v>4.9604788414404233</c:v>
                </c:pt>
                <c:pt idx="1968">
                  <c:v>4.9533831051520449</c:v>
                </c:pt>
                <c:pt idx="1969">
                  <c:v>4.8178534660475663</c:v>
                </c:pt>
                <c:pt idx="1970">
                  <c:v>4.7213477616826633</c:v>
                </c:pt>
                <c:pt idx="1971">
                  <c:v>4.7324339202999504</c:v>
                </c:pt>
                <c:pt idx="1972">
                  <c:v>4.6519629119938672</c:v>
                </c:pt>
                <c:pt idx="1973">
                  <c:v>4.5780115521712492</c:v>
                </c:pt>
                <c:pt idx="1974">
                  <c:v>4.8504592782282447</c:v>
                </c:pt>
                <c:pt idx="1975">
                  <c:v>4.7348836967477741</c:v>
                </c:pt>
                <c:pt idx="1976">
                  <c:v>4.7399078643114221</c:v>
                </c:pt>
                <c:pt idx="1977">
                  <c:v>4.730669991092598</c:v>
                </c:pt>
                <c:pt idx="1978">
                  <c:v>4.7284517246599673</c:v>
                </c:pt>
                <c:pt idx="1979">
                  <c:v>4.7346932706183988</c:v>
                </c:pt>
                <c:pt idx="1980">
                  <c:v>4.7316956773694825</c:v>
                </c:pt>
                <c:pt idx="1981">
                  <c:v>4.7192523482262709</c:v>
                </c:pt>
                <c:pt idx="1982">
                  <c:v>4.6846120027337372</c:v>
                </c:pt>
                <c:pt idx="1983">
                  <c:v>4.7534230335613765</c:v>
                </c:pt>
                <c:pt idx="1984">
                  <c:v>4.7323883848938761</c:v>
                </c:pt>
                <c:pt idx="1985">
                  <c:v>4.7189863375897501</c:v>
                </c:pt>
                <c:pt idx="1986">
                  <c:v>4.7268961176040571</c:v>
                </c:pt>
                <c:pt idx="1987">
                  <c:v>4.7181254900307747</c:v>
                </c:pt>
                <c:pt idx="1988">
                  <c:v>4.7004986528756332</c:v>
                </c:pt>
                <c:pt idx="1989">
                  <c:v>4.6966917299619002</c:v>
                </c:pt>
                <c:pt idx="1990">
                  <c:v>4.6583258721589527</c:v>
                </c:pt>
                <c:pt idx="1991">
                  <c:v>4.6695053564562015</c:v>
                </c:pt>
                <c:pt idx="1992">
                  <c:v>4.8004589779004441</c:v>
                </c:pt>
                <c:pt idx="1993">
                  <c:v>4.9444168990066943</c:v>
                </c:pt>
                <c:pt idx="1994">
                  <c:v>4.9325221104510097</c:v>
                </c:pt>
                <c:pt idx="1995">
                  <c:v>4.8883929860636561</c:v>
                </c:pt>
                <c:pt idx="1996">
                  <c:v>4.895999140322286</c:v>
                </c:pt>
                <c:pt idx="1997">
                  <c:v>4.886257290734461</c:v>
                </c:pt>
                <c:pt idx="1998">
                  <c:v>4.8724879181345795</c:v>
                </c:pt>
                <c:pt idx="1999">
                  <c:v>4.8929668768485834</c:v>
                </c:pt>
                <c:pt idx="2000">
                  <c:v>4.8527658211910172</c:v>
                </c:pt>
                <c:pt idx="2001">
                  <c:v>4.8470775065493878</c:v>
                </c:pt>
                <c:pt idx="2002">
                  <c:v>4.8057572013298842</c:v>
                </c:pt>
                <c:pt idx="2003">
                  <c:v>4.7470182796110709</c:v>
                </c:pt>
                <c:pt idx="2004">
                  <c:v>4.7698593210425519</c:v>
                </c:pt>
                <c:pt idx="2005">
                  <c:v>4.7198295678378805</c:v>
                </c:pt>
                <c:pt idx="2006">
                  <c:v>4.8503809970440255</c:v>
                </c:pt>
                <c:pt idx="2007">
                  <c:v>5.062394696812941</c:v>
                </c:pt>
                <c:pt idx="2008">
                  <c:v>4.9554380692169442</c:v>
                </c:pt>
                <c:pt idx="2009">
                  <c:v>5.0661552814429269</c:v>
                </c:pt>
                <c:pt idx="2010">
                  <c:v>5.0605134411498032</c:v>
                </c:pt>
                <c:pt idx="2011">
                  <c:v>5.1663045129505889</c:v>
                </c:pt>
                <c:pt idx="2012">
                  <c:v>5.1440787391617926</c:v>
                </c:pt>
                <c:pt idx="2013">
                  <c:v>5.2058651022563209</c:v>
                </c:pt>
                <c:pt idx="2014">
                  <c:v>5.3797751193612315</c:v>
                </c:pt>
                <c:pt idx="2015">
                  <c:v>5.4808852218993129</c:v>
                </c:pt>
                <c:pt idx="2016">
                  <c:v>5.4806056997034318</c:v>
                </c:pt>
                <c:pt idx="2017">
                  <c:v>5.4495294348407493</c:v>
                </c:pt>
                <c:pt idx="2018">
                  <c:v>5.4879191331008625</c:v>
                </c:pt>
                <c:pt idx="2019">
                  <c:v>5.5194912518214405</c:v>
                </c:pt>
                <c:pt idx="2020">
                  <c:v>5.5403880923172935</c:v>
                </c:pt>
                <c:pt idx="2021">
                  <c:v>5.4498382068720037</c:v>
                </c:pt>
                <c:pt idx="2022">
                  <c:v>5.4199879366304469</c:v>
                </c:pt>
                <c:pt idx="2023">
                  <c:v>5.4150918916241935</c:v>
                </c:pt>
                <c:pt idx="2024">
                  <c:v>5.3820357820625828</c:v>
                </c:pt>
                <c:pt idx="2025">
                  <c:v>5.3801875927707927</c:v>
                </c:pt>
                <c:pt idx="2026">
                  <c:v>5.3014768154703917</c:v>
                </c:pt>
                <c:pt idx="2027">
                  <c:v>5.3327604258801413</c:v>
                </c:pt>
                <c:pt idx="2028">
                  <c:v>5.2015870518898817</c:v>
                </c:pt>
                <c:pt idx="2029">
                  <c:v>5.2119924624587792</c:v>
                </c:pt>
                <c:pt idx="2030">
                  <c:v>5.0646589811738103</c:v>
                </c:pt>
                <c:pt idx="2031">
                  <c:v>4.866099507485135</c:v>
                </c:pt>
                <c:pt idx="2032">
                  <c:v>4.8656804545418222</c:v>
                </c:pt>
                <c:pt idx="2033">
                  <c:v>4.7755689062843061</c:v>
                </c:pt>
                <c:pt idx="2034">
                  <c:v>4.9375648246708934</c:v>
                </c:pt>
                <c:pt idx="2035">
                  <c:v>4.8543624265126804</c:v>
                </c:pt>
                <c:pt idx="2036">
                  <c:v>4.7547666293555677</c:v>
                </c:pt>
                <c:pt idx="2037">
                  <c:v>4.7711240740011647</c:v>
                </c:pt>
                <c:pt idx="2038">
                  <c:v>4.6716790660876519</c:v>
                </c:pt>
                <c:pt idx="2039">
                  <c:v>4.6549112798784851</c:v>
                </c:pt>
                <c:pt idx="2040">
                  <c:v>4.60516487918688</c:v>
                </c:pt>
                <c:pt idx="2041">
                  <c:v>4.4559789799585507</c:v>
                </c:pt>
                <c:pt idx="2042">
                  <c:v>4.4556616337377211</c:v>
                </c:pt>
                <c:pt idx="2043">
                  <c:v>4.4059738106201971</c:v>
                </c:pt>
                <c:pt idx="2044">
                  <c:v>4.4058657164281847</c:v>
                </c:pt>
                <c:pt idx="2045">
                  <c:v>4.3727298796595875</c:v>
                </c:pt>
                <c:pt idx="2046">
                  <c:v>4.4057933658482362</c:v>
                </c:pt>
                <c:pt idx="2047">
                  <c:v>4.3725846231669037</c:v>
                </c:pt>
                <c:pt idx="2048">
                  <c:v>4.1903226782320999</c:v>
                </c:pt>
                <c:pt idx="2049">
                  <c:v>3.9746351033510918</c:v>
                </c:pt>
                <c:pt idx="2050">
                  <c:v>4.0404134440040584</c:v>
                </c:pt>
                <c:pt idx="2051">
                  <c:v>3.9905915608487184</c:v>
                </c:pt>
                <c:pt idx="2052">
                  <c:v>4.1395165546083872</c:v>
                </c:pt>
                <c:pt idx="2053">
                  <c:v>4.3709841610987548</c:v>
                </c:pt>
                <c:pt idx="2054">
                  <c:v>4.2692114842468003</c:v>
                </c:pt>
                <c:pt idx="2055">
                  <c:v>4.2512988324110736</c:v>
                </c:pt>
                <c:pt idx="2056">
                  <c:v>4.2990481189951781</c:v>
                </c:pt>
                <c:pt idx="2057">
                  <c:v>4.4405984416445055</c:v>
                </c:pt>
                <c:pt idx="2058">
                  <c:v>4.4393252031699761</c:v>
                </c:pt>
                <c:pt idx="2059">
                  <c:v>4.4658920922367651</c:v>
                </c:pt>
                <c:pt idx="2060">
                  <c:v>4.3619457528089445</c:v>
                </c:pt>
                <c:pt idx="2061">
                  <c:v>4.5199265946714382</c:v>
                </c:pt>
                <c:pt idx="2062">
                  <c:v>4.3641900596473606</c:v>
                </c:pt>
                <c:pt idx="2063">
                  <c:v>4.370508408880645</c:v>
                </c:pt>
                <c:pt idx="2064">
                  <c:v>4.3300364561452982</c:v>
                </c:pt>
                <c:pt idx="2065">
                  <c:v>4.2837058795088971</c:v>
                </c:pt>
                <c:pt idx="2066">
                  <c:v>4.2111400990553038</c:v>
                </c:pt>
                <c:pt idx="2067">
                  <c:v>4.1707433164915964</c:v>
                </c:pt>
                <c:pt idx="2068">
                  <c:v>4.115964562029383</c:v>
                </c:pt>
                <c:pt idx="2069">
                  <c:v>4.2379290033478378</c:v>
                </c:pt>
                <c:pt idx="2070">
                  <c:v>4.3248626165000523</c:v>
                </c:pt>
                <c:pt idx="2071">
                  <c:v>4.2861172589021361</c:v>
                </c:pt>
                <c:pt idx="2072">
                  <c:v>4.2757730195141104</c:v>
                </c:pt>
                <c:pt idx="2073">
                  <c:v>4.2666613418603738</c:v>
                </c:pt>
                <c:pt idx="2074">
                  <c:v>4.4012897636824242</c:v>
                </c:pt>
                <c:pt idx="2075">
                  <c:v>4.3146478887364585</c:v>
                </c:pt>
                <c:pt idx="2076">
                  <c:v>4.3281975578697036</c:v>
                </c:pt>
                <c:pt idx="2077">
                  <c:v>4.0666446791256998</c:v>
                </c:pt>
                <c:pt idx="2078">
                  <c:v>4.0526786723701038</c:v>
                </c:pt>
                <c:pt idx="2079">
                  <c:v>3.9188075641249025</c:v>
                </c:pt>
                <c:pt idx="2080">
                  <c:v>3.9224606963069539</c:v>
                </c:pt>
                <c:pt idx="2081">
                  <c:v>3.9088066432811552</c:v>
                </c:pt>
                <c:pt idx="2082">
                  <c:v>3.9074206453607907</c:v>
                </c:pt>
                <c:pt idx="2083">
                  <c:v>3.9172551690421424</c:v>
                </c:pt>
                <c:pt idx="2084">
                  <c:v>3.9230598733832736</c:v>
                </c:pt>
                <c:pt idx="2085">
                  <c:v>3.898849566153709</c:v>
                </c:pt>
                <c:pt idx="2086">
                  <c:v>3.8869009636801786</c:v>
                </c:pt>
                <c:pt idx="2087">
                  <c:v>3.6970643991088585</c:v>
                </c:pt>
                <c:pt idx="2088">
                  <c:v>3.6062100433559503</c:v>
                </c:pt>
                <c:pt idx="2089">
                  <c:v>3.8491201048890629</c:v>
                </c:pt>
                <c:pt idx="2090">
                  <c:v>3.5395752839790511</c:v>
                </c:pt>
                <c:pt idx="2091">
                  <c:v>3.528315610189698</c:v>
                </c:pt>
                <c:pt idx="2092">
                  <c:v>3.4295372968642726</c:v>
                </c:pt>
                <c:pt idx="2093">
                  <c:v>3.5632178774251972</c:v>
                </c:pt>
                <c:pt idx="2094">
                  <c:v>3.8301446106025772</c:v>
                </c:pt>
                <c:pt idx="2095">
                  <c:v>3.8525554467087013</c:v>
                </c:pt>
                <c:pt idx="2096">
                  <c:v>3.7558929345935135</c:v>
                </c:pt>
                <c:pt idx="2097">
                  <c:v>3.6715755805278478</c:v>
                </c:pt>
                <c:pt idx="2098">
                  <c:v>3.6673300558262656</c:v>
                </c:pt>
                <c:pt idx="2099">
                  <c:v>3.5354149597882976</c:v>
                </c:pt>
                <c:pt idx="2100">
                  <c:v>3.5615246609922213</c:v>
                </c:pt>
                <c:pt idx="2101">
                  <c:v>3.5614661753857892</c:v>
                </c:pt>
                <c:pt idx="2102">
                  <c:v>3.5350792062102245</c:v>
                </c:pt>
                <c:pt idx="2103">
                  <c:v>3.56128710751483</c:v>
                </c:pt>
                <c:pt idx="2104">
                  <c:v>3.5288772121309617</c:v>
                </c:pt>
                <c:pt idx="2105">
                  <c:v>3.5384084181439754</c:v>
                </c:pt>
                <c:pt idx="2106">
                  <c:v>3.5480782592155715</c:v>
                </c:pt>
                <c:pt idx="2107">
                  <c:v>3.5480908913674973</c:v>
                </c:pt>
                <c:pt idx="2108">
                  <c:v>3.5466529767681281</c:v>
                </c:pt>
                <c:pt idx="2109">
                  <c:v>3.5471616683333096</c:v>
                </c:pt>
                <c:pt idx="2110">
                  <c:v>3.5675971720059918</c:v>
                </c:pt>
                <c:pt idx="2111">
                  <c:v>3.5633165188842435</c:v>
                </c:pt>
                <c:pt idx="2112">
                  <c:v>3.553685321891769</c:v>
                </c:pt>
                <c:pt idx="2113">
                  <c:v>3.5526244946073042</c:v>
                </c:pt>
                <c:pt idx="2114">
                  <c:v>3.6289303606856897</c:v>
                </c:pt>
                <c:pt idx="2115">
                  <c:v>3.6137803169347498</c:v>
                </c:pt>
                <c:pt idx="2116">
                  <c:v>3.6363604753981615</c:v>
                </c:pt>
                <c:pt idx="2117">
                  <c:v>3.6086700240821483</c:v>
                </c:pt>
                <c:pt idx="2118">
                  <c:v>3.6216693867569991</c:v>
                </c:pt>
                <c:pt idx="2119">
                  <c:v>3.802902781631821</c:v>
                </c:pt>
                <c:pt idx="2120">
                  <c:v>3.8420705907190964</c:v>
                </c:pt>
                <c:pt idx="2121">
                  <c:v>3.7866174789208458</c:v>
                </c:pt>
                <c:pt idx="2122">
                  <c:v>3.8114466933484472</c:v>
                </c:pt>
                <c:pt idx="2123">
                  <c:v>4.0133964201097889</c:v>
                </c:pt>
                <c:pt idx="2124">
                  <c:v>4.1476111543772411</c:v>
                </c:pt>
                <c:pt idx="2125">
                  <c:v>4.3310567170274936</c:v>
                </c:pt>
                <c:pt idx="2126">
                  <c:v>3.9906070772019708</c:v>
                </c:pt>
                <c:pt idx="2127">
                  <c:v>3.9887182919996644</c:v>
                </c:pt>
                <c:pt idx="2128">
                  <c:v>3.7466028947378005</c:v>
                </c:pt>
                <c:pt idx="2129">
                  <c:v>3.7350671709473491</c:v>
                </c:pt>
                <c:pt idx="2130">
                  <c:v>3.5964090333639787</c:v>
                </c:pt>
                <c:pt idx="2131">
                  <c:v>3.6705939964128413</c:v>
                </c:pt>
                <c:pt idx="2132">
                  <c:v>3.9698424915281665</c:v>
                </c:pt>
                <c:pt idx="2133">
                  <c:v>3.8254930632127597</c:v>
                </c:pt>
                <c:pt idx="2134">
                  <c:v>3.9791048936315332</c:v>
                </c:pt>
                <c:pt idx="2135">
                  <c:v>3.9539882662122121</c:v>
                </c:pt>
                <c:pt idx="2136">
                  <c:v>3.508806378732539</c:v>
                </c:pt>
                <c:pt idx="2137">
                  <c:v>3.7467310237666873</c:v>
                </c:pt>
                <c:pt idx="2138">
                  <c:v>3.4859281197304459</c:v>
                </c:pt>
                <c:pt idx="2139">
                  <c:v>3.7653737309976543</c:v>
                </c:pt>
                <c:pt idx="2140">
                  <c:v>3.2151997668106729</c:v>
                </c:pt>
                <c:pt idx="2141">
                  <c:v>3.3822735146356777</c:v>
                </c:pt>
                <c:pt idx="2142">
                  <c:v>3.5568900454841428</c:v>
                </c:pt>
                <c:pt idx="2143">
                  <c:v>3.7397454477539425</c:v>
                </c:pt>
                <c:pt idx="2144">
                  <c:v>3.8223890056942427</c:v>
                </c:pt>
                <c:pt idx="2145">
                  <c:v>3.8380322645981186</c:v>
                </c:pt>
                <c:pt idx="2146">
                  <c:v>3.7779800564346293</c:v>
                </c:pt>
                <c:pt idx="2147">
                  <c:v>3.7619140796908179</c:v>
                </c:pt>
                <c:pt idx="2148">
                  <c:v>3.7604001766975568</c:v>
                </c:pt>
                <c:pt idx="2149">
                  <c:v>3.6457750276959517</c:v>
                </c:pt>
                <c:pt idx="2150">
                  <c:v>3.692814749026113</c:v>
                </c:pt>
                <c:pt idx="2151">
                  <c:v>3.6744342920671214</c:v>
                </c:pt>
                <c:pt idx="2152">
                  <c:v>3.6509779973142726</c:v>
                </c:pt>
                <c:pt idx="2153">
                  <c:v>3.658009881686366</c:v>
                </c:pt>
                <c:pt idx="2154">
                  <c:v>3.65292529245969</c:v>
                </c:pt>
                <c:pt idx="2155">
                  <c:v>3.6344822444618199</c:v>
                </c:pt>
                <c:pt idx="2156">
                  <c:v>3.6204917363907221</c:v>
                </c:pt>
                <c:pt idx="2157">
                  <c:v>3.6139876775301323</c:v>
                </c:pt>
                <c:pt idx="2158">
                  <c:v>3.5503877691986694</c:v>
                </c:pt>
                <c:pt idx="2159">
                  <c:v>3.5590750289108315</c:v>
                </c:pt>
                <c:pt idx="2160">
                  <c:v>3.6098581438674797</c:v>
                </c:pt>
                <c:pt idx="2161">
                  <c:v>3.658018487810037</c:v>
                </c:pt>
                <c:pt idx="2162">
                  <c:v>3.6094153942280629</c:v>
                </c:pt>
                <c:pt idx="2163">
                  <c:v>3.6097037553737676</c:v>
                </c:pt>
                <c:pt idx="2164">
                  <c:v>3.6027955086354329</c:v>
                </c:pt>
                <c:pt idx="2165">
                  <c:v>3.6173888169632162</c:v>
                </c:pt>
                <c:pt idx="2166">
                  <c:v>3.5948093113010064</c:v>
                </c:pt>
                <c:pt idx="2167">
                  <c:v>3.5992695236843675</c:v>
                </c:pt>
                <c:pt idx="2168">
                  <c:v>3.5596460804241468</c:v>
                </c:pt>
                <c:pt idx="2169">
                  <c:v>3.5425252115511943</c:v>
                </c:pt>
                <c:pt idx="2170">
                  <c:v>3.4782235966937103</c:v>
                </c:pt>
                <c:pt idx="2171">
                  <c:v>3.6373131839129438</c:v>
                </c:pt>
                <c:pt idx="2172">
                  <c:v>3.820644180617665</c:v>
                </c:pt>
                <c:pt idx="2173">
                  <c:v>3.7158173803863064</c:v>
                </c:pt>
                <c:pt idx="2174">
                  <c:v>3.705417933291224</c:v>
                </c:pt>
                <c:pt idx="2175">
                  <c:v>3.6146390740476586</c:v>
                </c:pt>
                <c:pt idx="2176">
                  <c:v>3.540889449767183</c:v>
                </c:pt>
                <c:pt idx="2177">
                  <c:v>3.8255868565434565</c:v>
                </c:pt>
                <c:pt idx="2178">
                  <c:v>3.8769454591788399</c:v>
                </c:pt>
                <c:pt idx="2179">
                  <c:v>3.64811606024525</c:v>
                </c:pt>
                <c:pt idx="2180">
                  <c:v>3.4319121503020611</c:v>
                </c:pt>
                <c:pt idx="2181">
                  <c:v>3.3395076939206598</c:v>
                </c:pt>
                <c:pt idx="2182">
                  <c:v>3.4090727308928153</c:v>
                </c:pt>
                <c:pt idx="2183">
                  <c:v>3.1634562768825609</c:v>
                </c:pt>
                <c:pt idx="2184">
                  <c:v>3.5485571919293819</c:v>
                </c:pt>
                <c:pt idx="2185">
                  <c:v>3.6380725673734671</c:v>
                </c:pt>
                <c:pt idx="2186">
                  <c:v>3.6884560942937274</c:v>
                </c:pt>
                <c:pt idx="2187">
                  <c:v>3.6888451495345973</c:v>
                </c:pt>
                <c:pt idx="2188">
                  <c:v>3.6557528353195159</c:v>
                </c:pt>
                <c:pt idx="2189">
                  <c:v>3.6819050470155203</c:v>
                </c:pt>
                <c:pt idx="2190">
                  <c:v>3.6224168713866054</c:v>
                </c:pt>
                <c:pt idx="2191">
                  <c:v>3.6495790245658659</c:v>
                </c:pt>
                <c:pt idx="2192">
                  <c:v>3.6922339039787673</c:v>
                </c:pt>
                <c:pt idx="2193">
                  <c:v>3.8166117594806419</c:v>
                </c:pt>
                <c:pt idx="2194">
                  <c:v>3.808581362703757</c:v>
                </c:pt>
                <c:pt idx="2195">
                  <c:v>3.6624530170549741</c:v>
                </c:pt>
                <c:pt idx="2196">
                  <c:v>3.5997486234755565</c:v>
                </c:pt>
                <c:pt idx="2197">
                  <c:v>3.7379318178715577</c:v>
                </c:pt>
                <c:pt idx="2198">
                  <c:v>3.9387572790162468</c:v>
                </c:pt>
                <c:pt idx="2199">
                  <c:v>3.8304267968564769</c:v>
                </c:pt>
                <c:pt idx="2200">
                  <c:v>3.8178234033670577</c:v>
                </c:pt>
                <c:pt idx="2201">
                  <c:v>3.7732303424800424</c:v>
                </c:pt>
                <c:pt idx="2202">
                  <c:v>3.7226582989953183</c:v>
                </c:pt>
                <c:pt idx="2203">
                  <c:v>3.6071328799884572</c:v>
                </c:pt>
                <c:pt idx="2204">
                  <c:v>3.7041786512698813</c:v>
                </c:pt>
                <c:pt idx="2205">
                  <c:v>3.7017590941625991</c:v>
                </c:pt>
                <c:pt idx="2206">
                  <c:v>3.8458679173699952</c:v>
                </c:pt>
                <c:pt idx="2207">
                  <c:v>3.9576561083822215</c:v>
                </c:pt>
                <c:pt idx="2208">
                  <c:v>3.977372286844588</c:v>
                </c:pt>
                <c:pt idx="2209">
                  <c:v>3.7712058066340819</c:v>
                </c:pt>
                <c:pt idx="2210">
                  <c:v>3.8506410190968365</c:v>
                </c:pt>
                <c:pt idx="2211">
                  <c:v>4.4072684126341999</c:v>
                </c:pt>
                <c:pt idx="2212">
                  <c:v>4.1997309618306549</c:v>
                </c:pt>
                <c:pt idx="2213">
                  <c:v>3.978318814854195</c:v>
                </c:pt>
                <c:pt idx="2214">
                  <c:v>3.974713779316069</c:v>
                </c:pt>
                <c:pt idx="2215">
                  <c:v>4.1149517503601158</c:v>
                </c:pt>
                <c:pt idx="2216">
                  <c:v>4.050929219854722</c:v>
                </c:pt>
                <c:pt idx="2217">
                  <c:v>4.043400847152375</c:v>
                </c:pt>
                <c:pt idx="2218">
                  <c:v>4.0126963960548876</c:v>
                </c:pt>
                <c:pt idx="2219">
                  <c:v>4.0231461561854474</c:v>
                </c:pt>
                <c:pt idx="2220">
                  <c:v>4.0211366520944418</c:v>
                </c:pt>
                <c:pt idx="2221">
                  <c:v>4.0227631557427337</c:v>
                </c:pt>
                <c:pt idx="2222">
                  <c:v>3.9001995424008009</c:v>
                </c:pt>
                <c:pt idx="2223">
                  <c:v>3.8707610237399224</c:v>
                </c:pt>
                <c:pt idx="2224">
                  <c:v>3.8837782268803891</c:v>
                </c:pt>
                <c:pt idx="2225">
                  <c:v>3.8199504781212501</c:v>
                </c:pt>
                <c:pt idx="2226">
                  <c:v>3.7838833726701404</c:v>
                </c:pt>
                <c:pt idx="2227">
                  <c:v>3.6798589043211902</c:v>
                </c:pt>
                <c:pt idx="2228">
                  <c:v>3.6945158103741873</c:v>
                </c:pt>
                <c:pt idx="2229">
                  <c:v>3.527478403614229</c:v>
                </c:pt>
                <c:pt idx="2230">
                  <c:v>3.5694402951519209</c:v>
                </c:pt>
                <c:pt idx="2231">
                  <c:v>3.4933560796933181</c:v>
                </c:pt>
                <c:pt idx="2232">
                  <c:v>3.4666245219334098</c:v>
                </c:pt>
                <c:pt idx="2233">
                  <c:v>3.3767131474238554</c:v>
                </c:pt>
                <c:pt idx="2234">
                  <c:v>3.4615054061906214</c:v>
                </c:pt>
                <c:pt idx="2235">
                  <c:v>3.4496806838464127</c:v>
                </c:pt>
                <c:pt idx="2236">
                  <c:v>3.3857843703181896</c:v>
                </c:pt>
                <c:pt idx="2237">
                  <c:v>3.5072135601002952</c:v>
                </c:pt>
                <c:pt idx="2238">
                  <c:v>3.4296021071443534</c:v>
                </c:pt>
                <c:pt idx="2239">
                  <c:v>3.3489698589267682</c:v>
                </c:pt>
                <c:pt idx="2240">
                  <c:v>3.348580234054964</c:v>
                </c:pt>
                <c:pt idx="2241">
                  <c:v>3.6033619957622145</c:v>
                </c:pt>
                <c:pt idx="2242">
                  <c:v>3.477902785011056</c:v>
                </c:pt>
                <c:pt idx="2243">
                  <c:v>3.4606243328817934</c:v>
                </c:pt>
                <c:pt idx="2244">
                  <c:v>3.4649195565050919</c:v>
                </c:pt>
                <c:pt idx="2245">
                  <c:v>3.4473031779731906</c:v>
                </c:pt>
                <c:pt idx="2246">
                  <c:v>3.4463080725354258</c:v>
                </c:pt>
                <c:pt idx="2247">
                  <c:v>3.3685130894771476</c:v>
                </c:pt>
                <c:pt idx="2248">
                  <c:v>3.3481038317003753</c:v>
                </c:pt>
                <c:pt idx="2249">
                  <c:v>3.3062261722991937</c:v>
                </c:pt>
                <c:pt idx="2250">
                  <c:v>3.4519170625990547</c:v>
                </c:pt>
                <c:pt idx="2251">
                  <c:v>3.4307546063236076</c:v>
                </c:pt>
                <c:pt idx="2252">
                  <c:v>3.4138486672328487</c:v>
                </c:pt>
                <c:pt idx="2253">
                  <c:v>3.3907787536157916</c:v>
                </c:pt>
                <c:pt idx="2254">
                  <c:v>3.4272770709606863</c:v>
                </c:pt>
                <c:pt idx="2255">
                  <c:v>3.3880918166682075</c:v>
                </c:pt>
                <c:pt idx="2256">
                  <c:v>3.3854567194379777</c:v>
                </c:pt>
                <c:pt idx="2257">
                  <c:v>3.368223533411729</c:v>
                </c:pt>
                <c:pt idx="2258">
                  <c:v>3.3654121522517313</c:v>
                </c:pt>
                <c:pt idx="2259">
                  <c:v>3.2631589581045342</c:v>
                </c:pt>
                <c:pt idx="2260">
                  <c:v>3.1094840314699566</c:v>
                </c:pt>
                <c:pt idx="2261">
                  <c:v>2.9650675881637278</c:v>
                </c:pt>
                <c:pt idx="2262">
                  <c:v>3.0897203552232062</c:v>
                </c:pt>
                <c:pt idx="2263">
                  <c:v>3.0029344163395173</c:v>
                </c:pt>
                <c:pt idx="2264">
                  <c:v>2.9450997104558696</c:v>
                </c:pt>
                <c:pt idx="2265">
                  <c:v>2.9065390345790822</c:v>
                </c:pt>
                <c:pt idx="2266">
                  <c:v>3.0121467029790727</c:v>
                </c:pt>
                <c:pt idx="2267">
                  <c:v>2.9158300864005469</c:v>
                </c:pt>
                <c:pt idx="2268">
                  <c:v>2.9068970173527418</c:v>
                </c:pt>
                <c:pt idx="2269">
                  <c:v>2.8674913396330988</c:v>
                </c:pt>
                <c:pt idx="2270">
                  <c:v>2.8289814904460635</c:v>
                </c:pt>
                <c:pt idx="2271">
                  <c:v>2.8096771405035357</c:v>
                </c:pt>
                <c:pt idx="2272">
                  <c:v>2.9057038301040969</c:v>
                </c:pt>
                <c:pt idx="2273">
                  <c:v>2.7806044064713515</c:v>
                </c:pt>
                <c:pt idx="2274">
                  <c:v>2.7787244511996083</c:v>
                </c:pt>
                <c:pt idx="2275">
                  <c:v>2.8557731428865432</c:v>
                </c:pt>
                <c:pt idx="2276">
                  <c:v>2.8738126640203951</c:v>
                </c:pt>
                <c:pt idx="2277">
                  <c:v>2.8693878009253688</c:v>
                </c:pt>
                <c:pt idx="2278">
                  <c:v>2.9552434221801724</c:v>
                </c:pt>
                <c:pt idx="2279">
                  <c:v>3.0027394681963107</c:v>
                </c:pt>
                <c:pt idx="2280">
                  <c:v>3.0182787322331852</c:v>
                </c:pt>
                <c:pt idx="2281">
                  <c:v>3.2076156685393573</c:v>
                </c:pt>
                <c:pt idx="2282">
                  <c:v>3.1326395710260693</c:v>
                </c:pt>
                <c:pt idx="2283">
                  <c:v>3.0735300845490068</c:v>
                </c:pt>
                <c:pt idx="2284">
                  <c:v>3.0659447519645764</c:v>
                </c:pt>
                <c:pt idx="2285">
                  <c:v>3.0037012876662197</c:v>
                </c:pt>
                <c:pt idx="2286">
                  <c:v>2.9931624802105188</c:v>
                </c:pt>
                <c:pt idx="2287">
                  <c:v>2.8855683921883561</c:v>
                </c:pt>
                <c:pt idx="2288">
                  <c:v>2.8660844272057378</c:v>
                </c:pt>
                <c:pt idx="2289">
                  <c:v>2.866042343393806</c:v>
                </c:pt>
                <c:pt idx="2290">
                  <c:v>2.7600613107889691</c:v>
                </c:pt>
                <c:pt idx="2291">
                  <c:v>2.7791129250094362</c:v>
                </c:pt>
                <c:pt idx="2292">
                  <c:v>2.8753865020046598</c:v>
                </c:pt>
                <c:pt idx="2293">
                  <c:v>2.7981078296242052</c:v>
                </c:pt>
                <c:pt idx="2294">
                  <c:v>2.7908669737255831</c:v>
                </c:pt>
                <c:pt idx="2295">
                  <c:v>2.8076653162752718</c:v>
                </c:pt>
                <c:pt idx="2296">
                  <c:v>2.8018941215786231</c:v>
                </c:pt>
                <c:pt idx="2297">
                  <c:v>2.8103405143278724</c:v>
                </c:pt>
                <c:pt idx="2298">
                  <c:v>2.7955482845416872</c:v>
                </c:pt>
                <c:pt idx="2299">
                  <c:v>2.7447178382064576</c:v>
                </c:pt>
                <c:pt idx="2300">
                  <c:v>2.7192081984559788</c:v>
                </c:pt>
                <c:pt idx="2301">
                  <c:v>2.6499858355937365</c:v>
                </c:pt>
                <c:pt idx="2302">
                  <c:v>2.6566117151333271</c:v>
                </c:pt>
                <c:pt idx="2303">
                  <c:v>2.8218194929860871</c:v>
                </c:pt>
                <c:pt idx="2304">
                  <c:v>2.8367220733007246</c:v>
                </c:pt>
                <c:pt idx="2305">
                  <c:v>2.9704288083305292</c:v>
                </c:pt>
                <c:pt idx="2306">
                  <c:v>3.0956700880984855</c:v>
                </c:pt>
                <c:pt idx="2307">
                  <c:v>3.0504441476969499</c:v>
                </c:pt>
                <c:pt idx="2308">
                  <c:v>3.0458015652481878</c:v>
                </c:pt>
                <c:pt idx="2309">
                  <c:v>3.0344133410193828</c:v>
                </c:pt>
                <c:pt idx="2310">
                  <c:v>3.0444274482462124</c:v>
                </c:pt>
                <c:pt idx="2311">
                  <c:v>2.8771524914821391</c:v>
                </c:pt>
                <c:pt idx="2312">
                  <c:v>2.8596511018213584</c:v>
                </c:pt>
                <c:pt idx="2313">
                  <c:v>2.9558315699026201</c:v>
                </c:pt>
                <c:pt idx="2314">
                  <c:v>2.9657231334907022</c:v>
                </c:pt>
                <c:pt idx="2315">
                  <c:v>2.9498081713156328</c:v>
                </c:pt>
                <c:pt idx="2316">
                  <c:v>3.3026760019935693</c:v>
                </c:pt>
                <c:pt idx="2317">
                  <c:v>3.295945693016284</c:v>
                </c:pt>
                <c:pt idx="2318">
                  <c:v>3.5504244521479538</c:v>
                </c:pt>
                <c:pt idx="2319">
                  <c:v>3.3268529534508833</c:v>
                </c:pt>
                <c:pt idx="2320">
                  <c:v>3.3028749938869164</c:v>
                </c:pt>
                <c:pt idx="2321">
                  <c:v>3.4159102301043278</c:v>
                </c:pt>
                <c:pt idx="2322">
                  <c:v>3.0995163935759695</c:v>
                </c:pt>
                <c:pt idx="2323">
                  <c:v>3.0806301036398862</c:v>
                </c:pt>
                <c:pt idx="2324">
                  <c:v>3.3283552888141434</c:v>
                </c:pt>
                <c:pt idx="2325">
                  <c:v>3.6754318033897015</c:v>
                </c:pt>
                <c:pt idx="2326">
                  <c:v>3.6648344114995073</c:v>
                </c:pt>
                <c:pt idx="2327">
                  <c:v>3.6415512386145674</c:v>
                </c:pt>
                <c:pt idx="2328">
                  <c:v>3.4412317489535775</c:v>
                </c:pt>
                <c:pt idx="2329">
                  <c:v>3.4411843756138318</c:v>
                </c:pt>
                <c:pt idx="2330">
                  <c:v>3.3977533466163936</c:v>
                </c:pt>
                <c:pt idx="2331">
                  <c:v>3.3970789915425077</c:v>
                </c:pt>
                <c:pt idx="2332">
                  <c:v>3.3881385471664229</c:v>
                </c:pt>
                <c:pt idx="2333">
                  <c:v>3.4023574206351133</c:v>
                </c:pt>
                <c:pt idx="2334">
                  <c:v>3.4718868771667886</c:v>
                </c:pt>
                <c:pt idx="2335">
                  <c:v>3.525140653921802</c:v>
                </c:pt>
                <c:pt idx="2336">
                  <c:v>3.5326941656157644</c:v>
                </c:pt>
                <c:pt idx="2337">
                  <c:v>3.5521716623999229</c:v>
                </c:pt>
                <c:pt idx="2338">
                  <c:v>3.5454541589819564</c:v>
                </c:pt>
                <c:pt idx="2339">
                  <c:v>3.5469909153565591</c:v>
                </c:pt>
                <c:pt idx="2340">
                  <c:v>3.5410723082399334</c:v>
                </c:pt>
                <c:pt idx="2341">
                  <c:v>3.5525269488367148</c:v>
                </c:pt>
                <c:pt idx="2342">
                  <c:v>3.5415543099995039</c:v>
                </c:pt>
                <c:pt idx="2343">
                  <c:v>3.5544801422183103</c:v>
                </c:pt>
                <c:pt idx="2344">
                  <c:v>3.542374528572017</c:v>
                </c:pt>
                <c:pt idx="2345">
                  <c:v>3.5540429777044626</c:v>
                </c:pt>
                <c:pt idx="2346">
                  <c:v>3.5526902288234647</c:v>
                </c:pt>
                <c:pt idx="2347">
                  <c:v>3.5244081846432911</c:v>
                </c:pt>
                <c:pt idx="2348">
                  <c:v>3.53292478631881</c:v>
                </c:pt>
                <c:pt idx="2349">
                  <c:v>3.5248939798279606</c:v>
                </c:pt>
                <c:pt idx="2350">
                  <c:v>3.5253864469259151</c:v>
                </c:pt>
                <c:pt idx="2351">
                  <c:v>3.5182876701763348</c:v>
                </c:pt>
                <c:pt idx="2352">
                  <c:v>3.5164756907260935</c:v>
                </c:pt>
                <c:pt idx="2353">
                  <c:v>3.4525019348428674</c:v>
                </c:pt>
                <c:pt idx="2354">
                  <c:v>3.076850990622805</c:v>
                </c:pt>
                <c:pt idx="2355">
                  <c:v>2.2678311548421424</c:v>
                </c:pt>
                <c:pt idx="2356">
                  <c:v>2.2484754344475197</c:v>
                </c:pt>
                <c:pt idx="2357">
                  <c:v>2.3904953975840413</c:v>
                </c:pt>
                <c:pt idx="2358">
                  <c:v>2.3448130552876862</c:v>
                </c:pt>
                <c:pt idx="2359">
                  <c:v>2.3204636292081249</c:v>
                </c:pt>
                <c:pt idx="2360">
                  <c:v>2.1304142576894449</c:v>
                </c:pt>
                <c:pt idx="2361">
                  <c:v>1.8816169399181528</c:v>
                </c:pt>
                <c:pt idx="2362">
                  <c:v>2.1137345196053117</c:v>
                </c:pt>
                <c:pt idx="2363">
                  <c:v>2.1415440216180497</c:v>
                </c:pt>
                <c:pt idx="2364">
                  <c:v>2.0818925372193444</c:v>
                </c:pt>
                <c:pt idx="2365">
                  <c:v>2.1054793527771367</c:v>
                </c:pt>
                <c:pt idx="2366">
                  <c:v>2.0762082287706516</c:v>
                </c:pt>
                <c:pt idx="2367">
                  <c:v>2.0620182085829235</c:v>
                </c:pt>
                <c:pt idx="2368">
                  <c:v>2.0616650174656774</c:v>
                </c:pt>
                <c:pt idx="2369">
                  <c:v>2.0603459648615394</c:v>
                </c:pt>
                <c:pt idx="2370">
                  <c:v>2.0046258329094719</c:v>
                </c:pt>
                <c:pt idx="2371">
                  <c:v>1.9691486550393726</c:v>
                </c:pt>
                <c:pt idx="2372">
                  <c:v>2.0409545795743123</c:v>
                </c:pt>
                <c:pt idx="2373">
                  <c:v>2.1020940078381298</c:v>
                </c:pt>
                <c:pt idx="2374">
                  <c:v>2.0471489698450154</c:v>
                </c:pt>
                <c:pt idx="2375">
                  <c:v>2.0741463038795636</c:v>
                </c:pt>
                <c:pt idx="2376">
                  <c:v>2.0544453543542947</c:v>
                </c:pt>
                <c:pt idx="2377">
                  <c:v>2.0513534980724581</c:v>
                </c:pt>
                <c:pt idx="2378">
                  <c:v>2.052504758681196</c:v>
                </c:pt>
                <c:pt idx="2379">
                  <c:v>2.028659841348075</c:v>
                </c:pt>
                <c:pt idx="2380">
                  <c:v>2.032292564186533</c:v>
                </c:pt>
                <c:pt idx="2381">
                  <c:v>2.0673931531227456</c:v>
                </c:pt>
                <c:pt idx="2382">
                  <c:v>2.0979973712286695</c:v>
                </c:pt>
                <c:pt idx="2383">
                  <c:v>2.1215561841405792</c:v>
                </c:pt>
                <c:pt idx="2384">
                  <c:v>2.1239927860846475</c:v>
                </c:pt>
                <c:pt idx="2385">
                  <c:v>2.1345887770140748</c:v>
                </c:pt>
                <c:pt idx="2386">
                  <c:v>2.0796612104030867</c:v>
                </c:pt>
                <c:pt idx="2387">
                  <c:v>2.019541482719502</c:v>
                </c:pt>
                <c:pt idx="2388">
                  <c:v>1.9968924633054015</c:v>
                </c:pt>
                <c:pt idx="2389">
                  <c:v>1.8365740398335071</c:v>
                </c:pt>
                <c:pt idx="2390">
                  <c:v>2.0064625184760003</c:v>
                </c:pt>
                <c:pt idx="2391">
                  <c:v>2.0115384929327047</c:v>
                </c:pt>
                <c:pt idx="2392">
                  <c:v>1.9122427333119232</c:v>
                </c:pt>
                <c:pt idx="2393">
                  <c:v>1.8922004527566023</c:v>
                </c:pt>
                <c:pt idx="2394">
                  <c:v>1.7871908532875773</c:v>
                </c:pt>
                <c:pt idx="2395">
                  <c:v>1.8910545863051416</c:v>
                </c:pt>
                <c:pt idx="2396">
                  <c:v>2.0240154879026364</c:v>
                </c:pt>
                <c:pt idx="2397">
                  <c:v>1.8741883333220575</c:v>
                </c:pt>
                <c:pt idx="2398">
                  <c:v>1.867639674007598</c:v>
                </c:pt>
                <c:pt idx="2399">
                  <c:v>1.8878130019233457</c:v>
                </c:pt>
                <c:pt idx="2400">
                  <c:v>1.8707273767452957</c:v>
                </c:pt>
                <c:pt idx="2401">
                  <c:v>1.8601539106296761</c:v>
                </c:pt>
                <c:pt idx="2402">
                  <c:v>1.8655694474179958</c:v>
                </c:pt>
                <c:pt idx="2403">
                  <c:v>1.8819250186518028</c:v>
                </c:pt>
                <c:pt idx="2404">
                  <c:v>1.8654879651139338</c:v>
                </c:pt>
                <c:pt idx="2405">
                  <c:v>1.8642352683776637</c:v>
                </c:pt>
                <c:pt idx="2406">
                  <c:v>1.8841096877433856</c:v>
                </c:pt>
                <c:pt idx="2407">
                  <c:v>1.8709903625040356</c:v>
                </c:pt>
                <c:pt idx="2408">
                  <c:v>1.8763104892065079</c:v>
                </c:pt>
                <c:pt idx="2409">
                  <c:v>1.8984922607955894</c:v>
                </c:pt>
                <c:pt idx="2410">
                  <c:v>1.8746557267985833</c:v>
                </c:pt>
                <c:pt idx="2411">
                  <c:v>1.8513017354572965</c:v>
                </c:pt>
                <c:pt idx="2412">
                  <c:v>1.8513448316201839</c:v>
                </c:pt>
                <c:pt idx="2413">
                  <c:v>1.813275639590759</c:v>
                </c:pt>
                <c:pt idx="2414">
                  <c:v>1.9731942402401428</c:v>
                </c:pt>
                <c:pt idx="2415">
                  <c:v>1.9005832365192661</c:v>
                </c:pt>
                <c:pt idx="2416">
                  <c:v>1.9296295465483138</c:v>
                </c:pt>
                <c:pt idx="2417">
                  <c:v>1.9047699324355669</c:v>
                </c:pt>
                <c:pt idx="2418">
                  <c:v>1.922351672423485</c:v>
                </c:pt>
                <c:pt idx="2419">
                  <c:v>1.9384580717536453</c:v>
                </c:pt>
                <c:pt idx="2420">
                  <c:v>1.9413028885760952</c:v>
                </c:pt>
                <c:pt idx="2421">
                  <c:v>1.9164856366345047</c:v>
                </c:pt>
                <c:pt idx="2422">
                  <c:v>1.92558820653926</c:v>
                </c:pt>
                <c:pt idx="2423">
                  <c:v>1.9116302321564269</c:v>
                </c:pt>
                <c:pt idx="2424">
                  <c:v>1.8817025659040085</c:v>
                </c:pt>
                <c:pt idx="2425">
                  <c:v>1.9020841071509638</c:v>
                </c:pt>
                <c:pt idx="2426">
                  <c:v>2.0100837844934545</c:v>
                </c:pt>
                <c:pt idx="2427">
                  <c:v>1.9641414812846847</c:v>
                </c:pt>
                <c:pt idx="2428">
                  <c:v>1.9440415201696994</c:v>
                </c:pt>
                <c:pt idx="2429">
                  <c:v>1.9845940081661579</c:v>
                </c:pt>
                <c:pt idx="2430">
                  <c:v>2.0039978042263842</c:v>
                </c:pt>
                <c:pt idx="2431">
                  <c:v>1.991403376738224</c:v>
                </c:pt>
                <c:pt idx="2432">
                  <c:v>1.7066651772266952</c:v>
                </c:pt>
                <c:pt idx="2433">
                  <c:v>1.7842659688798141</c:v>
                </c:pt>
                <c:pt idx="2434">
                  <c:v>1.9181908406950336</c:v>
                </c:pt>
                <c:pt idx="2435">
                  <c:v>1.9809955399583783</c:v>
                </c:pt>
                <c:pt idx="2436">
                  <c:v>1.9322701478218338</c:v>
                </c:pt>
                <c:pt idx="2437">
                  <c:v>1.9194746590146099</c:v>
                </c:pt>
                <c:pt idx="2438">
                  <c:v>1.968250088593549</c:v>
                </c:pt>
                <c:pt idx="2439">
                  <c:v>2.0144779854180839</c:v>
                </c:pt>
                <c:pt idx="2440">
                  <c:v>2.0126261014333098</c:v>
                </c:pt>
                <c:pt idx="2441">
                  <c:v>2.0229779514096435</c:v>
                </c:pt>
                <c:pt idx="2442">
                  <c:v>2.0101006069776752</c:v>
                </c:pt>
                <c:pt idx="2443">
                  <c:v>2.0013332902110679</c:v>
                </c:pt>
                <c:pt idx="2444">
                  <c:v>2.0234416982019021</c:v>
                </c:pt>
                <c:pt idx="2445">
                  <c:v>2.0280225138239554</c:v>
                </c:pt>
                <c:pt idx="2446">
                  <c:v>2.0288475280758673</c:v>
                </c:pt>
                <c:pt idx="2447">
                  <c:v>2.0294910735073564</c:v>
                </c:pt>
                <c:pt idx="2448">
                  <c:v>1.9982569438257196</c:v>
                </c:pt>
                <c:pt idx="2449">
                  <c:v>1.9076467367396637</c:v>
                </c:pt>
                <c:pt idx="2450">
                  <c:v>1.8391409627280817</c:v>
                </c:pt>
                <c:pt idx="2451">
                  <c:v>1.9596163698564788</c:v>
                </c:pt>
                <c:pt idx="2452">
                  <c:v>2.0759089950672256</c:v>
                </c:pt>
                <c:pt idx="2453">
                  <c:v>1.9193800137070298</c:v>
                </c:pt>
                <c:pt idx="2454">
                  <c:v>1.9544660086672614</c:v>
                </c:pt>
                <c:pt idx="2455">
                  <c:v>1.7568397646390324</c:v>
                </c:pt>
                <c:pt idx="2456">
                  <c:v>1.7648481585257039</c:v>
                </c:pt>
                <c:pt idx="2457">
                  <c:v>1.72309442075872</c:v>
                </c:pt>
                <c:pt idx="2458">
                  <c:v>1.7077743480321674</c:v>
                </c:pt>
                <c:pt idx="2459">
                  <c:v>1.8024483857065245</c:v>
                </c:pt>
                <c:pt idx="2460">
                  <c:v>1.7458892507568287</c:v>
                </c:pt>
                <c:pt idx="2461">
                  <c:v>1.7381002777040133</c:v>
                </c:pt>
                <c:pt idx="2462">
                  <c:v>1.7231451382667049</c:v>
                </c:pt>
                <c:pt idx="2463">
                  <c:v>1.7196722885373981</c:v>
                </c:pt>
                <c:pt idx="2464">
                  <c:v>1.72439089882115</c:v>
                </c:pt>
                <c:pt idx="2465">
                  <c:v>1.7232980200499597</c:v>
                </c:pt>
                <c:pt idx="2466">
                  <c:v>1.7807569010956659</c:v>
                </c:pt>
                <c:pt idx="2467">
                  <c:v>1.7679609693779095</c:v>
                </c:pt>
                <c:pt idx="2468">
                  <c:v>1.7668904055564156</c:v>
                </c:pt>
                <c:pt idx="2469">
                  <c:v>1.7718363490164273</c:v>
                </c:pt>
                <c:pt idx="2470">
                  <c:v>1.7672254206189444</c:v>
                </c:pt>
                <c:pt idx="2471">
                  <c:v>1.751523707181567</c:v>
                </c:pt>
                <c:pt idx="2472">
                  <c:v>1.7440578382504344</c:v>
                </c:pt>
                <c:pt idx="2473">
                  <c:v>1.649427457461466</c:v>
                </c:pt>
                <c:pt idx="2474">
                  <c:v>1.7064220945983875</c:v>
                </c:pt>
                <c:pt idx="2475">
                  <c:v>1.7937566935734202</c:v>
                </c:pt>
                <c:pt idx="2476">
                  <c:v>1.8432413498530769</c:v>
                </c:pt>
                <c:pt idx="2477">
                  <c:v>1.8430587237733125</c:v>
                </c:pt>
                <c:pt idx="2478">
                  <c:v>1.8315573834987773</c:v>
                </c:pt>
                <c:pt idx="2479">
                  <c:v>1.7819390127435015</c:v>
                </c:pt>
                <c:pt idx="2480">
                  <c:v>1.8237359473075243</c:v>
                </c:pt>
              </c:numCache>
            </c:numRef>
          </c:val>
          <c:smooth val="0"/>
          <c:extLst xmlns:c16r2="http://schemas.microsoft.com/office/drawing/2015/06/chart">
            <c:ext xmlns:c16="http://schemas.microsoft.com/office/drawing/2014/chart" uri="{C3380CC4-5D6E-409C-BE32-E72D297353CC}">
              <c16:uniqueId val="{00000000-6C35-42D4-9EB0-2FE6E64DA8E8}"/>
            </c:ext>
          </c:extLst>
        </c:ser>
        <c:ser>
          <c:idx val="1"/>
          <c:order val="1"/>
          <c:tx>
            <c:strRef>
              <c:f>FINAL!$G$15</c:f>
              <c:strCache>
                <c:ptCount val="1"/>
                <c:pt idx="0">
                  <c:v>SPX Index</c:v>
                </c:pt>
              </c:strCache>
            </c:strRef>
          </c:tx>
          <c:spPr>
            <a:ln>
              <a:solidFill>
                <a:schemeClr val="tx1"/>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G$16:$G$2496</c:f>
              <c:numCache>
                <c:formatCode>General</c:formatCode>
                <c:ptCount val="2481"/>
                <c:pt idx="0">
                  <c:v>100</c:v>
                </c:pt>
                <c:pt idx="1">
                  <c:v>101.73651902624231</c:v>
                </c:pt>
                <c:pt idx="2">
                  <c:v>101.91390537838532</c:v>
                </c:pt>
                <c:pt idx="3">
                  <c:v>102.03294095679711</c:v>
                </c:pt>
                <c:pt idx="4">
                  <c:v>102.01893677110159</c:v>
                </c:pt>
                <c:pt idx="5">
                  <c:v>101.77230750079748</c:v>
                </c:pt>
                <c:pt idx="6">
                  <c:v>101.27671492924</c:v>
                </c:pt>
                <c:pt idx="7">
                  <c:v>101.56224471536495</c:v>
                </c:pt>
                <c:pt idx="8">
                  <c:v>101.8975671617406</c:v>
                </c:pt>
                <c:pt idx="9">
                  <c:v>101.96681007990169</c:v>
                </c:pt>
                <c:pt idx="10">
                  <c:v>101.5451284884038</c:v>
                </c:pt>
                <c:pt idx="11">
                  <c:v>102.1690927621701</c:v>
                </c:pt>
                <c:pt idx="12">
                  <c:v>101.75207923257068</c:v>
                </c:pt>
                <c:pt idx="13">
                  <c:v>102.09440377179408</c:v>
                </c:pt>
                <c:pt idx="14">
                  <c:v>103.14549570927316</c:v>
                </c:pt>
                <c:pt idx="15">
                  <c:v>103.05991457446733</c:v>
                </c:pt>
                <c:pt idx="16">
                  <c:v>103.09725906965532</c:v>
                </c:pt>
                <c:pt idx="17">
                  <c:v>102.91909470719587</c:v>
                </c:pt>
                <c:pt idx="18">
                  <c:v>101.60192324150225</c:v>
                </c:pt>
                <c:pt idx="19">
                  <c:v>100.4598040970024</c:v>
                </c:pt>
                <c:pt idx="20">
                  <c:v>100.71343546015429</c:v>
                </c:pt>
                <c:pt idx="21">
                  <c:v>100.52515696358141</c:v>
                </c:pt>
                <c:pt idx="22">
                  <c:v>98.832206515058459</c:v>
                </c:pt>
                <c:pt idx="23">
                  <c:v>98.170119735787765</c:v>
                </c:pt>
                <c:pt idx="24">
                  <c:v>98.576241120957334</c:v>
                </c:pt>
                <c:pt idx="25">
                  <c:v>98.190348004014609</c:v>
                </c:pt>
                <c:pt idx="26">
                  <c:v>97.763220340301785</c:v>
                </c:pt>
                <c:pt idx="27">
                  <c:v>97.918044393268744</c:v>
                </c:pt>
                <c:pt idx="28">
                  <c:v>99.031377156061183</c:v>
                </c:pt>
                <c:pt idx="29">
                  <c:v>99.597768666412591</c:v>
                </c:pt>
                <c:pt idx="30">
                  <c:v>98.016851703453639</c:v>
                </c:pt>
                <c:pt idx="31">
                  <c:v>98.814312277780871</c:v>
                </c:pt>
                <c:pt idx="32">
                  <c:v>100.02956439202393</c:v>
                </c:pt>
                <c:pt idx="33">
                  <c:v>100.22484498144455</c:v>
                </c:pt>
                <c:pt idx="34">
                  <c:v>98.44086732590084</c:v>
                </c:pt>
                <c:pt idx="35">
                  <c:v>98.328833840336827</c:v>
                </c:pt>
                <c:pt idx="36">
                  <c:v>97.729765896695923</c:v>
                </c:pt>
                <c:pt idx="37">
                  <c:v>97.868251733018113</c:v>
                </c:pt>
                <c:pt idx="38">
                  <c:v>97.430231924875443</c:v>
                </c:pt>
                <c:pt idx="39">
                  <c:v>96.193195521772736</c:v>
                </c:pt>
                <c:pt idx="40">
                  <c:v>95.204344409606989</c:v>
                </c:pt>
                <c:pt idx="41">
                  <c:v>95.698380960531651</c:v>
                </c:pt>
                <c:pt idx="42">
                  <c:v>97.730543907012333</c:v>
                </c:pt>
                <c:pt idx="43">
                  <c:v>97.371103140827771</c:v>
                </c:pt>
                <c:pt idx="44">
                  <c:v>96.484171380112642</c:v>
                </c:pt>
                <c:pt idx="45">
                  <c:v>96.482615359479794</c:v>
                </c:pt>
                <c:pt idx="46">
                  <c:v>97.422451821711277</c:v>
                </c:pt>
                <c:pt idx="47">
                  <c:v>96.908965012876166</c:v>
                </c:pt>
                <c:pt idx="48">
                  <c:v>96.823383878070331</c:v>
                </c:pt>
                <c:pt idx="49">
                  <c:v>97.294858129818905</c:v>
                </c:pt>
                <c:pt idx="50">
                  <c:v>96.411038410369414</c:v>
                </c:pt>
                <c:pt idx="51">
                  <c:v>96.940085425532843</c:v>
                </c:pt>
                <c:pt idx="52">
                  <c:v>99.030599145744759</c:v>
                </c:pt>
                <c:pt idx="53">
                  <c:v>98.822870391261503</c:v>
                </c:pt>
                <c:pt idx="54">
                  <c:v>99.600102697361876</c:v>
                </c:pt>
                <c:pt idx="55">
                  <c:v>98.878109123727086</c:v>
                </c:pt>
                <c:pt idx="56">
                  <c:v>99.124738394031198</c:v>
                </c:pt>
                <c:pt idx="57">
                  <c:v>98.455649521912747</c:v>
                </c:pt>
                <c:pt idx="58">
                  <c:v>98.60035944076624</c:v>
                </c:pt>
                <c:pt idx="59">
                  <c:v>99.00336878467013</c:v>
                </c:pt>
                <c:pt idx="60">
                  <c:v>97.920378424217944</c:v>
                </c:pt>
                <c:pt idx="61">
                  <c:v>96.651443598142151</c:v>
                </c:pt>
                <c:pt idx="62">
                  <c:v>96.177635315444334</c:v>
                </c:pt>
                <c:pt idx="63">
                  <c:v>96.044595551337068</c:v>
                </c:pt>
                <c:pt idx="64">
                  <c:v>96.228983996327841</c:v>
                </c:pt>
                <c:pt idx="65">
                  <c:v>98.014517672504411</c:v>
                </c:pt>
                <c:pt idx="66">
                  <c:v>97.183602654571288</c:v>
                </c:pt>
                <c:pt idx="67">
                  <c:v>96.49584153485884</c:v>
                </c:pt>
                <c:pt idx="68">
                  <c:v>98.100098807310275</c:v>
                </c:pt>
                <c:pt idx="69">
                  <c:v>98.720173029494447</c:v>
                </c:pt>
                <c:pt idx="70">
                  <c:v>98.682828534306438</c:v>
                </c:pt>
                <c:pt idx="71">
                  <c:v>98.278263169769687</c:v>
                </c:pt>
                <c:pt idx="72">
                  <c:v>99.472509005469462</c:v>
                </c:pt>
                <c:pt idx="73">
                  <c:v>99.325465055666683</c:v>
                </c:pt>
                <c:pt idx="74">
                  <c:v>98.878887134043438</c:v>
                </c:pt>
                <c:pt idx="75">
                  <c:v>99.472509005469448</c:v>
                </c:pt>
                <c:pt idx="76">
                  <c:v>99.606326779893124</c:v>
                </c:pt>
                <c:pt idx="77">
                  <c:v>99.535527841099196</c:v>
                </c:pt>
                <c:pt idx="78">
                  <c:v>99.256222137505588</c:v>
                </c:pt>
                <c:pt idx="79">
                  <c:v>98.92245571176278</c:v>
                </c:pt>
                <c:pt idx="80">
                  <c:v>98.49221600678429</c:v>
                </c:pt>
                <c:pt idx="81">
                  <c:v>98.948130052204533</c:v>
                </c:pt>
                <c:pt idx="82">
                  <c:v>98.553678821781233</c:v>
                </c:pt>
                <c:pt idx="83">
                  <c:v>98.668046338294502</c:v>
                </c:pt>
                <c:pt idx="84">
                  <c:v>100.01945025791046</c:v>
                </c:pt>
                <c:pt idx="85">
                  <c:v>100.78579041958102</c:v>
                </c:pt>
                <c:pt idx="86">
                  <c:v>100.94528253444645</c:v>
                </c:pt>
                <c:pt idx="87">
                  <c:v>101.32028350695933</c:v>
                </c:pt>
                <c:pt idx="88">
                  <c:v>100.94839457571209</c:v>
                </c:pt>
                <c:pt idx="89">
                  <c:v>101.04953591684627</c:v>
                </c:pt>
                <c:pt idx="90">
                  <c:v>100.59595590237528</c:v>
                </c:pt>
                <c:pt idx="91">
                  <c:v>100.83480506951524</c:v>
                </c:pt>
                <c:pt idx="92">
                  <c:v>100.7593380688228</c:v>
                </c:pt>
                <c:pt idx="93">
                  <c:v>101.27982697050562</c:v>
                </c:pt>
                <c:pt idx="94">
                  <c:v>101.47432954960983</c:v>
                </c:pt>
                <c:pt idx="95">
                  <c:v>101.47355153929341</c:v>
                </c:pt>
                <c:pt idx="96">
                  <c:v>101.43854107505466</c:v>
                </c:pt>
                <c:pt idx="97">
                  <c:v>101.99793049255832</c:v>
                </c:pt>
                <c:pt idx="98">
                  <c:v>102.17220480343568</c:v>
                </c:pt>
                <c:pt idx="99">
                  <c:v>101.16156940241025</c:v>
                </c:pt>
                <c:pt idx="100">
                  <c:v>100.67609096496618</c:v>
                </c:pt>
                <c:pt idx="101">
                  <c:v>101.05731602001042</c:v>
                </c:pt>
                <c:pt idx="102">
                  <c:v>101.10555265962824</c:v>
                </c:pt>
                <c:pt idx="103">
                  <c:v>102.16131265900582</c:v>
                </c:pt>
                <c:pt idx="104">
                  <c:v>102.54720577594854</c:v>
                </c:pt>
                <c:pt idx="105">
                  <c:v>102.40794192930994</c:v>
                </c:pt>
                <c:pt idx="106">
                  <c:v>102.68724763290358</c:v>
                </c:pt>
                <c:pt idx="107">
                  <c:v>102.7891669843542</c:v>
                </c:pt>
                <c:pt idx="108">
                  <c:v>102.56587802354255</c:v>
                </c:pt>
                <c:pt idx="109">
                  <c:v>103.10037111092088</c:v>
                </c:pt>
                <c:pt idx="110">
                  <c:v>102.54409373468286</c:v>
                </c:pt>
                <c:pt idx="111">
                  <c:v>102.29124038184742</c:v>
                </c:pt>
                <c:pt idx="112">
                  <c:v>103.19295433857448</c:v>
                </c:pt>
                <c:pt idx="113">
                  <c:v>103.96863062404204</c:v>
                </c:pt>
                <c:pt idx="114">
                  <c:v>103.98808088195244</c:v>
                </c:pt>
                <c:pt idx="115">
                  <c:v>104.18725152295514</c:v>
                </c:pt>
                <c:pt idx="116">
                  <c:v>103.93050811853757</c:v>
                </c:pt>
                <c:pt idx="117">
                  <c:v>103.57806944520077</c:v>
                </c:pt>
                <c:pt idx="118">
                  <c:v>103.79513432348105</c:v>
                </c:pt>
                <c:pt idx="119">
                  <c:v>105.04850894322851</c:v>
                </c:pt>
                <c:pt idx="120">
                  <c:v>105.28191203815354</c:v>
                </c:pt>
                <c:pt idx="121">
                  <c:v>104.99871628297781</c:v>
                </c:pt>
                <c:pt idx="122">
                  <c:v>105.08274139715084</c:v>
                </c:pt>
                <c:pt idx="123">
                  <c:v>105.29747224448187</c:v>
                </c:pt>
                <c:pt idx="124">
                  <c:v>105.02750266468523</c:v>
                </c:pt>
                <c:pt idx="125">
                  <c:v>106.02957995223004</c:v>
                </c:pt>
                <c:pt idx="126">
                  <c:v>106.24664483051031</c:v>
                </c:pt>
                <c:pt idx="127">
                  <c:v>106.51350236904128</c:v>
                </c:pt>
                <c:pt idx="128">
                  <c:v>106.12449721083287</c:v>
                </c:pt>
                <c:pt idx="129">
                  <c:v>106.27309718126848</c:v>
                </c:pt>
                <c:pt idx="130">
                  <c:v>106.35089821291015</c:v>
                </c:pt>
                <c:pt idx="131">
                  <c:v>106.4784919048025</c:v>
                </c:pt>
                <c:pt idx="132">
                  <c:v>107.13357659122545</c:v>
                </c:pt>
                <c:pt idx="133">
                  <c:v>107.16158496261647</c:v>
                </c:pt>
                <c:pt idx="134">
                  <c:v>107.53814195576219</c:v>
                </c:pt>
                <c:pt idx="135">
                  <c:v>108.0718570328241</c:v>
                </c:pt>
                <c:pt idx="136">
                  <c:v>107.15847292135078</c:v>
                </c:pt>
                <c:pt idx="137">
                  <c:v>107.20437553001938</c:v>
                </c:pt>
                <c:pt idx="138">
                  <c:v>107.2051535403358</c:v>
                </c:pt>
                <c:pt idx="139">
                  <c:v>106.41702908980558</c:v>
                </c:pt>
                <c:pt idx="140">
                  <c:v>106.380462604934</c:v>
                </c:pt>
                <c:pt idx="141">
                  <c:v>106.14394746874329</c:v>
                </c:pt>
                <c:pt idx="142">
                  <c:v>107.3483074385565</c:v>
                </c:pt>
                <c:pt idx="143">
                  <c:v>107.58637859538003</c:v>
                </c:pt>
                <c:pt idx="144">
                  <c:v>107.81044556650806</c:v>
                </c:pt>
                <c:pt idx="145">
                  <c:v>107.23549594267604</c:v>
                </c:pt>
                <c:pt idx="146">
                  <c:v>107.43544459399517</c:v>
                </c:pt>
                <c:pt idx="147">
                  <c:v>107.70930422537388</c:v>
                </c:pt>
                <c:pt idx="148">
                  <c:v>108.39395330382065</c:v>
                </c:pt>
                <c:pt idx="149">
                  <c:v>108.65458675982028</c:v>
                </c:pt>
                <c:pt idx="150">
                  <c:v>108.90277205075724</c:v>
                </c:pt>
                <c:pt idx="151">
                  <c:v>109.01480553632125</c:v>
                </c:pt>
                <c:pt idx="152">
                  <c:v>108.96034481417206</c:v>
                </c:pt>
                <c:pt idx="153">
                  <c:v>109.14006519726432</c:v>
                </c:pt>
                <c:pt idx="154">
                  <c:v>109.39525258104902</c:v>
                </c:pt>
                <c:pt idx="155">
                  <c:v>108.99535527841081</c:v>
                </c:pt>
                <c:pt idx="156">
                  <c:v>107.51324562563683</c:v>
                </c:pt>
                <c:pt idx="157">
                  <c:v>107.88824659814972</c:v>
                </c:pt>
                <c:pt idx="158">
                  <c:v>108.88098776189756</c:v>
                </c:pt>
                <c:pt idx="159">
                  <c:v>108.97045894828551</c:v>
                </c:pt>
                <c:pt idx="160">
                  <c:v>108.66547890425011</c:v>
                </c:pt>
                <c:pt idx="161">
                  <c:v>109.63098970692333</c:v>
                </c:pt>
                <c:pt idx="162">
                  <c:v>110.06978752538241</c:v>
                </c:pt>
                <c:pt idx="163">
                  <c:v>109.9250776065289</c:v>
                </c:pt>
                <c:pt idx="164">
                  <c:v>109.48861381901908</c:v>
                </c:pt>
                <c:pt idx="165">
                  <c:v>109.68700644970535</c:v>
                </c:pt>
                <c:pt idx="166">
                  <c:v>109.93596975095872</c:v>
                </c:pt>
                <c:pt idx="167">
                  <c:v>109.82082422412904</c:v>
                </c:pt>
                <c:pt idx="168">
                  <c:v>109.94919592633779</c:v>
                </c:pt>
                <c:pt idx="169">
                  <c:v>110.90459259489761</c:v>
                </c:pt>
                <c:pt idx="170">
                  <c:v>111.02907424552428</c:v>
                </c:pt>
                <c:pt idx="171">
                  <c:v>110.67041148965615</c:v>
                </c:pt>
                <c:pt idx="172">
                  <c:v>110.90926065679611</c:v>
                </c:pt>
                <c:pt idx="173">
                  <c:v>110.75210257287993</c:v>
                </c:pt>
                <c:pt idx="174">
                  <c:v>110.34520317739396</c:v>
                </c:pt>
                <c:pt idx="175">
                  <c:v>109.7585833988157</c:v>
                </c:pt>
                <c:pt idx="176">
                  <c:v>110.23628173309562</c:v>
                </c:pt>
                <c:pt idx="177">
                  <c:v>111.00962398761389</c:v>
                </c:pt>
                <c:pt idx="178">
                  <c:v>110.84546381084995</c:v>
                </c:pt>
                <c:pt idx="179">
                  <c:v>110.34520317739396</c:v>
                </c:pt>
                <c:pt idx="180">
                  <c:v>110.2129414236031</c:v>
                </c:pt>
                <c:pt idx="181">
                  <c:v>110.34831521865964</c:v>
                </c:pt>
                <c:pt idx="182">
                  <c:v>109.67689231559196</c:v>
                </c:pt>
                <c:pt idx="183">
                  <c:v>109.92040954463039</c:v>
                </c:pt>
                <c:pt idx="184">
                  <c:v>109.86361479153196</c:v>
                </c:pt>
                <c:pt idx="185">
                  <c:v>110.07678961823017</c:v>
                </c:pt>
                <c:pt idx="186">
                  <c:v>110.77466487205604</c:v>
                </c:pt>
                <c:pt idx="187">
                  <c:v>111.31227000070005</c:v>
                </c:pt>
                <c:pt idx="188">
                  <c:v>111.40329720772081</c:v>
                </c:pt>
                <c:pt idx="189">
                  <c:v>111.30371188721945</c:v>
                </c:pt>
                <c:pt idx="190">
                  <c:v>110.97305750274231</c:v>
                </c:pt>
                <c:pt idx="191">
                  <c:v>111.29437576342245</c:v>
                </c:pt>
                <c:pt idx="192">
                  <c:v>110.70697797452776</c:v>
                </c:pt>
                <c:pt idx="193">
                  <c:v>111.09909517400182</c:v>
                </c:pt>
                <c:pt idx="194">
                  <c:v>112.04359969813183</c:v>
                </c:pt>
                <c:pt idx="195">
                  <c:v>110.78088895458737</c:v>
                </c:pt>
                <c:pt idx="196">
                  <c:v>110.64707118016368</c:v>
                </c:pt>
                <c:pt idx="197">
                  <c:v>110.52570157080264</c:v>
                </c:pt>
                <c:pt idx="198">
                  <c:v>111.1636700302644</c:v>
                </c:pt>
                <c:pt idx="199">
                  <c:v>111.89655574832902</c:v>
                </c:pt>
                <c:pt idx="200">
                  <c:v>112.49562369196995</c:v>
                </c:pt>
                <c:pt idx="201">
                  <c:v>112.68623621949207</c:v>
                </c:pt>
                <c:pt idx="202">
                  <c:v>112.57731477519371</c:v>
                </c:pt>
                <c:pt idx="203">
                  <c:v>112.65589381715179</c:v>
                </c:pt>
                <c:pt idx="204">
                  <c:v>112.81305190106798</c:v>
                </c:pt>
                <c:pt idx="205">
                  <c:v>112.68001213696071</c:v>
                </c:pt>
                <c:pt idx="206">
                  <c:v>111.88255156263349</c:v>
                </c:pt>
                <c:pt idx="207">
                  <c:v>111.51766472423401</c:v>
                </c:pt>
                <c:pt idx="208">
                  <c:v>112.36491795881192</c:v>
                </c:pt>
                <c:pt idx="209">
                  <c:v>113.22384134813605</c:v>
                </c:pt>
                <c:pt idx="210">
                  <c:v>113.34132090591497</c:v>
                </c:pt>
                <c:pt idx="211">
                  <c:v>113.24251359573003</c:v>
                </c:pt>
                <c:pt idx="212">
                  <c:v>113.56460986672658</c:v>
                </c:pt>
                <c:pt idx="213">
                  <c:v>113.40511775186114</c:v>
                </c:pt>
                <c:pt idx="214">
                  <c:v>113.30786646230905</c:v>
                </c:pt>
                <c:pt idx="215">
                  <c:v>112.90407910808874</c:v>
                </c:pt>
                <c:pt idx="216">
                  <c:v>112.76248123050087</c:v>
                </c:pt>
                <c:pt idx="217">
                  <c:v>108.84675530797516</c:v>
                </c:pt>
                <c:pt idx="218">
                  <c:v>109.45204733414744</c:v>
                </c:pt>
                <c:pt idx="219">
                  <c:v>109.16807356865532</c:v>
                </c:pt>
                <c:pt idx="220">
                  <c:v>107.92325706238846</c:v>
                </c:pt>
                <c:pt idx="221">
                  <c:v>106.90795359946452</c:v>
                </c:pt>
                <c:pt idx="222">
                  <c:v>108.5643375631159</c:v>
                </c:pt>
                <c:pt idx="223">
                  <c:v>108.29670201426852</c:v>
                </c:pt>
                <c:pt idx="224">
                  <c:v>109.068488248154</c:v>
                </c:pt>
                <c:pt idx="225">
                  <c:v>109.14317723853</c:v>
                </c:pt>
                <c:pt idx="226">
                  <c:v>109.43493110718629</c:v>
                </c:pt>
                <c:pt idx="227">
                  <c:v>107.20593155065218</c:v>
                </c:pt>
                <c:pt idx="228">
                  <c:v>107.92325706238847</c:v>
                </c:pt>
                <c:pt idx="229">
                  <c:v>108.32082033407744</c:v>
                </c:pt>
                <c:pt idx="230">
                  <c:v>107.90614083542731</c:v>
                </c:pt>
                <c:pt idx="231">
                  <c:v>109.08171442353307</c:v>
                </c:pt>
                <c:pt idx="232">
                  <c:v>109.77258758451119</c:v>
                </c:pt>
                <c:pt idx="233">
                  <c:v>111.64759244707565</c:v>
                </c:pt>
                <c:pt idx="234">
                  <c:v>111.60869193125481</c:v>
                </c:pt>
                <c:pt idx="235">
                  <c:v>111.73083955093223</c:v>
                </c:pt>
                <c:pt idx="236">
                  <c:v>111.8389829849142</c:v>
                </c:pt>
                <c:pt idx="237">
                  <c:v>111.14733181361967</c:v>
                </c:pt>
                <c:pt idx="238">
                  <c:v>110.26195607353736</c:v>
                </c:pt>
                <c:pt idx="239">
                  <c:v>110.67430154123826</c:v>
                </c:pt>
                <c:pt idx="240">
                  <c:v>110.54437381839665</c:v>
                </c:pt>
                <c:pt idx="241">
                  <c:v>110.83145962515445</c:v>
                </c:pt>
                <c:pt idx="242">
                  <c:v>111.85998926345746</c:v>
                </c:pt>
                <c:pt idx="243">
                  <c:v>111.98447091408413</c:v>
                </c:pt>
                <c:pt idx="244">
                  <c:v>112.32601744299109</c:v>
                </c:pt>
                <c:pt idx="245">
                  <c:v>112.39214831988652</c:v>
                </c:pt>
                <c:pt idx="246">
                  <c:v>112.68623621949209</c:v>
                </c:pt>
                <c:pt idx="247">
                  <c:v>111.94557039826329</c:v>
                </c:pt>
                <c:pt idx="248">
                  <c:v>112.64033361082349</c:v>
                </c:pt>
                <c:pt idx="249">
                  <c:v>113.03322882061396</c:v>
                </c:pt>
                <c:pt idx="250">
                  <c:v>114.24848093485701</c:v>
                </c:pt>
                <c:pt idx="251">
                  <c:v>114.48266204009848</c:v>
                </c:pt>
                <c:pt idx="252">
                  <c:v>114.56201909237299</c:v>
                </c:pt>
                <c:pt idx="253">
                  <c:v>114.42431126636721</c:v>
                </c:pt>
                <c:pt idx="254">
                  <c:v>115.48396131732687</c:v>
                </c:pt>
                <c:pt idx="255">
                  <c:v>115.21788178911235</c:v>
                </c:pt>
                <c:pt idx="256">
                  <c:v>115.17742525265868</c:v>
                </c:pt>
                <c:pt idx="257">
                  <c:v>116.34521873760029</c:v>
                </c:pt>
                <c:pt idx="258">
                  <c:v>116.25419153057952</c:v>
                </c:pt>
                <c:pt idx="259">
                  <c:v>116.24018734488402</c:v>
                </c:pt>
                <c:pt idx="260">
                  <c:v>115.32991527467635</c:v>
                </c:pt>
                <c:pt idx="261">
                  <c:v>115.63567332902817</c:v>
                </c:pt>
                <c:pt idx="262">
                  <c:v>116.38411925342112</c:v>
                </c:pt>
                <c:pt idx="263">
                  <c:v>116.88749192814281</c:v>
                </c:pt>
                <c:pt idx="264">
                  <c:v>117.13878926034542</c:v>
                </c:pt>
                <c:pt idx="265">
                  <c:v>117.43910124248232</c:v>
                </c:pt>
                <c:pt idx="266">
                  <c:v>117.30217142679297</c:v>
                </c:pt>
                <c:pt idx="267">
                  <c:v>117.68028444057153</c:v>
                </c:pt>
                <c:pt idx="268">
                  <c:v>116.03790466261569</c:v>
                </c:pt>
                <c:pt idx="269">
                  <c:v>117.15668349762302</c:v>
                </c:pt>
                <c:pt idx="270">
                  <c:v>116.94662071219049</c:v>
                </c:pt>
                <c:pt idx="271">
                  <c:v>116.79413069017281</c:v>
                </c:pt>
                <c:pt idx="272">
                  <c:v>117.80165404993255</c:v>
                </c:pt>
                <c:pt idx="273">
                  <c:v>117.6935106159506</c:v>
                </c:pt>
                <c:pt idx="274">
                  <c:v>118.47152093236738</c:v>
                </c:pt>
                <c:pt idx="275">
                  <c:v>118.65435335672531</c:v>
                </c:pt>
                <c:pt idx="276">
                  <c:v>118.57810834571647</c:v>
                </c:pt>
                <c:pt idx="277">
                  <c:v>118.43495444749578</c:v>
                </c:pt>
                <c:pt idx="278">
                  <c:v>117.28583321014818</c:v>
                </c:pt>
                <c:pt idx="279">
                  <c:v>117.92535769024279</c:v>
                </c:pt>
                <c:pt idx="280">
                  <c:v>118.11052414554999</c:v>
                </c:pt>
                <c:pt idx="281">
                  <c:v>119.05347264904717</c:v>
                </c:pt>
                <c:pt idx="282">
                  <c:v>119.0838150513874</c:v>
                </c:pt>
                <c:pt idx="283">
                  <c:v>119.52883695237779</c:v>
                </c:pt>
                <c:pt idx="284">
                  <c:v>119.74979188224017</c:v>
                </c:pt>
                <c:pt idx="285">
                  <c:v>119.10948939182916</c:v>
                </c:pt>
                <c:pt idx="286">
                  <c:v>118.05372939245157</c:v>
                </c:pt>
                <c:pt idx="287">
                  <c:v>115.97955388888438</c:v>
                </c:pt>
                <c:pt idx="288">
                  <c:v>117.29828137521086</c:v>
                </c:pt>
                <c:pt idx="289">
                  <c:v>117.41109287109128</c:v>
                </c:pt>
                <c:pt idx="290">
                  <c:v>116.15694024102741</c:v>
                </c:pt>
                <c:pt idx="291">
                  <c:v>117.92068962834429</c:v>
                </c:pt>
                <c:pt idx="292">
                  <c:v>118.48863715932856</c:v>
                </c:pt>
                <c:pt idx="293">
                  <c:v>119.26197941384684</c:v>
                </c:pt>
                <c:pt idx="294">
                  <c:v>119.11726949499331</c:v>
                </c:pt>
                <c:pt idx="295">
                  <c:v>119.32344222884379</c:v>
                </c:pt>
                <c:pt idx="296">
                  <c:v>117.70051270879836</c:v>
                </c:pt>
                <c:pt idx="297">
                  <c:v>118.42795235464808</c:v>
                </c:pt>
                <c:pt idx="298">
                  <c:v>116.90071810352191</c:v>
                </c:pt>
                <c:pt idx="299">
                  <c:v>116.52571713100902</c:v>
                </c:pt>
                <c:pt idx="300">
                  <c:v>116.14838212754687</c:v>
                </c:pt>
                <c:pt idx="301">
                  <c:v>117.19480600312744</c:v>
                </c:pt>
                <c:pt idx="302">
                  <c:v>117.14579135319318</c:v>
                </c:pt>
                <c:pt idx="303">
                  <c:v>116.96218091851881</c:v>
                </c:pt>
                <c:pt idx="304">
                  <c:v>118.21322150731703</c:v>
                </c:pt>
                <c:pt idx="305">
                  <c:v>118.63645911944774</c:v>
                </c:pt>
                <c:pt idx="306">
                  <c:v>118.67769366621786</c:v>
                </c:pt>
                <c:pt idx="307">
                  <c:v>119.06981086569193</c:v>
                </c:pt>
                <c:pt idx="308">
                  <c:v>119.1795103203067</c:v>
                </c:pt>
                <c:pt idx="309">
                  <c:v>117.48889390273301</c:v>
                </c:pt>
                <c:pt idx="310">
                  <c:v>118.16109481611713</c:v>
                </c:pt>
                <c:pt idx="311">
                  <c:v>120.41265667182735</c:v>
                </c:pt>
                <c:pt idx="312">
                  <c:v>120.78610162370741</c:v>
                </c:pt>
                <c:pt idx="313">
                  <c:v>120.55425454941522</c:v>
                </c:pt>
                <c:pt idx="314">
                  <c:v>120.54258439466898</c:v>
                </c:pt>
                <c:pt idx="315">
                  <c:v>120.29362109341562</c:v>
                </c:pt>
                <c:pt idx="316">
                  <c:v>120.83122622205963</c:v>
                </c:pt>
                <c:pt idx="317">
                  <c:v>119.35456264150055</c:v>
                </c:pt>
                <c:pt idx="318">
                  <c:v>119.93573634786391</c:v>
                </c:pt>
                <c:pt idx="319">
                  <c:v>117.56047085184343</c:v>
                </c:pt>
                <c:pt idx="320">
                  <c:v>118.10896812491728</c:v>
                </c:pt>
                <c:pt idx="321">
                  <c:v>115.35247757385258</c:v>
                </c:pt>
                <c:pt idx="322">
                  <c:v>113.50781511362837</c:v>
                </c:pt>
                <c:pt idx="323">
                  <c:v>114.6717185469879</c:v>
                </c:pt>
                <c:pt idx="324">
                  <c:v>113.22150731718699</c:v>
                </c:pt>
                <c:pt idx="325">
                  <c:v>114.04153019069028</c:v>
                </c:pt>
                <c:pt idx="326">
                  <c:v>114.53867878288064</c:v>
                </c:pt>
                <c:pt idx="327">
                  <c:v>111.4935464044253</c:v>
                </c:pt>
                <c:pt idx="328">
                  <c:v>114.18624010954383</c:v>
                </c:pt>
                <c:pt idx="329">
                  <c:v>114.88956143558461</c:v>
                </c:pt>
                <c:pt idx="330">
                  <c:v>116.50626687309872</c:v>
                </c:pt>
                <c:pt idx="331">
                  <c:v>113.05190106820815</c:v>
                </c:pt>
                <c:pt idx="332">
                  <c:v>113.09469163561108</c:v>
                </c:pt>
                <c:pt idx="333">
                  <c:v>113.03867489282908</c:v>
                </c:pt>
                <c:pt idx="334">
                  <c:v>110.98628367812155</c:v>
                </c:pt>
                <c:pt idx="335">
                  <c:v>109.44271121035064</c:v>
                </c:pt>
                <c:pt idx="336">
                  <c:v>109.7982619249531</c:v>
                </c:pt>
                <c:pt idx="337">
                  <c:v>112.49562369197012</c:v>
                </c:pt>
                <c:pt idx="338">
                  <c:v>112.46528128962986</c:v>
                </c:pt>
                <c:pt idx="339">
                  <c:v>112.58742890930729</c:v>
                </c:pt>
                <c:pt idx="340">
                  <c:v>113.90615639563379</c:v>
                </c:pt>
                <c:pt idx="341">
                  <c:v>113.78400877595635</c:v>
                </c:pt>
                <c:pt idx="342">
                  <c:v>115.09651217975149</c:v>
                </c:pt>
                <c:pt idx="343">
                  <c:v>114.11777520169916</c:v>
                </c:pt>
                <c:pt idx="344">
                  <c:v>111.43908568227612</c:v>
                </c:pt>
                <c:pt idx="345">
                  <c:v>113.88203807582485</c:v>
                </c:pt>
                <c:pt idx="346">
                  <c:v>113.40589576217778</c:v>
                </c:pt>
                <c:pt idx="347">
                  <c:v>114.67794262951925</c:v>
                </c:pt>
                <c:pt idx="348">
                  <c:v>115.87841254775036</c:v>
                </c:pt>
                <c:pt idx="349">
                  <c:v>114.54568087572838</c:v>
                </c:pt>
                <c:pt idx="350">
                  <c:v>115.0327153338053</c:v>
                </c:pt>
                <c:pt idx="351">
                  <c:v>113.08768954276331</c:v>
                </c:pt>
                <c:pt idx="352">
                  <c:v>112.94375763422622</c:v>
                </c:pt>
                <c:pt idx="353">
                  <c:v>114.48344005041506</c:v>
                </c:pt>
                <c:pt idx="354">
                  <c:v>114.48888612262998</c:v>
                </c:pt>
                <c:pt idx="355">
                  <c:v>115.45284090467041</c:v>
                </c:pt>
                <c:pt idx="356">
                  <c:v>115.47618121416289</c:v>
                </c:pt>
                <c:pt idx="357">
                  <c:v>114.88489337368613</c:v>
                </c:pt>
                <c:pt idx="358">
                  <c:v>118.24045186839173</c:v>
                </c:pt>
                <c:pt idx="359">
                  <c:v>118.96011141107728</c:v>
                </c:pt>
                <c:pt idx="360">
                  <c:v>118.16031680580082</c:v>
                </c:pt>
                <c:pt idx="361">
                  <c:v>118.70492402729258</c:v>
                </c:pt>
                <c:pt idx="362">
                  <c:v>118.0809597535263</c:v>
                </c:pt>
                <c:pt idx="363">
                  <c:v>118.04050321707263</c:v>
                </c:pt>
                <c:pt idx="364">
                  <c:v>118.67924968685082</c:v>
                </c:pt>
                <c:pt idx="365">
                  <c:v>119.14294383543522</c:v>
                </c:pt>
                <c:pt idx="366">
                  <c:v>118.78272505893425</c:v>
                </c:pt>
                <c:pt idx="367">
                  <c:v>120.36130799094391</c:v>
                </c:pt>
                <c:pt idx="368">
                  <c:v>120.32940956797083</c:v>
                </c:pt>
                <c:pt idx="369">
                  <c:v>119.78169030521339</c:v>
                </c:pt>
                <c:pt idx="370">
                  <c:v>120.03454365804886</c:v>
                </c:pt>
                <c:pt idx="371">
                  <c:v>121.18210887476361</c:v>
                </c:pt>
                <c:pt idx="372">
                  <c:v>120.7923257062388</c:v>
                </c:pt>
                <c:pt idx="373">
                  <c:v>121.77028467397471</c:v>
                </c:pt>
                <c:pt idx="374">
                  <c:v>121.56177790917499</c:v>
                </c:pt>
                <c:pt idx="375">
                  <c:v>120.93470159414306</c:v>
                </c:pt>
                <c:pt idx="376">
                  <c:v>121.50965121797506</c:v>
                </c:pt>
                <c:pt idx="377">
                  <c:v>120.49123571378546</c:v>
                </c:pt>
                <c:pt idx="378">
                  <c:v>119.69922121167316</c:v>
                </c:pt>
                <c:pt idx="379">
                  <c:v>119.91006200742211</c:v>
                </c:pt>
                <c:pt idx="380">
                  <c:v>119.81981281071774</c:v>
                </c:pt>
                <c:pt idx="381">
                  <c:v>116.75056211245348</c:v>
                </c:pt>
                <c:pt idx="382">
                  <c:v>117.19402799281103</c:v>
                </c:pt>
                <c:pt idx="383">
                  <c:v>118.22566967237971</c:v>
                </c:pt>
                <c:pt idx="384">
                  <c:v>117.93702784498909</c:v>
                </c:pt>
                <c:pt idx="385">
                  <c:v>117.8218823181594</c:v>
                </c:pt>
                <c:pt idx="386">
                  <c:v>119.44636785883766</c:v>
                </c:pt>
                <c:pt idx="387">
                  <c:v>119.88983373919525</c:v>
                </c:pt>
                <c:pt idx="388">
                  <c:v>119.11493546404414</c:v>
                </c:pt>
                <c:pt idx="389">
                  <c:v>120.54336240498537</c:v>
                </c:pt>
                <c:pt idx="390">
                  <c:v>117.358188169575</c:v>
                </c:pt>
                <c:pt idx="391">
                  <c:v>117.45232741786145</c:v>
                </c:pt>
                <c:pt idx="392">
                  <c:v>116.8703757011817</c:v>
                </c:pt>
                <c:pt idx="393">
                  <c:v>118.27857437389611</c:v>
                </c:pt>
                <c:pt idx="394">
                  <c:v>114.8047583110951</c:v>
                </c:pt>
                <c:pt idx="395">
                  <c:v>114.73862743419966</c:v>
                </c:pt>
                <c:pt idx="396">
                  <c:v>113.09935969750947</c:v>
                </c:pt>
                <c:pt idx="397">
                  <c:v>111.96968871807228</c:v>
                </c:pt>
                <c:pt idx="398">
                  <c:v>115.22721791290941</c:v>
                </c:pt>
                <c:pt idx="399">
                  <c:v>114.41264111162103</c:v>
                </c:pt>
                <c:pt idx="400">
                  <c:v>112.9009670668232</c:v>
                </c:pt>
                <c:pt idx="401">
                  <c:v>113.49147689698354</c:v>
                </c:pt>
                <c:pt idx="402">
                  <c:v>111.50988462106997</c:v>
                </c:pt>
                <c:pt idx="403">
                  <c:v>112.01014525452598</c:v>
                </c:pt>
                <c:pt idx="404">
                  <c:v>110.22616759898226</c:v>
                </c:pt>
                <c:pt idx="405">
                  <c:v>112.08794628616764</c:v>
                </c:pt>
                <c:pt idx="406">
                  <c:v>109.4831677468042</c:v>
                </c:pt>
                <c:pt idx="407">
                  <c:v>111.11776742159589</c:v>
                </c:pt>
                <c:pt idx="408">
                  <c:v>114.29127150226</c:v>
                </c:pt>
                <c:pt idx="409">
                  <c:v>114.34573222440918</c:v>
                </c:pt>
                <c:pt idx="410">
                  <c:v>115.23422000575715</c:v>
                </c:pt>
                <c:pt idx="411">
                  <c:v>114.5557950098417</c:v>
                </c:pt>
                <c:pt idx="412">
                  <c:v>113.80657107513233</c:v>
                </c:pt>
                <c:pt idx="413">
                  <c:v>115.53530999821042</c:v>
                </c:pt>
                <c:pt idx="414">
                  <c:v>117.27260703476911</c:v>
                </c:pt>
                <c:pt idx="415">
                  <c:v>117.06410026996942</c:v>
                </c:pt>
                <c:pt idx="416">
                  <c:v>117.94325192752038</c:v>
                </c:pt>
                <c:pt idx="417">
                  <c:v>114.96269440532765</c:v>
                </c:pt>
                <c:pt idx="418">
                  <c:v>115.65823562820425</c:v>
                </c:pt>
                <c:pt idx="419">
                  <c:v>115.79983350579211</c:v>
                </c:pt>
                <c:pt idx="420">
                  <c:v>114.20802439840334</c:v>
                </c:pt>
                <c:pt idx="421">
                  <c:v>112.4925116507043</c:v>
                </c:pt>
                <c:pt idx="422">
                  <c:v>113.19894501801073</c:v>
                </c:pt>
                <c:pt idx="423">
                  <c:v>113.04489897536021</c:v>
                </c:pt>
                <c:pt idx="424">
                  <c:v>113.59884232064897</c:v>
                </c:pt>
                <c:pt idx="425">
                  <c:v>115.49251943080746</c:v>
                </c:pt>
                <c:pt idx="426">
                  <c:v>116.42535380019117</c:v>
                </c:pt>
                <c:pt idx="427">
                  <c:v>116.51949304847761</c:v>
                </c:pt>
                <c:pt idx="428">
                  <c:v>114.86310908482623</c:v>
                </c:pt>
                <c:pt idx="429">
                  <c:v>115.0280472719066</c:v>
                </c:pt>
                <c:pt idx="430">
                  <c:v>114.23992282137637</c:v>
                </c:pt>
                <c:pt idx="431">
                  <c:v>112.59054095057279</c:v>
                </c:pt>
                <c:pt idx="432">
                  <c:v>112.59054095057279</c:v>
                </c:pt>
                <c:pt idx="433">
                  <c:v>109.82627029634392</c:v>
                </c:pt>
                <c:pt idx="434">
                  <c:v>110.18026499031355</c:v>
                </c:pt>
                <c:pt idx="435">
                  <c:v>108.1582161779463</c:v>
                </c:pt>
                <c:pt idx="436">
                  <c:v>109.63176771723973</c:v>
                </c:pt>
                <c:pt idx="437">
                  <c:v>110.50313927162651</c:v>
                </c:pt>
                <c:pt idx="438">
                  <c:v>109.00080135062568</c:v>
                </c:pt>
                <c:pt idx="439">
                  <c:v>110.18571106252847</c:v>
                </c:pt>
                <c:pt idx="440">
                  <c:v>107.4393346455772</c:v>
                </c:pt>
                <c:pt idx="441">
                  <c:v>106.83637665035418</c:v>
                </c:pt>
                <c:pt idx="442">
                  <c:v>103.7282254362691</c:v>
                </c:pt>
                <c:pt idx="443">
                  <c:v>103.10114912123716</c:v>
                </c:pt>
                <c:pt idx="444">
                  <c:v>101.95825196642089</c:v>
                </c:pt>
                <c:pt idx="445">
                  <c:v>104.14446095555206</c:v>
                </c:pt>
                <c:pt idx="446">
                  <c:v>105.19244085176548</c:v>
                </c:pt>
                <c:pt idx="447">
                  <c:v>103.52283071273503</c:v>
                </c:pt>
                <c:pt idx="448">
                  <c:v>105.34026281188467</c:v>
                </c:pt>
                <c:pt idx="449">
                  <c:v>105.98834540545987</c:v>
                </c:pt>
                <c:pt idx="450">
                  <c:v>105.48341671010539</c:v>
                </c:pt>
                <c:pt idx="451">
                  <c:v>107.25261216963717</c:v>
                </c:pt>
                <c:pt idx="452">
                  <c:v>108.56511557343232</c:v>
                </c:pt>
                <c:pt idx="453">
                  <c:v>107.4292205114638</c:v>
                </c:pt>
                <c:pt idx="454">
                  <c:v>103.9919709335344</c:v>
                </c:pt>
                <c:pt idx="455">
                  <c:v>103.19917842110569</c:v>
                </c:pt>
                <c:pt idx="456">
                  <c:v>104.01297721207766</c:v>
                </c:pt>
                <c:pt idx="457">
                  <c:v>103.57573541425141</c:v>
                </c:pt>
                <c:pt idx="458">
                  <c:v>104.18569550232219</c:v>
                </c:pt>
                <c:pt idx="459">
                  <c:v>104.94269954019572</c:v>
                </c:pt>
                <c:pt idx="460">
                  <c:v>106.37034847082055</c:v>
                </c:pt>
                <c:pt idx="461">
                  <c:v>104.9426995401957</c:v>
                </c:pt>
                <c:pt idx="462">
                  <c:v>105.03061470595081</c:v>
                </c:pt>
                <c:pt idx="463">
                  <c:v>104.93647545766437</c:v>
                </c:pt>
                <c:pt idx="464">
                  <c:v>105.81173706363327</c:v>
                </c:pt>
                <c:pt idx="465">
                  <c:v>104.45021900990388</c:v>
                </c:pt>
                <c:pt idx="466">
                  <c:v>105.27335392467283</c:v>
                </c:pt>
                <c:pt idx="467">
                  <c:v>106.72745520605584</c:v>
                </c:pt>
                <c:pt idx="468">
                  <c:v>107.46578699633537</c:v>
                </c:pt>
                <c:pt idx="469">
                  <c:v>107.36697968615043</c:v>
                </c:pt>
                <c:pt idx="470">
                  <c:v>106.40691495569212</c:v>
                </c:pt>
                <c:pt idx="471">
                  <c:v>103.52438673336789</c:v>
                </c:pt>
                <c:pt idx="472">
                  <c:v>103.57962546583347</c:v>
                </c:pt>
                <c:pt idx="473">
                  <c:v>103.22251873059817</c:v>
                </c:pt>
                <c:pt idx="474">
                  <c:v>103.76323590050784</c:v>
                </c:pt>
                <c:pt idx="475">
                  <c:v>101.47899761150812</c:v>
                </c:pt>
                <c:pt idx="476">
                  <c:v>100.62552029439888</c:v>
                </c:pt>
                <c:pt idx="477">
                  <c:v>99.069499661565288</c:v>
                </c:pt>
                <c:pt idx="478">
                  <c:v>102.7479324375839</c:v>
                </c:pt>
                <c:pt idx="479">
                  <c:v>101.82365618168073</c:v>
                </c:pt>
                <c:pt idx="480">
                  <c:v>102.34570110399639</c:v>
                </c:pt>
                <c:pt idx="481">
                  <c:v>100.21862089891289</c:v>
                </c:pt>
                <c:pt idx="482">
                  <c:v>99.320796993767885</c:v>
                </c:pt>
                <c:pt idx="483">
                  <c:v>103.53294484684841</c:v>
                </c:pt>
                <c:pt idx="484">
                  <c:v>101.01841550418935</c:v>
                </c:pt>
                <c:pt idx="485">
                  <c:v>103.43724957792917</c:v>
                </c:pt>
                <c:pt idx="486">
                  <c:v>105.02205659247018</c:v>
                </c:pt>
                <c:pt idx="487">
                  <c:v>105.26401780087581</c:v>
                </c:pt>
                <c:pt idx="488">
                  <c:v>104.3412975656055</c:v>
                </c:pt>
                <c:pt idx="489">
                  <c:v>103.14549570927289</c:v>
                </c:pt>
                <c:pt idx="490">
                  <c:v>102.3254728357696</c:v>
                </c:pt>
                <c:pt idx="491">
                  <c:v>102.90742455244937</c:v>
                </c:pt>
                <c:pt idx="492">
                  <c:v>106.6014175347963</c:v>
                </c:pt>
                <c:pt idx="493">
                  <c:v>106.39524480094583</c:v>
                </c:pt>
                <c:pt idx="494">
                  <c:v>106.53373063726804</c:v>
                </c:pt>
                <c:pt idx="495">
                  <c:v>106.61853376175749</c:v>
                </c:pt>
                <c:pt idx="496">
                  <c:v>106.78502796947069</c:v>
                </c:pt>
                <c:pt idx="497">
                  <c:v>106.24042074797893</c:v>
                </c:pt>
                <c:pt idx="498">
                  <c:v>105.38071934833839</c:v>
                </c:pt>
                <c:pt idx="499">
                  <c:v>105.85219360008698</c:v>
                </c:pt>
                <c:pt idx="500">
                  <c:v>103.69554900297963</c:v>
                </c:pt>
                <c:pt idx="501">
                  <c:v>103.34466635027566</c:v>
                </c:pt>
                <c:pt idx="502">
                  <c:v>103.82003065360634</c:v>
                </c:pt>
                <c:pt idx="503">
                  <c:v>106.17584589171638</c:v>
                </c:pt>
                <c:pt idx="504">
                  <c:v>106.24197676861179</c:v>
                </c:pt>
                <c:pt idx="505">
                  <c:v>108.1691083223762</c:v>
                </c:pt>
                <c:pt idx="506">
                  <c:v>108.00105809403018</c:v>
                </c:pt>
                <c:pt idx="507">
                  <c:v>107.04955147705245</c:v>
                </c:pt>
                <c:pt idx="508">
                  <c:v>107.35997759330274</c:v>
                </c:pt>
                <c:pt idx="509">
                  <c:v>108.05162876459727</c:v>
                </c:pt>
                <c:pt idx="510">
                  <c:v>108.75339407000523</c:v>
                </c:pt>
                <c:pt idx="511">
                  <c:v>108.63902655349196</c:v>
                </c:pt>
                <c:pt idx="512">
                  <c:v>108.21656695167766</c:v>
                </c:pt>
                <c:pt idx="513">
                  <c:v>107.80033143239467</c:v>
                </c:pt>
                <c:pt idx="514">
                  <c:v>109.64810593388455</c:v>
                </c:pt>
                <c:pt idx="515">
                  <c:v>110.00287863817063</c:v>
                </c:pt>
                <c:pt idx="516">
                  <c:v>109.50417402534747</c:v>
                </c:pt>
                <c:pt idx="517">
                  <c:v>110.34209113612835</c:v>
                </c:pt>
                <c:pt idx="518">
                  <c:v>108.3433826332536</c:v>
                </c:pt>
                <c:pt idx="519">
                  <c:v>108.74094590494259</c:v>
                </c:pt>
                <c:pt idx="520">
                  <c:v>108.0096162075108</c:v>
                </c:pt>
                <c:pt idx="521">
                  <c:v>109.19997199162849</c:v>
                </c:pt>
                <c:pt idx="522">
                  <c:v>109.15795943454199</c:v>
                </c:pt>
                <c:pt idx="523">
                  <c:v>109.59520123236824</c:v>
                </c:pt>
                <c:pt idx="524">
                  <c:v>110.75521461414567</c:v>
                </c:pt>
                <c:pt idx="525">
                  <c:v>110.89370045046785</c:v>
                </c:pt>
                <c:pt idx="526">
                  <c:v>110.99328577096922</c:v>
                </c:pt>
                <c:pt idx="527">
                  <c:v>109.9639781223498</c:v>
                </c:pt>
                <c:pt idx="528">
                  <c:v>108.19867271440009</c:v>
                </c:pt>
                <c:pt idx="529">
                  <c:v>108.4818684695758</c:v>
                </c:pt>
                <c:pt idx="530">
                  <c:v>107.04877346673607</c:v>
                </c:pt>
                <c:pt idx="531">
                  <c:v>107.78165918480069</c:v>
                </c:pt>
                <c:pt idx="532">
                  <c:v>108.20878684851351</c:v>
                </c:pt>
                <c:pt idx="533">
                  <c:v>108.78607050329475</c:v>
                </c:pt>
                <c:pt idx="534">
                  <c:v>108.95100869037513</c:v>
                </c:pt>
                <c:pt idx="535">
                  <c:v>107.80655551492602</c:v>
                </c:pt>
                <c:pt idx="536">
                  <c:v>107.18259124115974</c:v>
                </c:pt>
                <c:pt idx="537">
                  <c:v>107.14758077692098</c:v>
                </c:pt>
                <c:pt idx="538">
                  <c:v>109.23653847650007</c:v>
                </c:pt>
                <c:pt idx="539">
                  <c:v>105.86230773420043</c:v>
                </c:pt>
                <c:pt idx="540">
                  <c:v>105.94633284837344</c:v>
                </c:pt>
                <c:pt idx="541">
                  <c:v>105.68803342332306</c:v>
                </c:pt>
                <c:pt idx="542">
                  <c:v>103.90249974714652</c:v>
                </c:pt>
                <c:pt idx="543">
                  <c:v>104.24326826573706</c:v>
                </c:pt>
                <c:pt idx="544">
                  <c:v>105.81173706363333</c:v>
                </c:pt>
                <c:pt idx="545">
                  <c:v>105.82029517711392</c:v>
                </c:pt>
                <c:pt idx="546">
                  <c:v>105.10374767569404</c:v>
                </c:pt>
                <c:pt idx="547">
                  <c:v>104.0829981405552</c:v>
                </c:pt>
                <c:pt idx="548">
                  <c:v>104.47355931939643</c:v>
                </c:pt>
                <c:pt idx="549">
                  <c:v>102.53631363151861</c:v>
                </c:pt>
                <c:pt idx="550">
                  <c:v>102.54175970373352</c:v>
                </c:pt>
                <c:pt idx="551">
                  <c:v>102.25311787634287</c:v>
                </c:pt>
                <c:pt idx="552">
                  <c:v>102.85062979935098</c:v>
                </c:pt>
                <c:pt idx="553">
                  <c:v>99.830393751020992</c:v>
                </c:pt>
                <c:pt idx="554">
                  <c:v>99.459282830090189</c:v>
                </c:pt>
                <c:pt idx="555">
                  <c:v>99.585320501349699</c:v>
                </c:pt>
                <c:pt idx="556">
                  <c:v>99.967323566710334</c:v>
                </c:pt>
                <c:pt idx="557">
                  <c:v>98.14755743661145</c:v>
                </c:pt>
                <c:pt idx="558">
                  <c:v>98.254922860276977</c:v>
                </c:pt>
                <c:pt idx="559">
                  <c:v>97.431009935191582</c:v>
                </c:pt>
                <c:pt idx="560">
                  <c:v>99.095174002007113</c:v>
                </c:pt>
                <c:pt idx="561">
                  <c:v>96.838166074081983</c:v>
                </c:pt>
                <c:pt idx="562">
                  <c:v>97.515035049364599</c:v>
                </c:pt>
                <c:pt idx="563">
                  <c:v>96.43360070954526</c:v>
                </c:pt>
                <c:pt idx="564">
                  <c:v>95.563007165474843</c:v>
                </c:pt>
                <c:pt idx="565">
                  <c:v>94.52125135179277</c:v>
                </c:pt>
                <c:pt idx="566">
                  <c:v>96.890292765281899</c:v>
                </c:pt>
                <c:pt idx="567">
                  <c:v>98.054196198641435</c:v>
                </c:pt>
                <c:pt idx="568">
                  <c:v>98.082204570032459</c:v>
                </c:pt>
                <c:pt idx="569">
                  <c:v>98.029299868516119</c:v>
                </c:pt>
                <c:pt idx="570">
                  <c:v>99.35191740642469</c:v>
                </c:pt>
                <c:pt idx="571">
                  <c:v>99.755704760644988</c:v>
                </c:pt>
                <c:pt idx="572">
                  <c:v>97.448904172469184</c:v>
                </c:pt>
                <c:pt idx="573">
                  <c:v>97.85502555763874</c:v>
                </c:pt>
                <c:pt idx="574">
                  <c:v>96.035259427539856</c:v>
                </c:pt>
                <c:pt idx="575">
                  <c:v>98.278263169769488</c:v>
                </c:pt>
                <c:pt idx="576">
                  <c:v>99.916752896143237</c:v>
                </c:pt>
                <c:pt idx="577">
                  <c:v>98.603471482031694</c:v>
                </c:pt>
                <c:pt idx="578">
                  <c:v>98.053418188325011</c:v>
                </c:pt>
                <c:pt idx="579">
                  <c:v>97.174266530774048</c:v>
                </c:pt>
                <c:pt idx="580">
                  <c:v>99.964989535761106</c:v>
                </c:pt>
                <c:pt idx="581">
                  <c:v>100.30031198213676</c:v>
                </c:pt>
                <c:pt idx="582">
                  <c:v>98.501552130581132</c:v>
                </c:pt>
                <c:pt idx="583">
                  <c:v>100.85503333774193</c:v>
                </c:pt>
                <c:pt idx="584">
                  <c:v>101.55524262251703</c:v>
                </c:pt>
                <c:pt idx="585">
                  <c:v>100.3314323947934</c:v>
                </c:pt>
                <c:pt idx="586">
                  <c:v>100.03890051582069</c:v>
                </c:pt>
                <c:pt idx="587">
                  <c:v>100.59128784047662</c:v>
                </c:pt>
                <c:pt idx="588">
                  <c:v>101.0012992772283</c:v>
                </c:pt>
                <c:pt idx="589">
                  <c:v>99.476399057051367</c:v>
                </c:pt>
                <c:pt idx="590">
                  <c:v>98.549788770198973</c:v>
                </c:pt>
                <c:pt idx="591">
                  <c:v>99.16052686858616</c:v>
                </c:pt>
                <c:pt idx="592">
                  <c:v>99.40793414920671</c:v>
                </c:pt>
                <c:pt idx="593">
                  <c:v>100.53449308737824</c:v>
                </c:pt>
                <c:pt idx="594">
                  <c:v>98.561458924945242</c:v>
                </c:pt>
                <c:pt idx="595">
                  <c:v>98.924789742711894</c:v>
                </c:pt>
                <c:pt idx="596">
                  <c:v>99.714470213874947</c:v>
                </c:pt>
                <c:pt idx="597">
                  <c:v>101.1942458356997</c:v>
                </c:pt>
                <c:pt idx="598">
                  <c:v>99.805497420895705</c:v>
                </c:pt>
                <c:pt idx="599">
                  <c:v>99.397042004776907</c:v>
                </c:pt>
                <c:pt idx="600">
                  <c:v>99.19475932250856</c:v>
                </c:pt>
                <c:pt idx="601">
                  <c:v>96.226649965378485</c:v>
                </c:pt>
                <c:pt idx="602">
                  <c:v>96.652999618774899</c:v>
                </c:pt>
                <c:pt idx="603">
                  <c:v>98.635369905004893</c:v>
                </c:pt>
                <c:pt idx="604">
                  <c:v>95.268141255553019</c:v>
                </c:pt>
                <c:pt idx="605">
                  <c:v>95.853983023814877</c:v>
                </c:pt>
                <c:pt idx="606">
                  <c:v>97.177378572039842</c:v>
                </c:pt>
                <c:pt idx="607">
                  <c:v>97.383551305890293</c:v>
                </c:pt>
                <c:pt idx="608">
                  <c:v>92.793290439031196</c:v>
                </c:pt>
                <c:pt idx="609">
                  <c:v>94.418553990025885</c:v>
                </c:pt>
                <c:pt idx="610">
                  <c:v>89.96833498012181</c:v>
                </c:pt>
                <c:pt idx="611">
                  <c:v>93.867722686002779</c:v>
                </c:pt>
                <c:pt idx="612">
                  <c:v>97.646518792839146</c:v>
                </c:pt>
                <c:pt idx="613">
                  <c:v>93.912847284354939</c:v>
                </c:pt>
                <c:pt idx="614">
                  <c:v>92.444741817276451</c:v>
                </c:pt>
                <c:pt idx="615">
                  <c:v>92.261909392918497</c:v>
                </c:pt>
                <c:pt idx="616">
                  <c:v>94.075451440486049</c:v>
                </c:pt>
                <c:pt idx="617">
                  <c:v>94.373429391673682</c:v>
                </c:pt>
                <c:pt idx="618">
                  <c:v>86.078283398037811</c:v>
                </c:pt>
                <c:pt idx="619">
                  <c:v>90.744011265589322</c:v>
                </c:pt>
                <c:pt idx="620">
                  <c:v>90.331665797888419</c:v>
                </c:pt>
                <c:pt idx="621">
                  <c:v>86.692133537690665</c:v>
                </c:pt>
                <c:pt idx="622">
                  <c:v>85.521228011483387</c:v>
                </c:pt>
                <c:pt idx="623">
                  <c:v>82.227132331774683</c:v>
                </c:pt>
                <c:pt idx="624">
                  <c:v>77.507721752390395</c:v>
                </c:pt>
                <c:pt idx="625">
                  <c:v>76.629348105155842</c:v>
                </c:pt>
                <c:pt idx="626">
                  <c:v>70.792714711397025</c:v>
                </c:pt>
                <c:pt idx="627">
                  <c:v>69.960243672831055</c:v>
                </c:pt>
                <c:pt idx="628">
                  <c:v>78.061665097679153</c:v>
                </c:pt>
                <c:pt idx="629">
                  <c:v>77.646207588712585</c:v>
                </c:pt>
                <c:pt idx="630">
                  <c:v>70.630888565582339</c:v>
                </c:pt>
                <c:pt idx="631">
                  <c:v>73.633230376634742</c:v>
                </c:pt>
                <c:pt idx="632">
                  <c:v>73.175760310581666</c:v>
                </c:pt>
                <c:pt idx="633">
                  <c:v>76.665136579710989</c:v>
                </c:pt>
                <c:pt idx="634">
                  <c:v>74.303875269386012</c:v>
                </c:pt>
                <c:pt idx="635">
                  <c:v>69.770409155625359</c:v>
                </c:pt>
                <c:pt idx="636">
                  <c:v>70.651894844125579</c:v>
                </c:pt>
                <c:pt idx="637">
                  <c:v>68.213610512475341</c:v>
                </c:pt>
                <c:pt idx="638">
                  <c:v>66.046851781254574</c:v>
                </c:pt>
                <c:pt idx="639">
                  <c:v>73.172648269315999</c:v>
                </c:pt>
                <c:pt idx="640">
                  <c:v>72.361961519609693</c:v>
                </c:pt>
                <c:pt idx="641">
                  <c:v>74.229186279009994</c:v>
                </c:pt>
                <c:pt idx="642">
                  <c:v>75.369749402877019</c:v>
                </c:pt>
                <c:pt idx="643">
                  <c:v>75.179136875354899</c:v>
                </c:pt>
                <c:pt idx="644">
                  <c:v>78.248387573619155</c:v>
                </c:pt>
                <c:pt idx="645">
                  <c:v>74.126488917242966</c:v>
                </c:pt>
                <c:pt idx="646">
                  <c:v>70.400597511922939</c:v>
                </c:pt>
                <c:pt idx="647">
                  <c:v>72.431982448087197</c:v>
                </c:pt>
                <c:pt idx="648">
                  <c:v>71.515486295348211</c:v>
                </c:pt>
                <c:pt idx="649">
                  <c:v>69.939237394287773</c:v>
                </c:pt>
                <c:pt idx="650">
                  <c:v>66.309819268203427</c:v>
                </c:pt>
                <c:pt idx="651">
                  <c:v>70.8993021247461</c:v>
                </c:pt>
                <c:pt idx="652">
                  <c:v>67.942862922362295</c:v>
                </c:pt>
                <c:pt idx="653">
                  <c:v>66.189227669158839</c:v>
                </c:pt>
                <c:pt idx="654">
                  <c:v>66.840422303999702</c:v>
                </c:pt>
                <c:pt idx="655">
                  <c:v>62.75275610154587</c:v>
                </c:pt>
                <c:pt idx="656">
                  <c:v>58.540608248465347</c:v>
                </c:pt>
                <c:pt idx="657">
                  <c:v>62.243159344292856</c:v>
                </c:pt>
                <c:pt idx="658">
                  <c:v>66.271696762699023</c:v>
                </c:pt>
                <c:pt idx="659">
                  <c:v>66.705826519259602</c:v>
                </c:pt>
                <c:pt idx="660">
                  <c:v>69.06241976768608</c:v>
                </c:pt>
                <c:pt idx="661">
                  <c:v>69.728396598538851</c:v>
                </c:pt>
                <c:pt idx="662">
                  <c:v>63.501980036255247</c:v>
                </c:pt>
                <c:pt idx="663">
                  <c:v>66.038293667773985</c:v>
                </c:pt>
                <c:pt idx="664">
                  <c:v>67.744470291676024</c:v>
                </c:pt>
                <c:pt idx="665">
                  <c:v>65.758987964180378</c:v>
                </c:pt>
                <c:pt idx="666">
                  <c:v>68.159149790326197</c:v>
                </c:pt>
                <c:pt idx="667">
                  <c:v>70.775598484435875</c:v>
                </c:pt>
                <c:pt idx="668">
                  <c:v>69.139442789011355</c:v>
                </c:pt>
                <c:pt idx="669">
                  <c:v>69.961799693463902</c:v>
                </c:pt>
                <c:pt idx="670">
                  <c:v>67.96620323185482</c:v>
                </c:pt>
                <c:pt idx="671">
                  <c:v>68.443901566134727</c:v>
                </c:pt>
                <c:pt idx="672">
                  <c:v>67.575642053013581</c:v>
                </c:pt>
                <c:pt idx="673">
                  <c:v>71.046346074548907</c:v>
                </c:pt>
                <c:pt idx="674">
                  <c:v>70.364809037367792</c:v>
                </c:pt>
                <c:pt idx="675">
                  <c:v>68.875697291746036</c:v>
                </c:pt>
                <c:pt idx="676">
                  <c:v>69.077979974014397</c:v>
                </c:pt>
                <c:pt idx="677">
                  <c:v>67.813713209837118</c:v>
                </c:pt>
                <c:pt idx="678">
                  <c:v>67.15473847183209</c:v>
                </c:pt>
                <c:pt idx="679">
                  <c:v>67.542965619724072</c:v>
                </c:pt>
                <c:pt idx="680">
                  <c:v>67.904740416857862</c:v>
                </c:pt>
                <c:pt idx="681">
                  <c:v>67.641772929908981</c:v>
                </c:pt>
                <c:pt idx="682">
                  <c:v>69.292710821345423</c:v>
                </c:pt>
                <c:pt idx="683">
                  <c:v>70.273781830347005</c:v>
                </c:pt>
                <c:pt idx="684">
                  <c:v>72.495001283716945</c:v>
                </c:pt>
                <c:pt idx="685">
                  <c:v>72.156566796075637</c:v>
                </c:pt>
                <c:pt idx="686">
                  <c:v>72.720624275477817</c:v>
                </c:pt>
                <c:pt idx="687">
                  <c:v>70.538305337928705</c:v>
                </c:pt>
                <c:pt idx="688">
                  <c:v>70.777932515385075</c:v>
                </c:pt>
                <c:pt idx="689">
                  <c:v>69.270148522169336</c:v>
                </c:pt>
                <c:pt idx="690">
                  <c:v>67.707125796487986</c:v>
                </c:pt>
                <c:pt idx="691">
                  <c:v>67.826161374899769</c:v>
                </c:pt>
                <c:pt idx="692">
                  <c:v>65.556705281911974</c:v>
                </c:pt>
                <c:pt idx="693">
                  <c:v>65.643842437350656</c:v>
                </c:pt>
                <c:pt idx="694">
                  <c:v>66.140213019224575</c:v>
                </c:pt>
                <c:pt idx="695">
                  <c:v>62.646946698513176</c:v>
                </c:pt>
                <c:pt idx="696">
                  <c:v>65.371538826604791</c:v>
                </c:pt>
                <c:pt idx="697">
                  <c:v>64.380353683489787</c:v>
                </c:pt>
                <c:pt idx="698">
                  <c:v>64.726568274295275</c:v>
                </c:pt>
                <c:pt idx="699">
                  <c:v>65.086009040479837</c:v>
                </c:pt>
                <c:pt idx="700">
                  <c:v>65.797110469684796</c:v>
                </c:pt>
                <c:pt idx="701">
                  <c:v>68.005103747675648</c:v>
                </c:pt>
                <c:pt idx="702">
                  <c:v>65.752763881649017</c:v>
                </c:pt>
                <c:pt idx="703">
                  <c:v>64.254316012230277</c:v>
                </c:pt>
                <c:pt idx="704">
                  <c:v>64.220083558307948</c:v>
                </c:pt>
                <c:pt idx="705">
                  <c:v>65.236943041864691</c:v>
                </c:pt>
                <c:pt idx="706">
                  <c:v>64.748352563154953</c:v>
                </c:pt>
                <c:pt idx="707">
                  <c:v>65.808002614114628</c:v>
                </c:pt>
                <c:pt idx="708">
                  <c:v>67.577976083962852</c:v>
                </c:pt>
                <c:pt idx="709">
                  <c:v>67.678339414780623</c:v>
                </c:pt>
                <c:pt idx="710">
                  <c:v>64.353901332731652</c:v>
                </c:pt>
                <c:pt idx="711">
                  <c:v>64.865832120933916</c:v>
                </c:pt>
                <c:pt idx="712">
                  <c:v>64.978643616814352</c:v>
                </c:pt>
                <c:pt idx="713">
                  <c:v>64.329005002606337</c:v>
                </c:pt>
                <c:pt idx="714">
                  <c:v>61.398240140664257</c:v>
                </c:pt>
                <c:pt idx="715">
                  <c:v>61.339889366932994</c:v>
                </c:pt>
                <c:pt idx="716">
                  <c:v>60.602335586969879</c:v>
                </c:pt>
                <c:pt idx="717">
                  <c:v>59.910684415675334</c:v>
                </c:pt>
                <c:pt idx="718">
                  <c:v>57.831840850209659</c:v>
                </c:pt>
                <c:pt idx="719">
                  <c:v>60.151089603448114</c:v>
                </c:pt>
                <c:pt idx="720">
                  <c:v>59.510009102720673</c:v>
                </c:pt>
                <c:pt idx="721">
                  <c:v>58.570950650805607</c:v>
                </c:pt>
                <c:pt idx="722">
                  <c:v>57.190760349482218</c:v>
                </c:pt>
                <c:pt idx="723">
                  <c:v>54.524518995121866</c:v>
                </c:pt>
                <c:pt idx="724">
                  <c:v>54.175192363050726</c:v>
                </c:pt>
                <c:pt idx="725">
                  <c:v>55.462021426404107</c:v>
                </c:pt>
                <c:pt idx="726">
                  <c:v>53.103094147028379</c:v>
                </c:pt>
                <c:pt idx="727">
                  <c:v>53.167669003290982</c:v>
                </c:pt>
                <c:pt idx="728">
                  <c:v>52.634731936545478</c:v>
                </c:pt>
                <c:pt idx="729">
                  <c:v>55.985622369352619</c:v>
                </c:pt>
                <c:pt idx="730">
                  <c:v>56.122552185041975</c:v>
                </c:pt>
                <c:pt idx="731">
                  <c:v>58.408346494674518</c:v>
                </c:pt>
                <c:pt idx="732">
                  <c:v>58.860370488512686</c:v>
                </c:pt>
                <c:pt idx="733">
                  <c:v>58.653419744345818</c:v>
                </c:pt>
                <c:pt idx="734">
                  <c:v>60.538538741023714</c:v>
                </c:pt>
                <c:pt idx="735">
                  <c:v>61.801249484568167</c:v>
                </c:pt>
                <c:pt idx="736">
                  <c:v>60.99912084834245</c:v>
                </c:pt>
                <c:pt idx="737">
                  <c:v>59.793204857896406</c:v>
                </c:pt>
                <c:pt idx="738">
                  <c:v>64.024024958570948</c:v>
                </c:pt>
                <c:pt idx="739">
                  <c:v>62.716967626990744</c:v>
                </c:pt>
                <c:pt idx="740">
                  <c:v>63.32070363253019</c:v>
                </c:pt>
                <c:pt idx="741">
                  <c:v>64.797367213089288</c:v>
                </c:pt>
                <c:pt idx="742">
                  <c:v>63.480973757712071</c:v>
                </c:pt>
                <c:pt idx="743">
                  <c:v>61.270646448771949</c:v>
                </c:pt>
                <c:pt idx="744">
                  <c:v>62.075109115946915</c:v>
                </c:pt>
                <c:pt idx="745">
                  <c:v>63.102860743933505</c:v>
                </c:pt>
                <c:pt idx="746">
                  <c:v>64.915624781184633</c:v>
                </c:pt>
                <c:pt idx="747">
                  <c:v>65.547369158115075</c:v>
                </c:pt>
                <c:pt idx="748">
                  <c:v>65.001205915990482</c:v>
                </c:pt>
                <c:pt idx="749">
                  <c:v>63.450631355371804</c:v>
                </c:pt>
                <c:pt idx="750">
                  <c:v>64.198299269448356</c:v>
                </c:pt>
                <c:pt idx="751">
                  <c:v>66.641251662997092</c:v>
                </c:pt>
                <c:pt idx="752">
                  <c:v>66.810079901659535</c:v>
                </c:pt>
                <c:pt idx="753">
                  <c:v>65.469568126473391</c:v>
                </c:pt>
                <c:pt idx="754">
                  <c:v>66.291147020609515</c:v>
                </c:pt>
                <c:pt idx="755">
                  <c:v>67.321232679545346</c:v>
                </c:pt>
                <c:pt idx="756">
                  <c:v>67.655777115604565</c:v>
                </c:pt>
                <c:pt idx="757">
                  <c:v>64.76080072821766</c:v>
                </c:pt>
                <c:pt idx="758">
                  <c:v>66.13710097795898</c:v>
                </c:pt>
                <c:pt idx="759">
                  <c:v>65.629060241338806</c:v>
                </c:pt>
                <c:pt idx="760">
                  <c:v>66.280254876179654</c:v>
                </c:pt>
                <c:pt idx="761">
                  <c:v>67.393587638972093</c:v>
                </c:pt>
                <c:pt idx="762">
                  <c:v>66.715162643056644</c:v>
                </c:pt>
                <c:pt idx="763">
                  <c:v>66.532330218698689</c:v>
                </c:pt>
                <c:pt idx="764">
                  <c:v>67.970093283436938</c:v>
                </c:pt>
                <c:pt idx="765">
                  <c:v>67.905518427174357</c:v>
                </c:pt>
                <c:pt idx="766">
                  <c:v>68.271961286206661</c:v>
                </c:pt>
                <c:pt idx="767">
                  <c:v>70.584207946597388</c:v>
                </c:pt>
                <c:pt idx="768">
                  <c:v>70.316572397750008</c:v>
                </c:pt>
                <c:pt idx="769">
                  <c:v>71.54038262547364</c:v>
                </c:pt>
                <c:pt idx="770">
                  <c:v>70.595878101343644</c:v>
                </c:pt>
                <c:pt idx="771">
                  <c:v>72.295052632397926</c:v>
                </c:pt>
                <c:pt idx="772">
                  <c:v>70.739810009880756</c:v>
                </c:pt>
                <c:pt idx="773">
                  <c:v>70.670567091719661</c:v>
                </c:pt>
                <c:pt idx="774">
                  <c:v>68.769887888713427</c:v>
                </c:pt>
                <c:pt idx="775">
                  <c:v>69.48176732823481</c:v>
                </c:pt>
                <c:pt idx="776">
                  <c:v>68.688974815806105</c:v>
                </c:pt>
                <c:pt idx="777">
                  <c:v>70.77637649475237</c:v>
                </c:pt>
                <c:pt idx="778">
                  <c:v>70.653450864758511</c:v>
                </c:pt>
                <c:pt idx="779">
                  <c:v>70.290898057308283</c:v>
                </c:pt>
                <c:pt idx="780">
                  <c:v>69.112990438253249</c:v>
                </c:pt>
                <c:pt idx="781">
                  <c:v>69.009515066169811</c:v>
                </c:pt>
                <c:pt idx="782">
                  <c:v>70.82461313437021</c:v>
                </c:pt>
                <c:pt idx="783">
                  <c:v>69.4809893179184</c:v>
                </c:pt>
                <c:pt idx="784">
                  <c:v>70.552309523624331</c:v>
                </c:pt>
                <c:pt idx="785">
                  <c:v>71.510040223133402</c:v>
                </c:pt>
                <c:pt idx="786">
                  <c:v>73.356258703990463</c:v>
                </c:pt>
                <c:pt idx="787">
                  <c:v>73.501746633160394</c:v>
                </c:pt>
                <c:pt idx="788">
                  <c:v>72.491889242451393</c:v>
                </c:pt>
                <c:pt idx="789">
                  <c:v>73.324360281017363</c:v>
                </c:pt>
                <c:pt idx="790">
                  <c:v>73.139971836026589</c:v>
                </c:pt>
                <c:pt idx="791">
                  <c:v>73.066060855966995</c:v>
                </c:pt>
                <c:pt idx="792">
                  <c:v>73.32202625006812</c:v>
                </c:pt>
                <c:pt idx="793">
                  <c:v>73.066838866283419</c:v>
                </c:pt>
                <c:pt idx="794">
                  <c:v>73.51341678790665</c:v>
                </c:pt>
                <c:pt idx="795">
                  <c:v>73.616114149673678</c:v>
                </c:pt>
                <c:pt idx="796">
                  <c:v>71.866368948052283</c:v>
                </c:pt>
                <c:pt idx="797">
                  <c:v>70.95220682626254</c:v>
                </c:pt>
                <c:pt idx="798">
                  <c:v>70.854177526394025</c:v>
                </c:pt>
                <c:pt idx="799">
                  <c:v>71.450133428769291</c:v>
                </c:pt>
                <c:pt idx="800">
                  <c:v>71.672644379264497</c:v>
                </c:pt>
                <c:pt idx="801">
                  <c:v>69.479433297285553</c:v>
                </c:pt>
                <c:pt idx="802">
                  <c:v>69.63970342246742</c:v>
                </c:pt>
                <c:pt idx="803">
                  <c:v>70.094061447254816</c:v>
                </c:pt>
                <c:pt idx="804">
                  <c:v>71.59717737857207</c:v>
                </c:pt>
                <c:pt idx="805">
                  <c:v>71.49136797553939</c:v>
                </c:pt>
                <c:pt idx="806">
                  <c:v>72.139450569114587</c:v>
                </c:pt>
                <c:pt idx="807">
                  <c:v>71.524044408828914</c:v>
                </c:pt>
                <c:pt idx="808">
                  <c:v>71.836026545712045</c:v>
                </c:pt>
                <c:pt idx="809">
                  <c:v>69.742400784234434</c:v>
                </c:pt>
                <c:pt idx="810">
                  <c:v>69.921343157010284</c:v>
                </c:pt>
                <c:pt idx="811">
                  <c:v>68.545042907268979</c:v>
                </c:pt>
                <c:pt idx="812">
                  <c:v>68.430675390755695</c:v>
                </c:pt>
                <c:pt idx="813">
                  <c:v>68.673414609477732</c:v>
                </c:pt>
                <c:pt idx="814">
                  <c:v>68.397220947149762</c:v>
                </c:pt>
                <c:pt idx="815">
                  <c:v>70.102619560735363</c:v>
                </c:pt>
                <c:pt idx="816">
                  <c:v>70.475286502298999</c:v>
                </c:pt>
                <c:pt idx="817">
                  <c:v>72.563466191561673</c:v>
                </c:pt>
                <c:pt idx="818">
                  <c:v>73.190542506593616</c:v>
                </c:pt>
                <c:pt idx="819">
                  <c:v>73.16253413520262</c:v>
                </c:pt>
                <c:pt idx="820">
                  <c:v>73.998895225350694</c:v>
                </c:pt>
                <c:pt idx="821">
                  <c:v>74.267308784514498</c:v>
                </c:pt>
                <c:pt idx="822">
                  <c:v>74.227630258377246</c:v>
                </c:pt>
                <c:pt idx="823">
                  <c:v>75.956369181455358</c:v>
                </c:pt>
                <c:pt idx="824">
                  <c:v>76.187438245431153</c:v>
                </c:pt>
                <c:pt idx="825">
                  <c:v>76.414617257824858</c:v>
                </c:pt>
                <c:pt idx="826">
                  <c:v>76.215446616822163</c:v>
                </c:pt>
                <c:pt idx="827">
                  <c:v>75.867676005383856</c:v>
                </c:pt>
                <c:pt idx="828">
                  <c:v>76.77016797242733</c:v>
                </c:pt>
                <c:pt idx="829">
                  <c:v>76.82696272552576</c:v>
                </c:pt>
                <c:pt idx="830">
                  <c:v>78.005648354897218</c:v>
                </c:pt>
                <c:pt idx="831">
                  <c:v>78.240607470455075</c:v>
                </c:pt>
                <c:pt idx="832">
                  <c:v>78.012650447744946</c:v>
                </c:pt>
                <c:pt idx="833">
                  <c:v>77.573852629285881</c:v>
                </c:pt>
                <c:pt idx="834">
                  <c:v>78.616386453284392</c:v>
                </c:pt>
                <c:pt idx="835">
                  <c:v>78.353418966335511</c:v>
                </c:pt>
                <c:pt idx="836">
                  <c:v>77.361455812904111</c:v>
                </c:pt>
                <c:pt idx="837">
                  <c:v>78.253055635517754</c:v>
                </c:pt>
                <c:pt idx="838">
                  <c:v>78.791438774478166</c:v>
                </c:pt>
                <c:pt idx="839">
                  <c:v>78.119237861094049</c:v>
                </c:pt>
                <c:pt idx="840">
                  <c:v>76.224004730302738</c:v>
                </c:pt>
                <c:pt idx="841">
                  <c:v>76.997346984821036</c:v>
                </c:pt>
                <c:pt idx="842">
                  <c:v>77.52561598966804</c:v>
                </c:pt>
                <c:pt idx="843">
                  <c:v>78.374425244878765</c:v>
                </c:pt>
                <c:pt idx="844">
                  <c:v>79.833972598476691</c:v>
                </c:pt>
                <c:pt idx="845">
                  <c:v>79.790404020757336</c:v>
                </c:pt>
                <c:pt idx="846">
                  <c:v>79.979460527646623</c:v>
                </c:pt>
                <c:pt idx="847">
                  <c:v>79.988796651443607</c:v>
                </c:pt>
                <c:pt idx="848">
                  <c:v>80.211307601938827</c:v>
                </c:pt>
                <c:pt idx="849">
                  <c:v>80.051815487073398</c:v>
                </c:pt>
                <c:pt idx="850">
                  <c:v>79.405288914131035</c:v>
                </c:pt>
                <c:pt idx="851">
                  <c:v>77.648541619661898</c:v>
                </c:pt>
                <c:pt idx="852">
                  <c:v>77.392576225560774</c:v>
                </c:pt>
                <c:pt idx="853">
                  <c:v>78.053106984198635</c:v>
                </c:pt>
                <c:pt idx="854">
                  <c:v>79.076968560603135</c:v>
                </c:pt>
                <c:pt idx="855">
                  <c:v>79.776399835061838</c:v>
                </c:pt>
                <c:pt idx="856">
                  <c:v>80.397252067562434</c:v>
                </c:pt>
                <c:pt idx="857">
                  <c:v>81.235169178343341</c:v>
                </c:pt>
                <c:pt idx="858">
                  <c:v>81.125469723728557</c:v>
                </c:pt>
                <c:pt idx="859">
                  <c:v>81.639734542880035</c:v>
                </c:pt>
                <c:pt idx="860">
                  <c:v>81.895699936981174</c:v>
                </c:pt>
                <c:pt idx="861">
                  <c:v>83.150630577361454</c:v>
                </c:pt>
                <c:pt idx="862">
                  <c:v>82.896221203893163</c:v>
                </c:pt>
                <c:pt idx="863">
                  <c:v>83.114842102806278</c:v>
                </c:pt>
                <c:pt idx="864">
                  <c:v>82.831646347630567</c:v>
                </c:pt>
                <c:pt idx="865">
                  <c:v>83.376253569122326</c:v>
                </c:pt>
                <c:pt idx="866">
                  <c:v>82.536780437708586</c:v>
                </c:pt>
                <c:pt idx="867">
                  <c:v>81.751768028444062</c:v>
                </c:pt>
                <c:pt idx="868">
                  <c:v>81.253841425937324</c:v>
                </c:pt>
                <c:pt idx="869">
                  <c:v>82.700940614472557</c:v>
                </c:pt>
                <c:pt idx="870">
                  <c:v>82.51655216948177</c:v>
                </c:pt>
                <c:pt idx="871">
                  <c:v>82.241914527786648</c:v>
                </c:pt>
                <c:pt idx="872">
                  <c:v>80.123392436183721</c:v>
                </c:pt>
                <c:pt idx="873">
                  <c:v>79.762395649366326</c:v>
                </c:pt>
                <c:pt idx="874">
                  <c:v>80.948861381901949</c:v>
                </c:pt>
                <c:pt idx="875">
                  <c:v>82.058304093112284</c:v>
                </c:pt>
                <c:pt idx="876">
                  <c:v>82.280815043607475</c:v>
                </c:pt>
                <c:pt idx="877">
                  <c:v>82.895443193576753</c:v>
                </c:pt>
                <c:pt idx="878">
                  <c:v>83.363027393743238</c:v>
                </c:pt>
                <c:pt idx="879">
                  <c:v>83.728692242459147</c:v>
                </c:pt>
                <c:pt idx="880">
                  <c:v>83.495289147534095</c:v>
                </c:pt>
                <c:pt idx="881">
                  <c:v>84.960282573346902</c:v>
                </c:pt>
                <c:pt idx="882">
                  <c:v>85.313499257000117</c:v>
                </c:pt>
                <c:pt idx="883">
                  <c:v>84.622626096022017</c:v>
                </c:pt>
                <c:pt idx="884">
                  <c:v>85.418530649716416</c:v>
                </c:pt>
                <c:pt idx="885">
                  <c:v>84.885593582970898</c:v>
                </c:pt>
                <c:pt idx="886">
                  <c:v>84.134035617312293</c:v>
                </c:pt>
                <c:pt idx="887">
                  <c:v>85.029525491508025</c:v>
                </c:pt>
                <c:pt idx="888">
                  <c:v>83.993993760357256</c:v>
                </c:pt>
                <c:pt idx="889">
                  <c:v>83.009810710090022</c:v>
                </c:pt>
                <c:pt idx="890">
                  <c:v>82.734395058078476</c:v>
                </c:pt>
                <c:pt idx="891">
                  <c:v>81.117689620564391</c:v>
                </c:pt>
                <c:pt idx="892">
                  <c:v>82.944457843511017</c:v>
                </c:pt>
                <c:pt idx="893">
                  <c:v>80.616650976791973</c:v>
                </c:pt>
                <c:pt idx="894">
                  <c:v>81.137139878474812</c:v>
                </c:pt>
                <c:pt idx="895">
                  <c:v>81.333976488528251</c:v>
                </c:pt>
                <c:pt idx="896">
                  <c:v>81.418779613017676</c:v>
                </c:pt>
                <c:pt idx="897">
                  <c:v>82.984914379964692</c:v>
                </c:pt>
                <c:pt idx="898">
                  <c:v>83.192643134447977</c:v>
                </c:pt>
                <c:pt idx="899">
                  <c:v>85.042751666887099</c:v>
                </c:pt>
                <c:pt idx="900">
                  <c:v>85.037305594672191</c:v>
                </c:pt>
                <c:pt idx="901">
                  <c:v>85.465211268701424</c:v>
                </c:pt>
                <c:pt idx="902">
                  <c:v>84.588393642099703</c:v>
                </c:pt>
                <c:pt idx="903">
                  <c:v>85.07387207954379</c:v>
                </c:pt>
                <c:pt idx="904">
                  <c:v>86.30468440011515</c:v>
                </c:pt>
                <c:pt idx="905">
                  <c:v>86.384041452389667</c:v>
                </c:pt>
                <c:pt idx="906">
                  <c:v>86.343584915935992</c:v>
                </c:pt>
                <c:pt idx="907">
                  <c:v>85.184349544474969</c:v>
                </c:pt>
                <c:pt idx="908">
                  <c:v>84.910489913096256</c:v>
                </c:pt>
                <c:pt idx="909">
                  <c:v>86.066613243291613</c:v>
                </c:pt>
                <c:pt idx="910">
                  <c:v>86.020710634623029</c:v>
                </c:pt>
                <c:pt idx="911">
                  <c:v>86.408159772198601</c:v>
                </c:pt>
                <c:pt idx="912">
                  <c:v>84.919048026576846</c:v>
                </c:pt>
                <c:pt idx="913">
                  <c:v>85.241144297573413</c:v>
                </c:pt>
                <c:pt idx="914">
                  <c:v>86.270451946192821</c:v>
                </c:pt>
                <c:pt idx="915">
                  <c:v>86.300016338216665</c:v>
                </c:pt>
                <c:pt idx="916">
                  <c:v>85.574910723316208</c:v>
                </c:pt>
                <c:pt idx="917">
                  <c:v>86.046384975064782</c:v>
                </c:pt>
                <c:pt idx="918">
                  <c:v>85.833988158682999</c:v>
                </c:pt>
                <c:pt idx="919">
                  <c:v>84.954058490815612</c:v>
                </c:pt>
                <c:pt idx="920">
                  <c:v>85.266040627698743</c:v>
                </c:pt>
                <c:pt idx="921">
                  <c:v>85.763967230205481</c:v>
                </c:pt>
                <c:pt idx="922">
                  <c:v>86.079839418670716</c:v>
                </c:pt>
                <c:pt idx="923">
                  <c:v>86.67890736231162</c:v>
                </c:pt>
                <c:pt idx="924">
                  <c:v>86.19809698676606</c:v>
                </c:pt>
                <c:pt idx="925">
                  <c:v>86.295348276318137</c:v>
                </c:pt>
                <c:pt idx="926">
                  <c:v>85.276154761812123</c:v>
                </c:pt>
                <c:pt idx="927">
                  <c:v>85.773303354002465</c:v>
                </c:pt>
                <c:pt idx="928">
                  <c:v>86.674239300413106</c:v>
                </c:pt>
                <c:pt idx="929">
                  <c:v>86.983109396030557</c:v>
                </c:pt>
                <c:pt idx="930">
                  <c:v>87.183058047349675</c:v>
                </c:pt>
                <c:pt idx="931">
                  <c:v>87.641306123719176</c:v>
                </c:pt>
                <c:pt idx="932">
                  <c:v>87.742447464853356</c:v>
                </c:pt>
                <c:pt idx="933">
                  <c:v>87.619521834859512</c:v>
                </c:pt>
                <c:pt idx="934">
                  <c:v>87.63663806182069</c:v>
                </c:pt>
                <c:pt idx="935">
                  <c:v>86.755930383636866</c:v>
                </c:pt>
                <c:pt idx="936">
                  <c:v>88.147790839706531</c:v>
                </c:pt>
                <c:pt idx="937">
                  <c:v>88.422428481401653</c:v>
                </c:pt>
                <c:pt idx="938">
                  <c:v>88.470665121019493</c:v>
                </c:pt>
                <c:pt idx="939">
                  <c:v>88.824659814989147</c:v>
                </c:pt>
                <c:pt idx="940">
                  <c:v>89.080625209090257</c:v>
                </c:pt>
                <c:pt idx="941">
                  <c:v>89.236227272373625</c:v>
                </c:pt>
                <c:pt idx="942">
                  <c:v>88.399088171909156</c:v>
                </c:pt>
                <c:pt idx="943">
                  <c:v>89.135085931239431</c:v>
                </c:pt>
                <c:pt idx="944">
                  <c:v>89.351372799203304</c:v>
                </c:pt>
                <c:pt idx="945">
                  <c:v>88.38430597589722</c:v>
                </c:pt>
                <c:pt idx="946">
                  <c:v>89.48908062520907</c:v>
                </c:pt>
                <c:pt idx="947">
                  <c:v>88.540686049496983</c:v>
                </c:pt>
                <c:pt idx="948">
                  <c:v>86.863295807302379</c:v>
                </c:pt>
                <c:pt idx="949">
                  <c:v>84.940054305120043</c:v>
                </c:pt>
                <c:pt idx="950">
                  <c:v>85.330615483961267</c:v>
                </c:pt>
                <c:pt idx="951">
                  <c:v>84.971952728093129</c:v>
                </c:pt>
                <c:pt idx="952">
                  <c:v>85.386632226743259</c:v>
                </c:pt>
                <c:pt idx="953">
                  <c:v>84.377552846350682</c:v>
                </c:pt>
                <c:pt idx="954">
                  <c:v>83.548193849050378</c:v>
                </c:pt>
                <c:pt idx="955">
                  <c:v>84.74010565380091</c:v>
                </c:pt>
                <c:pt idx="956">
                  <c:v>85.839434230897822</c:v>
                </c:pt>
                <c:pt idx="957">
                  <c:v>85.369515999782081</c:v>
                </c:pt>
                <c:pt idx="958">
                  <c:v>82.711054748585894</c:v>
                </c:pt>
                <c:pt idx="959">
                  <c:v>82.950681926042265</c:v>
                </c:pt>
                <c:pt idx="960">
                  <c:v>82.215462177028385</c:v>
                </c:pt>
                <c:pt idx="961">
                  <c:v>83.28756039305074</c:v>
                </c:pt>
                <c:pt idx="962">
                  <c:v>83.101615927427133</c:v>
                </c:pt>
                <c:pt idx="963">
                  <c:v>83.906078594602093</c:v>
                </c:pt>
                <c:pt idx="964">
                  <c:v>83.675787540942707</c:v>
                </c:pt>
                <c:pt idx="965">
                  <c:v>85.182015513525613</c:v>
                </c:pt>
                <c:pt idx="966">
                  <c:v>85.543012300343008</c:v>
                </c:pt>
                <c:pt idx="967">
                  <c:v>86.106291769428765</c:v>
                </c:pt>
                <c:pt idx="968">
                  <c:v>86.294570266001642</c:v>
                </c:pt>
                <c:pt idx="969">
                  <c:v>86.204321069297293</c:v>
                </c:pt>
                <c:pt idx="970">
                  <c:v>85.161009234982359</c:v>
                </c:pt>
                <c:pt idx="971">
                  <c:v>85.988812211649844</c:v>
                </c:pt>
                <c:pt idx="972">
                  <c:v>85.809869838873979</c:v>
                </c:pt>
                <c:pt idx="973">
                  <c:v>85.930461437918595</c:v>
                </c:pt>
                <c:pt idx="974">
                  <c:v>86.803389012938226</c:v>
                </c:pt>
                <c:pt idx="975">
                  <c:v>87.005671695206587</c:v>
                </c:pt>
                <c:pt idx="976">
                  <c:v>87.043016190394596</c:v>
                </c:pt>
                <c:pt idx="977">
                  <c:v>87.368224502656815</c:v>
                </c:pt>
                <c:pt idx="978">
                  <c:v>88.592034730380433</c:v>
                </c:pt>
                <c:pt idx="979">
                  <c:v>88.576474524052088</c:v>
                </c:pt>
                <c:pt idx="980">
                  <c:v>88.728186535753366</c:v>
                </c:pt>
                <c:pt idx="981">
                  <c:v>89.129639859024408</c:v>
                </c:pt>
                <c:pt idx="982">
                  <c:v>89.489858635525394</c:v>
                </c:pt>
                <c:pt idx="983">
                  <c:v>89.470408377614987</c:v>
                </c:pt>
                <c:pt idx="984">
                  <c:v>89.510864914068662</c:v>
                </c:pt>
                <c:pt idx="985">
                  <c:v>90.2071841472617</c:v>
                </c:pt>
                <c:pt idx="986">
                  <c:v>90.732341110843024</c:v>
                </c:pt>
                <c:pt idx="987">
                  <c:v>90.70277671881918</c:v>
                </c:pt>
                <c:pt idx="988">
                  <c:v>90.241416601184028</c:v>
                </c:pt>
                <c:pt idx="989">
                  <c:v>90.701220698186333</c:v>
                </c:pt>
                <c:pt idx="990">
                  <c:v>91.351637322710786</c:v>
                </c:pt>
                <c:pt idx="991">
                  <c:v>90.849820668621959</c:v>
                </c:pt>
                <c:pt idx="992">
                  <c:v>90.694996615655029</c:v>
                </c:pt>
                <c:pt idx="993">
                  <c:v>90.761905502866867</c:v>
                </c:pt>
                <c:pt idx="994">
                  <c:v>91.277726342651221</c:v>
                </c:pt>
                <c:pt idx="995">
                  <c:v>91.281616394233296</c:v>
                </c:pt>
                <c:pt idx="996">
                  <c:v>90.982860432729254</c:v>
                </c:pt>
                <c:pt idx="997">
                  <c:v>91.657395377062599</c:v>
                </c:pt>
                <c:pt idx="998">
                  <c:v>92.384057012595889</c:v>
                </c:pt>
                <c:pt idx="999">
                  <c:v>92.539659075879257</c:v>
                </c:pt>
                <c:pt idx="1000">
                  <c:v>91.995829864703907</c:v>
                </c:pt>
                <c:pt idx="1001">
                  <c:v>92.306255980954205</c:v>
                </c:pt>
                <c:pt idx="1002">
                  <c:v>92.923218161872711</c:v>
                </c:pt>
                <c:pt idx="1003">
                  <c:v>93.087378338636654</c:v>
                </c:pt>
                <c:pt idx="1004">
                  <c:v>93.151175184582812</c:v>
                </c:pt>
                <c:pt idx="1005">
                  <c:v>94.189818956999233</c:v>
                </c:pt>
                <c:pt idx="1006">
                  <c:v>94.269176009273735</c:v>
                </c:pt>
                <c:pt idx="1007">
                  <c:v>92.748943850995332</c:v>
                </c:pt>
                <c:pt idx="1008">
                  <c:v>93.168291411543962</c:v>
                </c:pt>
                <c:pt idx="1009">
                  <c:v>93.919071366886186</c:v>
                </c:pt>
                <c:pt idx="1010">
                  <c:v>93.823376097966914</c:v>
                </c:pt>
                <c:pt idx="1011">
                  <c:v>94.035772914348698</c:v>
                </c:pt>
                <c:pt idx="1012">
                  <c:v>94.705639796783544</c:v>
                </c:pt>
                <c:pt idx="1013">
                  <c:v>94.298740401297565</c:v>
                </c:pt>
                <c:pt idx="1014">
                  <c:v>92.093859164572379</c:v>
                </c:pt>
                <c:pt idx="1015">
                  <c:v>92.689037056631221</c:v>
                </c:pt>
                <c:pt idx="1016">
                  <c:v>93.888728964545919</c:v>
                </c:pt>
                <c:pt idx="1017">
                  <c:v>92.325706238864598</c:v>
                </c:pt>
                <c:pt idx="1018">
                  <c:v>93.537068301525537</c:v>
                </c:pt>
                <c:pt idx="1019">
                  <c:v>91.307290734674993</c:v>
                </c:pt>
                <c:pt idx="1020">
                  <c:v>90.708222791034075</c:v>
                </c:pt>
                <c:pt idx="1021">
                  <c:v>87.771233846560662</c:v>
                </c:pt>
                <c:pt idx="1022">
                  <c:v>86.427610030108866</c:v>
                </c:pt>
                <c:pt idx="1023">
                  <c:v>90.228190425804897</c:v>
                </c:pt>
                <c:pt idx="1024">
                  <c:v>89.921654361136675</c:v>
                </c:pt>
                <c:pt idx="1025">
                  <c:v>91.157134743606534</c:v>
                </c:pt>
                <c:pt idx="1026">
                  <c:v>90.050026063345427</c:v>
                </c:pt>
                <c:pt idx="1027">
                  <c:v>88.357075614822477</c:v>
                </c:pt>
                <c:pt idx="1028">
                  <c:v>88.455104914690992</c:v>
                </c:pt>
                <c:pt idx="1029">
                  <c:v>87.199396263994274</c:v>
                </c:pt>
                <c:pt idx="1030">
                  <c:v>86.752040332054619</c:v>
                </c:pt>
                <c:pt idx="1031">
                  <c:v>83.370807496907233</c:v>
                </c:pt>
                <c:pt idx="1032">
                  <c:v>84.62340410633827</c:v>
                </c:pt>
                <c:pt idx="1033">
                  <c:v>83.531077622089086</c:v>
                </c:pt>
                <c:pt idx="1034">
                  <c:v>83.560642014112901</c:v>
                </c:pt>
                <c:pt idx="1035">
                  <c:v>83.087611741731507</c:v>
                </c:pt>
                <c:pt idx="1036">
                  <c:v>85.819205962670864</c:v>
                </c:pt>
                <c:pt idx="1037">
                  <c:v>84.757221880761946</c:v>
                </c:pt>
                <c:pt idx="1038">
                  <c:v>83.302342589062548</c:v>
                </c:pt>
                <c:pt idx="1039">
                  <c:v>85.455097134587817</c:v>
                </c:pt>
                <c:pt idx="1040">
                  <c:v>85.801311725393262</c:v>
                </c:pt>
                <c:pt idx="1041">
                  <c:v>82.848762574591547</c:v>
                </c:pt>
                <c:pt idx="1042">
                  <c:v>81.727649708634942</c:v>
                </c:pt>
                <c:pt idx="1043">
                  <c:v>82.624695603463508</c:v>
                </c:pt>
                <c:pt idx="1044">
                  <c:v>82.133771093804512</c:v>
                </c:pt>
                <c:pt idx="1045">
                  <c:v>84.557273229442799</c:v>
                </c:pt>
                <c:pt idx="1046">
                  <c:v>84.927606140057193</c:v>
                </c:pt>
                <c:pt idx="1047">
                  <c:v>84.774338107723096</c:v>
                </c:pt>
                <c:pt idx="1048">
                  <c:v>86.766044517750061</c:v>
                </c:pt>
                <c:pt idx="1049">
                  <c:v>86.71780787813222</c:v>
                </c:pt>
                <c:pt idx="1050">
                  <c:v>86.829063353379809</c:v>
                </c:pt>
                <c:pt idx="1051">
                  <c:v>86.943430869893078</c:v>
                </c:pt>
                <c:pt idx="1052">
                  <c:v>86.60810842351745</c:v>
                </c:pt>
                <c:pt idx="1053">
                  <c:v>85.216247967447785</c:v>
                </c:pt>
                <c:pt idx="1054">
                  <c:v>84.961838593979493</c:v>
                </c:pt>
                <c:pt idx="1055">
                  <c:v>83.534189663354681</c:v>
                </c:pt>
                <c:pt idx="1056">
                  <c:v>83.773038830494627</c:v>
                </c:pt>
                <c:pt idx="1057">
                  <c:v>83.602654571199352</c:v>
                </c:pt>
                <c:pt idx="1058">
                  <c:v>81.009546186582185</c:v>
                </c:pt>
                <c:pt idx="1059">
                  <c:v>80.190301323395303</c:v>
                </c:pt>
                <c:pt idx="1060">
                  <c:v>79.930445877712089</c:v>
                </c:pt>
                <c:pt idx="1061">
                  <c:v>79.557778936148452</c:v>
                </c:pt>
                <c:pt idx="1062">
                  <c:v>79.984128589544838</c:v>
                </c:pt>
                <c:pt idx="1063">
                  <c:v>82.490099818723323</c:v>
                </c:pt>
                <c:pt idx="1064">
                  <c:v>83.266554114507301</c:v>
                </c:pt>
                <c:pt idx="1065">
                  <c:v>83.866400068464642</c:v>
                </c:pt>
                <c:pt idx="1066">
                  <c:v>83.927862883461572</c:v>
                </c:pt>
                <c:pt idx="1067">
                  <c:v>85.218581998397028</c:v>
                </c:pt>
                <c:pt idx="1068">
                  <c:v>85.205355823017953</c:v>
                </c:pt>
                <c:pt idx="1069">
                  <c:v>85.307275174468558</c:v>
                </c:pt>
                <c:pt idx="1070">
                  <c:v>82.84876257459149</c:v>
                </c:pt>
                <c:pt idx="1071">
                  <c:v>83.34435514614897</c:v>
                </c:pt>
                <c:pt idx="1072">
                  <c:v>84.295861763126723</c:v>
                </c:pt>
                <c:pt idx="1073">
                  <c:v>83.21520543362378</c:v>
                </c:pt>
                <c:pt idx="1074">
                  <c:v>85.088654275555427</c:v>
                </c:pt>
                <c:pt idx="1075">
                  <c:v>85.788085550014117</c:v>
                </c:pt>
                <c:pt idx="1076">
                  <c:v>86.748928290788854</c:v>
                </c:pt>
                <c:pt idx="1077">
                  <c:v>86.657901083768081</c:v>
                </c:pt>
                <c:pt idx="1078">
                  <c:v>86.058055129810739</c:v>
                </c:pt>
                <c:pt idx="1079">
                  <c:v>85.700170384258996</c:v>
                </c:pt>
                <c:pt idx="1080">
                  <c:v>85.705616456473905</c:v>
                </c:pt>
                <c:pt idx="1081">
                  <c:v>87.593069484101036</c:v>
                </c:pt>
                <c:pt idx="1082">
                  <c:v>87.172943913235969</c:v>
                </c:pt>
                <c:pt idx="1083">
                  <c:v>87.700434907766549</c:v>
                </c:pt>
                <c:pt idx="1084">
                  <c:v>87.589179432518947</c:v>
                </c:pt>
                <c:pt idx="1085">
                  <c:v>87.264749130573151</c:v>
                </c:pt>
                <c:pt idx="1086">
                  <c:v>87.743225475169467</c:v>
                </c:pt>
                <c:pt idx="1087">
                  <c:v>87.219624532220962</c:v>
                </c:pt>
                <c:pt idx="1088">
                  <c:v>84.761889942660318</c:v>
                </c:pt>
                <c:pt idx="1089">
                  <c:v>84.30597589724006</c:v>
                </c:pt>
                <c:pt idx="1090">
                  <c:v>83.966763399282343</c:v>
                </c:pt>
                <c:pt idx="1091">
                  <c:v>83.976877533395765</c:v>
                </c:pt>
                <c:pt idx="1092">
                  <c:v>85.000739109800264</c:v>
                </c:pt>
                <c:pt idx="1093">
                  <c:v>85.126776781059803</c:v>
                </c:pt>
                <c:pt idx="1094">
                  <c:v>83.685123664739478</c:v>
                </c:pt>
                <c:pt idx="1095">
                  <c:v>83.378587600071256</c:v>
                </c:pt>
                <c:pt idx="1096">
                  <c:v>83.041709133062767</c:v>
                </c:pt>
                <c:pt idx="1097">
                  <c:v>81.836571152933161</c:v>
                </c:pt>
                <c:pt idx="1098">
                  <c:v>82.105762722413374</c:v>
                </c:pt>
                <c:pt idx="1099">
                  <c:v>81.47479635579937</c:v>
                </c:pt>
                <c:pt idx="1100">
                  <c:v>82.826200275415331</c:v>
                </c:pt>
                <c:pt idx="1101">
                  <c:v>81.607058109590227</c:v>
                </c:pt>
                <c:pt idx="1102">
                  <c:v>81.638956532563313</c:v>
                </c:pt>
                <c:pt idx="1103">
                  <c:v>84.047676472189707</c:v>
                </c:pt>
                <c:pt idx="1104">
                  <c:v>84.810904592594582</c:v>
                </c:pt>
                <c:pt idx="1105">
                  <c:v>85.932017458551186</c:v>
                </c:pt>
                <c:pt idx="1106">
                  <c:v>84.94627838765112</c:v>
                </c:pt>
                <c:pt idx="1107">
                  <c:v>85.493219640092136</c:v>
                </c:pt>
                <c:pt idx="1108">
                  <c:v>85.906343118109476</c:v>
                </c:pt>
                <c:pt idx="1109">
                  <c:v>86.324134658025301</c:v>
                </c:pt>
                <c:pt idx="1110">
                  <c:v>87.284977398800066</c:v>
                </c:pt>
                <c:pt idx="1111">
                  <c:v>87.222736573486699</c:v>
                </c:pt>
                <c:pt idx="1112">
                  <c:v>87.531606669104178</c:v>
                </c:pt>
                <c:pt idx="1113">
                  <c:v>87.499708246131107</c:v>
                </c:pt>
                <c:pt idx="1114">
                  <c:v>87.572063205557853</c:v>
                </c:pt>
                <c:pt idx="1115">
                  <c:v>88.904016867263422</c:v>
                </c:pt>
                <c:pt idx="1116">
                  <c:v>88.676059844553293</c:v>
                </c:pt>
                <c:pt idx="1117">
                  <c:v>88.24815417052406</c:v>
                </c:pt>
                <c:pt idx="1118">
                  <c:v>87.512934421510195</c:v>
                </c:pt>
                <c:pt idx="1119">
                  <c:v>89.367711015847846</c:v>
                </c:pt>
                <c:pt idx="1120">
                  <c:v>88.861226299860505</c:v>
                </c:pt>
                <c:pt idx="1121">
                  <c:v>89.29224401515539</c:v>
                </c:pt>
                <c:pt idx="1122">
                  <c:v>89.061174951179595</c:v>
                </c:pt>
                <c:pt idx="1123">
                  <c:v>88.786537309484473</c:v>
                </c:pt>
                <c:pt idx="1124">
                  <c:v>89.178654508958545</c:v>
                </c:pt>
                <c:pt idx="1125">
                  <c:v>88.462107007538677</c:v>
                </c:pt>
                <c:pt idx="1126">
                  <c:v>90.307547478079314</c:v>
                </c:pt>
                <c:pt idx="1127">
                  <c:v>90.246862673398809</c:v>
                </c:pt>
                <c:pt idx="1128">
                  <c:v>90.098262702963197</c:v>
                </c:pt>
                <c:pt idx="1129">
                  <c:v>90.649872017302727</c:v>
                </c:pt>
                <c:pt idx="1130">
                  <c:v>90.663098192681801</c:v>
                </c:pt>
                <c:pt idx="1131">
                  <c:v>91.009312783487275</c:v>
                </c:pt>
                <c:pt idx="1132">
                  <c:v>91.657395377062471</c:v>
                </c:pt>
                <c:pt idx="1133">
                  <c:v>91.323628951319662</c:v>
                </c:pt>
                <c:pt idx="1134">
                  <c:v>91.508795406626859</c:v>
                </c:pt>
                <c:pt idx="1135">
                  <c:v>92.171660196213978</c:v>
                </c:pt>
                <c:pt idx="1136">
                  <c:v>90.70822279103399</c:v>
                </c:pt>
                <c:pt idx="1137">
                  <c:v>91.662841449277408</c:v>
                </c:pt>
                <c:pt idx="1138">
                  <c:v>91.825445605408518</c:v>
                </c:pt>
                <c:pt idx="1139">
                  <c:v>92.044844514638058</c:v>
                </c:pt>
                <c:pt idx="1140">
                  <c:v>92.24245913500792</c:v>
                </c:pt>
                <c:pt idx="1141">
                  <c:v>92.244015155640767</c:v>
                </c:pt>
                <c:pt idx="1142">
                  <c:v>91.995829864703794</c:v>
                </c:pt>
                <c:pt idx="1143">
                  <c:v>92.099305236787217</c:v>
                </c:pt>
                <c:pt idx="1144">
                  <c:v>92.058848700333556</c:v>
                </c:pt>
                <c:pt idx="1145">
                  <c:v>92.145985855772253</c:v>
                </c:pt>
                <c:pt idx="1146">
                  <c:v>92.860977336559273</c:v>
                </c:pt>
                <c:pt idx="1147">
                  <c:v>93.202523865466247</c:v>
                </c:pt>
                <c:pt idx="1148">
                  <c:v>94.99972769638903</c:v>
                </c:pt>
                <c:pt idx="1149">
                  <c:v>95.372394637952681</c:v>
                </c:pt>
                <c:pt idx="1150">
                  <c:v>95.17011195568432</c:v>
                </c:pt>
                <c:pt idx="1151">
                  <c:v>94.403771794013778</c:v>
                </c:pt>
                <c:pt idx="1152">
                  <c:v>94.81689527203109</c:v>
                </c:pt>
                <c:pt idx="1153">
                  <c:v>94.414663938443596</c:v>
                </c:pt>
                <c:pt idx="1154">
                  <c:v>93.299775155018338</c:v>
                </c:pt>
                <c:pt idx="1155">
                  <c:v>93.186185648821478</c:v>
                </c:pt>
                <c:pt idx="1156">
                  <c:v>91.676067624656483</c:v>
                </c:pt>
                <c:pt idx="1157">
                  <c:v>91.695517882566918</c:v>
                </c:pt>
                <c:pt idx="1158">
                  <c:v>93.103716555281324</c:v>
                </c:pt>
                <c:pt idx="1159">
                  <c:v>93.340231691472027</c:v>
                </c:pt>
                <c:pt idx="1160">
                  <c:v>93.193187741669249</c:v>
                </c:pt>
                <c:pt idx="1161">
                  <c:v>91.862012090280118</c:v>
                </c:pt>
                <c:pt idx="1162">
                  <c:v>93.232866267806514</c:v>
                </c:pt>
                <c:pt idx="1163">
                  <c:v>92.536547034613506</c:v>
                </c:pt>
                <c:pt idx="1164">
                  <c:v>92.408953342721148</c:v>
                </c:pt>
                <c:pt idx="1165">
                  <c:v>91.848007904584634</c:v>
                </c:pt>
                <c:pt idx="1166">
                  <c:v>93.83349023208028</c:v>
                </c:pt>
                <c:pt idx="1167">
                  <c:v>95.036294181260658</c:v>
                </c:pt>
                <c:pt idx="1168">
                  <c:v>95.283701461881193</c:v>
                </c:pt>
                <c:pt idx="1169">
                  <c:v>95.159997821570911</c:v>
                </c:pt>
                <c:pt idx="1170">
                  <c:v>95.20901247150519</c:v>
                </c:pt>
                <c:pt idx="1171">
                  <c:v>95.561451144841996</c:v>
                </c:pt>
                <c:pt idx="1172">
                  <c:v>95.928672014190724</c:v>
                </c:pt>
                <c:pt idx="1173">
                  <c:v>96.50439964833916</c:v>
                </c:pt>
                <c:pt idx="1174">
                  <c:v>96.509067710237659</c:v>
                </c:pt>
                <c:pt idx="1175">
                  <c:v>96.596982875992751</c:v>
                </c:pt>
                <c:pt idx="1176">
                  <c:v>96.10216831475168</c:v>
                </c:pt>
                <c:pt idx="1177">
                  <c:v>96.696568196494098</c:v>
                </c:pt>
                <c:pt idx="1178">
                  <c:v>96.777481269401449</c:v>
                </c:pt>
                <c:pt idx="1179">
                  <c:v>97.024110539705575</c:v>
                </c:pt>
                <c:pt idx="1180">
                  <c:v>97.609174297650995</c:v>
                </c:pt>
                <c:pt idx="1181">
                  <c:v>97.939050671811714</c:v>
                </c:pt>
                <c:pt idx="1182">
                  <c:v>97.778002536313423</c:v>
                </c:pt>
                <c:pt idx="1183">
                  <c:v>97.837909330677505</c:v>
                </c:pt>
                <c:pt idx="1184">
                  <c:v>97.913376331369932</c:v>
                </c:pt>
                <c:pt idx="1185">
                  <c:v>98.01218364155487</c:v>
                </c:pt>
                <c:pt idx="1186">
                  <c:v>97.864361681435682</c:v>
                </c:pt>
                <c:pt idx="1187">
                  <c:v>97.845689433841656</c:v>
                </c:pt>
                <c:pt idx="1188">
                  <c:v>98.952798114102748</c:v>
                </c:pt>
                <c:pt idx="1189">
                  <c:v>98.822870391261148</c:v>
                </c:pt>
                <c:pt idx="1190">
                  <c:v>99.317684952502233</c:v>
                </c:pt>
                <c:pt idx="1191">
                  <c:v>99.106844156753297</c:v>
                </c:pt>
                <c:pt idx="1192">
                  <c:v>98.924011732395357</c:v>
                </c:pt>
                <c:pt idx="1193">
                  <c:v>98.787859927022424</c:v>
                </c:pt>
                <c:pt idx="1194">
                  <c:v>99.15585880668759</c:v>
                </c:pt>
                <c:pt idx="1195">
                  <c:v>100.04901464993407</c:v>
                </c:pt>
                <c:pt idx="1196">
                  <c:v>99.877852380322381</c:v>
                </c:pt>
                <c:pt idx="1197">
                  <c:v>100.6154061602855</c:v>
                </c:pt>
                <c:pt idx="1198">
                  <c:v>100.75389199660769</c:v>
                </c:pt>
                <c:pt idx="1199">
                  <c:v>99.734698482101692</c:v>
                </c:pt>
                <c:pt idx="1200">
                  <c:v>99.605548769576501</c:v>
                </c:pt>
                <c:pt idx="1201">
                  <c:v>99.84595395734928</c:v>
                </c:pt>
                <c:pt idx="1202">
                  <c:v>100.42868368434546</c:v>
                </c:pt>
                <c:pt idx="1203">
                  <c:v>100.45513603510364</c:v>
                </c:pt>
                <c:pt idx="1204">
                  <c:v>100.87915165755079</c:v>
                </c:pt>
                <c:pt idx="1205">
                  <c:v>101.10555265962807</c:v>
                </c:pt>
                <c:pt idx="1206">
                  <c:v>99.300568725541112</c:v>
                </c:pt>
                <c:pt idx="1207">
                  <c:v>100.06146281499673</c:v>
                </c:pt>
                <c:pt idx="1208">
                  <c:v>101.73185096434358</c:v>
                </c:pt>
                <c:pt idx="1209">
                  <c:v>101.4548792916992</c:v>
                </c:pt>
                <c:pt idx="1210">
                  <c:v>101.69372845883915</c:v>
                </c:pt>
                <c:pt idx="1211">
                  <c:v>101.98703834812827</c:v>
                </c:pt>
                <c:pt idx="1212">
                  <c:v>102.62345078695721</c:v>
                </c:pt>
                <c:pt idx="1213">
                  <c:v>103.05291248161929</c:v>
                </c:pt>
                <c:pt idx="1214">
                  <c:v>102.7658266748615</c:v>
                </c:pt>
                <c:pt idx="1215">
                  <c:v>102.84284969618675</c:v>
                </c:pt>
                <c:pt idx="1216">
                  <c:v>103.40924120653817</c:v>
                </c:pt>
                <c:pt idx="1217">
                  <c:v>103.65587047684227</c:v>
                </c:pt>
                <c:pt idx="1218">
                  <c:v>103.32054803046661</c:v>
                </c:pt>
                <c:pt idx="1219">
                  <c:v>103.96707460340895</c:v>
                </c:pt>
                <c:pt idx="1220">
                  <c:v>104.28683684345627</c:v>
                </c:pt>
                <c:pt idx="1221">
                  <c:v>104.48756350509179</c:v>
                </c:pt>
                <c:pt idx="1222">
                  <c:v>102.3425890627307</c:v>
                </c:pt>
                <c:pt idx="1223">
                  <c:v>101.7170687683316</c:v>
                </c:pt>
                <c:pt idx="1224">
                  <c:v>101.61592742719739</c:v>
                </c:pt>
                <c:pt idx="1225">
                  <c:v>102.68802564321975</c:v>
                </c:pt>
                <c:pt idx="1226">
                  <c:v>103.25908521546965</c:v>
                </c:pt>
                <c:pt idx="1227">
                  <c:v>101.63382166447497</c:v>
                </c:pt>
                <c:pt idx="1228">
                  <c:v>101.79798184123892</c:v>
                </c:pt>
                <c:pt idx="1229">
                  <c:v>103.55083908412597</c:v>
                </c:pt>
                <c:pt idx="1230">
                  <c:v>102.78683295340468</c:v>
                </c:pt>
                <c:pt idx="1231">
                  <c:v>101.9294655847134</c:v>
                </c:pt>
                <c:pt idx="1232">
                  <c:v>102.8389596446046</c:v>
                </c:pt>
                <c:pt idx="1233">
                  <c:v>102.69891778764956</c:v>
                </c:pt>
                <c:pt idx="1234">
                  <c:v>100.76089408945532</c:v>
                </c:pt>
                <c:pt idx="1235">
                  <c:v>101.47432954960954</c:v>
                </c:pt>
                <c:pt idx="1236">
                  <c:v>100.8604794099567</c:v>
                </c:pt>
                <c:pt idx="1237">
                  <c:v>99.730808430519502</c:v>
                </c:pt>
                <c:pt idx="1238">
                  <c:v>97.786560649793941</c:v>
                </c:pt>
                <c:pt idx="1239">
                  <c:v>99.096730022639818</c:v>
                </c:pt>
                <c:pt idx="1240">
                  <c:v>99.523079676036232</c:v>
                </c:pt>
                <c:pt idx="1241">
                  <c:v>101.01530346292364</c:v>
                </c:pt>
                <c:pt idx="1242">
                  <c:v>100.65664070705549</c:v>
                </c:pt>
                <c:pt idx="1243">
                  <c:v>100.94995059634462</c:v>
                </c:pt>
                <c:pt idx="1244">
                  <c:v>101.89289909984178</c:v>
                </c:pt>
                <c:pt idx="1245">
                  <c:v>102.21499537083834</c:v>
                </c:pt>
                <c:pt idx="1246">
                  <c:v>101.93413364661188</c:v>
                </c:pt>
                <c:pt idx="1247">
                  <c:v>102.65379318929742</c:v>
                </c:pt>
                <c:pt idx="1248">
                  <c:v>103.33999828837702</c:v>
                </c:pt>
                <c:pt idx="1249">
                  <c:v>103.15094178148772</c:v>
                </c:pt>
                <c:pt idx="1250">
                  <c:v>103.66287256968998</c:v>
                </c:pt>
                <c:pt idx="1251">
                  <c:v>103.69866104424514</c:v>
                </c:pt>
                <c:pt idx="1252">
                  <c:v>103.67998879665116</c:v>
                </c:pt>
                <c:pt idx="1253">
                  <c:v>103.90638979872844</c:v>
                </c:pt>
                <c:pt idx="1254">
                  <c:v>103.74845370449584</c:v>
                </c:pt>
                <c:pt idx="1255">
                  <c:v>103.33299619552928</c:v>
                </c:pt>
                <c:pt idx="1256">
                  <c:v>103.04435436813864</c:v>
                </c:pt>
                <c:pt idx="1257">
                  <c:v>102.24300374222933</c:v>
                </c:pt>
                <c:pt idx="1258">
                  <c:v>102.26245400013975</c:v>
                </c:pt>
                <c:pt idx="1259">
                  <c:v>102.27101211362033</c:v>
                </c:pt>
                <c:pt idx="1260">
                  <c:v>102.67246543689141</c:v>
                </c:pt>
                <c:pt idx="1261">
                  <c:v>101.5412384368214</c:v>
                </c:pt>
                <c:pt idx="1262">
                  <c:v>102.12319015350114</c:v>
                </c:pt>
                <c:pt idx="1263">
                  <c:v>103.50338045482454</c:v>
                </c:pt>
                <c:pt idx="1264">
                  <c:v>104.04954369694916</c:v>
                </c:pt>
                <c:pt idx="1265">
                  <c:v>103.88382749955237</c:v>
                </c:pt>
                <c:pt idx="1266">
                  <c:v>104.81666186893611</c:v>
                </c:pt>
                <c:pt idx="1267">
                  <c:v>105.47174655535905</c:v>
                </c:pt>
                <c:pt idx="1268">
                  <c:v>105.84674752787193</c:v>
                </c:pt>
                <c:pt idx="1269">
                  <c:v>106.09026475691037</c:v>
                </c:pt>
                <c:pt idx="1270">
                  <c:v>105.90432029128677</c:v>
                </c:pt>
                <c:pt idx="1271">
                  <c:v>105.54643554573502</c:v>
                </c:pt>
                <c:pt idx="1272">
                  <c:v>104.8228859514674</c:v>
                </c:pt>
                <c:pt idx="1273">
                  <c:v>103.87215734480608</c:v>
                </c:pt>
                <c:pt idx="1274">
                  <c:v>104.26894260617868</c:v>
                </c:pt>
                <c:pt idx="1275">
                  <c:v>104.74275088887651</c:v>
                </c:pt>
                <c:pt idx="1276">
                  <c:v>105.58844810282159</c:v>
                </c:pt>
                <c:pt idx="1277">
                  <c:v>104.41520854566505</c:v>
                </c:pt>
                <c:pt idx="1278">
                  <c:v>104.92636132355092</c:v>
                </c:pt>
                <c:pt idx="1279">
                  <c:v>104.07988609928944</c:v>
                </c:pt>
                <c:pt idx="1280">
                  <c:v>103.4341375366635</c:v>
                </c:pt>
                <c:pt idx="1281">
                  <c:v>103.3960150311591</c:v>
                </c:pt>
                <c:pt idx="1282">
                  <c:v>104.30628710136675</c:v>
                </c:pt>
                <c:pt idx="1283">
                  <c:v>104.53346611376044</c:v>
                </c:pt>
                <c:pt idx="1284">
                  <c:v>103.72978145690189</c:v>
                </c:pt>
                <c:pt idx="1285">
                  <c:v>102.49274505379918</c:v>
                </c:pt>
                <c:pt idx="1286">
                  <c:v>102.40794192930976</c:v>
                </c:pt>
                <c:pt idx="1287">
                  <c:v>102.73392825188839</c:v>
                </c:pt>
                <c:pt idx="1288">
                  <c:v>103.14004963705796</c:v>
                </c:pt>
                <c:pt idx="1289">
                  <c:v>103.56095321823943</c:v>
                </c:pt>
                <c:pt idx="1290">
                  <c:v>104.65794776438713</c:v>
                </c:pt>
                <c:pt idx="1291">
                  <c:v>102.27334614456966</c:v>
                </c:pt>
                <c:pt idx="1292">
                  <c:v>102.14808648362656</c:v>
                </c:pt>
                <c:pt idx="1293">
                  <c:v>101.15378929924589</c:v>
                </c:pt>
                <c:pt idx="1294">
                  <c:v>100.06535286657879</c:v>
                </c:pt>
                <c:pt idx="1295">
                  <c:v>99.969657597659506</c:v>
                </c:pt>
                <c:pt idx="1296">
                  <c:v>99.551088047427243</c:v>
                </c:pt>
                <c:pt idx="1297">
                  <c:v>100.28552978612468</c:v>
                </c:pt>
                <c:pt idx="1298">
                  <c:v>98.883555195941625</c:v>
                </c:pt>
                <c:pt idx="1299">
                  <c:v>98.949686072837039</c:v>
                </c:pt>
                <c:pt idx="1300">
                  <c:v>100.19761462036959</c:v>
                </c:pt>
                <c:pt idx="1301">
                  <c:v>98.450981460013892</c:v>
                </c:pt>
                <c:pt idx="1302">
                  <c:v>98.623699750258425</c:v>
                </c:pt>
                <c:pt idx="1303">
                  <c:v>98.924011732395286</c:v>
                </c:pt>
                <c:pt idx="1304">
                  <c:v>99.457726809457213</c:v>
                </c:pt>
                <c:pt idx="1305">
                  <c:v>100.79279251242843</c:v>
                </c:pt>
                <c:pt idx="1306">
                  <c:v>100.14081986727118</c:v>
                </c:pt>
                <c:pt idx="1307">
                  <c:v>99.857624112095465</c:v>
                </c:pt>
                <c:pt idx="1308">
                  <c:v>98.686718585888201</c:v>
                </c:pt>
                <c:pt idx="1309">
                  <c:v>99.593100604513751</c:v>
                </c:pt>
                <c:pt idx="1310">
                  <c:v>100.8822636988164</c:v>
                </c:pt>
                <c:pt idx="1311">
                  <c:v>101.71784677864804</c:v>
                </c:pt>
                <c:pt idx="1312">
                  <c:v>102.74715442726745</c:v>
                </c:pt>
                <c:pt idx="1313">
                  <c:v>104.22770805940858</c:v>
                </c:pt>
                <c:pt idx="1314">
                  <c:v>104.08844421276999</c:v>
                </c:pt>
                <c:pt idx="1315">
                  <c:v>104.19269759516982</c:v>
                </c:pt>
                <c:pt idx="1316">
                  <c:v>105.28191203815332</c:v>
                </c:pt>
                <c:pt idx="1317">
                  <c:v>104.5490263200887</c:v>
                </c:pt>
                <c:pt idx="1318">
                  <c:v>102.65768324087948</c:v>
                </c:pt>
                <c:pt idx="1319">
                  <c:v>102.20254720577567</c:v>
                </c:pt>
                <c:pt idx="1320">
                  <c:v>102.51997541487371</c:v>
                </c:pt>
                <c:pt idx="1321">
                  <c:v>101.83143628484484</c:v>
                </c:pt>
                <c:pt idx="1322">
                  <c:v>102.39704978487987</c:v>
                </c:pt>
                <c:pt idx="1323">
                  <c:v>101.56457874631391</c:v>
                </c:pt>
                <c:pt idx="1324">
                  <c:v>103.22096270996526</c:v>
                </c:pt>
                <c:pt idx="1325">
                  <c:v>103.15171979180417</c:v>
                </c:pt>
                <c:pt idx="1326">
                  <c:v>104.54902632008873</c:v>
                </c:pt>
                <c:pt idx="1327">
                  <c:v>104.64394357869158</c:v>
                </c:pt>
                <c:pt idx="1328">
                  <c:v>104.05343374853123</c:v>
                </c:pt>
                <c:pt idx="1329">
                  <c:v>103.62630608481842</c:v>
                </c:pt>
                <c:pt idx="1330">
                  <c:v>101.52178817891101</c:v>
                </c:pt>
                <c:pt idx="1331">
                  <c:v>101.19346782538312</c:v>
                </c:pt>
                <c:pt idx="1332">
                  <c:v>100.54071716990943</c:v>
                </c:pt>
                <c:pt idx="1333">
                  <c:v>100.12525966094286</c:v>
                </c:pt>
                <c:pt idx="1334">
                  <c:v>97.56638373024802</c:v>
                </c:pt>
                <c:pt idx="1335">
                  <c:v>98.055752219274183</c:v>
                </c:pt>
                <c:pt idx="1336">
                  <c:v>93.366684042230162</c:v>
                </c:pt>
                <c:pt idx="1337">
                  <c:v>93.313001330397412</c:v>
                </c:pt>
                <c:pt idx="1338">
                  <c:v>87.095142881594398</c:v>
                </c:pt>
                <c:pt idx="1339">
                  <c:v>91.224043630818329</c:v>
                </c:pt>
                <c:pt idx="1340">
                  <c:v>87.196284222728579</c:v>
                </c:pt>
                <c:pt idx="1341">
                  <c:v>91.232601744298904</c:v>
                </c:pt>
                <c:pt idx="1342">
                  <c:v>91.712634109528054</c:v>
                </c:pt>
                <c:pt idx="1343">
                  <c:v>93.710564602086379</c:v>
                </c:pt>
                <c:pt idx="1344">
                  <c:v>92.797958500929482</c:v>
                </c:pt>
                <c:pt idx="1345">
                  <c:v>92.885873666684589</c:v>
                </c:pt>
                <c:pt idx="1346">
                  <c:v>88.743746742081584</c:v>
                </c:pt>
                <c:pt idx="1347">
                  <c:v>87.411793080376029</c:v>
                </c:pt>
                <c:pt idx="1348">
                  <c:v>87.434355379552102</c:v>
                </c:pt>
                <c:pt idx="1349">
                  <c:v>90.432029128706006</c:v>
                </c:pt>
                <c:pt idx="1350">
                  <c:v>91.618494861241601</c:v>
                </c:pt>
                <c:pt idx="1351">
                  <c:v>90.192401951249622</c:v>
                </c:pt>
                <c:pt idx="1352">
                  <c:v>91.556254035928262</c:v>
                </c:pt>
                <c:pt idx="1353">
                  <c:v>94.145472368963354</c:v>
                </c:pt>
                <c:pt idx="1354">
                  <c:v>94.366427298825755</c:v>
                </c:pt>
                <c:pt idx="1355">
                  <c:v>94.830899457726588</c:v>
                </c:pt>
                <c:pt idx="1356">
                  <c:v>93.705118529871498</c:v>
                </c:pt>
                <c:pt idx="1357">
                  <c:v>91.336077116382356</c:v>
                </c:pt>
                <c:pt idx="1358">
                  <c:v>90.656874110150497</c:v>
                </c:pt>
                <c:pt idx="1359">
                  <c:v>93.25387254634974</c:v>
                </c:pt>
                <c:pt idx="1360">
                  <c:v>92.264243423867597</c:v>
                </c:pt>
                <c:pt idx="1361">
                  <c:v>89.800284751775607</c:v>
                </c:pt>
                <c:pt idx="1362">
                  <c:v>90.425805046174716</c:v>
                </c:pt>
                <c:pt idx="1363">
                  <c:v>91.25049598157652</c:v>
                </c:pt>
                <c:pt idx="1364">
                  <c:v>92.480530291831485</c:v>
                </c:pt>
                <c:pt idx="1365">
                  <c:v>94.070005368270969</c:v>
                </c:pt>
                <c:pt idx="1366">
                  <c:v>94.606832486598549</c:v>
                </c:pt>
                <c:pt idx="1367">
                  <c:v>93.679444189429717</c:v>
                </c:pt>
                <c:pt idx="1368">
                  <c:v>93.523842126146349</c:v>
                </c:pt>
                <c:pt idx="1369">
                  <c:v>90.775131678245828</c:v>
                </c:pt>
                <c:pt idx="1370">
                  <c:v>87.880933301175361</c:v>
                </c:pt>
                <c:pt idx="1371">
                  <c:v>88.415426388553712</c:v>
                </c:pt>
                <c:pt idx="1372">
                  <c:v>90.478709747691042</c:v>
                </c:pt>
                <c:pt idx="1373">
                  <c:v>91.445776570997126</c:v>
                </c:pt>
                <c:pt idx="1374">
                  <c:v>89.553655481471466</c:v>
                </c:pt>
                <c:pt idx="1375">
                  <c:v>90.280317117004756</c:v>
                </c:pt>
                <c:pt idx="1376">
                  <c:v>88.025643220028897</c:v>
                </c:pt>
                <c:pt idx="1377">
                  <c:v>85.521228011483231</c:v>
                </c:pt>
                <c:pt idx="1378">
                  <c:v>87.444469513665538</c:v>
                </c:pt>
                <c:pt idx="1379">
                  <c:v>89.006714229030436</c:v>
                </c:pt>
                <c:pt idx="1380">
                  <c:v>90.635867831607214</c:v>
                </c:pt>
                <c:pt idx="1381">
                  <c:v>89.89598002069485</c:v>
                </c:pt>
                <c:pt idx="1382">
                  <c:v>92.963674698326287</c:v>
                </c:pt>
                <c:pt idx="1383">
                  <c:v>93.01424536889337</c:v>
                </c:pt>
                <c:pt idx="1384">
                  <c:v>93.925295449417447</c:v>
                </c:pt>
                <c:pt idx="1385">
                  <c:v>93.645989745823826</c:v>
                </c:pt>
                <c:pt idx="1386">
                  <c:v>95.273587327767743</c:v>
                </c:pt>
                <c:pt idx="1387">
                  <c:v>93.428146857227091</c:v>
                </c:pt>
                <c:pt idx="1388">
                  <c:v>95.335828153081081</c:v>
                </c:pt>
                <c:pt idx="1389">
                  <c:v>94.129912162635051</c:v>
                </c:pt>
                <c:pt idx="1390">
                  <c:v>94.558595846980694</c:v>
                </c:pt>
                <c:pt idx="1391">
                  <c:v>96.337127430309479</c:v>
                </c:pt>
                <c:pt idx="1392">
                  <c:v>97.577275874677852</c:v>
                </c:pt>
                <c:pt idx="1393">
                  <c:v>95.621357939206035</c:v>
                </c:pt>
                <c:pt idx="1394">
                  <c:v>96.62888129896578</c:v>
                </c:pt>
                <c:pt idx="1395">
                  <c:v>99.942427236584905</c:v>
                </c:pt>
                <c:pt idx="1396">
                  <c:v>99.981327752405747</c:v>
                </c:pt>
                <c:pt idx="1397">
                  <c:v>97.508032956516757</c:v>
                </c:pt>
                <c:pt idx="1398">
                  <c:v>94.783440828425142</c:v>
                </c:pt>
                <c:pt idx="1399">
                  <c:v>96.309897069234907</c:v>
                </c:pt>
                <c:pt idx="1400">
                  <c:v>98.118771054903959</c:v>
                </c:pt>
                <c:pt idx="1401">
                  <c:v>97.502586884301849</c:v>
                </c:pt>
                <c:pt idx="1402">
                  <c:v>98.116437023954703</c:v>
                </c:pt>
                <c:pt idx="1403">
                  <c:v>99.267892292251574</c:v>
                </c:pt>
                <c:pt idx="1404">
                  <c:v>95.625247990788139</c:v>
                </c:pt>
                <c:pt idx="1405">
                  <c:v>96.449160915873549</c:v>
                </c:pt>
                <c:pt idx="1406">
                  <c:v>98.328833840336515</c:v>
                </c:pt>
                <c:pt idx="1407">
                  <c:v>97.389775388421455</c:v>
                </c:pt>
                <c:pt idx="1408">
                  <c:v>97.858915609220801</c:v>
                </c:pt>
                <c:pt idx="1409">
                  <c:v>96.232874047909718</c:v>
                </c:pt>
                <c:pt idx="1410">
                  <c:v>94.616168610395619</c:v>
                </c:pt>
                <c:pt idx="1411">
                  <c:v>94.57882411520761</c:v>
                </c:pt>
                <c:pt idx="1412">
                  <c:v>92.815074727890746</c:v>
                </c:pt>
                <c:pt idx="1413">
                  <c:v>92.430737631580854</c:v>
                </c:pt>
                <c:pt idx="1414">
                  <c:v>90.388460550986764</c:v>
                </c:pt>
                <c:pt idx="1415">
                  <c:v>90.145721332264742</c:v>
                </c:pt>
                <c:pt idx="1416">
                  <c:v>92.781620284284841</c:v>
                </c:pt>
                <c:pt idx="1417">
                  <c:v>92.987015007818897</c:v>
                </c:pt>
                <c:pt idx="1418">
                  <c:v>97.014774415908647</c:v>
                </c:pt>
                <c:pt idx="1419">
                  <c:v>96.82960796060145</c:v>
                </c:pt>
                <c:pt idx="1420">
                  <c:v>96.806267651108953</c:v>
                </c:pt>
                <c:pt idx="1421">
                  <c:v>97.802120856122428</c:v>
                </c:pt>
                <c:pt idx="1422">
                  <c:v>97.910264290104365</c:v>
                </c:pt>
                <c:pt idx="1423">
                  <c:v>98.107878910474227</c:v>
                </c:pt>
                <c:pt idx="1424">
                  <c:v>96.033703406907037</c:v>
                </c:pt>
                <c:pt idx="1425">
                  <c:v>97.655076906319664</c:v>
                </c:pt>
                <c:pt idx="1426">
                  <c:v>96.198641593987432</c:v>
                </c:pt>
                <c:pt idx="1427">
                  <c:v>95.363058514155796</c:v>
                </c:pt>
                <c:pt idx="1428">
                  <c:v>94.280846164020033</c:v>
                </c:pt>
                <c:pt idx="1429">
                  <c:v>94.586604218371832</c:v>
                </c:pt>
                <c:pt idx="1430">
                  <c:v>94.890806252090826</c:v>
                </c:pt>
                <c:pt idx="1431">
                  <c:v>93.777473489298373</c:v>
                </c:pt>
                <c:pt idx="1432">
                  <c:v>96.574420576816763</c:v>
                </c:pt>
                <c:pt idx="1433">
                  <c:v>96.762699073389612</c:v>
                </c:pt>
                <c:pt idx="1434">
                  <c:v>97.562493678666073</c:v>
                </c:pt>
                <c:pt idx="1435">
                  <c:v>98.443979367166293</c:v>
                </c:pt>
                <c:pt idx="1436">
                  <c:v>98.451759470330472</c:v>
                </c:pt>
                <c:pt idx="1437">
                  <c:v>97.223281180708369</c:v>
                </c:pt>
                <c:pt idx="1438">
                  <c:v>98.264258984074047</c:v>
                </c:pt>
                <c:pt idx="1439">
                  <c:v>97.842577392576132</c:v>
                </c:pt>
                <c:pt idx="1440">
                  <c:v>99.356585468323217</c:v>
                </c:pt>
                <c:pt idx="1441">
                  <c:v>99.375257715917201</c:v>
                </c:pt>
                <c:pt idx="1442">
                  <c:v>99.667789594889911</c:v>
                </c:pt>
                <c:pt idx="1443">
                  <c:v>99.414936242054452</c:v>
                </c:pt>
                <c:pt idx="1444">
                  <c:v>99.6397812234989</c:v>
                </c:pt>
                <c:pt idx="1445">
                  <c:v>100.5251569635812</c:v>
                </c:pt>
                <c:pt idx="1446">
                  <c:v>100.55627737623787</c:v>
                </c:pt>
                <c:pt idx="1447">
                  <c:v>100.79123649179574</c:v>
                </c:pt>
                <c:pt idx="1448">
                  <c:v>100.29253187897257</c:v>
                </c:pt>
                <c:pt idx="1449">
                  <c:v>100.64886060389146</c:v>
                </c:pt>
                <c:pt idx="1450">
                  <c:v>101.76686142858239</c:v>
                </c:pt>
                <c:pt idx="1451">
                  <c:v>102.26945609298764</c:v>
                </c:pt>
                <c:pt idx="1452">
                  <c:v>102.33792100083234</c:v>
                </c:pt>
                <c:pt idx="1453">
                  <c:v>102.38615764045016</c:v>
                </c:pt>
                <c:pt idx="1454">
                  <c:v>102.28112624773389</c:v>
                </c:pt>
                <c:pt idx="1455">
                  <c:v>103.16805800844902</c:v>
                </c:pt>
                <c:pt idx="1456">
                  <c:v>102.57521414733942</c:v>
                </c:pt>
                <c:pt idx="1457">
                  <c:v>102.41183198089189</c:v>
                </c:pt>
                <c:pt idx="1458">
                  <c:v>102.15353255584152</c:v>
                </c:pt>
                <c:pt idx="1459">
                  <c:v>102.10685193685653</c:v>
                </c:pt>
                <c:pt idx="1460">
                  <c:v>103.01556798643135</c:v>
                </c:pt>
                <c:pt idx="1461">
                  <c:v>103.12837948231179</c:v>
                </c:pt>
                <c:pt idx="1462">
                  <c:v>104.63460745489472</c:v>
                </c:pt>
                <c:pt idx="1463">
                  <c:v>104.59026086685896</c:v>
                </c:pt>
                <c:pt idx="1464">
                  <c:v>104.80187967292433</c:v>
                </c:pt>
                <c:pt idx="1465">
                  <c:v>105.02828067500162</c:v>
                </c:pt>
                <c:pt idx="1466">
                  <c:v>105.18310472796857</c:v>
                </c:pt>
                <c:pt idx="1467">
                  <c:v>104.45877712338454</c:v>
                </c:pt>
                <c:pt idx="1468">
                  <c:v>105.16910054227306</c:v>
                </c:pt>
                <c:pt idx="1469">
                  <c:v>105.07029323208812</c:v>
                </c:pt>
                <c:pt idx="1470">
                  <c:v>104.50467973205312</c:v>
                </c:pt>
                <c:pt idx="1471">
                  <c:v>105.65691301066639</c:v>
                </c:pt>
                <c:pt idx="1472">
                  <c:v>105.90509830160335</c:v>
                </c:pt>
                <c:pt idx="1473">
                  <c:v>105.98134331261218</c:v>
                </c:pt>
                <c:pt idx="1474">
                  <c:v>105.62734861864254</c:v>
                </c:pt>
                <c:pt idx="1475">
                  <c:v>106.07859460216429</c:v>
                </c:pt>
                <c:pt idx="1476">
                  <c:v>106.25598095430729</c:v>
                </c:pt>
                <c:pt idx="1477">
                  <c:v>106.3999128628444</c:v>
                </c:pt>
                <c:pt idx="1478">
                  <c:v>106.75701959807972</c:v>
                </c:pt>
                <c:pt idx="1479">
                  <c:v>106.25131289240882</c:v>
                </c:pt>
                <c:pt idx="1480">
                  <c:v>106.90561956851532</c:v>
                </c:pt>
                <c:pt idx="1481">
                  <c:v>106.55862696739345</c:v>
                </c:pt>
                <c:pt idx="1482">
                  <c:v>106.14628149969253</c:v>
                </c:pt>
                <c:pt idx="1483">
                  <c:v>104.51479386616651</c:v>
                </c:pt>
                <c:pt idx="1484">
                  <c:v>105.23600942948488</c:v>
                </c:pt>
                <c:pt idx="1485">
                  <c:v>106.26920712968638</c:v>
                </c:pt>
                <c:pt idx="1486">
                  <c:v>106.6551002466291</c:v>
                </c:pt>
                <c:pt idx="1487">
                  <c:v>106.67221647359028</c:v>
                </c:pt>
                <c:pt idx="1488">
                  <c:v>108.60635012020245</c:v>
                </c:pt>
                <c:pt idx="1489">
                  <c:v>108.47642239736084</c:v>
                </c:pt>
                <c:pt idx="1490">
                  <c:v>109.12372698061959</c:v>
                </c:pt>
                <c:pt idx="1491">
                  <c:v>109.24587460029703</c:v>
                </c:pt>
                <c:pt idx="1492">
                  <c:v>109.68000435685761</c:v>
                </c:pt>
                <c:pt idx="1493">
                  <c:v>109.3509059930133</c:v>
                </c:pt>
                <c:pt idx="1494">
                  <c:v>109.14628927979571</c:v>
                </c:pt>
                <c:pt idx="1495">
                  <c:v>108.35972084989832</c:v>
                </c:pt>
                <c:pt idx="1496">
                  <c:v>108.69659931690678</c:v>
                </c:pt>
                <c:pt idx="1497">
                  <c:v>110.20593933075538</c:v>
                </c:pt>
                <c:pt idx="1498">
                  <c:v>109.89551321450507</c:v>
                </c:pt>
                <c:pt idx="1499">
                  <c:v>109.35246201364613</c:v>
                </c:pt>
                <c:pt idx="1500">
                  <c:v>109.17663168213593</c:v>
                </c:pt>
                <c:pt idx="1501">
                  <c:v>109.58041903635628</c:v>
                </c:pt>
                <c:pt idx="1502">
                  <c:v>110.40277594080882</c:v>
                </c:pt>
                <c:pt idx="1503">
                  <c:v>109.96242210171692</c:v>
                </c:pt>
                <c:pt idx="1504">
                  <c:v>108.8405312254439</c:v>
                </c:pt>
                <c:pt idx="1505">
                  <c:v>108.77206631759921</c:v>
                </c:pt>
                <c:pt idx="1506">
                  <c:v>107.53658593512935</c:v>
                </c:pt>
                <c:pt idx="1507">
                  <c:v>105.6997035780693</c:v>
                </c:pt>
                <c:pt idx="1508">
                  <c:v>106.4870500182831</c:v>
                </c:pt>
                <c:pt idx="1509">
                  <c:v>107.95437747504516</c:v>
                </c:pt>
                <c:pt idx="1510">
                  <c:v>106.6076416173277</c:v>
                </c:pt>
                <c:pt idx="1511">
                  <c:v>106.55395890549494</c:v>
                </c:pt>
                <c:pt idx="1512">
                  <c:v>108.20411878661494</c:v>
                </c:pt>
                <c:pt idx="1513">
                  <c:v>107.76532096815588</c:v>
                </c:pt>
                <c:pt idx="1514">
                  <c:v>107.12579648806127</c:v>
                </c:pt>
                <c:pt idx="1515">
                  <c:v>107.25105614900437</c:v>
                </c:pt>
                <c:pt idx="1516">
                  <c:v>106.34934219227731</c:v>
                </c:pt>
                <c:pt idx="1517">
                  <c:v>106.74068138143495</c:v>
                </c:pt>
                <c:pt idx="1518">
                  <c:v>108.19711669376717</c:v>
                </c:pt>
                <c:pt idx="1519">
                  <c:v>108.91988827771839</c:v>
                </c:pt>
                <c:pt idx="1520">
                  <c:v>109.18285576466727</c:v>
                </c:pt>
                <c:pt idx="1521">
                  <c:v>108.75884014222012</c:v>
                </c:pt>
                <c:pt idx="1522">
                  <c:v>109.3742463025058</c:v>
                </c:pt>
                <c:pt idx="1523">
                  <c:v>109.10116468144349</c:v>
                </c:pt>
                <c:pt idx="1524">
                  <c:v>108.26558160161187</c:v>
                </c:pt>
                <c:pt idx="1525">
                  <c:v>106.51739242062334</c:v>
                </c:pt>
                <c:pt idx="1526">
                  <c:v>106.55473691581133</c:v>
                </c:pt>
                <c:pt idx="1527">
                  <c:v>106.09882287039109</c:v>
                </c:pt>
                <c:pt idx="1528">
                  <c:v>105.38772144118613</c:v>
                </c:pt>
                <c:pt idx="1529">
                  <c:v>105.65302295908427</c:v>
                </c:pt>
                <c:pt idx="1530">
                  <c:v>105.29513821353254</c:v>
                </c:pt>
                <c:pt idx="1531">
                  <c:v>104.12501069764167</c:v>
                </c:pt>
                <c:pt idx="1532">
                  <c:v>103.52672076431715</c:v>
                </c:pt>
                <c:pt idx="1533">
                  <c:v>103.0708067188969</c:v>
                </c:pt>
                <c:pt idx="1534">
                  <c:v>101.51945414796182</c:v>
                </c:pt>
                <c:pt idx="1535">
                  <c:v>100.76945220293605</c:v>
                </c:pt>
                <c:pt idx="1536">
                  <c:v>102.38537963013374</c:v>
                </c:pt>
                <c:pt idx="1537">
                  <c:v>102.43517229038443</c:v>
                </c:pt>
                <c:pt idx="1538">
                  <c:v>102.60866859094537</c:v>
                </c:pt>
                <c:pt idx="1539">
                  <c:v>102.75026646853324</c:v>
                </c:pt>
                <c:pt idx="1540">
                  <c:v>102.52775551803803</c:v>
                </c:pt>
                <c:pt idx="1541">
                  <c:v>103.66365058000656</c:v>
                </c:pt>
                <c:pt idx="1542">
                  <c:v>102.17765087565046</c:v>
                </c:pt>
                <c:pt idx="1543">
                  <c:v>101.94502579104183</c:v>
                </c:pt>
                <c:pt idx="1544">
                  <c:v>99.432830479331997</c:v>
                </c:pt>
                <c:pt idx="1545">
                  <c:v>99.443722623761843</c:v>
                </c:pt>
                <c:pt idx="1546">
                  <c:v>100.01322617537893</c:v>
                </c:pt>
                <c:pt idx="1547">
                  <c:v>102.31847074292189</c:v>
                </c:pt>
                <c:pt idx="1548">
                  <c:v>102.30757859849204</c:v>
                </c:pt>
                <c:pt idx="1549">
                  <c:v>103.13771560610878</c:v>
                </c:pt>
                <c:pt idx="1550">
                  <c:v>101.83610434674348</c:v>
                </c:pt>
                <c:pt idx="1551">
                  <c:v>103.02257007927909</c:v>
                </c:pt>
                <c:pt idx="1552">
                  <c:v>102.29902048501147</c:v>
                </c:pt>
                <c:pt idx="1553">
                  <c:v>103.40535115495612</c:v>
                </c:pt>
                <c:pt idx="1554">
                  <c:v>104.4743373297128</c:v>
                </c:pt>
                <c:pt idx="1555">
                  <c:v>104.62527133109764</c:v>
                </c:pt>
                <c:pt idx="1556">
                  <c:v>105.65224494876779</c:v>
                </c:pt>
                <c:pt idx="1557">
                  <c:v>105.47408058630833</c:v>
                </c:pt>
                <c:pt idx="1558">
                  <c:v>103.12604545136246</c:v>
                </c:pt>
                <c:pt idx="1559">
                  <c:v>103.86593326227484</c:v>
                </c:pt>
                <c:pt idx="1560">
                  <c:v>102.20877128830706</c:v>
                </c:pt>
                <c:pt idx="1561">
                  <c:v>102.69658375670039</c:v>
                </c:pt>
                <c:pt idx="1562">
                  <c:v>103.61930399197071</c:v>
                </c:pt>
                <c:pt idx="1563">
                  <c:v>103.40068309305759</c:v>
                </c:pt>
                <c:pt idx="1564">
                  <c:v>105.97745326103002</c:v>
                </c:pt>
                <c:pt idx="1565">
                  <c:v>106.23808671702965</c:v>
                </c:pt>
                <c:pt idx="1566">
                  <c:v>106.90017349630033</c:v>
                </c:pt>
                <c:pt idx="1567">
                  <c:v>106.39913485252792</c:v>
                </c:pt>
                <c:pt idx="1568">
                  <c:v>105.39550154435027</c:v>
                </c:pt>
                <c:pt idx="1569">
                  <c:v>105.22278325410572</c:v>
                </c:pt>
                <c:pt idx="1570">
                  <c:v>104.36774991636366</c:v>
                </c:pt>
                <c:pt idx="1571">
                  <c:v>104.36619389573082</c:v>
                </c:pt>
                <c:pt idx="1572">
                  <c:v>103.84570499404799</c:v>
                </c:pt>
                <c:pt idx="1573">
                  <c:v>105.55888371079779</c:v>
                </c:pt>
                <c:pt idx="1574">
                  <c:v>105.31458847144292</c:v>
                </c:pt>
                <c:pt idx="1575">
                  <c:v>106.09493281880897</c:v>
                </c:pt>
                <c:pt idx="1576">
                  <c:v>106.80370021706466</c:v>
                </c:pt>
                <c:pt idx="1577">
                  <c:v>107.09389806508811</c:v>
                </c:pt>
                <c:pt idx="1578">
                  <c:v>106.01635377685086</c:v>
                </c:pt>
                <c:pt idx="1579">
                  <c:v>105.07184925272088</c:v>
                </c:pt>
                <c:pt idx="1580">
                  <c:v>104.12189865637596</c:v>
                </c:pt>
                <c:pt idx="1581">
                  <c:v>104.08922222308645</c:v>
                </c:pt>
                <c:pt idx="1582">
                  <c:v>105.81095905331679</c:v>
                </c:pt>
                <c:pt idx="1583">
                  <c:v>107.82989582441839</c:v>
                </c:pt>
                <c:pt idx="1584">
                  <c:v>107.77776913321846</c:v>
                </c:pt>
                <c:pt idx="1585">
                  <c:v>107.31251896400121</c:v>
                </c:pt>
                <c:pt idx="1586">
                  <c:v>106.98731065173901</c:v>
                </c:pt>
                <c:pt idx="1587">
                  <c:v>106.19840819089238</c:v>
                </c:pt>
                <c:pt idx="1588">
                  <c:v>108.22045700325961</c:v>
                </c:pt>
                <c:pt idx="1589">
                  <c:v>108.47253234577865</c:v>
                </c:pt>
                <c:pt idx="1590">
                  <c:v>109.0264756910674</c:v>
                </c:pt>
                <c:pt idx="1591">
                  <c:v>109.09416258859568</c:v>
                </c:pt>
                <c:pt idx="1592">
                  <c:v>109.13928718694785</c:v>
                </c:pt>
                <c:pt idx="1593">
                  <c:v>109.3781363540878</c:v>
                </c:pt>
                <c:pt idx="1594">
                  <c:v>109.24120653839844</c:v>
                </c:pt>
                <c:pt idx="1595">
                  <c:v>109.22720235270295</c:v>
                </c:pt>
                <c:pt idx="1596">
                  <c:v>109.35168400332962</c:v>
                </c:pt>
                <c:pt idx="1597">
                  <c:v>110.12813829911359</c:v>
                </c:pt>
                <c:pt idx="1598">
                  <c:v>110.33431103296407</c:v>
                </c:pt>
                <c:pt idx="1599">
                  <c:v>110.33197700201482</c:v>
                </c:pt>
                <c:pt idx="1600">
                  <c:v>109.9460838850721</c:v>
                </c:pt>
                <c:pt idx="1601">
                  <c:v>109.97098021519743</c:v>
                </c:pt>
                <c:pt idx="1602">
                  <c:v>109.08327044416586</c:v>
                </c:pt>
                <c:pt idx="1603">
                  <c:v>109.78736978052308</c:v>
                </c:pt>
                <c:pt idx="1604">
                  <c:v>109.73368706869032</c:v>
                </c:pt>
                <c:pt idx="1605">
                  <c:v>109.6449938926188</c:v>
                </c:pt>
                <c:pt idx="1606">
                  <c:v>109.73757712027241</c:v>
                </c:pt>
                <c:pt idx="1607">
                  <c:v>108.88098776189752</c:v>
                </c:pt>
                <c:pt idx="1608">
                  <c:v>109.43337508655343</c:v>
                </c:pt>
                <c:pt idx="1609">
                  <c:v>109.3057813946611</c:v>
                </c:pt>
                <c:pt idx="1610">
                  <c:v>109.18907984719856</c:v>
                </c:pt>
                <c:pt idx="1611">
                  <c:v>111.42041343468192</c:v>
                </c:pt>
                <c:pt idx="1612">
                  <c:v>111.87165941820368</c:v>
                </c:pt>
                <c:pt idx="1613">
                  <c:v>111.18389829849121</c:v>
                </c:pt>
                <c:pt idx="1614">
                  <c:v>111.53244692024596</c:v>
                </c:pt>
                <c:pt idx="1615">
                  <c:v>111.76585001517101</c:v>
                </c:pt>
                <c:pt idx="1616">
                  <c:v>113.58872818653556</c:v>
                </c:pt>
                <c:pt idx="1617">
                  <c:v>114.03841814942447</c:v>
                </c:pt>
                <c:pt idx="1618">
                  <c:v>113.68208942450559</c:v>
                </c:pt>
                <c:pt idx="1619">
                  <c:v>113.53660149533565</c:v>
                </c:pt>
                <c:pt idx="1620">
                  <c:v>113.67119728007573</c:v>
                </c:pt>
                <c:pt idx="1621">
                  <c:v>113.60973446507882</c:v>
                </c:pt>
                <c:pt idx="1622">
                  <c:v>113.60117635159823</c:v>
                </c:pt>
                <c:pt idx="1623">
                  <c:v>113.34754498844636</c:v>
                </c:pt>
                <c:pt idx="1624">
                  <c:v>112.15718920432865</c:v>
                </c:pt>
                <c:pt idx="1625">
                  <c:v>111.51377467265195</c:v>
                </c:pt>
                <c:pt idx="1626">
                  <c:v>112.58976294025638</c:v>
                </c:pt>
                <c:pt idx="1627">
                  <c:v>112.08561225521828</c:v>
                </c:pt>
                <c:pt idx="1628">
                  <c:v>112.38281219608947</c:v>
                </c:pt>
                <c:pt idx="1629">
                  <c:v>112.48084149595799</c:v>
                </c:pt>
                <c:pt idx="1630">
                  <c:v>112.88851890176038</c:v>
                </c:pt>
                <c:pt idx="1631">
                  <c:v>113.69842764115027</c:v>
                </c:pt>
                <c:pt idx="1632">
                  <c:v>113.66186115627869</c:v>
                </c:pt>
                <c:pt idx="1633">
                  <c:v>113.26896594648821</c:v>
                </c:pt>
                <c:pt idx="1634">
                  <c:v>112.14863109084803</c:v>
                </c:pt>
                <c:pt idx="1635">
                  <c:v>111.45464588860423</c:v>
                </c:pt>
                <c:pt idx="1636">
                  <c:v>111.47643017746391</c:v>
                </c:pt>
                <c:pt idx="1637">
                  <c:v>111.14577579298677</c:v>
                </c:pt>
                <c:pt idx="1638">
                  <c:v>112.04359969813179</c:v>
                </c:pt>
                <c:pt idx="1639">
                  <c:v>113.19427695611222</c:v>
                </c:pt>
                <c:pt idx="1640">
                  <c:v>113.6603051356459</c:v>
                </c:pt>
                <c:pt idx="1641">
                  <c:v>113.3825554526851</c:v>
                </c:pt>
                <c:pt idx="1642">
                  <c:v>111.50366053853855</c:v>
                </c:pt>
                <c:pt idx="1643">
                  <c:v>111.55267518847282</c:v>
                </c:pt>
                <c:pt idx="1644">
                  <c:v>109.94141582317363</c:v>
                </c:pt>
                <c:pt idx="1645">
                  <c:v>109.60220332521591</c:v>
                </c:pt>
                <c:pt idx="1646">
                  <c:v>109.93052367874378</c:v>
                </c:pt>
                <c:pt idx="1647">
                  <c:v>109.85038861615284</c:v>
                </c:pt>
                <c:pt idx="1648">
                  <c:v>109.86750484311401</c:v>
                </c:pt>
                <c:pt idx="1649">
                  <c:v>111.06797476134511</c:v>
                </c:pt>
                <c:pt idx="1650">
                  <c:v>110.02621894766303</c:v>
                </c:pt>
                <c:pt idx="1651">
                  <c:v>110.26429010448656</c:v>
                </c:pt>
                <c:pt idx="1652">
                  <c:v>111.13021558665848</c:v>
                </c:pt>
                <c:pt idx="1653">
                  <c:v>108.4958726552712</c:v>
                </c:pt>
                <c:pt idx="1654">
                  <c:v>107.17169909672981</c:v>
                </c:pt>
                <c:pt idx="1655">
                  <c:v>107.35375351077134</c:v>
                </c:pt>
                <c:pt idx="1656">
                  <c:v>107.36775769646684</c:v>
                </c:pt>
                <c:pt idx="1657">
                  <c:v>106.93985202243762</c:v>
                </c:pt>
                <c:pt idx="1658">
                  <c:v>105.45852037998003</c:v>
                </c:pt>
                <c:pt idx="1659">
                  <c:v>105.290470151634</c:v>
                </c:pt>
                <c:pt idx="1660">
                  <c:v>105.80006690888702</c:v>
                </c:pt>
                <c:pt idx="1661">
                  <c:v>107.90147277352877</c:v>
                </c:pt>
                <c:pt idx="1662">
                  <c:v>107.9730497226391</c:v>
                </c:pt>
                <c:pt idx="1663">
                  <c:v>108.22356904452532</c:v>
                </c:pt>
                <c:pt idx="1664">
                  <c:v>109.63332373787256</c:v>
                </c:pt>
                <c:pt idx="1665">
                  <c:v>109.41081278737734</c:v>
                </c:pt>
                <c:pt idx="1666">
                  <c:v>108.83897520481099</c:v>
                </c:pt>
                <c:pt idx="1667">
                  <c:v>109.69400854255304</c:v>
                </c:pt>
                <c:pt idx="1668">
                  <c:v>110.16237075303593</c:v>
                </c:pt>
                <c:pt idx="1669">
                  <c:v>110.1802649903135</c:v>
                </c:pt>
                <c:pt idx="1670">
                  <c:v>109.65744205768139</c:v>
                </c:pt>
                <c:pt idx="1671">
                  <c:v>109.46994157142494</c:v>
                </c:pt>
                <c:pt idx="1672">
                  <c:v>109.64343787198591</c:v>
                </c:pt>
                <c:pt idx="1673">
                  <c:v>110.00599067943612</c:v>
                </c:pt>
                <c:pt idx="1674">
                  <c:v>110.32730894011625</c:v>
                </c:pt>
                <c:pt idx="1675">
                  <c:v>110.36465343530426</c:v>
                </c:pt>
                <c:pt idx="1676">
                  <c:v>111.08742501925545</c:v>
                </c:pt>
                <c:pt idx="1677">
                  <c:v>111.13721767950615</c:v>
                </c:pt>
                <c:pt idx="1678">
                  <c:v>110.4346743637818</c:v>
                </c:pt>
                <c:pt idx="1679">
                  <c:v>109.97798230804511</c:v>
                </c:pt>
                <c:pt idx="1680">
                  <c:v>111.28348361899248</c:v>
                </c:pt>
                <c:pt idx="1681">
                  <c:v>112.56175456886528</c:v>
                </c:pt>
                <c:pt idx="1682">
                  <c:v>111.70749924143965</c:v>
                </c:pt>
                <c:pt idx="1683">
                  <c:v>112.32057137077609</c:v>
                </c:pt>
                <c:pt idx="1684">
                  <c:v>111.26714540234777</c:v>
                </c:pt>
                <c:pt idx="1685">
                  <c:v>110.99561980191831</c:v>
                </c:pt>
                <c:pt idx="1686">
                  <c:v>110.46423875580562</c:v>
                </c:pt>
                <c:pt idx="1687">
                  <c:v>110.32964297106552</c:v>
                </c:pt>
                <c:pt idx="1688">
                  <c:v>109.11050080524043</c:v>
                </c:pt>
                <c:pt idx="1689">
                  <c:v>110.95905331704674</c:v>
                </c:pt>
                <c:pt idx="1690">
                  <c:v>113.77778469342478</c:v>
                </c:pt>
                <c:pt idx="1691">
                  <c:v>113.54049154691764</c:v>
                </c:pt>
                <c:pt idx="1692">
                  <c:v>114.09287887157357</c:v>
                </c:pt>
                <c:pt idx="1693">
                  <c:v>113.73655014665468</c:v>
                </c:pt>
                <c:pt idx="1694">
                  <c:v>113.36777325667313</c:v>
                </c:pt>
                <c:pt idx="1695">
                  <c:v>113.66886324912642</c:v>
                </c:pt>
                <c:pt idx="1696">
                  <c:v>114.53245470034905</c:v>
                </c:pt>
                <c:pt idx="1697">
                  <c:v>114.52700862813414</c:v>
                </c:pt>
                <c:pt idx="1698">
                  <c:v>114.42042121478505</c:v>
                </c:pt>
                <c:pt idx="1699">
                  <c:v>114.54957092731021</c:v>
                </c:pt>
                <c:pt idx="1700">
                  <c:v>114.5721332264863</c:v>
                </c:pt>
                <c:pt idx="1701">
                  <c:v>115.21865979942866</c:v>
                </c:pt>
                <c:pt idx="1702">
                  <c:v>115.61077699890272</c:v>
                </c:pt>
                <c:pt idx="1703">
                  <c:v>116.12270778710496</c:v>
                </c:pt>
                <c:pt idx="1704">
                  <c:v>116.29776010829875</c:v>
                </c:pt>
                <c:pt idx="1705">
                  <c:v>116.29853811861517</c:v>
                </c:pt>
                <c:pt idx="1706">
                  <c:v>116.93183851617846</c:v>
                </c:pt>
                <c:pt idx="1707">
                  <c:v>116.71555164821459</c:v>
                </c:pt>
                <c:pt idx="1708">
                  <c:v>117.31150755058984</c:v>
                </c:pt>
                <c:pt idx="1709">
                  <c:v>116.85403748453678</c:v>
                </c:pt>
                <c:pt idx="1710">
                  <c:v>116.55450351271629</c:v>
                </c:pt>
                <c:pt idx="1711">
                  <c:v>117.72618704924</c:v>
                </c:pt>
                <c:pt idx="1712">
                  <c:v>116.36778103677626</c:v>
                </c:pt>
                <c:pt idx="1713">
                  <c:v>117.5799211097536</c:v>
                </c:pt>
                <c:pt idx="1714">
                  <c:v>117.64449596601618</c:v>
                </c:pt>
                <c:pt idx="1715">
                  <c:v>117.43209914963441</c:v>
                </c:pt>
                <c:pt idx="1716">
                  <c:v>118.09651995985435</c:v>
                </c:pt>
                <c:pt idx="1717">
                  <c:v>118.024943010744</c:v>
                </c:pt>
                <c:pt idx="1718">
                  <c:v>118.21322150731686</c:v>
                </c:pt>
                <c:pt idx="1719">
                  <c:v>118.28324243579435</c:v>
                </c:pt>
                <c:pt idx="1720">
                  <c:v>118.36493351901814</c:v>
                </c:pt>
                <c:pt idx="1721">
                  <c:v>118.24122987870786</c:v>
                </c:pt>
                <c:pt idx="1722">
                  <c:v>119.10871138151259</c:v>
                </c:pt>
                <c:pt idx="1723">
                  <c:v>117.63126979063709</c:v>
                </c:pt>
                <c:pt idx="1724">
                  <c:v>116.88982595909189</c:v>
                </c:pt>
                <c:pt idx="1725">
                  <c:v>117.91524355612921</c:v>
                </c:pt>
                <c:pt idx="1726">
                  <c:v>115.7562649280726</c:v>
                </c:pt>
                <c:pt idx="1727">
                  <c:v>116.46347630569548</c:v>
                </c:pt>
                <c:pt idx="1728">
                  <c:v>117.94558595846948</c:v>
                </c:pt>
                <c:pt idx="1729">
                  <c:v>117.84366660701889</c:v>
                </c:pt>
                <c:pt idx="1730">
                  <c:v>118.11752623839759</c:v>
                </c:pt>
                <c:pt idx="1731">
                  <c:v>118.66213345988935</c:v>
                </c:pt>
                <c:pt idx="1732">
                  <c:v>119.79725051154145</c:v>
                </c:pt>
                <c:pt idx="1733">
                  <c:v>119.92717823438306</c:v>
                </c:pt>
                <c:pt idx="1734">
                  <c:v>120.14502112297976</c:v>
                </c:pt>
                <c:pt idx="1735">
                  <c:v>120.6834042619402</c:v>
                </c:pt>
                <c:pt idx="1736">
                  <c:v>121.07552146141425</c:v>
                </c:pt>
                <c:pt idx="1737">
                  <c:v>120.78454560307438</c:v>
                </c:pt>
                <c:pt idx="1738">
                  <c:v>120.94325970762343</c:v>
                </c:pt>
                <c:pt idx="1739">
                  <c:v>121.62090669322247</c:v>
                </c:pt>
                <c:pt idx="1740">
                  <c:v>121.42407008316901</c:v>
                </c:pt>
                <c:pt idx="1741">
                  <c:v>120.75498121105056</c:v>
                </c:pt>
                <c:pt idx="1742">
                  <c:v>120.46244933207785</c:v>
                </c:pt>
                <c:pt idx="1743">
                  <c:v>121.2692460302021</c:v>
                </c:pt>
                <c:pt idx="1744">
                  <c:v>120.26483471170802</c:v>
                </c:pt>
                <c:pt idx="1745">
                  <c:v>121.12764815261426</c:v>
                </c:pt>
                <c:pt idx="1746">
                  <c:v>120.72308278807752</c:v>
                </c:pt>
                <c:pt idx="1747">
                  <c:v>121.66291925030899</c:v>
                </c:pt>
                <c:pt idx="1748">
                  <c:v>121.59134230119864</c:v>
                </c:pt>
                <c:pt idx="1749">
                  <c:v>122.08460084180689</c:v>
                </c:pt>
                <c:pt idx="1750">
                  <c:v>121.53843759968231</c:v>
                </c:pt>
                <c:pt idx="1751">
                  <c:v>122.16706993534707</c:v>
                </c:pt>
                <c:pt idx="1752">
                  <c:v>120.87868485136087</c:v>
                </c:pt>
                <c:pt idx="1753">
                  <c:v>121.36805334038705</c:v>
                </c:pt>
                <c:pt idx="1754">
                  <c:v>120.84678642838779</c:v>
                </c:pt>
                <c:pt idx="1755">
                  <c:v>121.6084585281598</c:v>
                </c:pt>
                <c:pt idx="1756">
                  <c:v>122.03947624345469</c:v>
                </c:pt>
                <c:pt idx="1757">
                  <c:v>123.52703196844361</c:v>
                </c:pt>
                <c:pt idx="1758">
                  <c:v>123.96582978690267</c:v>
                </c:pt>
                <c:pt idx="1759">
                  <c:v>123.61416912388228</c:v>
                </c:pt>
                <c:pt idx="1760">
                  <c:v>120.77520947927739</c:v>
                </c:pt>
                <c:pt idx="1761">
                  <c:v>122.5031703920391</c:v>
                </c:pt>
                <c:pt idx="1762">
                  <c:v>120.74797911820281</c:v>
                </c:pt>
                <c:pt idx="1763">
                  <c:v>119.93884838912933</c:v>
                </c:pt>
                <c:pt idx="1764">
                  <c:v>121.00005446072183</c:v>
                </c:pt>
                <c:pt idx="1765">
                  <c:v>121.56411194012401</c:v>
                </c:pt>
                <c:pt idx="1766">
                  <c:v>122.83071273525056</c:v>
                </c:pt>
                <c:pt idx="1767">
                  <c:v>122.83149074556697</c:v>
                </c:pt>
                <c:pt idx="1768">
                  <c:v>123.32708331712446</c:v>
                </c:pt>
                <c:pt idx="1769">
                  <c:v>123.09990430473076</c:v>
                </c:pt>
                <c:pt idx="1770">
                  <c:v>123.98450203449663</c:v>
                </c:pt>
                <c:pt idx="1771">
                  <c:v>124.29259411979768</c:v>
                </c:pt>
                <c:pt idx="1772">
                  <c:v>123.13569277928592</c:v>
                </c:pt>
                <c:pt idx="1773">
                  <c:v>124.2941501404305</c:v>
                </c:pt>
                <c:pt idx="1774">
                  <c:v>125.60354150295998</c:v>
                </c:pt>
                <c:pt idx="1775">
                  <c:v>125.84316868041635</c:v>
                </c:pt>
                <c:pt idx="1776">
                  <c:v>126.50136540810495</c:v>
                </c:pt>
                <c:pt idx="1777">
                  <c:v>127.02496635105346</c:v>
                </c:pt>
                <c:pt idx="1778">
                  <c:v>126.55660414057056</c:v>
                </c:pt>
                <c:pt idx="1779">
                  <c:v>127.10354539301156</c:v>
                </c:pt>
                <c:pt idx="1780">
                  <c:v>127.10899146522645</c:v>
                </c:pt>
                <c:pt idx="1781">
                  <c:v>128.39815455952905</c:v>
                </c:pt>
                <c:pt idx="1782">
                  <c:v>129.05479526658482</c:v>
                </c:pt>
                <c:pt idx="1783">
                  <c:v>128.40826869364247</c:v>
                </c:pt>
                <c:pt idx="1784">
                  <c:v>129.73088623155101</c:v>
                </c:pt>
                <c:pt idx="1785">
                  <c:v>129.63908101421382</c:v>
                </c:pt>
                <c:pt idx="1786">
                  <c:v>129.86236997502544</c:v>
                </c:pt>
                <c:pt idx="1787">
                  <c:v>128.78793772805386</c:v>
                </c:pt>
                <c:pt idx="1788">
                  <c:v>128.41138073490814</c:v>
                </c:pt>
                <c:pt idx="1789">
                  <c:v>128.34058179611418</c:v>
                </c:pt>
                <c:pt idx="1790">
                  <c:v>129.15438058708611</c:v>
                </c:pt>
                <c:pt idx="1791">
                  <c:v>128.24410851687847</c:v>
                </c:pt>
                <c:pt idx="1792">
                  <c:v>128.71480475831063</c:v>
                </c:pt>
                <c:pt idx="1793">
                  <c:v>126.87325433935207</c:v>
                </c:pt>
                <c:pt idx="1794">
                  <c:v>127.62636832564354</c:v>
                </c:pt>
                <c:pt idx="1795">
                  <c:v>126.92304699960278</c:v>
                </c:pt>
                <c:pt idx="1796">
                  <c:v>125.17407980829782</c:v>
                </c:pt>
                <c:pt idx="1797">
                  <c:v>126.23684190052315</c:v>
                </c:pt>
                <c:pt idx="1798">
                  <c:v>127.85665937930291</c:v>
                </c:pt>
                <c:pt idx="1799">
                  <c:v>127.81231279126713</c:v>
                </c:pt>
                <c:pt idx="1800">
                  <c:v>126.51459158348393</c:v>
                </c:pt>
                <c:pt idx="1801">
                  <c:v>125.45571954284067</c:v>
                </c:pt>
                <c:pt idx="1802">
                  <c:v>127.3104961371783</c:v>
                </c:pt>
                <c:pt idx="1803">
                  <c:v>126.56127220246894</c:v>
                </c:pt>
                <c:pt idx="1804">
                  <c:v>127.51900290197801</c:v>
                </c:pt>
                <c:pt idx="1805">
                  <c:v>128.51252207604225</c:v>
                </c:pt>
                <c:pt idx="1806">
                  <c:v>126.73243447208063</c:v>
                </c:pt>
                <c:pt idx="1807">
                  <c:v>123.56282044299863</c:v>
                </c:pt>
                <c:pt idx="1808">
                  <c:v>123.89269681715933</c:v>
                </c:pt>
                <c:pt idx="1809">
                  <c:v>122.38802486520925</c:v>
                </c:pt>
                <c:pt idx="1810">
                  <c:v>123.55037227793592</c:v>
                </c:pt>
                <c:pt idx="1811">
                  <c:v>124.73528198983871</c:v>
                </c:pt>
                <c:pt idx="1812">
                  <c:v>125.50862424435702</c:v>
                </c:pt>
                <c:pt idx="1813">
                  <c:v>124.97024110539661</c:v>
                </c:pt>
                <c:pt idx="1814">
                  <c:v>125.64555406004639</c:v>
                </c:pt>
                <c:pt idx="1815">
                  <c:v>125.57708915220169</c:v>
                </c:pt>
                <c:pt idx="1816">
                  <c:v>125.68056452428513</c:v>
                </c:pt>
                <c:pt idx="1817">
                  <c:v>126.96272552574003</c:v>
                </c:pt>
                <c:pt idx="1818">
                  <c:v>127.62948036690922</c:v>
                </c:pt>
                <c:pt idx="1819">
                  <c:v>128.55220060217954</c:v>
                </c:pt>
                <c:pt idx="1820">
                  <c:v>128.57554091167205</c:v>
                </c:pt>
                <c:pt idx="1821">
                  <c:v>130.31828402044567</c:v>
                </c:pt>
                <c:pt idx="1822">
                  <c:v>130.72051535403315</c:v>
                </c:pt>
                <c:pt idx="1823">
                  <c:v>130.9002357371254</c:v>
                </c:pt>
                <c:pt idx="1824">
                  <c:v>130.4147572996813</c:v>
                </c:pt>
                <c:pt idx="1825">
                  <c:v>130.77653209681509</c:v>
                </c:pt>
                <c:pt idx="1826">
                  <c:v>131.43472882450368</c:v>
                </c:pt>
                <c:pt idx="1827">
                  <c:v>131.64634763056907</c:v>
                </c:pt>
                <c:pt idx="1828">
                  <c:v>131.91398317941645</c:v>
                </c:pt>
                <c:pt idx="1829">
                  <c:v>131.66968794006158</c:v>
                </c:pt>
                <c:pt idx="1830">
                  <c:v>131.16787128597275</c:v>
                </c:pt>
                <c:pt idx="1831">
                  <c:v>131.50319373234836</c:v>
                </c:pt>
                <c:pt idx="1832">
                  <c:v>131.61211517664671</c:v>
                </c:pt>
                <c:pt idx="1833">
                  <c:v>131.12041265667128</c:v>
                </c:pt>
                <c:pt idx="1834">
                  <c:v>131.16942730660554</c:v>
                </c:pt>
                <c:pt idx="1835">
                  <c:v>131.15153306932797</c:v>
                </c:pt>
                <c:pt idx="1836">
                  <c:v>132.79624687823303</c:v>
                </c:pt>
                <c:pt idx="1837">
                  <c:v>133.01408976682973</c:v>
                </c:pt>
                <c:pt idx="1838">
                  <c:v>132.8172531567763</c:v>
                </c:pt>
                <c:pt idx="1839">
                  <c:v>132.05713707763707</c:v>
                </c:pt>
                <c:pt idx="1840">
                  <c:v>131.55454241323184</c:v>
                </c:pt>
                <c:pt idx="1841">
                  <c:v>132.06569519111764</c:v>
                </c:pt>
                <c:pt idx="1842">
                  <c:v>131.59422093936905</c:v>
                </c:pt>
                <c:pt idx="1843">
                  <c:v>131.44250892766777</c:v>
                </c:pt>
                <c:pt idx="1844">
                  <c:v>131.80739576606726</c:v>
                </c:pt>
                <c:pt idx="1845">
                  <c:v>131.12508071856973</c:v>
                </c:pt>
                <c:pt idx="1846">
                  <c:v>129.2524098869545</c:v>
                </c:pt>
                <c:pt idx="1847">
                  <c:v>128.82528222324166</c:v>
                </c:pt>
                <c:pt idx="1848">
                  <c:v>128.06516614410245</c:v>
                </c:pt>
                <c:pt idx="1849">
                  <c:v>128.55453463312861</c:v>
                </c:pt>
                <c:pt idx="1850">
                  <c:v>127.81153478095058</c:v>
                </c:pt>
                <c:pt idx="1851">
                  <c:v>128.91319738899676</c:v>
                </c:pt>
                <c:pt idx="1852">
                  <c:v>129.42201613593338</c:v>
                </c:pt>
                <c:pt idx="1853">
                  <c:v>128.89919320330131</c:v>
                </c:pt>
                <c:pt idx="1854">
                  <c:v>126.85302607112516</c:v>
                </c:pt>
                <c:pt idx="1855">
                  <c:v>127.20157469287989</c:v>
                </c:pt>
                <c:pt idx="1856">
                  <c:v>127.45131600444967</c:v>
                </c:pt>
                <c:pt idx="1857">
                  <c:v>127.04675063991293</c:v>
                </c:pt>
                <c:pt idx="1858">
                  <c:v>127.57579765507633</c:v>
                </c:pt>
                <c:pt idx="1859">
                  <c:v>128.61132938622708</c:v>
                </c:pt>
                <c:pt idx="1860">
                  <c:v>128.76693144951042</c:v>
                </c:pt>
                <c:pt idx="1861">
                  <c:v>128.77393354235818</c:v>
                </c:pt>
                <c:pt idx="1862">
                  <c:v>130.06076260571152</c:v>
                </c:pt>
                <c:pt idx="1863">
                  <c:v>131.01615927427133</c:v>
                </c:pt>
                <c:pt idx="1864">
                  <c:v>131.41605657690957</c:v>
                </c:pt>
                <c:pt idx="1865">
                  <c:v>130.97181268623558</c:v>
                </c:pt>
                <c:pt idx="1866">
                  <c:v>131.32736340083807</c:v>
                </c:pt>
                <c:pt idx="1867">
                  <c:v>132.07503131491461</c:v>
                </c:pt>
                <c:pt idx="1868">
                  <c:v>132.63208670146904</c:v>
                </c:pt>
                <c:pt idx="1869">
                  <c:v>134.24723611835029</c:v>
                </c:pt>
                <c:pt idx="1870">
                  <c:v>133.99982883772975</c:v>
                </c:pt>
                <c:pt idx="1871">
                  <c:v>133.03276201442367</c:v>
                </c:pt>
                <c:pt idx="1872">
                  <c:v>132.40490768907532</c:v>
                </c:pt>
                <c:pt idx="1873">
                  <c:v>132.0610271292191</c:v>
                </c:pt>
                <c:pt idx="1874">
                  <c:v>131.69925233208528</c:v>
                </c:pt>
                <c:pt idx="1875">
                  <c:v>132.1582784187712</c:v>
                </c:pt>
                <c:pt idx="1876">
                  <c:v>131.61989527981078</c:v>
                </c:pt>
                <c:pt idx="1877">
                  <c:v>130.82632475706563</c:v>
                </c:pt>
                <c:pt idx="1878">
                  <c:v>131.87274863264622</c:v>
                </c:pt>
                <c:pt idx="1879">
                  <c:v>131.78483346689111</c:v>
                </c:pt>
                <c:pt idx="1880">
                  <c:v>130.60147977562119</c:v>
                </c:pt>
                <c:pt idx="1881">
                  <c:v>131.52264399025864</c:v>
                </c:pt>
                <c:pt idx="1882">
                  <c:v>130.40386515525128</c:v>
                </c:pt>
                <c:pt idx="1883">
                  <c:v>128.79571783121779</c:v>
                </c:pt>
                <c:pt idx="1884">
                  <c:v>128.86962881127741</c:v>
                </c:pt>
                <c:pt idx="1885">
                  <c:v>131.6829141154405</c:v>
                </c:pt>
                <c:pt idx="1886">
                  <c:v>132.51071709210794</c:v>
                </c:pt>
                <c:pt idx="1887">
                  <c:v>133.05065625170118</c:v>
                </c:pt>
                <c:pt idx="1888">
                  <c:v>132.1108197894697</c:v>
                </c:pt>
                <c:pt idx="1889">
                  <c:v>133.93758801241634</c:v>
                </c:pt>
                <c:pt idx="1890">
                  <c:v>134.84085798977623</c:v>
                </c:pt>
                <c:pt idx="1891">
                  <c:v>135.72389969890926</c:v>
                </c:pt>
                <c:pt idx="1892">
                  <c:v>135.73634786397193</c:v>
                </c:pt>
                <c:pt idx="1893">
                  <c:v>136.51513619070514</c:v>
                </c:pt>
                <c:pt idx="1894">
                  <c:v>135.87016563839563</c:v>
                </c:pt>
                <c:pt idx="1895">
                  <c:v>136.31285350843677</c:v>
                </c:pt>
                <c:pt idx="1896">
                  <c:v>136.91192145207771</c:v>
                </c:pt>
                <c:pt idx="1897">
                  <c:v>137.09397586611922</c:v>
                </c:pt>
                <c:pt idx="1898">
                  <c:v>137.85953801747334</c:v>
                </c:pt>
                <c:pt idx="1899">
                  <c:v>137.18733710408924</c:v>
                </c:pt>
                <c:pt idx="1900">
                  <c:v>136.66062411987505</c:v>
                </c:pt>
                <c:pt idx="1901">
                  <c:v>137.0574093812476</c:v>
                </c:pt>
                <c:pt idx="1902">
                  <c:v>137.54677787027376</c:v>
                </c:pt>
                <c:pt idx="1903">
                  <c:v>137.160884753331</c:v>
                </c:pt>
                <c:pt idx="1904">
                  <c:v>137.74594851127642</c:v>
                </c:pt>
                <c:pt idx="1905">
                  <c:v>135.93007243275963</c:v>
                </c:pt>
                <c:pt idx="1906">
                  <c:v>137.75528463507339</c:v>
                </c:pt>
                <c:pt idx="1907">
                  <c:v>137.85486995557477</c:v>
                </c:pt>
                <c:pt idx="1908">
                  <c:v>137.5281056226797</c:v>
                </c:pt>
                <c:pt idx="1909">
                  <c:v>138.64143838547213</c:v>
                </c:pt>
                <c:pt idx="1910">
                  <c:v>139.31208327822338</c:v>
                </c:pt>
                <c:pt idx="1911">
                  <c:v>139.9002590774345</c:v>
                </c:pt>
                <c:pt idx="1912">
                  <c:v>139.38288221701737</c:v>
                </c:pt>
                <c:pt idx="1913">
                  <c:v>139.09813044120881</c:v>
                </c:pt>
                <c:pt idx="1914">
                  <c:v>138.59242373553789</c:v>
                </c:pt>
                <c:pt idx="1915">
                  <c:v>139.71898267370941</c:v>
                </c:pt>
                <c:pt idx="1916">
                  <c:v>140.41218986563678</c:v>
                </c:pt>
                <c:pt idx="1917">
                  <c:v>140.23480351349377</c:v>
                </c:pt>
                <c:pt idx="1918">
                  <c:v>140.25580979203701</c:v>
                </c:pt>
                <c:pt idx="1919">
                  <c:v>140.60435841379174</c:v>
                </c:pt>
                <c:pt idx="1920">
                  <c:v>140.49388094886055</c:v>
                </c:pt>
                <c:pt idx="1921">
                  <c:v>140.11187788349994</c:v>
                </c:pt>
                <c:pt idx="1922">
                  <c:v>139.66452195156029</c:v>
                </c:pt>
                <c:pt idx="1923">
                  <c:v>139.48246753751874</c:v>
                </c:pt>
                <c:pt idx="1924">
                  <c:v>138.87717551134648</c:v>
                </c:pt>
                <c:pt idx="1925">
                  <c:v>140.43786420607853</c:v>
                </c:pt>
                <c:pt idx="1926">
                  <c:v>140.69305158986322</c:v>
                </c:pt>
                <c:pt idx="1927">
                  <c:v>140.24569565792356</c:v>
                </c:pt>
                <c:pt idx="1928">
                  <c:v>138.65855461243331</c:v>
                </c:pt>
                <c:pt idx="1929">
                  <c:v>138.13573167980121</c:v>
                </c:pt>
                <c:pt idx="1930">
                  <c:v>138.1217274941057</c:v>
                </c:pt>
                <c:pt idx="1931">
                  <c:v>138.99465506912534</c:v>
                </c:pt>
                <c:pt idx="1932">
                  <c:v>138.56363735383044</c:v>
                </c:pt>
                <c:pt idx="1933">
                  <c:v>140.87043794200628</c:v>
                </c:pt>
                <c:pt idx="1934">
                  <c:v>140.78874685878247</c:v>
                </c:pt>
                <c:pt idx="1935">
                  <c:v>141.46717185469794</c:v>
                </c:pt>
                <c:pt idx="1936">
                  <c:v>142.21950783067297</c:v>
                </c:pt>
                <c:pt idx="1937">
                  <c:v>142.63418732932308</c:v>
                </c:pt>
                <c:pt idx="1938">
                  <c:v>143.31105630460573</c:v>
                </c:pt>
                <c:pt idx="1939">
                  <c:v>143.26281966498789</c:v>
                </c:pt>
                <c:pt idx="1940">
                  <c:v>143.23714532454613</c:v>
                </c:pt>
                <c:pt idx="1941">
                  <c:v>143.80431484521395</c:v>
                </c:pt>
                <c:pt idx="1942">
                  <c:v>142.52993394692325</c:v>
                </c:pt>
                <c:pt idx="1943">
                  <c:v>142.48247531762181</c:v>
                </c:pt>
                <c:pt idx="1944">
                  <c:v>142.12459057207008</c:v>
                </c:pt>
                <c:pt idx="1945">
                  <c:v>142.98896003360915</c:v>
                </c:pt>
                <c:pt idx="1946">
                  <c:v>142.95861763126888</c:v>
                </c:pt>
                <c:pt idx="1947">
                  <c:v>143.0084102915196</c:v>
                </c:pt>
                <c:pt idx="1948">
                  <c:v>143.3382866656803</c:v>
                </c:pt>
                <c:pt idx="1949">
                  <c:v>141.53563676254259</c:v>
                </c:pt>
                <c:pt idx="1950">
                  <c:v>143.06676106525086</c:v>
                </c:pt>
                <c:pt idx="1951">
                  <c:v>143.8058708658468</c:v>
                </c:pt>
                <c:pt idx="1952">
                  <c:v>143.61214629705901</c:v>
                </c:pt>
                <c:pt idx="1953">
                  <c:v>143.05275687955535</c:v>
                </c:pt>
                <c:pt idx="1954">
                  <c:v>143.44954214092792</c:v>
                </c:pt>
                <c:pt idx="1955">
                  <c:v>143.53201123446809</c:v>
                </c:pt>
                <c:pt idx="1956">
                  <c:v>142.25607431554457</c:v>
                </c:pt>
                <c:pt idx="1957">
                  <c:v>139.28640893778166</c:v>
                </c:pt>
                <c:pt idx="1958">
                  <c:v>138.6072059315498</c:v>
                </c:pt>
                <c:pt idx="1959">
                  <c:v>139.45834921770975</c:v>
                </c:pt>
                <c:pt idx="1960">
                  <c:v>138.03459033866702</c:v>
                </c:pt>
                <c:pt idx="1961">
                  <c:v>139.58983296118419</c:v>
                </c:pt>
                <c:pt idx="1962">
                  <c:v>138.68734099414067</c:v>
                </c:pt>
                <c:pt idx="1963">
                  <c:v>135.52083900632434</c:v>
                </c:pt>
                <c:pt idx="1964">
                  <c:v>136.55637073747508</c:v>
                </c:pt>
                <c:pt idx="1965">
                  <c:v>136.2793990648307</c:v>
                </c:pt>
                <c:pt idx="1966">
                  <c:v>137.97468354430288</c:v>
                </c:pt>
                <c:pt idx="1967">
                  <c:v>139.81000988073009</c:v>
                </c:pt>
                <c:pt idx="1968">
                  <c:v>140.02940878995963</c:v>
                </c:pt>
                <c:pt idx="1969">
                  <c:v>141.57842732994547</c:v>
                </c:pt>
                <c:pt idx="1970">
                  <c:v>141.54030482444102</c:v>
                </c:pt>
                <c:pt idx="1971">
                  <c:v>142.36266172889358</c:v>
                </c:pt>
                <c:pt idx="1972">
                  <c:v>143.04731080734038</c:v>
                </c:pt>
                <c:pt idx="1973">
                  <c:v>143.21302700473717</c:v>
                </c:pt>
                <c:pt idx="1974">
                  <c:v>142.27863661472063</c:v>
                </c:pt>
                <c:pt idx="1975">
                  <c:v>143.13678199372833</c:v>
                </c:pt>
                <c:pt idx="1976">
                  <c:v>142.86214435203323</c:v>
                </c:pt>
                <c:pt idx="1977">
                  <c:v>143.74596407148269</c:v>
                </c:pt>
                <c:pt idx="1978">
                  <c:v>143.5522395026949</c:v>
                </c:pt>
                <c:pt idx="1979">
                  <c:v>143.5553515439606</c:v>
                </c:pt>
                <c:pt idx="1980">
                  <c:v>144.26567496284912</c:v>
                </c:pt>
                <c:pt idx="1981">
                  <c:v>144.66712828612017</c:v>
                </c:pt>
                <c:pt idx="1982">
                  <c:v>143.59969813199632</c:v>
                </c:pt>
                <c:pt idx="1983">
                  <c:v>145.79213120365884</c:v>
                </c:pt>
                <c:pt idx="1984">
                  <c:v>145.78435110049466</c:v>
                </c:pt>
                <c:pt idx="1985">
                  <c:v>146.03487042238089</c:v>
                </c:pt>
                <c:pt idx="1986">
                  <c:v>146.113449464339</c:v>
                </c:pt>
                <c:pt idx="1987">
                  <c:v>146.04576256681074</c:v>
                </c:pt>
                <c:pt idx="1988">
                  <c:v>145.3035407249491</c:v>
                </c:pt>
                <c:pt idx="1989">
                  <c:v>145.34788731298485</c:v>
                </c:pt>
                <c:pt idx="1990">
                  <c:v>143.64715676129774</c:v>
                </c:pt>
                <c:pt idx="1991">
                  <c:v>143.24181338644462</c:v>
                </c:pt>
                <c:pt idx="1992">
                  <c:v>144.61889164650231</c:v>
                </c:pt>
                <c:pt idx="1993">
                  <c:v>145.66298149113362</c:v>
                </c:pt>
                <c:pt idx="1994">
                  <c:v>144.76982564788713</c:v>
                </c:pt>
                <c:pt idx="1995">
                  <c:v>145.6443092435396</c:v>
                </c:pt>
                <c:pt idx="1996">
                  <c:v>145.21718157982679</c:v>
                </c:pt>
                <c:pt idx="1997">
                  <c:v>144.51074821252035</c:v>
                </c:pt>
                <c:pt idx="1998">
                  <c:v>145.14716065134925</c:v>
                </c:pt>
                <c:pt idx="1999">
                  <c:v>144.13107917810893</c:v>
                </c:pt>
                <c:pt idx="2000">
                  <c:v>143.85721954673022</c:v>
                </c:pt>
                <c:pt idx="2001">
                  <c:v>144.52475239821581</c:v>
                </c:pt>
                <c:pt idx="2002">
                  <c:v>145.66998358398132</c:v>
                </c:pt>
                <c:pt idx="2003">
                  <c:v>146.69540118101867</c:v>
                </c:pt>
                <c:pt idx="2004">
                  <c:v>147.1139707312509</c:v>
                </c:pt>
                <c:pt idx="2005">
                  <c:v>146.94825453385411</c:v>
                </c:pt>
                <c:pt idx="2006">
                  <c:v>145.10592610457917</c:v>
                </c:pt>
                <c:pt idx="2007">
                  <c:v>143.54601542016349</c:v>
                </c:pt>
                <c:pt idx="2008">
                  <c:v>144.08439855912388</c:v>
                </c:pt>
                <c:pt idx="2009">
                  <c:v>145.65753541891863</c:v>
                </c:pt>
                <c:pt idx="2010">
                  <c:v>142.61551508172894</c:v>
                </c:pt>
                <c:pt idx="2011">
                  <c:v>141.26255514148016</c:v>
                </c:pt>
                <c:pt idx="2012">
                  <c:v>142.423346533574</c:v>
                </c:pt>
                <c:pt idx="2013">
                  <c:v>143.38574529498158</c:v>
                </c:pt>
                <c:pt idx="2014">
                  <c:v>144.88963923661521</c:v>
                </c:pt>
                <c:pt idx="2015">
                  <c:v>145.08725385698509</c:v>
                </c:pt>
                <c:pt idx="2016">
                  <c:v>145.63497311974254</c:v>
                </c:pt>
                <c:pt idx="2017">
                  <c:v>146.23092902211781</c:v>
                </c:pt>
                <c:pt idx="2018">
                  <c:v>145.90727673048843</c:v>
                </c:pt>
                <c:pt idx="2019">
                  <c:v>146.15779605237461</c:v>
                </c:pt>
                <c:pt idx="2020">
                  <c:v>144.97444236110471</c:v>
                </c:pt>
                <c:pt idx="2021">
                  <c:v>145.44358258190402</c:v>
                </c:pt>
                <c:pt idx="2022">
                  <c:v>146.13601176351497</c:v>
                </c:pt>
                <c:pt idx="2023">
                  <c:v>146.57325356134123</c:v>
                </c:pt>
                <c:pt idx="2024">
                  <c:v>146.55224728279796</c:v>
                </c:pt>
                <c:pt idx="2025">
                  <c:v>146.35463266242809</c:v>
                </c:pt>
                <c:pt idx="2026">
                  <c:v>146.6284922938068</c:v>
                </c:pt>
                <c:pt idx="2027">
                  <c:v>145.31054281779674</c:v>
                </c:pt>
                <c:pt idx="2028">
                  <c:v>146.12667563971794</c:v>
                </c:pt>
                <c:pt idx="2029">
                  <c:v>145.9259489780824</c:v>
                </c:pt>
                <c:pt idx="2030">
                  <c:v>146.14768191826118</c:v>
                </c:pt>
                <c:pt idx="2031">
                  <c:v>147.5613266631905</c:v>
                </c:pt>
                <c:pt idx="2032">
                  <c:v>147.62356748850385</c:v>
                </c:pt>
                <c:pt idx="2033">
                  <c:v>146.92958228626009</c:v>
                </c:pt>
                <c:pt idx="2034">
                  <c:v>145.55406004683522</c:v>
                </c:pt>
                <c:pt idx="2035">
                  <c:v>146.09944527864337</c:v>
                </c:pt>
                <c:pt idx="2036">
                  <c:v>146.66116872709628</c:v>
                </c:pt>
                <c:pt idx="2037">
                  <c:v>145.70810608948571</c:v>
                </c:pt>
                <c:pt idx="2038">
                  <c:v>146.89068177043924</c:v>
                </c:pt>
                <c:pt idx="2039">
                  <c:v>147.23767437156113</c:v>
                </c:pt>
                <c:pt idx="2040">
                  <c:v>147.86319466596021</c:v>
                </c:pt>
                <c:pt idx="2041">
                  <c:v>148.74857040604252</c:v>
                </c:pt>
                <c:pt idx="2042">
                  <c:v>148.58285420864576</c:v>
                </c:pt>
                <c:pt idx="2043">
                  <c:v>149.38031478297293</c:v>
                </c:pt>
                <c:pt idx="2044">
                  <c:v>149.65573043498449</c:v>
                </c:pt>
                <c:pt idx="2045">
                  <c:v>149.76465187928287</c:v>
                </c:pt>
                <c:pt idx="2046">
                  <c:v>149.70785712618442</c:v>
                </c:pt>
                <c:pt idx="2047">
                  <c:v>149.99105288136016</c:v>
                </c:pt>
                <c:pt idx="2048">
                  <c:v>150.96978985941249</c:v>
                </c:pt>
                <c:pt idx="2049">
                  <c:v>151.66844312355477</c:v>
                </c:pt>
                <c:pt idx="2050">
                  <c:v>151.81081901145905</c:v>
                </c:pt>
                <c:pt idx="2051">
                  <c:v>151.77347451627102</c:v>
                </c:pt>
                <c:pt idx="2052">
                  <c:v>151.23664739794344</c:v>
                </c:pt>
                <c:pt idx="2053">
                  <c:v>150.16454918192107</c:v>
                </c:pt>
                <c:pt idx="2054">
                  <c:v>150.63524542335327</c:v>
                </c:pt>
                <c:pt idx="2055">
                  <c:v>150.76128309461279</c:v>
                </c:pt>
                <c:pt idx="2056">
                  <c:v>151.08882543782426</c:v>
                </c:pt>
                <c:pt idx="2057">
                  <c:v>152.25506290213301</c:v>
                </c:pt>
                <c:pt idx="2058">
                  <c:v>152.44956548123722</c:v>
                </c:pt>
                <c:pt idx="2059">
                  <c:v>152.71331097850251</c:v>
                </c:pt>
                <c:pt idx="2060">
                  <c:v>152.69308271027566</c:v>
                </c:pt>
                <c:pt idx="2061">
                  <c:v>151.71045568064127</c:v>
                </c:pt>
                <c:pt idx="2062">
                  <c:v>152.45345553281931</c:v>
                </c:pt>
                <c:pt idx="2063">
                  <c:v>152.273735149727</c:v>
                </c:pt>
                <c:pt idx="2064">
                  <c:v>152.56471100806687</c:v>
                </c:pt>
                <c:pt idx="2065">
                  <c:v>152.50791625496842</c:v>
                </c:pt>
                <c:pt idx="2066">
                  <c:v>153.52633175915798</c:v>
                </c:pt>
                <c:pt idx="2067">
                  <c:v>153.62747310029215</c:v>
                </c:pt>
                <c:pt idx="2068">
                  <c:v>154.46928026265513</c:v>
                </c:pt>
                <c:pt idx="2069">
                  <c:v>153.86321022616644</c:v>
                </c:pt>
                <c:pt idx="2070">
                  <c:v>152.77866384508144</c:v>
                </c:pt>
                <c:pt idx="2071">
                  <c:v>153.48820925365351</c:v>
                </c:pt>
                <c:pt idx="2072">
                  <c:v>152.85413084577382</c:v>
                </c:pt>
                <c:pt idx="2073">
                  <c:v>153.07897582721827</c:v>
                </c:pt>
                <c:pt idx="2074">
                  <c:v>153.82041965876348</c:v>
                </c:pt>
                <c:pt idx="2075">
                  <c:v>153.52321971789226</c:v>
                </c:pt>
                <c:pt idx="2076">
                  <c:v>154.16819027020176</c:v>
                </c:pt>
                <c:pt idx="2077">
                  <c:v>152.34375607820436</c:v>
                </c:pt>
                <c:pt idx="2078">
                  <c:v>153.90755681420211</c:v>
                </c:pt>
                <c:pt idx="2079">
                  <c:v>153.55045007896683</c:v>
                </c:pt>
                <c:pt idx="2080">
                  <c:v>154.32068029221946</c:v>
                </c:pt>
                <c:pt idx="2081">
                  <c:v>154.59142788233251</c:v>
                </c:pt>
                <c:pt idx="2082">
                  <c:v>154.66689488302492</c:v>
                </c:pt>
                <c:pt idx="2083">
                  <c:v>153.91689293799914</c:v>
                </c:pt>
                <c:pt idx="2084">
                  <c:v>153.96123952603492</c:v>
                </c:pt>
                <c:pt idx="2085">
                  <c:v>153.26414228252546</c:v>
                </c:pt>
                <c:pt idx="2086">
                  <c:v>153.27347840632245</c:v>
                </c:pt>
                <c:pt idx="2087">
                  <c:v>150.20811775964032</c:v>
                </c:pt>
                <c:pt idx="2088">
                  <c:v>149.77865606497826</c:v>
                </c:pt>
                <c:pt idx="2089">
                  <c:v>150.85542234289912</c:v>
                </c:pt>
                <c:pt idx="2090">
                  <c:v>149.39431896866839</c:v>
                </c:pt>
                <c:pt idx="2091">
                  <c:v>149.39665299961763</c:v>
                </c:pt>
                <c:pt idx="2092">
                  <c:v>148.56651599200092</c:v>
                </c:pt>
                <c:pt idx="2093">
                  <c:v>150.27969470875072</c:v>
                </c:pt>
                <c:pt idx="2094">
                  <c:v>150.6943742074009</c:v>
                </c:pt>
                <c:pt idx="2095">
                  <c:v>150.44774493709676</c:v>
                </c:pt>
                <c:pt idx="2096">
                  <c:v>151.45682431748935</c:v>
                </c:pt>
                <c:pt idx="2097">
                  <c:v>152.11502104517797</c:v>
                </c:pt>
                <c:pt idx="2098">
                  <c:v>152.10568492138094</c:v>
                </c:pt>
                <c:pt idx="2099">
                  <c:v>153.40340612916413</c:v>
                </c:pt>
                <c:pt idx="2100">
                  <c:v>154.17052430115106</c:v>
                </c:pt>
                <c:pt idx="2101">
                  <c:v>154.5525273665117</c:v>
                </c:pt>
                <c:pt idx="2102">
                  <c:v>155.00844141193193</c:v>
                </c:pt>
                <c:pt idx="2103">
                  <c:v>154.69957131631446</c:v>
                </c:pt>
                <c:pt idx="2104">
                  <c:v>155.44023713754322</c:v>
                </c:pt>
                <c:pt idx="2105">
                  <c:v>155.60361930399074</c:v>
                </c:pt>
                <c:pt idx="2106">
                  <c:v>155.61139940715489</c:v>
                </c:pt>
                <c:pt idx="2107">
                  <c:v>155.34843192020602</c:v>
                </c:pt>
                <c:pt idx="2108">
                  <c:v>155.86425275999034</c:v>
                </c:pt>
                <c:pt idx="2109">
                  <c:v>155.77944963550092</c:v>
                </c:pt>
                <c:pt idx="2110">
                  <c:v>155.65808002613988</c:v>
                </c:pt>
                <c:pt idx="2111">
                  <c:v>155.41923085899995</c:v>
                </c:pt>
                <c:pt idx="2112">
                  <c:v>156.20190923731525</c:v>
                </c:pt>
                <c:pt idx="2113">
                  <c:v>155.72187687208609</c:v>
                </c:pt>
                <c:pt idx="2114">
                  <c:v>154.7026833575801</c:v>
                </c:pt>
                <c:pt idx="2115">
                  <c:v>155.26674083698228</c:v>
                </c:pt>
                <c:pt idx="2116">
                  <c:v>155.40367065267165</c:v>
                </c:pt>
                <c:pt idx="2117">
                  <c:v>154.47706036581926</c:v>
                </c:pt>
                <c:pt idx="2118">
                  <c:v>154.36736091120451</c:v>
                </c:pt>
                <c:pt idx="2119">
                  <c:v>155.52270623108345</c:v>
                </c:pt>
                <c:pt idx="2120">
                  <c:v>155.72421090303538</c:v>
                </c:pt>
                <c:pt idx="2121">
                  <c:v>156.48588300280741</c:v>
                </c:pt>
                <c:pt idx="2122">
                  <c:v>156.41119401243142</c:v>
                </c:pt>
                <c:pt idx="2123">
                  <c:v>155.15781939268399</c:v>
                </c:pt>
                <c:pt idx="2124">
                  <c:v>154.26155150817183</c:v>
                </c:pt>
                <c:pt idx="2125">
                  <c:v>155.46980152956709</c:v>
                </c:pt>
                <c:pt idx="2126">
                  <c:v>152.95605019722444</c:v>
                </c:pt>
                <c:pt idx="2127">
                  <c:v>154.26777559070314</c:v>
                </c:pt>
                <c:pt idx="2128">
                  <c:v>153.87488038091266</c:v>
                </c:pt>
                <c:pt idx="2129">
                  <c:v>153.446196696567</c:v>
                </c:pt>
                <c:pt idx="2130">
                  <c:v>151.41325573976994</c:v>
                </c:pt>
                <c:pt idx="2131">
                  <c:v>151.41403375008633</c:v>
                </c:pt>
                <c:pt idx="2132">
                  <c:v>153.10465016766003</c:v>
                </c:pt>
                <c:pt idx="2133">
                  <c:v>152.86502299020367</c:v>
                </c:pt>
                <c:pt idx="2134">
                  <c:v>150.55277632981296</c:v>
                </c:pt>
                <c:pt idx="2135">
                  <c:v>153.18167318898531</c:v>
                </c:pt>
                <c:pt idx="2136">
                  <c:v>150.0167272218018</c:v>
                </c:pt>
                <c:pt idx="2137">
                  <c:v>148.29888044315354</c:v>
                </c:pt>
                <c:pt idx="2138">
                  <c:v>145.85670605992121</c:v>
                </c:pt>
                <c:pt idx="2139">
                  <c:v>146.08699711358057</c:v>
                </c:pt>
                <c:pt idx="2140">
                  <c:v>144.90364342231061</c:v>
                </c:pt>
                <c:pt idx="2141">
                  <c:v>144.92464970085391</c:v>
                </c:pt>
                <c:pt idx="2142">
                  <c:v>146.79187446025421</c:v>
                </c:pt>
                <c:pt idx="2143">
                  <c:v>148.13394225607317</c:v>
                </c:pt>
                <c:pt idx="2144">
                  <c:v>151.03358670535852</c:v>
                </c:pt>
                <c:pt idx="2145">
                  <c:v>149.93114608699591</c:v>
                </c:pt>
                <c:pt idx="2146">
                  <c:v>151.77580854722009</c:v>
                </c:pt>
                <c:pt idx="2147">
                  <c:v>152.84635074260959</c:v>
                </c:pt>
                <c:pt idx="2148">
                  <c:v>152.61683769926663</c:v>
                </c:pt>
                <c:pt idx="2149">
                  <c:v>154.43893786031472</c:v>
                </c:pt>
                <c:pt idx="2150">
                  <c:v>154.22498502330012</c:v>
                </c:pt>
                <c:pt idx="2151">
                  <c:v>155.18582776407487</c:v>
                </c:pt>
                <c:pt idx="2152">
                  <c:v>157.00637190449015</c:v>
                </c:pt>
                <c:pt idx="2153">
                  <c:v>156.98769965689615</c:v>
                </c:pt>
                <c:pt idx="2154">
                  <c:v>156.54345576622217</c:v>
                </c:pt>
                <c:pt idx="2155">
                  <c:v>157.43583359915223</c:v>
                </c:pt>
                <c:pt idx="2156">
                  <c:v>158.03023348089468</c:v>
                </c:pt>
                <c:pt idx="2157">
                  <c:v>158.0854722133603</c:v>
                </c:pt>
                <c:pt idx="2158">
                  <c:v>158.57873075396853</c:v>
                </c:pt>
                <c:pt idx="2159">
                  <c:v>158.68920821889972</c:v>
                </c:pt>
                <c:pt idx="2160">
                  <c:v>158.57795274365213</c:v>
                </c:pt>
                <c:pt idx="2161">
                  <c:v>158.66197785782512</c:v>
                </c:pt>
                <c:pt idx="2162">
                  <c:v>158.70010036332957</c:v>
                </c:pt>
                <c:pt idx="2163">
                  <c:v>158.81680191079209</c:v>
                </c:pt>
                <c:pt idx="2164">
                  <c:v>159.63215672239693</c:v>
                </c:pt>
                <c:pt idx="2165">
                  <c:v>159.39252954494052</c:v>
                </c:pt>
                <c:pt idx="2166">
                  <c:v>159.70606770245649</c:v>
                </c:pt>
                <c:pt idx="2167">
                  <c:v>160.54242879260454</c:v>
                </c:pt>
                <c:pt idx="2168">
                  <c:v>161.00223288960683</c:v>
                </c:pt>
                <c:pt idx="2169">
                  <c:v>160.81706643429965</c:v>
                </c:pt>
                <c:pt idx="2170">
                  <c:v>161.26831241782136</c:v>
                </c:pt>
                <c:pt idx="2171">
                  <c:v>160.85830098106973</c:v>
                </c:pt>
                <c:pt idx="2172">
                  <c:v>159.75975041428921</c:v>
                </c:pt>
                <c:pt idx="2173">
                  <c:v>160.77972193911165</c:v>
                </c:pt>
                <c:pt idx="2174">
                  <c:v>161.38501396528389</c:v>
                </c:pt>
                <c:pt idx="2175">
                  <c:v>161.19751347902744</c:v>
                </c:pt>
                <c:pt idx="2176">
                  <c:v>161.46592703819121</c:v>
                </c:pt>
                <c:pt idx="2177">
                  <c:v>160.29424350166752</c:v>
                </c:pt>
                <c:pt idx="2178">
                  <c:v>160.25612099616313</c:v>
                </c:pt>
                <c:pt idx="2179">
                  <c:v>157.63578225047138</c:v>
                </c:pt>
                <c:pt idx="2180">
                  <c:v>158.35077373125839</c:v>
                </c:pt>
                <c:pt idx="2181">
                  <c:v>155.78333968708299</c:v>
                </c:pt>
                <c:pt idx="2182">
                  <c:v>154.79526658523366</c:v>
                </c:pt>
                <c:pt idx="2183">
                  <c:v>153.48120716080572</c:v>
                </c:pt>
                <c:pt idx="2184">
                  <c:v>156.60491858121912</c:v>
                </c:pt>
                <c:pt idx="2185">
                  <c:v>160.36582045077787</c:v>
                </c:pt>
                <c:pt idx="2186">
                  <c:v>161.09870616884245</c:v>
                </c:pt>
                <c:pt idx="2187">
                  <c:v>161.71255630849527</c:v>
                </c:pt>
                <c:pt idx="2188">
                  <c:v>161.99497405335458</c:v>
                </c:pt>
                <c:pt idx="2189">
                  <c:v>161.97241175417849</c:v>
                </c:pt>
                <c:pt idx="2190">
                  <c:v>162.50846086218968</c:v>
                </c:pt>
                <c:pt idx="2191">
                  <c:v>162.64850271914472</c:v>
                </c:pt>
                <c:pt idx="2192">
                  <c:v>161.85337617576673</c:v>
                </c:pt>
                <c:pt idx="2193">
                  <c:v>160.18454404705273</c:v>
                </c:pt>
                <c:pt idx="2194">
                  <c:v>160.13008332490352</c:v>
                </c:pt>
                <c:pt idx="2195">
                  <c:v>157.20320851454358</c:v>
                </c:pt>
                <c:pt idx="2196">
                  <c:v>155.80512397594259</c:v>
                </c:pt>
                <c:pt idx="2197">
                  <c:v>157.61711000287733</c:v>
                </c:pt>
                <c:pt idx="2198">
                  <c:v>160.43661938957175</c:v>
                </c:pt>
                <c:pt idx="2199">
                  <c:v>159.08832751122145</c:v>
                </c:pt>
                <c:pt idx="2200">
                  <c:v>157.80072043755166</c:v>
                </c:pt>
                <c:pt idx="2201">
                  <c:v>157.39382104206567</c:v>
                </c:pt>
                <c:pt idx="2202">
                  <c:v>156.47888090995951</c:v>
                </c:pt>
                <c:pt idx="2203">
                  <c:v>155.0317817214243</c:v>
                </c:pt>
                <c:pt idx="2204">
                  <c:v>157.1129593178392</c:v>
                </c:pt>
                <c:pt idx="2205">
                  <c:v>157.35647654687762</c:v>
                </c:pt>
                <c:pt idx="2206">
                  <c:v>158.10103241968849</c:v>
                </c:pt>
                <c:pt idx="2207">
                  <c:v>160.5151984315298</c:v>
                </c:pt>
                <c:pt idx="2208">
                  <c:v>159.63371274302961</c:v>
                </c:pt>
                <c:pt idx="2209">
                  <c:v>160.04372417978121</c:v>
                </c:pt>
                <c:pt idx="2210">
                  <c:v>157.90108376836935</c:v>
                </c:pt>
                <c:pt idx="2211">
                  <c:v>155.77011351170378</c:v>
                </c:pt>
                <c:pt idx="2212">
                  <c:v>157.25533520574342</c:v>
                </c:pt>
                <c:pt idx="2213">
                  <c:v>155.21228011483296</c:v>
                </c:pt>
                <c:pt idx="2214">
                  <c:v>157.22421479308679</c:v>
                </c:pt>
                <c:pt idx="2215">
                  <c:v>159.49444889639102</c:v>
                </c:pt>
                <c:pt idx="2216">
                  <c:v>158.83158410680392</c:v>
                </c:pt>
                <c:pt idx="2217">
                  <c:v>160.46618378159556</c:v>
                </c:pt>
                <c:pt idx="2218">
                  <c:v>159.91768650852171</c:v>
                </c:pt>
                <c:pt idx="2219">
                  <c:v>159.23848350228988</c:v>
                </c:pt>
                <c:pt idx="2220">
                  <c:v>160.93843604366057</c:v>
                </c:pt>
                <c:pt idx="2221">
                  <c:v>160.93376798176209</c:v>
                </c:pt>
                <c:pt idx="2222">
                  <c:v>162.48589856301356</c:v>
                </c:pt>
                <c:pt idx="2223">
                  <c:v>163.14798534228424</c:v>
                </c:pt>
                <c:pt idx="2224">
                  <c:v>163.40861879828392</c:v>
                </c:pt>
                <c:pt idx="2225">
                  <c:v>163.35727011740039</c:v>
                </c:pt>
                <c:pt idx="2226">
                  <c:v>163.18377381683945</c:v>
                </c:pt>
                <c:pt idx="2227">
                  <c:v>164.18351707343501</c:v>
                </c:pt>
                <c:pt idx="2228">
                  <c:v>164.1337244131843</c:v>
                </c:pt>
                <c:pt idx="2229">
                  <c:v>164.58652641733889</c:v>
                </c:pt>
                <c:pt idx="2230">
                  <c:v>164.46048874607936</c:v>
                </c:pt>
                <c:pt idx="2231">
                  <c:v>164.21774952735731</c:v>
                </c:pt>
                <c:pt idx="2232">
                  <c:v>163.73227108991324</c:v>
                </c:pt>
                <c:pt idx="2233">
                  <c:v>164.73512638777447</c:v>
                </c:pt>
                <c:pt idx="2234">
                  <c:v>163.98745847369796</c:v>
                </c:pt>
                <c:pt idx="2235">
                  <c:v>163.26779893101244</c:v>
                </c:pt>
                <c:pt idx="2236">
                  <c:v>163.46307952043304</c:v>
                </c:pt>
                <c:pt idx="2237">
                  <c:v>161.14616479814384</c:v>
                </c:pt>
                <c:pt idx="2238">
                  <c:v>161.78179922665632</c:v>
                </c:pt>
                <c:pt idx="2239">
                  <c:v>159.03775684065434</c:v>
                </c:pt>
                <c:pt idx="2240">
                  <c:v>158.73277679661894</c:v>
                </c:pt>
                <c:pt idx="2241">
                  <c:v>160.73304132012649</c:v>
                </c:pt>
                <c:pt idx="2242">
                  <c:v>159.75663837302346</c:v>
                </c:pt>
                <c:pt idx="2243">
                  <c:v>161.91872904234572</c:v>
                </c:pt>
                <c:pt idx="2244">
                  <c:v>161.38112391370174</c:v>
                </c:pt>
                <c:pt idx="2245">
                  <c:v>163.34326593170488</c:v>
                </c:pt>
                <c:pt idx="2246">
                  <c:v>162.54736137801049</c:v>
                </c:pt>
                <c:pt idx="2247">
                  <c:v>164.01235480382329</c:v>
                </c:pt>
                <c:pt idx="2248">
                  <c:v>163.72604700738191</c:v>
                </c:pt>
                <c:pt idx="2249">
                  <c:v>162.72085767857141</c:v>
                </c:pt>
                <c:pt idx="2250">
                  <c:v>160.35181626508231</c:v>
                </c:pt>
                <c:pt idx="2251">
                  <c:v>159.97059121003809</c:v>
                </c:pt>
                <c:pt idx="2252">
                  <c:v>160.34948223413303</c:v>
                </c:pt>
                <c:pt idx="2253">
                  <c:v>162.31162425213614</c:v>
                </c:pt>
                <c:pt idx="2254">
                  <c:v>160.88397532151134</c:v>
                </c:pt>
                <c:pt idx="2255">
                  <c:v>160.24600686204957</c:v>
                </c:pt>
                <c:pt idx="2256">
                  <c:v>160.81162036208457</c:v>
                </c:pt>
                <c:pt idx="2257">
                  <c:v>161.87438245430991</c:v>
                </c:pt>
                <c:pt idx="2258">
                  <c:v>161.54061602856711</c:v>
                </c:pt>
                <c:pt idx="2259">
                  <c:v>161.97396777481126</c:v>
                </c:pt>
                <c:pt idx="2260">
                  <c:v>162.69596134844599</c:v>
                </c:pt>
                <c:pt idx="2261">
                  <c:v>163.54243657270746</c:v>
                </c:pt>
                <c:pt idx="2262">
                  <c:v>162.7932126379981</c:v>
                </c:pt>
                <c:pt idx="2263">
                  <c:v>163.05851415589626</c:v>
                </c:pt>
                <c:pt idx="2264">
                  <c:v>163.89798728730997</c:v>
                </c:pt>
                <c:pt idx="2265">
                  <c:v>163.7703935954176</c:v>
                </c:pt>
                <c:pt idx="2266">
                  <c:v>161.91795103202921</c:v>
                </c:pt>
                <c:pt idx="2267">
                  <c:v>163.4132868601823</c:v>
                </c:pt>
                <c:pt idx="2268">
                  <c:v>163.17132565177664</c:v>
                </c:pt>
                <c:pt idx="2269">
                  <c:v>164.00146265939335</c:v>
                </c:pt>
                <c:pt idx="2270">
                  <c:v>164.38813378665247</c:v>
                </c:pt>
                <c:pt idx="2271">
                  <c:v>164.7584666972669</c:v>
                </c:pt>
                <c:pt idx="2272">
                  <c:v>164.07615164976937</c:v>
                </c:pt>
                <c:pt idx="2273">
                  <c:v>164.53050967455678</c:v>
                </c:pt>
                <c:pt idx="2274">
                  <c:v>163.9151035142711</c:v>
                </c:pt>
                <c:pt idx="2275">
                  <c:v>162.2548294990377</c:v>
                </c:pt>
                <c:pt idx="2276">
                  <c:v>164.02713699983508</c:v>
                </c:pt>
                <c:pt idx="2277">
                  <c:v>164.50950339601349</c:v>
                </c:pt>
                <c:pt idx="2278">
                  <c:v>162.56214357402229</c:v>
                </c:pt>
                <c:pt idx="2279">
                  <c:v>161.83781596943828</c:v>
                </c:pt>
                <c:pt idx="2280">
                  <c:v>162.44855406782546</c:v>
                </c:pt>
                <c:pt idx="2281">
                  <c:v>164.63476305695661</c:v>
                </c:pt>
                <c:pt idx="2282">
                  <c:v>163.79684594617572</c:v>
                </c:pt>
                <c:pt idx="2283">
                  <c:v>163.31370153968089</c:v>
                </c:pt>
                <c:pt idx="2284">
                  <c:v>163.26390887943023</c:v>
                </c:pt>
                <c:pt idx="2285">
                  <c:v>165.02376821516498</c:v>
                </c:pt>
                <c:pt idx="2286">
                  <c:v>165.1505838967409</c:v>
                </c:pt>
                <c:pt idx="2287">
                  <c:v>165.65395657146257</c:v>
                </c:pt>
                <c:pt idx="2288">
                  <c:v>165.5473691581135</c:v>
                </c:pt>
                <c:pt idx="2289">
                  <c:v>165.39332311546298</c:v>
                </c:pt>
                <c:pt idx="2290">
                  <c:v>165.77999424272213</c:v>
                </c:pt>
                <c:pt idx="2291">
                  <c:v>165.4096613321077</c:v>
                </c:pt>
                <c:pt idx="2292">
                  <c:v>163.70893078042059</c:v>
                </c:pt>
                <c:pt idx="2293">
                  <c:v>165.20893467047213</c:v>
                </c:pt>
                <c:pt idx="2294">
                  <c:v>164.99964989535601</c:v>
                </c:pt>
                <c:pt idx="2295">
                  <c:v>163.95711607135752</c:v>
                </c:pt>
                <c:pt idx="2296">
                  <c:v>164.2947725486824</c:v>
                </c:pt>
                <c:pt idx="2297">
                  <c:v>164.12905635128558</c:v>
                </c:pt>
                <c:pt idx="2298">
                  <c:v>164.47682696272389</c:v>
                </c:pt>
                <c:pt idx="2299">
                  <c:v>163.05851415589606</c:v>
                </c:pt>
                <c:pt idx="2300">
                  <c:v>162.82433305065459</c:v>
                </c:pt>
                <c:pt idx="2301">
                  <c:v>161.77012907190985</c:v>
                </c:pt>
                <c:pt idx="2302">
                  <c:v>161.83781596943808</c:v>
                </c:pt>
                <c:pt idx="2303">
                  <c:v>163.78673181206213</c:v>
                </c:pt>
                <c:pt idx="2304">
                  <c:v>164.07148358787072</c:v>
                </c:pt>
                <c:pt idx="2305">
                  <c:v>162.92391837115593</c:v>
                </c:pt>
                <c:pt idx="2306">
                  <c:v>162.17080438486445</c:v>
                </c:pt>
                <c:pt idx="2307">
                  <c:v>163.09352462013479</c:v>
                </c:pt>
                <c:pt idx="2308">
                  <c:v>163.41639890144774</c:v>
                </c:pt>
                <c:pt idx="2309">
                  <c:v>165.03466035959462</c:v>
                </c:pt>
                <c:pt idx="2310">
                  <c:v>164.15939875362574</c:v>
                </c:pt>
                <c:pt idx="2311">
                  <c:v>165.15992002053775</c:v>
                </c:pt>
                <c:pt idx="2312">
                  <c:v>165.26495141325401</c:v>
                </c:pt>
                <c:pt idx="2313">
                  <c:v>164.04969929901102</c:v>
                </c:pt>
                <c:pt idx="2314">
                  <c:v>163.56188683061768</c:v>
                </c:pt>
                <c:pt idx="2315">
                  <c:v>163.49808998467151</c:v>
                </c:pt>
                <c:pt idx="2316">
                  <c:v>160.08651474718391</c:v>
                </c:pt>
                <c:pt idx="2317">
                  <c:v>160.5120863902639</c:v>
                </c:pt>
                <c:pt idx="2318">
                  <c:v>161.62541915305633</c:v>
                </c:pt>
                <c:pt idx="2319">
                  <c:v>161.57562649280564</c:v>
                </c:pt>
                <c:pt idx="2320">
                  <c:v>160.95166221903938</c:v>
                </c:pt>
                <c:pt idx="2321">
                  <c:v>161.93039919709167</c:v>
                </c:pt>
                <c:pt idx="2322">
                  <c:v>159.23381544039108</c:v>
                </c:pt>
                <c:pt idx="2323">
                  <c:v>159.59403421689206</c:v>
                </c:pt>
                <c:pt idx="2324">
                  <c:v>161.56317832774295</c:v>
                </c:pt>
                <c:pt idx="2325">
                  <c:v>163.35104603486872</c:v>
                </c:pt>
                <c:pt idx="2326">
                  <c:v>164.07848568071842</c:v>
                </c:pt>
                <c:pt idx="2327">
                  <c:v>163.95789408167386</c:v>
                </c:pt>
                <c:pt idx="2328">
                  <c:v>165.2719535061018</c:v>
                </c:pt>
                <c:pt idx="2329">
                  <c:v>165.45478593045974</c:v>
                </c:pt>
                <c:pt idx="2330">
                  <c:v>165.58237962235211</c:v>
                </c:pt>
                <c:pt idx="2331">
                  <c:v>164.8767242653621</c:v>
                </c:pt>
                <c:pt idx="2332">
                  <c:v>164.48305104525519</c:v>
                </c:pt>
                <c:pt idx="2333">
                  <c:v>163.54943866555502</c:v>
                </c:pt>
                <c:pt idx="2334">
                  <c:v>161.79891545361724</c:v>
                </c:pt>
                <c:pt idx="2335">
                  <c:v>160.86452506360067</c:v>
                </c:pt>
                <c:pt idx="2336">
                  <c:v>162.85700948394404</c:v>
                </c:pt>
                <c:pt idx="2337">
                  <c:v>164.04892128869457</c:v>
                </c:pt>
                <c:pt idx="2338">
                  <c:v>164.05358935059306</c:v>
                </c:pt>
                <c:pt idx="2339">
                  <c:v>163.68092240902942</c:v>
                </c:pt>
                <c:pt idx="2340">
                  <c:v>163.22967642550768</c:v>
                </c:pt>
                <c:pt idx="2341">
                  <c:v>162.86245555615898</c:v>
                </c:pt>
                <c:pt idx="2342">
                  <c:v>163.36971828246271</c:v>
                </c:pt>
                <c:pt idx="2343">
                  <c:v>162.10311748733619</c:v>
                </c:pt>
                <c:pt idx="2344">
                  <c:v>161.63708930780257</c:v>
                </c:pt>
                <c:pt idx="2345">
                  <c:v>163.7073747597876</c:v>
                </c:pt>
                <c:pt idx="2346">
                  <c:v>162.14279601347346</c:v>
                </c:pt>
                <c:pt idx="2347">
                  <c:v>162.29684205612395</c:v>
                </c:pt>
                <c:pt idx="2348">
                  <c:v>162.08989131195708</c:v>
                </c:pt>
                <c:pt idx="2349">
                  <c:v>162.72396971983676</c:v>
                </c:pt>
                <c:pt idx="2350">
                  <c:v>163.57200096473107</c:v>
                </c:pt>
                <c:pt idx="2351">
                  <c:v>163.14253927006899</c:v>
                </c:pt>
                <c:pt idx="2352">
                  <c:v>161.79580341235152</c:v>
                </c:pt>
                <c:pt idx="2353">
                  <c:v>158.38189414391462</c:v>
                </c:pt>
                <c:pt idx="2354">
                  <c:v>153.3372752522682</c:v>
                </c:pt>
                <c:pt idx="2355">
                  <c:v>147.29369111434258</c:v>
                </c:pt>
                <c:pt idx="2356">
                  <c:v>145.3019847043156</c:v>
                </c:pt>
                <c:pt idx="2357">
                  <c:v>150.97367991099398</c:v>
                </c:pt>
                <c:pt idx="2358">
                  <c:v>154.64199855289914</c:v>
                </c:pt>
                <c:pt idx="2359">
                  <c:v>154.73613780118555</c:v>
                </c:pt>
                <c:pt idx="2360">
                  <c:v>153.43763858308594</c:v>
                </c:pt>
                <c:pt idx="2361">
                  <c:v>148.89950440742678</c:v>
                </c:pt>
                <c:pt idx="2362">
                  <c:v>151.62331852520194</c:v>
                </c:pt>
                <c:pt idx="2363">
                  <c:v>151.79992686702857</c:v>
                </c:pt>
                <c:pt idx="2364">
                  <c:v>149.47289801062595</c:v>
                </c:pt>
                <c:pt idx="2365">
                  <c:v>153.22212972543846</c:v>
                </c:pt>
                <c:pt idx="2366">
                  <c:v>151.09271548940572</c:v>
                </c:pt>
                <c:pt idx="2367">
                  <c:v>151.89017606373292</c:v>
                </c:pt>
                <c:pt idx="2368">
                  <c:v>152.57171310091405</c:v>
                </c:pt>
                <c:pt idx="2369">
                  <c:v>151.94774882714779</c:v>
                </c:pt>
                <c:pt idx="2370">
                  <c:v>153.89744268008823</c:v>
                </c:pt>
                <c:pt idx="2371">
                  <c:v>155.23717644495792</c:v>
                </c:pt>
                <c:pt idx="2372">
                  <c:v>154.83961317326896</c:v>
                </c:pt>
                <c:pt idx="2373">
                  <c:v>152.33675398535613</c:v>
                </c:pt>
                <c:pt idx="2374">
                  <c:v>153.03229520823274</c:v>
                </c:pt>
                <c:pt idx="2375">
                  <c:v>151.14717621155486</c:v>
                </c:pt>
                <c:pt idx="2376">
                  <c:v>150.83752810562098</c:v>
                </c:pt>
                <c:pt idx="2377">
                  <c:v>150.33026537931724</c:v>
                </c:pt>
                <c:pt idx="2378">
                  <c:v>150.26024445083974</c:v>
                </c:pt>
                <c:pt idx="2379">
                  <c:v>146.40364731236173</c:v>
                </c:pt>
                <c:pt idx="2380">
                  <c:v>146.58414570577042</c:v>
                </c:pt>
                <c:pt idx="2381">
                  <c:v>149.38031478297233</c:v>
                </c:pt>
                <c:pt idx="2382">
                  <c:v>149.67518069289429</c:v>
                </c:pt>
                <c:pt idx="2383">
                  <c:v>151.81782110430612</c:v>
                </c:pt>
                <c:pt idx="2384">
                  <c:v>154.59453992359767</c:v>
                </c:pt>
                <c:pt idx="2385">
                  <c:v>154.03981856799251</c:v>
                </c:pt>
                <c:pt idx="2386">
                  <c:v>155.27763298141161</c:v>
                </c:pt>
                <c:pt idx="2387">
                  <c:v>156.64693113830518</c:v>
                </c:pt>
                <c:pt idx="2388">
                  <c:v>156.76052064450204</c:v>
                </c:pt>
                <c:pt idx="2389">
                  <c:v>156.96046929582113</c:v>
                </c:pt>
                <c:pt idx="2390">
                  <c:v>155.88914909011521</c:v>
                </c:pt>
                <c:pt idx="2391">
                  <c:v>155.15392934110136</c:v>
                </c:pt>
                <c:pt idx="2392">
                  <c:v>157.45839589832786</c:v>
                </c:pt>
                <c:pt idx="2393">
                  <c:v>158.17805544101338</c:v>
                </c:pt>
                <c:pt idx="2394">
                  <c:v>158.22084600841632</c:v>
                </c:pt>
                <c:pt idx="2395">
                  <c:v>157.99600102697184</c:v>
                </c:pt>
                <c:pt idx="2396">
                  <c:v>157.07561482265078</c:v>
                </c:pt>
                <c:pt idx="2397">
                  <c:v>159.68739545486193</c:v>
                </c:pt>
                <c:pt idx="2398">
                  <c:v>161.44881081122952</c:v>
                </c:pt>
                <c:pt idx="2399">
                  <c:v>161.13994071561203</c:v>
                </c:pt>
                <c:pt idx="2400">
                  <c:v>160.72837325822755</c:v>
                </c:pt>
                <c:pt idx="2401">
                  <c:v>162.63138649218305</c:v>
                </c:pt>
                <c:pt idx="2402">
                  <c:v>162.55825352243986</c:v>
                </c:pt>
                <c:pt idx="2403">
                  <c:v>161.77635315444101</c:v>
                </c:pt>
                <c:pt idx="2404">
                  <c:v>163.69726062567406</c:v>
                </c:pt>
                <c:pt idx="2405">
                  <c:v>164.14383854729729</c:v>
                </c:pt>
                <c:pt idx="2406">
                  <c:v>163.56188683061754</c:v>
                </c:pt>
                <c:pt idx="2407">
                  <c:v>163.37672037531033</c:v>
                </c:pt>
                <c:pt idx="2408">
                  <c:v>163.31992562221188</c:v>
                </c:pt>
                <c:pt idx="2409">
                  <c:v>161.71566834976045</c:v>
                </c:pt>
                <c:pt idx="2410">
                  <c:v>161.95996358911529</c:v>
                </c:pt>
                <c:pt idx="2411">
                  <c:v>161.43714065648322</c:v>
                </c:pt>
                <c:pt idx="2412">
                  <c:v>159.17857670792529</c:v>
                </c:pt>
                <c:pt idx="2413">
                  <c:v>157.39459905238161</c:v>
                </c:pt>
                <c:pt idx="2414">
                  <c:v>159.74030015637823</c:v>
                </c:pt>
                <c:pt idx="2415">
                  <c:v>159.52634731936359</c:v>
                </c:pt>
                <c:pt idx="2416">
                  <c:v>162.10467350796884</c:v>
                </c:pt>
                <c:pt idx="2417">
                  <c:v>161.9226190939273</c:v>
                </c:pt>
                <c:pt idx="2418">
                  <c:v>162.5395812748458</c:v>
                </c:pt>
                <c:pt idx="2419">
                  <c:v>162.33885461321026</c:v>
                </c:pt>
                <c:pt idx="2420">
                  <c:v>162.53724724389656</c:v>
                </c:pt>
                <c:pt idx="2421">
                  <c:v>162.51624096535332</c:v>
                </c:pt>
                <c:pt idx="2422">
                  <c:v>162.61271424458903</c:v>
                </c:pt>
                <c:pt idx="2423">
                  <c:v>161.8580442376647</c:v>
                </c:pt>
                <c:pt idx="2424">
                  <c:v>163.58678316074281</c:v>
                </c:pt>
                <c:pt idx="2425">
                  <c:v>161.7880233091872</c:v>
                </c:pt>
                <c:pt idx="2426">
                  <c:v>159.46255047341739</c:v>
                </c:pt>
                <c:pt idx="2427">
                  <c:v>162.73563987458283</c:v>
                </c:pt>
                <c:pt idx="2428">
                  <c:v>161.5981887919815</c:v>
                </c:pt>
                <c:pt idx="2429">
                  <c:v>160.54943088545167</c:v>
                </c:pt>
                <c:pt idx="2430">
                  <c:v>159.30694841013405</c:v>
                </c:pt>
                <c:pt idx="2431">
                  <c:v>159.66561116600224</c:v>
                </c:pt>
                <c:pt idx="2432">
                  <c:v>156.56446204476492</c:v>
                </c:pt>
                <c:pt idx="2433">
                  <c:v>157.3090179175758</c:v>
                </c:pt>
                <c:pt idx="2434">
                  <c:v>158.97940606692268</c:v>
                </c:pt>
                <c:pt idx="2435">
                  <c:v>161.28698466541485</c:v>
                </c:pt>
                <c:pt idx="2436">
                  <c:v>158.8611484988273</c:v>
                </c:pt>
                <c:pt idx="2437">
                  <c:v>156.03385900896868</c:v>
                </c:pt>
                <c:pt idx="2438">
                  <c:v>157.2475551025789</c:v>
                </c:pt>
                <c:pt idx="2439">
                  <c:v>158.63396948643364</c:v>
                </c:pt>
                <c:pt idx="2440">
                  <c:v>160.60389160760093</c:v>
                </c:pt>
                <c:pt idx="2441">
                  <c:v>160.34714820318339</c:v>
                </c:pt>
                <c:pt idx="2442">
                  <c:v>159.9978215711123</c:v>
                </c:pt>
                <c:pt idx="2443">
                  <c:v>161.69855212279938</c:v>
                </c:pt>
                <c:pt idx="2444">
                  <c:v>160.53153664817418</c:v>
                </c:pt>
                <c:pt idx="2445">
                  <c:v>159.02064061369276</c:v>
                </c:pt>
                <c:pt idx="2446">
                  <c:v>156.58702434394107</c:v>
                </c:pt>
                <c:pt idx="2447">
                  <c:v>156.90211852208986</c:v>
                </c:pt>
                <c:pt idx="2448">
                  <c:v>154.84428123516747</c:v>
                </c:pt>
                <c:pt idx="2449">
                  <c:v>151.17440657262949</c:v>
                </c:pt>
                <c:pt idx="2450">
                  <c:v>149.53591684625573</c:v>
                </c:pt>
                <c:pt idx="2451">
                  <c:v>149.6635105381481</c:v>
                </c:pt>
                <c:pt idx="2452">
                  <c:v>150.8313040230897</c:v>
                </c:pt>
                <c:pt idx="2453">
                  <c:v>147.06573409163244</c:v>
                </c:pt>
                <c:pt idx="2454">
                  <c:v>149.52113465024379</c:v>
                </c:pt>
                <c:pt idx="2455">
                  <c:v>146.29161382679771</c:v>
                </c:pt>
                <c:pt idx="2456">
                  <c:v>146.3694148584394</c:v>
                </c:pt>
                <c:pt idx="2457">
                  <c:v>144.65779216232247</c:v>
                </c:pt>
                <c:pt idx="2458">
                  <c:v>145.4093501279811</c:v>
                </c:pt>
                <c:pt idx="2459">
                  <c:v>148.35878723751716</c:v>
                </c:pt>
                <c:pt idx="2460">
                  <c:v>146.03876047396233</c:v>
                </c:pt>
                <c:pt idx="2461">
                  <c:v>148.10437786404893</c:v>
                </c:pt>
                <c:pt idx="2462">
                  <c:v>146.49545252969901</c:v>
                </c:pt>
                <c:pt idx="2463">
                  <c:v>147.30536126908891</c:v>
                </c:pt>
                <c:pt idx="2464">
                  <c:v>150.95267363245082</c:v>
                </c:pt>
                <c:pt idx="2465">
                  <c:v>150.88576474523902</c:v>
                </c:pt>
                <c:pt idx="2466">
                  <c:v>148.05769724506399</c:v>
                </c:pt>
                <c:pt idx="2467">
                  <c:v>148.79680704565996</c:v>
                </c:pt>
                <c:pt idx="2468">
                  <c:v>149.02398605805365</c:v>
                </c:pt>
                <c:pt idx="2469">
                  <c:v>146.26982953793822</c:v>
                </c:pt>
                <c:pt idx="2470">
                  <c:v>144.19954408595314</c:v>
                </c:pt>
                <c:pt idx="2471">
                  <c:v>144.10384881703388</c:v>
                </c:pt>
                <c:pt idx="2472">
                  <c:v>144.07661845595928</c:v>
                </c:pt>
                <c:pt idx="2473">
                  <c:v>142.30431095516181</c:v>
                </c:pt>
                <c:pt idx="2474">
                  <c:v>145.08180778476978</c:v>
                </c:pt>
                <c:pt idx="2475">
                  <c:v>147.47807955933348</c:v>
                </c:pt>
                <c:pt idx="2476">
                  <c:v>149.90858378781951</c:v>
                </c:pt>
                <c:pt idx="2477">
                  <c:v>149.20915251336081</c:v>
                </c:pt>
                <c:pt idx="2478">
                  <c:v>149.20526246177874</c:v>
                </c:pt>
                <c:pt idx="2479">
                  <c:v>151.36190705888606</c:v>
                </c:pt>
                <c:pt idx="2480">
                  <c:v>149.47678806220816</c:v>
                </c:pt>
              </c:numCache>
            </c:numRef>
          </c:val>
          <c:smooth val="0"/>
          <c:extLst xmlns:c16r2="http://schemas.microsoft.com/office/drawing/2015/06/chart">
            <c:ext xmlns:c16="http://schemas.microsoft.com/office/drawing/2014/chart" uri="{C3380CC4-5D6E-409C-BE32-E72D297353CC}">
              <c16:uniqueId val="{00000001-6C35-42D4-9EB0-2FE6E64DA8E8}"/>
            </c:ext>
          </c:extLst>
        </c:ser>
        <c:ser>
          <c:idx val="5"/>
          <c:order val="2"/>
          <c:tx>
            <c:strRef>
              <c:f>FINAL!$L$15</c:f>
              <c:strCache>
                <c:ptCount val="1"/>
                <c:pt idx="0">
                  <c:v>Final  Mean reversion Strategy</c:v>
                </c:pt>
              </c:strCache>
            </c:strRef>
          </c:tx>
          <c:spPr>
            <a:ln>
              <a:solidFill>
                <a:srgbClr val="00B050"/>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L$16:$L$2496</c:f>
              <c:numCache>
                <c:formatCode>General</c:formatCode>
                <c:ptCount val="2481"/>
                <c:pt idx="0">
                  <c:v>100</c:v>
                </c:pt>
                <c:pt idx="1">
                  <c:v>100.68066589708741</c:v>
                </c:pt>
                <c:pt idx="2">
                  <c:v>100.64945495958742</c:v>
                </c:pt>
                <c:pt idx="3">
                  <c:v>100.61731506471605</c:v>
                </c:pt>
                <c:pt idx="4">
                  <c:v>100.61731506471605</c:v>
                </c:pt>
                <c:pt idx="5">
                  <c:v>100.50989975162608</c:v>
                </c:pt>
                <c:pt idx="6">
                  <c:v>100.47856739208669</c:v>
                </c:pt>
                <c:pt idx="7">
                  <c:v>100.14287051499551</c:v>
                </c:pt>
                <c:pt idx="8">
                  <c:v>100.14287051499551</c:v>
                </c:pt>
                <c:pt idx="9">
                  <c:v>100.11221357068266</c:v>
                </c:pt>
                <c:pt idx="10">
                  <c:v>100.11221357068266</c:v>
                </c:pt>
                <c:pt idx="11">
                  <c:v>100.11221357068266</c:v>
                </c:pt>
                <c:pt idx="12">
                  <c:v>100.11221357068266</c:v>
                </c:pt>
                <c:pt idx="13">
                  <c:v>100.11221357068266</c:v>
                </c:pt>
                <c:pt idx="14">
                  <c:v>100.11221357068266</c:v>
                </c:pt>
                <c:pt idx="15">
                  <c:v>100.11221357068266</c:v>
                </c:pt>
                <c:pt idx="16">
                  <c:v>100.11221357068266</c:v>
                </c:pt>
                <c:pt idx="17">
                  <c:v>100.11221357068266</c:v>
                </c:pt>
                <c:pt idx="18">
                  <c:v>100.11221357068266</c:v>
                </c:pt>
                <c:pt idx="19">
                  <c:v>100.11221357068266</c:v>
                </c:pt>
                <c:pt idx="20">
                  <c:v>100.11221357068266</c:v>
                </c:pt>
                <c:pt idx="21">
                  <c:v>100.11221357068266</c:v>
                </c:pt>
                <c:pt idx="22">
                  <c:v>100.11221357068266</c:v>
                </c:pt>
                <c:pt idx="23">
                  <c:v>100.11221357068266</c:v>
                </c:pt>
                <c:pt idx="24">
                  <c:v>100.11221357068266</c:v>
                </c:pt>
                <c:pt idx="25">
                  <c:v>100.11221357068266</c:v>
                </c:pt>
                <c:pt idx="26">
                  <c:v>100.31376105941317</c:v>
                </c:pt>
                <c:pt idx="27">
                  <c:v>99.511803452640777</c:v>
                </c:pt>
                <c:pt idx="28">
                  <c:v>100.70075389806564</c:v>
                </c:pt>
                <c:pt idx="29">
                  <c:v>100.70075389806564</c:v>
                </c:pt>
                <c:pt idx="30">
                  <c:v>100.66876822265641</c:v>
                </c:pt>
                <c:pt idx="31">
                  <c:v>100.71273678456191</c:v>
                </c:pt>
                <c:pt idx="32">
                  <c:v>101.8719647796201</c:v>
                </c:pt>
                <c:pt idx="33">
                  <c:v>101.8719647796201</c:v>
                </c:pt>
                <c:pt idx="34">
                  <c:v>101.83851509060892</c:v>
                </c:pt>
                <c:pt idx="35">
                  <c:v>102.35267797635731</c:v>
                </c:pt>
                <c:pt idx="36">
                  <c:v>102.13753565165996</c:v>
                </c:pt>
                <c:pt idx="37">
                  <c:v>102.13753565165996</c:v>
                </c:pt>
                <c:pt idx="38">
                  <c:v>102.10375399905874</c:v>
                </c:pt>
                <c:pt idx="39">
                  <c:v>102.10375399905874</c:v>
                </c:pt>
                <c:pt idx="40">
                  <c:v>102.10375399905874</c:v>
                </c:pt>
                <c:pt idx="41">
                  <c:v>102.10375399905874</c:v>
                </c:pt>
                <c:pt idx="42">
                  <c:v>102.10375399905874</c:v>
                </c:pt>
                <c:pt idx="43">
                  <c:v>101.27419112049631</c:v>
                </c:pt>
                <c:pt idx="44">
                  <c:v>101.24148864855906</c:v>
                </c:pt>
                <c:pt idx="45">
                  <c:v>101.20882705471169</c:v>
                </c:pt>
                <c:pt idx="46">
                  <c:v>101.20882705471169</c:v>
                </c:pt>
                <c:pt idx="47">
                  <c:v>101.24236407244204</c:v>
                </c:pt>
                <c:pt idx="48">
                  <c:v>101.15038256226657</c:v>
                </c:pt>
                <c:pt idx="49">
                  <c:v>101.0664387857295</c:v>
                </c:pt>
                <c:pt idx="50">
                  <c:v>101.28705751010793</c:v>
                </c:pt>
                <c:pt idx="51">
                  <c:v>101.30137973168753</c:v>
                </c:pt>
                <c:pt idx="52">
                  <c:v>100.86902239043727</c:v>
                </c:pt>
                <c:pt idx="53">
                  <c:v>100.86902239043727</c:v>
                </c:pt>
                <c:pt idx="54">
                  <c:v>100.83682637941259</c:v>
                </c:pt>
                <c:pt idx="55">
                  <c:v>100.83682637941259</c:v>
                </c:pt>
                <c:pt idx="56">
                  <c:v>100.83682637941259</c:v>
                </c:pt>
                <c:pt idx="57">
                  <c:v>100.83682637941259</c:v>
                </c:pt>
                <c:pt idx="58">
                  <c:v>100.83682637941259</c:v>
                </c:pt>
                <c:pt idx="59">
                  <c:v>100.83682637941259</c:v>
                </c:pt>
                <c:pt idx="60">
                  <c:v>100.83682637941259</c:v>
                </c:pt>
                <c:pt idx="61">
                  <c:v>100.83682637941259</c:v>
                </c:pt>
                <c:pt idx="62">
                  <c:v>100.83682637941259</c:v>
                </c:pt>
                <c:pt idx="63">
                  <c:v>100.83682637941259</c:v>
                </c:pt>
                <c:pt idx="64">
                  <c:v>100.83682637941259</c:v>
                </c:pt>
                <c:pt idx="65">
                  <c:v>100.83682637941259</c:v>
                </c:pt>
                <c:pt idx="66">
                  <c:v>99.230300684758703</c:v>
                </c:pt>
                <c:pt idx="67">
                  <c:v>99.169534452733643</c:v>
                </c:pt>
                <c:pt idx="68">
                  <c:v>99.108844178498643</c:v>
                </c:pt>
                <c:pt idx="69">
                  <c:v>99.481082302540059</c:v>
                </c:pt>
                <c:pt idx="70">
                  <c:v>99.449567673203504</c:v>
                </c:pt>
                <c:pt idx="71">
                  <c:v>99.418092437153589</c:v>
                </c:pt>
                <c:pt idx="72">
                  <c:v>98.726110837430596</c:v>
                </c:pt>
                <c:pt idx="73">
                  <c:v>98.77937696808219</c:v>
                </c:pt>
                <c:pt idx="74">
                  <c:v>98.7194383588797</c:v>
                </c:pt>
                <c:pt idx="75">
                  <c:v>98.688203070236909</c:v>
                </c:pt>
                <c:pt idx="76">
                  <c:v>98.615249709153744</c:v>
                </c:pt>
                <c:pt idx="77">
                  <c:v>98.586712503556925</c:v>
                </c:pt>
                <c:pt idx="78">
                  <c:v>98.686859958722465</c:v>
                </c:pt>
                <c:pt idx="79">
                  <c:v>98.631753778287106</c:v>
                </c:pt>
                <c:pt idx="80">
                  <c:v>98.559711877042673</c:v>
                </c:pt>
                <c:pt idx="81">
                  <c:v>98.600021276456431</c:v>
                </c:pt>
                <c:pt idx="82">
                  <c:v>98.584791324854663</c:v>
                </c:pt>
                <c:pt idx="83">
                  <c:v>98.26022850503611</c:v>
                </c:pt>
                <c:pt idx="84">
                  <c:v>98.229013462624408</c:v>
                </c:pt>
                <c:pt idx="85">
                  <c:v>98.166844577076688</c:v>
                </c:pt>
                <c:pt idx="86">
                  <c:v>98.166844577076688</c:v>
                </c:pt>
                <c:pt idx="87">
                  <c:v>97.746921077735266</c:v>
                </c:pt>
                <c:pt idx="88">
                  <c:v>97.715346262106664</c:v>
                </c:pt>
                <c:pt idx="89">
                  <c:v>97.683810914997622</c:v>
                </c:pt>
                <c:pt idx="90">
                  <c:v>97.683810914997622</c:v>
                </c:pt>
                <c:pt idx="91">
                  <c:v>97.555849718870974</c:v>
                </c:pt>
                <c:pt idx="92">
                  <c:v>96.94544597325168</c:v>
                </c:pt>
                <c:pt idx="93">
                  <c:v>96.94544597325168</c:v>
                </c:pt>
                <c:pt idx="94">
                  <c:v>96.914873001503679</c:v>
                </c:pt>
                <c:pt idx="95">
                  <c:v>96.914873001503679</c:v>
                </c:pt>
                <c:pt idx="96">
                  <c:v>96.914873001503679</c:v>
                </c:pt>
                <c:pt idx="97">
                  <c:v>96.914873001503679</c:v>
                </c:pt>
                <c:pt idx="98">
                  <c:v>96.914873001503679</c:v>
                </c:pt>
                <c:pt idx="99">
                  <c:v>96.914873001503679</c:v>
                </c:pt>
                <c:pt idx="100">
                  <c:v>97.161788224602844</c:v>
                </c:pt>
                <c:pt idx="101">
                  <c:v>97.370635407828132</c:v>
                </c:pt>
                <c:pt idx="102">
                  <c:v>97.34197380928839</c:v>
                </c:pt>
                <c:pt idx="103">
                  <c:v>97.282387516467594</c:v>
                </c:pt>
                <c:pt idx="104">
                  <c:v>97.282387516467594</c:v>
                </c:pt>
                <c:pt idx="105">
                  <c:v>97.282387516467594</c:v>
                </c:pt>
                <c:pt idx="106">
                  <c:v>97.282387516467594</c:v>
                </c:pt>
                <c:pt idx="107">
                  <c:v>97.282387516467594</c:v>
                </c:pt>
                <c:pt idx="108">
                  <c:v>97.282387516467594</c:v>
                </c:pt>
                <c:pt idx="109">
                  <c:v>97.282387516467594</c:v>
                </c:pt>
                <c:pt idx="110">
                  <c:v>97.282387516467594</c:v>
                </c:pt>
                <c:pt idx="111">
                  <c:v>97.282387516467594</c:v>
                </c:pt>
                <c:pt idx="112">
                  <c:v>97.282387516467594</c:v>
                </c:pt>
                <c:pt idx="113">
                  <c:v>97.282387516467594</c:v>
                </c:pt>
                <c:pt idx="114">
                  <c:v>97.282387516467594</c:v>
                </c:pt>
                <c:pt idx="115">
                  <c:v>97.282387516467594</c:v>
                </c:pt>
                <c:pt idx="116">
                  <c:v>97.282387516467594</c:v>
                </c:pt>
                <c:pt idx="117">
                  <c:v>97.282387516467594</c:v>
                </c:pt>
                <c:pt idx="118">
                  <c:v>97.282387516467594</c:v>
                </c:pt>
                <c:pt idx="119">
                  <c:v>97.282387516467594</c:v>
                </c:pt>
                <c:pt idx="120">
                  <c:v>97.282387516467594</c:v>
                </c:pt>
                <c:pt idx="121">
                  <c:v>97.282387516467594</c:v>
                </c:pt>
                <c:pt idx="122">
                  <c:v>97.282387516467594</c:v>
                </c:pt>
                <c:pt idx="123">
                  <c:v>97.282387516467594</c:v>
                </c:pt>
                <c:pt idx="124">
                  <c:v>97.282387516467594</c:v>
                </c:pt>
                <c:pt idx="125">
                  <c:v>97.282387516467594</c:v>
                </c:pt>
                <c:pt idx="126">
                  <c:v>97.282387516467594</c:v>
                </c:pt>
                <c:pt idx="127">
                  <c:v>97.282387516467594</c:v>
                </c:pt>
                <c:pt idx="128">
                  <c:v>97.282387516467594</c:v>
                </c:pt>
                <c:pt idx="129">
                  <c:v>97.282387516467594</c:v>
                </c:pt>
                <c:pt idx="130">
                  <c:v>97.282387516467594</c:v>
                </c:pt>
                <c:pt idx="131">
                  <c:v>97.282387516467594</c:v>
                </c:pt>
                <c:pt idx="132">
                  <c:v>97.282387516467594</c:v>
                </c:pt>
                <c:pt idx="133">
                  <c:v>97.282387516467594</c:v>
                </c:pt>
                <c:pt idx="134">
                  <c:v>97.282387516467594</c:v>
                </c:pt>
                <c:pt idx="135">
                  <c:v>97.282387516467594</c:v>
                </c:pt>
                <c:pt idx="136">
                  <c:v>97.282387516467594</c:v>
                </c:pt>
                <c:pt idx="137">
                  <c:v>97.282387516467594</c:v>
                </c:pt>
                <c:pt idx="138">
                  <c:v>97.282387516467594</c:v>
                </c:pt>
                <c:pt idx="139">
                  <c:v>97.282387516467594</c:v>
                </c:pt>
                <c:pt idx="140">
                  <c:v>97.282387516467594</c:v>
                </c:pt>
                <c:pt idx="141">
                  <c:v>97.282387516467594</c:v>
                </c:pt>
                <c:pt idx="142">
                  <c:v>97.282387516467594</c:v>
                </c:pt>
                <c:pt idx="143">
                  <c:v>97.282387516467594</c:v>
                </c:pt>
                <c:pt idx="144">
                  <c:v>97.282387516467594</c:v>
                </c:pt>
                <c:pt idx="145">
                  <c:v>97.282387516467594</c:v>
                </c:pt>
                <c:pt idx="146">
                  <c:v>97.282387516467594</c:v>
                </c:pt>
                <c:pt idx="147">
                  <c:v>97.282387516467594</c:v>
                </c:pt>
                <c:pt idx="148">
                  <c:v>97.282387516467594</c:v>
                </c:pt>
                <c:pt idx="149">
                  <c:v>97.282387516467594</c:v>
                </c:pt>
                <c:pt idx="150">
                  <c:v>97.282387516467594</c:v>
                </c:pt>
                <c:pt idx="151">
                  <c:v>97.282387516467594</c:v>
                </c:pt>
                <c:pt idx="152">
                  <c:v>97.282387516467594</c:v>
                </c:pt>
                <c:pt idx="153">
                  <c:v>97.282387516467594</c:v>
                </c:pt>
                <c:pt idx="154">
                  <c:v>97.282387516467594</c:v>
                </c:pt>
                <c:pt idx="155">
                  <c:v>97.282387516467594</c:v>
                </c:pt>
                <c:pt idx="156">
                  <c:v>97.282387516467594</c:v>
                </c:pt>
                <c:pt idx="157">
                  <c:v>97.480452491234786</c:v>
                </c:pt>
                <c:pt idx="158">
                  <c:v>97.449283089388672</c:v>
                </c:pt>
                <c:pt idx="159">
                  <c:v>97.418152649294868</c:v>
                </c:pt>
                <c:pt idx="160">
                  <c:v>97.418152649294868</c:v>
                </c:pt>
                <c:pt idx="161">
                  <c:v>97.418152649294868</c:v>
                </c:pt>
                <c:pt idx="162">
                  <c:v>97.418152649294868</c:v>
                </c:pt>
                <c:pt idx="163">
                  <c:v>97.418152649294868</c:v>
                </c:pt>
                <c:pt idx="164">
                  <c:v>97.418152649294868</c:v>
                </c:pt>
                <c:pt idx="165">
                  <c:v>97.362430177346781</c:v>
                </c:pt>
                <c:pt idx="166">
                  <c:v>99.412031715991759</c:v>
                </c:pt>
                <c:pt idx="167">
                  <c:v>99.412031715991759</c:v>
                </c:pt>
                <c:pt idx="168">
                  <c:v>99.34749371925308</c:v>
                </c:pt>
                <c:pt idx="169">
                  <c:v>99.34749371925308</c:v>
                </c:pt>
                <c:pt idx="170">
                  <c:v>99.34749371925308</c:v>
                </c:pt>
                <c:pt idx="171">
                  <c:v>99.34749371925308</c:v>
                </c:pt>
                <c:pt idx="172">
                  <c:v>99.34749371925308</c:v>
                </c:pt>
                <c:pt idx="173">
                  <c:v>99.34749371925308</c:v>
                </c:pt>
                <c:pt idx="174">
                  <c:v>99.34749371925308</c:v>
                </c:pt>
                <c:pt idx="175">
                  <c:v>99.34749371925308</c:v>
                </c:pt>
                <c:pt idx="176">
                  <c:v>99.34749371925308</c:v>
                </c:pt>
                <c:pt idx="177">
                  <c:v>99.34749371925308</c:v>
                </c:pt>
                <c:pt idx="178">
                  <c:v>99.34749371925308</c:v>
                </c:pt>
                <c:pt idx="179">
                  <c:v>99.34749371925308</c:v>
                </c:pt>
                <c:pt idx="180">
                  <c:v>99.34749371925308</c:v>
                </c:pt>
                <c:pt idx="181">
                  <c:v>99.34749371925308</c:v>
                </c:pt>
                <c:pt idx="182">
                  <c:v>99.34749371925308</c:v>
                </c:pt>
                <c:pt idx="183">
                  <c:v>99.34749371925308</c:v>
                </c:pt>
                <c:pt idx="184">
                  <c:v>99.34749371925308</c:v>
                </c:pt>
                <c:pt idx="185">
                  <c:v>99.34749371925308</c:v>
                </c:pt>
                <c:pt idx="186">
                  <c:v>99.34749371925308</c:v>
                </c:pt>
                <c:pt idx="187">
                  <c:v>99.34749371925308</c:v>
                </c:pt>
                <c:pt idx="188">
                  <c:v>99.34749371925308</c:v>
                </c:pt>
                <c:pt idx="189">
                  <c:v>99.34749371925308</c:v>
                </c:pt>
                <c:pt idx="190">
                  <c:v>99.34749371925308</c:v>
                </c:pt>
                <c:pt idx="191">
                  <c:v>99.34749371925308</c:v>
                </c:pt>
                <c:pt idx="192">
                  <c:v>99.34749371925308</c:v>
                </c:pt>
                <c:pt idx="193">
                  <c:v>99.34749371925308</c:v>
                </c:pt>
                <c:pt idx="194">
                  <c:v>99.34749371925308</c:v>
                </c:pt>
                <c:pt idx="195">
                  <c:v>99.34749371925308</c:v>
                </c:pt>
                <c:pt idx="196">
                  <c:v>99.34749371925308</c:v>
                </c:pt>
                <c:pt idx="197">
                  <c:v>99.34749371925308</c:v>
                </c:pt>
                <c:pt idx="198">
                  <c:v>99.34749371925308</c:v>
                </c:pt>
                <c:pt idx="199">
                  <c:v>99.34749371925308</c:v>
                </c:pt>
                <c:pt idx="200">
                  <c:v>99.34749371925308</c:v>
                </c:pt>
                <c:pt idx="201">
                  <c:v>99.34749371925308</c:v>
                </c:pt>
                <c:pt idx="202">
                  <c:v>99.34749371925308</c:v>
                </c:pt>
                <c:pt idx="203">
                  <c:v>99.34749371925308</c:v>
                </c:pt>
                <c:pt idx="204">
                  <c:v>99.34749371925308</c:v>
                </c:pt>
                <c:pt idx="205">
                  <c:v>99.34749371925308</c:v>
                </c:pt>
                <c:pt idx="206">
                  <c:v>99.34749371925308</c:v>
                </c:pt>
                <c:pt idx="207">
                  <c:v>99.34749371925308</c:v>
                </c:pt>
                <c:pt idx="208">
                  <c:v>99.34749371925308</c:v>
                </c:pt>
                <c:pt idx="209">
                  <c:v>99.34749371925308</c:v>
                </c:pt>
                <c:pt idx="210">
                  <c:v>99.34749371925308</c:v>
                </c:pt>
                <c:pt idx="211">
                  <c:v>99.34749371925308</c:v>
                </c:pt>
                <c:pt idx="212">
                  <c:v>99.34749371925308</c:v>
                </c:pt>
                <c:pt idx="213">
                  <c:v>99.34749371925308</c:v>
                </c:pt>
                <c:pt idx="214">
                  <c:v>99.34749371925308</c:v>
                </c:pt>
                <c:pt idx="215">
                  <c:v>99.34749371925308</c:v>
                </c:pt>
                <c:pt idx="216">
                  <c:v>99.34749371925308</c:v>
                </c:pt>
                <c:pt idx="217">
                  <c:v>99.34749371925308</c:v>
                </c:pt>
                <c:pt idx="218">
                  <c:v>99.34749371925308</c:v>
                </c:pt>
                <c:pt idx="219">
                  <c:v>99.34749371925308</c:v>
                </c:pt>
                <c:pt idx="220">
                  <c:v>99.34749371925308</c:v>
                </c:pt>
                <c:pt idx="221">
                  <c:v>99.34749371925308</c:v>
                </c:pt>
                <c:pt idx="222">
                  <c:v>99.34749371925308</c:v>
                </c:pt>
                <c:pt idx="223">
                  <c:v>99.34749371925308</c:v>
                </c:pt>
                <c:pt idx="224">
                  <c:v>99.34749371925308</c:v>
                </c:pt>
                <c:pt idx="225">
                  <c:v>99.34749371925308</c:v>
                </c:pt>
                <c:pt idx="226">
                  <c:v>99.34749371925308</c:v>
                </c:pt>
                <c:pt idx="227">
                  <c:v>99.34749371925308</c:v>
                </c:pt>
                <c:pt idx="228">
                  <c:v>99.34749371925308</c:v>
                </c:pt>
                <c:pt idx="229">
                  <c:v>99.34749371925308</c:v>
                </c:pt>
                <c:pt idx="230">
                  <c:v>99.34749371925308</c:v>
                </c:pt>
                <c:pt idx="231">
                  <c:v>99.34749371925308</c:v>
                </c:pt>
                <c:pt idx="232">
                  <c:v>99.34749371925308</c:v>
                </c:pt>
                <c:pt idx="233">
                  <c:v>99.34749371925308</c:v>
                </c:pt>
                <c:pt idx="234">
                  <c:v>99.34749371925308</c:v>
                </c:pt>
                <c:pt idx="235">
                  <c:v>99.34749371925308</c:v>
                </c:pt>
                <c:pt idx="236">
                  <c:v>99.34749371925308</c:v>
                </c:pt>
                <c:pt idx="237">
                  <c:v>99.34749371925308</c:v>
                </c:pt>
                <c:pt idx="238">
                  <c:v>99.697794761967856</c:v>
                </c:pt>
                <c:pt idx="239">
                  <c:v>99.668766896337331</c:v>
                </c:pt>
                <c:pt idx="240">
                  <c:v>99.639775315538827</c:v>
                </c:pt>
                <c:pt idx="241">
                  <c:v>99.639775315538827</c:v>
                </c:pt>
                <c:pt idx="242">
                  <c:v>99.639775315538827</c:v>
                </c:pt>
                <c:pt idx="243">
                  <c:v>99.639775315538827</c:v>
                </c:pt>
                <c:pt idx="244">
                  <c:v>99.639775315538827</c:v>
                </c:pt>
                <c:pt idx="245">
                  <c:v>99.639775315538827</c:v>
                </c:pt>
                <c:pt idx="246">
                  <c:v>99.639775315538827</c:v>
                </c:pt>
                <c:pt idx="247">
                  <c:v>100.24736065934397</c:v>
                </c:pt>
                <c:pt idx="248">
                  <c:v>100.21430114200473</c:v>
                </c:pt>
                <c:pt idx="249">
                  <c:v>100.18128294906217</c:v>
                </c:pt>
                <c:pt idx="250">
                  <c:v>99.00351552303357</c:v>
                </c:pt>
                <c:pt idx="251">
                  <c:v>99.634600451931647</c:v>
                </c:pt>
                <c:pt idx="252">
                  <c:v>99.561296672943712</c:v>
                </c:pt>
                <c:pt idx="253">
                  <c:v>99.129863620796385</c:v>
                </c:pt>
                <c:pt idx="254">
                  <c:v>99.165468763954749</c:v>
                </c:pt>
                <c:pt idx="255">
                  <c:v>99.907183531240747</c:v>
                </c:pt>
                <c:pt idx="256">
                  <c:v>99.884781270264625</c:v>
                </c:pt>
                <c:pt idx="257">
                  <c:v>99.753787082394496</c:v>
                </c:pt>
                <c:pt idx="258">
                  <c:v>99.755379240731685</c:v>
                </c:pt>
                <c:pt idx="259">
                  <c:v>99.704685924674578</c:v>
                </c:pt>
                <c:pt idx="260">
                  <c:v>99.879906651103283</c:v>
                </c:pt>
                <c:pt idx="261">
                  <c:v>99.849698848667117</c:v>
                </c:pt>
                <c:pt idx="262">
                  <c:v>100.07517328822679</c:v>
                </c:pt>
                <c:pt idx="263">
                  <c:v>100.19691731160376</c:v>
                </c:pt>
                <c:pt idx="264">
                  <c:v>100.09374291467545</c:v>
                </c:pt>
                <c:pt idx="265">
                  <c:v>100.13274063339833</c:v>
                </c:pt>
                <c:pt idx="266">
                  <c:v>100.13274063339831</c:v>
                </c:pt>
                <c:pt idx="267">
                  <c:v>100.10071209841652</c:v>
                </c:pt>
                <c:pt idx="268">
                  <c:v>99.535511441844747</c:v>
                </c:pt>
                <c:pt idx="269">
                  <c:v>99.504229443352386</c:v>
                </c:pt>
                <c:pt idx="270">
                  <c:v>98.614618100764048</c:v>
                </c:pt>
                <c:pt idx="271">
                  <c:v>98.551771547321849</c:v>
                </c:pt>
                <c:pt idx="272">
                  <c:v>98.48900355207148</c:v>
                </c:pt>
                <c:pt idx="273">
                  <c:v>98.48900355207148</c:v>
                </c:pt>
                <c:pt idx="274">
                  <c:v>98.48900355207148</c:v>
                </c:pt>
                <c:pt idx="275">
                  <c:v>98.948151462973641</c:v>
                </c:pt>
                <c:pt idx="276">
                  <c:v>98.848276028011441</c:v>
                </c:pt>
                <c:pt idx="277">
                  <c:v>98.628281182410404</c:v>
                </c:pt>
                <c:pt idx="278">
                  <c:v>99.422876104332701</c:v>
                </c:pt>
                <c:pt idx="279">
                  <c:v>99.422876104332701</c:v>
                </c:pt>
                <c:pt idx="280">
                  <c:v>99.391524868352818</c:v>
                </c:pt>
                <c:pt idx="281">
                  <c:v>99.19205677557521</c:v>
                </c:pt>
                <c:pt idx="282">
                  <c:v>99.160994063756291</c:v>
                </c:pt>
                <c:pt idx="283">
                  <c:v>99.129970180327135</c:v>
                </c:pt>
                <c:pt idx="284">
                  <c:v>99.129970180327135</c:v>
                </c:pt>
                <c:pt idx="285">
                  <c:v>99.385055930735945</c:v>
                </c:pt>
                <c:pt idx="286">
                  <c:v>100.48569692939927</c:v>
                </c:pt>
                <c:pt idx="287">
                  <c:v>100.48569692939927</c:v>
                </c:pt>
                <c:pt idx="288">
                  <c:v>101.55326098766416</c:v>
                </c:pt>
                <c:pt idx="289">
                  <c:v>101.52074862930965</c:v>
                </c:pt>
                <c:pt idx="290">
                  <c:v>101.48827691140308</c:v>
                </c:pt>
                <c:pt idx="291">
                  <c:v>102.69031272598561</c:v>
                </c:pt>
                <c:pt idx="292">
                  <c:v>102.65637905295819</c:v>
                </c:pt>
                <c:pt idx="293">
                  <c:v>102.7984731166179</c:v>
                </c:pt>
                <c:pt idx="294">
                  <c:v>102.7615427456637</c:v>
                </c:pt>
                <c:pt idx="295">
                  <c:v>102.14129883558117</c:v>
                </c:pt>
                <c:pt idx="296">
                  <c:v>102.14129883558117</c:v>
                </c:pt>
                <c:pt idx="297">
                  <c:v>102.10940012793158</c:v>
                </c:pt>
                <c:pt idx="298">
                  <c:v>102.10940012793158</c:v>
                </c:pt>
                <c:pt idx="299">
                  <c:v>102.11455258456947</c:v>
                </c:pt>
                <c:pt idx="300">
                  <c:v>101.31067005910147</c:v>
                </c:pt>
                <c:pt idx="301">
                  <c:v>102.65229366734859</c:v>
                </c:pt>
                <c:pt idx="302">
                  <c:v>102.65229366734859</c:v>
                </c:pt>
                <c:pt idx="303">
                  <c:v>102.6177661585581</c:v>
                </c:pt>
                <c:pt idx="304">
                  <c:v>102.80819421225058</c:v>
                </c:pt>
                <c:pt idx="305">
                  <c:v>103.04897202613624</c:v>
                </c:pt>
                <c:pt idx="306">
                  <c:v>102.98846667124492</c:v>
                </c:pt>
                <c:pt idx="307">
                  <c:v>102.78541321716509</c:v>
                </c:pt>
                <c:pt idx="308">
                  <c:v>102.7212346270929</c:v>
                </c:pt>
                <c:pt idx="309">
                  <c:v>102.68647183373538</c:v>
                </c:pt>
                <c:pt idx="310">
                  <c:v>102.68647183373538</c:v>
                </c:pt>
                <c:pt idx="311">
                  <c:v>103.68778335630596</c:v>
                </c:pt>
                <c:pt idx="312">
                  <c:v>103.56520824222103</c:v>
                </c:pt>
                <c:pt idx="313">
                  <c:v>103.66578566103655</c:v>
                </c:pt>
                <c:pt idx="314">
                  <c:v>103.69570828150091</c:v>
                </c:pt>
                <c:pt idx="315">
                  <c:v>103.62251878176654</c:v>
                </c:pt>
                <c:pt idx="316">
                  <c:v>103.62251878176654</c:v>
                </c:pt>
                <c:pt idx="317">
                  <c:v>103.58661255546862</c:v>
                </c:pt>
                <c:pt idx="318">
                  <c:v>103.58661255546862</c:v>
                </c:pt>
                <c:pt idx="319">
                  <c:v>103.58661255546862</c:v>
                </c:pt>
                <c:pt idx="320">
                  <c:v>103.58661255546862</c:v>
                </c:pt>
                <c:pt idx="321">
                  <c:v>103.58661255546862</c:v>
                </c:pt>
                <c:pt idx="322">
                  <c:v>103.58661255546862</c:v>
                </c:pt>
                <c:pt idx="323">
                  <c:v>103.58661255546862</c:v>
                </c:pt>
                <c:pt idx="324">
                  <c:v>103.58661255546862</c:v>
                </c:pt>
                <c:pt idx="325">
                  <c:v>103.58661255546862</c:v>
                </c:pt>
                <c:pt idx="326">
                  <c:v>103.58661255546862</c:v>
                </c:pt>
                <c:pt idx="327">
                  <c:v>103.58661255546862</c:v>
                </c:pt>
                <c:pt idx="328">
                  <c:v>103.58661255546862</c:v>
                </c:pt>
                <c:pt idx="329">
                  <c:v>103.58661255546862</c:v>
                </c:pt>
                <c:pt idx="330">
                  <c:v>103.58661255546862</c:v>
                </c:pt>
                <c:pt idx="331">
                  <c:v>103.58661255546862</c:v>
                </c:pt>
                <c:pt idx="332">
                  <c:v>103.58661255546862</c:v>
                </c:pt>
                <c:pt idx="333">
                  <c:v>103.58661255546862</c:v>
                </c:pt>
                <c:pt idx="334">
                  <c:v>103.58661255546862</c:v>
                </c:pt>
                <c:pt idx="335">
                  <c:v>103.58661255546862</c:v>
                </c:pt>
                <c:pt idx="336">
                  <c:v>103.58661255546862</c:v>
                </c:pt>
                <c:pt idx="337">
                  <c:v>103.58661255546862</c:v>
                </c:pt>
                <c:pt idx="338">
                  <c:v>103.58661255546862</c:v>
                </c:pt>
                <c:pt idx="339">
                  <c:v>103.58661255546862</c:v>
                </c:pt>
                <c:pt idx="340">
                  <c:v>103.58661255546862</c:v>
                </c:pt>
                <c:pt idx="341">
                  <c:v>103.58661255546862</c:v>
                </c:pt>
                <c:pt idx="342">
                  <c:v>103.58661255546862</c:v>
                </c:pt>
                <c:pt idx="343">
                  <c:v>103.58661255546862</c:v>
                </c:pt>
                <c:pt idx="344">
                  <c:v>103.58661255546862</c:v>
                </c:pt>
                <c:pt idx="345">
                  <c:v>103.58661255546862</c:v>
                </c:pt>
                <c:pt idx="346">
                  <c:v>103.58661255546862</c:v>
                </c:pt>
                <c:pt idx="347">
                  <c:v>103.58661255546862</c:v>
                </c:pt>
                <c:pt idx="348">
                  <c:v>103.58661255546862</c:v>
                </c:pt>
                <c:pt idx="349">
                  <c:v>103.58661255546862</c:v>
                </c:pt>
                <c:pt idx="350">
                  <c:v>103.58661255546862</c:v>
                </c:pt>
                <c:pt idx="351">
                  <c:v>103.58661255546862</c:v>
                </c:pt>
                <c:pt idx="352">
                  <c:v>103.58661255546862</c:v>
                </c:pt>
                <c:pt idx="353">
                  <c:v>103.58661255546862</c:v>
                </c:pt>
                <c:pt idx="354">
                  <c:v>103.58661255546862</c:v>
                </c:pt>
                <c:pt idx="355">
                  <c:v>103.58661255546862</c:v>
                </c:pt>
                <c:pt idx="356">
                  <c:v>103.58661255546862</c:v>
                </c:pt>
                <c:pt idx="357">
                  <c:v>103.58661255546862</c:v>
                </c:pt>
                <c:pt idx="358">
                  <c:v>103.58661255546862</c:v>
                </c:pt>
                <c:pt idx="359">
                  <c:v>103.58661255546862</c:v>
                </c:pt>
                <c:pt idx="360">
                  <c:v>103.58661255546862</c:v>
                </c:pt>
                <c:pt idx="361">
                  <c:v>103.58661255546862</c:v>
                </c:pt>
                <c:pt idx="362">
                  <c:v>103.58661255546862</c:v>
                </c:pt>
                <c:pt idx="363">
                  <c:v>103.58661255546862</c:v>
                </c:pt>
                <c:pt idx="364">
                  <c:v>103.58661255546862</c:v>
                </c:pt>
                <c:pt idx="365">
                  <c:v>103.58661255546862</c:v>
                </c:pt>
                <c:pt idx="366">
                  <c:v>103.58661255546862</c:v>
                </c:pt>
                <c:pt idx="367">
                  <c:v>103.58661255546862</c:v>
                </c:pt>
                <c:pt idx="368">
                  <c:v>103.58661255546862</c:v>
                </c:pt>
                <c:pt idx="369">
                  <c:v>103.58661255546862</c:v>
                </c:pt>
                <c:pt idx="370">
                  <c:v>103.58661255546862</c:v>
                </c:pt>
                <c:pt idx="371">
                  <c:v>103.58661255546862</c:v>
                </c:pt>
                <c:pt idx="372">
                  <c:v>103.58661255546862</c:v>
                </c:pt>
                <c:pt idx="373">
                  <c:v>103.58661255546862</c:v>
                </c:pt>
                <c:pt idx="374">
                  <c:v>103.58661255546862</c:v>
                </c:pt>
                <c:pt idx="375">
                  <c:v>105.38589043821057</c:v>
                </c:pt>
                <c:pt idx="376">
                  <c:v>105.35119699867289</c:v>
                </c:pt>
                <c:pt idx="377">
                  <c:v>105.10132732069702</c:v>
                </c:pt>
                <c:pt idx="378">
                  <c:v>105.06698958505623</c:v>
                </c:pt>
                <c:pt idx="379">
                  <c:v>105.03269477158501</c:v>
                </c:pt>
                <c:pt idx="380">
                  <c:v>105.03269477158501</c:v>
                </c:pt>
                <c:pt idx="381">
                  <c:v>105.03269477158501</c:v>
                </c:pt>
                <c:pt idx="382">
                  <c:v>105.03269477158501</c:v>
                </c:pt>
                <c:pt idx="383">
                  <c:v>105.03269477158501</c:v>
                </c:pt>
                <c:pt idx="384">
                  <c:v>105.03269477158501</c:v>
                </c:pt>
                <c:pt idx="385">
                  <c:v>105.03269477158501</c:v>
                </c:pt>
                <c:pt idx="386">
                  <c:v>105.03269477158501</c:v>
                </c:pt>
                <c:pt idx="387">
                  <c:v>105.03269477158501</c:v>
                </c:pt>
                <c:pt idx="388">
                  <c:v>105.92098801498828</c:v>
                </c:pt>
                <c:pt idx="389">
                  <c:v>105.85630695774961</c:v>
                </c:pt>
                <c:pt idx="390">
                  <c:v>105.79170675183248</c:v>
                </c:pt>
                <c:pt idx="391">
                  <c:v>105.79170675183248</c:v>
                </c:pt>
                <c:pt idx="392">
                  <c:v>105.79170675183248</c:v>
                </c:pt>
                <c:pt idx="393">
                  <c:v>105.79170675183248</c:v>
                </c:pt>
                <c:pt idx="394">
                  <c:v>105.79170675183248</c:v>
                </c:pt>
                <c:pt idx="395">
                  <c:v>105.79170675183248</c:v>
                </c:pt>
                <c:pt idx="396">
                  <c:v>105.79170675183248</c:v>
                </c:pt>
                <c:pt idx="397">
                  <c:v>105.79170675183248</c:v>
                </c:pt>
                <c:pt idx="398">
                  <c:v>105.79170675183248</c:v>
                </c:pt>
                <c:pt idx="399">
                  <c:v>105.79170675183248</c:v>
                </c:pt>
                <c:pt idx="400">
                  <c:v>105.79170675183248</c:v>
                </c:pt>
                <c:pt idx="401">
                  <c:v>105.79170675183248</c:v>
                </c:pt>
                <c:pt idx="402">
                  <c:v>105.79170675183248</c:v>
                </c:pt>
                <c:pt idx="403">
                  <c:v>105.79170675183248</c:v>
                </c:pt>
                <c:pt idx="404">
                  <c:v>105.79170675183248</c:v>
                </c:pt>
                <c:pt idx="405">
                  <c:v>105.79170675183248</c:v>
                </c:pt>
                <c:pt idx="406">
                  <c:v>105.79170675183248</c:v>
                </c:pt>
                <c:pt idx="407">
                  <c:v>105.79170675183248</c:v>
                </c:pt>
                <c:pt idx="408">
                  <c:v>105.79170675183248</c:v>
                </c:pt>
                <c:pt idx="409">
                  <c:v>105.75599276578927</c:v>
                </c:pt>
                <c:pt idx="410">
                  <c:v>105.7262810929831</c:v>
                </c:pt>
                <c:pt idx="411">
                  <c:v>105.69660655976794</c:v>
                </c:pt>
                <c:pt idx="412">
                  <c:v>105.69660655976794</c:v>
                </c:pt>
                <c:pt idx="413">
                  <c:v>105.69660655976794</c:v>
                </c:pt>
                <c:pt idx="414">
                  <c:v>105.69660655976794</c:v>
                </c:pt>
                <c:pt idx="415">
                  <c:v>105.69660655976794</c:v>
                </c:pt>
                <c:pt idx="416">
                  <c:v>105.69660655976794</c:v>
                </c:pt>
                <c:pt idx="417">
                  <c:v>105.69660655976794</c:v>
                </c:pt>
                <c:pt idx="418">
                  <c:v>105.69660655976794</c:v>
                </c:pt>
                <c:pt idx="419">
                  <c:v>105.69660655976794</c:v>
                </c:pt>
                <c:pt idx="420">
                  <c:v>105.69660655976794</c:v>
                </c:pt>
                <c:pt idx="421">
                  <c:v>105.69660655976794</c:v>
                </c:pt>
                <c:pt idx="422">
                  <c:v>105.69660655976794</c:v>
                </c:pt>
                <c:pt idx="423">
                  <c:v>105.69660655976794</c:v>
                </c:pt>
                <c:pt idx="424">
                  <c:v>105.69660655976794</c:v>
                </c:pt>
                <c:pt idx="425">
                  <c:v>105.69660655976794</c:v>
                </c:pt>
                <c:pt idx="426">
                  <c:v>105.69660655976794</c:v>
                </c:pt>
                <c:pt idx="427">
                  <c:v>105.69660655976794</c:v>
                </c:pt>
                <c:pt idx="428">
                  <c:v>106.56436926784694</c:v>
                </c:pt>
                <c:pt idx="429">
                  <c:v>106.52852142409083</c:v>
                </c:pt>
                <c:pt idx="430">
                  <c:v>106.49271839013942</c:v>
                </c:pt>
                <c:pt idx="431">
                  <c:v>106.49271839013942</c:v>
                </c:pt>
                <c:pt idx="432">
                  <c:v>106.49271839013942</c:v>
                </c:pt>
                <c:pt idx="433">
                  <c:v>106.49271839013942</c:v>
                </c:pt>
                <c:pt idx="434">
                  <c:v>106.49271839013942</c:v>
                </c:pt>
                <c:pt idx="435">
                  <c:v>106.49271839013942</c:v>
                </c:pt>
                <c:pt idx="436">
                  <c:v>106.49271839013942</c:v>
                </c:pt>
                <c:pt idx="437">
                  <c:v>106.49271839013942</c:v>
                </c:pt>
                <c:pt idx="438">
                  <c:v>106.49271839013942</c:v>
                </c:pt>
                <c:pt idx="439">
                  <c:v>106.49271839013942</c:v>
                </c:pt>
                <c:pt idx="440">
                  <c:v>106.49271839013942</c:v>
                </c:pt>
                <c:pt idx="441">
                  <c:v>106.49271839013942</c:v>
                </c:pt>
                <c:pt idx="442">
                  <c:v>106.63617976578573</c:v>
                </c:pt>
                <c:pt idx="443">
                  <c:v>106.60636299901753</c:v>
                </c:pt>
                <c:pt idx="444">
                  <c:v>106.5765835032078</c:v>
                </c:pt>
                <c:pt idx="445">
                  <c:v>106.5765835032078</c:v>
                </c:pt>
                <c:pt idx="446">
                  <c:v>106.5765835032078</c:v>
                </c:pt>
                <c:pt idx="447">
                  <c:v>106.5765835032078</c:v>
                </c:pt>
                <c:pt idx="448">
                  <c:v>106.5765835032078</c:v>
                </c:pt>
                <c:pt idx="449">
                  <c:v>106.5765835032078</c:v>
                </c:pt>
                <c:pt idx="450">
                  <c:v>106.5765835032078</c:v>
                </c:pt>
                <c:pt idx="451">
                  <c:v>106.5765835032078</c:v>
                </c:pt>
                <c:pt idx="452">
                  <c:v>106.38849741127034</c:v>
                </c:pt>
                <c:pt idx="453">
                  <c:v>107.07183830088231</c:v>
                </c:pt>
                <c:pt idx="454">
                  <c:v>107.00571868078627</c:v>
                </c:pt>
                <c:pt idx="455">
                  <c:v>106.96911515223579</c:v>
                </c:pt>
                <c:pt idx="456">
                  <c:v>106.96911515223579</c:v>
                </c:pt>
                <c:pt idx="457">
                  <c:v>106.96911515223579</c:v>
                </c:pt>
                <c:pt idx="458">
                  <c:v>106.96911515223579</c:v>
                </c:pt>
                <c:pt idx="459">
                  <c:v>106.96911515223579</c:v>
                </c:pt>
                <c:pt idx="460">
                  <c:v>106.96911515223579</c:v>
                </c:pt>
                <c:pt idx="461">
                  <c:v>106.96911515223579</c:v>
                </c:pt>
                <c:pt idx="462">
                  <c:v>106.96911515223579</c:v>
                </c:pt>
                <c:pt idx="463">
                  <c:v>106.96911515223579</c:v>
                </c:pt>
                <c:pt idx="464">
                  <c:v>106.96911515223579</c:v>
                </c:pt>
                <c:pt idx="465">
                  <c:v>106.96911515223579</c:v>
                </c:pt>
                <c:pt idx="466">
                  <c:v>106.96911515223579</c:v>
                </c:pt>
                <c:pt idx="467">
                  <c:v>106.96911515223579</c:v>
                </c:pt>
                <c:pt idx="468">
                  <c:v>106.96911515223579</c:v>
                </c:pt>
                <c:pt idx="469">
                  <c:v>106.96911515223579</c:v>
                </c:pt>
                <c:pt idx="470">
                  <c:v>106.96911515223579</c:v>
                </c:pt>
                <c:pt idx="471">
                  <c:v>106.96911515223579</c:v>
                </c:pt>
                <c:pt idx="472">
                  <c:v>106.96911515223579</c:v>
                </c:pt>
                <c:pt idx="473">
                  <c:v>106.96911515223579</c:v>
                </c:pt>
                <c:pt idx="474">
                  <c:v>106.96911515223579</c:v>
                </c:pt>
                <c:pt idx="475">
                  <c:v>106.96911515223579</c:v>
                </c:pt>
                <c:pt idx="476">
                  <c:v>106.96911515223579</c:v>
                </c:pt>
                <c:pt idx="477">
                  <c:v>106.96911515223579</c:v>
                </c:pt>
                <c:pt idx="478">
                  <c:v>106.96911515223579</c:v>
                </c:pt>
                <c:pt idx="479">
                  <c:v>106.96911515223579</c:v>
                </c:pt>
                <c:pt idx="480">
                  <c:v>106.96911515223579</c:v>
                </c:pt>
                <c:pt idx="481">
                  <c:v>106.96911515223579</c:v>
                </c:pt>
                <c:pt idx="482">
                  <c:v>106.96911515223579</c:v>
                </c:pt>
                <c:pt idx="483">
                  <c:v>106.96911515223579</c:v>
                </c:pt>
                <c:pt idx="484">
                  <c:v>106.96911515223579</c:v>
                </c:pt>
                <c:pt idx="485">
                  <c:v>106.96911515223579</c:v>
                </c:pt>
                <c:pt idx="486">
                  <c:v>106.96911515223579</c:v>
                </c:pt>
                <c:pt idx="487">
                  <c:v>106.95250459047057</c:v>
                </c:pt>
                <c:pt idx="488">
                  <c:v>107.1888911937268</c:v>
                </c:pt>
                <c:pt idx="489">
                  <c:v>107.1888911937268</c:v>
                </c:pt>
                <c:pt idx="490">
                  <c:v>107.15918303165451</c:v>
                </c:pt>
                <c:pt idx="491">
                  <c:v>107.15918303165452</c:v>
                </c:pt>
                <c:pt idx="492">
                  <c:v>107.15918303165452</c:v>
                </c:pt>
                <c:pt idx="493">
                  <c:v>107.15918303165452</c:v>
                </c:pt>
                <c:pt idx="494">
                  <c:v>107.15918303165452</c:v>
                </c:pt>
                <c:pt idx="495">
                  <c:v>107.15918303165452</c:v>
                </c:pt>
                <c:pt idx="496">
                  <c:v>107.15918303165452</c:v>
                </c:pt>
                <c:pt idx="497">
                  <c:v>107.16418111581987</c:v>
                </c:pt>
                <c:pt idx="498">
                  <c:v>107.80779701539035</c:v>
                </c:pt>
                <c:pt idx="499">
                  <c:v>106.94356491648517</c:v>
                </c:pt>
                <c:pt idx="500">
                  <c:v>107.42559485009031</c:v>
                </c:pt>
                <c:pt idx="501">
                  <c:v>107.30849248243064</c:v>
                </c:pt>
                <c:pt idx="502">
                  <c:v>107.11715274429372</c:v>
                </c:pt>
                <c:pt idx="503">
                  <c:v>107.11715274429372</c:v>
                </c:pt>
                <c:pt idx="504">
                  <c:v>107.11062083907453</c:v>
                </c:pt>
                <c:pt idx="505">
                  <c:v>106.00888863864003</c:v>
                </c:pt>
                <c:pt idx="506">
                  <c:v>105.65843073890474</c:v>
                </c:pt>
                <c:pt idx="507">
                  <c:v>105.88154276159139</c:v>
                </c:pt>
                <c:pt idx="508">
                  <c:v>105.58256446000937</c:v>
                </c:pt>
                <c:pt idx="509">
                  <c:v>105.58256446000937</c:v>
                </c:pt>
                <c:pt idx="510">
                  <c:v>105.54858159397915</c:v>
                </c:pt>
                <c:pt idx="511">
                  <c:v>105.54858159397915</c:v>
                </c:pt>
                <c:pt idx="512">
                  <c:v>105.54858159397915</c:v>
                </c:pt>
                <c:pt idx="513">
                  <c:v>105.54858159397915</c:v>
                </c:pt>
                <c:pt idx="514">
                  <c:v>105.54858159397915</c:v>
                </c:pt>
                <c:pt idx="515">
                  <c:v>105.54858159397915</c:v>
                </c:pt>
                <c:pt idx="516">
                  <c:v>105.54858159397915</c:v>
                </c:pt>
                <c:pt idx="517">
                  <c:v>105.54858159397915</c:v>
                </c:pt>
                <c:pt idx="518">
                  <c:v>105.54858159397915</c:v>
                </c:pt>
                <c:pt idx="519">
                  <c:v>105.54858159397915</c:v>
                </c:pt>
                <c:pt idx="520">
                  <c:v>105.54858159397915</c:v>
                </c:pt>
                <c:pt idx="521">
                  <c:v>105.54858159397915</c:v>
                </c:pt>
                <c:pt idx="522">
                  <c:v>105.54858159397915</c:v>
                </c:pt>
                <c:pt idx="523">
                  <c:v>105.54858159397915</c:v>
                </c:pt>
                <c:pt idx="524">
                  <c:v>105.54858159397915</c:v>
                </c:pt>
                <c:pt idx="525">
                  <c:v>105.54858159397915</c:v>
                </c:pt>
                <c:pt idx="526">
                  <c:v>105.54858159397915</c:v>
                </c:pt>
                <c:pt idx="527">
                  <c:v>105.54858159397915</c:v>
                </c:pt>
                <c:pt idx="528">
                  <c:v>105.54858159397915</c:v>
                </c:pt>
                <c:pt idx="529">
                  <c:v>105.54858159397915</c:v>
                </c:pt>
                <c:pt idx="530">
                  <c:v>105.54858159397915</c:v>
                </c:pt>
                <c:pt idx="531">
                  <c:v>106.03542394001602</c:v>
                </c:pt>
                <c:pt idx="532">
                  <c:v>106.00514436021376</c:v>
                </c:pt>
                <c:pt idx="533">
                  <c:v>105.97490262988626</c:v>
                </c:pt>
                <c:pt idx="534">
                  <c:v>105.97490262988626</c:v>
                </c:pt>
                <c:pt idx="535">
                  <c:v>105.97490262988626</c:v>
                </c:pt>
                <c:pt idx="536">
                  <c:v>105.97490262988626</c:v>
                </c:pt>
                <c:pt idx="537">
                  <c:v>105.97490262988626</c:v>
                </c:pt>
                <c:pt idx="538">
                  <c:v>105.97319645322884</c:v>
                </c:pt>
                <c:pt idx="539">
                  <c:v>105.94299465778506</c:v>
                </c:pt>
                <c:pt idx="540">
                  <c:v>105.61184322308739</c:v>
                </c:pt>
                <c:pt idx="541">
                  <c:v>105.46984120289055</c:v>
                </c:pt>
                <c:pt idx="542">
                  <c:v>104.63649440682198</c:v>
                </c:pt>
                <c:pt idx="543">
                  <c:v>104.63649440682198</c:v>
                </c:pt>
                <c:pt idx="544">
                  <c:v>104.60632328854638</c:v>
                </c:pt>
                <c:pt idx="545">
                  <c:v>104.8524910648792</c:v>
                </c:pt>
                <c:pt idx="546">
                  <c:v>104.73261924820174</c:v>
                </c:pt>
                <c:pt idx="547">
                  <c:v>104.93719945828894</c:v>
                </c:pt>
                <c:pt idx="548">
                  <c:v>104.84833521417535</c:v>
                </c:pt>
                <c:pt idx="549">
                  <c:v>104.77300161349291</c:v>
                </c:pt>
                <c:pt idx="550">
                  <c:v>104.77300161349291</c:v>
                </c:pt>
                <c:pt idx="551">
                  <c:v>104.7428405990392</c:v>
                </c:pt>
                <c:pt idx="552">
                  <c:v>104.7428405990392</c:v>
                </c:pt>
                <c:pt idx="553">
                  <c:v>104.17379034604964</c:v>
                </c:pt>
                <c:pt idx="554">
                  <c:v>104.10763983371022</c:v>
                </c:pt>
                <c:pt idx="555">
                  <c:v>104.0415720095112</c:v>
                </c:pt>
                <c:pt idx="556">
                  <c:v>104.0415720095112</c:v>
                </c:pt>
                <c:pt idx="557">
                  <c:v>104.0415720095112</c:v>
                </c:pt>
                <c:pt idx="558">
                  <c:v>104.0415720095112</c:v>
                </c:pt>
                <c:pt idx="559">
                  <c:v>104.0415720095112</c:v>
                </c:pt>
                <c:pt idx="560">
                  <c:v>104.0415720095112</c:v>
                </c:pt>
                <c:pt idx="561">
                  <c:v>104.0415720095112</c:v>
                </c:pt>
                <c:pt idx="562">
                  <c:v>104.0415720095112</c:v>
                </c:pt>
                <c:pt idx="563">
                  <c:v>104.0415720095112</c:v>
                </c:pt>
                <c:pt idx="564">
                  <c:v>104.0415720095112</c:v>
                </c:pt>
                <c:pt idx="565">
                  <c:v>103.86944996858485</c:v>
                </c:pt>
                <c:pt idx="566">
                  <c:v>105.25387442683082</c:v>
                </c:pt>
                <c:pt idx="567">
                  <c:v>105.25387442683082</c:v>
                </c:pt>
                <c:pt idx="568">
                  <c:v>105.2184186613615</c:v>
                </c:pt>
                <c:pt idx="569">
                  <c:v>105.2184186613615</c:v>
                </c:pt>
                <c:pt idx="570">
                  <c:v>105.2184186613615</c:v>
                </c:pt>
                <c:pt idx="571">
                  <c:v>105.16253752369643</c:v>
                </c:pt>
                <c:pt idx="572">
                  <c:v>106.31078208614967</c:v>
                </c:pt>
                <c:pt idx="573">
                  <c:v>106.20579616310113</c:v>
                </c:pt>
                <c:pt idx="574">
                  <c:v>106.14470721878725</c:v>
                </c:pt>
                <c:pt idx="575">
                  <c:v>106.11474960692777</c:v>
                </c:pt>
                <c:pt idx="576">
                  <c:v>106.11474960692777</c:v>
                </c:pt>
                <c:pt idx="577">
                  <c:v>106.11474960692777</c:v>
                </c:pt>
                <c:pt idx="578">
                  <c:v>106.11474960692777</c:v>
                </c:pt>
                <c:pt idx="579">
                  <c:v>106.11474960692777</c:v>
                </c:pt>
                <c:pt idx="580">
                  <c:v>106.11474960692777</c:v>
                </c:pt>
                <c:pt idx="581">
                  <c:v>106.11474960692777</c:v>
                </c:pt>
                <c:pt idx="582">
                  <c:v>106.11474960692777</c:v>
                </c:pt>
                <c:pt idx="583">
                  <c:v>106.11474960692777</c:v>
                </c:pt>
                <c:pt idx="584">
                  <c:v>106.11474960692777</c:v>
                </c:pt>
                <c:pt idx="585">
                  <c:v>106.11474960692777</c:v>
                </c:pt>
                <c:pt idx="586">
                  <c:v>106.11474960692777</c:v>
                </c:pt>
                <c:pt idx="587">
                  <c:v>105.60232338521882</c:v>
                </c:pt>
                <c:pt idx="588">
                  <c:v>105.53565209159441</c:v>
                </c:pt>
                <c:pt idx="589">
                  <c:v>105.46906413708706</c:v>
                </c:pt>
                <c:pt idx="590">
                  <c:v>105.46906413708706</c:v>
                </c:pt>
                <c:pt idx="591">
                  <c:v>105.2302082731504</c:v>
                </c:pt>
                <c:pt idx="592">
                  <c:v>105.23356657774129</c:v>
                </c:pt>
                <c:pt idx="593">
                  <c:v>105.16810978561662</c:v>
                </c:pt>
                <c:pt idx="594">
                  <c:v>105.13743606528158</c:v>
                </c:pt>
                <c:pt idx="595">
                  <c:v>104.59760976740419</c:v>
                </c:pt>
                <c:pt idx="596">
                  <c:v>104.60593800488678</c:v>
                </c:pt>
                <c:pt idx="597">
                  <c:v>104.54110364849902</c:v>
                </c:pt>
                <c:pt idx="598">
                  <c:v>104.51059202814314</c:v>
                </c:pt>
                <c:pt idx="599">
                  <c:v>104.51059202814314</c:v>
                </c:pt>
                <c:pt idx="600">
                  <c:v>104.51059202814314</c:v>
                </c:pt>
                <c:pt idx="601">
                  <c:v>104.51059202814314</c:v>
                </c:pt>
                <c:pt idx="602">
                  <c:v>104.51059202814314</c:v>
                </c:pt>
                <c:pt idx="603">
                  <c:v>104.51059202814314</c:v>
                </c:pt>
                <c:pt idx="604">
                  <c:v>104.51059202814314</c:v>
                </c:pt>
                <c:pt idx="605">
                  <c:v>104.51059202814314</c:v>
                </c:pt>
                <c:pt idx="606">
                  <c:v>104.51059202814314</c:v>
                </c:pt>
                <c:pt idx="607">
                  <c:v>104.51059202814314</c:v>
                </c:pt>
                <c:pt idx="608">
                  <c:v>104.51059202814314</c:v>
                </c:pt>
                <c:pt idx="609">
                  <c:v>104.89069761800675</c:v>
                </c:pt>
                <c:pt idx="610">
                  <c:v>104.85481104025695</c:v>
                </c:pt>
                <c:pt idx="611">
                  <c:v>105.5998827985858</c:v>
                </c:pt>
                <c:pt idx="612">
                  <c:v>105.56310973936027</c:v>
                </c:pt>
                <c:pt idx="613">
                  <c:v>105.52638264645879</c:v>
                </c:pt>
                <c:pt idx="614">
                  <c:v>105.60775245460221</c:v>
                </c:pt>
                <c:pt idx="615">
                  <c:v>105.57096955830664</c:v>
                </c:pt>
                <c:pt idx="616">
                  <c:v>105.53423264063147</c:v>
                </c:pt>
                <c:pt idx="617">
                  <c:v>105.53423264063147</c:v>
                </c:pt>
                <c:pt idx="618">
                  <c:v>105.53423264063147</c:v>
                </c:pt>
                <c:pt idx="619">
                  <c:v>105.53423264063147</c:v>
                </c:pt>
                <c:pt idx="620">
                  <c:v>105.53423264063147</c:v>
                </c:pt>
                <c:pt idx="621">
                  <c:v>105.53423264063147</c:v>
                </c:pt>
                <c:pt idx="622">
                  <c:v>105.53423264063147</c:v>
                </c:pt>
                <c:pt idx="623">
                  <c:v>105.53423264063147</c:v>
                </c:pt>
                <c:pt idx="624">
                  <c:v>105.53423264063147</c:v>
                </c:pt>
                <c:pt idx="625">
                  <c:v>105.53423264063147</c:v>
                </c:pt>
                <c:pt idx="626">
                  <c:v>105.53423264063147</c:v>
                </c:pt>
                <c:pt idx="627">
                  <c:v>105.53423264063147</c:v>
                </c:pt>
                <c:pt idx="628">
                  <c:v>105.53423264063147</c:v>
                </c:pt>
                <c:pt idx="629">
                  <c:v>105.53423264063147</c:v>
                </c:pt>
                <c:pt idx="630">
                  <c:v>105.53423264063147</c:v>
                </c:pt>
                <c:pt idx="631">
                  <c:v>105.53423264063147</c:v>
                </c:pt>
                <c:pt idx="632">
                  <c:v>105.53423264063147</c:v>
                </c:pt>
                <c:pt idx="633">
                  <c:v>105.53423264063147</c:v>
                </c:pt>
                <c:pt idx="634">
                  <c:v>105.53423264063147</c:v>
                </c:pt>
                <c:pt idx="635">
                  <c:v>105.53423264063147</c:v>
                </c:pt>
                <c:pt idx="636">
                  <c:v>105.53423264063147</c:v>
                </c:pt>
                <c:pt idx="637">
                  <c:v>105.53423264063147</c:v>
                </c:pt>
                <c:pt idx="638">
                  <c:v>105.53423264063147</c:v>
                </c:pt>
                <c:pt idx="639">
                  <c:v>105.53423264063147</c:v>
                </c:pt>
                <c:pt idx="640">
                  <c:v>105.53423264063147</c:v>
                </c:pt>
                <c:pt idx="641">
                  <c:v>105.53423264063147</c:v>
                </c:pt>
                <c:pt idx="642">
                  <c:v>105.53423264063147</c:v>
                </c:pt>
                <c:pt idx="643">
                  <c:v>105.53423264063147</c:v>
                </c:pt>
                <c:pt idx="644">
                  <c:v>105.53423264063147</c:v>
                </c:pt>
                <c:pt idx="645">
                  <c:v>105.53423264063147</c:v>
                </c:pt>
                <c:pt idx="646">
                  <c:v>105.53423264063147</c:v>
                </c:pt>
                <c:pt idx="647">
                  <c:v>105.53423264063147</c:v>
                </c:pt>
                <c:pt idx="648">
                  <c:v>105.53423264063147</c:v>
                </c:pt>
                <c:pt idx="649">
                  <c:v>105.53423264063147</c:v>
                </c:pt>
                <c:pt idx="650">
                  <c:v>105.53423264063147</c:v>
                </c:pt>
                <c:pt idx="651">
                  <c:v>105.53423264063147</c:v>
                </c:pt>
                <c:pt idx="652">
                  <c:v>105.53423264063147</c:v>
                </c:pt>
                <c:pt idx="653">
                  <c:v>105.53423264063147</c:v>
                </c:pt>
                <c:pt idx="654">
                  <c:v>105.53423264063147</c:v>
                </c:pt>
                <c:pt idx="655">
                  <c:v>105.53423264063147</c:v>
                </c:pt>
                <c:pt idx="656">
                  <c:v>105.53423264063147</c:v>
                </c:pt>
                <c:pt idx="657">
                  <c:v>105.53423264063147</c:v>
                </c:pt>
                <c:pt idx="658">
                  <c:v>105.53423264063147</c:v>
                </c:pt>
                <c:pt idx="659">
                  <c:v>105.53423264063147</c:v>
                </c:pt>
                <c:pt idx="660">
                  <c:v>105.53423264063147</c:v>
                </c:pt>
                <c:pt idx="661">
                  <c:v>105.53423264063147</c:v>
                </c:pt>
                <c:pt idx="662">
                  <c:v>105.53423264063147</c:v>
                </c:pt>
                <c:pt idx="663">
                  <c:v>105.53423264063147</c:v>
                </c:pt>
                <c:pt idx="664">
                  <c:v>105.53423264063147</c:v>
                </c:pt>
                <c:pt idx="665">
                  <c:v>105.53423264063147</c:v>
                </c:pt>
                <c:pt idx="666">
                  <c:v>105.53423264063147</c:v>
                </c:pt>
                <c:pt idx="667">
                  <c:v>105.53423264063147</c:v>
                </c:pt>
                <c:pt idx="668">
                  <c:v>105.50878659504008</c:v>
                </c:pt>
                <c:pt idx="669">
                  <c:v>105.47934832917372</c:v>
                </c:pt>
                <c:pt idx="670">
                  <c:v>105.44994686113968</c:v>
                </c:pt>
                <c:pt idx="671">
                  <c:v>105.44994686113968</c:v>
                </c:pt>
                <c:pt idx="672">
                  <c:v>105.44994686113968</c:v>
                </c:pt>
                <c:pt idx="673">
                  <c:v>105.44994686113968</c:v>
                </c:pt>
                <c:pt idx="674">
                  <c:v>105.44994686113968</c:v>
                </c:pt>
                <c:pt idx="675">
                  <c:v>105.44994686113968</c:v>
                </c:pt>
                <c:pt idx="676">
                  <c:v>105.44994686113968</c:v>
                </c:pt>
                <c:pt idx="677">
                  <c:v>105.44994686113968</c:v>
                </c:pt>
                <c:pt idx="678">
                  <c:v>105.44994686113968</c:v>
                </c:pt>
                <c:pt idx="679">
                  <c:v>105.44994686113968</c:v>
                </c:pt>
                <c:pt idx="680">
                  <c:v>105.44994686113968</c:v>
                </c:pt>
                <c:pt idx="681">
                  <c:v>105.44994686113968</c:v>
                </c:pt>
                <c:pt idx="682">
                  <c:v>105.44994686113968</c:v>
                </c:pt>
                <c:pt idx="683">
                  <c:v>104.57066268578004</c:v>
                </c:pt>
                <c:pt idx="684">
                  <c:v>102.39786052128953</c:v>
                </c:pt>
                <c:pt idx="685">
                  <c:v>102.39786052128953</c:v>
                </c:pt>
                <c:pt idx="686">
                  <c:v>102.36639238919544</c:v>
                </c:pt>
                <c:pt idx="687">
                  <c:v>102.36639238919544</c:v>
                </c:pt>
                <c:pt idx="688">
                  <c:v>102.04305532162742</c:v>
                </c:pt>
                <c:pt idx="689">
                  <c:v>101.79977283219617</c:v>
                </c:pt>
                <c:pt idx="690">
                  <c:v>101.63422093301486</c:v>
                </c:pt>
                <c:pt idx="691">
                  <c:v>101.63422093301486</c:v>
                </c:pt>
                <c:pt idx="692">
                  <c:v>101.60370735040611</c:v>
                </c:pt>
                <c:pt idx="693">
                  <c:v>101.60370735040611</c:v>
                </c:pt>
                <c:pt idx="694">
                  <c:v>101.60370735040611</c:v>
                </c:pt>
                <c:pt idx="695">
                  <c:v>101.60370735040611</c:v>
                </c:pt>
                <c:pt idx="696">
                  <c:v>101.60370735040611</c:v>
                </c:pt>
                <c:pt idx="697">
                  <c:v>101.60370735040611</c:v>
                </c:pt>
                <c:pt idx="698">
                  <c:v>101.60370735040611</c:v>
                </c:pt>
                <c:pt idx="699">
                  <c:v>101.60370735040611</c:v>
                </c:pt>
                <c:pt idx="700">
                  <c:v>101.60370735040611</c:v>
                </c:pt>
                <c:pt idx="701">
                  <c:v>101.60370735040611</c:v>
                </c:pt>
                <c:pt idx="702">
                  <c:v>101.60370735040611</c:v>
                </c:pt>
                <c:pt idx="703">
                  <c:v>103.25566082950024</c:v>
                </c:pt>
                <c:pt idx="704">
                  <c:v>103.19375573082189</c:v>
                </c:pt>
                <c:pt idx="705">
                  <c:v>103.13192801351688</c:v>
                </c:pt>
                <c:pt idx="706">
                  <c:v>103.24772583246664</c:v>
                </c:pt>
                <c:pt idx="707">
                  <c:v>102.8965773344961</c:v>
                </c:pt>
                <c:pt idx="708">
                  <c:v>102.73919238703409</c:v>
                </c:pt>
                <c:pt idx="709">
                  <c:v>102.70912345155229</c:v>
                </c:pt>
                <c:pt idx="710">
                  <c:v>102.67793287390882</c:v>
                </c:pt>
                <c:pt idx="711">
                  <c:v>102.67793287390882</c:v>
                </c:pt>
                <c:pt idx="712">
                  <c:v>103.08272926598441</c:v>
                </c:pt>
                <c:pt idx="713">
                  <c:v>103.05219192118184</c:v>
                </c:pt>
                <c:pt idx="714">
                  <c:v>103.32231178313901</c:v>
                </c:pt>
                <c:pt idx="715">
                  <c:v>103.29078441992377</c:v>
                </c:pt>
                <c:pt idx="716">
                  <c:v>103.25929646591254</c:v>
                </c:pt>
                <c:pt idx="717">
                  <c:v>103.25929646591254</c:v>
                </c:pt>
                <c:pt idx="718">
                  <c:v>103.25929646591254</c:v>
                </c:pt>
                <c:pt idx="719">
                  <c:v>103.25929646591254</c:v>
                </c:pt>
                <c:pt idx="720">
                  <c:v>103.25929646591254</c:v>
                </c:pt>
                <c:pt idx="721">
                  <c:v>103.20998480959736</c:v>
                </c:pt>
                <c:pt idx="722">
                  <c:v>103.17958540001261</c:v>
                </c:pt>
                <c:pt idx="723">
                  <c:v>103.14922398968983</c:v>
                </c:pt>
                <c:pt idx="724">
                  <c:v>103.14922398968983</c:v>
                </c:pt>
                <c:pt idx="725">
                  <c:v>103.14922398968983</c:v>
                </c:pt>
                <c:pt idx="726">
                  <c:v>103.14922398968983</c:v>
                </c:pt>
                <c:pt idx="727">
                  <c:v>103.14922398968983</c:v>
                </c:pt>
                <c:pt idx="728">
                  <c:v>103.14922398968983</c:v>
                </c:pt>
                <c:pt idx="729">
                  <c:v>103.14922398968983</c:v>
                </c:pt>
                <c:pt idx="730">
                  <c:v>103.14922398968983</c:v>
                </c:pt>
                <c:pt idx="731">
                  <c:v>103.14922398968983</c:v>
                </c:pt>
                <c:pt idx="732">
                  <c:v>103.14922398968983</c:v>
                </c:pt>
                <c:pt idx="733">
                  <c:v>103.14922398968983</c:v>
                </c:pt>
                <c:pt idx="734">
                  <c:v>103.14922398968983</c:v>
                </c:pt>
                <c:pt idx="735">
                  <c:v>103.14922398968983</c:v>
                </c:pt>
                <c:pt idx="736">
                  <c:v>103.14922398968983</c:v>
                </c:pt>
                <c:pt idx="737">
                  <c:v>103.14922398968983</c:v>
                </c:pt>
                <c:pt idx="738">
                  <c:v>103.14922398968983</c:v>
                </c:pt>
                <c:pt idx="739">
                  <c:v>103.14922398968983</c:v>
                </c:pt>
                <c:pt idx="740">
                  <c:v>103.19307867750611</c:v>
                </c:pt>
                <c:pt idx="741">
                  <c:v>103.16270040058646</c:v>
                </c:pt>
                <c:pt idx="742">
                  <c:v>103.1393507430133</c:v>
                </c:pt>
                <c:pt idx="743">
                  <c:v>103.10789341063648</c:v>
                </c:pt>
                <c:pt idx="744">
                  <c:v>103.0764753999251</c:v>
                </c:pt>
                <c:pt idx="745">
                  <c:v>103.0764753999251</c:v>
                </c:pt>
                <c:pt idx="746">
                  <c:v>103.17223560732222</c:v>
                </c:pt>
                <c:pt idx="747">
                  <c:v>103.14181352836958</c:v>
                </c:pt>
                <c:pt idx="748">
                  <c:v>103.14157055185501</c:v>
                </c:pt>
                <c:pt idx="749">
                  <c:v>103.01539163009899</c:v>
                </c:pt>
                <c:pt idx="750">
                  <c:v>103.01539163009899</c:v>
                </c:pt>
                <c:pt idx="751">
                  <c:v>102.33915891914053</c:v>
                </c:pt>
                <c:pt idx="752">
                  <c:v>102.20517133166946</c:v>
                </c:pt>
                <c:pt idx="753">
                  <c:v>102.1321638324294</c:v>
                </c:pt>
                <c:pt idx="754">
                  <c:v>101.65674487963679</c:v>
                </c:pt>
                <c:pt idx="755">
                  <c:v>101.65674487963679</c:v>
                </c:pt>
                <c:pt idx="756">
                  <c:v>101.62793063388082</c:v>
                </c:pt>
                <c:pt idx="757">
                  <c:v>101.62793063388082</c:v>
                </c:pt>
                <c:pt idx="758">
                  <c:v>101.62793063388082</c:v>
                </c:pt>
                <c:pt idx="759">
                  <c:v>101.62793063388082</c:v>
                </c:pt>
                <c:pt idx="760">
                  <c:v>101.62793063388082</c:v>
                </c:pt>
                <c:pt idx="761">
                  <c:v>101.62793063388082</c:v>
                </c:pt>
                <c:pt idx="762">
                  <c:v>101.62793063388082</c:v>
                </c:pt>
                <c:pt idx="763">
                  <c:v>101.62793063388082</c:v>
                </c:pt>
                <c:pt idx="764">
                  <c:v>101.62793063388082</c:v>
                </c:pt>
                <c:pt idx="765">
                  <c:v>101.62793063388082</c:v>
                </c:pt>
                <c:pt idx="766">
                  <c:v>101.62793063388082</c:v>
                </c:pt>
                <c:pt idx="767">
                  <c:v>101.62793063388082</c:v>
                </c:pt>
                <c:pt idx="768">
                  <c:v>101.62793063388082</c:v>
                </c:pt>
                <c:pt idx="769">
                  <c:v>101.62793063388082</c:v>
                </c:pt>
                <c:pt idx="770">
                  <c:v>101.62793063388082</c:v>
                </c:pt>
                <c:pt idx="771">
                  <c:v>101.62793063388082</c:v>
                </c:pt>
                <c:pt idx="772">
                  <c:v>101.62793063388082</c:v>
                </c:pt>
                <c:pt idx="773">
                  <c:v>101.62793063388082</c:v>
                </c:pt>
                <c:pt idx="774">
                  <c:v>101.62793063388082</c:v>
                </c:pt>
                <c:pt idx="775">
                  <c:v>101.62793063388082</c:v>
                </c:pt>
                <c:pt idx="776">
                  <c:v>101.62793063388082</c:v>
                </c:pt>
                <c:pt idx="777">
                  <c:v>101.62793063388082</c:v>
                </c:pt>
                <c:pt idx="778">
                  <c:v>101.62793063388082</c:v>
                </c:pt>
                <c:pt idx="779">
                  <c:v>101.62793063388082</c:v>
                </c:pt>
                <c:pt idx="780">
                  <c:v>101.62793063388082</c:v>
                </c:pt>
                <c:pt idx="781">
                  <c:v>101.62793063388082</c:v>
                </c:pt>
                <c:pt idx="782">
                  <c:v>101.62793063388082</c:v>
                </c:pt>
                <c:pt idx="783">
                  <c:v>101.62793063388082</c:v>
                </c:pt>
                <c:pt idx="784">
                  <c:v>101.62793063388082</c:v>
                </c:pt>
                <c:pt idx="785">
                  <c:v>101.62793063388082</c:v>
                </c:pt>
                <c:pt idx="786">
                  <c:v>101.55017283246505</c:v>
                </c:pt>
                <c:pt idx="787">
                  <c:v>101.47691860448239</c:v>
                </c:pt>
                <c:pt idx="788">
                  <c:v>102.8238397863898</c:v>
                </c:pt>
                <c:pt idx="789">
                  <c:v>102.51811114296537</c:v>
                </c:pt>
                <c:pt idx="790">
                  <c:v>102.46739393031831</c:v>
                </c:pt>
                <c:pt idx="791">
                  <c:v>102.39767176386938</c:v>
                </c:pt>
                <c:pt idx="792">
                  <c:v>102.11731100377808</c:v>
                </c:pt>
                <c:pt idx="793">
                  <c:v>102.11279027214633</c:v>
                </c:pt>
                <c:pt idx="794">
                  <c:v>101.15429497413291</c:v>
                </c:pt>
                <c:pt idx="795">
                  <c:v>100.70589872746399</c:v>
                </c:pt>
                <c:pt idx="796">
                  <c:v>102.01612862883454</c:v>
                </c:pt>
                <c:pt idx="797">
                  <c:v>103.00917935938384</c:v>
                </c:pt>
                <c:pt idx="798">
                  <c:v>103.08830345447426</c:v>
                </c:pt>
                <c:pt idx="799">
                  <c:v>103.09359317177082</c:v>
                </c:pt>
                <c:pt idx="800">
                  <c:v>103.60242166934482</c:v>
                </c:pt>
                <c:pt idx="801">
                  <c:v>103.00926643328924</c:v>
                </c:pt>
                <c:pt idx="802">
                  <c:v>102.55544874439468</c:v>
                </c:pt>
                <c:pt idx="803">
                  <c:v>103.65479233841822</c:v>
                </c:pt>
                <c:pt idx="804">
                  <c:v>104.08013997862817</c:v>
                </c:pt>
                <c:pt idx="805">
                  <c:v>104.08013997862817</c:v>
                </c:pt>
                <c:pt idx="806">
                  <c:v>104.04005818570948</c:v>
                </c:pt>
                <c:pt idx="807">
                  <c:v>104.04005818570948</c:v>
                </c:pt>
                <c:pt idx="808">
                  <c:v>104.04005818570948</c:v>
                </c:pt>
                <c:pt idx="809">
                  <c:v>104.04005818570948</c:v>
                </c:pt>
                <c:pt idx="810">
                  <c:v>104.04005818570948</c:v>
                </c:pt>
                <c:pt idx="811">
                  <c:v>104.04005818570948</c:v>
                </c:pt>
                <c:pt idx="812">
                  <c:v>104.04005818570948</c:v>
                </c:pt>
                <c:pt idx="813">
                  <c:v>105.38091024088521</c:v>
                </c:pt>
                <c:pt idx="814">
                  <c:v>105.30918194855862</c:v>
                </c:pt>
                <c:pt idx="815">
                  <c:v>105.23754331659742</c:v>
                </c:pt>
                <c:pt idx="816">
                  <c:v>105.23754331659742</c:v>
                </c:pt>
                <c:pt idx="817">
                  <c:v>105.23754331659742</c:v>
                </c:pt>
                <c:pt idx="818">
                  <c:v>105.23754331659742</c:v>
                </c:pt>
                <c:pt idx="819">
                  <c:v>105.23754331659742</c:v>
                </c:pt>
                <c:pt idx="820">
                  <c:v>105.23754331659742</c:v>
                </c:pt>
                <c:pt idx="821">
                  <c:v>105.23754331659742</c:v>
                </c:pt>
                <c:pt idx="822">
                  <c:v>105.23754331659742</c:v>
                </c:pt>
                <c:pt idx="823">
                  <c:v>105.23754331659742</c:v>
                </c:pt>
                <c:pt idx="824">
                  <c:v>105.23754331659742</c:v>
                </c:pt>
                <c:pt idx="825">
                  <c:v>105.23754331659742</c:v>
                </c:pt>
                <c:pt idx="826">
                  <c:v>105.23754331659742</c:v>
                </c:pt>
                <c:pt idx="827">
                  <c:v>105.23754331659742</c:v>
                </c:pt>
                <c:pt idx="828">
                  <c:v>105.23754331659742</c:v>
                </c:pt>
                <c:pt idx="829">
                  <c:v>105.23754331659742</c:v>
                </c:pt>
                <c:pt idx="830">
                  <c:v>105.23754331659742</c:v>
                </c:pt>
                <c:pt idx="831">
                  <c:v>105.23754331659742</c:v>
                </c:pt>
                <c:pt idx="832">
                  <c:v>105.23754331659742</c:v>
                </c:pt>
                <c:pt idx="833">
                  <c:v>105.23754331659742</c:v>
                </c:pt>
                <c:pt idx="834">
                  <c:v>105.23754331659742</c:v>
                </c:pt>
                <c:pt idx="835">
                  <c:v>105.23754331659742</c:v>
                </c:pt>
                <c:pt idx="836">
                  <c:v>105.23754331659742</c:v>
                </c:pt>
                <c:pt idx="837">
                  <c:v>105.23754331659742</c:v>
                </c:pt>
                <c:pt idx="838">
                  <c:v>105.23754331659742</c:v>
                </c:pt>
                <c:pt idx="839">
                  <c:v>105.23754331659742</c:v>
                </c:pt>
                <c:pt idx="840">
                  <c:v>105.23754331659742</c:v>
                </c:pt>
                <c:pt idx="841">
                  <c:v>104.41314973396548</c:v>
                </c:pt>
                <c:pt idx="842">
                  <c:v>105.01485001348831</c:v>
                </c:pt>
                <c:pt idx="843">
                  <c:v>104.9244685276272</c:v>
                </c:pt>
                <c:pt idx="844">
                  <c:v>104.89302004587238</c:v>
                </c:pt>
                <c:pt idx="845">
                  <c:v>104.89302004587238</c:v>
                </c:pt>
                <c:pt idx="846">
                  <c:v>104.89302004587238</c:v>
                </c:pt>
                <c:pt idx="847">
                  <c:v>104.89302004587238</c:v>
                </c:pt>
                <c:pt idx="848">
                  <c:v>104.89302004587238</c:v>
                </c:pt>
                <c:pt idx="849">
                  <c:v>104.89302004587238</c:v>
                </c:pt>
                <c:pt idx="850">
                  <c:v>104.89302004587238</c:v>
                </c:pt>
                <c:pt idx="851">
                  <c:v>104.89302004587238</c:v>
                </c:pt>
                <c:pt idx="852">
                  <c:v>104.59732462770413</c:v>
                </c:pt>
                <c:pt idx="853">
                  <c:v>104.56948096467083</c:v>
                </c:pt>
                <c:pt idx="854">
                  <c:v>106.71568286603512</c:v>
                </c:pt>
                <c:pt idx="855">
                  <c:v>106.65458451026096</c:v>
                </c:pt>
                <c:pt idx="856">
                  <c:v>106.59356252743152</c:v>
                </c:pt>
                <c:pt idx="857">
                  <c:v>106.59356252743152</c:v>
                </c:pt>
                <c:pt idx="858">
                  <c:v>106.59356252743152</c:v>
                </c:pt>
                <c:pt idx="859">
                  <c:v>106.59356252743152</c:v>
                </c:pt>
                <c:pt idx="860">
                  <c:v>106.59356252743152</c:v>
                </c:pt>
                <c:pt idx="861">
                  <c:v>106.59356252743152</c:v>
                </c:pt>
                <c:pt idx="862">
                  <c:v>106.59356252743152</c:v>
                </c:pt>
                <c:pt idx="863">
                  <c:v>106.59356252743152</c:v>
                </c:pt>
                <c:pt idx="864">
                  <c:v>106.59356252743152</c:v>
                </c:pt>
                <c:pt idx="865">
                  <c:v>106.59356252743152</c:v>
                </c:pt>
                <c:pt idx="866">
                  <c:v>106.59356252743152</c:v>
                </c:pt>
                <c:pt idx="867">
                  <c:v>106.59356252743152</c:v>
                </c:pt>
                <c:pt idx="868">
                  <c:v>106.59356252743152</c:v>
                </c:pt>
                <c:pt idx="869">
                  <c:v>106.59356252743152</c:v>
                </c:pt>
                <c:pt idx="870">
                  <c:v>106.59356252743152</c:v>
                </c:pt>
                <c:pt idx="871">
                  <c:v>106.59356252743152</c:v>
                </c:pt>
                <c:pt idx="872">
                  <c:v>106.59356252743152</c:v>
                </c:pt>
                <c:pt idx="873">
                  <c:v>106.56479009170633</c:v>
                </c:pt>
                <c:pt idx="874">
                  <c:v>108.22347509545104</c:v>
                </c:pt>
                <c:pt idx="875">
                  <c:v>108.22347509545104</c:v>
                </c:pt>
                <c:pt idx="876">
                  <c:v>108.1604919993901</c:v>
                </c:pt>
                <c:pt idx="877">
                  <c:v>108.16049199939012</c:v>
                </c:pt>
                <c:pt idx="878">
                  <c:v>108.16049199939012</c:v>
                </c:pt>
                <c:pt idx="879">
                  <c:v>108.16049199939012</c:v>
                </c:pt>
                <c:pt idx="880">
                  <c:v>108.16049199939012</c:v>
                </c:pt>
                <c:pt idx="881">
                  <c:v>108.16049199939012</c:v>
                </c:pt>
                <c:pt idx="882">
                  <c:v>108.16049199939012</c:v>
                </c:pt>
                <c:pt idx="883">
                  <c:v>108.16049199939012</c:v>
                </c:pt>
                <c:pt idx="884">
                  <c:v>108.16049199939012</c:v>
                </c:pt>
                <c:pt idx="885">
                  <c:v>108.16049199939012</c:v>
                </c:pt>
                <c:pt idx="886">
                  <c:v>108.16049199939012</c:v>
                </c:pt>
                <c:pt idx="887">
                  <c:v>108.16049199939012</c:v>
                </c:pt>
                <c:pt idx="888">
                  <c:v>108.16049199939012</c:v>
                </c:pt>
                <c:pt idx="889">
                  <c:v>108.16049199939012</c:v>
                </c:pt>
                <c:pt idx="890">
                  <c:v>108.16049199939012</c:v>
                </c:pt>
                <c:pt idx="891">
                  <c:v>108.16049199939012</c:v>
                </c:pt>
                <c:pt idx="892">
                  <c:v>108.09416921201834</c:v>
                </c:pt>
                <c:pt idx="893">
                  <c:v>108.06284294434992</c:v>
                </c:pt>
                <c:pt idx="894">
                  <c:v>107.86090228939111</c:v>
                </c:pt>
                <c:pt idx="895">
                  <c:v>107.54167098004928</c:v>
                </c:pt>
                <c:pt idx="896">
                  <c:v>108.42799817745345</c:v>
                </c:pt>
                <c:pt idx="897">
                  <c:v>111.5500642590649</c:v>
                </c:pt>
                <c:pt idx="898">
                  <c:v>112.318827884706</c:v>
                </c:pt>
                <c:pt idx="899">
                  <c:v>112.21931642650587</c:v>
                </c:pt>
                <c:pt idx="900">
                  <c:v>112.18714773222163</c:v>
                </c:pt>
                <c:pt idx="901">
                  <c:v>112.18714773222163</c:v>
                </c:pt>
                <c:pt idx="902">
                  <c:v>112.18714773222163</c:v>
                </c:pt>
                <c:pt idx="903">
                  <c:v>111.79273481319095</c:v>
                </c:pt>
                <c:pt idx="904">
                  <c:v>111.76109934592336</c:v>
                </c:pt>
                <c:pt idx="905">
                  <c:v>111.72950342298985</c:v>
                </c:pt>
                <c:pt idx="906">
                  <c:v>111.72950342298985</c:v>
                </c:pt>
                <c:pt idx="907">
                  <c:v>111.72950342298985</c:v>
                </c:pt>
                <c:pt idx="908">
                  <c:v>111.72950342298985</c:v>
                </c:pt>
                <c:pt idx="909">
                  <c:v>111.72950342298985</c:v>
                </c:pt>
                <c:pt idx="910">
                  <c:v>111.72950342298985</c:v>
                </c:pt>
                <c:pt idx="911">
                  <c:v>111.72950342298985</c:v>
                </c:pt>
                <c:pt idx="912">
                  <c:v>111.72950342298985</c:v>
                </c:pt>
                <c:pt idx="913">
                  <c:v>111.72950342298985</c:v>
                </c:pt>
                <c:pt idx="914">
                  <c:v>111.72950342298985</c:v>
                </c:pt>
                <c:pt idx="915">
                  <c:v>111.72950342298985</c:v>
                </c:pt>
                <c:pt idx="916">
                  <c:v>111.72950342298985</c:v>
                </c:pt>
                <c:pt idx="917">
                  <c:v>111.72950342298985</c:v>
                </c:pt>
                <c:pt idx="918">
                  <c:v>111.72950342298985</c:v>
                </c:pt>
                <c:pt idx="919">
                  <c:v>111.72950342298985</c:v>
                </c:pt>
                <c:pt idx="920">
                  <c:v>111.72950342298985</c:v>
                </c:pt>
                <c:pt idx="921">
                  <c:v>111.72950342298985</c:v>
                </c:pt>
                <c:pt idx="922">
                  <c:v>111.72950342298985</c:v>
                </c:pt>
                <c:pt idx="923">
                  <c:v>111.72950342298985</c:v>
                </c:pt>
                <c:pt idx="924">
                  <c:v>111.72950342298985</c:v>
                </c:pt>
                <c:pt idx="925">
                  <c:v>111.72950342298985</c:v>
                </c:pt>
                <c:pt idx="926">
                  <c:v>111.72950342298985</c:v>
                </c:pt>
                <c:pt idx="927">
                  <c:v>111.72950342298985</c:v>
                </c:pt>
                <c:pt idx="928">
                  <c:v>111.72950342298985</c:v>
                </c:pt>
                <c:pt idx="929">
                  <c:v>111.72950342298985</c:v>
                </c:pt>
                <c:pt idx="930">
                  <c:v>111.72950342298985</c:v>
                </c:pt>
                <c:pt idx="931">
                  <c:v>111.72950342298985</c:v>
                </c:pt>
                <c:pt idx="932">
                  <c:v>111.72950342298985</c:v>
                </c:pt>
                <c:pt idx="933">
                  <c:v>111.72950342298985</c:v>
                </c:pt>
                <c:pt idx="934">
                  <c:v>111.72950342298985</c:v>
                </c:pt>
                <c:pt idx="935">
                  <c:v>111.72950342298985</c:v>
                </c:pt>
                <c:pt idx="936">
                  <c:v>111.72950342298985</c:v>
                </c:pt>
                <c:pt idx="937">
                  <c:v>111.72950342298985</c:v>
                </c:pt>
                <c:pt idx="938">
                  <c:v>111.72950342298985</c:v>
                </c:pt>
                <c:pt idx="939">
                  <c:v>111.72950342298985</c:v>
                </c:pt>
                <c:pt idx="940">
                  <c:v>111.72950342298985</c:v>
                </c:pt>
                <c:pt idx="941">
                  <c:v>111.72950342298985</c:v>
                </c:pt>
                <c:pt idx="942">
                  <c:v>111.72950342298985</c:v>
                </c:pt>
                <c:pt idx="943">
                  <c:v>111.72950342298985</c:v>
                </c:pt>
                <c:pt idx="944">
                  <c:v>111.72950342298985</c:v>
                </c:pt>
                <c:pt idx="945">
                  <c:v>111.72950342298985</c:v>
                </c:pt>
                <c:pt idx="946">
                  <c:v>111.72950342298985</c:v>
                </c:pt>
                <c:pt idx="947">
                  <c:v>111.72950342298985</c:v>
                </c:pt>
                <c:pt idx="948">
                  <c:v>111.72950342298985</c:v>
                </c:pt>
                <c:pt idx="949">
                  <c:v>111.72950342298985</c:v>
                </c:pt>
                <c:pt idx="950">
                  <c:v>111.71141553052468</c:v>
                </c:pt>
                <c:pt idx="951">
                  <c:v>111.42377940018203</c:v>
                </c:pt>
                <c:pt idx="952">
                  <c:v>111.42377940018203</c:v>
                </c:pt>
                <c:pt idx="953">
                  <c:v>111.12829661225641</c:v>
                </c:pt>
                <c:pt idx="954">
                  <c:v>110.65241350941848</c:v>
                </c:pt>
                <c:pt idx="955">
                  <c:v>113.13685753443612</c:v>
                </c:pt>
                <c:pt idx="956">
                  <c:v>113.03632353917384</c:v>
                </c:pt>
                <c:pt idx="957">
                  <c:v>112.96608751446145</c:v>
                </c:pt>
                <c:pt idx="958">
                  <c:v>112.96608751446145</c:v>
                </c:pt>
                <c:pt idx="959">
                  <c:v>113.47900058207216</c:v>
                </c:pt>
                <c:pt idx="960">
                  <c:v>113.44498615405909</c:v>
                </c:pt>
                <c:pt idx="961">
                  <c:v>113.41101424408104</c:v>
                </c:pt>
                <c:pt idx="962">
                  <c:v>113.45283862771012</c:v>
                </c:pt>
                <c:pt idx="963">
                  <c:v>113.95124940058479</c:v>
                </c:pt>
                <c:pt idx="964">
                  <c:v>113.9921332376038</c:v>
                </c:pt>
                <c:pt idx="965">
                  <c:v>113.82938090582452</c:v>
                </c:pt>
                <c:pt idx="966">
                  <c:v>113.82938090582452</c:v>
                </c:pt>
                <c:pt idx="967">
                  <c:v>113.75815355940382</c:v>
                </c:pt>
                <c:pt idx="968">
                  <c:v>113.75815355940382</c:v>
                </c:pt>
                <c:pt idx="969">
                  <c:v>113.75815355940382</c:v>
                </c:pt>
                <c:pt idx="970">
                  <c:v>113.75815355940382</c:v>
                </c:pt>
                <c:pt idx="971">
                  <c:v>113.75815355940382</c:v>
                </c:pt>
                <c:pt idx="972">
                  <c:v>113.75815355940382</c:v>
                </c:pt>
                <c:pt idx="973">
                  <c:v>113.75815355940382</c:v>
                </c:pt>
                <c:pt idx="974">
                  <c:v>113.75815355940382</c:v>
                </c:pt>
                <c:pt idx="975">
                  <c:v>113.75815355940382</c:v>
                </c:pt>
                <c:pt idx="976">
                  <c:v>113.75815355940382</c:v>
                </c:pt>
                <c:pt idx="977">
                  <c:v>113.75815355940382</c:v>
                </c:pt>
                <c:pt idx="978">
                  <c:v>113.75815355940382</c:v>
                </c:pt>
                <c:pt idx="979">
                  <c:v>113.75815355940382</c:v>
                </c:pt>
                <c:pt idx="980">
                  <c:v>113.75815355940382</c:v>
                </c:pt>
                <c:pt idx="981">
                  <c:v>113.75815355940382</c:v>
                </c:pt>
                <c:pt idx="982">
                  <c:v>113.75815355940382</c:v>
                </c:pt>
                <c:pt idx="983">
                  <c:v>113.75815355940382</c:v>
                </c:pt>
                <c:pt idx="984">
                  <c:v>113.75815355940382</c:v>
                </c:pt>
                <c:pt idx="985">
                  <c:v>113.75815355940382</c:v>
                </c:pt>
                <c:pt idx="986">
                  <c:v>113.75815355940382</c:v>
                </c:pt>
                <c:pt idx="987">
                  <c:v>113.75815355940382</c:v>
                </c:pt>
                <c:pt idx="988">
                  <c:v>113.75815355940382</c:v>
                </c:pt>
                <c:pt idx="989">
                  <c:v>113.75815355940382</c:v>
                </c:pt>
                <c:pt idx="990">
                  <c:v>113.75815355940382</c:v>
                </c:pt>
                <c:pt idx="991">
                  <c:v>113.75815355940382</c:v>
                </c:pt>
                <c:pt idx="992">
                  <c:v>113.75815355940382</c:v>
                </c:pt>
                <c:pt idx="993">
                  <c:v>113.75815355940382</c:v>
                </c:pt>
                <c:pt idx="994">
                  <c:v>113.75815355940382</c:v>
                </c:pt>
                <c:pt idx="995">
                  <c:v>113.75815355940382</c:v>
                </c:pt>
                <c:pt idx="996">
                  <c:v>113.75815355940382</c:v>
                </c:pt>
                <c:pt idx="997">
                  <c:v>113.75815355940382</c:v>
                </c:pt>
                <c:pt idx="998">
                  <c:v>113.75815355940382</c:v>
                </c:pt>
                <c:pt idx="999">
                  <c:v>113.75815355940382</c:v>
                </c:pt>
                <c:pt idx="1000">
                  <c:v>113.75815355940382</c:v>
                </c:pt>
                <c:pt idx="1001">
                  <c:v>113.75815355940382</c:v>
                </c:pt>
                <c:pt idx="1002">
                  <c:v>113.75815355940382</c:v>
                </c:pt>
                <c:pt idx="1003">
                  <c:v>113.75815355940382</c:v>
                </c:pt>
                <c:pt idx="1004">
                  <c:v>113.75815355940382</c:v>
                </c:pt>
                <c:pt idx="1005">
                  <c:v>113.75815355940382</c:v>
                </c:pt>
                <c:pt idx="1006">
                  <c:v>113.75815355940382</c:v>
                </c:pt>
                <c:pt idx="1007">
                  <c:v>113.75815355940382</c:v>
                </c:pt>
                <c:pt idx="1008">
                  <c:v>113.75815355940382</c:v>
                </c:pt>
                <c:pt idx="1009">
                  <c:v>113.75815355940382</c:v>
                </c:pt>
                <c:pt idx="1010">
                  <c:v>113.75815355940382</c:v>
                </c:pt>
                <c:pt idx="1011">
                  <c:v>113.75815355940382</c:v>
                </c:pt>
                <c:pt idx="1012">
                  <c:v>113.75815355940382</c:v>
                </c:pt>
                <c:pt idx="1013">
                  <c:v>113.75815355940382</c:v>
                </c:pt>
                <c:pt idx="1014">
                  <c:v>113.75815355940382</c:v>
                </c:pt>
                <c:pt idx="1015">
                  <c:v>113.14203358129267</c:v>
                </c:pt>
                <c:pt idx="1016">
                  <c:v>115.95457220784417</c:v>
                </c:pt>
                <c:pt idx="1017">
                  <c:v>115.95457220784417</c:v>
                </c:pt>
                <c:pt idx="1018">
                  <c:v>116.15919116608866</c:v>
                </c:pt>
                <c:pt idx="1019">
                  <c:v>108.9509748421172</c:v>
                </c:pt>
                <c:pt idx="1020">
                  <c:v>108.91757478864709</c:v>
                </c:pt>
                <c:pt idx="1021">
                  <c:v>108.85248719987285</c:v>
                </c:pt>
                <c:pt idx="1022">
                  <c:v>108.85248719987287</c:v>
                </c:pt>
                <c:pt idx="1023">
                  <c:v>108.85248719987287</c:v>
                </c:pt>
                <c:pt idx="1024">
                  <c:v>108.85248719987287</c:v>
                </c:pt>
                <c:pt idx="1025">
                  <c:v>108.85248719987287</c:v>
                </c:pt>
                <c:pt idx="1026">
                  <c:v>108.85248719987287</c:v>
                </c:pt>
                <c:pt idx="1027">
                  <c:v>108.85248719987287</c:v>
                </c:pt>
                <c:pt idx="1028">
                  <c:v>108.85248719987287</c:v>
                </c:pt>
                <c:pt idx="1029">
                  <c:v>108.85248719987287</c:v>
                </c:pt>
                <c:pt idx="1030">
                  <c:v>108.85248719987287</c:v>
                </c:pt>
                <c:pt idx="1031">
                  <c:v>108.85248719987287</c:v>
                </c:pt>
                <c:pt idx="1032">
                  <c:v>108.89937134111486</c:v>
                </c:pt>
                <c:pt idx="1033">
                  <c:v>109.17476373501893</c:v>
                </c:pt>
                <c:pt idx="1034">
                  <c:v>109.84965271559872</c:v>
                </c:pt>
                <c:pt idx="1035">
                  <c:v>110.23414572882055</c:v>
                </c:pt>
                <c:pt idx="1036">
                  <c:v>111.07345040390874</c:v>
                </c:pt>
                <c:pt idx="1037">
                  <c:v>111.07345040390874</c:v>
                </c:pt>
                <c:pt idx="1038">
                  <c:v>111.02978712324794</c:v>
                </c:pt>
                <c:pt idx="1039">
                  <c:v>110.43958046643891</c:v>
                </c:pt>
                <c:pt idx="1040">
                  <c:v>110.39670952319996</c:v>
                </c:pt>
                <c:pt idx="1041">
                  <c:v>111.27612655372175</c:v>
                </c:pt>
                <c:pt idx="1042">
                  <c:v>111.82575344798791</c:v>
                </c:pt>
                <c:pt idx="1043">
                  <c:v>112.01573545040901</c:v>
                </c:pt>
                <c:pt idx="1044">
                  <c:v>112.01691256009883</c:v>
                </c:pt>
                <c:pt idx="1045">
                  <c:v>112.71024407097516</c:v>
                </c:pt>
                <c:pt idx="1046">
                  <c:v>112.83419662994967</c:v>
                </c:pt>
                <c:pt idx="1047">
                  <c:v>112.7581601134505</c:v>
                </c:pt>
                <c:pt idx="1048">
                  <c:v>112.7267975927254</c:v>
                </c:pt>
                <c:pt idx="1049">
                  <c:v>112.7267975927254</c:v>
                </c:pt>
                <c:pt idx="1050">
                  <c:v>112.7267975927254</c:v>
                </c:pt>
                <c:pt idx="1051">
                  <c:v>112.7267975927254</c:v>
                </c:pt>
                <c:pt idx="1052">
                  <c:v>112.7267975927254</c:v>
                </c:pt>
                <c:pt idx="1053">
                  <c:v>112.7267975927254</c:v>
                </c:pt>
                <c:pt idx="1054">
                  <c:v>112.7267975927254</c:v>
                </c:pt>
                <c:pt idx="1055">
                  <c:v>112.7267975927254</c:v>
                </c:pt>
                <c:pt idx="1056">
                  <c:v>112.72166800860532</c:v>
                </c:pt>
                <c:pt idx="1057">
                  <c:v>112.69035110301128</c:v>
                </c:pt>
                <c:pt idx="1058">
                  <c:v>112.65907334354924</c:v>
                </c:pt>
                <c:pt idx="1059">
                  <c:v>112.44542338606161</c:v>
                </c:pt>
                <c:pt idx="1060">
                  <c:v>112.9366585213911</c:v>
                </c:pt>
                <c:pt idx="1061">
                  <c:v>114.33636344118233</c:v>
                </c:pt>
                <c:pt idx="1062">
                  <c:v>116.6589106011397</c:v>
                </c:pt>
                <c:pt idx="1063">
                  <c:v>116.6589106011397</c:v>
                </c:pt>
                <c:pt idx="1064">
                  <c:v>116.60933185443925</c:v>
                </c:pt>
                <c:pt idx="1065">
                  <c:v>116.60933185443925</c:v>
                </c:pt>
                <c:pt idx="1066">
                  <c:v>116.60933185443925</c:v>
                </c:pt>
                <c:pt idx="1067">
                  <c:v>116.55623417267007</c:v>
                </c:pt>
                <c:pt idx="1068">
                  <c:v>117.50233496875369</c:v>
                </c:pt>
                <c:pt idx="1069">
                  <c:v>117.50233496875369</c:v>
                </c:pt>
                <c:pt idx="1070">
                  <c:v>118.61523335776388</c:v>
                </c:pt>
                <c:pt idx="1071">
                  <c:v>118.38239128344532</c:v>
                </c:pt>
                <c:pt idx="1072">
                  <c:v>118.31561969137232</c:v>
                </c:pt>
                <c:pt idx="1073">
                  <c:v>118.28466604221157</c:v>
                </c:pt>
                <c:pt idx="1074">
                  <c:v>117.62041995484864</c:v>
                </c:pt>
                <c:pt idx="1075">
                  <c:v>117.58551578403572</c:v>
                </c:pt>
                <c:pt idx="1076">
                  <c:v>117.55065524343627</c:v>
                </c:pt>
                <c:pt idx="1077">
                  <c:v>117.43521248329205</c:v>
                </c:pt>
                <c:pt idx="1078">
                  <c:v>117.70072009982422</c:v>
                </c:pt>
                <c:pt idx="1079">
                  <c:v>117.70005875852647</c:v>
                </c:pt>
                <c:pt idx="1080">
                  <c:v>117.70005875852647</c:v>
                </c:pt>
                <c:pt idx="1081">
                  <c:v>116.06431627240832</c:v>
                </c:pt>
                <c:pt idx="1082">
                  <c:v>116.27603575798744</c:v>
                </c:pt>
                <c:pt idx="1083">
                  <c:v>115.9254855372879</c:v>
                </c:pt>
                <c:pt idx="1084">
                  <c:v>115.9746773664784</c:v>
                </c:pt>
                <c:pt idx="1085">
                  <c:v>115.87466881723316</c:v>
                </c:pt>
                <c:pt idx="1086">
                  <c:v>115.27506762490685</c:v>
                </c:pt>
                <c:pt idx="1087">
                  <c:v>115.27506762490685</c:v>
                </c:pt>
                <c:pt idx="1088">
                  <c:v>117.6775680977585</c:v>
                </c:pt>
                <c:pt idx="1089">
                  <c:v>118.07303731464461</c:v>
                </c:pt>
                <c:pt idx="1090">
                  <c:v>117.28366171223222</c:v>
                </c:pt>
                <c:pt idx="1091">
                  <c:v>117.52632233875877</c:v>
                </c:pt>
                <c:pt idx="1092">
                  <c:v>118.33819927572137</c:v>
                </c:pt>
                <c:pt idx="1093">
                  <c:v>118.7200380151133</c:v>
                </c:pt>
                <c:pt idx="1094">
                  <c:v>118.65292343479445</c:v>
                </c:pt>
                <c:pt idx="1095">
                  <c:v>118.66246861846763</c:v>
                </c:pt>
                <c:pt idx="1096">
                  <c:v>119.03454224207358</c:v>
                </c:pt>
                <c:pt idx="1097">
                  <c:v>119.03454224207358</c:v>
                </c:pt>
                <c:pt idx="1098">
                  <c:v>118.73452306610122</c:v>
                </c:pt>
                <c:pt idx="1099">
                  <c:v>118.69915863841402</c:v>
                </c:pt>
                <c:pt idx="1100">
                  <c:v>117.79603845758545</c:v>
                </c:pt>
                <c:pt idx="1101">
                  <c:v>117.80581452282449</c:v>
                </c:pt>
                <c:pt idx="1102">
                  <c:v>117.73984228688342</c:v>
                </c:pt>
                <c:pt idx="1103">
                  <c:v>117.70805841328296</c:v>
                </c:pt>
                <c:pt idx="1104">
                  <c:v>117.70805841328296</c:v>
                </c:pt>
                <c:pt idx="1105">
                  <c:v>117.70805841328296</c:v>
                </c:pt>
                <c:pt idx="1106">
                  <c:v>117.70805841328296</c:v>
                </c:pt>
                <c:pt idx="1107">
                  <c:v>117.70805841328296</c:v>
                </c:pt>
                <c:pt idx="1108">
                  <c:v>117.70805841328296</c:v>
                </c:pt>
                <c:pt idx="1109">
                  <c:v>117.70805841328296</c:v>
                </c:pt>
                <c:pt idx="1110">
                  <c:v>117.70805841328296</c:v>
                </c:pt>
                <c:pt idx="1111">
                  <c:v>117.70805841328296</c:v>
                </c:pt>
                <c:pt idx="1112">
                  <c:v>117.70805841328296</c:v>
                </c:pt>
                <c:pt idx="1113">
                  <c:v>117.70805841328296</c:v>
                </c:pt>
                <c:pt idx="1114">
                  <c:v>117.70805841328296</c:v>
                </c:pt>
                <c:pt idx="1115">
                  <c:v>117.70805841328296</c:v>
                </c:pt>
                <c:pt idx="1116">
                  <c:v>117.70805841328296</c:v>
                </c:pt>
                <c:pt idx="1117">
                  <c:v>117.70805841328296</c:v>
                </c:pt>
                <c:pt idx="1118">
                  <c:v>117.70805841328296</c:v>
                </c:pt>
                <c:pt idx="1119">
                  <c:v>117.70805841328296</c:v>
                </c:pt>
                <c:pt idx="1120">
                  <c:v>117.70805841328296</c:v>
                </c:pt>
                <c:pt idx="1121">
                  <c:v>117.70805841328296</c:v>
                </c:pt>
                <c:pt idx="1122">
                  <c:v>117.70805841328296</c:v>
                </c:pt>
                <c:pt idx="1123">
                  <c:v>117.70805841328296</c:v>
                </c:pt>
                <c:pt idx="1124">
                  <c:v>117.67328074930261</c:v>
                </c:pt>
                <c:pt idx="1125">
                  <c:v>117.6415559624372</c:v>
                </c:pt>
                <c:pt idx="1126">
                  <c:v>117.61098178349889</c:v>
                </c:pt>
                <c:pt idx="1127">
                  <c:v>117.57933487034073</c:v>
                </c:pt>
                <c:pt idx="1128">
                  <c:v>117.54772751582402</c:v>
                </c:pt>
                <c:pt idx="1129">
                  <c:v>117.54772751582402</c:v>
                </c:pt>
                <c:pt idx="1130">
                  <c:v>117.54772751582402</c:v>
                </c:pt>
                <c:pt idx="1131">
                  <c:v>117.54772751582402</c:v>
                </c:pt>
                <c:pt idx="1132">
                  <c:v>117.54772751582402</c:v>
                </c:pt>
                <c:pt idx="1133">
                  <c:v>117.54772751582402</c:v>
                </c:pt>
                <c:pt idx="1134">
                  <c:v>117.54772751582402</c:v>
                </c:pt>
                <c:pt idx="1135">
                  <c:v>117.54772751582402</c:v>
                </c:pt>
                <c:pt idx="1136">
                  <c:v>117.54772751582402</c:v>
                </c:pt>
                <c:pt idx="1137">
                  <c:v>117.54772751582402</c:v>
                </c:pt>
                <c:pt idx="1138">
                  <c:v>117.54772751582402</c:v>
                </c:pt>
                <c:pt idx="1139">
                  <c:v>117.54772751582402</c:v>
                </c:pt>
                <c:pt idx="1140">
                  <c:v>117.54772751582402</c:v>
                </c:pt>
                <c:pt idx="1141">
                  <c:v>117.54772751582402</c:v>
                </c:pt>
                <c:pt idx="1142">
                  <c:v>117.54772751582402</c:v>
                </c:pt>
                <c:pt idx="1143">
                  <c:v>117.54772751582402</c:v>
                </c:pt>
                <c:pt idx="1144">
                  <c:v>117.54772751582402</c:v>
                </c:pt>
                <c:pt idx="1145">
                  <c:v>117.54772751582402</c:v>
                </c:pt>
                <c:pt idx="1146">
                  <c:v>117.54772751582402</c:v>
                </c:pt>
                <c:pt idx="1147">
                  <c:v>117.54772751582402</c:v>
                </c:pt>
                <c:pt idx="1148">
                  <c:v>117.54772751582402</c:v>
                </c:pt>
                <c:pt idx="1149">
                  <c:v>117.54772751582402</c:v>
                </c:pt>
                <c:pt idx="1150">
                  <c:v>117.54772751582402</c:v>
                </c:pt>
                <c:pt idx="1151">
                  <c:v>117.54772751582402</c:v>
                </c:pt>
                <c:pt idx="1152">
                  <c:v>117.54772751582402</c:v>
                </c:pt>
                <c:pt idx="1153">
                  <c:v>117.54772751582402</c:v>
                </c:pt>
                <c:pt idx="1154">
                  <c:v>117.54772751582402</c:v>
                </c:pt>
                <c:pt idx="1155">
                  <c:v>117.54772751582402</c:v>
                </c:pt>
                <c:pt idx="1156">
                  <c:v>117.54772751582402</c:v>
                </c:pt>
                <c:pt idx="1157">
                  <c:v>117.54772751582402</c:v>
                </c:pt>
                <c:pt idx="1158">
                  <c:v>117.54772751582402</c:v>
                </c:pt>
                <c:pt idx="1159">
                  <c:v>117.54772751582402</c:v>
                </c:pt>
                <c:pt idx="1160">
                  <c:v>117.54772751582402</c:v>
                </c:pt>
                <c:pt idx="1161">
                  <c:v>117.54772751582402</c:v>
                </c:pt>
                <c:pt idx="1162">
                  <c:v>117.54772751582402</c:v>
                </c:pt>
                <c:pt idx="1163">
                  <c:v>117.54772751582402</c:v>
                </c:pt>
                <c:pt idx="1164">
                  <c:v>117.7591693342309</c:v>
                </c:pt>
                <c:pt idx="1165">
                  <c:v>117.72733718663433</c:v>
                </c:pt>
                <c:pt idx="1166">
                  <c:v>118.39773715913549</c:v>
                </c:pt>
                <c:pt idx="1167">
                  <c:v>123.23777035861696</c:v>
                </c:pt>
                <c:pt idx="1168">
                  <c:v>123.23777035861696</c:v>
                </c:pt>
                <c:pt idx="1169">
                  <c:v>123.16499253590106</c:v>
                </c:pt>
                <c:pt idx="1170">
                  <c:v>123.16499253590109</c:v>
                </c:pt>
                <c:pt idx="1171">
                  <c:v>123.16499253590109</c:v>
                </c:pt>
                <c:pt idx="1172">
                  <c:v>123.16499253590109</c:v>
                </c:pt>
                <c:pt idx="1173">
                  <c:v>123.16499253590109</c:v>
                </c:pt>
                <c:pt idx="1174">
                  <c:v>123.16499253590109</c:v>
                </c:pt>
                <c:pt idx="1175">
                  <c:v>123.16499253590109</c:v>
                </c:pt>
                <c:pt idx="1176">
                  <c:v>123.16499253590109</c:v>
                </c:pt>
                <c:pt idx="1177">
                  <c:v>123.16499253590109</c:v>
                </c:pt>
                <c:pt idx="1178">
                  <c:v>123.16499253590109</c:v>
                </c:pt>
                <c:pt idx="1179">
                  <c:v>123.16499253590109</c:v>
                </c:pt>
                <c:pt idx="1180">
                  <c:v>123.16499253590109</c:v>
                </c:pt>
                <c:pt idx="1181">
                  <c:v>123.16499253590109</c:v>
                </c:pt>
                <c:pt idx="1182">
                  <c:v>123.16499253590109</c:v>
                </c:pt>
                <c:pt idx="1183">
                  <c:v>123.16499253590109</c:v>
                </c:pt>
                <c:pt idx="1184">
                  <c:v>123.16499253590109</c:v>
                </c:pt>
                <c:pt idx="1185">
                  <c:v>123.23246138087225</c:v>
                </c:pt>
                <c:pt idx="1186">
                  <c:v>123.20062442785073</c:v>
                </c:pt>
                <c:pt idx="1187">
                  <c:v>123.16882727102048</c:v>
                </c:pt>
                <c:pt idx="1188">
                  <c:v>123.16882727102048</c:v>
                </c:pt>
                <c:pt idx="1189">
                  <c:v>123.16882727102048</c:v>
                </c:pt>
                <c:pt idx="1190">
                  <c:v>123.16882727102048</c:v>
                </c:pt>
                <c:pt idx="1191">
                  <c:v>123.16882727102048</c:v>
                </c:pt>
                <c:pt idx="1192">
                  <c:v>123.16882727102048</c:v>
                </c:pt>
                <c:pt idx="1193">
                  <c:v>123.16882727102048</c:v>
                </c:pt>
                <c:pt idx="1194">
                  <c:v>123.16882727102048</c:v>
                </c:pt>
                <c:pt idx="1195">
                  <c:v>123.16882727102048</c:v>
                </c:pt>
                <c:pt idx="1196">
                  <c:v>123.16882727102048</c:v>
                </c:pt>
                <c:pt idx="1197">
                  <c:v>123.16882727102048</c:v>
                </c:pt>
                <c:pt idx="1198">
                  <c:v>123.16882727102048</c:v>
                </c:pt>
                <c:pt idx="1199">
                  <c:v>123.16882727102048</c:v>
                </c:pt>
                <c:pt idx="1200">
                  <c:v>123.16882727102048</c:v>
                </c:pt>
                <c:pt idx="1201">
                  <c:v>123.16882727102048</c:v>
                </c:pt>
                <c:pt idx="1202">
                  <c:v>123.16882727102048</c:v>
                </c:pt>
                <c:pt idx="1203">
                  <c:v>123.16882727102048</c:v>
                </c:pt>
                <c:pt idx="1204">
                  <c:v>123.16882727102048</c:v>
                </c:pt>
                <c:pt idx="1205">
                  <c:v>123.16882727102048</c:v>
                </c:pt>
                <c:pt idx="1206">
                  <c:v>123.16882727102048</c:v>
                </c:pt>
                <c:pt idx="1207">
                  <c:v>122.76898741672971</c:v>
                </c:pt>
                <c:pt idx="1208">
                  <c:v>122.73772980616337</c:v>
                </c:pt>
                <c:pt idx="1209">
                  <c:v>122.70651126761022</c:v>
                </c:pt>
                <c:pt idx="1210">
                  <c:v>122.70651126761022</c:v>
                </c:pt>
                <c:pt idx="1211">
                  <c:v>122.70651126761022</c:v>
                </c:pt>
                <c:pt idx="1212">
                  <c:v>122.70651126761022</c:v>
                </c:pt>
                <c:pt idx="1213">
                  <c:v>122.70651126761022</c:v>
                </c:pt>
                <c:pt idx="1214">
                  <c:v>122.70651126761022</c:v>
                </c:pt>
                <c:pt idx="1215">
                  <c:v>122.70651126761022</c:v>
                </c:pt>
                <c:pt idx="1216">
                  <c:v>122.70651126761022</c:v>
                </c:pt>
                <c:pt idx="1217">
                  <c:v>122.70651126761022</c:v>
                </c:pt>
                <c:pt idx="1218">
                  <c:v>122.70651126761022</c:v>
                </c:pt>
                <c:pt idx="1219">
                  <c:v>122.70651126761022</c:v>
                </c:pt>
                <c:pt idx="1220">
                  <c:v>122.70651126761022</c:v>
                </c:pt>
                <c:pt idx="1221">
                  <c:v>122.70651126761022</c:v>
                </c:pt>
                <c:pt idx="1222">
                  <c:v>122.70651126761022</c:v>
                </c:pt>
                <c:pt idx="1223">
                  <c:v>122.70651126761022</c:v>
                </c:pt>
                <c:pt idx="1224">
                  <c:v>122.70651126761022</c:v>
                </c:pt>
                <c:pt idx="1225">
                  <c:v>122.70651126761022</c:v>
                </c:pt>
                <c:pt idx="1226">
                  <c:v>124.02331850955838</c:v>
                </c:pt>
                <c:pt idx="1227">
                  <c:v>121.49670533156375</c:v>
                </c:pt>
                <c:pt idx="1228">
                  <c:v>121.46063474906872</c:v>
                </c:pt>
                <c:pt idx="1229">
                  <c:v>121.38950524427942</c:v>
                </c:pt>
                <c:pt idx="1230">
                  <c:v>120.83949043385732</c:v>
                </c:pt>
                <c:pt idx="1231">
                  <c:v>121.17366410535236</c:v>
                </c:pt>
                <c:pt idx="1232">
                  <c:v>121.13807639592802</c:v>
                </c:pt>
                <c:pt idx="1233">
                  <c:v>121.1028933138677</c:v>
                </c:pt>
                <c:pt idx="1234">
                  <c:v>121.1028933138677</c:v>
                </c:pt>
                <c:pt idx="1235">
                  <c:v>121.1028933138677</c:v>
                </c:pt>
                <c:pt idx="1236">
                  <c:v>121.1028933138677</c:v>
                </c:pt>
                <c:pt idx="1237">
                  <c:v>121.1028933138677</c:v>
                </c:pt>
                <c:pt idx="1238">
                  <c:v>121.1028933138677</c:v>
                </c:pt>
                <c:pt idx="1239">
                  <c:v>121.1028933138677</c:v>
                </c:pt>
                <c:pt idx="1240">
                  <c:v>121.1028933138677</c:v>
                </c:pt>
                <c:pt idx="1241">
                  <c:v>121.1028933138677</c:v>
                </c:pt>
                <c:pt idx="1242">
                  <c:v>121.1028933138677</c:v>
                </c:pt>
                <c:pt idx="1243">
                  <c:v>120.66939625065203</c:v>
                </c:pt>
                <c:pt idx="1244">
                  <c:v>120.22164733457851</c:v>
                </c:pt>
                <c:pt idx="1245">
                  <c:v>119.5625227149086</c:v>
                </c:pt>
                <c:pt idx="1246">
                  <c:v>121.06680810860959</c:v>
                </c:pt>
                <c:pt idx="1247">
                  <c:v>120.09523272326123</c:v>
                </c:pt>
                <c:pt idx="1248">
                  <c:v>119.18131211061144</c:v>
                </c:pt>
                <c:pt idx="1249">
                  <c:v>119.14582412646403</c:v>
                </c:pt>
                <c:pt idx="1250">
                  <c:v>118.70951479177367</c:v>
                </c:pt>
                <c:pt idx="1251">
                  <c:v>118.67457479079367</c:v>
                </c:pt>
                <c:pt idx="1252">
                  <c:v>118.63967846481491</c:v>
                </c:pt>
                <c:pt idx="1253">
                  <c:v>118.63967846481491</c:v>
                </c:pt>
                <c:pt idx="1254">
                  <c:v>118.63967846481491</c:v>
                </c:pt>
                <c:pt idx="1255">
                  <c:v>118.63967846481491</c:v>
                </c:pt>
                <c:pt idx="1256">
                  <c:v>118.63967846481491</c:v>
                </c:pt>
                <c:pt idx="1257">
                  <c:v>118.63967846481491</c:v>
                </c:pt>
                <c:pt idx="1258">
                  <c:v>118.63967846481491</c:v>
                </c:pt>
                <c:pt idx="1259">
                  <c:v>118.63967846481491</c:v>
                </c:pt>
                <c:pt idx="1260">
                  <c:v>118.63967846481491</c:v>
                </c:pt>
                <c:pt idx="1261">
                  <c:v>118.63967846481491</c:v>
                </c:pt>
                <c:pt idx="1262">
                  <c:v>118.63967846481491</c:v>
                </c:pt>
                <c:pt idx="1263">
                  <c:v>118.63967846481491</c:v>
                </c:pt>
                <c:pt idx="1264">
                  <c:v>118.63967846481491</c:v>
                </c:pt>
                <c:pt idx="1265">
                  <c:v>118.63967846481491</c:v>
                </c:pt>
                <c:pt idx="1266">
                  <c:v>118.63967846481491</c:v>
                </c:pt>
                <c:pt idx="1267">
                  <c:v>118.63967846481491</c:v>
                </c:pt>
                <c:pt idx="1268">
                  <c:v>118.63967846481491</c:v>
                </c:pt>
                <c:pt idx="1269">
                  <c:v>118.63967846481491</c:v>
                </c:pt>
                <c:pt idx="1270">
                  <c:v>118.63967846481491</c:v>
                </c:pt>
                <c:pt idx="1271">
                  <c:v>118.63967846481491</c:v>
                </c:pt>
                <c:pt idx="1272">
                  <c:v>118.63967846481491</c:v>
                </c:pt>
                <c:pt idx="1273">
                  <c:v>118.63967846481491</c:v>
                </c:pt>
                <c:pt idx="1274">
                  <c:v>118.80880787564627</c:v>
                </c:pt>
                <c:pt idx="1275">
                  <c:v>119.7270464373898</c:v>
                </c:pt>
                <c:pt idx="1276">
                  <c:v>119.7270464373898</c:v>
                </c:pt>
                <c:pt idx="1277">
                  <c:v>119.69512612961196</c:v>
                </c:pt>
                <c:pt idx="1278">
                  <c:v>119.69512612961196</c:v>
                </c:pt>
                <c:pt idx="1279">
                  <c:v>119.69512612961196</c:v>
                </c:pt>
                <c:pt idx="1280">
                  <c:v>119.69512612961196</c:v>
                </c:pt>
                <c:pt idx="1281">
                  <c:v>119.69512612961196</c:v>
                </c:pt>
                <c:pt idx="1282">
                  <c:v>119.69512612961196</c:v>
                </c:pt>
                <c:pt idx="1283">
                  <c:v>119.69512612961196</c:v>
                </c:pt>
                <c:pt idx="1284">
                  <c:v>119.69512612961196</c:v>
                </c:pt>
                <c:pt idx="1285">
                  <c:v>119.69512612961196</c:v>
                </c:pt>
                <c:pt idx="1286">
                  <c:v>119.69512612961196</c:v>
                </c:pt>
                <c:pt idx="1287">
                  <c:v>119.69512612961196</c:v>
                </c:pt>
                <c:pt idx="1288">
                  <c:v>119.69512612961196</c:v>
                </c:pt>
                <c:pt idx="1289">
                  <c:v>119.69512612961196</c:v>
                </c:pt>
                <c:pt idx="1290">
                  <c:v>119.69512612961196</c:v>
                </c:pt>
                <c:pt idx="1291">
                  <c:v>119.69512612961196</c:v>
                </c:pt>
                <c:pt idx="1292">
                  <c:v>119.69512612961196</c:v>
                </c:pt>
                <c:pt idx="1293">
                  <c:v>119.69512612961196</c:v>
                </c:pt>
                <c:pt idx="1294">
                  <c:v>119.69512612961196</c:v>
                </c:pt>
                <c:pt idx="1295">
                  <c:v>119.72301261912955</c:v>
                </c:pt>
                <c:pt idx="1296">
                  <c:v>119.3476458935813</c:v>
                </c:pt>
                <c:pt idx="1297">
                  <c:v>120.54935939739016</c:v>
                </c:pt>
                <c:pt idx="1298">
                  <c:v>120.4481894714105</c:v>
                </c:pt>
                <c:pt idx="1299">
                  <c:v>120.21488256949286</c:v>
                </c:pt>
                <c:pt idx="1300">
                  <c:v>120.94023895853394</c:v>
                </c:pt>
                <c:pt idx="1301">
                  <c:v>120.90485664417275</c:v>
                </c:pt>
                <c:pt idx="1302">
                  <c:v>120.86998718262956</c:v>
                </c:pt>
                <c:pt idx="1303">
                  <c:v>120.86998718262956</c:v>
                </c:pt>
                <c:pt idx="1304">
                  <c:v>120.86998718262956</c:v>
                </c:pt>
                <c:pt idx="1305">
                  <c:v>120.86998718262956</c:v>
                </c:pt>
                <c:pt idx="1306">
                  <c:v>120.70625661663206</c:v>
                </c:pt>
                <c:pt idx="1307">
                  <c:v>120.6716354051233</c:v>
                </c:pt>
                <c:pt idx="1308">
                  <c:v>120.57392709999641</c:v>
                </c:pt>
                <c:pt idx="1309">
                  <c:v>120.53947130038344</c:v>
                </c:pt>
                <c:pt idx="1310">
                  <c:v>120.50505857051998</c:v>
                </c:pt>
                <c:pt idx="1311">
                  <c:v>120.56327155173898</c:v>
                </c:pt>
                <c:pt idx="1312">
                  <c:v>120.46208423556637</c:v>
                </c:pt>
                <c:pt idx="1313">
                  <c:v>120.36102340353898</c:v>
                </c:pt>
                <c:pt idx="1314">
                  <c:v>120.36102340353898</c:v>
                </c:pt>
                <c:pt idx="1315">
                  <c:v>120.36102340353898</c:v>
                </c:pt>
                <c:pt idx="1316">
                  <c:v>120.36102340353898</c:v>
                </c:pt>
                <c:pt idx="1317">
                  <c:v>120.36102340353898</c:v>
                </c:pt>
                <c:pt idx="1318">
                  <c:v>120.36102340353898</c:v>
                </c:pt>
                <c:pt idx="1319">
                  <c:v>120.36102340353898</c:v>
                </c:pt>
                <c:pt idx="1320">
                  <c:v>119.74092598344617</c:v>
                </c:pt>
                <c:pt idx="1321">
                  <c:v>119.67604176291819</c:v>
                </c:pt>
                <c:pt idx="1322">
                  <c:v>119.6112386476659</c:v>
                </c:pt>
                <c:pt idx="1323">
                  <c:v>119.6112386476659</c:v>
                </c:pt>
                <c:pt idx="1324">
                  <c:v>119.6112386476659</c:v>
                </c:pt>
                <c:pt idx="1325">
                  <c:v>120.10871152310504</c:v>
                </c:pt>
                <c:pt idx="1326">
                  <c:v>120.73933187819532</c:v>
                </c:pt>
                <c:pt idx="1327">
                  <c:v>120.67319965029893</c:v>
                </c:pt>
                <c:pt idx="1328">
                  <c:v>120.63859648575794</c:v>
                </c:pt>
                <c:pt idx="1329">
                  <c:v>121.3655255724418</c:v>
                </c:pt>
                <c:pt idx="1330">
                  <c:v>121.2986106024276</c:v>
                </c:pt>
                <c:pt idx="1331">
                  <c:v>121.23177927612592</c:v>
                </c:pt>
                <c:pt idx="1332">
                  <c:v>121.23177927612592</c:v>
                </c:pt>
                <c:pt idx="1333">
                  <c:v>121.23177927612592</c:v>
                </c:pt>
                <c:pt idx="1334">
                  <c:v>121.23177927612592</c:v>
                </c:pt>
                <c:pt idx="1335">
                  <c:v>121.23177927612592</c:v>
                </c:pt>
                <c:pt idx="1336">
                  <c:v>121.23177927612592</c:v>
                </c:pt>
                <c:pt idx="1337">
                  <c:v>121.23177927612592</c:v>
                </c:pt>
                <c:pt idx="1338">
                  <c:v>121.23177927612592</c:v>
                </c:pt>
                <c:pt idx="1339">
                  <c:v>121.23177927612592</c:v>
                </c:pt>
                <c:pt idx="1340">
                  <c:v>121.23177927612592</c:v>
                </c:pt>
                <c:pt idx="1341">
                  <c:v>121.23177927612592</c:v>
                </c:pt>
                <c:pt idx="1342">
                  <c:v>121.23177927612592</c:v>
                </c:pt>
                <c:pt idx="1343">
                  <c:v>121.23177927612592</c:v>
                </c:pt>
                <c:pt idx="1344">
                  <c:v>121.23177927612592</c:v>
                </c:pt>
                <c:pt idx="1345">
                  <c:v>121.23177927612592</c:v>
                </c:pt>
                <c:pt idx="1346">
                  <c:v>121.23177927612592</c:v>
                </c:pt>
                <c:pt idx="1347">
                  <c:v>121.23177927612592</c:v>
                </c:pt>
                <c:pt idx="1348">
                  <c:v>121.23177927612592</c:v>
                </c:pt>
                <c:pt idx="1349">
                  <c:v>121.23177927612592</c:v>
                </c:pt>
                <c:pt idx="1350">
                  <c:v>121.23177927612592</c:v>
                </c:pt>
                <c:pt idx="1351">
                  <c:v>121.23177927612592</c:v>
                </c:pt>
                <c:pt idx="1352">
                  <c:v>121.23177927612592</c:v>
                </c:pt>
                <c:pt idx="1353">
                  <c:v>121.23177927612592</c:v>
                </c:pt>
                <c:pt idx="1354">
                  <c:v>121.23177927612592</c:v>
                </c:pt>
                <c:pt idx="1355">
                  <c:v>121.23177927612592</c:v>
                </c:pt>
                <c:pt idx="1356">
                  <c:v>121.23177927612592</c:v>
                </c:pt>
                <c:pt idx="1357">
                  <c:v>121.23177927612592</c:v>
                </c:pt>
                <c:pt idx="1358">
                  <c:v>121.23177927612592</c:v>
                </c:pt>
                <c:pt idx="1359">
                  <c:v>121.23177927612592</c:v>
                </c:pt>
                <c:pt idx="1360">
                  <c:v>121.23177927612592</c:v>
                </c:pt>
                <c:pt idx="1361">
                  <c:v>121.23177927612592</c:v>
                </c:pt>
                <c:pt idx="1362">
                  <c:v>121.23177927612592</c:v>
                </c:pt>
                <c:pt idx="1363">
                  <c:v>121.23177927612592</c:v>
                </c:pt>
                <c:pt idx="1364">
                  <c:v>121.23177927612592</c:v>
                </c:pt>
                <c:pt idx="1365">
                  <c:v>121.23177927612592</c:v>
                </c:pt>
                <c:pt idx="1366">
                  <c:v>121.23177927612592</c:v>
                </c:pt>
                <c:pt idx="1367">
                  <c:v>121.23177927612592</c:v>
                </c:pt>
                <c:pt idx="1368">
                  <c:v>121.11119476294203</c:v>
                </c:pt>
                <c:pt idx="1369">
                  <c:v>122.03275443392201</c:v>
                </c:pt>
                <c:pt idx="1370">
                  <c:v>122.03275443392201</c:v>
                </c:pt>
                <c:pt idx="1371">
                  <c:v>121.99995356540194</c:v>
                </c:pt>
                <c:pt idx="1372">
                  <c:v>121.99995356540194</c:v>
                </c:pt>
                <c:pt idx="1373">
                  <c:v>121.99995356540194</c:v>
                </c:pt>
                <c:pt idx="1374">
                  <c:v>121.99995356540194</c:v>
                </c:pt>
                <c:pt idx="1375">
                  <c:v>121.99995356540194</c:v>
                </c:pt>
                <c:pt idx="1376">
                  <c:v>121.99995356540194</c:v>
                </c:pt>
                <c:pt idx="1377">
                  <c:v>121.99995356540194</c:v>
                </c:pt>
                <c:pt idx="1378">
                  <c:v>121.99995356540194</c:v>
                </c:pt>
                <c:pt idx="1379">
                  <c:v>121.99995356540194</c:v>
                </c:pt>
                <c:pt idx="1380">
                  <c:v>121.99995356540194</c:v>
                </c:pt>
                <c:pt idx="1381">
                  <c:v>121.99995356540194</c:v>
                </c:pt>
                <c:pt idx="1382">
                  <c:v>121.99995356540194</c:v>
                </c:pt>
                <c:pt idx="1383">
                  <c:v>121.99995356540194</c:v>
                </c:pt>
                <c:pt idx="1384">
                  <c:v>121.99995356540194</c:v>
                </c:pt>
                <c:pt idx="1385">
                  <c:v>121.99995356540194</c:v>
                </c:pt>
                <c:pt idx="1386">
                  <c:v>121.99995356540194</c:v>
                </c:pt>
                <c:pt idx="1387">
                  <c:v>121.99995356540194</c:v>
                </c:pt>
                <c:pt idx="1388">
                  <c:v>121.99995356540194</c:v>
                </c:pt>
                <c:pt idx="1389">
                  <c:v>121.99995356540194</c:v>
                </c:pt>
                <c:pt idx="1390">
                  <c:v>122.07256734896191</c:v>
                </c:pt>
                <c:pt idx="1391">
                  <c:v>122.30186989637872</c:v>
                </c:pt>
                <c:pt idx="1392">
                  <c:v>122.30186989637872</c:v>
                </c:pt>
                <c:pt idx="1393">
                  <c:v>122.53993877946978</c:v>
                </c:pt>
                <c:pt idx="1394">
                  <c:v>122.50432460810308</c:v>
                </c:pt>
                <c:pt idx="1395">
                  <c:v>122.89345228178026</c:v>
                </c:pt>
                <c:pt idx="1396">
                  <c:v>122.85739621853567</c:v>
                </c:pt>
                <c:pt idx="1397">
                  <c:v>122.82138522537014</c:v>
                </c:pt>
                <c:pt idx="1398">
                  <c:v>125.62656611348449</c:v>
                </c:pt>
                <c:pt idx="1399">
                  <c:v>125.58709365795028</c:v>
                </c:pt>
                <c:pt idx="1400">
                  <c:v>126.07485566455065</c:v>
                </c:pt>
                <c:pt idx="1401">
                  <c:v>125.91363891626105</c:v>
                </c:pt>
                <c:pt idx="1402">
                  <c:v>125.85016200862796</c:v>
                </c:pt>
                <c:pt idx="1403">
                  <c:v>125.77731421695523</c:v>
                </c:pt>
                <c:pt idx="1404">
                  <c:v>125.74367401868719</c:v>
                </c:pt>
                <c:pt idx="1405">
                  <c:v>125.74367401868719</c:v>
                </c:pt>
                <c:pt idx="1406">
                  <c:v>125.74367401868719</c:v>
                </c:pt>
                <c:pt idx="1407">
                  <c:v>125.74367401868719</c:v>
                </c:pt>
                <c:pt idx="1408">
                  <c:v>125.74367401868719</c:v>
                </c:pt>
                <c:pt idx="1409">
                  <c:v>125.74367401868719</c:v>
                </c:pt>
                <c:pt idx="1410">
                  <c:v>125.74367401868719</c:v>
                </c:pt>
                <c:pt idx="1411">
                  <c:v>125.74367401868719</c:v>
                </c:pt>
                <c:pt idx="1412">
                  <c:v>125.74367401868719</c:v>
                </c:pt>
                <c:pt idx="1413">
                  <c:v>125.74367401868719</c:v>
                </c:pt>
                <c:pt idx="1414">
                  <c:v>125.74367401868719</c:v>
                </c:pt>
                <c:pt idx="1415">
                  <c:v>125.74367401868719</c:v>
                </c:pt>
                <c:pt idx="1416">
                  <c:v>125.74367401868719</c:v>
                </c:pt>
                <c:pt idx="1417">
                  <c:v>125.74367401868719</c:v>
                </c:pt>
                <c:pt idx="1418">
                  <c:v>125.74367401868719</c:v>
                </c:pt>
                <c:pt idx="1419">
                  <c:v>125.74367401868719</c:v>
                </c:pt>
                <c:pt idx="1420">
                  <c:v>125.74367401868719</c:v>
                </c:pt>
                <c:pt idx="1421">
                  <c:v>125.74367401868719</c:v>
                </c:pt>
                <c:pt idx="1422">
                  <c:v>125.74367401868719</c:v>
                </c:pt>
                <c:pt idx="1423">
                  <c:v>125.74367401868719</c:v>
                </c:pt>
                <c:pt idx="1424">
                  <c:v>125.74367401868719</c:v>
                </c:pt>
                <c:pt idx="1425">
                  <c:v>125.11481166234327</c:v>
                </c:pt>
                <c:pt idx="1426">
                  <c:v>125.08199959226847</c:v>
                </c:pt>
                <c:pt idx="1427">
                  <c:v>125.04922853728128</c:v>
                </c:pt>
                <c:pt idx="1428">
                  <c:v>125.04922853728128</c:v>
                </c:pt>
                <c:pt idx="1429">
                  <c:v>125.04922853728128</c:v>
                </c:pt>
                <c:pt idx="1430">
                  <c:v>125.04922853728128</c:v>
                </c:pt>
                <c:pt idx="1431">
                  <c:v>125.04922853728128</c:v>
                </c:pt>
                <c:pt idx="1432">
                  <c:v>125.04922853728128</c:v>
                </c:pt>
                <c:pt idx="1433">
                  <c:v>125.04922853728128</c:v>
                </c:pt>
                <c:pt idx="1434">
                  <c:v>125.04922853728128</c:v>
                </c:pt>
                <c:pt idx="1435">
                  <c:v>125.04922853728128</c:v>
                </c:pt>
                <c:pt idx="1436">
                  <c:v>125.04922853728128</c:v>
                </c:pt>
                <c:pt idx="1437">
                  <c:v>125.04922853728128</c:v>
                </c:pt>
                <c:pt idx="1438">
                  <c:v>125.04922853728128</c:v>
                </c:pt>
                <c:pt idx="1439">
                  <c:v>125.04922853728128</c:v>
                </c:pt>
                <c:pt idx="1440">
                  <c:v>125.04922853728128</c:v>
                </c:pt>
                <c:pt idx="1441">
                  <c:v>125.04922853728128</c:v>
                </c:pt>
                <c:pt idx="1442">
                  <c:v>125.04922853728128</c:v>
                </c:pt>
                <c:pt idx="1443">
                  <c:v>124.47313453421593</c:v>
                </c:pt>
                <c:pt idx="1444">
                  <c:v>124.24614612039171</c:v>
                </c:pt>
                <c:pt idx="1445">
                  <c:v>123.63855217667886</c:v>
                </c:pt>
                <c:pt idx="1446">
                  <c:v>124.3499710903144</c:v>
                </c:pt>
                <c:pt idx="1447">
                  <c:v>123.45753433212937</c:v>
                </c:pt>
                <c:pt idx="1448">
                  <c:v>123.84420188434578</c:v>
                </c:pt>
                <c:pt idx="1449">
                  <c:v>123.67682144077152</c:v>
                </c:pt>
                <c:pt idx="1450">
                  <c:v>123.03797152615132</c:v>
                </c:pt>
                <c:pt idx="1451">
                  <c:v>122.61828526309067</c:v>
                </c:pt>
                <c:pt idx="1452">
                  <c:v>121.9140898611457</c:v>
                </c:pt>
                <c:pt idx="1453">
                  <c:v>121.9140898611457</c:v>
                </c:pt>
                <c:pt idx="1454">
                  <c:v>121.6948911061742</c:v>
                </c:pt>
                <c:pt idx="1455">
                  <c:v>120.52939201218216</c:v>
                </c:pt>
                <c:pt idx="1456">
                  <c:v>120.43414765424872</c:v>
                </c:pt>
                <c:pt idx="1457">
                  <c:v>119.69108440595282</c:v>
                </c:pt>
                <c:pt idx="1458">
                  <c:v>120.71091355237562</c:v>
                </c:pt>
                <c:pt idx="1459">
                  <c:v>121.08001304923832</c:v>
                </c:pt>
                <c:pt idx="1460">
                  <c:v>119.1293866456345</c:v>
                </c:pt>
                <c:pt idx="1461">
                  <c:v>118.37379731527206</c:v>
                </c:pt>
                <c:pt idx="1462">
                  <c:v>118.37379731527206</c:v>
                </c:pt>
                <c:pt idx="1463">
                  <c:v>118.32866712116954</c:v>
                </c:pt>
                <c:pt idx="1464">
                  <c:v>118.32866712116954</c:v>
                </c:pt>
                <c:pt idx="1465">
                  <c:v>118.32866712116954</c:v>
                </c:pt>
                <c:pt idx="1466">
                  <c:v>119.82767334313955</c:v>
                </c:pt>
                <c:pt idx="1467">
                  <c:v>120.73303192623089</c:v>
                </c:pt>
                <c:pt idx="1468">
                  <c:v>123.54554774627421</c:v>
                </c:pt>
                <c:pt idx="1469">
                  <c:v>122.4324089664109</c:v>
                </c:pt>
                <c:pt idx="1470">
                  <c:v>120.98408427000658</c:v>
                </c:pt>
                <c:pt idx="1471">
                  <c:v>123.99008093234445</c:v>
                </c:pt>
                <c:pt idx="1472">
                  <c:v>124.45818136931003</c:v>
                </c:pt>
                <c:pt idx="1473">
                  <c:v>124.41773026161788</c:v>
                </c:pt>
                <c:pt idx="1474">
                  <c:v>125.02621513267557</c:v>
                </c:pt>
                <c:pt idx="1475">
                  <c:v>125.40323844468814</c:v>
                </c:pt>
                <c:pt idx="1476">
                  <c:v>125.37017002018675</c:v>
                </c:pt>
                <c:pt idx="1477">
                  <c:v>125.88877741686946</c:v>
                </c:pt>
                <c:pt idx="1478">
                  <c:v>125.10800489387091</c:v>
                </c:pt>
                <c:pt idx="1479">
                  <c:v>125.1631859758802</c:v>
                </c:pt>
                <c:pt idx="1480">
                  <c:v>124.13867601518035</c:v>
                </c:pt>
                <c:pt idx="1481">
                  <c:v>124.13867601518035</c:v>
                </c:pt>
                <c:pt idx="1482">
                  <c:v>123.73660533808228</c:v>
                </c:pt>
                <c:pt idx="1483">
                  <c:v>123.69232515546446</c:v>
                </c:pt>
                <c:pt idx="1484">
                  <c:v>122.50932408964599</c:v>
                </c:pt>
                <c:pt idx="1485">
                  <c:v>123.49988335411794</c:v>
                </c:pt>
                <c:pt idx="1486">
                  <c:v>123.42186015876527</c:v>
                </c:pt>
                <c:pt idx="1487">
                  <c:v>123.37646844967912</c:v>
                </c:pt>
                <c:pt idx="1488">
                  <c:v>123.37646844967912</c:v>
                </c:pt>
                <c:pt idx="1489">
                  <c:v>123.37646844967912</c:v>
                </c:pt>
                <c:pt idx="1490">
                  <c:v>123.37646844967912</c:v>
                </c:pt>
                <c:pt idx="1491">
                  <c:v>123.37646844967912</c:v>
                </c:pt>
                <c:pt idx="1492">
                  <c:v>123.37646844967912</c:v>
                </c:pt>
                <c:pt idx="1493">
                  <c:v>123.37646844967912</c:v>
                </c:pt>
                <c:pt idx="1494">
                  <c:v>123.37646844967912</c:v>
                </c:pt>
                <c:pt idx="1495">
                  <c:v>123.37646844967912</c:v>
                </c:pt>
                <c:pt idx="1496">
                  <c:v>123.37646844967912</c:v>
                </c:pt>
                <c:pt idx="1497">
                  <c:v>123.37646844967912</c:v>
                </c:pt>
                <c:pt idx="1498">
                  <c:v>123.37646844967912</c:v>
                </c:pt>
                <c:pt idx="1499">
                  <c:v>123.37646844967912</c:v>
                </c:pt>
                <c:pt idx="1500">
                  <c:v>123.37646844967912</c:v>
                </c:pt>
                <c:pt idx="1501">
                  <c:v>123.37646844967912</c:v>
                </c:pt>
                <c:pt idx="1502">
                  <c:v>123.37646844967912</c:v>
                </c:pt>
                <c:pt idx="1503">
                  <c:v>123.37646844967912</c:v>
                </c:pt>
                <c:pt idx="1504">
                  <c:v>123.37646844967912</c:v>
                </c:pt>
                <c:pt idx="1505">
                  <c:v>123.37646844967912</c:v>
                </c:pt>
                <c:pt idx="1506">
                  <c:v>122.77493829646461</c:v>
                </c:pt>
                <c:pt idx="1507">
                  <c:v>121.09203370631965</c:v>
                </c:pt>
                <c:pt idx="1508">
                  <c:v>122.17542177965861</c:v>
                </c:pt>
                <c:pt idx="1509">
                  <c:v>129.39805956442461</c:v>
                </c:pt>
                <c:pt idx="1510">
                  <c:v>127.20198297790105</c:v>
                </c:pt>
                <c:pt idx="1511">
                  <c:v>126.85437293473099</c:v>
                </c:pt>
                <c:pt idx="1512">
                  <c:v>128.28356074977327</c:v>
                </c:pt>
                <c:pt idx="1513">
                  <c:v>128.15340697572256</c:v>
                </c:pt>
                <c:pt idx="1514">
                  <c:v>127.81818573994414</c:v>
                </c:pt>
                <c:pt idx="1515">
                  <c:v>127.30144520477492</c:v>
                </c:pt>
                <c:pt idx="1516">
                  <c:v>127.30144520477492</c:v>
                </c:pt>
                <c:pt idx="1517">
                  <c:v>125.92887422398158</c:v>
                </c:pt>
                <c:pt idx="1518">
                  <c:v>125.64325331430871</c:v>
                </c:pt>
                <c:pt idx="1519">
                  <c:v>125.53153421711559</c:v>
                </c:pt>
                <c:pt idx="1520">
                  <c:v>125.50268349593061</c:v>
                </c:pt>
                <c:pt idx="1521">
                  <c:v>125.5026834959306</c:v>
                </c:pt>
                <c:pt idx="1522">
                  <c:v>125.5026834959306</c:v>
                </c:pt>
                <c:pt idx="1523">
                  <c:v>125.5026834959306</c:v>
                </c:pt>
                <c:pt idx="1524">
                  <c:v>125.5026834959306</c:v>
                </c:pt>
                <c:pt idx="1525">
                  <c:v>125.5026834959306</c:v>
                </c:pt>
                <c:pt idx="1526">
                  <c:v>125.48357985649503</c:v>
                </c:pt>
                <c:pt idx="1527">
                  <c:v>125.00870753575126</c:v>
                </c:pt>
                <c:pt idx="1528">
                  <c:v>123.9259449513693</c:v>
                </c:pt>
                <c:pt idx="1529">
                  <c:v>123.9259449513693</c:v>
                </c:pt>
                <c:pt idx="1530">
                  <c:v>121.89842005769773</c:v>
                </c:pt>
                <c:pt idx="1531">
                  <c:v>121.3380183231676</c:v>
                </c:pt>
                <c:pt idx="1532">
                  <c:v>121.29432553173109</c:v>
                </c:pt>
                <c:pt idx="1533">
                  <c:v>121.26049542749692</c:v>
                </c:pt>
                <c:pt idx="1534">
                  <c:v>121.26049542749692</c:v>
                </c:pt>
                <c:pt idx="1535">
                  <c:v>121.26049542749692</c:v>
                </c:pt>
                <c:pt idx="1536">
                  <c:v>126.33449782927977</c:v>
                </c:pt>
                <c:pt idx="1537">
                  <c:v>126.28282035682776</c:v>
                </c:pt>
                <c:pt idx="1538">
                  <c:v>126.2312074812163</c:v>
                </c:pt>
                <c:pt idx="1539">
                  <c:v>126.2312074812163</c:v>
                </c:pt>
                <c:pt idx="1540">
                  <c:v>126.2312074812163</c:v>
                </c:pt>
                <c:pt idx="1541">
                  <c:v>126.2312074812163</c:v>
                </c:pt>
                <c:pt idx="1542">
                  <c:v>126.2312074812163</c:v>
                </c:pt>
                <c:pt idx="1543">
                  <c:v>126.2312074812163</c:v>
                </c:pt>
                <c:pt idx="1544">
                  <c:v>126.2312074812163</c:v>
                </c:pt>
                <c:pt idx="1545">
                  <c:v>126.49340002337726</c:v>
                </c:pt>
                <c:pt idx="1546">
                  <c:v>127.65317583552252</c:v>
                </c:pt>
                <c:pt idx="1547">
                  <c:v>127.65317583552252</c:v>
                </c:pt>
                <c:pt idx="1548">
                  <c:v>127.59985001556271</c:v>
                </c:pt>
                <c:pt idx="1549">
                  <c:v>127.59985001556271</c:v>
                </c:pt>
                <c:pt idx="1550">
                  <c:v>127.59985001556271</c:v>
                </c:pt>
                <c:pt idx="1551">
                  <c:v>127.59985001556271</c:v>
                </c:pt>
                <c:pt idx="1552">
                  <c:v>127.59985001556271</c:v>
                </c:pt>
                <c:pt idx="1553">
                  <c:v>127.59985001556271</c:v>
                </c:pt>
                <c:pt idx="1554">
                  <c:v>127.59985001556271</c:v>
                </c:pt>
                <c:pt idx="1555">
                  <c:v>126.97103267348461</c:v>
                </c:pt>
                <c:pt idx="1556">
                  <c:v>126.93803087855835</c:v>
                </c:pt>
                <c:pt idx="1557">
                  <c:v>126.90507033587576</c:v>
                </c:pt>
                <c:pt idx="1558">
                  <c:v>126.90507033587576</c:v>
                </c:pt>
                <c:pt idx="1559">
                  <c:v>125.26044467353944</c:v>
                </c:pt>
                <c:pt idx="1560">
                  <c:v>125.22958111361311</c:v>
                </c:pt>
                <c:pt idx="1561">
                  <c:v>124.46175452582901</c:v>
                </c:pt>
                <c:pt idx="1562">
                  <c:v>124.38825115314009</c:v>
                </c:pt>
                <c:pt idx="1563">
                  <c:v>124.31483965966706</c:v>
                </c:pt>
                <c:pt idx="1564">
                  <c:v>124.31483965966706</c:v>
                </c:pt>
                <c:pt idx="1565">
                  <c:v>124.31483965966706</c:v>
                </c:pt>
                <c:pt idx="1566">
                  <c:v>124.31483965966706</c:v>
                </c:pt>
                <c:pt idx="1567">
                  <c:v>124.31483965966706</c:v>
                </c:pt>
                <c:pt idx="1568">
                  <c:v>124.31483965966706</c:v>
                </c:pt>
                <c:pt idx="1569">
                  <c:v>124.31483965966706</c:v>
                </c:pt>
                <c:pt idx="1570">
                  <c:v>124.31483965966706</c:v>
                </c:pt>
                <c:pt idx="1571">
                  <c:v>124.31483965966706</c:v>
                </c:pt>
                <c:pt idx="1572">
                  <c:v>124.31483965966706</c:v>
                </c:pt>
                <c:pt idx="1573">
                  <c:v>124.31483965966706</c:v>
                </c:pt>
                <c:pt idx="1574">
                  <c:v>124.31483965966706</c:v>
                </c:pt>
                <c:pt idx="1575">
                  <c:v>124.31483965966706</c:v>
                </c:pt>
                <c:pt idx="1576">
                  <c:v>124.31483965966706</c:v>
                </c:pt>
                <c:pt idx="1577">
                  <c:v>124.31483965966706</c:v>
                </c:pt>
                <c:pt idx="1578">
                  <c:v>124.31483965966706</c:v>
                </c:pt>
                <c:pt idx="1579">
                  <c:v>124.31483965966706</c:v>
                </c:pt>
                <c:pt idx="1580">
                  <c:v>124.31483965966706</c:v>
                </c:pt>
                <c:pt idx="1581">
                  <c:v>125.56925062322276</c:v>
                </c:pt>
                <c:pt idx="1582">
                  <c:v>130.98656594718747</c:v>
                </c:pt>
                <c:pt idx="1583">
                  <c:v>130.98656594718747</c:v>
                </c:pt>
                <c:pt idx="1584">
                  <c:v>130.90490656022189</c:v>
                </c:pt>
                <c:pt idx="1585">
                  <c:v>130.90490656022189</c:v>
                </c:pt>
                <c:pt idx="1586">
                  <c:v>130.8809283427355</c:v>
                </c:pt>
                <c:pt idx="1587">
                  <c:v>131.00700323486257</c:v>
                </c:pt>
                <c:pt idx="1588">
                  <c:v>131.00700323486257</c:v>
                </c:pt>
                <c:pt idx="1589">
                  <c:v>130.97806095623574</c:v>
                </c:pt>
                <c:pt idx="1590">
                  <c:v>130.97806095623574</c:v>
                </c:pt>
                <c:pt idx="1591">
                  <c:v>130.97806095623574</c:v>
                </c:pt>
                <c:pt idx="1592">
                  <c:v>130.97806095623574</c:v>
                </c:pt>
                <c:pt idx="1593">
                  <c:v>130.97806095623574</c:v>
                </c:pt>
                <c:pt idx="1594">
                  <c:v>130.97806095623574</c:v>
                </c:pt>
                <c:pt idx="1595">
                  <c:v>130.97806095623574</c:v>
                </c:pt>
                <c:pt idx="1596">
                  <c:v>130.97806095623574</c:v>
                </c:pt>
                <c:pt idx="1597">
                  <c:v>130.97806095623574</c:v>
                </c:pt>
                <c:pt idx="1598">
                  <c:v>130.97806095623574</c:v>
                </c:pt>
                <c:pt idx="1599">
                  <c:v>130.97806095623574</c:v>
                </c:pt>
                <c:pt idx="1600">
                  <c:v>130.97806095623574</c:v>
                </c:pt>
                <c:pt idx="1601">
                  <c:v>130.97806095623574</c:v>
                </c:pt>
                <c:pt idx="1602">
                  <c:v>130.97806095623574</c:v>
                </c:pt>
                <c:pt idx="1603">
                  <c:v>130.97806095623574</c:v>
                </c:pt>
                <c:pt idx="1604">
                  <c:v>130.97806095623574</c:v>
                </c:pt>
                <c:pt idx="1605">
                  <c:v>130.97806095623574</c:v>
                </c:pt>
                <c:pt idx="1606">
                  <c:v>130.97806095623574</c:v>
                </c:pt>
                <c:pt idx="1607">
                  <c:v>130.82140596689416</c:v>
                </c:pt>
                <c:pt idx="1608">
                  <c:v>132.06667397329315</c:v>
                </c:pt>
                <c:pt idx="1609">
                  <c:v>131.95484979351141</c:v>
                </c:pt>
                <c:pt idx="1610">
                  <c:v>131.87180394515096</c:v>
                </c:pt>
                <c:pt idx="1611">
                  <c:v>131.87180394515096</c:v>
                </c:pt>
                <c:pt idx="1612">
                  <c:v>131.87180394515096</c:v>
                </c:pt>
                <c:pt idx="1613">
                  <c:v>131.87180394515096</c:v>
                </c:pt>
                <c:pt idx="1614">
                  <c:v>131.87180394515096</c:v>
                </c:pt>
                <c:pt idx="1615">
                  <c:v>131.87180394515096</c:v>
                </c:pt>
                <c:pt idx="1616">
                  <c:v>131.87180394515096</c:v>
                </c:pt>
                <c:pt idx="1617">
                  <c:v>131.87180394515096</c:v>
                </c:pt>
                <c:pt idx="1618">
                  <c:v>131.87180394515096</c:v>
                </c:pt>
                <c:pt idx="1619">
                  <c:v>131.87180394515096</c:v>
                </c:pt>
                <c:pt idx="1620">
                  <c:v>131.87180394515096</c:v>
                </c:pt>
                <c:pt idx="1621">
                  <c:v>131.87180394515096</c:v>
                </c:pt>
                <c:pt idx="1622">
                  <c:v>131.87180394515096</c:v>
                </c:pt>
                <c:pt idx="1623">
                  <c:v>131.87180394515096</c:v>
                </c:pt>
                <c:pt idx="1624">
                  <c:v>131.87180394515096</c:v>
                </c:pt>
                <c:pt idx="1625">
                  <c:v>131.87180394515096</c:v>
                </c:pt>
                <c:pt idx="1626">
                  <c:v>132.54718708080094</c:v>
                </c:pt>
                <c:pt idx="1627">
                  <c:v>132.51770430068481</c:v>
                </c:pt>
                <c:pt idx="1628">
                  <c:v>132.48825837404385</c:v>
                </c:pt>
                <c:pt idx="1629">
                  <c:v>132.45789494441169</c:v>
                </c:pt>
                <c:pt idx="1630">
                  <c:v>132.42852377946605</c:v>
                </c:pt>
                <c:pt idx="1631">
                  <c:v>132.39918932847661</c:v>
                </c:pt>
                <c:pt idx="1632">
                  <c:v>132.39918932847661</c:v>
                </c:pt>
                <c:pt idx="1633">
                  <c:v>132.39918932847661</c:v>
                </c:pt>
                <c:pt idx="1634">
                  <c:v>132.39918932847661</c:v>
                </c:pt>
                <c:pt idx="1635">
                  <c:v>132.49805360619598</c:v>
                </c:pt>
                <c:pt idx="1636">
                  <c:v>132.78393998415038</c:v>
                </c:pt>
                <c:pt idx="1637">
                  <c:v>132.78393998415038</c:v>
                </c:pt>
                <c:pt idx="1638">
                  <c:v>132.16326667957605</c:v>
                </c:pt>
                <c:pt idx="1639">
                  <c:v>132.08061954183717</c:v>
                </c:pt>
                <c:pt idx="1640">
                  <c:v>131.99807571302046</c:v>
                </c:pt>
                <c:pt idx="1641">
                  <c:v>131.99807571302046</c:v>
                </c:pt>
                <c:pt idx="1642">
                  <c:v>131.99807571302046</c:v>
                </c:pt>
                <c:pt idx="1643">
                  <c:v>131.99807571302046</c:v>
                </c:pt>
                <c:pt idx="1644">
                  <c:v>131.99807571302046</c:v>
                </c:pt>
                <c:pt idx="1645">
                  <c:v>131.99807571302046</c:v>
                </c:pt>
                <c:pt idx="1646">
                  <c:v>131.99807571302046</c:v>
                </c:pt>
                <c:pt idx="1647">
                  <c:v>132.06333284455178</c:v>
                </c:pt>
                <c:pt idx="1648">
                  <c:v>131.26811441248557</c:v>
                </c:pt>
                <c:pt idx="1649">
                  <c:v>131.26811441248557</c:v>
                </c:pt>
                <c:pt idx="1650">
                  <c:v>131.23492482414849</c:v>
                </c:pt>
                <c:pt idx="1651">
                  <c:v>131.70973087498245</c:v>
                </c:pt>
                <c:pt idx="1652">
                  <c:v>131.43275071857954</c:v>
                </c:pt>
                <c:pt idx="1653">
                  <c:v>131.38412089913498</c:v>
                </c:pt>
                <c:pt idx="1654">
                  <c:v>131.35101672579191</c:v>
                </c:pt>
                <c:pt idx="1655">
                  <c:v>131.35101672579191</c:v>
                </c:pt>
                <c:pt idx="1656">
                  <c:v>131.35101672579191</c:v>
                </c:pt>
                <c:pt idx="1657">
                  <c:v>131.35101672579191</c:v>
                </c:pt>
                <c:pt idx="1658">
                  <c:v>131.35101672579191</c:v>
                </c:pt>
                <c:pt idx="1659">
                  <c:v>131.4816444271022</c:v>
                </c:pt>
                <c:pt idx="1660">
                  <c:v>131.4484183493492</c:v>
                </c:pt>
                <c:pt idx="1661">
                  <c:v>131.41523380419335</c:v>
                </c:pt>
                <c:pt idx="1662">
                  <c:v>131.41523380419335</c:v>
                </c:pt>
                <c:pt idx="1663">
                  <c:v>131.41523380419335</c:v>
                </c:pt>
                <c:pt idx="1664">
                  <c:v>131.41523380419335</c:v>
                </c:pt>
                <c:pt idx="1665">
                  <c:v>131.41523380419335</c:v>
                </c:pt>
                <c:pt idx="1666">
                  <c:v>131.41523380419335</c:v>
                </c:pt>
                <c:pt idx="1667">
                  <c:v>131.41523380419335</c:v>
                </c:pt>
                <c:pt idx="1668">
                  <c:v>131.41523380419335</c:v>
                </c:pt>
                <c:pt idx="1669">
                  <c:v>131.41523380419335</c:v>
                </c:pt>
                <c:pt idx="1670">
                  <c:v>131.41523380419335</c:v>
                </c:pt>
                <c:pt idx="1671">
                  <c:v>131.41523380419335</c:v>
                </c:pt>
                <c:pt idx="1672">
                  <c:v>131.41523380419335</c:v>
                </c:pt>
                <c:pt idx="1673">
                  <c:v>131.41523380419335</c:v>
                </c:pt>
                <c:pt idx="1674">
                  <c:v>131.41523380419335</c:v>
                </c:pt>
                <c:pt idx="1675">
                  <c:v>131.41523380419335</c:v>
                </c:pt>
                <c:pt idx="1676">
                  <c:v>131.41523380419335</c:v>
                </c:pt>
                <c:pt idx="1677">
                  <c:v>131.41523380419335</c:v>
                </c:pt>
                <c:pt idx="1678">
                  <c:v>131.41523380419335</c:v>
                </c:pt>
                <c:pt idx="1679">
                  <c:v>131.40597411971373</c:v>
                </c:pt>
                <c:pt idx="1680">
                  <c:v>132.83908791339118</c:v>
                </c:pt>
                <c:pt idx="1681">
                  <c:v>132.83908791339118</c:v>
                </c:pt>
                <c:pt idx="1682">
                  <c:v>132.75559599911003</c:v>
                </c:pt>
                <c:pt idx="1683">
                  <c:v>134.24241420775985</c:v>
                </c:pt>
                <c:pt idx="1684">
                  <c:v>133.49291316510602</c:v>
                </c:pt>
                <c:pt idx="1685">
                  <c:v>132.82191985420013</c:v>
                </c:pt>
                <c:pt idx="1686">
                  <c:v>132.82191985420013</c:v>
                </c:pt>
                <c:pt idx="1687">
                  <c:v>132.78899240477912</c:v>
                </c:pt>
                <c:pt idx="1688">
                  <c:v>132.78899240477912</c:v>
                </c:pt>
                <c:pt idx="1689">
                  <c:v>141.63765878408989</c:v>
                </c:pt>
                <c:pt idx="1690">
                  <c:v>144.68269981694937</c:v>
                </c:pt>
                <c:pt idx="1691">
                  <c:v>144.58168722989004</c:v>
                </c:pt>
                <c:pt idx="1692">
                  <c:v>144.54496020473439</c:v>
                </c:pt>
                <c:pt idx="1693">
                  <c:v>144.54496020473439</c:v>
                </c:pt>
                <c:pt idx="1694">
                  <c:v>144.54496020473439</c:v>
                </c:pt>
                <c:pt idx="1695">
                  <c:v>144.54496020473439</c:v>
                </c:pt>
                <c:pt idx="1696">
                  <c:v>144.54496020473439</c:v>
                </c:pt>
                <c:pt idx="1697">
                  <c:v>144.54496020473439</c:v>
                </c:pt>
                <c:pt idx="1698">
                  <c:v>144.54496020473439</c:v>
                </c:pt>
                <c:pt idx="1699">
                  <c:v>144.54496020473439</c:v>
                </c:pt>
                <c:pt idx="1700">
                  <c:v>144.54496020473439</c:v>
                </c:pt>
                <c:pt idx="1701">
                  <c:v>144.54496020473439</c:v>
                </c:pt>
                <c:pt idx="1702">
                  <c:v>144.54496020473439</c:v>
                </c:pt>
                <c:pt idx="1703">
                  <c:v>144.54496020473439</c:v>
                </c:pt>
                <c:pt idx="1704">
                  <c:v>144.54496020473439</c:v>
                </c:pt>
                <c:pt idx="1705">
                  <c:v>144.54496020473439</c:v>
                </c:pt>
                <c:pt idx="1706">
                  <c:v>144.54496020473439</c:v>
                </c:pt>
                <c:pt idx="1707">
                  <c:v>144.54496020473439</c:v>
                </c:pt>
                <c:pt idx="1708">
                  <c:v>144.54496020473439</c:v>
                </c:pt>
                <c:pt idx="1709">
                  <c:v>144.54496020473439</c:v>
                </c:pt>
                <c:pt idx="1710">
                  <c:v>144.54496020473439</c:v>
                </c:pt>
                <c:pt idx="1711">
                  <c:v>144.54496020473439</c:v>
                </c:pt>
                <c:pt idx="1712">
                  <c:v>144.54496020473439</c:v>
                </c:pt>
                <c:pt idx="1713">
                  <c:v>144.42885474619277</c:v>
                </c:pt>
                <c:pt idx="1714">
                  <c:v>144.39970209509022</c:v>
                </c:pt>
                <c:pt idx="1715">
                  <c:v>144.37058588480156</c:v>
                </c:pt>
                <c:pt idx="1716">
                  <c:v>144.37058588480156</c:v>
                </c:pt>
                <c:pt idx="1717">
                  <c:v>144.37058588480156</c:v>
                </c:pt>
                <c:pt idx="1718">
                  <c:v>144.37058588480156</c:v>
                </c:pt>
                <c:pt idx="1719">
                  <c:v>144.37058588480156</c:v>
                </c:pt>
                <c:pt idx="1720">
                  <c:v>144.37058588480156</c:v>
                </c:pt>
                <c:pt idx="1721">
                  <c:v>144.37058588480156</c:v>
                </c:pt>
                <c:pt idx="1722">
                  <c:v>144.37058588480156</c:v>
                </c:pt>
                <c:pt idx="1723">
                  <c:v>144.37058588480156</c:v>
                </c:pt>
                <c:pt idx="1724">
                  <c:v>144.80180211948024</c:v>
                </c:pt>
                <c:pt idx="1725">
                  <c:v>145.99909398711657</c:v>
                </c:pt>
                <c:pt idx="1726">
                  <c:v>145.99909398711657</c:v>
                </c:pt>
                <c:pt idx="1727">
                  <c:v>145.90983423082835</c:v>
                </c:pt>
                <c:pt idx="1728">
                  <c:v>148.74823327815216</c:v>
                </c:pt>
                <c:pt idx="1729">
                  <c:v>145.69029124302062</c:v>
                </c:pt>
                <c:pt idx="1730">
                  <c:v>145.56544399556608</c:v>
                </c:pt>
                <c:pt idx="1731">
                  <c:v>146.308352637978</c:v>
                </c:pt>
                <c:pt idx="1732">
                  <c:v>146.308352637978</c:v>
                </c:pt>
                <c:pt idx="1733">
                  <c:v>146.2681388352056</c:v>
                </c:pt>
                <c:pt idx="1734">
                  <c:v>146.2681388352056</c:v>
                </c:pt>
                <c:pt idx="1735">
                  <c:v>146.2681388352056</c:v>
                </c:pt>
                <c:pt idx="1736">
                  <c:v>146.2681388352056</c:v>
                </c:pt>
                <c:pt idx="1737">
                  <c:v>146.2681388352056</c:v>
                </c:pt>
                <c:pt idx="1738">
                  <c:v>146.2681388352056</c:v>
                </c:pt>
                <c:pt idx="1739">
                  <c:v>146.2681388352056</c:v>
                </c:pt>
                <c:pt idx="1740">
                  <c:v>146.2681388352056</c:v>
                </c:pt>
                <c:pt idx="1741">
                  <c:v>146.2681388352056</c:v>
                </c:pt>
                <c:pt idx="1742">
                  <c:v>146.2681388352056</c:v>
                </c:pt>
                <c:pt idx="1743">
                  <c:v>146.2681388352056</c:v>
                </c:pt>
                <c:pt idx="1744">
                  <c:v>146.2681388352056</c:v>
                </c:pt>
                <c:pt idx="1745">
                  <c:v>146.2681388352056</c:v>
                </c:pt>
                <c:pt idx="1746">
                  <c:v>146.2681388352056</c:v>
                </c:pt>
                <c:pt idx="1747">
                  <c:v>146.2681388352056</c:v>
                </c:pt>
                <c:pt idx="1748">
                  <c:v>146.2681388352056</c:v>
                </c:pt>
                <c:pt idx="1749">
                  <c:v>146.2681388352056</c:v>
                </c:pt>
                <c:pt idx="1750">
                  <c:v>146.2681388352056</c:v>
                </c:pt>
                <c:pt idx="1751">
                  <c:v>146.2681388352056</c:v>
                </c:pt>
                <c:pt idx="1752">
                  <c:v>146.2681388352056</c:v>
                </c:pt>
                <c:pt idx="1753">
                  <c:v>146.2681388352056</c:v>
                </c:pt>
                <c:pt idx="1754">
                  <c:v>146.2681388352056</c:v>
                </c:pt>
                <c:pt idx="1755">
                  <c:v>146.2681388352056</c:v>
                </c:pt>
                <c:pt idx="1756">
                  <c:v>146.2681388352056</c:v>
                </c:pt>
                <c:pt idx="1757">
                  <c:v>146.2681388352056</c:v>
                </c:pt>
                <c:pt idx="1758">
                  <c:v>146.2681388352056</c:v>
                </c:pt>
                <c:pt idx="1759">
                  <c:v>146.2681388352056</c:v>
                </c:pt>
                <c:pt idx="1760">
                  <c:v>146.2681388352056</c:v>
                </c:pt>
                <c:pt idx="1761">
                  <c:v>142.58910907904919</c:v>
                </c:pt>
                <c:pt idx="1762">
                  <c:v>142.55354433072546</c:v>
                </c:pt>
                <c:pt idx="1763">
                  <c:v>142.76045968378673</c:v>
                </c:pt>
                <c:pt idx="1764">
                  <c:v>142.72468074720709</c:v>
                </c:pt>
                <c:pt idx="1765">
                  <c:v>143.92786869119669</c:v>
                </c:pt>
                <c:pt idx="1766">
                  <c:v>143.87688751167116</c:v>
                </c:pt>
                <c:pt idx="1767">
                  <c:v>143.82597005862004</c:v>
                </c:pt>
                <c:pt idx="1768">
                  <c:v>143.82597005862004</c:v>
                </c:pt>
                <c:pt idx="1769">
                  <c:v>143.82597005862004</c:v>
                </c:pt>
                <c:pt idx="1770">
                  <c:v>143.82597005862004</c:v>
                </c:pt>
                <c:pt idx="1771">
                  <c:v>143.82597005862004</c:v>
                </c:pt>
                <c:pt idx="1772">
                  <c:v>143.82597005862004</c:v>
                </c:pt>
                <c:pt idx="1773">
                  <c:v>143.82597005862004</c:v>
                </c:pt>
                <c:pt idx="1774">
                  <c:v>143.82597005862004</c:v>
                </c:pt>
                <c:pt idx="1775">
                  <c:v>143.82597005862004</c:v>
                </c:pt>
                <c:pt idx="1776">
                  <c:v>143.82597005862004</c:v>
                </c:pt>
                <c:pt idx="1777">
                  <c:v>143.82597005862004</c:v>
                </c:pt>
                <c:pt idx="1778">
                  <c:v>143.82597005862004</c:v>
                </c:pt>
                <c:pt idx="1779">
                  <c:v>143.82597005862004</c:v>
                </c:pt>
                <c:pt idx="1780">
                  <c:v>143.82597005862004</c:v>
                </c:pt>
                <c:pt idx="1781">
                  <c:v>143.82597005862004</c:v>
                </c:pt>
                <c:pt idx="1782">
                  <c:v>143.82597005862004</c:v>
                </c:pt>
                <c:pt idx="1783">
                  <c:v>143.82597005862004</c:v>
                </c:pt>
                <c:pt idx="1784">
                  <c:v>143.82597005862004</c:v>
                </c:pt>
                <c:pt idx="1785">
                  <c:v>143.82597005862004</c:v>
                </c:pt>
                <c:pt idx="1786">
                  <c:v>143.82597005862004</c:v>
                </c:pt>
                <c:pt idx="1787">
                  <c:v>143.77540011173588</c:v>
                </c:pt>
                <c:pt idx="1788">
                  <c:v>143.7463835091437</c:v>
                </c:pt>
                <c:pt idx="1789">
                  <c:v>143.71740317730473</c:v>
                </c:pt>
                <c:pt idx="1790">
                  <c:v>143.71740317730473</c:v>
                </c:pt>
                <c:pt idx="1791">
                  <c:v>143.71740317730473</c:v>
                </c:pt>
                <c:pt idx="1792">
                  <c:v>143.65762760114859</c:v>
                </c:pt>
                <c:pt idx="1793">
                  <c:v>143.19034765982465</c:v>
                </c:pt>
                <c:pt idx="1794">
                  <c:v>143.22453013687607</c:v>
                </c:pt>
                <c:pt idx="1795">
                  <c:v>142.94439229647656</c:v>
                </c:pt>
                <c:pt idx="1796">
                  <c:v>142.94439229647654</c:v>
                </c:pt>
                <c:pt idx="1797">
                  <c:v>142.90897483892914</c:v>
                </c:pt>
                <c:pt idx="1798">
                  <c:v>142.90897483892914</c:v>
                </c:pt>
                <c:pt idx="1799">
                  <c:v>143.26438461186703</c:v>
                </c:pt>
                <c:pt idx="1800">
                  <c:v>144.57160603836624</c:v>
                </c:pt>
                <c:pt idx="1801">
                  <c:v>144.51976720775204</c:v>
                </c:pt>
                <c:pt idx="1802">
                  <c:v>144.43152672533071</c:v>
                </c:pt>
                <c:pt idx="1803">
                  <c:v>144.43152672533071</c:v>
                </c:pt>
                <c:pt idx="1804">
                  <c:v>144.43152672533071</c:v>
                </c:pt>
                <c:pt idx="1805">
                  <c:v>144.43152672533071</c:v>
                </c:pt>
                <c:pt idx="1806">
                  <c:v>144.43152672533071</c:v>
                </c:pt>
                <c:pt idx="1807">
                  <c:v>144.43152672533071</c:v>
                </c:pt>
                <c:pt idx="1808">
                  <c:v>144.43152672533071</c:v>
                </c:pt>
                <c:pt idx="1809">
                  <c:v>144.43152672533071</c:v>
                </c:pt>
                <c:pt idx="1810">
                  <c:v>144.43152672533071</c:v>
                </c:pt>
                <c:pt idx="1811">
                  <c:v>144.43152672533071</c:v>
                </c:pt>
                <c:pt idx="1812">
                  <c:v>144.43152672533071</c:v>
                </c:pt>
                <c:pt idx="1813">
                  <c:v>144.43152672533071</c:v>
                </c:pt>
                <c:pt idx="1814">
                  <c:v>144.43152672533071</c:v>
                </c:pt>
                <c:pt idx="1815">
                  <c:v>144.40818619909601</c:v>
                </c:pt>
                <c:pt idx="1816">
                  <c:v>144.37996544433528</c:v>
                </c:pt>
                <c:pt idx="1817">
                  <c:v>144.35177996551801</c:v>
                </c:pt>
                <c:pt idx="1818">
                  <c:v>144.35177996551801</c:v>
                </c:pt>
                <c:pt idx="1819">
                  <c:v>144.35177996551801</c:v>
                </c:pt>
                <c:pt idx="1820">
                  <c:v>144.35177996551801</c:v>
                </c:pt>
                <c:pt idx="1821">
                  <c:v>144.35177996551801</c:v>
                </c:pt>
                <c:pt idx="1822">
                  <c:v>144.35177996551801</c:v>
                </c:pt>
                <c:pt idx="1823">
                  <c:v>144.35177996551801</c:v>
                </c:pt>
                <c:pt idx="1824">
                  <c:v>144.35177996551801</c:v>
                </c:pt>
                <c:pt idx="1825">
                  <c:v>144.35177996551801</c:v>
                </c:pt>
                <c:pt idx="1826">
                  <c:v>144.35177996551801</c:v>
                </c:pt>
                <c:pt idx="1827">
                  <c:v>144.35177996551801</c:v>
                </c:pt>
                <c:pt idx="1828">
                  <c:v>144.35177996551801</c:v>
                </c:pt>
                <c:pt idx="1829">
                  <c:v>144.35177996551801</c:v>
                </c:pt>
                <c:pt idx="1830">
                  <c:v>144.35177996551801</c:v>
                </c:pt>
                <c:pt idx="1831">
                  <c:v>144.35177996551801</c:v>
                </c:pt>
                <c:pt idx="1832">
                  <c:v>144.35177996551801</c:v>
                </c:pt>
                <c:pt idx="1833">
                  <c:v>144.35177996551801</c:v>
                </c:pt>
                <c:pt idx="1834">
                  <c:v>144.35177996551801</c:v>
                </c:pt>
                <c:pt idx="1835">
                  <c:v>144.35177996551801</c:v>
                </c:pt>
                <c:pt idx="1836">
                  <c:v>144.35177996551801</c:v>
                </c:pt>
                <c:pt idx="1837">
                  <c:v>144.35177996551801</c:v>
                </c:pt>
                <c:pt idx="1838">
                  <c:v>144.35177996551801</c:v>
                </c:pt>
                <c:pt idx="1839">
                  <c:v>144.35177996551801</c:v>
                </c:pt>
                <c:pt idx="1840">
                  <c:v>144.35177996551801</c:v>
                </c:pt>
                <c:pt idx="1841">
                  <c:v>144.35177996551801</c:v>
                </c:pt>
                <c:pt idx="1842">
                  <c:v>144.35177996551801</c:v>
                </c:pt>
                <c:pt idx="1843">
                  <c:v>144.35177996551801</c:v>
                </c:pt>
                <c:pt idx="1844">
                  <c:v>144.35177996551801</c:v>
                </c:pt>
                <c:pt idx="1845">
                  <c:v>144.35177996551801</c:v>
                </c:pt>
                <c:pt idx="1846">
                  <c:v>144.35177996551801</c:v>
                </c:pt>
                <c:pt idx="1847">
                  <c:v>144.31067061474019</c:v>
                </c:pt>
                <c:pt idx="1848">
                  <c:v>143.732241147064</c:v>
                </c:pt>
                <c:pt idx="1849">
                  <c:v>145.05488383866106</c:v>
                </c:pt>
                <c:pt idx="1850">
                  <c:v>144.9377245300326</c:v>
                </c:pt>
                <c:pt idx="1851">
                  <c:v>147.73971561887006</c:v>
                </c:pt>
                <c:pt idx="1852">
                  <c:v>147.99856637509046</c:v>
                </c:pt>
                <c:pt idx="1853">
                  <c:v>147.60043976108759</c:v>
                </c:pt>
                <c:pt idx="1854">
                  <c:v>149.75798546629332</c:v>
                </c:pt>
                <c:pt idx="1855">
                  <c:v>149.63494728063031</c:v>
                </c:pt>
                <c:pt idx="1856">
                  <c:v>149.53942893994926</c:v>
                </c:pt>
                <c:pt idx="1857">
                  <c:v>149.53942893994926</c:v>
                </c:pt>
                <c:pt idx="1858">
                  <c:v>149.53942893994926</c:v>
                </c:pt>
                <c:pt idx="1859">
                  <c:v>149.53942893994926</c:v>
                </c:pt>
                <c:pt idx="1860">
                  <c:v>149.53942893994926</c:v>
                </c:pt>
                <c:pt idx="1861">
                  <c:v>149.47095190125498</c:v>
                </c:pt>
                <c:pt idx="1862">
                  <c:v>149.43161272659196</c:v>
                </c:pt>
                <c:pt idx="1863">
                  <c:v>148.59457684283899</c:v>
                </c:pt>
                <c:pt idx="1864">
                  <c:v>148.50035896520518</c:v>
                </c:pt>
                <c:pt idx="1865">
                  <c:v>148.40625885991838</c:v>
                </c:pt>
                <c:pt idx="1866">
                  <c:v>148.40625885991838</c:v>
                </c:pt>
                <c:pt idx="1867">
                  <c:v>148.40625885991838</c:v>
                </c:pt>
                <c:pt idx="1868">
                  <c:v>148.40625885991838</c:v>
                </c:pt>
                <c:pt idx="1869">
                  <c:v>148.40625885991838</c:v>
                </c:pt>
                <c:pt idx="1870">
                  <c:v>148.40625885991838</c:v>
                </c:pt>
                <c:pt idx="1871">
                  <c:v>148.40625885991838</c:v>
                </c:pt>
                <c:pt idx="1872">
                  <c:v>148.40625885991838</c:v>
                </c:pt>
                <c:pt idx="1873">
                  <c:v>148.40625885991838</c:v>
                </c:pt>
                <c:pt idx="1874">
                  <c:v>148.40625885991838</c:v>
                </c:pt>
                <c:pt idx="1875">
                  <c:v>148.40625885991838</c:v>
                </c:pt>
                <c:pt idx="1876">
                  <c:v>148.40625885991838</c:v>
                </c:pt>
                <c:pt idx="1877">
                  <c:v>148.40625885991838</c:v>
                </c:pt>
                <c:pt idx="1878">
                  <c:v>149.50918047541145</c:v>
                </c:pt>
                <c:pt idx="1879">
                  <c:v>149.46906921856362</c:v>
                </c:pt>
                <c:pt idx="1880">
                  <c:v>149.42900810078686</c:v>
                </c:pt>
                <c:pt idx="1881">
                  <c:v>149.42900810078686</c:v>
                </c:pt>
                <c:pt idx="1882">
                  <c:v>149.42900810078686</c:v>
                </c:pt>
                <c:pt idx="1883">
                  <c:v>149.42900810078686</c:v>
                </c:pt>
                <c:pt idx="1884">
                  <c:v>149.42900810078686</c:v>
                </c:pt>
                <c:pt idx="1885">
                  <c:v>149.42900810078686</c:v>
                </c:pt>
                <c:pt idx="1886">
                  <c:v>149.42900810078686</c:v>
                </c:pt>
                <c:pt idx="1887">
                  <c:v>149.51054311298896</c:v>
                </c:pt>
                <c:pt idx="1888">
                  <c:v>149.47043015284416</c:v>
                </c:pt>
                <c:pt idx="1889">
                  <c:v>149.43036733389954</c:v>
                </c:pt>
                <c:pt idx="1890">
                  <c:v>149.43036733389954</c:v>
                </c:pt>
                <c:pt idx="1891">
                  <c:v>149.43036733389954</c:v>
                </c:pt>
                <c:pt idx="1892">
                  <c:v>149.43036733389954</c:v>
                </c:pt>
                <c:pt idx="1893">
                  <c:v>149.43036733389954</c:v>
                </c:pt>
                <c:pt idx="1894">
                  <c:v>149.43036733389954</c:v>
                </c:pt>
                <c:pt idx="1895">
                  <c:v>149.43036733389954</c:v>
                </c:pt>
                <c:pt idx="1896">
                  <c:v>149.43036733389954</c:v>
                </c:pt>
                <c:pt idx="1897">
                  <c:v>149.43036733389954</c:v>
                </c:pt>
                <c:pt idx="1898">
                  <c:v>149.43036733389954</c:v>
                </c:pt>
                <c:pt idx="1899">
                  <c:v>149.43036733389954</c:v>
                </c:pt>
                <c:pt idx="1900">
                  <c:v>149.43036733389954</c:v>
                </c:pt>
                <c:pt idx="1901">
                  <c:v>149.43036733389954</c:v>
                </c:pt>
                <c:pt idx="1902">
                  <c:v>149.43036733389954</c:v>
                </c:pt>
                <c:pt idx="1903">
                  <c:v>149.43036733389954</c:v>
                </c:pt>
                <c:pt idx="1904">
                  <c:v>149.43036733389954</c:v>
                </c:pt>
                <c:pt idx="1905">
                  <c:v>149.43036733389954</c:v>
                </c:pt>
                <c:pt idx="1906">
                  <c:v>149.43036733389954</c:v>
                </c:pt>
                <c:pt idx="1907">
                  <c:v>149.43036733389954</c:v>
                </c:pt>
                <c:pt idx="1908">
                  <c:v>149.43036733389954</c:v>
                </c:pt>
                <c:pt idx="1909">
                  <c:v>149.43036733389954</c:v>
                </c:pt>
                <c:pt idx="1910">
                  <c:v>149.43036733389954</c:v>
                </c:pt>
                <c:pt idx="1911">
                  <c:v>149.43036733389954</c:v>
                </c:pt>
                <c:pt idx="1912">
                  <c:v>149.43036733389954</c:v>
                </c:pt>
                <c:pt idx="1913">
                  <c:v>149.43036733389954</c:v>
                </c:pt>
                <c:pt idx="1914">
                  <c:v>149.43036733389954</c:v>
                </c:pt>
                <c:pt idx="1915">
                  <c:v>149.43036733389954</c:v>
                </c:pt>
                <c:pt idx="1916">
                  <c:v>149.43036733389954</c:v>
                </c:pt>
                <c:pt idx="1917">
                  <c:v>149.43036733389954</c:v>
                </c:pt>
                <c:pt idx="1918">
                  <c:v>149.43036733389954</c:v>
                </c:pt>
                <c:pt idx="1919">
                  <c:v>149.43036733389954</c:v>
                </c:pt>
                <c:pt idx="1920">
                  <c:v>149.43036733389954</c:v>
                </c:pt>
                <c:pt idx="1921">
                  <c:v>149.43036733389954</c:v>
                </c:pt>
                <c:pt idx="1922">
                  <c:v>149.43036733389954</c:v>
                </c:pt>
                <c:pt idx="1923">
                  <c:v>149.43036733389954</c:v>
                </c:pt>
                <c:pt idx="1924">
                  <c:v>149.43036733389954</c:v>
                </c:pt>
                <c:pt idx="1925">
                  <c:v>149.43036733389954</c:v>
                </c:pt>
                <c:pt idx="1926">
                  <c:v>149.43036733389954</c:v>
                </c:pt>
                <c:pt idx="1927">
                  <c:v>149.43036733389954</c:v>
                </c:pt>
                <c:pt idx="1928">
                  <c:v>149.43036733389954</c:v>
                </c:pt>
                <c:pt idx="1929">
                  <c:v>150.11368462360892</c:v>
                </c:pt>
                <c:pt idx="1930">
                  <c:v>149.95162739121511</c:v>
                </c:pt>
                <c:pt idx="1931">
                  <c:v>149.42689884736504</c:v>
                </c:pt>
                <c:pt idx="1932">
                  <c:v>149.42689884736504</c:v>
                </c:pt>
                <c:pt idx="1933">
                  <c:v>151.54723573893534</c:v>
                </c:pt>
                <c:pt idx="1934">
                  <c:v>151.763004377491</c:v>
                </c:pt>
                <c:pt idx="1935">
                  <c:v>151.43077147722013</c:v>
                </c:pt>
                <c:pt idx="1936">
                  <c:v>149.37047572885672</c:v>
                </c:pt>
                <c:pt idx="1937">
                  <c:v>149.37047572885672</c:v>
                </c:pt>
                <c:pt idx="1938">
                  <c:v>149.27528797761536</c:v>
                </c:pt>
                <c:pt idx="1939">
                  <c:v>149.27528797761536</c:v>
                </c:pt>
                <c:pt idx="1940">
                  <c:v>149.27528797761536</c:v>
                </c:pt>
                <c:pt idx="1941">
                  <c:v>149.27528797761536</c:v>
                </c:pt>
                <c:pt idx="1942">
                  <c:v>149.27528797761536</c:v>
                </c:pt>
                <c:pt idx="1943">
                  <c:v>148.88759692147835</c:v>
                </c:pt>
                <c:pt idx="1944">
                  <c:v>149.04566651772353</c:v>
                </c:pt>
                <c:pt idx="1945">
                  <c:v>149.04566651772353</c:v>
                </c:pt>
                <c:pt idx="1946">
                  <c:v>148.92351873074622</c:v>
                </c:pt>
                <c:pt idx="1947">
                  <c:v>148.92351873074622</c:v>
                </c:pt>
                <c:pt idx="1948">
                  <c:v>148.92351873074622</c:v>
                </c:pt>
                <c:pt idx="1949">
                  <c:v>148.92351873074622</c:v>
                </c:pt>
                <c:pt idx="1950">
                  <c:v>148.92351873074622</c:v>
                </c:pt>
                <c:pt idx="1951">
                  <c:v>148.92351873074622</c:v>
                </c:pt>
                <c:pt idx="1952">
                  <c:v>148.92351873074622</c:v>
                </c:pt>
                <c:pt idx="1953">
                  <c:v>148.92351873074622</c:v>
                </c:pt>
                <c:pt idx="1954">
                  <c:v>148.92351873074622</c:v>
                </c:pt>
                <c:pt idx="1955">
                  <c:v>148.92351873074622</c:v>
                </c:pt>
                <c:pt idx="1956">
                  <c:v>148.92351873074622</c:v>
                </c:pt>
                <c:pt idx="1957">
                  <c:v>148.92351873074622</c:v>
                </c:pt>
                <c:pt idx="1958">
                  <c:v>148.92351873074622</c:v>
                </c:pt>
                <c:pt idx="1959">
                  <c:v>148.92351873074622</c:v>
                </c:pt>
                <c:pt idx="1960">
                  <c:v>148.92351873074622</c:v>
                </c:pt>
                <c:pt idx="1961">
                  <c:v>148.92351873074622</c:v>
                </c:pt>
                <c:pt idx="1962">
                  <c:v>148.92351873074622</c:v>
                </c:pt>
                <c:pt idx="1963">
                  <c:v>148.92351873074622</c:v>
                </c:pt>
                <c:pt idx="1964">
                  <c:v>150.38363850509853</c:v>
                </c:pt>
                <c:pt idx="1965">
                  <c:v>148.89909963913072</c:v>
                </c:pt>
                <c:pt idx="1966">
                  <c:v>154.65593006878709</c:v>
                </c:pt>
                <c:pt idx="1967">
                  <c:v>154.65593006878709</c:v>
                </c:pt>
                <c:pt idx="1968">
                  <c:v>154.5846052584447</c:v>
                </c:pt>
                <c:pt idx="1969">
                  <c:v>154.5846052584447</c:v>
                </c:pt>
                <c:pt idx="1970">
                  <c:v>154.14764803047652</c:v>
                </c:pt>
                <c:pt idx="1971">
                  <c:v>154.12092646199778</c:v>
                </c:pt>
                <c:pt idx="1972">
                  <c:v>152.80563214153554</c:v>
                </c:pt>
                <c:pt idx="1973">
                  <c:v>152.71251556199806</c:v>
                </c:pt>
                <c:pt idx="1974">
                  <c:v>152.61951537818501</c:v>
                </c:pt>
                <c:pt idx="1975">
                  <c:v>152.11141590771192</c:v>
                </c:pt>
                <c:pt idx="1976">
                  <c:v>152.16424326421978</c:v>
                </c:pt>
                <c:pt idx="1977">
                  <c:v>152.04527361446901</c:v>
                </c:pt>
                <c:pt idx="1978">
                  <c:v>151.93722885495163</c:v>
                </c:pt>
                <c:pt idx="1979">
                  <c:v>151.99476036878588</c:v>
                </c:pt>
                <c:pt idx="1980">
                  <c:v>151.94235255372894</c:v>
                </c:pt>
                <c:pt idx="1981">
                  <c:v>151.84961494078897</c:v>
                </c:pt>
                <c:pt idx="1982">
                  <c:v>151.84961494078897</c:v>
                </c:pt>
                <c:pt idx="1983">
                  <c:v>151.84961494078897</c:v>
                </c:pt>
                <c:pt idx="1984">
                  <c:v>151.84961494078897</c:v>
                </c:pt>
                <c:pt idx="1985">
                  <c:v>151.79081236877951</c:v>
                </c:pt>
                <c:pt idx="1986">
                  <c:v>151.8190307151732</c:v>
                </c:pt>
                <c:pt idx="1987">
                  <c:v>151.75276945851519</c:v>
                </c:pt>
                <c:pt idx="1988">
                  <c:v>151.71240753614956</c:v>
                </c:pt>
                <c:pt idx="1989">
                  <c:v>151.71240753614956</c:v>
                </c:pt>
                <c:pt idx="1990">
                  <c:v>151.71240753614956</c:v>
                </c:pt>
                <c:pt idx="1991">
                  <c:v>151.71240753614956</c:v>
                </c:pt>
                <c:pt idx="1992">
                  <c:v>151.71240753614956</c:v>
                </c:pt>
                <c:pt idx="1993">
                  <c:v>151.71240753614956</c:v>
                </c:pt>
                <c:pt idx="1994">
                  <c:v>151.63482566206912</c:v>
                </c:pt>
                <c:pt idx="1995">
                  <c:v>151.594611169449</c:v>
                </c:pt>
                <c:pt idx="1996">
                  <c:v>151.55444694494471</c:v>
                </c:pt>
                <c:pt idx="1997">
                  <c:v>151.55444694494471</c:v>
                </c:pt>
                <c:pt idx="1998">
                  <c:v>151.4962466344995</c:v>
                </c:pt>
                <c:pt idx="1999">
                  <c:v>151.47050287716604</c:v>
                </c:pt>
                <c:pt idx="2000">
                  <c:v>151.44479129952927</c:v>
                </c:pt>
                <c:pt idx="2001">
                  <c:v>151.44479129952927</c:v>
                </c:pt>
                <c:pt idx="2002">
                  <c:v>150.81470109889099</c:v>
                </c:pt>
                <c:pt idx="2003">
                  <c:v>150.72309781501161</c:v>
                </c:pt>
                <c:pt idx="2004">
                  <c:v>150.63160903523706</c:v>
                </c:pt>
                <c:pt idx="2005">
                  <c:v>150.63160903523706</c:v>
                </c:pt>
                <c:pt idx="2006">
                  <c:v>150.63160903523706</c:v>
                </c:pt>
                <c:pt idx="2007">
                  <c:v>150.63160903523706</c:v>
                </c:pt>
                <c:pt idx="2008">
                  <c:v>149.08718584918594</c:v>
                </c:pt>
                <c:pt idx="2009">
                  <c:v>148.99774195936868</c:v>
                </c:pt>
                <c:pt idx="2010">
                  <c:v>148.90840987441368</c:v>
                </c:pt>
                <c:pt idx="2011">
                  <c:v>148.90840987441368</c:v>
                </c:pt>
                <c:pt idx="2012">
                  <c:v>148.90840987441368</c:v>
                </c:pt>
                <c:pt idx="2013">
                  <c:v>148.90840987441368</c:v>
                </c:pt>
                <c:pt idx="2014">
                  <c:v>148.90840987441368</c:v>
                </c:pt>
                <c:pt idx="2015">
                  <c:v>150.24989134518191</c:v>
                </c:pt>
                <c:pt idx="2016">
                  <c:v>150.15738389721926</c:v>
                </c:pt>
                <c:pt idx="2017">
                  <c:v>150.10601643657358</c:v>
                </c:pt>
                <c:pt idx="2018">
                  <c:v>150.06660225984197</c:v>
                </c:pt>
                <c:pt idx="2019">
                  <c:v>150.06660225984197</c:v>
                </c:pt>
                <c:pt idx="2020">
                  <c:v>150.18583096222778</c:v>
                </c:pt>
                <c:pt idx="2021">
                  <c:v>149.29392137011513</c:v>
                </c:pt>
                <c:pt idx="2022">
                  <c:v>149.2686616264096</c:v>
                </c:pt>
                <c:pt idx="2023">
                  <c:v>149.20461470502593</c:v>
                </c:pt>
                <c:pt idx="2024">
                  <c:v>149.20461470502593</c:v>
                </c:pt>
                <c:pt idx="2025">
                  <c:v>149.20461470502593</c:v>
                </c:pt>
                <c:pt idx="2026">
                  <c:v>149.20461470502593</c:v>
                </c:pt>
                <c:pt idx="2027">
                  <c:v>149.20461470502593</c:v>
                </c:pt>
                <c:pt idx="2028">
                  <c:v>149.20461470502593</c:v>
                </c:pt>
                <c:pt idx="2029">
                  <c:v>149.20461470502593</c:v>
                </c:pt>
                <c:pt idx="2030">
                  <c:v>149.20461470502593</c:v>
                </c:pt>
                <c:pt idx="2031">
                  <c:v>149.20461470502593</c:v>
                </c:pt>
                <c:pt idx="2032">
                  <c:v>149.20461470502593</c:v>
                </c:pt>
                <c:pt idx="2033">
                  <c:v>149.20461470502593</c:v>
                </c:pt>
                <c:pt idx="2034">
                  <c:v>149.20461470502593</c:v>
                </c:pt>
                <c:pt idx="2035">
                  <c:v>149.20461470502593</c:v>
                </c:pt>
                <c:pt idx="2036">
                  <c:v>149.20461470502593</c:v>
                </c:pt>
                <c:pt idx="2037">
                  <c:v>149.20461470502593</c:v>
                </c:pt>
                <c:pt idx="2038">
                  <c:v>149.20461470502593</c:v>
                </c:pt>
                <c:pt idx="2039">
                  <c:v>149.20461470502593</c:v>
                </c:pt>
                <c:pt idx="2040">
                  <c:v>149.20461470502593</c:v>
                </c:pt>
                <c:pt idx="2041">
                  <c:v>149.20461470502593</c:v>
                </c:pt>
                <c:pt idx="2042">
                  <c:v>149.20461470502593</c:v>
                </c:pt>
                <c:pt idx="2043">
                  <c:v>149.20461470502593</c:v>
                </c:pt>
                <c:pt idx="2044">
                  <c:v>149.20461470502593</c:v>
                </c:pt>
                <c:pt idx="2045">
                  <c:v>149.20461470502593</c:v>
                </c:pt>
                <c:pt idx="2046">
                  <c:v>149.20461470502593</c:v>
                </c:pt>
                <c:pt idx="2047">
                  <c:v>149.20461470502593</c:v>
                </c:pt>
                <c:pt idx="2048">
                  <c:v>149.20461470502593</c:v>
                </c:pt>
                <c:pt idx="2049">
                  <c:v>149.20461470502593</c:v>
                </c:pt>
                <c:pt idx="2050">
                  <c:v>149.20461470502593</c:v>
                </c:pt>
                <c:pt idx="2051">
                  <c:v>149.20461470502593</c:v>
                </c:pt>
                <c:pt idx="2052">
                  <c:v>149.20461470502593</c:v>
                </c:pt>
                <c:pt idx="2053">
                  <c:v>149.20461470502593</c:v>
                </c:pt>
                <c:pt idx="2054">
                  <c:v>149.20461470502593</c:v>
                </c:pt>
                <c:pt idx="2055">
                  <c:v>149.20461470502593</c:v>
                </c:pt>
                <c:pt idx="2056">
                  <c:v>149.20461470502593</c:v>
                </c:pt>
                <c:pt idx="2057">
                  <c:v>149.20461470502593</c:v>
                </c:pt>
                <c:pt idx="2058">
                  <c:v>149.20461470502593</c:v>
                </c:pt>
                <c:pt idx="2059">
                  <c:v>149.20461470502593</c:v>
                </c:pt>
                <c:pt idx="2060">
                  <c:v>149.20461470502593</c:v>
                </c:pt>
                <c:pt idx="2061">
                  <c:v>149.20461470502593</c:v>
                </c:pt>
                <c:pt idx="2062">
                  <c:v>149.20461470502593</c:v>
                </c:pt>
                <c:pt idx="2063">
                  <c:v>149.20461470502593</c:v>
                </c:pt>
                <c:pt idx="2064">
                  <c:v>149.20461470502593</c:v>
                </c:pt>
                <c:pt idx="2065">
                  <c:v>149.20461470502593</c:v>
                </c:pt>
                <c:pt idx="2066">
                  <c:v>149.20461470502593</c:v>
                </c:pt>
                <c:pt idx="2067">
                  <c:v>149.20461470502593</c:v>
                </c:pt>
                <c:pt idx="2068">
                  <c:v>149.20461470502593</c:v>
                </c:pt>
                <c:pt idx="2069">
                  <c:v>149.20461470502593</c:v>
                </c:pt>
                <c:pt idx="2070">
                  <c:v>149.20461470502593</c:v>
                </c:pt>
                <c:pt idx="2071">
                  <c:v>149.20461470502593</c:v>
                </c:pt>
                <c:pt idx="2072">
                  <c:v>149.20461470502593</c:v>
                </c:pt>
                <c:pt idx="2073">
                  <c:v>149.05105734576938</c:v>
                </c:pt>
                <c:pt idx="2074">
                  <c:v>151.23004283337715</c:v>
                </c:pt>
                <c:pt idx="2075">
                  <c:v>151.23004283337715</c:v>
                </c:pt>
                <c:pt idx="2076">
                  <c:v>151.20073933633026</c:v>
                </c:pt>
                <c:pt idx="2077">
                  <c:v>151.1754635753052</c:v>
                </c:pt>
                <c:pt idx="2078">
                  <c:v>151.04084394658597</c:v>
                </c:pt>
                <c:pt idx="2079">
                  <c:v>151.00117050847584</c:v>
                </c:pt>
                <c:pt idx="2080">
                  <c:v>150.99109670171435</c:v>
                </c:pt>
                <c:pt idx="2081">
                  <c:v>150.95148544766036</c:v>
                </c:pt>
                <c:pt idx="2082">
                  <c:v>150.88575798038775</c:v>
                </c:pt>
                <c:pt idx="2083">
                  <c:v>150.87312907235517</c:v>
                </c:pt>
                <c:pt idx="2084">
                  <c:v>150.82053422604073</c:v>
                </c:pt>
                <c:pt idx="2085">
                  <c:v>150.58573497151028</c:v>
                </c:pt>
                <c:pt idx="2086">
                  <c:v>150.5464801709978</c:v>
                </c:pt>
                <c:pt idx="2087">
                  <c:v>150.50727443898597</c:v>
                </c:pt>
                <c:pt idx="2088">
                  <c:v>150.50727443898597</c:v>
                </c:pt>
                <c:pt idx="2089">
                  <c:v>150.50727443898597</c:v>
                </c:pt>
                <c:pt idx="2090">
                  <c:v>150.50727443898597</c:v>
                </c:pt>
                <c:pt idx="2091">
                  <c:v>150.50727443898597</c:v>
                </c:pt>
                <c:pt idx="2092">
                  <c:v>150.50727443898597</c:v>
                </c:pt>
                <c:pt idx="2093">
                  <c:v>150.50727443898597</c:v>
                </c:pt>
                <c:pt idx="2094">
                  <c:v>150.50727443898597</c:v>
                </c:pt>
                <c:pt idx="2095">
                  <c:v>150.50727443898597</c:v>
                </c:pt>
                <c:pt idx="2096">
                  <c:v>150.50727443898597</c:v>
                </c:pt>
                <c:pt idx="2097">
                  <c:v>150.50727443898597</c:v>
                </c:pt>
                <c:pt idx="2098">
                  <c:v>150.50727443898597</c:v>
                </c:pt>
                <c:pt idx="2099">
                  <c:v>150.50727443898597</c:v>
                </c:pt>
                <c:pt idx="2100">
                  <c:v>150.50727443898597</c:v>
                </c:pt>
                <c:pt idx="2101">
                  <c:v>150.50727443898597</c:v>
                </c:pt>
                <c:pt idx="2102">
                  <c:v>150.50727443898597</c:v>
                </c:pt>
                <c:pt idx="2103">
                  <c:v>150.50727443898597</c:v>
                </c:pt>
                <c:pt idx="2104">
                  <c:v>150.50727443898597</c:v>
                </c:pt>
                <c:pt idx="2105">
                  <c:v>150.50727443898597</c:v>
                </c:pt>
                <c:pt idx="2106">
                  <c:v>150.50727443898597</c:v>
                </c:pt>
                <c:pt idx="2107">
                  <c:v>150.50727443898597</c:v>
                </c:pt>
                <c:pt idx="2108">
                  <c:v>150.4902439026084</c:v>
                </c:pt>
                <c:pt idx="2109">
                  <c:v>150.44825394321506</c:v>
                </c:pt>
                <c:pt idx="2110">
                  <c:v>150.83131953533709</c:v>
                </c:pt>
                <c:pt idx="2111">
                  <c:v>150.83131953533709</c:v>
                </c:pt>
                <c:pt idx="2112">
                  <c:v>150.54010057726435</c:v>
                </c:pt>
                <c:pt idx="2113">
                  <c:v>150.44837371698813</c:v>
                </c:pt>
                <c:pt idx="2114">
                  <c:v>150.35676151528725</c:v>
                </c:pt>
                <c:pt idx="2115">
                  <c:v>150.22622197160194</c:v>
                </c:pt>
                <c:pt idx="2116">
                  <c:v>150.38186027067087</c:v>
                </c:pt>
                <c:pt idx="2117">
                  <c:v>149.67068114979079</c:v>
                </c:pt>
                <c:pt idx="2118">
                  <c:v>149.5936475610437</c:v>
                </c:pt>
                <c:pt idx="2119">
                  <c:v>149.47789115592187</c:v>
                </c:pt>
                <c:pt idx="2120">
                  <c:v>149.47789115592187</c:v>
                </c:pt>
                <c:pt idx="2121">
                  <c:v>149.47789115592187</c:v>
                </c:pt>
                <c:pt idx="2122">
                  <c:v>149.47789115592187</c:v>
                </c:pt>
                <c:pt idx="2123">
                  <c:v>149.47789115592187</c:v>
                </c:pt>
                <c:pt idx="2124">
                  <c:v>149.47789115592187</c:v>
                </c:pt>
                <c:pt idx="2125">
                  <c:v>149.47789115592187</c:v>
                </c:pt>
                <c:pt idx="2126">
                  <c:v>147.03979211768686</c:v>
                </c:pt>
                <c:pt idx="2127">
                  <c:v>147.00406915700947</c:v>
                </c:pt>
                <c:pt idx="2128">
                  <c:v>146.9683908500329</c:v>
                </c:pt>
                <c:pt idx="2129">
                  <c:v>146.9683908500329</c:v>
                </c:pt>
                <c:pt idx="2130">
                  <c:v>146.9683908500329</c:v>
                </c:pt>
                <c:pt idx="2131">
                  <c:v>148.14392218368678</c:v>
                </c:pt>
                <c:pt idx="2132">
                  <c:v>148.07121711519019</c:v>
                </c:pt>
                <c:pt idx="2133">
                  <c:v>147.99860292802927</c:v>
                </c:pt>
                <c:pt idx="2134">
                  <c:v>147.99860292802927</c:v>
                </c:pt>
                <c:pt idx="2135">
                  <c:v>147.63238112616872</c:v>
                </c:pt>
                <c:pt idx="2136">
                  <c:v>147.56031548399406</c:v>
                </c:pt>
                <c:pt idx="2137">
                  <c:v>151.39274677788163</c:v>
                </c:pt>
                <c:pt idx="2138">
                  <c:v>151.31598067864232</c:v>
                </c:pt>
                <c:pt idx="2139">
                  <c:v>151.23931053702708</c:v>
                </c:pt>
                <c:pt idx="2140">
                  <c:v>151.23931053702708</c:v>
                </c:pt>
                <c:pt idx="2141">
                  <c:v>151.23931053702708</c:v>
                </c:pt>
                <c:pt idx="2142">
                  <c:v>151.23931053702708</c:v>
                </c:pt>
                <c:pt idx="2143">
                  <c:v>151.23931053702708</c:v>
                </c:pt>
                <c:pt idx="2144">
                  <c:v>151.23931053702708</c:v>
                </c:pt>
                <c:pt idx="2145">
                  <c:v>151.49001692198271</c:v>
                </c:pt>
                <c:pt idx="2146">
                  <c:v>151.41312923506328</c:v>
                </c:pt>
                <c:pt idx="2147">
                  <c:v>151.07509081647416</c:v>
                </c:pt>
                <c:pt idx="2148">
                  <c:v>150.97413530284237</c:v>
                </c:pt>
                <c:pt idx="2149">
                  <c:v>149.11489779629053</c:v>
                </c:pt>
                <c:pt idx="2150">
                  <c:v>149.87788929472302</c:v>
                </c:pt>
                <c:pt idx="2151">
                  <c:v>149.48037513495817</c:v>
                </c:pt>
                <c:pt idx="2152">
                  <c:v>149.07507655236813</c:v>
                </c:pt>
                <c:pt idx="2153">
                  <c:v>149.16433195608596</c:v>
                </c:pt>
                <c:pt idx="2154">
                  <c:v>149.08185913857616</c:v>
                </c:pt>
                <c:pt idx="2155">
                  <c:v>148.78271006988186</c:v>
                </c:pt>
                <c:pt idx="2156">
                  <c:v>148.78271006988186</c:v>
                </c:pt>
                <c:pt idx="2157">
                  <c:v>148.70902024521581</c:v>
                </c:pt>
                <c:pt idx="2158">
                  <c:v>148.70902024521581</c:v>
                </c:pt>
                <c:pt idx="2159">
                  <c:v>148.70902024521581</c:v>
                </c:pt>
                <c:pt idx="2160">
                  <c:v>148.70902024521581</c:v>
                </c:pt>
                <c:pt idx="2161">
                  <c:v>148.70902024521581</c:v>
                </c:pt>
                <c:pt idx="2162">
                  <c:v>148.70902024521581</c:v>
                </c:pt>
                <c:pt idx="2163">
                  <c:v>148.70902024521581</c:v>
                </c:pt>
                <c:pt idx="2164">
                  <c:v>148.70902024521581</c:v>
                </c:pt>
                <c:pt idx="2165">
                  <c:v>148.70902024521581</c:v>
                </c:pt>
                <c:pt idx="2166">
                  <c:v>148.70902024521581</c:v>
                </c:pt>
                <c:pt idx="2167">
                  <c:v>148.70902024521581</c:v>
                </c:pt>
                <c:pt idx="2168">
                  <c:v>148.70902024521581</c:v>
                </c:pt>
                <c:pt idx="2169">
                  <c:v>148.57190997142976</c:v>
                </c:pt>
                <c:pt idx="2170">
                  <c:v>148.53644765017913</c:v>
                </c:pt>
                <c:pt idx="2171">
                  <c:v>148.5010296568301</c:v>
                </c:pt>
                <c:pt idx="2172">
                  <c:v>150.59307173966621</c:v>
                </c:pt>
                <c:pt idx="2173">
                  <c:v>150.53857366955623</c:v>
                </c:pt>
                <c:pt idx="2174">
                  <c:v>150.48414372203391</c:v>
                </c:pt>
                <c:pt idx="2175">
                  <c:v>150.48414372203391</c:v>
                </c:pt>
                <c:pt idx="2176">
                  <c:v>150.48414372203391</c:v>
                </c:pt>
                <c:pt idx="2177">
                  <c:v>150.48414372203391</c:v>
                </c:pt>
                <c:pt idx="2178">
                  <c:v>150.48414372203391</c:v>
                </c:pt>
                <c:pt idx="2179">
                  <c:v>147.91725629144588</c:v>
                </c:pt>
                <c:pt idx="2180">
                  <c:v>147.8661029906462</c:v>
                </c:pt>
                <c:pt idx="2181">
                  <c:v>147.81501363147251</c:v>
                </c:pt>
                <c:pt idx="2182">
                  <c:v>147.81501363147251</c:v>
                </c:pt>
                <c:pt idx="2183">
                  <c:v>147.81501363147251</c:v>
                </c:pt>
                <c:pt idx="2184">
                  <c:v>147.81501363147251</c:v>
                </c:pt>
                <c:pt idx="2185">
                  <c:v>147.81501363147251</c:v>
                </c:pt>
                <c:pt idx="2186">
                  <c:v>147.81501363147251</c:v>
                </c:pt>
                <c:pt idx="2187">
                  <c:v>147.81501363147251</c:v>
                </c:pt>
                <c:pt idx="2188">
                  <c:v>147.81501363147251</c:v>
                </c:pt>
                <c:pt idx="2189">
                  <c:v>148.23621124331208</c:v>
                </c:pt>
                <c:pt idx="2190">
                  <c:v>147.20399301881122</c:v>
                </c:pt>
                <c:pt idx="2191">
                  <c:v>147.64090055614778</c:v>
                </c:pt>
                <c:pt idx="2192">
                  <c:v>148.32701104954964</c:v>
                </c:pt>
                <c:pt idx="2193">
                  <c:v>148.32701104954964</c:v>
                </c:pt>
                <c:pt idx="2194">
                  <c:v>148.25277334039183</c:v>
                </c:pt>
                <c:pt idx="2195">
                  <c:v>148.25277334039183</c:v>
                </c:pt>
                <c:pt idx="2196">
                  <c:v>148.25277334039183</c:v>
                </c:pt>
                <c:pt idx="2197">
                  <c:v>148.25277334039183</c:v>
                </c:pt>
                <c:pt idx="2198">
                  <c:v>148.25277334039183</c:v>
                </c:pt>
                <c:pt idx="2199">
                  <c:v>148.25277334039183</c:v>
                </c:pt>
                <c:pt idx="2200">
                  <c:v>148.25277334039183</c:v>
                </c:pt>
                <c:pt idx="2201">
                  <c:v>148.25277334039183</c:v>
                </c:pt>
                <c:pt idx="2202">
                  <c:v>148.25277334039183</c:v>
                </c:pt>
                <c:pt idx="2203">
                  <c:v>148.25277334039183</c:v>
                </c:pt>
                <c:pt idx="2204">
                  <c:v>148.25277334039183</c:v>
                </c:pt>
                <c:pt idx="2205">
                  <c:v>148.25277334039183</c:v>
                </c:pt>
                <c:pt idx="2206">
                  <c:v>148.25277334039183</c:v>
                </c:pt>
                <c:pt idx="2207">
                  <c:v>148.25277334039183</c:v>
                </c:pt>
                <c:pt idx="2208">
                  <c:v>148.25277334039183</c:v>
                </c:pt>
                <c:pt idx="2209">
                  <c:v>148.25277334039183</c:v>
                </c:pt>
                <c:pt idx="2210">
                  <c:v>148.25277334039183</c:v>
                </c:pt>
                <c:pt idx="2211">
                  <c:v>151.1174771892685</c:v>
                </c:pt>
                <c:pt idx="2212">
                  <c:v>151.08912447313537</c:v>
                </c:pt>
                <c:pt idx="2213">
                  <c:v>151.06080719789742</c:v>
                </c:pt>
                <c:pt idx="2214">
                  <c:v>151.06080719789742</c:v>
                </c:pt>
                <c:pt idx="2215">
                  <c:v>151.06080719789742</c:v>
                </c:pt>
                <c:pt idx="2216">
                  <c:v>150.70878801554454</c:v>
                </c:pt>
                <c:pt idx="2217">
                  <c:v>150.68094616087856</c:v>
                </c:pt>
                <c:pt idx="2218">
                  <c:v>150.65313910853095</c:v>
                </c:pt>
                <c:pt idx="2219">
                  <c:v>150.65313910853095</c:v>
                </c:pt>
                <c:pt idx="2220">
                  <c:v>150.65313910853095</c:v>
                </c:pt>
                <c:pt idx="2221">
                  <c:v>150.65313910853095</c:v>
                </c:pt>
                <c:pt idx="2222">
                  <c:v>150.65313910853095</c:v>
                </c:pt>
                <c:pt idx="2223">
                  <c:v>150.65313910853095</c:v>
                </c:pt>
                <c:pt idx="2224">
                  <c:v>150.65313910853095</c:v>
                </c:pt>
                <c:pt idx="2225">
                  <c:v>150.65313910853095</c:v>
                </c:pt>
                <c:pt idx="2226">
                  <c:v>150.65313910853095</c:v>
                </c:pt>
                <c:pt idx="2227">
                  <c:v>150.65313910853095</c:v>
                </c:pt>
                <c:pt idx="2228">
                  <c:v>151.05198286429456</c:v>
                </c:pt>
                <c:pt idx="2229">
                  <c:v>146.38089166540664</c:v>
                </c:pt>
                <c:pt idx="2230">
                  <c:v>146.38089166540664</c:v>
                </c:pt>
                <c:pt idx="2231">
                  <c:v>145.05065844294765</c:v>
                </c:pt>
                <c:pt idx="2232">
                  <c:v>144.98127860339258</c:v>
                </c:pt>
                <c:pt idx="2233">
                  <c:v>144.91198548863696</c:v>
                </c:pt>
                <c:pt idx="2234">
                  <c:v>145.62259786499916</c:v>
                </c:pt>
                <c:pt idx="2235">
                  <c:v>145.58633587867135</c:v>
                </c:pt>
                <c:pt idx="2236">
                  <c:v>145.55011921982646</c:v>
                </c:pt>
                <c:pt idx="2237">
                  <c:v>146.58793187658776</c:v>
                </c:pt>
                <c:pt idx="2238">
                  <c:v>145.32528162491238</c:v>
                </c:pt>
                <c:pt idx="2239">
                  <c:v>145.22018478552249</c:v>
                </c:pt>
                <c:pt idx="2240">
                  <c:v>145.15000949709338</c:v>
                </c:pt>
                <c:pt idx="2241">
                  <c:v>148.09189478603787</c:v>
                </c:pt>
                <c:pt idx="2242">
                  <c:v>148.0116608978615</c:v>
                </c:pt>
                <c:pt idx="2243">
                  <c:v>147.58083669736587</c:v>
                </c:pt>
                <c:pt idx="2244">
                  <c:v>147.48610406248287</c:v>
                </c:pt>
                <c:pt idx="2245">
                  <c:v>147.39148984339346</c:v>
                </c:pt>
                <c:pt idx="2246">
                  <c:v>147.39148984339346</c:v>
                </c:pt>
                <c:pt idx="2247">
                  <c:v>147.39148984339346</c:v>
                </c:pt>
                <c:pt idx="2248">
                  <c:v>147.39148984339346</c:v>
                </c:pt>
                <c:pt idx="2249">
                  <c:v>147.39148984339346</c:v>
                </c:pt>
                <c:pt idx="2250">
                  <c:v>147.39148984339346</c:v>
                </c:pt>
                <c:pt idx="2251">
                  <c:v>147.39148984339346</c:v>
                </c:pt>
                <c:pt idx="2252">
                  <c:v>147.39148984339346</c:v>
                </c:pt>
                <c:pt idx="2253">
                  <c:v>147.39148984339346</c:v>
                </c:pt>
                <c:pt idx="2254">
                  <c:v>147.39148984339346</c:v>
                </c:pt>
                <c:pt idx="2255">
                  <c:v>147.39148984339346</c:v>
                </c:pt>
                <c:pt idx="2256">
                  <c:v>147.39148984339346</c:v>
                </c:pt>
                <c:pt idx="2257">
                  <c:v>147.39148984339346</c:v>
                </c:pt>
                <c:pt idx="2258">
                  <c:v>147.39148984339346</c:v>
                </c:pt>
                <c:pt idx="2259">
                  <c:v>147.39148984339346</c:v>
                </c:pt>
                <c:pt idx="2260">
                  <c:v>147.39148984339346</c:v>
                </c:pt>
                <c:pt idx="2261">
                  <c:v>147.39148984339346</c:v>
                </c:pt>
                <c:pt idx="2262">
                  <c:v>147.39148984339346</c:v>
                </c:pt>
                <c:pt idx="2263">
                  <c:v>147.39148984339346</c:v>
                </c:pt>
                <c:pt idx="2264">
                  <c:v>147.39148984339346</c:v>
                </c:pt>
                <c:pt idx="2265">
                  <c:v>147.39148984339346</c:v>
                </c:pt>
                <c:pt idx="2266">
                  <c:v>147.39148984339346</c:v>
                </c:pt>
                <c:pt idx="2267">
                  <c:v>147.39148984339346</c:v>
                </c:pt>
                <c:pt idx="2268">
                  <c:v>147.39148984339346</c:v>
                </c:pt>
                <c:pt idx="2269">
                  <c:v>147.39148984339346</c:v>
                </c:pt>
                <c:pt idx="2270">
                  <c:v>147.39148984339346</c:v>
                </c:pt>
                <c:pt idx="2271">
                  <c:v>147.39148984339346</c:v>
                </c:pt>
                <c:pt idx="2272">
                  <c:v>147.39148984339346</c:v>
                </c:pt>
                <c:pt idx="2273">
                  <c:v>147.39148984339346</c:v>
                </c:pt>
                <c:pt idx="2274">
                  <c:v>147.39148984339346</c:v>
                </c:pt>
                <c:pt idx="2275">
                  <c:v>147.39148984339346</c:v>
                </c:pt>
                <c:pt idx="2276">
                  <c:v>147.53042645152766</c:v>
                </c:pt>
                <c:pt idx="2277">
                  <c:v>147.50275957355254</c:v>
                </c:pt>
                <c:pt idx="2278">
                  <c:v>147.47512727917487</c:v>
                </c:pt>
                <c:pt idx="2279">
                  <c:v>147.82996348239215</c:v>
                </c:pt>
                <c:pt idx="2280">
                  <c:v>148.17346199167812</c:v>
                </c:pt>
                <c:pt idx="2281">
                  <c:v>152.58224538382268</c:v>
                </c:pt>
                <c:pt idx="2282">
                  <c:v>152.58224538382268</c:v>
                </c:pt>
                <c:pt idx="2283">
                  <c:v>152.4864915610236</c:v>
                </c:pt>
                <c:pt idx="2284">
                  <c:v>152.4864915610236</c:v>
                </c:pt>
                <c:pt idx="2285">
                  <c:v>152.4864915610236</c:v>
                </c:pt>
                <c:pt idx="2286">
                  <c:v>152.4864915610236</c:v>
                </c:pt>
                <c:pt idx="2287">
                  <c:v>152.4864915610236</c:v>
                </c:pt>
                <c:pt idx="2288">
                  <c:v>152.4864915610236</c:v>
                </c:pt>
                <c:pt idx="2289">
                  <c:v>152.4864915610236</c:v>
                </c:pt>
                <c:pt idx="2290">
                  <c:v>152.4864915610236</c:v>
                </c:pt>
                <c:pt idx="2291">
                  <c:v>152.4864915610236</c:v>
                </c:pt>
                <c:pt idx="2292">
                  <c:v>152.4864915610236</c:v>
                </c:pt>
                <c:pt idx="2293">
                  <c:v>152.4864915610236</c:v>
                </c:pt>
                <c:pt idx="2294">
                  <c:v>152.4864915610236</c:v>
                </c:pt>
                <c:pt idx="2295">
                  <c:v>152.4864915610236</c:v>
                </c:pt>
                <c:pt idx="2296">
                  <c:v>152.4864915610236</c:v>
                </c:pt>
                <c:pt idx="2297">
                  <c:v>152.4864915610236</c:v>
                </c:pt>
                <c:pt idx="2298">
                  <c:v>152.4864915610236</c:v>
                </c:pt>
                <c:pt idx="2299">
                  <c:v>152.4864915610236</c:v>
                </c:pt>
                <c:pt idx="2300">
                  <c:v>152.2785179058792</c:v>
                </c:pt>
                <c:pt idx="2301">
                  <c:v>152.25080663311803</c:v>
                </c:pt>
                <c:pt idx="2302">
                  <c:v>152.4144246758772</c:v>
                </c:pt>
                <c:pt idx="2303">
                  <c:v>152.31855142701107</c:v>
                </c:pt>
                <c:pt idx="2304">
                  <c:v>152.22279801970603</c:v>
                </c:pt>
                <c:pt idx="2305">
                  <c:v>152.22279801970603</c:v>
                </c:pt>
                <c:pt idx="2306">
                  <c:v>152.22279801970603</c:v>
                </c:pt>
                <c:pt idx="2307">
                  <c:v>151.8997307361582</c:v>
                </c:pt>
                <c:pt idx="2308">
                  <c:v>151.87249253238451</c:v>
                </c:pt>
                <c:pt idx="2309">
                  <c:v>151.84528837636557</c:v>
                </c:pt>
                <c:pt idx="2310">
                  <c:v>151.84528837636557</c:v>
                </c:pt>
                <c:pt idx="2311">
                  <c:v>151.84528837636557</c:v>
                </c:pt>
                <c:pt idx="2312">
                  <c:v>151.84528837636557</c:v>
                </c:pt>
                <c:pt idx="2313">
                  <c:v>151.84528837636557</c:v>
                </c:pt>
                <c:pt idx="2314">
                  <c:v>151.84528837636557</c:v>
                </c:pt>
                <c:pt idx="2315">
                  <c:v>151.84528837636557</c:v>
                </c:pt>
                <c:pt idx="2316">
                  <c:v>151.84528837636557</c:v>
                </c:pt>
                <c:pt idx="2317">
                  <c:v>151.84528837636557</c:v>
                </c:pt>
                <c:pt idx="2318">
                  <c:v>151.84528837636557</c:v>
                </c:pt>
                <c:pt idx="2319">
                  <c:v>149.8388940965423</c:v>
                </c:pt>
                <c:pt idx="2320">
                  <c:v>149.80157393959857</c:v>
                </c:pt>
                <c:pt idx="2321">
                  <c:v>149.76430043285103</c:v>
                </c:pt>
                <c:pt idx="2322">
                  <c:v>149.76430043285103</c:v>
                </c:pt>
                <c:pt idx="2323">
                  <c:v>149.76430043285103</c:v>
                </c:pt>
                <c:pt idx="2324">
                  <c:v>149.76430043285103</c:v>
                </c:pt>
                <c:pt idx="2325">
                  <c:v>149.76430043285103</c:v>
                </c:pt>
                <c:pt idx="2326">
                  <c:v>149.76430043285103</c:v>
                </c:pt>
                <c:pt idx="2327">
                  <c:v>149.76430043285103</c:v>
                </c:pt>
                <c:pt idx="2328">
                  <c:v>149.76430043285103</c:v>
                </c:pt>
                <c:pt idx="2329">
                  <c:v>149.76430043285103</c:v>
                </c:pt>
                <c:pt idx="2330">
                  <c:v>149.76430043285103</c:v>
                </c:pt>
                <c:pt idx="2331">
                  <c:v>149.76430043285103</c:v>
                </c:pt>
                <c:pt idx="2332">
                  <c:v>149.76430043285103</c:v>
                </c:pt>
                <c:pt idx="2333">
                  <c:v>149.76430043285103</c:v>
                </c:pt>
                <c:pt idx="2334">
                  <c:v>149.76430043285103</c:v>
                </c:pt>
                <c:pt idx="2335">
                  <c:v>149.76430043285103</c:v>
                </c:pt>
                <c:pt idx="2336">
                  <c:v>149.81087560748912</c:v>
                </c:pt>
                <c:pt idx="2337">
                  <c:v>149.7836472376969</c:v>
                </c:pt>
                <c:pt idx="2338">
                  <c:v>149.75645290336689</c:v>
                </c:pt>
                <c:pt idx="2339">
                  <c:v>149.75645290336689</c:v>
                </c:pt>
                <c:pt idx="2340">
                  <c:v>149.75645290336689</c:v>
                </c:pt>
                <c:pt idx="2341">
                  <c:v>149.75645290336689</c:v>
                </c:pt>
                <c:pt idx="2342">
                  <c:v>149.75645290336689</c:v>
                </c:pt>
                <c:pt idx="2343">
                  <c:v>149.75645290336689</c:v>
                </c:pt>
                <c:pt idx="2344">
                  <c:v>149.75645290336689</c:v>
                </c:pt>
                <c:pt idx="2345">
                  <c:v>149.82802502192874</c:v>
                </c:pt>
                <c:pt idx="2346">
                  <c:v>149.80077521536845</c:v>
                </c:pt>
                <c:pt idx="2347">
                  <c:v>149.18107353899359</c:v>
                </c:pt>
                <c:pt idx="2348">
                  <c:v>149.08878166579217</c:v>
                </c:pt>
                <c:pt idx="2349">
                  <c:v>148.99660515743221</c:v>
                </c:pt>
                <c:pt idx="2350">
                  <c:v>148.99964323009334</c:v>
                </c:pt>
                <c:pt idx="2351">
                  <c:v>148.97245770788081</c:v>
                </c:pt>
                <c:pt idx="2352">
                  <c:v>148.90737563382112</c:v>
                </c:pt>
                <c:pt idx="2353">
                  <c:v>148.27949109856803</c:v>
                </c:pt>
                <c:pt idx="2354">
                  <c:v>148.22436553720661</c:v>
                </c:pt>
                <c:pt idx="2355">
                  <c:v>148.18826207967979</c:v>
                </c:pt>
                <c:pt idx="2356">
                  <c:v>147.73077250768429</c:v>
                </c:pt>
                <c:pt idx="2357">
                  <c:v>151.02110907338783</c:v>
                </c:pt>
                <c:pt idx="2358">
                  <c:v>149.9426359998634</c:v>
                </c:pt>
                <c:pt idx="2359">
                  <c:v>149.36779243750354</c:v>
                </c:pt>
                <c:pt idx="2360">
                  <c:v>144.88108883343963</c:v>
                </c:pt>
                <c:pt idx="2361">
                  <c:v>144.88108883343963</c:v>
                </c:pt>
                <c:pt idx="2362">
                  <c:v>144.81822005589686</c:v>
                </c:pt>
                <c:pt idx="2363">
                  <c:v>144.81822005589686</c:v>
                </c:pt>
                <c:pt idx="2364">
                  <c:v>144.81822005589686</c:v>
                </c:pt>
                <c:pt idx="2365">
                  <c:v>144.81822005589686</c:v>
                </c:pt>
                <c:pt idx="2366">
                  <c:v>144.11987476690126</c:v>
                </c:pt>
                <c:pt idx="2367">
                  <c:v>144.05795750694165</c:v>
                </c:pt>
                <c:pt idx="2368">
                  <c:v>143.98764389086236</c:v>
                </c:pt>
                <c:pt idx="2369">
                  <c:v>143.88040494088173</c:v>
                </c:pt>
                <c:pt idx="2370">
                  <c:v>141.93348921572735</c:v>
                </c:pt>
                <c:pt idx="2371">
                  <c:v>141.93348921572735</c:v>
                </c:pt>
                <c:pt idx="2372">
                  <c:v>141.84718733682229</c:v>
                </c:pt>
                <c:pt idx="2373">
                  <c:v>141.84718733682229</c:v>
                </c:pt>
                <c:pt idx="2374">
                  <c:v>140.59477996633458</c:v>
                </c:pt>
                <c:pt idx="2375">
                  <c:v>140.53645203191215</c:v>
                </c:pt>
                <c:pt idx="2376">
                  <c:v>140.03553612270244</c:v>
                </c:pt>
                <c:pt idx="2377">
                  <c:v>139.90852395651171</c:v>
                </c:pt>
                <c:pt idx="2378">
                  <c:v>139.93432665856662</c:v>
                </c:pt>
                <c:pt idx="2379">
                  <c:v>139.93432665856662</c:v>
                </c:pt>
                <c:pt idx="2380">
                  <c:v>139.8768242907789</c:v>
                </c:pt>
                <c:pt idx="2381">
                  <c:v>139.8768242907789</c:v>
                </c:pt>
                <c:pt idx="2382">
                  <c:v>140.1882920963879</c:v>
                </c:pt>
                <c:pt idx="2383">
                  <c:v>140.16160220371</c:v>
                </c:pt>
                <c:pt idx="2384">
                  <c:v>140.1877126919515</c:v>
                </c:pt>
                <c:pt idx="2385">
                  <c:v>140.13021624335033</c:v>
                </c:pt>
                <c:pt idx="2386">
                  <c:v>138.89066520820916</c:v>
                </c:pt>
                <c:pt idx="2387">
                  <c:v>138.83479006896266</c:v>
                </c:pt>
                <c:pt idx="2388">
                  <c:v>138.77898477364022</c:v>
                </c:pt>
                <c:pt idx="2389">
                  <c:v>138.77898477364022</c:v>
                </c:pt>
                <c:pt idx="2390">
                  <c:v>138.77898477364022</c:v>
                </c:pt>
                <c:pt idx="2391">
                  <c:v>138.77898477364022</c:v>
                </c:pt>
                <c:pt idx="2392">
                  <c:v>138.77898477364022</c:v>
                </c:pt>
                <c:pt idx="2393">
                  <c:v>138.77898477364022</c:v>
                </c:pt>
                <c:pt idx="2394">
                  <c:v>138.77898477364022</c:v>
                </c:pt>
                <c:pt idx="2395">
                  <c:v>143.01514890161863</c:v>
                </c:pt>
                <c:pt idx="2396">
                  <c:v>142.91873871384405</c:v>
                </c:pt>
                <c:pt idx="2397">
                  <c:v>142.82244903880417</c:v>
                </c:pt>
                <c:pt idx="2398">
                  <c:v>142.55362650659976</c:v>
                </c:pt>
                <c:pt idx="2399">
                  <c:v>142.45779322181895</c:v>
                </c:pt>
                <c:pt idx="2400">
                  <c:v>142.36207972864412</c:v>
                </c:pt>
                <c:pt idx="2401">
                  <c:v>142.10089556393402</c:v>
                </c:pt>
                <c:pt idx="2402">
                  <c:v>142.26534342741394</c:v>
                </c:pt>
                <c:pt idx="2403">
                  <c:v>142.63091177246847</c:v>
                </c:pt>
                <c:pt idx="2404">
                  <c:v>142.18749868299145</c:v>
                </c:pt>
                <c:pt idx="2405">
                  <c:v>142.16716737325251</c:v>
                </c:pt>
                <c:pt idx="2406">
                  <c:v>142.56246966259701</c:v>
                </c:pt>
                <c:pt idx="2407">
                  <c:v>142.14314073797951</c:v>
                </c:pt>
                <c:pt idx="2408">
                  <c:v>142.22895987445557</c:v>
                </c:pt>
                <c:pt idx="2409">
                  <c:v>142.49134730026842</c:v>
                </c:pt>
                <c:pt idx="2410">
                  <c:v>142.49134730026842</c:v>
                </c:pt>
                <c:pt idx="2411">
                  <c:v>142.45311379185171</c:v>
                </c:pt>
                <c:pt idx="2412">
                  <c:v>142.45418502699548</c:v>
                </c:pt>
                <c:pt idx="2413">
                  <c:v>142.39666176059535</c:v>
                </c:pt>
                <c:pt idx="2414">
                  <c:v>146.27160728764733</c:v>
                </c:pt>
                <c:pt idx="2415">
                  <c:v>146.21095625283232</c:v>
                </c:pt>
                <c:pt idx="2416">
                  <c:v>146.15038103181084</c:v>
                </c:pt>
                <c:pt idx="2417">
                  <c:v>146.15038103181084</c:v>
                </c:pt>
                <c:pt idx="2418">
                  <c:v>146.15038103181084</c:v>
                </c:pt>
                <c:pt idx="2419">
                  <c:v>146.15038103181084</c:v>
                </c:pt>
                <c:pt idx="2420">
                  <c:v>146.21774769033951</c:v>
                </c:pt>
                <c:pt idx="2421">
                  <c:v>146.16028393390212</c:v>
                </c:pt>
                <c:pt idx="2422">
                  <c:v>146.32096367548905</c:v>
                </c:pt>
                <c:pt idx="2423">
                  <c:v>146.26337089907022</c:v>
                </c:pt>
                <c:pt idx="2424">
                  <c:v>146.20585011362192</c:v>
                </c:pt>
                <c:pt idx="2425">
                  <c:v>146.20585011362192</c:v>
                </c:pt>
                <c:pt idx="2426">
                  <c:v>147.41517541784754</c:v>
                </c:pt>
                <c:pt idx="2427">
                  <c:v>147.38704055156813</c:v>
                </c:pt>
                <c:pt idx="2428">
                  <c:v>147.35894085387156</c:v>
                </c:pt>
                <c:pt idx="2429">
                  <c:v>148.31764268140631</c:v>
                </c:pt>
                <c:pt idx="2430">
                  <c:v>148.25899541965538</c:v>
                </c:pt>
                <c:pt idx="2431">
                  <c:v>147.89624684589518</c:v>
                </c:pt>
                <c:pt idx="2432">
                  <c:v>147.83612756217633</c:v>
                </c:pt>
                <c:pt idx="2433">
                  <c:v>147.77608342756213</c:v>
                </c:pt>
                <c:pt idx="2434">
                  <c:v>147.77608342756213</c:v>
                </c:pt>
                <c:pt idx="2435">
                  <c:v>147.77608342756213</c:v>
                </c:pt>
                <c:pt idx="2436">
                  <c:v>147.77608342756213</c:v>
                </c:pt>
                <c:pt idx="2437">
                  <c:v>147.77608342756213</c:v>
                </c:pt>
                <c:pt idx="2438">
                  <c:v>147.77608342756213</c:v>
                </c:pt>
                <c:pt idx="2439">
                  <c:v>147.77608342756213</c:v>
                </c:pt>
                <c:pt idx="2440">
                  <c:v>147.77608342756213</c:v>
                </c:pt>
                <c:pt idx="2441">
                  <c:v>147.77608342756213</c:v>
                </c:pt>
                <c:pt idx="2442">
                  <c:v>147.77608342756213</c:v>
                </c:pt>
                <c:pt idx="2443">
                  <c:v>147.77608342756213</c:v>
                </c:pt>
                <c:pt idx="2444">
                  <c:v>148.55407834379668</c:v>
                </c:pt>
                <c:pt idx="2445">
                  <c:v>148.465072197631</c:v>
                </c:pt>
                <c:pt idx="2446">
                  <c:v>148.37617730914803</c:v>
                </c:pt>
                <c:pt idx="2447">
                  <c:v>148.37617730914803</c:v>
                </c:pt>
                <c:pt idx="2448">
                  <c:v>148.37617730914803</c:v>
                </c:pt>
                <c:pt idx="2449">
                  <c:v>148.37617730914803</c:v>
                </c:pt>
                <c:pt idx="2450">
                  <c:v>148.37617730914803</c:v>
                </c:pt>
                <c:pt idx="2451">
                  <c:v>148.37617730914803</c:v>
                </c:pt>
                <c:pt idx="2452">
                  <c:v>148.37617730914803</c:v>
                </c:pt>
                <c:pt idx="2453">
                  <c:v>148.37617730914803</c:v>
                </c:pt>
                <c:pt idx="2454">
                  <c:v>148.37617730914803</c:v>
                </c:pt>
                <c:pt idx="2455">
                  <c:v>148.37617730914803</c:v>
                </c:pt>
                <c:pt idx="2456">
                  <c:v>148.37617730914803</c:v>
                </c:pt>
                <c:pt idx="2457">
                  <c:v>148.37617730914803</c:v>
                </c:pt>
                <c:pt idx="2458">
                  <c:v>148.37617730914803</c:v>
                </c:pt>
                <c:pt idx="2459">
                  <c:v>148.37617730914803</c:v>
                </c:pt>
                <c:pt idx="2460">
                  <c:v>148.37617730914803</c:v>
                </c:pt>
                <c:pt idx="2461">
                  <c:v>148.37617730914803</c:v>
                </c:pt>
                <c:pt idx="2462">
                  <c:v>148.37617730914803</c:v>
                </c:pt>
                <c:pt idx="2463">
                  <c:v>148.37617730914803</c:v>
                </c:pt>
                <c:pt idx="2464">
                  <c:v>148.37617730914803</c:v>
                </c:pt>
                <c:pt idx="2465">
                  <c:v>148.36182672579204</c:v>
                </c:pt>
                <c:pt idx="2466">
                  <c:v>148.33354095826698</c:v>
                </c:pt>
                <c:pt idx="2467">
                  <c:v>148.30529054795133</c:v>
                </c:pt>
                <c:pt idx="2468">
                  <c:v>148.30529054795133</c:v>
                </c:pt>
                <c:pt idx="2469">
                  <c:v>148.30529054795133</c:v>
                </c:pt>
                <c:pt idx="2470">
                  <c:v>148.30529054795133</c:v>
                </c:pt>
                <c:pt idx="2471">
                  <c:v>148.30529054795133</c:v>
                </c:pt>
                <c:pt idx="2472">
                  <c:v>148.30529054795133</c:v>
                </c:pt>
                <c:pt idx="2473">
                  <c:v>148.30529054795133</c:v>
                </c:pt>
                <c:pt idx="2474">
                  <c:v>148.30529054795133</c:v>
                </c:pt>
                <c:pt idx="2475">
                  <c:v>148.30529054795133</c:v>
                </c:pt>
                <c:pt idx="2476">
                  <c:v>148.30529054795133</c:v>
                </c:pt>
                <c:pt idx="2477">
                  <c:v>148.30529054795133</c:v>
                </c:pt>
                <c:pt idx="2478">
                  <c:v>148.30529054795133</c:v>
                </c:pt>
                <c:pt idx="2479">
                  <c:v>148.30529054795133</c:v>
                </c:pt>
                <c:pt idx="2480">
                  <c:v>148.30529054795133</c:v>
                </c:pt>
              </c:numCache>
            </c:numRef>
          </c:val>
          <c:smooth val="0"/>
          <c:extLst xmlns:c16r2="http://schemas.microsoft.com/office/drawing/2015/06/chart">
            <c:ext xmlns:c16="http://schemas.microsoft.com/office/drawing/2014/chart" uri="{C3380CC4-5D6E-409C-BE32-E72D297353CC}">
              <c16:uniqueId val="{00000002-6C35-42D4-9EB0-2FE6E64DA8E8}"/>
            </c:ext>
          </c:extLst>
        </c:ser>
        <c:ser>
          <c:idx val="2"/>
          <c:order val="3"/>
          <c:tx>
            <c:strRef>
              <c:f>FINAL!$M$15</c:f>
              <c:strCache>
                <c:ptCount val="1"/>
                <c:pt idx="0">
                  <c:v>Basket 50% S&amp;P 500 + 50% Final Mean Reversion Strategy</c:v>
                </c:pt>
              </c:strCache>
            </c:strRef>
          </c:tx>
          <c:spPr>
            <a:ln>
              <a:solidFill>
                <a:srgbClr val="7030A0"/>
              </a:solidFill>
            </a:ln>
          </c:spPr>
          <c:marker>
            <c:symbol val="none"/>
          </c:marker>
          <c:cat>
            <c:numRef>
              <c:f>FINAL!$E$16:$E$2496</c:f>
              <c:numCache>
                <c:formatCode>m/d/yyyy</c:formatCode>
                <c:ptCount val="2481"/>
                <c:pt idx="0">
                  <c:v>38824</c:v>
                </c:pt>
                <c:pt idx="1">
                  <c:v>38825</c:v>
                </c:pt>
                <c:pt idx="2">
                  <c:v>38826</c:v>
                </c:pt>
                <c:pt idx="3">
                  <c:v>38827</c:v>
                </c:pt>
                <c:pt idx="4">
                  <c:v>38828</c:v>
                </c:pt>
                <c:pt idx="5">
                  <c:v>38831</c:v>
                </c:pt>
                <c:pt idx="6">
                  <c:v>38832</c:v>
                </c:pt>
                <c:pt idx="7">
                  <c:v>38833</c:v>
                </c:pt>
                <c:pt idx="8">
                  <c:v>38834</c:v>
                </c:pt>
                <c:pt idx="9">
                  <c:v>38835</c:v>
                </c:pt>
                <c:pt idx="10">
                  <c:v>38838</c:v>
                </c:pt>
                <c:pt idx="11">
                  <c:v>38839</c:v>
                </c:pt>
                <c:pt idx="12">
                  <c:v>38840</c:v>
                </c:pt>
                <c:pt idx="13">
                  <c:v>38841</c:v>
                </c:pt>
                <c:pt idx="14">
                  <c:v>38842</c:v>
                </c:pt>
                <c:pt idx="15">
                  <c:v>38845</c:v>
                </c:pt>
                <c:pt idx="16">
                  <c:v>38846</c:v>
                </c:pt>
                <c:pt idx="17">
                  <c:v>38847</c:v>
                </c:pt>
                <c:pt idx="18">
                  <c:v>38848</c:v>
                </c:pt>
                <c:pt idx="19">
                  <c:v>38849</c:v>
                </c:pt>
                <c:pt idx="20">
                  <c:v>38852</c:v>
                </c:pt>
                <c:pt idx="21">
                  <c:v>38853</c:v>
                </c:pt>
                <c:pt idx="22">
                  <c:v>38854</c:v>
                </c:pt>
                <c:pt idx="23">
                  <c:v>38855</c:v>
                </c:pt>
                <c:pt idx="24">
                  <c:v>38856</c:v>
                </c:pt>
                <c:pt idx="25">
                  <c:v>38859</c:v>
                </c:pt>
                <c:pt idx="26">
                  <c:v>38860</c:v>
                </c:pt>
                <c:pt idx="27">
                  <c:v>38861</c:v>
                </c:pt>
                <c:pt idx="28">
                  <c:v>38862</c:v>
                </c:pt>
                <c:pt idx="29">
                  <c:v>38863</c:v>
                </c:pt>
                <c:pt idx="30">
                  <c:v>38867</c:v>
                </c:pt>
                <c:pt idx="31">
                  <c:v>38868</c:v>
                </c:pt>
                <c:pt idx="32">
                  <c:v>38869</c:v>
                </c:pt>
                <c:pt idx="33">
                  <c:v>38870</c:v>
                </c:pt>
                <c:pt idx="34">
                  <c:v>38873</c:v>
                </c:pt>
                <c:pt idx="35">
                  <c:v>38874</c:v>
                </c:pt>
                <c:pt idx="36">
                  <c:v>38875</c:v>
                </c:pt>
                <c:pt idx="37">
                  <c:v>38876</c:v>
                </c:pt>
                <c:pt idx="38">
                  <c:v>38877</c:v>
                </c:pt>
                <c:pt idx="39">
                  <c:v>38880</c:v>
                </c:pt>
                <c:pt idx="40">
                  <c:v>38881</c:v>
                </c:pt>
                <c:pt idx="41">
                  <c:v>38882</c:v>
                </c:pt>
                <c:pt idx="42">
                  <c:v>38883</c:v>
                </c:pt>
                <c:pt idx="43">
                  <c:v>38884</c:v>
                </c:pt>
                <c:pt idx="44">
                  <c:v>38887</c:v>
                </c:pt>
                <c:pt idx="45">
                  <c:v>38888</c:v>
                </c:pt>
                <c:pt idx="46">
                  <c:v>38889</c:v>
                </c:pt>
                <c:pt idx="47">
                  <c:v>38890</c:v>
                </c:pt>
                <c:pt idx="48">
                  <c:v>38891</c:v>
                </c:pt>
                <c:pt idx="49">
                  <c:v>38894</c:v>
                </c:pt>
                <c:pt idx="50">
                  <c:v>38895</c:v>
                </c:pt>
                <c:pt idx="51">
                  <c:v>38896</c:v>
                </c:pt>
                <c:pt idx="52">
                  <c:v>38897</c:v>
                </c:pt>
                <c:pt idx="53">
                  <c:v>38898</c:v>
                </c:pt>
                <c:pt idx="54">
                  <c:v>38901</c:v>
                </c:pt>
                <c:pt idx="55">
                  <c:v>38903</c:v>
                </c:pt>
                <c:pt idx="56">
                  <c:v>38904</c:v>
                </c:pt>
                <c:pt idx="57">
                  <c:v>38905</c:v>
                </c:pt>
                <c:pt idx="58">
                  <c:v>38908</c:v>
                </c:pt>
                <c:pt idx="59">
                  <c:v>38909</c:v>
                </c:pt>
                <c:pt idx="60">
                  <c:v>38910</c:v>
                </c:pt>
                <c:pt idx="61">
                  <c:v>38911</c:v>
                </c:pt>
                <c:pt idx="62">
                  <c:v>38912</c:v>
                </c:pt>
                <c:pt idx="63">
                  <c:v>38915</c:v>
                </c:pt>
                <c:pt idx="64">
                  <c:v>38916</c:v>
                </c:pt>
                <c:pt idx="65">
                  <c:v>38917</c:v>
                </c:pt>
                <c:pt idx="66">
                  <c:v>38918</c:v>
                </c:pt>
                <c:pt idx="67">
                  <c:v>38919</c:v>
                </c:pt>
                <c:pt idx="68">
                  <c:v>38922</c:v>
                </c:pt>
                <c:pt idx="69">
                  <c:v>38923</c:v>
                </c:pt>
                <c:pt idx="70">
                  <c:v>38924</c:v>
                </c:pt>
                <c:pt idx="71">
                  <c:v>38925</c:v>
                </c:pt>
                <c:pt idx="72">
                  <c:v>38926</c:v>
                </c:pt>
                <c:pt idx="73">
                  <c:v>38929</c:v>
                </c:pt>
                <c:pt idx="74">
                  <c:v>38930</c:v>
                </c:pt>
                <c:pt idx="75">
                  <c:v>38931</c:v>
                </c:pt>
                <c:pt idx="76">
                  <c:v>38932</c:v>
                </c:pt>
                <c:pt idx="77">
                  <c:v>38933</c:v>
                </c:pt>
                <c:pt idx="78">
                  <c:v>38936</c:v>
                </c:pt>
                <c:pt idx="79">
                  <c:v>38937</c:v>
                </c:pt>
                <c:pt idx="80">
                  <c:v>38938</c:v>
                </c:pt>
                <c:pt idx="81">
                  <c:v>38939</c:v>
                </c:pt>
                <c:pt idx="82">
                  <c:v>38940</c:v>
                </c:pt>
                <c:pt idx="83">
                  <c:v>38943</c:v>
                </c:pt>
                <c:pt idx="84">
                  <c:v>38944</c:v>
                </c:pt>
                <c:pt idx="85">
                  <c:v>38945</c:v>
                </c:pt>
                <c:pt idx="86">
                  <c:v>38946</c:v>
                </c:pt>
                <c:pt idx="87">
                  <c:v>38947</c:v>
                </c:pt>
                <c:pt idx="88">
                  <c:v>38950</c:v>
                </c:pt>
                <c:pt idx="89">
                  <c:v>38951</c:v>
                </c:pt>
                <c:pt idx="90">
                  <c:v>38952</c:v>
                </c:pt>
                <c:pt idx="91">
                  <c:v>38953</c:v>
                </c:pt>
                <c:pt idx="92">
                  <c:v>38954</c:v>
                </c:pt>
                <c:pt idx="93">
                  <c:v>38957</c:v>
                </c:pt>
                <c:pt idx="94">
                  <c:v>38958</c:v>
                </c:pt>
                <c:pt idx="95">
                  <c:v>38959</c:v>
                </c:pt>
                <c:pt idx="96">
                  <c:v>38960</c:v>
                </c:pt>
                <c:pt idx="97">
                  <c:v>38961</c:v>
                </c:pt>
                <c:pt idx="98">
                  <c:v>38965</c:v>
                </c:pt>
                <c:pt idx="99">
                  <c:v>38966</c:v>
                </c:pt>
                <c:pt idx="100">
                  <c:v>38967</c:v>
                </c:pt>
                <c:pt idx="101">
                  <c:v>38968</c:v>
                </c:pt>
                <c:pt idx="102">
                  <c:v>38971</c:v>
                </c:pt>
                <c:pt idx="103">
                  <c:v>38972</c:v>
                </c:pt>
                <c:pt idx="104">
                  <c:v>38973</c:v>
                </c:pt>
                <c:pt idx="105">
                  <c:v>38974</c:v>
                </c:pt>
                <c:pt idx="106">
                  <c:v>38975</c:v>
                </c:pt>
                <c:pt idx="107">
                  <c:v>38978</c:v>
                </c:pt>
                <c:pt idx="108">
                  <c:v>38979</c:v>
                </c:pt>
                <c:pt idx="109">
                  <c:v>38980</c:v>
                </c:pt>
                <c:pt idx="110">
                  <c:v>38981</c:v>
                </c:pt>
                <c:pt idx="111">
                  <c:v>38982</c:v>
                </c:pt>
                <c:pt idx="112">
                  <c:v>38985</c:v>
                </c:pt>
                <c:pt idx="113">
                  <c:v>38986</c:v>
                </c:pt>
                <c:pt idx="114">
                  <c:v>38987</c:v>
                </c:pt>
                <c:pt idx="115">
                  <c:v>38988</c:v>
                </c:pt>
                <c:pt idx="116">
                  <c:v>38989</c:v>
                </c:pt>
                <c:pt idx="117">
                  <c:v>38992</c:v>
                </c:pt>
                <c:pt idx="118">
                  <c:v>38993</c:v>
                </c:pt>
                <c:pt idx="119">
                  <c:v>38994</c:v>
                </c:pt>
                <c:pt idx="120">
                  <c:v>38995</c:v>
                </c:pt>
                <c:pt idx="121">
                  <c:v>38996</c:v>
                </c:pt>
                <c:pt idx="122">
                  <c:v>38999</c:v>
                </c:pt>
                <c:pt idx="123">
                  <c:v>39000</c:v>
                </c:pt>
                <c:pt idx="124">
                  <c:v>39001</c:v>
                </c:pt>
                <c:pt idx="125">
                  <c:v>39002</c:v>
                </c:pt>
                <c:pt idx="126">
                  <c:v>39003</c:v>
                </c:pt>
                <c:pt idx="127">
                  <c:v>39006</c:v>
                </c:pt>
                <c:pt idx="128">
                  <c:v>39007</c:v>
                </c:pt>
                <c:pt idx="129">
                  <c:v>39008</c:v>
                </c:pt>
                <c:pt idx="130">
                  <c:v>39009</c:v>
                </c:pt>
                <c:pt idx="131">
                  <c:v>39010</c:v>
                </c:pt>
                <c:pt idx="132">
                  <c:v>39013</c:v>
                </c:pt>
                <c:pt idx="133">
                  <c:v>39014</c:v>
                </c:pt>
                <c:pt idx="134">
                  <c:v>39015</c:v>
                </c:pt>
                <c:pt idx="135">
                  <c:v>39016</c:v>
                </c:pt>
                <c:pt idx="136">
                  <c:v>39017</c:v>
                </c:pt>
                <c:pt idx="137">
                  <c:v>39020</c:v>
                </c:pt>
                <c:pt idx="138">
                  <c:v>39021</c:v>
                </c:pt>
                <c:pt idx="139">
                  <c:v>39022</c:v>
                </c:pt>
                <c:pt idx="140">
                  <c:v>39023</c:v>
                </c:pt>
                <c:pt idx="141">
                  <c:v>39024</c:v>
                </c:pt>
                <c:pt idx="142">
                  <c:v>39027</c:v>
                </c:pt>
                <c:pt idx="143">
                  <c:v>39028</c:v>
                </c:pt>
                <c:pt idx="144">
                  <c:v>39029</c:v>
                </c:pt>
                <c:pt idx="145">
                  <c:v>39030</c:v>
                </c:pt>
                <c:pt idx="146">
                  <c:v>39031</c:v>
                </c:pt>
                <c:pt idx="147">
                  <c:v>39034</c:v>
                </c:pt>
                <c:pt idx="148">
                  <c:v>39035</c:v>
                </c:pt>
                <c:pt idx="149">
                  <c:v>39036</c:v>
                </c:pt>
                <c:pt idx="150">
                  <c:v>39037</c:v>
                </c:pt>
                <c:pt idx="151">
                  <c:v>39038</c:v>
                </c:pt>
                <c:pt idx="152">
                  <c:v>39041</c:v>
                </c:pt>
                <c:pt idx="153">
                  <c:v>39042</c:v>
                </c:pt>
                <c:pt idx="154">
                  <c:v>39043</c:v>
                </c:pt>
                <c:pt idx="155">
                  <c:v>39045</c:v>
                </c:pt>
                <c:pt idx="156">
                  <c:v>39048</c:v>
                </c:pt>
                <c:pt idx="157">
                  <c:v>39049</c:v>
                </c:pt>
                <c:pt idx="158">
                  <c:v>39050</c:v>
                </c:pt>
                <c:pt idx="159">
                  <c:v>39051</c:v>
                </c:pt>
                <c:pt idx="160">
                  <c:v>39052</c:v>
                </c:pt>
                <c:pt idx="161">
                  <c:v>39055</c:v>
                </c:pt>
                <c:pt idx="162">
                  <c:v>39056</c:v>
                </c:pt>
                <c:pt idx="163">
                  <c:v>39057</c:v>
                </c:pt>
                <c:pt idx="164">
                  <c:v>39058</c:v>
                </c:pt>
                <c:pt idx="165">
                  <c:v>39059</c:v>
                </c:pt>
                <c:pt idx="166">
                  <c:v>39062</c:v>
                </c:pt>
                <c:pt idx="167">
                  <c:v>39063</c:v>
                </c:pt>
                <c:pt idx="168">
                  <c:v>39064</c:v>
                </c:pt>
                <c:pt idx="169">
                  <c:v>39065</c:v>
                </c:pt>
                <c:pt idx="170">
                  <c:v>39066</c:v>
                </c:pt>
                <c:pt idx="171">
                  <c:v>39069</c:v>
                </c:pt>
                <c:pt idx="172">
                  <c:v>39070</c:v>
                </c:pt>
                <c:pt idx="173">
                  <c:v>39071</c:v>
                </c:pt>
                <c:pt idx="174">
                  <c:v>39072</c:v>
                </c:pt>
                <c:pt idx="175">
                  <c:v>39073</c:v>
                </c:pt>
                <c:pt idx="176">
                  <c:v>39077</c:v>
                </c:pt>
                <c:pt idx="177">
                  <c:v>39078</c:v>
                </c:pt>
                <c:pt idx="178">
                  <c:v>39079</c:v>
                </c:pt>
                <c:pt idx="179">
                  <c:v>39080</c:v>
                </c:pt>
                <c:pt idx="180">
                  <c:v>39085</c:v>
                </c:pt>
                <c:pt idx="181">
                  <c:v>39086</c:v>
                </c:pt>
                <c:pt idx="182">
                  <c:v>39087</c:v>
                </c:pt>
                <c:pt idx="183">
                  <c:v>39090</c:v>
                </c:pt>
                <c:pt idx="184">
                  <c:v>39091</c:v>
                </c:pt>
                <c:pt idx="185">
                  <c:v>39092</c:v>
                </c:pt>
                <c:pt idx="186">
                  <c:v>39093</c:v>
                </c:pt>
                <c:pt idx="187">
                  <c:v>39094</c:v>
                </c:pt>
                <c:pt idx="188">
                  <c:v>39098</c:v>
                </c:pt>
                <c:pt idx="189">
                  <c:v>39099</c:v>
                </c:pt>
                <c:pt idx="190">
                  <c:v>39100</c:v>
                </c:pt>
                <c:pt idx="191">
                  <c:v>39101</c:v>
                </c:pt>
                <c:pt idx="192">
                  <c:v>39104</c:v>
                </c:pt>
                <c:pt idx="193">
                  <c:v>39105</c:v>
                </c:pt>
                <c:pt idx="194">
                  <c:v>39106</c:v>
                </c:pt>
                <c:pt idx="195">
                  <c:v>39107</c:v>
                </c:pt>
                <c:pt idx="196">
                  <c:v>39108</c:v>
                </c:pt>
                <c:pt idx="197">
                  <c:v>39111</c:v>
                </c:pt>
                <c:pt idx="198">
                  <c:v>39112</c:v>
                </c:pt>
                <c:pt idx="199">
                  <c:v>39113</c:v>
                </c:pt>
                <c:pt idx="200">
                  <c:v>39114</c:v>
                </c:pt>
                <c:pt idx="201">
                  <c:v>39115</c:v>
                </c:pt>
                <c:pt idx="202">
                  <c:v>39118</c:v>
                </c:pt>
                <c:pt idx="203">
                  <c:v>39119</c:v>
                </c:pt>
                <c:pt idx="204">
                  <c:v>39120</c:v>
                </c:pt>
                <c:pt idx="205">
                  <c:v>39121</c:v>
                </c:pt>
                <c:pt idx="206">
                  <c:v>39122</c:v>
                </c:pt>
                <c:pt idx="207">
                  <c:v>39125</c:v>
                </c:pt>
                <c:pt idx="208">
                  <c:v>39126</c:v>
                </c:pt>
                <c:pt idx="209">
                  <c:v>39127</c:v>
                </c:pt>
                <c:pt idx="210">
                  <c:v>39128</c:v>
                </c:pt>
                <c:pt idx="211">
                  <c:v>39129</c:v>
                </c:pt>
                <c:pt idx="212">
                  <c:v>39133</c:v>
                </c:pt>
                <c:pt idx="213">
                  <c:v>39134</c:v>
                </c:pt>
                <c:pt idx="214">
                  <c:v>39135</c:v>
                </c:pt>
                <c:pt idx="215">
                  <c:v>39136</c:v>
                </c:pt>
                <c:pt idx="216">
                  <c:v>39139</c:v>
                </c:pt>
                <c:pt idx="217">
                  <c:v>39140</c:v>
                </c:pt>
                <c:pt idx="218">
                  <c:v>39141</c:v>
                </c:pt>
                <c:pt idx="219">
                  <c:v>39142</c:v>
                </c:pt>
                <c:pt idx="220">
                  <c:v>39143</c:v>
                </c:pt>
                <c:pt idx="221">
                  <c:v>39146</c:v>
                </c:pt>
                <c:pt idx="222">
                  <c:v>39147</c:v>
                </c:pt>
                <c:pt idx="223">
                  <c:v>39148</c:v>
                </c:pt>
                <c:pt idx="224">
                  <c:v>39149</c:v>
                </c:pt>
                <c:pt idx="225">
                  <c:v>39150</c:v>
                </c:pt>
                <c:pt idx="226">
                  <c:v>39153</c:v>
                </c:pt>
                <c:pt idx="227">
                  <c:v>39154</c:v>
                </c:pt>
                <c:pt idx="228">
                  <c:v>39155</c:v>
                </c:pt>
                <c:pt idx="229">
                  <c:v>39156</c:v>
                </c:pt>
                <c:pt idx="230">
                  <c:v>39157</c:v>
                </c:pt>
                <c:pt idx="231">
                  <c:v>39160</c:v>
                </c:pt>
                <c:pt idx="232">
                  <c:v>39161</c:v>
                </c:pt>
                <c:pt idx="233">
                  <c:v>39162</c:v>
                </c:pt>
                <c:pt idx="234">
                  <c:v>39163</c:v>
                </c:pt>
                <c:pt idx="235">
                  <c:v>39164</c:v>
                </c:pt>
                <c:pt idx="236">
                  <c:v>39167</c:v>
                </c:pt>
                <c:pt idx="237">
                  <c:v>39168</c:v>
                </c:pt>
                <c:pt idx="238">
                  <c:v>39169</c:v>
                </c:pt>
                <c:pt idx="239">
                  <c:v>39170</c:v>
                </c:pt>
                <c:pt idx="240">
                  <c:v>39171</c:v>
                </c:pt>
                <c:pt idx="241">
                  <c:v>39174</c:v>
                </c:pt>
                <c:pt idx="242">
                  <c:v>39175</c:v>
                </c:pt>
                <c:pt idx="243">
                  <c:v>39176</c:v>
                </c:pt>
                <c:pt idx="244">
                  <c:v>39177</c:v>
                </c:pt>
                <c:pt idx="245">
                  <c:v>39181</c:v>
                </c:pt>
                <c:pt idx="246">
                  <c:v>39182</c:v>
                </c:pt>
                <c:pt idx="247">
                  <c:v>39183</c:v>
                </c:pt>
                <c:pt idx="248">
                  <c:v>39184</c:v>
                </c:pt>
                <c:pt idx="249">
                  <c:v>39185</c:v>
                </c:pt>
                <c:pt idx="250">
                  <c:v>39188</c:v>
                </c:pt>
                <c:pt idx="251">
                  <c:v>39189</c:v>
                </c:pt>
                <c:pt idx="252">
                  <c:v>39190</c:v>
                </c:pt>
                <c:pt idx="253">
                  <c:v>39191</c:v>
                </c:pt>
                <c:pt idx="254">
                  <c:v>39192</c:v>
                </c:pt>
                <c:pt idx="255">
                  <c:v>39195</c:v>
                </c:pt>
                <c:pt idx="256">
                  <c:v>39196</c:v>
                </c:pt>
                <c:pt idx="257">
                  <c:v>39197</c:v>
                </c:pt>
                <c:pt idx="258">
                  <c:v>39198</c:v>
                </c:pt>
                <c:pt idx="259">
                  <c:v>39199</c:v>
                </c:pt>
                <c:pt idx="260">
                  <c:v>39202</c:v>
                </c:pt>
                <c:pt idx="261">
                  <c:v>39203</c:v>
                </c:pt>
                <c:pt idx="262">
                  <c:v>39204</c:v>
                </c:pt>
                <c:pt idx="263">
                  <c:v>39205</c:v>
                </c:pt>
                <c:pt idx="264">
                  <c:v>39206</c:v>
                </c:pt>
                <c:pt idx="265">
                  <c:v>39209</c:v>
                </c:pt>
                <c:pt idx="266">
                  <c:v>39210</c:v>
                </c:pt>
                <c:pt idx="267">
                  <c:v>39211</c:v>
                </c:pt>
                <c:pt idx="268">
                  <c:v>39212</c:v>
                </c:pt>
                <c:pt idx="269">
                  <c:v>39213</c:v>
                </c:pt>
                <c:pt idx="270">
                  <c:v>39216</c:v>
                </c:pt>
                <c:pt idx="271">
                  <c:v>39217</c:v>
                </c:pt>
                <c:pt idx="272">
                  <c:v>39218</c:v>
                </c:pt>
                <c:pt idx="273">
                  <c:v>39219</c:v>
                </c:pt>
                <c:pt idx="274">
                  <c:v>39220</c:v>
                </c:pt>
                <c:pt idx="275">
                  <c:v>39223</c:v>
                </c:pt>
                <c:pt idx="276">
                  <c:v>39224</c:v>
                </c:pt>
                <c:pt idx="277">
                  <c:v>39225</c:v>
                </c:pt>
                <c:pt idx="278">
                  <c:v>39226</c:v>
                </c:pt>
                <c:pt idx="279">
                  <c:v>39227</c:v>
                </c:pt>
                <c:pt idx="280">
                  <c:v>39231</c:v>
                </c:pt>
                <c:pt idx="281">
                  <c:v>39232</c:v>
                </c:pt>
                <c:pt idx="282">
                  <c:v>39233</c:v>
                </c:pt>
                <c:pt idx="283">
                  <c:v>39234</c:v>
                </c:pt>
                <c:pt idx="284">
                  <c:v>39237</c:v>
                </c:pt>
                <c:pt idx="285">
                  <c:v>39238</c:v>
                </c:pt>
                <c:pt idx="286">
                  <c:v>39239</c:v>
                </c:pt>
                <c:pt idx="287">
                  <c:v>39240</c:v>
                </c:pt>
                <c:pt idx="288">
                  <c:v>39241</c:v>
                </c:pt>
                <c:pt idx="289">
                  <c:v>39244</c:v>
                </c:pt>
                <c:pt idx="290">
                  <c:v>39245</c:v>
                </c:pt>
                <c:pt idx="291">
                  <c:v>39246</c:v>
                </c:pt>
                <c:pt idx="292">
                  <c:v>39247</c:v>
                </c:pt>
                <c:pt idx="293">
                  <c:v>39248</c:v>
                </c:pt>
                <c:pt idx="294">
                  <c:v>39251</c:v>
                </c:pt>
                <c:pt idx="295">
                  <c:v>39252</c:v>
                </c:pt>
                <c:pt idx="296">
                  <c:v>39253</c:v>
                </c:pt>
                <c:pt idx="297">
                  <c:v>39254</c:v>
                </c:pt>
                <c:pt idx="298">
                  <c:v>39255</c:v>
                </c:pt>
                <c:pt idx="299">
                  <c:v>39258</c:v>
                </c:pt>
                <c:pt idx="300">
                  <c:v>39259</c:v>
                </c:pt>
                <c:pt idx="301">
                  <c:v>39260</c:v>
                </c:pt>
                <c:pt idx="302">
                  <c:v>39261</c:v>
                </c:pt>
                <c:pt idx="303">
                  <c:v>39262</c:v>
                </c:pt>
                <c:pt idx="304">
                  <c:v>39265</c:v>
                </c:pt>
                <c:pt idx="305">
                  <c:v>39266</c:v>
                </c:pt>
                <c:pt idx="306">
                  <c:v>39268</c:v>
                </c:pt>
                <c:pt idx="307">
                  <c:v>39269</c:v>
                </c:pt>
                <c:pt idx="308">
                  <c:v>39272</c:v>
                </c:pt>
                <c:pt idx="309">
                  <c:v>39273</c:v>
                </c:pt>
                <c:pt idx="310">
                  <c:v>39274</c:v>
                </c:pt>
                <c:pt idx="311">
                  <c:v>39275</c:v>
                </c:pt>
                <c:pt idx="312">
                  <c:v>39276</c:v>
                </c:pt>
                <c:pt idx="313">
                  <c:v>39279</c:v>
                </c:pt>
                <c:pt idx="314">
                  <c:v>39280</c:v>
                </c:pt>
                <c:pt idx="315">
                  <c:v>39281</c:v>
                </c:pt>
                <c:pt idx="316">
                  <c:v>39282</c:v>
                </c:pt>
                <c:pt idx="317">
                  <c:v>39283</c:v>
                </c:pt>
                <c:pt idx="318">
                  <c:v>39286</c:v>
                </c:pt>
                <c:pt idx="319">
                  <c:v>39287</c:v>
                </c:pt>
                <c:pt idx="320">
                  <c:v>39288</c:v>
                </c:pt>
                <c:pt idx="321">
                  <c:v>39289</c:v>
                </c:pt>
                <c:pt idx="322">
                  <c:v>39290</c:v>
                </c:pt>
                <c:pt idx="323">
                  <c:v>39293</c:v>
                </c:pt>
                <c:pt idx="324">
                  <c:v>39294</c:v>
                </c:pt>
                <c:pt idx="325">
                  <c:v>39295</c:v>
                </c:pt>
                <c:pt idx="326">
                  <c:v>39296</c:v>
                </c:pt>
                <c:pt idx="327">
                  <c:v>39297</c:v>
                </c:pt>
                <c:pt idx="328">
                  <c:v>39300</c:v>
                </c:pt>
                <c:pt idx="329">
                  <c:v>39301</c:v>
                </c:pt>
                <c:pt idx="330">
                  <c:v>39302</c:v>
                </c:pt>
                <c:pt idx="331">
                  <c:v>39303</c:v>
                </c:pt>
                <c:pt idx="332">
                  <c:v>39304</c:v>
                </c:pt>
                <c:pt idx="333">
                  <c:v>39307</c:v>
                </c:pt>
                <c:pt idx="334">
                  <c:v>39308</c:v>
                </c:pt>
                <c:pt idx="335">
                  <c:v>39309</c:v>
                </c:pt>
                <c:pt idx="336">
                  <c:v>39310</c:v>
                </c:pt>
                <c:pt idx="337">
                  <c:v>39311</c:v>
                </c:pt>
                <c:pt idx="338">
                  <c:v>39314</c:v>
                </c:pt>
                <c:pt idx="339">
                  <c:v>39315</c:v>
                </c:pt>
                <c:pt idx="340">
                  <c:v>39316</c:v>
                </c:pt>
                <c:pt idx="341">
                  <c:v>39317</c:v>
                </c:pt>
                <c:pt idx="342">
                  <c:v>39318</c:v>
                </c:pt>
                <c:pt idx="343">
                  <c:v>39321</c:v>
                </c:pt>
                <c:pt idx="344">
                  <c:v>39322</c:v>
                </c:pt>
                <c:pt idx="345">
                  <c:v>39323</c:v>
                </c:pt>
                <c:pt idx="346">
                  <c:v>39324</c:v>
                </c:pt>
                <c:pt idx="347">
                  <c:v>39325</c:v>
                </c:pt>
                <c:pt idx="348">
                  <c:v>39329</c:v>
                </c:pt>
                <c:pt idx="349">
                  <c:v>39330</c:v>
                </c:pt>
                <c:pt idx="350">
                  <c:v>39331</c:v>
                </c:pt>
                <c:pt idx="351">
                  <c:v>39332</c:v>
                </c:pt>
                <c:pt idx="352">
                  <c:v>39335</c:v>
                </c:pt>
                <c:pt idx="353">
                  <c:v>39336</c:v>
                </c:pt>
                <c:pt idx="354">
                  <c:v>39337</c:v>
                </c:pt>
                <c:pt idx="355">
                  <c:v>39338</c:v>
                </c:pt>
                <c:pt idx="356">
                  <c:v>39339</c:v>
                </c:pt>
                <c:pt idx="357">
                  <c:v>39342</c:v>
                </c:pt>
                <c:pt idx="358">
                  <c:v>39343</c:v>
                </c:pt>
                <c:pt idx="359">
                  <c:v>39344</c:v>
                </c:pt>
                <c:pt idx="360">
                  <c:v>39345</c:v>
                </c:pt>
                <c:pt idx="361">
                  <c:v>39346</c:v>
                </c:pt>
                <c:pt idx="362">
                  <c:v>39349</c:v>
                </c:pt>
                <c:pt idx="363">
                  <c:v>39350</c:v>
                </c:pt>
                <c:pt idx="364">
                  <c:v>39351</c:v>
                </c:pt>
                <c:pt idx="365">
                  <c:v>39352</c:v>
                </c:pt>
                <c:pt idx="366">
                  <c:v>39353</c:v>
                </c:pt>
                <c:pt idx="367">
                  <c:v>39356</c:v>
                </c:pt>
                <c:pt idx="368">
                  <c:v>39357</c:v>
                </c:pt>
                <c:pt idx="369">
                  <c:v>39358</c:v>
                </c:pt>
                <c:pt idx="370">
                  <c:v>39359</c:v>
                </c:pt>
                <c:pt idx="371">
                  <c:v>39360</c:v>
                </c:pt>
                <c:pt idx="372">
                  <c:v>39363</c:v>
                </c:pt>
                <c:pt idx="373">
                  <c:v>39364</c:v>
                </c:pt>
                <c:pt idx="374">
                  <c:v>39365</c:v>
                </c:pt>
                <c:pt idx="375">
                  <c:v>39366</c:v>
                </c:pt>
                <c:pt idx="376">
                  <c:v>39367</c:v>
                </c:pt>
                <c:pt idx="377">
                  <c:v>39370</c:v>
                </c:pt>
                <c:pt idx="378">
                  <c:v>39371</c:v>
                </c:pt>
                <c:pt idx="379">
                  <c:v>39372</c:v>
                </c:pt>
                <c:pt idx="380">
                  <c:v>39373</c:v>
                </c:pt>
                <c:pt idx="381">
                  <c:v>39374</c:v>
                </c:pt>
                <c:pt idx="382">
                  <c:v>39377</c:v>
                </c:pt>
                <c:pt idx="383">
                  <c:v>39378</c:v>
                </c:pt>
                <c:pt idx="384">
                  <c:v>39379</c:v>
                </c:pt>
                <c:pt idx="385">
                  <c:v>39380</c:v>
                </c:pt>
                <c:pt idx="386">
                  <c:v>39381</c:v>
                </c:pt>
                <c:pt idx="387">
                  <c:v>39384</c:v>
                </c:pt>
                <c:pt idx="388">
                  <c:v>39385</c:v>
                </c:pt>
                <c:pt idx="389">
                  <c:v>39386</c:v>
                </c:pt>
                <c:pt idx="390">
                  <c:v>39387</c:v>
                </c:pt>
                <c:pt idx="391">
                  <c:v>39388</c:v>
                </c:pt>
                <c:pt idx="392">
                  <c:v>39391</c:v>
                </c:pt>
                <c:pt idx="393">
                  <c:v>39392</c:v>
                </c:pt>
                <c:pt idx="394">
                  <c:v>39393</c:v>
                </c:pt>
                <c:pt idx="395">
                  <c:v>39394</c:v>
                </c:pt>
                <c:pt idx="396">
                  <c:v>39395</c:v>
                </c:pt>
                <c:pt idx="397">
                  <c:v>39398</c:v>
                </c:pt>
                <c:pt idx="398">
                  <c:v>39399</c:v>
                </c:pt>
                <c:pt idx="399">
                  <c:v>39400</c:v>
                </c:pt>
                <c:pt idx="400">
                  <c:v>39401</c:v>
                </c:pt>
                <c:pt idx="401">
                  <c:v>39402</c:v>
                </c:pt>
                <c:pt idx="402">
                  <c:v>39405</c:v>
                </c:pt>
                <c:pt idx="403">
                  <c:v>39406</c:v>
                </c:pt>
                <c:pt idx="404">
                  <c:v>39407</c:v>
                </c:pt>
                <c:pt idx="405">
                  <c:v>39409</c:v>
                </c:pt>
                <c:pt idx="406">
                  <c:v>39412</c:v>
                </c:pt>
                <c:pt idx="407">
                  <c:v>39413</c:v>
                </c:pt>
                <c:pt idx="408">
                  <c:v>39414</c:v>
                </c:pt>
                <c:pt idx="409">
                  <c:v>39415</c:v>
                </c:pt>
                <c:pt idx="410">
                  <c:v>39416</c:v>
                </c:pt>
                <c:pt idx="411">
                  <c:v>39419</c:v>
                </c:pt>
                <c:pt idx="412">
                  <c:v>39420</c:v>
                </c:pt>
                <c:pt idx="413">
                  <c:v>39421</c:v>
                </c:pt>
                <c:pt idx="414">
                  <c:v>39422</c:v>
                </c:pt>
                <c:pt idx="415">
                  <c:v>39423</c:v>
                </c:pt>
                <c:pt idx="416">
                  <c:v>39426</c:v>
                </c:pt>
                <c:pt idx="417">
                  <c:v>39427</c:v>
                </c:pt>
                <c:pt idx="418">
                  <c:v>39428</c:v>
                </c:pt>
                <c:pt idx="419">
                  <c:v>39429</c:v>
                </c:pt>
                <c:pt idx="420">
                  <c:v>39430</c:v>
                </c:pt>
                <c:pt idx="421">
                  <c:v>39433</c:v>
                </c:pt>
                <c:pt idx="422">
                  <c:v>39434</c:v>
                </c:pt>
                <c:pt idx="423">
                  <c:v>39435</c:v>
                </c:pt>
                <c:pt idx="424">
                  <c:v>39436</c:v>
                </c:pt>
                <c:pt idx="425">
                  <c:v>39437</c:v>
                </c:pt>
                <c:pt idx="426">
                  <c:v>39440</c:v>
                </c:pt>
                <c:pt idx="427">
                  <c:v>39442</c:v>
                </c:pt>
                <c:pt idx="428">
                  <c:v>39443</c:v>
                </c:pt>
                <c:pt idx="429">
                  <c:v>39444</c:v>
                </c:pt>
                <c:pt idx="430">
                  <c:v>39447</c:v>
                </c:pt>
                <c:pt idx="431">
                  <c:v>39449</c:v>
                </c:pt>
                <c:pt idx="432">
                  <c:v>39450</c:v>
                </c:pt>
                <c:pt idx="433">
                  <c:v>39451</c:v>
                </c:pt>
                <c:pt idx="434">
                  <c:v>39454</c:v>
                </c:pt>
                <c:pt idx="435">
                  <c:v>39455</c:v>
                </c:pt>
                <c:pt idx="436">
                  <c:v>39456</c:v>
                </c:pt>
                <c:pt idx="437">
                  <c:v>39457</c:v>
                </c:pt>
                <c:pt idx="438">
                  <c:v>39458</c:v>
                </c:pt>
                <c:pt idx="439">
                  <c:v>39461</c:v>
                </c:pt>
                <c:pt idx="440">
                  <c:v>39462</c:v>
                </c:pt>
                <c:pt idx="441">
                  <c:v>39463</c:v>
                </c:pt>
                <c:pt idx="442">
                  <c:v>39464</c:v>
                </c:pt>
                <c:pt idx="443">
                  <c:v>39465</c:v>
                </c:pt>
                <c:pt idx="444">
                  <c:v>39469</c:v>
                </c:pt>
                <c:pt idx="445">
                  <c:v>39470</c:v>
                </c:pt>
                <c:pt idx="446">
                  <c:v>39471</c:v>
                </c:pt>
                <c:pt idx="447">
                  <c:v>39472</c:v>
                </c:pt>
                <c:pt idx="448">
                  <c:v>39475</c:v>
                </c:pt>
                <c:pt idx="449">
                  <c:v>39476</c:v>
                </c:pt>
                <c:pt idx="450">
                  <c:v>39477</c:v>
                </c:pt>
                <c:pt idx="451">
                  <c:v>39478</c:v>
                </c:pt>
                <c:pt idx="452">
                  <c:v>39479</c:v>
                </c:pt>
                <c:pt idx="453">
                  <c:v>39482</c:v>
                </c:pt>
                <c:pt idx="454">
                  <c:v>39483</c:v>
                </c:pt>
                <c:pt idx="455">
                  <c:v>39484</c:v>
                </c:pt>
                <c:pt idx="456">
                  <c:v>39485</c:v>
                </c:pt>
                <c:pt idx="457">
                  <c:v>39486</c:v>
                </c:pt>
                <c:pt idx="458">
                  <c:v>39489</c:v>
                </c:pt>
                <c:pt idx="459">
                  <c:v>39490</c:v>
                </c:pt>
                <c:pt idx="460">
                  <c:v>39491</c:v>
                </c:pt>
                <c:pt idx="461">
                  <c:v>39492</c:v>
                </c:pt>
                <c:pt idx="462">
                  <c:v>39493</c:v>
                </c:pt>
                <c:pt idx="463">
                  <c:v>39497</c:v>
                </c:pt>
                <c:pt idx="464">
                  <c:v>39498</c:v>
                </c:pt>
                <c:pt idx="465">
                  <c:v>39499</c:v>
                </c:pt>
                <c:pt idx="466">
                  <c:v>39500</c:v>
                </c:pt>
                <c:pt idx="467">
                  <c:v>39503</c:v>
                </c:pt>
                <c:pt idx="468">
                  <c:v>39504</c:v>
                </c:pt>
                <c:pt idx="469">
                  <c:v>39505</c:v>
                </c:pt>
                <c:pt idx="470">
                  <c:v>39506</c:v>
                </c:pt>
                <c:pt idx="471">
                  <c:v>39507</c:v>
                </c:pt>
                <c:pt idx="472">
                  <c:v>39510</c:v>
                </c:pt>
                <c:pt idx="473">
                  <c:v>39511</c:v>
                </c:pt>
                <c:pt idx="474">
                  <c:v>39512</c:v>
                </c:pt>
                <c:pt idx="475">
                  <c:v>39513</c:v>
                </c:pt>
                <c:pt idx="476">
                  <c:v>39514</c:v>
                </c:pt>
                <c:pt idx="477">
                  <c:v>39517</c:v>
                </c:pt>
                <c:pt idx="478">
                  <c:v>39518</c:v>
                </c:pt>
                <c:pt idx="479">
                  <c:v>39519</c:v>
                </c:pt>
                <c:pt idx="480">
                  <c:v>39520</c:v>
                </c:pt>
                <c:pt idx="481">
                  <c:v>39521</c:v>
                </c:pt>
                <c:pt idx="482">
                  <c:v>39524</c:v>
                </c:pt>
                <c:pt idx="483">
                  <c:v>39525</c:v>
                </c:pt>
                <c:pt idx="484">
                  <c:v>39526</c:v>
                </c:pt>
                <c:pt idx="485">
                  <c:v>39527</c:v>
                </c:pt>
                <c:pt idx="486">
                  <c:v>39531</c:v>
                </c:pt>
                <c:pt idx="487">
                  <c:v>39532</c:v>
                </c:pt>
                <c:pt idx="488">
                  <c:v>39533</c:v>
                </c:pt>
                <c:pt idx="489">
                  <c:v>39534</c:v>
                </c:pt>
                <c:pt idx="490">
                  <c:v>39535</c:v>
                </c:pt>
                <c:pt idx="491">
                  <c:v>39538</c:v>
                </c:pt>
                <c:pt idx="492">
                  <c:v>39539</c:v>
                </c:pt>
                <c:pt idx="493">
                  <c:v>39540</c:v>
                </c:pt>
                <c:pt idx="494">
                  <c:v>39541</c:v>
                </c:pt>
                <c:pt idx="495">
                  <c:v>39542</c:v>
                </c:pt>
                <c:pt idx="496">
                  <c:v>39545</c:v>
                </c:pt>
                <c:pt idx="497">
                  <c:v>39546</c:v>
                </c:pt>
                <c:pt idx="498">
                  <c:v>39547</c:v>
                </c:pt>
                <c:pt idx="499">
                  <c:v>39548</c:v>
                </c:pt>
                <c:pt idx="500">
                  <c:v>39549</c:v>
                </c:pt>
                <c:pt idx="501">
                  <c:v>39552</c:v>
                </c:pt>
                <c:pt idx="502">
                  <c:v>39553</c:v>
                </c:pt>
                <c:pt idx="503">
                  <c:v>39554</c:v>
                </c:pt>
                <c:pt idx="504">
                  <c:v>39555</c:v>
                </c:pt>
                <c:pt idx="505">
                  <c:v>39556</c:v>
                </c:pt>
                <c:pt idx="506">
                  <c:v>39559</c:v>
                </c:pt>
                <c:pt idx="507">
                  <c:v>39560</c:v>
                </c:pt>
                <c:pt idx="508">
                  <c:v>39561</c:v>
                </c:pt>
                <c:pt idx="509">
                  <c:v>39562</c:v>
                </c:pt>
                <c:pt idx="510">
                  <c:v>39563</c:v>
                </c:pt>
                <c:pt idx="511">
                  <c:v>39566</c:v>
                </c:pt>
                <c:pt idx="512">
                  <c:v>39567</c:v>
                </c:pt>
                <c:pt idx="513">
                  <c:v>39568</c:v>
                </c:pt>
                <c:pt idx="514">
                  <c:v>39569</c:v>
                </c:pt>
                <c:pt idx="515">
                  <c:v>39570</c:v>
                </c:pt>
                <c:pt idx="516">
                  <c:v>39573</c:v>
                </c:pt>
                <c:pt idx="517">
                  <c:v>39574</c:v>
                </c:pt>
                <c:pt idx="518">
                  <c:v>39575</c:v>
                </c:pt>
                <c:pt idx="519">
                  <c:v>39576</c:v>
                </c:pt>
                <c:pt idx="520">
                  <c:v>39577</c:v>
                </c:pt>
                <c:pt idx="521">
                  <c:v>39580</c:v>
                </c:pt>
                <c:pt idx="522">
                  <c:v>39581</c:v>
                </c:pt>
                <c:pt idx="523">
                  <c:v>39582</c:v>
                </c:pt>
                <c:pt idx="524">
                  <c:v>39583</c:v>
                </c:pt>
                <c:pt idx="525">
                  <c:v>39584</c:v>
                </c:pt>
                <c:pt idx="526">
                  <c:v>39587</c:v>
                </c:pt>
                <c:pt idx="527">
                  <c:v>39588</c:v>
                </c:pt>
                <c:pt idx="528">
                  <c:v>39589</c:v>
                </c:pt>
                <c:pt idx="529">
                  <c:v>39590</c:v>
                </c:pt>
                <c:pt idx="530">
                  <c:v>39591</c:v>
                </c:pt>
                <c:pt idx="531">
                  <c:v>39595</c:v>
                </c:pt>
                <c:pt idx="532">
                  <c:v>39596</c:v>
                </c:pt>
                <c:pt idx="533">
                  <c:v>39597</c:v>
                </c:pt>
                <c:pt idx="534">
                  <c:v>39598</c:v>
                </c:pt>
                <c:pt idx="535">
                  <c:v>39601</c:v>
                </c:pt>
                <c:pt idx="536">
                  <c:v>39602</c:v>
                </c:pt>
                <c:pt idx="537">
                  <c:v>39603</c:v>
                </c:pt>
                <c:pt idx="538">
                  <c:v>39604</c:v>
                </c:pt>
                <c:pt idx="539">
                  <c:v>39605</c:v>
                </c:pt>
                <c:pt idx="540">
                  <c:v>39608</c:v>
                </c:pt>
                <c:pt idx="541">
                  <c:v>39609</c:v>
                </c:pt>
                <c:pt idx="542">
                  <c:v>39610</c:v>
                </c:pt>
                <c:pt idx="543">
                  <c:v>39611</c:v>
                </c:pt>
                <c:pt idx="544">
                  <c:v>39612</c:v>
                </c:pt>
                <c:pt idx="545">
                  <c:v>39615</c:v>
                </c:pt>
                <c:pt idx="546">
                  <c:v>39616</c:v>
                </c:pt>
                <c:pt idx="547">
                  <c:v>39617</c:v>
                </c:pt>
                <c:pt idx="548">
                  <c:v>39618</c:v>
                </c:pt>
                <c:pt idx="549">
                  <c:v>39619</c:v>
                </c:pt>
                <c:pt idx="550">
                  <c:v>39622</c:v>
                </c:pt>
                <c:pt idx="551">
                  <c:v>39623</c:v>
                </c:pt>
                <c:pt idx="552">
                  <c:v>39624</c:v>
                </c:pt>
                <c:pt idx="553">
                  <c:v>39625</c:v>
                </c:pt>
                <c:pt idx="554">
                  <c:v>39626</c:v>
                </c:pt>
                <c:pt idx="555">
                  <c:v>39629</c:v>
                </c:pt>
                <c:pt idx="556">
                  <c:v>39630</c:v>
                </c:pt>
                <c:pt idx="557">
                  <c:v>39631</c:v>
                </c:pt>
                <c:pt idx="558">
                  <c:v>39632</c:v>
                </c:pt>
                <c:pt idx="559">
                  <c:v>39636</c:v>
                </c:pt>
                <c:pt idx="560">
                  <c:v>39637</c:v>
                </c:pt>
                <c:pt idx="561">
                  <c:v>39638</c:v>
                </c:pt>
                <c:pt idx="562">
                  <c:v>39639</c:v>
                </c:pt>
                <c:pt idx="563">
                  <c:v>39640</c:v>
                </c:pt>
                <c:pt idx="564">
                  <c:v>39643</c:v>
                </c:pt>
                <c:pt idx="565">
                  <c:v>39644</c:v>
                </c:pt>
                <c:pt idx="566">
                  <c:v>39645</c:v>
                </c:pt>
                <c:pt idx="567">
                  <c:v>39646</c:v>
                </c:pt>
                <c:pt idx="568">
                  <c:v>39647</c:v>
                </c:pt>
                <c:pt idx="569">
                  <c:v>39650</c:v>
                </c:pt>
                <c:pt idx="570">
                  <c:v>39651</c:v>
                </c:pt>
                <c:pt idx="571">
                  <c:v>39652</c:v>
                </c:pt>
                <c:pt idx="572">
                  <c:v>39653</c:v>
                </c:pt>
                <c:pt idx="573">
                  <c:v>39654</c:v>
                </c:pt>
                <c:pt idx="574">
                  <c:v>39657</c:v>
                </c:pt>
                <c:pt idx="575">
                  <c:v>39658</c:v>
                </c:pt>
                <c:pt idx="576">
                  <c:v>39659</c:v>
                </c:pt>
                <c:pt idx="577">
                  <c:v>39660</c:v>
                </c:pt>
                <c:pt idx="578">
                  <c:v>39661</c:v>
                </c:pt>
                <c:pt idx="579">
                  <c:v>39664</c:v>
                </c:pt>
                <c:pt idx="580">
                  <c:v>39665</c:v>
                </c:pt>
                <c:pt idx="581">
                  <c:v>39666</c:v>
                </c:pt>
                <c:pt idx="582">
                  <c:v>39667</c:v>
                </c:pt>
                <c:pt idx="583">
                  <c:v>39668</c:v>
                </c:pt>
                <c:pt idx="584">
                  <c:v>39671</c:v>
                </c:pt>
                <c:pt idx="585">
                  <c:v>39672</c:v>
                </c:pt>
                <c:pt idx="586">
                  <c:v>39673</c:v>
                </c:pt>
                <c:pt idx="587">
                  <c:v>39674</c:v>
                </c:pt>
                <c:pt idx="588">
                  <c:v>39675</c:v>
                </c:pt>
                <c:pt idx="589">
                  <c:v>39678</c:v>
                </c:pt>
                <c:pt idx="590">
                  <c:v>39679</c:v>
                </c:pt>
                <c:pt idx="591">
                  <c:v>39680</c:v>
                </c:pt>
                <c:pt idx="592">
                  <c:v>39681</c:v>
                </c:pt>
                <c:pt idx="593">
                  <c:v>39682</c:v>
                </c:pt>
                <c:pt idx="594">
                  <c:v>39685</c:v>
                </c:pt>
                <c:pt idx="595">
                  <c:v>39686</c:v>
                </c:pt>
                <c:pt idx="596">
                  <c:v>39687</c:v>
                </c:pt>
                <c:pt idx="597">
                  <c:v>39688</c:v>
                </c:pt>
                <c:pt idx="598">
                  <c:v>39689</c:v>
                </c:pt>
                <c:pt idx="599">
                  <c:v>39693</c:v>
                </c:pt>
                <c:pt idx="600">
                  <c:v>39694</c:v>
                </c:pt>
                <c:pt idx="601">
                  <c:v>39695</c:v>
                </c:pt>
                <c:pt idx="602">
                  <c:v>39696</c:v>
                </c:pt>
                <c:pt idx="603">
                  <c:v>39699</c:v>
                </c:pt>
                <c:pt idx="604">
                  <c:v>39700</c:v>
                </c:pt>
                <c:pt idx="605">
                  <c:v>39701</c:v>
                </c:pt>
                <c:pt idx="606">
                  <c:v>39702</c:v>
                </c:pt>
                <c:pt idx="607">
                  <c:v>39703</c:v>
                </c:pt>
                <c:pt idx="608">
                  <c:v>39706</c:v>
                </c:pt>
                <c:pt idx="609">
                  <c:v>39707</c:v>
                </c:pt>
                <c:pt idx="610">
                  <c:v>39708</c:v>
                </c:pt>
                <c:pt idx="611">
                  <c:v>39709</c:v>
                </c:pt>
                <c:pt idx="612">
                  <c:v>39710</c:v>
                </c:pt>
                <c:pt idx="613">
                  <c:v>39713</c:v>
                </c:pt>
                <c:pt idx="614">
                  <c:v>39714</c:v>
                </c:pt>
                <c:pt idx="615">
                  <c:v>39715</c:v>
                </c:pt>
                <c:pt idx="616">
                  <c:v>39716</c:v>
                </c:pt>
                <c:pt idx="617">
                  <c:v>39717</c:v>
                </c:pt>
                <c:pt idx="618">
                  <c:v>39720</c:v>
                </c:pt>
                <c:pt idx="619">
                  <c:v>39721</c:v>
                </c:pt>
                <c:pt idx="620">
                  <c:v>39722</c:v>
                </c:pt>
                <c:pt idx="621">
                  <c:v>39723</c:v>
                </c:pt>
                <c:pt idx="622">
                  <c:v>39724</c:v>
                </c:pt>
                <c:pt idx="623">
                  <c:v>39727</c:v>
                </c:pt>
                <c:pt idx="624">
                  <c:v>39728</c:v>
                </c:pt>
                <c:pt idx="625">
                  <c:v>39729</c:v>
                </c:pt>
                <c:pt idx="626">
                  <c:v>39730</c:v>
                </c:pt>
                <c:pt idx="627">
                  <c:v>39731</c:v>
                </c:pt>
                <c:pt idx="628">
                  <c:v>39734</c:v>
                </c:pt>
                <c:pt idx="629">
                  <c:v>39735</c:v>
                </c:pt>
                <c:pt idx="630">
                  <c:v>39736</c:v>
                </c:pt>
                <c:pt idx="631">
                  <c:v>39737</c:v>
                </c:pt>
                <c:pt idx="632">
                  <c:v>39738</c:v>
                </c:pt>
                <c:pt idx="633">
                  <c:v>39741</c:v>
                </c:pt>
                <c:pt idx="634">
                  <c:v>39742</c:v>
                </c:pt>
                <c:pt idx="635">
                  <c:v>39743</c:v>
                </c:pt>
                <c:pt idx="636">
                  <c:v>39744</c:v>
                </c:pt>
                <c:pt idx="637">
                  <c:v>39745</c:v>
                </c:pt>
                <c:pt idx="638">
                  <c:v>39748</c:v>
                </c:pt>
                <c:pt idx="639">
                  <c:v>39749</c:v>
                </c:pt>
                <c:pt idx="640">
                  <c:v>39750</c:v>
                </c:pt>
                <c:pt idx="641">
                  <c:v>39751</c:v>
                </c:pt>
                <c:pt idx="642">
                  <c:v>39752</c:v>
                </c:pt>
                <c:pt idx="643">
                  <c:v>39755</c:v>
                </c:pt>
                <c:pt idx="644">
                  <c:v>39756</c:v>
                </c:pt>
                <c:pt idx="645">
                  <c:v>39757</c:v>
                </c:pt>
                <c:pt idx="646">
                  <c:v>39758</c:v>
                </c:pt>
                <c:pt idx="647">
                  <c:v>39759</c:v>
                </c:pt>
                <c:pt idx="648">
                  <c:v>39762</c:v>
                </c:pt>
                <c:pt idx="649">
                  <c:v>39763</c:v>
                </c:pt>
                <c:pt idx="650">
                  <c:v>39764</c:v>
                </c:pt>
                <c:pt idx="651">
                  <c:v>39765</c:v>
                </c:pt>
                <c:pt idx="652">
                  <c:v>39766</c:v>
                </c:pt>
                <c:pt idx="653">
                  <c:v>39769</c:v>
                </c:pt>
                <c:pt idx="654">
                  <c:v>39770</c:v>
                </c:pt>
                <c:pt idx="655">
                  <c:v>39771</c:v>
                </c:pt>
                <c:pt idx="656">
                  <c:v>39772</c:v>
                </c:pt>
                <c:pt idx="657">
                  <c:v>39773</c:v>
                </c:pt>
                <c:pt idx="658">
                  <c:v>39776</c:v>
                </c:pt>
                <c:pt idx="659">
                  <c:v>39777</c:v>
                </c:pt>
                <c:pt idx="660">
                  <c:v>39778</c:v>
                </c:pt>
                <c:pt idx="661">
                  <c:v>39780</c:v>
                </c:pt>
                <c:pt idx="662">
                  <c:v>39783</c:v>
                </c:pt>
                <c:pt idx="663">
                  <c:v>39784</c:v>
                </c:pt>
                <c:pt idx="664">
                  <c:v>39785</c:v>
                </c:pt>
                <c:pt idx="665">
                  <c:v>39786</c:v>
                </c:pt>
                <c:pt idx="666">
                  <c:v>39787</c:v>
                </c:pt>
                <c:pt idx="667">
                  <c:v>39790</c:v>
                </c:pt>
                <c:pt idx="668">
                  <c:v>39791</c:v>
                </c:pt>
                <c:pt idx="669">
                  <c:v>39792</c:v>
                </c:pt>
                <c:pt idx="670">
                  <c:v>39793</c:v>
                </c:pt>
                <c:pt idx="671">
                  <c:v>39794</c:v>
                </c:pt>
                <c:pt idx="672">
                  <c:v>39797</c:v>
                </c:pt>
                <c:pt idx="673">
                  <c:v>39798</c:v>
                </c:pt>
                <c:pt idx="674">
                  <c:v>39799</c:v>
                </c:pt>
                <c:pt idx="675">
                  <c:v>39800</c:v>
                </c:pt>
                <c:pt idx="676">
                  <c:v>39801</c:v>
                </c:pt>
                <c:pt idx="677">
                  <c:v>39804</c:v>
                </c:pt>
                <c:pt idx="678">
                  <c:v>39805</c:v>
                </c:pt>
                <c:pt idx="679">
                  <c:v>39806</c:v>
                </c:pt>
                <c:pt idx="680">
                  <c:v>39808</c:v>
                </c:pt>
                <c:pt idx="681">
                  <c:v>39811</c:v>
                </c:pt>
                <c:pt idx="682">
                  <c:v>39812</c:v>
                </c:pt>
                <c:pt idx="683">
                  <c:v>39813</c:v>
                </c:pt>
                <c:pt idx="684">
                  <c:v>39815</c:v>
                </c:pt>
                <c:pt idx="685">
                  <c:v>39818</c:v>
                </c:pt>
                <c:pt idx="686">
                  <c:v>39819</c:v>
                </c:pt>
                <c:pt idx="687">
                  <c:v>39820</c:v>
                </c:pt>
                <c:pt idx="688">
                  <c:v>39821</c:v>
                </c:pt>
                <c:pt idx="689">
                  <c:v>39822</c:v>
                </c:pt>
                <c:pt idx="690">
                  <c:v>39825</c:v>
                </c:pt>
                <c:pt idx="691">
                  <c:v>39826</c:v>
                </c:pt>
                <c:pt idx="692">
                  <c:v>39827</c:v>
                </c:pt>
                <c:pt idx="693">
                  <c:v>39828</c:v>
                </c:pt>
                <c:pt idx="694">
                  <c:v>39829</c:v>
                </c:pt>
                <c:pt idx="695">
                  <c:v>39833</c:v>
                </c:pt>
                <c:pt idx="696">
                  <c:v>39834</c:v>
                </c:pt>
                <c:pt idx="697">
                  <c:v>39835</c:v>
                </c:pt>
                <c:pt idx="698">
                  <c:v>39836</c:v>
                </c:pt>
                <c:pt idx="699">
                  <c:v>39839</c:v>
                </c:pt>
                <c:pt idx="700">
                  <c:v>39840</c:v>
                </c:pt>
                <c:pt idx="701">
                  <c:v>39841</c:v>
                </c:pt>
                <c:pt idx="702">
                  <c:v>39842</c:v>
                </c:pt>
                <c:pt idx="703">
                  <c:v>39843</c:v>
                </c:pt>
                <c:pt idx="704">
                  <c:v>39846</c:v>
                </c:pt>
                <c:pt idx="705">
                  <c:v>39847</c:v>
                </c:pt>
                <c:pt idx="706">
                  <c:v>39848</c:v>
                </c:pt>
                <c:pt idx="707">
                  <c:v>39849</c:v>
                </c:pt>
                <c:pt idx="708">
                  <c:v>39850</c:v>
                </c:pt>
                <c:pt idx="709">
                  <c:v>39853</c:v>
                </c:pt>
                <c:pt idx="710">
                  <c:v>39854</c:v>
                </c:pt>
                <c:pt idx="711">
                  <c:v>39855</c:v>
                </c:pt>
                <c:pt idx="712">
                  <c:v>39856</c:v>
                </c:pt>
                <c:pt idx="713">
                  <c:v>39857</c:v>
                </c:pt>
                <c:pt idx="714">
                  <c:v>39861</c:v>
                </c:pt>
                <c:pt idx="715">
                  <c:v>39862</c:v>
                </c:pt>
                <c:pt idx="716">
                  <c:v>39863</c:v>
                </c:pt>
                <c:pt idx="717">
                  <c:v>39864</c:v>
                </c:pt>
                <c:pt idx="718">
                  <c:v>39867</c:v>
                </c:pt>
                <c:pt idx="719">
                  <c:v>39868</c:v>
                </c:pt>
                <c:pt idx="720">
                  <c:v>39869</c:v>
                </c:pt>
                <c:pt idx="721">
                  <c:v>39870</c:v>
                </c:pt>
                <c:pt idx="722">
                  <c:v>39871</c:v>
                </c:pt>
                <c:pt idx="723">
                  <c:v>39874</c:v>
                </c:pt>
                <c:pt idx="724">
                  <c:v>39875</c:v>
                </c:pt>
                <c:pt idx="725">
                  <c:v>39876</c:v>
                </c:pt>
                <c:pt idx="726">
                  <c:v>39877</c:v>
                </c:pt>
                <c:pt idx="727">
                  <c:v>39878</c:v>
                </c:pt>
                <c:pt idx="728">
                  <c:v>39881</c:v>
                </c:pt>
                <c:pt idx="729">
                  <c:v>39882</c:v>
                </c:pt>
                <c:pt idx="730">
                  <c:v>39883</c:v>
                </c:pt>
                <c:pt idx="731">
                  <c:v>39884</c:v>
                </c:pt>
                <c:pt idx="732">
                  <c:v>39885</c:v>
                </c:pt>
                <c:pt idx="733">
                  <c:v>39888</c:v>
                </c:pt>
                <c:pt idx="734">
                  <c:v>39889</c:v>
                </c:pt>
                <c:pt idx="735">
                  <c:v>39890</c:v>
                </c:pt>
                <c:pt idx="736">
                  <c:v>39891</c:v>
                </c:pt>
                <c:pt idx="737">
                  <c:v>39892</c:v>
                </c:pt>
                <c:pt idx="738">
                  <c:v>39895</c:v>
                </c:pt>
                <c:pt idx="739">
                  <c:v>39896</c:v>
                </c:pt>
                <c:pt idx="740">
                  <c:v>39897</c:v>
                </c:pt>
                <c:pt idx="741">
                  <c:v>39898</c:v>
                </c:pt>
                <c:pt idx="742">
                  <c:v>39899</c:v>
                </c:pt>
                <c:pt idx="743">
                  <c:v>39902</c:v>
                </c:pt>
                <c:pt idx="744">
                  <c:v>39903</c:v>
                </c:pt>
                <c:pt idx="745">
                  <c:v>39904</c:v>
                </c:pt>
                <c:pt idx="746">
                  <c:v>39905</c:v>
                </c:pt>
                <c:pt idx="747">
                  <c:v>39906</c:v>
                </c:pt>
                <c:pt idx="748">
                  <c:v>39909</c:v>
                </c:pt>
                <c:pt idx="749">
                  <c:v>39910</c:v>
                </c:pt>
                <c:pt idx="750">
                  <c:v>39911</c:v>
                </c:pt>
                <c:pt idx="751">
                  <c:v>39912</c:v>
                </c:pt>
                <c:pt idx="752">
                  <c:v>39916</c:v>
                </c:pt>
                <c:pt idx="753">
                  <c:v>39917</c:v>
                </c:pt>
                <c:pt idx="754">
                  <c:v>39918</c:v>
                </c:pt>
                <c:pt idx="755">
                  <c:v>39919</c:v>
                </c:pt>
                <c:pt idx="756">
                  <c:v>39920</c:v>
                </c:pt>
                <c:pt idx="757">
                  <c:v>39923</c:v>
                </c:pt>
                <c:pt idx="758">
                  <c:v>39924</c:v>
                </c:pt>
                <c:pt idx="759">
                  <c:v>39925</c:v>
                </c:pt>
                <c:pt idx="760">
                  <c:v>39926</c:v>
                </c:pt>
                <c:pt idx="761">
                  <c:v>39927</c:v>
                </c:pt>
                <c:pt idx="762">
                  <c:v>39930</c:v>
                </c:pt>
                <c:pt idx="763">
                  <c:v>39931</c:v>
                </c:pt>
                <c:pt idx="764">
                  <c:v>39932</c:v>
                </c:pt>
                <c:pt idx="765">
                  <c:v>39933</c:v>
                </c:pt>
                <c:pt idx="766">
                  <c:v>39934</c:v>
                </c:pt>
                <c:pt idx="767">
                  <c:v>39937</c:v>
                </c:pt>
                <c:pt idx="768">
                  <c:v>39938</c:v>
                </c:pt>
                <c:pt idx="769">
                  <c:v>39939</c:v>
                </c:pt>
                <c:pt idx="770">
                  <c:v>39940</c:v>
                </c:pt>
                <c:pt idx="771">
                  <c:v>39941</c:v>
                </c:pt>
                <c:pt idx="772">
                  <c:v>39944</c:v>
                </c:pt>
                <c:pt idx="773">
                  <c:v>39945</c:v>
                </c:pt>
                <c:pt idx="774">
                  <c:v>39946</c:v>
                </c:pt>
                <c:pt idx="775">
                  <c:v>39947</c:v>
                </c:pt>
                <c:pt idx="776">
                  <c:v>39948</c:v>
                </c:pt>
                <c:pt idx="777">
                  <c:v>39951</c:v>
                </c:pt>
                <c:pt idx="778">
                  <c:v>39952</c:v>
                </c:pt>
                <c:pt idx="779">
                  <c:v>39953</c:v>
                </c:pt>
                <c:pt idx="780">
                  <c:v>39954</c:v>
                </c:pt>
                <c:pt idx="781">
                  <c:v>39955</c:v>
                </c:pt>
                <c:pt idx="782">
                  <c:v>39959</c:v>
                </c:pt>
                <c:pt idx="783">
                  <c:v>39960</c:v>
                </c:pt>
                <c:pt idx="784">
                  <c:v>39961</c:v>
                </c:pt>
                <c:pt idx="785">
                  <c:v>39962</c:v>
                </c:pt>
                <c:pt idx="786">
                  <c:v>39965</c:v>
                </c:pt>
                <c:pt idx="787">
                  <c:v>39966</c:v>
                </c:pt>
                <c:pt idx="788">
                  <c:v>39967</c:v>
                </c:pt>
                <c:pt idx="789">
                  <c:v>39968</c:v>
                </c:pt>
                <c:pt idx="790">
                  <c:v>39969</c:v>
                </c:pt>
                <c:pt idx="791">
                  <c:v>39972</c:v>
                </c:pt>
                <c:pt idx="792">
                  <c:v>39973</c:v>
                </c:pt>
                <c:pt idx="793">
                  <c:v>39974</c:v>
                </c:pt>
                <c:pt idx="794">
                  <c:v>39975</c:v>
                </c:pt>
                <c:pt idx="795">
                  <c:v>39976</c:v>
                </c:pt>
                <c:pt idx="796">
                  <c:v>39979</c:v>
                </c:pt>
                <c:pt idx="797">
                  <c:v>39980</c:v>
                </c:pt>
                <c:pt idx="798">
                  <c:v>39981</c:v>
                </c:pt>
                <c:pt idx="799">
                  <c:v>39982</c:v>
                </c:pt>
                <c:pt idx="800">
                  <c:v>39983</c:v>
                </c:pt>
                <c:pt idx="801">
                  <c:v>39986</c:v>
                </c:pt>
                <c:pt idx="802">
                  <c:v>39987</c:v>
                </c:pt>
                <c:pt idx="803">
                  <c:v>39988</c:v>
                </c:pt>
                <c:pt idx="804">
                  <c:v>39989</c:v>
                </c:pt>
                <c:pt idx="805">
                  <c:v>39990</c:v>
                </c:pt>
                <c:pt idx="806">
                  <c:v>39993</c:v>
                </c:pt>
                <c:pt idx="807">
                  <c:v>39994</c:v>
                </c:pt>
                <c:pt idx="808">
                  <c:v>39995</c:v>
                </c:pt>
                <c:pt idx="809">
                  <c:v>39996</c:v>
                </c:pt>
                <c:pt idx="810">
                  <c:v>40000</c:v>
                </c:pt>
                <c:pt idx="811">
                  <c:v>40001</c:v>
                </c:pt>
                <c:pt idx="812">
                  <c:v>40002</c:v>
                </c:pt>
                <c:pt idx="813">
                  <c:v>40003</c:v>
                </c:pt>
                <c:pt idx="814">
                  <c:v>40004</c:v>
                </c:pt>
                <c:pt idx="815">
                  <c:v>40007</c:v>
                </c:pt>
                <c:pt idx="816">
                  <c:v>40008</c:v>
                </c:pt>
                <c:pt idx="817">
                  <c:v>40009</c:v>
                </c:pt>
                <c:pt idx="818">
                  <c:v>40010</c:v>
                </c:pt>
                <c:pt idx="819">
                  <c:v>40011</c:v>
                </c:pt>
                <c:pt idx="820">
                  <c:v>40014</c:v>
                </c:pt>
                <c:pt idx="821">
                  <c:v>40015</c:v>
                </c:pt>
                <c:pt idx="822">
                  <c:v>40016</c:v>
                </c:pt>
                <c:pt idx="823">
                  <c:v>40017</c:v>
                </c:pt>
                <c:pt idx="824">
                  <c:v>40018</c:v>
                </c:pt>
                <c:pt idx="825">
                  <c:v>40021</c:v>
                </c:pt>
                <c:pt idx="826">
                  <c:v>40022</c:v>
                </c:pt>
                <c:pt idx="827">
                  <c:v>40023</c:v>
                </c:pt>
                <c:pt idx="828">
                  <c:v>40024</c:v>
                </c:pt>
                <c:pt idx="829">
                  <c:v>40025</c:v>
                </c:pt>
                <c:pt idx="830">
                  <c:v>40028</c:v>
                </c:pt>
                <c:pt idx="831">
                  <c:v>40029</c:v>
                </c:pt>
                <c:pt idx="832">
                  <c:v>40030</c:v>
                </c:pt>
                <c:pt idx="833">
                  <c:v>40031</c:v>
                </c:pt>
                <c:pt idx="834">
                  <c:v>40032</c:v>
                </c:pt>
                <c:pt idx="835">
                  <c:v>40035</c:v>
                </c:pt>
                <c:pt idx="836">
                  <c:v>40036</c:v>
                </c:pt>
                <c:pt idx="837">
                  <c:v>40037</c:v>
                </c:pt>
                <c:pt idx="838">
                  <c:v>40038</c:v>
                </c:pt>
                <c:pt idx="839">
                  <c:v>40039</c:v>
                </c:pt>
                <c:pt idx="840">
                  <c:v>40042</c:v>
                </c:pt>
                <c:pt idx="841">
                  <c:v>40043</c:v>
                </c:pt>
                <c:pt idx="842">
                  <c:v>40044</c:v>
                </c:pt>
                <c:pt idx="843">
                  <c:v>40045</c:v>
                </c:pt>
                <c:pt idx="844">
                  <c:v>40046</c:v>
                </c:pt>
                <c:pt idx="845">
                  <c:v>40049</c:v>
                </c:pt>
                <c:pt idx="846">
                  <c:v>40050</c:v>
                </c:pt>
                <c:pt idx="847">
                  <c:v>40051</c:v>
                </c:pt>
                <c:pt idx="848">
                  <c:v>40052</c:v>
                </c:pt>
                <c:pt idx="849">
                  <c:v>40053</c:v>
                </c:pt>
                <c:pt idx="850">
                  <c:v>40056</c:v>
                </c:pt>
                <c:pt idx="851">
                  <c:v>40057</c:v>
                </c:pt>
                <c:pt idx="852">
                  <c:v>40058</c:v>
                </c:pt>
                <c:pt idx="853">
                  <c:v>40059</c:v>
                </c:pt>
                <c:pt idx="854">
                  <c:v>40060</c:v>
                </c:pt>
                <c:pt idx="855">
                  <c:v>40064</c:v>
                </c:pt>
                <c:pt idx="856">
                  <c:v>40065</c:v>
                </c:pt>
                <c:pt idx="857">
                  <c:v>40066</c:v>
                </c:pt>
                <c:pt idx="858">
                  <c:v>40067</c:v>
                </c:pt>
                <c:pt idx="859">
                  <c:v>40070</c:v>
                </c:pt>
                <c:pt idx="860">
                  <c:v>40071</c:v>
                </c:pt>
                <c:pt idx="861">
                  <c:v>40072</c:v>
                </c:pt>
                <c:pt idx="862">
                  <c:v>40073</c:v>
                </c:pt>
                <c:pt idx="863">
                  <c:v>40074</c:v>
                </c:pt>
                <c:pt idx="864">
                  <c:v>40077</c:v>
                </c:pt>
                <c:pt idx="865">
                  <c:v>40078</c:v>
                </c:pt>
                <c:pt idx="866">
                  <c:v>40079</c:v>
                </c:pt>
                <c:pt idx="867">
                  <c:v>40080</c:v>
                </c:pt>
                <c:pt idx="868">
                  <c:v>40081</c:v>
                </c:pt>
                <c:pt idx="869">
                  <c:v>40084</c:v>
                </c:pt>
                <c:pt idx="870">
                  <c:v>40085</c:v>
                </c:pt>
                <c:pt idx="871">
                  <c:v>40086</c:v>
                </c:pt>
                <c:pt idx="872">
                  <c:v>40087</c:v>
                </c:pt>
                <c:pt idx="873">
                  <c:v>40088</c:v>
                </c:pt>
                <c:pt idx="874">
                  <c:v>40091</c:v>
                </c:pt>
                <c:pt idx="875">
                  <c:v>40092</c:v>
                </c:pt>
                <c:pt idx="876">
                  <c:v>40093</c:v>
                </c:pt>
                <c:pt idx="877">
                  <c:v>40094</c:v>
                </c:pt>
                <c:pt idx="878">
                  <c:v>40095</c:v>
                </c:pt>
                <c:pt idx="879">
                  <c:v>40098</c:v>
                </c:pt>
                <c:pt idx="880">
                  <c:v>40099</c:v>
                </c:pt>
                <c:pt idx="881">
                  <c:v>40100</c:v>
                </c:pt>
                <c:pt idx="882">
                  <c:v>40101</c:v>
                </c:pt>
                <c:pt idx="883">
                  <c:v>40102</c:v>
                </c:pt>
                <c:pt idx="884">
                  <c:v>40105</c:v>
                </c:pt>
                <c:pt idx="885">
                  <c:v>40106</c:v>
                </c:pt>
                <c:pt idx="886">
                  <c:v>40107</c:v>
                </c:pt>
                <c:pt idx="887">
                  <c:v>40108</c:v>
                </c:pt>
                <c:pt idx="888">
                  <c:v>40109</c:v>
                </c:pt>
                <c:pt idx="889">
                  <c:v>40112</c:v>
                </c:pt>
                <c:pt idx="890">
                  <c:v>40113</c:v>
                </c:pt>
                <c:pt idx="891">
                  <c:v>40114</c:v>
                </c:pt>
                <c:pt idx="892">
                  <c:v>40115</c:v>
                </c:pt>
                <c:pt idx="893">
                  <c:v>40116</c:v>
                </c:pt>
                <c:pt idx="894">
                  <c:v>40119</c:v>
                </c:pt>
                <c:pt idx="895">
                  <c:v>40120</c:v>
                </c:pt>
                <c:pt idx="896">
                  <c:v>40121</c:v>
                </c:pt>
                <c:pt idx="897">
                  <c:v>40122</c:v>
                </c:pt>
                <c:pt idx="898">
                  <c:v>40123</c:v>
                </c:pt>
                <c:pt idx="899">
                  <c:v>40126</c:v>
                </c:pt>
                <c:pt idx="900">
                  <c:v>40127</c:v>
                </c:pt>
                <c:pt idx="901">
                  <c:v>40128</c:v>
                </c:pt>
                <c:pt idx="902">
                  <c:v>40129</c:v>
                </c:pt>
                <c:pt idx="903">
                  <c:v>40130</c:v>
                </c:pt>
                <c:pt idx="904">
                  <c:v>40133</c:v>
                </c:pt>
                <c:pt idx="905">
                  <c:v>40134</c:v>
                </c:pt>
                <c:pt idx="906">
                  <c:v>40135</c:v>
                </c:pt>
                <c:pt idx="907">
                  <c:v>40136</c:v>
                </c:pt>
                <c:pt idx="908">
                  <c:v>40137</c:v>
                </c:pt>
                <c:pt idx="909">
                  <c:v>40140</c:v>
                </c:pt>
                <c:pt idx="910">
                  <c:v>40141</c:v>
                </c:pt>
                <c:pt idx="911">
                  <c:v>40142</c:v>
                </c:pt>
                <c:pt idx="912">
                  <c:v>40144</c:v>
                </c:pt>
                <c:pt idx="913">
                  <c:v>40147</c:v>
                </c:pt>
                <c:pt idx="914">
                  <c:v>40148</c:v>
                </c:pt>
                <c:pt idx="915">
                  <c:v>40149</c:v>
                </c:pt>
                <c:pt idx="916">
                  <c:v>40150</c:v>
                </c:pt>
                <c:pt idx="917">
                  <c:v>40151</c:v>
                </c:pt>
                <c:pt idx="918">
                  <c:v>40154</c:v>
                </c:pt>
                <c:pt idx="919">
                  <c:v>40155</c:v>
                </c:pt>
                <c:pt idx="920">
                  <c:v>40156</c:v>
                </c:pt>
                <c:pt idx="921">
                  <c:v>40157</c:v>
                </c:pt>
                <c:pt idx="922">
                  <c:v>40158</c:v>
                </c:pt>
                <c:pt idx="923">
                  <c:v>40161</c:v>
                </c:pt>
                <c:pt idx="924">
                  <c:v>40162</c:v>
                </c:pt>
                <c:pt idx="925">
                  <c:v>40163</c:v>
                </c:pt>
                <c:pt idx="926">
                  <c:v>40164</c:v>
                </c:pt>
                <c:pt idx="927">
                  <c:v>40165</c:v>
                </c:pt>
                <c:pt idx="928">
                  <c:v>40168</c:v>
                </c:pt>
                <c:pt idx="929">
                  <c:v>40169</c:v>
                </c:pt>
                <c:pt idx="930">
                  <c:v>40170</c:v>
                </c:pt>
                <c:pt idx="931">
                  <c:v>40171</c:v>
                </c:pt>
                <c:pt idx="932">
                  <c:v>40175</c:v>
                </c:pt>
                <c:pt idx="933">
                  <c:v>40176</c:v>
                </c:pt>
                <c:pt idx="934">
                  <c:v>40177</c:v>
                </c:pt>
                <c:pt idx="935">
                  <c:v>40178</c:v>
                </c:pt>
                <c:pt idx="936">
                  <c:v>40182</c:v>
                </c:pt>
                <c:pt idx="937">
                  <c:v>40183</c:v>
                </c:pt>
                <c:pt idx="938">
                  <c:v>40184</c:v>
                </c:pt>
                <c:pt idx="939">
                  <c:v>40185</c:v>
                </c:pt>
                <c:pt idx="940">
                  <c:v>40186</c:v>
                </c:pt>
                <c:pt idx="941">
                  <c:v>40189</c:v>
                </c:pt>
                <c:pt idx="942">
                  <c:v>40190</c:v>
                </c:pt>
                <c:pt idx="943">
                  <c:v>40191</c:v>
                </c:pt>
                <c:pt idx="944">
                  <c:v>40192</c:v>
                </c:pt>
                <c:pt idx="945">
                  <c:v>40193</c:v>
                </c:pt>
                <c:pt idx="946">
                  <c:v>40197</c:v>
                </c:pt>
                <c:pt idx="947">
                  <c:v>40198</c:v>
                </c:pt>
                <c:pt idx="948">
                  <c:v>40199</c:v>
                </c:pt>
                <c:pt idx="949">
                  <c:v>40200</c:v>
                </c:pt>
                <c:pt idx="950">
                  <c:v>40203</c:v>
                </c:pt>
                <c:pt idx="951">
                  <c:v>40204</c:v>
                </c:pt>
                <c:pt idx="952">
                  <c:v>40205</c:v>
                </c:pt>
                <c:pt idx="953">
                  <c:v>40206</c:v>
                </c:pt>
                <c:pt idx="954">
                  <c:v>40207</c:v>
                </c:pt>
                <c:pt idx="955">
                  <c:v>40210</c:v>
                </c:pt>
                <c:pt idx="956">
                  <c:v>40211</c:v>
                </c:pt>
                <c:pt idx="957">
                  <c:v>40212</c:v>
                </c:pt>
                <c:pt idx="958">
                  <c:v>40213</c:v>
                </c:pt>
                <c:pt idx="959">
                  <c:v>40214</c:v>
                </c:pt>
                <c:pt idx="960">
                  <c:v>40217</c:v>
                </c:pt>
                <c:pt idx="961">
                  <c:v>40218</c:v>
                </c:pt>
                <c:pt idx="962">
                  <c:v>40219</c:v>
                </c:pt>
                <c:pt idx="963">
                  <c:v>40220</c:v>
                </c:pt>
                <c:pt idx="964">
                  <c:v>40221</c:v>
                </c:pt>
                <c:pt idx="965">
                  <c:v>40225</c:v>
                </c:pt>
                <c:pt idx="966">
                  <c:v>40226</c:v>
                </c:pt>
                <c:pt idx="967">
                  <c:v>40227</c:v>
                </c:pt>
                <c:pt idx="968">
                  <c:v>40228</c:v>
                </c:pt>
                <c:pt idx="969">
                  <c:v>40231</c:v>
                </c:pt>
                <c:pt idx="970">
                  <c:v>40232</c:v>
                </c:pt>
                <c:pt idx="971">
                  <c:v>40233</c:v>
                </c:pt>
                <c:pt idx="972">
                  <c:v>40234</c:v>
                </c:pt>
                <c:pt idx="973">
                  <c:v>40235</c:v>
                </c:pt>
                <c:pt idx="974">
                  <c:v>40238</c:v>
                </c:pt>
                <c:pt idx="975">
                  <c:v>40239</c:v>
                </c:pt>
                <c:pt idx="976">
                  <c:v>40240</c:v>
                </c:pt>
                <c:pt idx="977">
                  <c:v>40241</c:v>
                </c:pt>
                <c:pt idx="978">
                  <c:v>40242</c:v>
                </c:pt>
                <c:pt idx="979">
                  <c:v>40245</c:v>
                </c:pt>
                <c:pt idx="980">
                  <c:v>40246</c:v>
                </c:pt>
                <c:pt idx="981">
                  <c:v>40247</c:v>
                </c:pt>
                <c:pt idx="982">
                  <c:v>40248</c:v>
                </c:pt>
                <c:pt idx="983">
                  <c:v>40249</c:v>
                </c:pt>
                <c:pt idx="984">
                  <c:v>40252</c:v>
                </c:pt>
                <c:pt idx="985">
                  <c:v>40253</c:v>
                </c:pt>
                <c:pt idx="986">
                  <c:v>40254</c:v>
                </c:pt>
                <c:pt idx="987">
                  <c:v>40255</c:v>
                </c:pt>
                <c:pt idx="988">
                  <c:v>40256</c:v>
                </c:pt>
                <c:pt idx="989">
                  <c:v>40259</c:v>
                </c:pt>
                <c:pt idx="990">
                  <c:v>40260</c:v>
                </c:pt>
                <c:pt idx="991">
                  <c:v>40261</c:v>
                </c:pt>
                <c:pt idx="992">
                  <c:v>40262</c:v>
                </c:pt>
                <c:pt idx="993">
                  <c:v>40263</c:v>
                </c:pt>
                <c:pt idx="994">
                  <c:v>40266</c:v>
                </c:pt>
                <c:pt idx="995">
                  <c:v>40267</c:v>
                </c:pt>
                <c:pt idx="996">
                  <c:v>40268</c:v>
                </c:pt>
                <c:pt idx="997">
                  <c:v>40269</c:v>
                </c:pt>
                <c:pt idx="998">
                  <c:v>40273</c:v>
                </c:pt>
                <c:pt idx="999">
                  <c:v>40274</c:v>
                </c:pt>
                <c:pt idx="1000">
                  <c:v>40275</c:v>
                </c:pt>
                <c:pt idx="1001">
                  <c:v>40276</c:v>
                </c:pt>
                <c:pt idx="1002">
                  <c:v>40277</c:v>
                </c:pt>
                <c:pt idx="1003">
                  <c:v>40280</c:v>
                </c:pt>
                <c:pt idx="1004">
                  <c:v>40281</c:v>
                </c:pt>
                <c:pt idx="1005">
                  <c:v>40282</c:v>
                </c:pt>
                <c:pt idx="1006">
                  <c:v>40283</c:v>
                </c:pt>
                <c:pt idx="1007">
                  <c:v>40284</c:v>
                </c:pt>
                <c:pt idx="1008">
                  <c:v>40287</c:v>
                </c:pt>
                <c:pt idx="1009">
                  <c:v>40288</c:v>
                </c:pt>
                <c:pt idx="1010">
                  <c:v>40289</c:v>
                </c:pt>
                <c:pt idx="1011">
                  <c:v>40290</c:v>
                </c:pt>
                <c:pt idx="1012">
                  <c:v>40291</c:v>
                </c:pt>
                <c:pt idx="1013">
                  <c:v>40294</c:v>
                </c:pt>
                <c:pt idx="1014">
                  <c:v>40295</c:v>
                </c:pt>
                <c:pt idx="1015">
                  <c:v>40296</c:v>
                </c:pt>
                <c:pt idx="1016">
                  <c:v>40297</c:v>
                </c:pt>
                <c:pt idx="1017">
                  <c:v>40298</c:v>
                </c:pt>
                <c:pt idx="1018">
                  <c:v>40301</c:v>
                </c:pt>
                <c:pt idx="1019">
                  <c:v>40302</c:v>
                </c:pt>
                <c:pt idx="1020">
                  <c:v>40303</c:v>
                </c:pt>
                <c:pt idx="1021">
                  <c:v>40304</c:v>
                </c:pt>
                <c:pt idx="1022">
                  <c:v>40305</c:v>
                </c:pt>
                <c:pt idx="1023">
                  <c:v>40308</c:v>
                </c:pt>
                <c:pt idx="1024">
                  <c:v>40309</c:v>
                </c:pt>
                <c:pt idx="1025">
                  <c:v>40310</c:v>
                </c:pt>
                <c:pt idx="1026">
                  <c:v>40311</c:v>
                </c:pt>
                <c:pt idx="1027">
                  <c:v>40312</c:v>
                </c:pt>
                <c:pt idx="1028">
                  <c:v>40315</c:v>
                </c:pt>
                <c:pt idx="1029">
                  <c:v>40316</c:v>
                </c:pt>
                <c:pt idx="1030">
                  <c:v>40317</c:v>
                </c:pt>
                <c:pt idx="1031">
                  <c:v>40318</c:v>
                </c:pt>
                <c:pt idx="1032">
                  <c:v>40319</c:v>
                </c:pt>
                <c:pt idx="1033">
                  <c:v>40322</c:v>
                </c:pt>
                <c:pt idx="1034">
                  <c:v>40323</c:v>
                </c:pt>
                <c:pt idx="1035">
                  <c:v>40324</c:v>
                </c:pt>
                <c:pt idx="1036">
                  <c:v>40325</c:v>
                </c:pt>
                <c:pt idx="1037">
                  <c:v>40326</c:v>
                </c:pt>
                <c:pt idx="1038">
                  <c:v>40330</c:v>
                </c:pt>
                <c:pt idx="1039">
                  <c:v>40331</c:v>
                </c:pt>
                <c:pt idx="1040">
                  <c:v>40332</c:v>
                </c:pt>
                <c:pt idx="1041">
                  <c:v>40333</c:v>
                </c:pt>
                <c:pt idx="1042">
                  <c:v>40336</c:v>
                </c:pt>
                <c:pt idx="1043">
                  <c:v>40337</c:v>
                </c:pt>
                <c:pt idx="1044">
                  <c:v>40338</c:v>
                </c:pt>
                <c:pt idx="1045">
                  <c:v>40339</c:v>
                </c:pt>
                <c:pt idx="1046">
                  <c:v>40340</c:v>
                </c:pt>
                <c:pt idx="1047">
                  <c:v>40343</c:v>
                </c:pt>
                <c:pt idx="1048">
                  <c:v>40344</c:v>
                </c:pt>
                <c:pt idx="1049">
                  <c:v>40345</c:v>
                </c:pt>
                <c:pt idx="1050">
                  <c:v>40346</c:v>
                </c:pt>
                <c:pt idx="1051">
                  <c:v>40347</c:v>
                </c:pt>
                <c:pt idx="1052">
                  <c:v>40350</c:v>
                </c:pt>
                <c:pt idx="1053">
                  <c:v>40351</c:v>
                </c:pt>
                <c:pt idx="1054">
                  <c:v>40352</c:v>
                </c:pt>
                <c:pt idx="1055">
                  <c:v>40353</c:v>
                </c:pt>
                <c:pt idx="1056">
                  <c:v>40354</c:v>
                </c:pt>
                <c:pt idx="1057">
                  <c:v>40357</c:v>
                </c:pt>
                <c:pt idx="1058">
                  <c:v>40358</c:v>
                </c:pt>
                <c:pt idx="1059">
                  <c:v>40359</c:v>
                </c:pt>
                <c:pt idx="1060">
                  <c:v>40360</c:v>
                </c:pt>
                <c:pt idx="1061">
                  <c:v>40361</c:v>
                </c:pt>
                <c:pt idx="1062">
                  <c:v>40365</c:v>
                </c:pt>
                <c:pt idx="1063">
                  <c:v>40366</c:v>
                </c:pt>
                <c:pt idx="1064">
                  <c:v>40367</c:v>
                </c:pt>
                <c:pt idx="1065">
                  <c:v>40368</c:v>
                </c:pt>
                <c:pt idx="1066">
                  <c:v>40371</c:v>
                </c:pt>
                <c:pt idx="1067">
                  <c:v>40372</c:v>
                </c:pt>
                <c:pt idx="1068">
                  <c:v>40373</c:v>
                </c:pt>
                <c:pt idx="1069">
                  <c:v>40374</c:v>
                </c:pt>
                <c:pt idx="1070">
                  <c:v>40375</c:v>
                </c:pt>
                <c:pt idx="1071">
                  <c:v>40378</c:v>
                </c:pt>
                <c:pt idx="1072">
                  <c:v>40379</c:v>
                </c:pt>
                <c:pt idx="1073">
                  <c:v>40380</c:v>
                </c:pt>
                <c:pt idx="1074">
                  <c:v>40381</c:v>
                </c:pt>
                <c:pt idx="1075">
                  <c:v>40382</c:v>
                </c:pt>
                <c:pt idx="1076">
                  <c:v>40385</c:v>
                </c:pt>
                <c:pt idx="1077">
                  <c:v>40386</c:v>
                </c:pt>
                <c:pt idx="1078">
                  <c:v>40387</c:v>
                </c:pt>
                <c:pt idx="1079">
                  <c:v>40388</c:v>
                </c:pt>
                <c:pt idx="1080">
                  <c:v>40389</c:v>
                </c:pt>
                <c:pt idx="1081">
                  <c:v>40392</c:v>
                </c:pt>
                <c:pt idx="1082">
                  <c:v>40393</c:v>
                </c:pt>
                <c:pt idx="1083">
                  <c:v>40394</c:v>
                </c:pt>
                <c:pt idx="1084">
                  <c:v>40395</c:v>
                </c:pt>
                <c:pt idx="1085">
                  <c:v>40396</c:v>
                </c:pt>
                <c:pt idx="1086">
                  <c:v>40399</c:v>
                </c:pt>
                <c:pt idx="1087">
                  <c:v>40400</c:v>
                </c:pt>
                <c:pt idx="1088">
                  <c:v>40401</c:v>
                </c:pt>
                <c:pt idx="1089">
                  <c:v>40402</c:v>
                </c:pt>
                <c:pt idx="1090">
                  <c:v>40403</c:v>
                </c:pt>
                <c:pt idx="1091">
                  <c:v>40406</c:v>
                </c:pt>
                <c:pt idx="1092">
                  <c:v>40407</c:v>
                </c:pt>
                <c:pt idx="1093">
                  <c:v>40408</c:v>
                </c:pt>
                <c:pt idx="1094">
                  <c:v>40409</c:v>
                </c:pt>
                <c:pt idx="1095">
                  <c:v>40410</c:v>
                </c:pt>
                <c:pt idx="1096">
                  <c:v>40413</c:v>
                </c:pt>
                <c:pt idx="1097">
                  <c:v>40414</c:v>
                </c:pt>
                <c:pt idx="1098">
                  <c:v>40415</c:v>
                </c:pt>
                <c:pt idx="1099">
                  <c:v>40416</c:v>
                </c:pt>
                <c:pt idx="1100">
                  <c:v>40417</c:v>
                </c:pt>
                <c:pt idx="1101">
                  <c:v>40420</c:v>
                </c:pt>
                <c:pt idx="1102">
                  <c:v>40421</c:v>
                </c:pt>
                <c:pt idx="1103">
                  <c:v>40422</c:v>
                </c:pt>
                <c:pt idx="1104">
                  <c:v>40423</c:v>
                </c:pt>
                <c:pt idx="1105">
                  <c:v>40424</c:v>
                </c:pt>
                <c:pt idx="1106">
                  <c:v>40428</c:v>
                </c:pt>
                <c:pt idx="1107">
                  <c:v>40429</c:v>
                </c:pt>
                <c:pt idx="1108">
                  <c:v>40430</c:v>
                </c:pt>
                <c:pt idx="1109">
                  <c:v>40431</c:v>
                </c:pt>
                <c:pt idx="1110">
                  <c:v>40434</c:v>
                </c:pt>
                <c:pt idx="1111">
                  <c:v>40435</c:v>
                </c:pt>
                <c:pt idx="1112">
                  <c:v>40436</c:v>
                </c:pt>
                <c:pt idx="1113">
                  <c:v>40437</c:v>
                </c:pt>
                <c:pt idx="1114">
                  <c:v>40438</c:v>
                </c:pt>
                <c:pt idx="1115">
                  <c:v>40441</c:v>
                </c:pt>
                <c:pt idx="1116">
                  <c:v>40442</c:v>
                </c:pt>
                <c:pt idx="1117">
                  <c:v>40443</c:v>
                </c:pt>
                <c:pt idx="1118">
                  <c:v>40444</c:v>
                </c:pt>
                <c:pt idx="1119">
                  <c:v>40445</c:v>
                </c:pt>
                <c:pt idx="1120">
                  <c:v>40448</c:v>
                </c:pt>
                <c:pt idx="1121">
                  <c:v>40449</c:v>
                </c:pt>
                <c:pt idx="1122">
                  <c:v>40450</c:v>
                </c:pt>
                <c:pt idx="1123">
                  <c:v>40451</c:v>
                </c:pt>
                <c:pt idx="1124">
                  <c:v>40452</c:v>
                </c:pt>
                <c:pt idx="1125">
                  <c:v>40455</c:v>
                </c:pt>
                <c:pt idx="1126">
                  <c:v>40456</c:v>
                </c:pt>
                <c:pt idx="1127">
                  <c:v>40457</c:v>
                </c:pt>
                <c:pt idx="1128">
                  <c:v>40458</c:v>
                </c:pt>
                <c:pt idx="1129">
                  <c:v>40459</c:v>
                </c:pt>
                <c:pt idx="1130">
                  <c:v>40462</c:v>
                </c:pt>
                <c:pt idx="1131">
                  <c:v>40463</c:v>
                </c:pt>
                <c:pt idx="1132">
                  <c:v>40464</c:v>
                </c:pt>
                <c:pt idx="1133">
                  <c:v>40465</c:v>
                </c:pt>
                <c:pt idx="1134">
                  <c:v>40466</c:v>
                </c:pt>
                <c:pt idx="1135">
                  <c:v>40469</c:v>
                </c:pt>
                <c:pt idx="1136">
                  <c:v>40470</c:v>
                </c:pt>
                <c:pt idx="1137">
                  <c:v>40471</c:v>
                </c:pt>
                <c:pt idx="1138">
                  <c:v>40472</c:v>
                </c:pt>
                <c:pt idx="1139">
                  <c:v>40473</c:v>
                </c:pt>
                <c:pt idx="1140">
                  <c:v>40476</c:v>
                </c:pt>
                <c:pt idx="1141">
                  <c:v>40477</c:v>
                </c:pt>
                <c:pt idx="1142">
                  <c:v>40478</c:v>
                </c:pt>
                <c:pt idx="1143">
                  <c:v>40479</c:v>
                </c:pt>
                <c:pt idx="1144">
                  <c:v>40480</c:v>
                </c:pt>
                <c:pt idx="1145">
                  <c:v>40483</c:v>
                </c:pt>
                <c:pt idx="1146">
                  <c:v>40484</c:v>
                </c:pt>
                <c:pt idx="1147">
                  <c:v>40485</c:v>
                </c:pt>
                <c:pt idx="1148">
                  <c:v>40486</c:v>
                </c:pt>
                <c:pt idx="1149">
                  <c:v>40487</c:v>
                </c:pt>
                <c:pt idx="1150">
                  <c:v>40490</c:v>
                </c:pt>
                <c:pt idx="1151">
                  <c:v>40491</c:v>
                </c:pt>
                <c:pt idx="1152">
                  <c:v>40492</c:v>
                </c:pt>
                <c:pt idx="1153">
                  <c:v>40493</c:v>
                </c:pt>
                <c:pt idx="1154">
                  <c:v>40494</c:v>
                </c:pt>
                <c:pt idx="1155">
                  <c:v>40497</c:v>
                </c:pt>
                <c:pt idx="1156">
                  <c:v>40498</c:v>
                </c:pt>
                <c:pt idx="1157">
                  <c:v>40499</c:v>
                </c:pt>
                <c:pt idx="1158">
                  <c:v>40500</c:v>
                </c:pt>
                <c:pt idx="1159">
                  <c:v>40501</c:v>
                </c:pt>
                <c:pt idx="1160">
                  <c:v>40504</c:v>
                </c:pt>
                <c:pt idx="1161">
                  <c:v>40505</c:v>
                </c:pt>
                <c:pt idx="1162">
                  <c:v>40506</c:v>
                </c:pt>
                <c:pt idx="1163">
                  <c:v>40508</c:v>
                </c:pt>
                <c:pt idx="1164">
                  <c:v>40511</c:v>
                </c:pt>
                <c:pt idx="1165">
                  <c:v>40512</c:v>
                </c:pt>
                <c:pt idx="1166">
                  <c:v>40513</c:v>
                </c:pt>
                <c:pt idx="1167">
                  <c:v>40514</c:v>
                </c:pt>
                <c:pt idx="1168">
                  <c:v>40515</c:v>
                </c:pt>
                <c:pt idx="1169">
                  <c:v>40518</c:v>
                </c:pt>
                <c:pt idx="1170">
                  <c:v>40519</c:v>
                </c:pt>
                <c:pt idx="1171">
                  <c:v>40520</c:v>
                </c:pt>
                <c:pt idx="1172">
                  <c:v>40521</c:v>
                </c:pt>
                <c:pt idx="1173">
                  <c:v>40522</c:v>
                </c:pt>
                <c:pt idx="1174">
                  <c:v>40525</c:v>
                </c:pt>
                <c:pt idx="1175">
                  <c:v>40526</c:v>
                </c:pt>
                <c:pt idx="1176">
                  <c:v>40527</c:v>
                </c:pt>
                <c:pt idx="1177">
                  <c:v>40528</c:v>
                </c:pt>
                <c:pt idx="1178">
                  <c:v>40529</c:v>
                </c:pt>
                <c:pt idx="1179">
                  <c:v>40532</c:v>
                </c:pt>
                <c:pt idx="1180">
                  <c:v>40533</c:v>
                </c:pt>
                <c:pt idx="1181">
                  <c:v>40534</c:v>
                </c:pt>
                <c:pt idx="1182">
                  <c:v>40535</c:v>
                </c:pt>
                <c:pt idx="1183">
                  <c:v>40539</c:v>
                </c:pt>
                <c:pt idx="1184">
                  <c:v>40540</c:v>
                </c:pt>
                <c:pt idx="1185">
                  <c:v>40541</c:v>
                </c:pt>
                <c:pt idx="1186">
                  <c:v>40542</c:v>
                </c:pt>
                <c:pt idx="1187">
                  <c:v>40543</c:v>
                </c:pt>
                <c:pt idx="1188">
                  <c:v>40546</c:v>
                </c:pt>
                <c:pt idx="1189">
                  <c:v>40547</c:v>
                </c:pt>
                <c:pt idx="1190">
                  <c:v>40548</c:v>
                </c:pt>
                <c:pt idx="1191">
                  <c:v>40549</c:v>
                </c:pt>
                <c:pt idx="1192">
                  <c:v>40550</c:v>
                </c:pt>
                <c:pt idx="1193">
                  <c:v>40553</c:v>
                </c:pt>
                <c:pt idx="1194">
                  <c:v>40554</c:v>
                </c:pt>
                <c:pt idx="1195">
                  <c:v>40555</c:v>
                </c:pt>
                <c:pt idx="1196">
                  <c:v>40556</c:v>
                </c:pt>
                <c:pt idx="1197">
                  <c:v>40557</c:v>
                </c:pt>
                <c:pt idx="1198">
                  <c:v>40561</c:v>
                </c:pt>
                <c:pt idx="1199">
                  <c:v>40562</c:v>
                </c:pt>
                <c:pt idx="1200">
                  <c:v>40563</c:v>
                </c:pt>
                <c:pt idx="1201">
                  <c:v>40564</c:v>
                </c:pt>
                <c:pt idx="1202">
                  <c:v>40567</c:v>
                </c:pt>
                <c:pt idx="1203">
                  <c:v>40568</c:v>
                </c:pt>
                <c:pt idx="1204">
                  <c:v>40569</c:v>
                </c:pt>
                <c:pt idx="1205">
                  <c:v>40570</c:v>
                </c:pt>
                <c:pt idx="1206">
                  <c:v>40571</c:v>
                </c:pt>
                <c:pt idx="1207">
                  <c:v>40574</c:v>
                </c:pt>
                <c:pt idx="1208">
                  <c:v>40575</c:v>
                </c:pt>
                <c:pt idx="1209">
                  <c:v>40576</c:v>
                </c:pt>
                <c:pt idx="1210">
                  <c:v>40577</c:v>
                </c:pt>
                <c:pt idx="1211">
                  <c:v>40578</c:v>
                </c:pt>
                <c:pt idx="1212">
                  <c:v>40581</c:v>
                </c:pt>
                <c:pt idx="1213">
                  <c:v>40582</c:v>
                </c:pt>
                <c:pt idx="1214">
                  <c:v>40583</c:v>
                </c:pt>
                <c:pt idx="1215">
                  <c:v>40584</c:v>
                </c:pt>
                <c:pt idx="1216">
                  <c:v>40585</c:v>
                </c:pt>
                <c:pt idx="1217">
                  <c:v>40588</c:v>
                </c:pt>
                <c:pt idx="1218">
                  <c:v>40589</c:v>
                </c:pt>
                <c:pt idx="1219">
                  <c:v>40590</c:v>
                </c:pt>
                <c:pt idx="1220">
                  <c:v>40591</c:v>
                </c:pt>
                <c:pt idx="1221">
                  <c:v>40592</c:v>
                </c:pt>
                <c:pt idx="1222">
                  <c:v>40596</c:v>
                </c:pt>
                <c:pt idx="1223">
                  <c:v>40597</c:v>
                </c:pt>
                <c:pt idx="1224">
                  <c:v>40598</c:v>
                </c:pt>
                <c:pt idx="1225">
                  <c:v>40599</c:v>
                </c:pt>
                <c:pt idx="1226">
                  <c:v>40602</c:v>
                </c:pt>
                <c:pt idx="1227">
                  <c:v>40603</c:v>
                </c:pt>
                <c:pt idx="1228">
                  <c:v>40604</c:v>
                </c:pt>
                <c:pt idx="1229">
                  <c:v>40605</c:v>
                </c:pt>
                <c:pt idx="1230">
                  <c:v>40606</c:v>
                </c:pt>
                <c:pt idx="1231">
                  <c:v>40609</c:v>
                </c:pt>
                <c:pt idx="1232">
                  <c:v>40610</c:v>
                </c:pt>
                <c:pt idx="1233">
                  <c:v>40611</c:v>
                </c:pt>
                <c:pt idx="1234">
                  <c:v>40612</c:v>
                </c:pt>
                <c:pt idx="1235">
                  <c:v>40613</c:v>
                </c:pt>
                <c:pt idx="1236">
                  <c:v>40616</c:v>
                </c:pt>
                <c:pt idx="1237">
                  <c:v>40617</c:v>
                </c:pt>
                <c:pt idx="1238">
                  <c:v>40618</c:v>
                </c:pt>
                <c:pt idx="1239">
                  <c:v>40619</c:v>
                </c:pt>
                <c:pt idx="1240">
                  <c:v>40620</c:v>
                </c:pt>
                <c:pt idx="1241">
                  <c:v>40623</c:v>
                </c:pt>
                <c:pt idx="1242">
                  <c:v>40624</c:v>
                </c:pt>
                <c:pt idx="1243">
                  <c:v>40625</c:v>
                </c:pt>
                <c:pt idx="1244">
                  <c:v>40626</c:v>
                </c:pt>
                <c:pt idx="1245">
                  <c:v>40627</c:v>
                </c:pt>
                <c:pt idx="1246">
                  <c:v>40630</c:v>
                </c:pt>
                <c:pt idx="1247">
                  <c:v>40631</c:v>
                </c:pt>
                <c:pt idx="1248">
                  <c:v>40632</c:v>
                </c:pt>
                <c:pt idx="1249">
                  <c:v>40633</c:v>
                </c:pt>
                <c:pt idx="1250">
                  <c:v>40634</c:v>
                </c:pt>
                <c:pt idx="1251">
                  <c:v>40637</c:v>
                </c:pt>
                <c:pt idx="1252">
                  <c:v>40638</c:v>
                </c:pt>
                <c:pt idx="1253">
                  <c:v>40639</c:v>
                </c:pt>
                <c:pt idx="1254">
                  <c:v>40640</c:v>
                </c:pt>
                <c:pt idx="1255">
                  <c:v>40641</c:v>
                </c:pt>
                <c:pt idx="1256">
                  <c:v>40644</c:v>
                </c:pt>
                <c:pt idx="1257">
                  <c:v>40645</c:v>
                </c:pt>
                <c:pt idx="1258">
                  <c:v>40646</c:v>
                </c:pt>
                <c:pt idx="1259">
                  <c:v>40647</c:v>
                </c:pt>
                <c:pt idx="1260">
                  <c:v>40648</c:v>
                </c:pt>
                <c:pt idx="1261">
                  <c:v>40651</c:v>
                </c:pt>
                <c:pt idx="1262">
                  <c:v>40652</c:v>
                </c:pt>
                <c:pt idx="1263">
                  <c:v>40653</c:v>
                </c:pt>
                <c:pt idx="1264">
                  <c:v>40654</c:v>
                </c:pt>
                <c:pt idx="1265">
                  <c:v>40658</c:v>
                </c:pt>
                <c:pt idx="1266">
                  <c:v>40659</c:v>
                </c:pt>
                <c:pt idx="1267">
                  <c:v>40660</c:v>
                </c:pt>
                <c:pt idx="1268">
                  <c:v>40661</c:v>
                </c:pt>
                <c:pt idx="1269">
                  <c:v>40662</c:v>
                </c:pt>
                <c:pt idx="1270">
                  <c:v>40665</c:v>
                </c:pt>
                <c:pt idx="1271">
                  <c:v>40666</c:v>
                </c:pt>
                <c:pt idx="1272">
                  <c:v>40667</c:v>
                </c:pt>
                <c:pt idx="1273">
                  <c:v>40668</c:v>
                </c:pt>
                <c:pt idx="1274">
                  <c:v>40669</c:v>
                </c:pt>
                <c:pt idx="1275">
                  <c:v>40672</c:v>
                </c:pt>
                <c:pt idx="1276">
                  <c:v>40673</c:v>
                </c:pt>
                <c:pt idx="1277">
                  <c:v>40674</c:v>
                </c:pt>
                <c:pt idx="1278">
                  <c:v>40675</c:v>
                </c:pt>
                <c:pt idx="1279">
                  <c:v>40676</c:v>
                </c:pt>
                <c:pt idx="1280">
                  <c:v>40679</c:v>
                </c:pt>
                <c:pt idx="1281">
                  <c:v>40680</c:v>
                </c:pt>
                <c:pt idx="1282">
                  <c:v>40681</c:v>
                </c:pt>
                <c:pt idx="1283">
                  <c:v>40682</c:v>
                </c:pt>
                <c:pt idx="1284">
                  <c:v>40683</c:v>
                </c:pt>
                <c:pt idx="1285">
                  <c:v>40686</c:v>
                </c:pt>
                <c:pt idx="1286">
                  <c:v>40687</c:v>
                </c:pt>
                <c:pt idx="1287">
                  <c:v>40688</c:v>
                </c:pt>
                <c:pt idx="1288">
                  <c:v>40689</c:v>
                </c:pt>
                <c:pt idx="1289">
                  <c:v>40690</c:v>
                </c:pt>
                <c:pt idx="1290">
                  <c:v>40694</c:v>
                </c:pt>
                <c:pt idx="1291">
                  <c:v>40695</c:v>
                </c:pt>
                <c:pt idx="1292">
                  <c:v>40696</c:v>
                </c:pt>
                <c:pt idx="1293">
                  <c:v>40697</c:v>
                </c:pt>
                <c:pt idx="1294">
                  <c:v>40700</c:v>
                </c:pt>
                <c:pt idx="1295">
                  <c:v>40701</c:v>
                </c:pt>
                <c:pt idx="1296">
                  <c:v>40702</c:v>
                </c:pt>
                <c:pt idx="1297">
                  <c:v>40703</c:v>
                </c:pt>
                <c:pt idx="1298">
                  <c:v>40704</c:v>
                </c:pt>
                <c:pt idx="1299">
                  <c:v>40707</c:v>
                </c:pt>
                <c:pt idx="1300">
                  <c:v>40708</c:v>
                </c:pt>
                <c:pt idx="1301">
                  <c:v>40709</c:v>
                </c:pt>
                <c:pt idx="1302">
                  <c:v>40710</c:v>
                </c:pt>
                <c:pt idx="1303">
                  <c:v>40711</c:v>
                </c:pt>
                <c:pt idx="1304">
                  <c:v>40714</c:v>
                </c:pt>
                <c:pt idx="1305">
                  <c:v>40715</c:v>
                </c:pt>
                <c:pt idx="1306">
                  <c:v>40716</c:v>
                </c:pt>
                <c:pt idx="1307">
                  <c:v>40717</c:v>
                </c:pt>
                <c:pt idx="1308">
                  <c:v>40718</c:v>
                </c:pt>
                <c:pt idx="1309">
                  <c:v>40721</c:v>
                </c:pt>
                <c:pt idx="1310">
                  <c:v>40722</c:v>
                </c:pt>
                <c:pt idx="1311">
                  <c:v>40723</c:v>
                </c:pt>
                <c:pt idx="1312">
                  <c:v>40724</c:v>
                </c:pt>
                <c:pt idx="1313">
                  <c:v>40725</c:v>
                </c:pt>
                <c:pt idx="1314">
                  <c:v>40729</c:v>
                </c:pt>
                <c:pt idx="1315">
                  <c:v>40730</c:v>
                </c:pt>
                <c:pt idx="1316">
                  <c:v>40731</c:v>
                </c:pt>
                <c:pt idx="1317">
                  <c:v>40732</c:v>
                </c:pt>
                <c:pt idx="1318">
                  <c:v>40735</c:v>
                </c:pt>
                <c:pt idx="1319">
                  <c:v>40736</c:v>
                </c:pt>
                <c:pt idx="1320">
                  <c:v>40737</c:v>
                </c:pt>
                <c:pt idx="1321">
                  <c:v>40738</c:v>
                </c:pt>
                <c:pt idx="1322">
                  <c:v>40739</c:v>
                </c:pt>
                <c:pt idx="1323">
                  <c:v>40742</c:v>
                </c:pt>
                <c:pt idx="1324">
                  <c:v>40743</c:v>
                </c:pt>
                <c:pt idx="1325">
                  <c:v>40744</c:v>
                </c:pt>
                <c:pt idx="1326">
                  <c:v>40745</c:v>
                </c:pt>
                <c:pt idx="1327">
                  <c:v>40746</c:v>
                </c:pt>
                <c:pt idx="1328">
                  <c:v>40749</c:v>
                </c:pt>
                <c:pt idx="1329">
                  <c:v>40750</c:v>
                </c:pt>
                <c:pt idx="1330">
                  <c:v>40751</c:v>
                </c:pt>
                <c:pt idx="1331">
                  <c:v>40752</c:v>
                </c:pt>
                <c:pt idx="1332">
                  <c:v>40753</c:v>
                </c:pt>
                <c:pt idx="1333">
                  <c:v>40756</c:v>
                </c:pt>
                <c:pt idx="1334">
                  <c:v>40757</c:v>
                </c:pt>
                <c:pt idx="1335">
                  <c:v>40758</c:v>
                </c:pt>
                <c:pt idx="1336">
                  <c:v>40759</c:v>
                </c:pt>
                <c:pt idx="1337">
                  <c:v>40760</c:v>
                </c:pt>
                <c:pt idx="1338">
                  <c:v>40763</c:v>
                </c:pt>
                <c:pt idx="1339">
                  <c:v>40764</c:v>
                </c:pt>
                <c:pt idx="1340">
                  <c:v>40765</c:v>
                </c:pt>
                <c:pt idx="1341">
                  <c:v>40766</c:v>
                </c:pt>
                <c:pt idx="1342">
                  <c:v>40767</c:v>
                </c:pt>
                <c:pt idx="1343">
                  <c:v>40770</c:v>
                </c:pt>
                <c:pt idx="1344">
                  <c:v>40771</c:v>
                </c:pt>
                <c:pt idx="1345">
                  <c:v>40772</c:v>
                </c:pt>
                <c:pt idx="1346">
                  <c:v>40773</c:v>
                </c:pt>
                <c:pt idx="1347">
                  <c:v>40774</c:v>
                </c:pt>
                <c:pt idx="1348">
                  <c:v>40777</c:v>
                </c:pt>
                <c:pt idx="1349">
                  <c:v>40778</c:v>
                </c:pt>
                <c:pt idx="1350">
                  <c:v>40779</c:v>
                </c:pt>
                <c:pt idx="1351">
                  <c:v>40780</c:v>
                </c:pt>
                <c:pt idx="1352">
                  <c:v>40781</c:v>
                </c:pt>
                <c:pt idx="1353">
                  <c:v>40784</c:v>
                </c:pt>
                <c:pt idx="1354">
                  <c:v>40785</c:v>
                </c:pt>
                <c:pt idx="1355">
                  <c:v>40786</c:v>
                </c:pt>
                <c:pt idx="1356">
                  <c:v>40787</c:v>
                </c:pt>
                <c:pt idx="1357">
                  <c:v>40788</c:v>
                </c:pt>
                <c:pt idx="1358">
                  <c:v>40792</c:v>
                </c:pt>
                <c:pt idx="1359">
                  <c:v>40793</c:v>
                </c:pt>
                <c:pt idx="1360">
                  <c:v>40794</c:v>
                </c:pt>
                <c:pt idx="1361">
                  <c:v>40795</c:v>
                </c:pt>
                <c:pt idx="1362">
                  <c:v>40798</c:v>
                </c:pt>
                <c:pt idx="1363">
                  <c:v>40799</c:v>
                </c:pt>
                <c:pt idx="1364">
                  <c:v>40800</c:v>
                </c:pt>
                <c:pt idx="1365">
                  <c:v>40801</c:v>
                </c:pt>
                <c:pt idx="1366">
                  <c:v>40802</c:v>
                </c:pt>
                <c:pt idx="1367">
                  <c:v>40805</c:v>
                </c:pt>
                <c:pt idx="1368">
                  <c:v>40806</c:v>
                </c:pt>
                <c:pt idx="1369">
                  <c:v>40807</c:v>
                </c:pt>
                <c:pt idx="1370">
                  <c:v>40808</c:v>
                </c:pt>
                <c:pt idx="1371">
                  <c:v>40809</c:v>
                </c:pt>
                <c:pt idx="1372">
                  <c:v>40812</c:v>
                </c:pt>
                <c:pt idx="1373">
                  <c:v>40813</c:v>
                </c:pt>
                <c:pt idx="1374">
                  <c:v>40814</c:v>
                </c:pt>
                <c:pt idx="1375">
                  <c:v>40815</c:v>
                </c:pt>
                <c:pt idx="1376">
                  <c:v>40816</c:v>
                </c:pt>
                <c:pt idx="1377">
                  <c:v>40819</c:v>
                </c:pt>
                <c:pt idx="1378">
                  <c:v>40820</c:v>
                </c:pt>
                <c:pt idx="1379">
                  <c:v>40821</c:v>
                </c:pt>
                <c:pt idx="1380">
                  <c:v>40822</c:v>
                </c:pt>
                <c:pt idx="1381">
                  <c:v>40823</c:v>
                </c:pt>
                <c:pt idx="1382">
                  <c:v>40826</c:v>
                </c:pt>
                <c:pt idx="1383">
                  <c:v>40827</c:v>
                </c:pt>
                <c:pt idx="1384">
                  <c:v>40828</c:v>
                </c:pt>
                <c:pt idx="1385">
                  <c:v>40829</c:v>
                </c:pt>
                <c:pt idx="1386">
                  <c:v>40830</c:v>
                </c:pt>
                <c:pt idx="1387">
                  <c:v>40833</c:v>
                </c:pt>
                <c:pt idx="1388">
                  <c:v>40834</c:v>
                </c:pt>
                <c:pt idx="1389">
                  <c:v>40835</c:v>
                </c:pt>
                <c:pt idx="1390">
                  <c:v>40836</c:v>
                </c:pt>
                <c:pt idx="1391">
                  <c:v>40837</c:v>
                </c:pt>
                <c:pt idx="1392">
                  <c:v>40840</c:v>
                </c:pt>
                <c:pt idx="1393">
                  <c:v>40841</c:v>
                </c:pt>
                <c:pt idx="1394">
                  <c:v>40842</c:v>
                </c:pt>
                <c:pt idx="1395">
                  <c:v>40843</c:v>
                </c:pt>
                <c:pt idx="1396">
                  <c:v>40844</c:v>
                </c:pt>
                <c:pt idx="1397">
                  <c:v>40847</c:v>
                </c:pt>
                <c:pt idx="1398">
                  <c:v>40848</c:v>
                </c:pt>
                <c:pt idx="1399">
                  <c:v>40849</c:v>
                </c:pt>
                <c:pt idx="1400">
                  <c:v>40850</c:v>
                </c:pt>
                <c:pt idx="1401">
                  <c:v>40851</c:v>
                </c:pt>
                <c:pt idx="1402">
                  <c:v>40854</c:v>
                </c:pt>
                <c:pt idx="1403">
                  <c:v>40855</c:v>
                </c:pt>
                <c:pt idx="1404">
                  <c:v>40856</c:v>
                </c:pt>
                <c:pt idx="1405">
                  <c:v>40857</c:v>
                </c:pt>
                <c:pt idx="1406">
                  <c:v>40858</c:v>
                </c:pt>
                <c:pt idx="1407">
                  <c:v>40861</c:v>
                </c:pt>
                <c:pt idx="1408">
                  <c:v>40862</c:v>
                </c:pt>
                <c:pt idx="1409">
                  <c:v>40863</c:v>
                </c:pt>
                <c:pt idx="1410">
                  <c:v>40864</c:v>
                </c:pt>
                <c:pt idx="1411">
                  <c:v>40865</c:v>
                </c:pt>
                <c:pt idx="1412">
                  <c:v>40868</c:v>
                </c:pt>
                <c:pt idx="1413">
                  <c:v>40869</c:v>
                </c:pt>
                <c:pt idx="1414">
                  <c:v>40870</c:v>
                </c:pt>
                <c:pt idx="1415">
                  <c:v>40872</c:v>
                </c:pt>
                <c:pt idx="1416">
                  <c:v>40875</c:v>
                </c:pt>
                <c:pt idx="1417">
                  <c:v>40876</c:v>
                </c:pt>
                <c:pt idx="1418">
                  <c:v>40877</c:v>
                </c:pt>
                <c:pt idx="1419">
                  <c:v>40878</c:v>
                </c:pt>
                <c:pt idx="1420">
                  <c:v>40879</c:v>
                </c:pt>
                <c:pt idx="1421">
                  <c:v>40882</c:v>
                </c:pt>
                <c:pt idx="1422">
                  <c:v>40883</c:v>
                </c:pt>
                <c:pt idx="1423">
                  <c:v>40884</c:v>
                </c:pt>
                <c:pt idx="1424">
                  <c:v>40885</c:v>
                </c:pt>
                <c:pt idx="1425">
                  <c:v>40886</c:v>
                </c:pt>
                <c:pt idx="1426">
                  <c:v>40889</c:v>
                </c:pt>
                <c:pt idx="1427">
                  <c:v>40890</c:v>
                </c:pt>
                <c:pt idx="1428">
                  <c:v>40891</c:v>
                </c:pt>
                <c:pt idx="1429">
                  <c:v>40892</c:v>
                </c:pt>
                <c:pt idx="1430">
                  <c:v>40893</c:v>
                </c:pt>
                <c:pt idx="1431">
                  <c:v>40896</c:v>
                </c:pt>
                <c:pt idx="1432">
                  <c:v>40897</c:v>
                </c:pt>
                <c:pt idx="1433">
                  <c:v>40898</c:v>
                </c:pt>
                <c:pt idx="1434">
                  <c:v>40899</c:v>
                </c:pt>
                <c:pt idx="1435">
                  <c:v>40900</c:v>
                </c:pt>
                <c:pt idx="1436">
                  <c:v>40904</c:v>
                </c:pt>
                <c:pt idx="1437">
                  <c:v>40905</c:v>
                </c:pt>
                <c:pt idx="1438">
                  <c:v>40906</c:v>
                </c:pt>
                <c:pt idx="1439">
                  <c:v>40907</c:v>
                </c:pt>
                <c:pt idx="1440">
                  <c:v>40911</c:v>
                </c:pt>
                <c:pt idx="1441">
                  <c:v>40912</c:v>
                </c:pt>
                <c:pt idx="1442">
                  <c:v>40913</c:v>
                </c:pt>
                <c:pt idx="1443">
                  <c:v>40914</c:v>
                </c:pt>
                <c:pt idx="1444">
                  <c:v>40917</c:v>
                </c:pt>
                <c:pt idx="1445">
                  <c:v>40918</c:v>
                </c:pt>
                <c:pt idx="1446">
                  <c:v>40919</c:v>
                </c:pt>
                <c:pt idx="1447">
                  <c:v>40920</c:v>
                </c:pt>
                <c:pt idx="1448">
                  <c:v>40921</c:v>
                </c:pt>
                <c:pt idx="1449">
                  <c:v>40925</c:v>
                </c:pt>
                <c:pt idx="1450">
                  <c:v>40926</c:v>
                </c:pt>
                <c:pt idx="1451">
                  <c:v>40927</c:v>
                </c:pt>
                <c:pt idx="1452">
                  <c:v>40928</c:v>
                </c:pt>
                <c:pt idx="1453">
                  <c:v>40931</c:v>
                </c:pt>
                <c:pt idx="1454">
                  <c:v>40932</c:v>
                </c:pt>
                <c:pt idx="1455">
                  <c:v>40933</c:v>
                </c:pt>
                <c:pt idx="1456">
                  <c:v>40934</c:v>
                </c:pt>
                <c:pt idx="1457">
                  <c:v>40935</c:v>
                </c:pt>
                <c:pt idx="1458">
                  <c:v>40938</c:v>
                </c:pt>
                <c:pt idx="1459">
                  <c:v>40939</c:v>
                </c:pt>
                <c:pt idx="1460">
                  <c:v>40940</c:v>
                </c:pt>
                <c:pt idx="1461">
                  <c:v>40941</c:v>
                </c:pt>
                <c:pt idx="1462">
                  <c:v>40942</c:v>
                </c:pt>
                <c:pt idx="1463">
                  <c:v>40945</c:v>
                </c:pt>
                <c:pt idx="1464">
                  <c:v>40946</c:v>
                </c:pt>
                <c:pt idx="1465">
                  <c:v>40947</c:v>
                </c:pt>
                <c:pt idx="1466">
                  <c:v>40948</c:v>
                </c:pt>
                <c:pt idx="1467">
                  <c:v>40949</c:v>
                </c:pt>
                <c:pt idx="1468">
                  <c:v>40952</c:v>
                </c:pt>
                <c:pt idx="1469">
                  <c:v>40953</c:v>
                </c:pt>
                <c:pt idx="1470">
                  <c:v>40954</c:v>
                </c:pt>
                <c:pt idx="1471">
                  <c:v>40955</c:v>
                </c:pt>
                <c:pt idx="1472">
                  <c:v>40956</c:v>
                </c:pt>
                <c:pt idx="1473">
                  <c:v>40960</c:v>
                </c:pt>
                <c:pt idx="1474">
                  <c:v>40961</c:v>
                </c:pt>
                <c:pt idx="1475">
                  <c:v>40962</c:v>
                </c:pt>
                <c:pt idx="1476">
                  <c:v>40963</c:v>
                </c:pt>
                <c:pt idx="1477">
                  <c:v>40966</c:v>
                </c:pt>
                <c:pt idx="1478">
                  <c:v>40967</c:v>
                </c:pt>
                <c:pt idx="1479">
                  <c:v>40968</c:v>
                </c:pt>
                <c:pt idx="1480">
                  <c:v>40969</c:v>
                </c:pt>
                <c:pt idx="1481">
                  <c:v>40970</c:v>
                </c:pt>
                <c:pt idx="1482">
                  <c:v>40973</c:v>
                </c:pt>
                <c:pt idx="1483">
                  <c:v>40974</c:v>
                </c:pt>
                <c:pt idx="1484">
                  <c:v>40975</c:v>
                </c:pt>
                <c:pt idx="1485">
                  <c:v>40976</c:v>
                </c:pt>
                <c:pt idx="1486">
                  <c:v>40977</c:v>
                </c:pt>
                <c:pt idx="1487">
                  <c:v>40980</c:v>
                </c:pt>
                <c:pt idx="1488">
                  <c:v>40981</c:v>
                </c:pt>
                <c:pt idx="1489">
                  <c:v>40982</c:v>
                </c:pt>
                <c:pt idx="1490">
                  <c:v>40983</c:v>
                </c:pt>
                <c:pt idx="1491">
                  <c:v>40984</c:v>
                </c:pt>
                <c:pt idx="1492">
                  <c:v>40987</c:v>
                </c:pt>
                <c:pt idx="1493">
                  <c:v>40988</c:v>
                </c:pt>
                <c:pt idx="1494">
                  <c:v>40989</c:v>
                </c:pt>
                <c:pt idx="1495">
                  <c:v>40990</c:v>
                </c:pt>
                <c:pt idx="1496">
                  <c:v>40991</c:v>
                </c:pt>
                <c:pt idx="1497">
                  <c:v>40994</c:v>
                </c:pt>
                <c:pt idx="1498">
                  <c:v>40995</c:v>
                </c:pt>
                <c:pt idx="1499">
                  <c:v>40996</c:v>
                </c:pt>
                <c:pt idx="1500">
                  <c:v>40997</c:v>
                </c:pt>
                <c:pt idx="1501">
                  <c:v>40998</c:v>
                </c:pt>
                <c:pt idx="1502">
                  <c:v>41001</c:v>
                </c:pt>
                <c:pt idx="1503">
                  <c:v>41002</c:v>
                </c:pt>
                <c:pt idx="1504">
                  <c:v>41003</c:v>
                </c:pt>
                <c:pt idx="1505">
                  <c:v>41004</c:v>
                </c:pt>
                <c:pt idx="1506">
                  <c:v>41008</c:v>
                </c:pt>
                <c:pt idx="1507">
                  <c:v>41009</c:v>
                </c:pt>
                <c:pt idx="1508">
                  <c:v>41010</c:v>
                </c:pt>
                <c:pt idx="1509">
                  <c:v>41011</c:v>
                </c:pt>
                <c:pt idx="1510">
                  <c:v>41012</c:v>
                </c:pt>
                <c:pt idx="1511">
                  <c:v>41015</c:v>
                </c:pt>
                <c:pt idx="1512">
                  <c:v>41016</c:v>
                </c:pt>
                <c:pt idx="1513">
                  <c:v>41017</c:v>
                </c:pt>
                <c:pt idx="1514">
                  <c:v>41018</c:v>
                </c:pt>
                <c:pt idx="1515">
                  <c:v>41019</c:v>
                </c:pt>
                <c:pt idx="1516">
                  <c:v>41022</c:v>
                </c:pt>
                <c:pt idx="1517">
                  <c:v>41023</c:v>
                </c:pt>
                <c:pt idx="1518">
                  <c:v>41024</c:v>
                </c:pt>
                <c:pt idx="1519">
                  <c:v>41025</c:v>
                </c:pt>
                <c:pt idx="1520">
                  <c:v>41026</c:v>
                </c:pt>
                <c:pt idx="1521">
                  <c:v>41029</c:v>
                </c:pt>
                <c:pt idx="1522">
                  <c:v>41030</c:v>
                </c:pt>
                <c:pt idx="1523">
                  <c:v>41031</c:v>
                </c:pt>
                <c:pt idx="1524">
                  <c:v>41032</c:v>
                </c:pt>
                <c:pt idx="1525">
                  <c:v>41033</c:v>
                </c:pt>
                <c:pt idx="1526">
                  <c:v>41036</c:v>
                </c:pt>
                <c:pt idx="1527">
                  <c:v>41037</c:v>
                </c:pt>
                <c:pt idx="1528">
                  <c:v>41038</c:v>
                </c:pt>
                <c:pt idx="1529">
                  <c:v>41039</c:v>
                </c:pt>
                <c:pt idx="1530">
                  <c:v>41040</c:v>
                </c:pt>
                <c:pt idx="1531">
                  <c:v>41043</c:v>
                </c:pt>
                <c:pt idx="1532">
                  <c:v>41044</c:v>
                </c:pt>
                <c:pt idx="1533">
                  <c:v>41045</c:v>
                </c:pt>
                <c:pt idx="1534">
                  <c:v>41046</c:v>
                </c:pt>
                <c:pt idx="1535">
                  <c:v>41047</c:v>
                </c:pt>
                <c:pt idx="1536">
                  <c:v>41050</c:v>
                </c:pt>
                <c:pt idx="1537">
                  <c:v>41051</c:v>
                </c:pt>
                <c:pt idx="1538">
                  <c:v>41052</c:v>
                </c:pt>
                <c:pt idx="1539">
                  <c:v>41053</c:v>
                </c:pt>
                <c:pt idx="1540">
                  <c:v>41054</c:v>
                </c:pt>
                <c:pt idx="1541">
                  <c:v>41058</c:v>
                </c:pt>
                <c:pt idx="1542">
                  <c:v>41059</c:v>
                </c:pt>
                <c:pt idx="1543">
                  <c:v>41060</c:v>
                </c:pt>
                <c:pt idx="1544">
                  <c:v>41061</c:v>
                </c:pt>
                <c:pt idx="1545">
                  <c:v>41064</c:v>
                </c:pt>
                <c:pt idx="1546">
                  <c:v>41065</c:v>
                </c:pt>
                <c:pt idx="1547">
                  <c:v>41066</c:v>
                </c:pt>
                <c:pt idx="1548">
                  <c:v>41067</c:v>
                </c:pt>
                <c:pt idx="1549">
                  <c:v>41068</c:v>
                </c:pt>
                <c:pt idx="1550">
                  <c:v>41071</c:v>
                </c:pt>
                <c:pt idx="1551">
                  <c:v>41072</c:v>
                </c:pt>
                <c:pt idx="1552">
                  <c:v>41073</c:v>
                </c:pt>
                <c:pt idx="1553">
                  <c:v>41074</c:v>
                </c:pt>
                <c:pt idx="1554">
                  <c:v>41075</c:v>
                </c:pt>
                <c:pt idx="1555">
                  <c:v>41078</c:v>
                </c:pt>
                <c:pt idx="1556">
                  <c:v>41079</c:v>
                </c:pt>
                <c:pt idx="1557">
                  <c:v>41080</c:v>
                </c:pt>
                <c:pt idx="1558">
                  <c:v>41081</c:v>
                </c:pt>
                <c:pt idx="1559">
                  <c:v>41082</c:v>
                </c:pt>
                <c:pt idx="1560">
                  <c:v>41085</c:v>
                </c:pt>
                <c:pt idx="1561">
                  <c:v>41086</c:v>
                </c:pt>
                <c:pt idx="1562">
                  <c:v>41087</c:v>
                </c:pt>
                <c:pt idx="1563">
                  <c:v>41088</c:v>
                </c:pt>
                <c:pt idx="1564">
                  <c:v>41089</c:v>
                </c:pt>
                <c:pt idx="1565">
                  <c:v>41092</c:v>
                </c:pt>
                <c:pt idx="1566">
                  <c:v>41093</c:v>
                </c:pt>
                <c:pt idx="1567">
                  <c:v>41095</c:v>
                </c:pt>
                <c:pt idx="1568">
                  <c:v>41096</c:v>
                </c:pt>
                <c:pt idx="1569">
                  <c:v>41099</c:v>
                </c:pt>
                <c:pt idx="1570">
                  <c:v>41100</c:v>
                </c:pt>
                <c:pt idx="1571">
                  <c:v>41101</c:v>
                </c:pt>
                <c:pt idx="1572">
                  <c:v>41102</c:v>
                </c:pt>
                <c:pt idx="1573">
                  <c:v>41103</c:v>
                </c:pt>
                <c:pt idx="1574">
                  <c:v>41106</c:v>
                </c:pt>
                <c:pt idx="1575">
                  <c:v>41107</c:v>
                </c:pt>
                <c:pt idx="1576">
                  <c:v>41108</c:v>
                </c:pt>
                <c:pt idx="1577">
                  <c:v>41109</c:v>
                </c:pt>
                <c:pt idx="1578">
                  <c:v>41110</c:v>
                </c:pt>
                <c:pt idx="1579">
                  <c:v>41113</c:v>
                </c:pt>
                <c:pt idx="1580">
                  <c:v>41114</c:v>
                </c:pt>
                <c:pt idx="1581">
                  <c:v>41115</c:v>
                </c:pt>
                <c:pt idx="1582">
                  <c:v>41116</c:v>
                </c:pt>
                <c:pt idx="1583">
                  <c:v>41117</c:v>
                </c:pt>
                <c:pt idx="1584">
                  <c:v>41120</c:v>
                </c:pt>
                <c:pt idx="1585">
                  <c:v>41121</c:v>
                </c:pt>
                <c:pt idx="1586">
                  <c:v>41122</c:v>
                </c:pt>
                <c:pt idx="1587">
                  <c:v>41123</c:v>
                </c:pt>
                <c:pt idx="1588">
                  <c:v>41124</c:v>
                </c:pt>
                <c:pt idx="1589">
                  <c:v>41127</c:v>
                </c:pt>
                <c:pt idx="1590">
                  <c:v>41128</c:v>
                </c:pt>
                <c:pt idx="1591">
                  <c:v>41129</c:v>
                </c:pt>
                <c:pt idx="1592">
                  <c:v>41130</c:v>
                </c:pt>
                <c:pt idx="1593">
                  <c:v>41131</c:v>
                </c:pt>
                <c:pt idx="1594">
                  <c:v>41134</c:v>
                </c:pt>
                <c:pt idx="1595">
                  <c:v>41135</c:v>
                </c:pt>
                <c:pt idx="1596">
                  <c:v>41136</c:v>
                </c:pt>
                <c:pt idx="1597">
                  <c:v>41137</c:v>
                </c:pt>
                <c:pt idx="1598">
                  <c:v>41138</c:v>
                </c:pt>
                <c:pt idx="1599">
                  <c:v>41141</c:v>
                </c:pt>
                <c:pt idx="1600">
                  <c:v>41142</c:v>
                </c:pt>
                <c:pt idx="1601">
                  <c:v>41143</c:v>
                </c:pt>
                <c:pt idx="1602">
                  <c:v>41144</c:v>
                </c:pt>
                <c:pt idx="1603">
                  <c:v>41145</c:v>
                </c:pt>
                <c:pt idx="1604">
                  <c:v>41148</c:v>
                </c:pt>
                <c:pt idx="1605">
                  <c:v>41149</c:v>
                </c:pt>
                <c:pt idx="1606">
                  <c:v>41150</c:v>
                </c:pt>
                <c:pt idx="1607">
                  <c:v>41151</c:v>
                </c:pt>
                <c:pt idx="1608">
                  <c:v>41152</c:v>
                </c:pt>
                <c:pt idx="1609">
                  <c:v>41156</c:v>
                </c:pt>
                <c:pt idx="1610">
                  <c:v>41157</c:v>
                </c:pt>
                <c:pt idx="1611">
                  <c:v>41158</c:v>
                </c:pt>
                <c:pt idx="1612">
                  <c:v>41159</c:v>
                </c:pt>
                <c:pt idx="1613">
                  <c:v>41162</c:v>
                </c:pt>
                <c:pt idx="1614">
                  <c:v>41163</c:v>
                </c:pt>
                <c:pt idx="1615">
                  <c:v>41164</c:v>
                </c:pt>
                <c:pt idx="1616">
                  <c:v>41165</c:v>
                </c:pt>
                <c:pt idx="1617">
                  <c:v>41166</c:v>
                </c:pt>
                <c:pt idx="1618">
                  <c:v>41169</c:v>
                </c:pt>
                <c:pt idx="1619">
                  <c:v>41170</c:v>
                </c:pt>
                <c:pt idx="1620">
                  <c:v>41171</c:v>
                </c:pt>
                <c:pt idx="1621">
                  <c:v>41172</c:v>
                </c:pt>
                <c:pt idx="1622">
                  <c:v>41173</c:v>
                </c:pt>
                <c:pt idx="1623">
                  <c:v>41176</c:v>
                </c:pt>
                <c:pt idx="1624">
                  <c:v>41177</c:v>
                </c:pt>
                <c:pt idx="1625">
                  <c:v>41178</c:v>
                </c:pt>
                <c:pt idx="1626">
                  <c:v>41179</c:v>
                </c:pt>
                <c:pt idx="1627">
                  <c:v>41180</c:v>
                </c:pt>
                <c:pt idx="1628">
                  <c:v>41183</c:v>
                </c:pt>
                <c:pt idx="1629">
                  <c:v>41184</c:v>
                </c:pt>
                <c:pt idx="1630">
                  <c:v>41185</c:v>
                </c:pt>
                <c:pt idx="1631">
                  <c:v>41186</c:v>
                </c:pt>
                <c:pt idx="1632">
                  <c:v>41187</c:v>
                </c:pt>
                <c:pt idx="1633">
                  <c:v>41190</c:v>
                </c:pt>
                <c:pt idx="1634">
                  <c:v>41191</c:v>
                </c:pt>
                <c:pt idx="1635">
                  <c:v>41192</c:v>
                </c:pt>
                <c:pt idx="1636">
                  <c:v>41193</c:v>
                </c:pt>
                <c:pt idx="1637">
                  <c:v>41194</c:v>
                </c:pt>
                <c:pt idx="1638">
                  <c:v>41197</c:v>
                </c:pt>
                <c:pt idx="1639">
                  <c:v>41198</c:v>
                </c:pt>
                <c:pt idx="1640">
                  <c:v>41199</c:v>
                </c:pt>
                <c:pt idx="1641">
                  <c:v>41200</c:v>
                </c:pt>
                <c:pt idx="1642">
                  <c:v>41201</c:v>
                </c:pt>
                <c:pt idx="1643">
                  <c:v>41204</c:v>
                </c:pt>
                <c:pt idx="1644">
                  <c:v>41205</c:v>
                </c:pt>
                <c:pt idx="1645">
                  <c:v>41206</c:v>
                </c:pt>
                <c:pt idx="1646">
                  <c:v>41207</c:v>
                </c:pt>
                <c:pt idx="1647">
                  <c:v>41208</c:v>
                </c:pt>
                <c:pt idx="1648">
                  <c:v>41213</c:v>
                </c:pt>
                <c:pt idx="1649">
                  <c:v>41214</c:v>
                </c:pt>
                <c:pt idx="1650">
                  <c:v>41215</c:v>
                </c:pt>
                <c:pt idx="1651">
                  <c:v>41218</c:v>
                </c:pt>
                <c:pt idx="1652">
                  <c:v>41219</c:v>
                </c:pt>
                <c:pt idx="1653">
                  <c:v>41220</c:v>
                </c:pt>
                <c:pt idx="1654">
                  <c:v>41221</c:v>
                </c:pt>
                <c:pt idx="1655">
                  <c:v>41222</c:v>
                </c:pt>
                <c:pt idx="1656">
                  <c:v>41225</c:v>
                </c:pt>
                <c:pt idx="1657">
                  <c:v>41226</c:v>
                </c:pt>
                <c:pt idx="1658">
                  <c:v>41227</c:v>
                </c:pt>
                <c:pt idx="1659">
                  <c:v>41228</c:v>
                </c:pt>
                <c:pt idx="1660">
                  <c:v>41229</c:v>
                </c:pt>
                <c:pt idx="1661">
                  <c:v>41232</c:v>
                </c:pt>
                <c:pt idx="1662">
                  <c:v>41233</c:v>
                </c:pt>
                <c:pt idx="1663">
                  <c:v>41234</c:v>
                </c:pt>
                <c:pt idx="1664">
                  <c:v>41236</c:v>
                </c:pt>
                <c:pt idx="1665">
                  <c:v>41239</c:v>
                </c:pt>
                <c:pt idx="1666">
                  <c:v>41240</c:v>
                </c:pt>
                <c:pt idx="1667">
                  <c:v>41241</c:v>
                </c:pt>
                <c:pt idx="1668">
                  <c:v>41242</c:v>
                </c:pt>
                <c:pt idx="1669">
                  <c:v>41243</c:v>
                </c:pt>
                <c:pt idx="1670">
                  <c:v>41246</c:v>
                </c:pt>
                <c:pt idx="1671">
                  <c:v>41247</c:v>
                </c:pt>
                <c:pt idx="1672">
                  <c:v>41248</c:v>
                </c:pt>
                <c:pt idx="1673">
                  <c:v>41249</c:v>
                </c:pt>
                <c:pt idx="1674">
                  <c:v>41250</c:v>
                </c:pt>
                <c:pt idx="1675">
                  <c:v>41253</c:v>
                </c:pt>
                <c:pt idx="1676">
                  <c:v>41254</c:v>
                </c:pt>
                <c:pt idx="1677">
                  <c:v>41255</c:v>
                </c:pt>
                <c:pt idx="1678">
                  <c:v>41256</c:v>
                </c:pt>
                <c:pt idx="1679">
                  <c:v>41257</c:v>
                </c:pt>
                <c:pt idx="1680">
                  <c:v>41260</c:v>
                </c:pt>
                <c:pt idx="1681">
                  <c:v>41261</c:v>
                </c:pt>
                <c:pt idx="1682">
                  <c:v>41262</c:v>
                </c:pt>
                <c:pt idx="1683">
                  <c:v>41263</c:v>
                </c:pt>
                <c:pt idx="1684">
                  <c:v>41264</c:v>
                </c:pt>
                <c:pt idx="1685">
                  <c:v>41267</c:v>
                </c:pt>
                <c:pt idx="1686">
                  <c:v>41269</c:v>
                </c:pt>
                <c:pt idx="1687">
                  <c:v>41270</c:v>
                </c:pt>
                <c:pt idx="1688">
                  <c:v>41271</c:v>
                </c:pt>
                <c:pt idx="1689">
                  <c:v>41274</c:v>
                </c:pt>
                <c:pt idx="1690">
                  <c:v>41276</c:v>
                </c:pt>
                <c:pt idx="1691">
                  <c:v>41277</c:v>
                </c:pt>
                <c:pt idx="1692">
                  <c:v>41278</c:v>
                </c:pt>
                <c:pt idx="1693">
                  <c:v>41281</c:v>
                </c:pt>
                <c:pt idx="1694">
                  <c:v>41282</c:v>
                </c:pt>
                <c:pt idx="1695">
                  <c:v>41283</c:v>
                </c:pt>
                <c:pt idx="1696">
                  <c:v>41284</c:v>
                </c:pt>
                <c:pt idx="1697">
                  <c:v>41285</c:v>
                </c:pt>
                <c:pt idx="1698">
                  <c:v>41288</c:v>
                </c:pt>
                <c:pt idx="1699">
                  <c:v>41289</c:v>
                </c:pt>
                <c:pt idx="1700">
                  <c:v>41290</c:v>
                </c:pt>
                <c:pt idx="1701">
                  <c:v>41291</c:v>
                </c:pt>
                <c:pt idx="1702">
                  <c:v>41292</c:v>
                </c:pt>
                <c:pt idx="1703">
                  <c:v>41296</c:v>
                </c:pt>
                <c:pt idx="1704">
                  <c:v>41297</c:v>
                </c:pt>
                <c:pt idx="1705">
                  <c:v>41298</c:v>
                </c:pt>
                <c:pt idx="1706">
                  <c:v>41299</c:v>
                </c:pt>
                <c:pt idx="1707">
                  <c:v>41302</c:v>
                </c:pt>
                <c:pt idx="1708">
                  <c:v>41303</c:v>
                </c:pt>
                <c:pt idx="1709">
                  <c:v>41304</c:v>
                </c:pt>
                <c:pt idx="1710">
                  <c:v>41305</c:v>
                </c:pt>
                <c:pt idx="1711">
                  <c:v>41306</c:v>
                </c:pt>
                <c:pt idx="1712">
                  <c:v>41309</c:v>
                </c:pt>
                <c:pt idx="1713">
                  <c:v>41310</c:v>
                </c:pt>
                <c:pt idx="1714">
                  <c:v>41311</c:v>
                </c:pt>
                <c:pt idx="1715">
                  <c:v>41312</c:v>
                </c:pt>
                <c:pt idx="1716">
                  <c:v>41313</c:v>
                </c:pt>
                <c:pt idx="1717">
                  <c:v>41316</c:v>
                </c:pt>
                <c:pt idx="1718">
                  <c:v>41317</c:v>
                </c:pt>
                <c:pt idx="1719">
                  <c:v>41318</c:v>
                </c:pt>
                <c:pt idx="1720">
                  <c:v>41319</c:v>
                </c:pt>
                <c:pt idx="1721">
                  <c:v>41320</c:v>
                </c:pt>
                <c:pt idx="1722">
                  <c:v>41324</c:v>
                </c:pt>
                <c:pt idx="1723">
                  <c:v>41325</c:v>
                </c:pt>
                <c:pt idx="1724">
                  <c:v>41326</c:v>
                </c:pt>
                <c:pt idx="1725">
                  <c:v>41327</c:v>
                </c:pt>
                <c:pt idx="1726">
                  <c:v>41330</c:v>
                </c:pt>
                <c:pt idx="1727">
                  <c:v>41331</c:v>
                </c:pt>
                <c:pt idx="1728">
                  <c:v>41332</c:v>
                </c:pt>
                <c:pt idx="1729">
                  <c:v>41333</c:v>
                </c:pt>
                <c:pt idx="1730">
                  <c:v>41334</c:v>
                </c:pt>
                <c:pt idx="1731">
                  <c:v>41337</c:v>
                </c:pt>
                <c:pt idx="1732">
                  <c:v>41338</c:v>
                </c:pt>
                <c:pt idx="1733">
                  <c:v>41339</c:v>
                </c:pt>
                <c:pt idx="1734">
                  <c:v>41340</c:v>
                </c:pt>
                <c:pt idx="1735">
                  <c:v>41341</c:v>
                </c:pt>
                <c:pt idx="1736">
                  <c:v>41344</c:v>
                </c:pt>
                <c:pt idx="1737">
                  <c:v>41345</c:v>
                </c:pt>
                <c:pt idx="1738">
                  <c:v>41346</c:v>
                </c:pt>
                <c:pt idx="1739">
                  <c:v>41347</c:v>
                </c:pt>
                <c:pt idx="1740">
                  <c:v>41348</c:v>
                </c:pt>
                <c:pt idx="1741">
                  <c:v>41351</c:v>
                </c:pt>
                <c:pt idx="1742">
                  <c:v>41352</c:v>
                </c:pt>
                <c:pt idx="1743">
                  <c:v>41353</c:v>
                </c:pt>
                <c:pt idx="1744">
                  <c:v>41354</c:v>
                </c:pt>
                <c:pt idx="1745">
                  <c:v>41355</c:v>
                </c:pt>
                <c:pt idx="1746">
                  <c:v>41358</c:v>
                </c:pt>
                <c:pt idx="1747">
                  <c:v>41359</c:v>
                </c:pt>
                <c:pt idx="1748">
                  <c:v>41360</c:v>
                </c:pt>
                <c:pt idx="1749">
                  <c:v>41361</c:v>
                </c:pt>
                <c:pt idx="1750">
                  <c:v>41365</c:v>
                </c:pt>
                <c:pt idx="1751">
                  <c:v>41366</c:v>
                </c:pt>
                <c:pt idx="1752">
                  <c:v>41367</c:v>
                </c:pt>
                <c:pt idx="1753">
                  <c:v>41368</c:v>
                </c:pt>
                <c:pt idx="1754">
                  <c:v>41369</c:v>
                </c:pt>
                <c:pt idx="1755">
                  <c:v>41372</c:v>
                </c:pt>
                <c:pt idx="1756">
                  <c:v>41373</c:v>
                </c:pt>
                <c:pt idx="1757">
                  <c:v>41374</c:v>
                </c:pt>
                <c:pt idx="1758">
                  <c:v>41375</c:v>
                </c:pt>
                <c:pt idx="1759">
                  <c:v>41376</c:v>
                </c:pt>
                <c:pt idx="1760">
                  <c:v>41379</c:v>
                </c:pt>
                <c:pt idx="1761">
                  <c:v>41380</c:v>
                </c:pt>
                <c:pt idx="1762">
                  <c:v>41381</c:v>
                </c:pt>
                <c:pt idx="1763">
                  <c:v>41382</c:v>
                </c:pt>
                <c:pt idx="1764">
                  <c:v>41383</c:v>
                </c:pt>
                <c:pt idx="1765">
                  <c:v>41386</c:v>
                </c:pt>
                <c:pt idx="1766">
                  <c:v>41387</c:v>
                </c:pt>
                <c:pt idx="1767">
                  <c:v>41388</c:v>
                </c:pt>
                <c:pt idx="1768">
                  <c:v>41389</c:v>
                </c:pt>
                <c:pt idx="1769">
                  <c:v>41390</c:v>
                </c:pt>
                <c:pt idx="1770">
                  <c:v>41393</c:v>
                </c:pt>
                <c:pt idx="1771">
                  <c:v>41394</c:v>
                </c:pt>
                <c:pt idx="1772">
                  <c:v>41395</c:v>
                </c:pt>
                <c:pt idx="1773">
                  <c:v>41396</c:v>
                </c:pt>
                <c:pt idx="1774">
                  <c:v>41397</c:v>
                </c:pt>
                <c:pt idx="1775">
                  <c:v>41400</c:v>
                </c:pt>
                <c:pt idx="1776">
                  <c:v>41401</c:v>
                </c:pt>
                <c:pt idx="1777">
                  <c:v>41402</c:v>
                </c:pt>
                <c:pt idx="1778">
                  <c:v>41403</c:v>
                </c:pt>
                <c:pt idx="1779">
                  <c:v>41404</c:v>
                </c:pt>
                <c:pt idx="1780">
                  <c:v>41407</c:v>
                </c:pt>
                <c:pt idx="1781">
                  <c:v>41408</c:v>
                </c:pt>
                <c:pt idx="1782">
                  <c:v>41409</c:v>
                </c:pt>
                <c:pt idx="1783">
                  <c:v>41410</c:v>
                </c:pt>
                <c:pt idx="1784">
                  <c:v>41411</c:v>
                </c:pt>
                <c:pt idx="1785">
                  <c:v>41414</c:v>
                </c:pt>
                <c:pt idx="1786">
                  <c:v>41415</c:v>
                </c:pt>
                <c:pt idx="1787">
                  <c:v>41416</c:v>
                </c:pt>
                <c:pt idx="1788">
                  <c:v>41417</c:v>
                </c:pt>
                <c:pt idx="1789">
                  <c:v>41418</c:v>
                </c:pt>
                <c:pt idx="1790">
                  <c:v>41422</c:v>
                </c:pt>
                <c:pt idx="1791">
                  <c:v>41423</c:v>
                </c:pt>
                <c:pt idx="1792">
                  <c:v>41424</c:v>
                </c:pt>
                <c:pt idx="1793">
                  <c:v>41425</c:v>
                </c:pt>
                <c:pt idx="1794">
                  <c:v>41428</c:v>
                </c:pt>
                <c:pt idx="1795">
                  <c:v>41429</c:v>
                </c:pt>
                <c:pt idx="1796">
                  <c:v>41430</c:v>
                </c:pt>
                <c:pt idx="1797">
                  <c:v>41431</c:v>
                </c:pt>
                <c:pt idx="1798">
                  <c:v>41432</c:v>
                </c:pt>
                <c:pt idx="1799">
                  <c:v>41435</c:v>
                </c:pt>
                <c:pt idx="1800">
                  <c:v>41436</c:v>
                </c:pt>
                <c:pt idx="1801">
                  <c:v>41437</c:v>
                </c:pt>
                <c:pt idx="1802">
                  <c:v>41438</c:v>
                </c:pt>
                <c:pt idx="1803">
                  <c:v>41439</c:v>
                </c:pt>
                <c:pt idx="1804">
                  <c:v>41442</c:v>
                </c:pt>
                <c:pt idx="1805">
                  <c:v>41443</c:v>
                </c:pt>
                <c:pt idx="1806">
                  <c:v>41444</c:v>
                </c:pt>
                <c:pt idx="1807">
                  <c:v>41445</c:v>
                </c:pt>
                <c:pt idx="1808">
                  <c:v>41446</c:v>
                </c:pt>
                <c:pt idx="1809">
                  <c:v>41449</c:v>
                </c:pt>
                <c:pt idx="1810">
                  <c:v>41450</c:v>
                </c:pt>
                <c:pt idx="1811">
                  <c:v>41451</c:v>
                </c:pt>
                <c:pt idx="1812">
                  <c:v>41452</c:v>
                </c:pt>
                <c:pt idx="1813">
                  <c:v>41453</c:v>
                </c:pt>
                <c:pt idx="1814">
                  <c:v>41456</c:v>
                </c:pt>
                <c:pt idx="1815">
                  <c:v>41457</c:v>
                </c:pt>
                <c:pt idx="1816">
                  <c:v>41458</c:v>
                </c:pt>
                <c:pt idx="1817">
                  <c:v>41460</c:v>
                </c:pt>
                <c:pt idx="1818">
                  <c:v>41463</c:v>
                </c:pt>
                <c:pt idx="1819">
                  <c:v>41464</c:v>
                </c:pt>
                <c:pt idx="1820">
                  <c:v>41465</c:v>
                </c:pt>
                <c:pt idx="1821">
                  <c:v>41466</c:v>
                </c:pt>
                <c:pt idx="1822">
                  <c:v>41467</c:v>
                </c:pt>
                <c:pt idx="1823">
                  <c:v>41470</c:v>
                </c:pt>
                <c:pt idx="1824">
                  <c:v>41471</c:v>
                </c:pt>
                <c:pt idx="1825">
                  <c:v>41472</c:v>
                </c:pt>
                <c:pt idx="1826">
                  <c:v>41473</c:v>
                </c:pt>
                <c:pt idx="1827">
                  <c:v>41474</c:v>
                </c:pt>
                <c:pt idx="1828">
                  <c:v>41477</c:v>
                </c:pt>
                <c:pt idx="1829">
                  <c:v>41478</c:v>
                </c:pt>
                <c:pt idx="1830">
                  <c:v>41479</c:v>
                </c:pt>
                <c:pt idx="1831">
                  <c:v>41480</c:v>
                </c:pt>
                <c:pt idx="1832">
                  <c:v>41481</c:v>
                </c:pt>
                <c:pt idx="1833">
                  <c:v>41484</c:v>
                </c:pt>
                <c:pt idx="1834">
                  <c:v>41485</c:v>
                </c:pt>
                <c:pt idx="1835">
                  <c:v>41486</c:v>
                </c:pt>
                <c:pt idx="1836">
                  <c:v>41487</c:v>
                </c:pt>
                <c:pt idx="1837">
                  <c:v>41488</c:v>
                </c:pt>
                <c:pt idx="1838">
                  <c:v>41491</c:v>
                </c:pt>
                <c:pt idx="1839">
                  <c:v>41492</c:v>
                </c:pt>
                <c:pt idx="1840">
                  <c:v>41493</c:v>
                </c:pt>
                <c:pt idx="1841">
                  <c:v>41494</c:v>
                </c:pt>
                <c:pt idx="1842">
                  <c:v>41495</c:v>
                </c:pt>
                <c:pt idx="1843">
                  <c:v>41498</c:v>
                </c:pt>
                <c:pt idx="1844">
                  <c:v>41499</c:v>
                </c:pt>
                <c:pt idx="1845">
                  <c:v>41500</c:v>
                </c:pt>
                <c:pt idx="1846">
                  <c:v>41501</c:v>
                </c:pt>
                <c:pt idx="1847">
                  <c:v>41502</c:v>
                </c:pt>
                <c:pt idx="1848">
                  <c:v>41505</c:v>
                </c:pt>
                <c:pt idx="1849">
                  <c:v>41506</c:v>
                </c:pt>
                <c:pt idx="1850">
                  <c:v>41507</c:v>
                </c:pt>
                <c:pt idx="1851">
                  <c:v>41508</c:v>
                </c:pt>
                <c:pt idx="1852">
                  <c:v>41509</c:v>
                </c:pt>
                <c:pt idx="1853">
                  <c:v>41512</c:v>
                </c:pt>
                <c:pt idx="1854">
                  <c:v>41513</c:v>
                </c:pt>
                <c:pt idx="1855">
                  <c:v>41514</c:v>
                </c:pt>
                <c:pt idx="1856">
                  <c:v>41515</c:v>
                </c:pt>
                <c:pt idx="1857">
                  <c:v>41516</c:v>
                </c:pt>
                <c:pt idx="1858">
                  <c:v>41520</c:v>
                </c:pt>
                <c:pt idx="1859">
                  <c:v>41521</c:v>
                </c:pt>
                <c:pt idx="1860">
                  <c:v>41522</c:v>
                </c:pt>
                <c:pt idx="1861">
                  <c:v>41523</c:v>
                </c:pt>
                <c:pt idx="1862">
                  <c:v>41526</c:v>
                </c:pt>
                <c:pt idx="1863">
                  <c:v>41527</c:v>
                </c:pt>
                <c:pt idx="1864">
                  <c:v>41528</c:v>
                </c:pt>
                <c:pt idx="1865">
                  <c:v>41529</c:v>
                </c:pt>
                <c:pt idx="1866">
                  <c:v>41530</c:v>
                </c:pt>
                <c:pt idx="1867">
                  <c:v>41533</c:v>
                </c:pt>
                <c:pt idx="1868">
                  <c:v>41534</c:v>
                </c:pt>
                <c:pt idx="1869">
                  <c:v>41535</c:v>
                </c:pt>
                <c:pt idx="1870">
                  <c:v>41536</c:v>
                </c:pt>
                <c:pt idx="1871">
                  <c:v>41537</c:v>
                </c:pt>
                <c:pt idx="1872">
                  <c:v>41540</c:v>
                </c:pt>
                <c:pt idx="1873">
                  <c:v>41541</c:v>
                </c:pt>
                <c:pt idx="1874">
                  <c:v>41542</c:v>
                </c:pt>
                <c:pt idx="1875">
                  <c:v>41543</c:v>
                </c:pt>
                <c:pt idx="1876">
                  <c:v>41544</c:v>
                </c:pt>
                <c:pt idx="1877">
                  <c:v>41547</c:v>
                </c:pt>
                <c:pt idx="1878">
                  <c:v>41548</c:v>
                </c:pt>
                <c:pt idx="1879">
                  <c:v>41549</c:v>
                </c:pt>
                <c:pt idx="1880">
                  <c:v>41550</c:v>
                </c:pt>
                <c:pt idx="1881">
                  <c:v>41551</c:v>
                </c:pt>
                <c:pt idx="1882">
                  <c:v>41554</c:v>
                </c:pt>
                <c:pt idx="1883">
                  <c:v>41555</c:v>
                </c:pt>
                <c:pt idx="1884">
                  <c:v>41556</c:v>
                </c:pt>
                <c:pt idx="1885">
                  <c:v>41557</c:v>
                </c:pt>
                <c:pt idx="1886">
                  <c:v>41558</c:v>
                </c:pt>
                <c:pt idx="1887">
                  <c:v>41561</c:v>
                </c:pt>
                <c:pt idx="1888">
                  <c:v>41562</c:v>
                </c:pt>
                <c:pt idx="1889">
                  <c:v>41563</c:v>
                </c:pt>
                <c:pt idx="1890">
                  <c:v>41564</c:v>
                </c:pt>
                <c:pt idx="1891">
                  <c:v>41565</c:v>
                </c:pt>
                <c:pt idx="1892">
                  <c:v>41568</c:v>
                </c:pt>
                <c:pt idx="1893">
                  <c:v>41569</c:v>
                </c:pt>
                <c:pt idx="1894">
                  <c:v>41570</c:v>
                </c:pt>
                <c:pt idx="1895">
                  <c:v>41571</c:v>
                </c:pt>
                <c:pt idx="1896">
                  <c:v>41572</c:v>
                </c:pt>
                <c:pt idx="1897">
                  <c:v>41575</c:v>
                </c:pt>
                <c:pt idx="1898">
                  <c:v>41576</c:v>
                </c:pt>
                <c:pt idx="1899">
                  <c:v>41577</c:v>
                </c:pt>
                <c:pt idx="1900">
                  <c:v>41578</c:v>
                </c:pt>
                <c:pt idx="1901">
                  <c:v>41579</c:v>
                </c:pt>
                <c:pt idx="1902">
                  <c:v>41582</c:v>
                </c:pt>
                <c:pt idx="1903">
                  <c:v>41583</c:v>
                </c:pt>
                <c:pt idx="1904">
                  <c:v>41584</c:v>
                </c:pt>
                <c:pt idx="1905">
                  <c:v>41585</c:v>
                </c:pt>
                <c:pt idx="1906">
                  <c:v>41586</c:v>
                </c:pt>
                <c:pt idx="1907">
                  <c:v>41589</c:v>
                </c:pt>
                <c:pt idx="1908">
                  <c:v>41590</c:v>
                </c:pt>
                <c:pt idx="1909">
                  <c:v>41591</c:v>
                </c:pt>
                <c:pt idx="1910">
                  <c:v>41592</c:v>
                </c:pt>
                <c:pt idx="1911">
                  <c:v>41593</c:v>
                </c:pt>
                <c:pt idx="1912">
                  <c:v>41596</c:v>
                </c:pt>
                <c:pt idx="1913">
                  <c:v>41597</c:v>
                </c:pt>
                <c:pt idx="1914">
                  <c:v>41598</c:v>
                </c:pt>
                <c:pt idx="1915">
                  <c:v>41599</c:v>
                </c:pt>
                <c:pt idx="1916">
                  <c:v>41600</c:v>
                </c:pt>
                <c:pt idx="1917">
                  <c:v>41603</c:v>
                </c:pt>
                <c:pt idx="1918">
                  <c:v>41604</c:v>
                </c:pt>
                <c:pt idx="1919">
                  <c:v>41605</c:v>
                </c:pt>
                <c:pt idx="1920">
                  <c:v>41607</c:v>
                </c:pt>
                <c:pt idx="1921">
                  <c:v>41610</c:v>
                </c:pt>
                <c:pt idx="1922">
                  <c:v>41611</c:v>
                </c:pt>
                <c:pt idx="1923">
                  <c:v>41612</c:v>
                </c:pt>
                <c:pt idx="1924">
                  <c:v>41613</c:v>
                </c:pt>
                <c:pt idx="1925">
                  <c:v>41614</c:v>
                </c:pt>
                <c:pt idx="1926">
                  <c:v>41617</c:v>
                </c:pt>
                <c:pt idx="1927">
                  <c:v>41618</c:v>
                </c:pt>
                <c:pt idx="1928">
                  <c:v>41619</c:v>
                </c:pt>
                <c:pt idx="1929">
                  <c:v>41620</c:v>
                </c:pt>
                <c:pt idx="1930">
                  <c:v>41621</c:v>
                </c:pt>
                <c:pt idx="1931">
                  <c:v>41624</c:v>
                </c:pt>
                <c:pt idx="1932">
                  <c:v>41625</c:v>
                </c:pt>
                <c:pt idx="1933">
                  <c:v>41626</c:v>
                </c:pt>
                <c:pt idx="1934">
                  <c:v>41627</c:v>
                </c:pt>
                <c:pt idx="1935">
                  <c:v>41628</c:v>
                </c:pt>
                <c:pt idx="1936">
                  <c:v>41631</c:v>
                </c:pt>
                <c:pt idx="1937">
                  <c:v>41632</c:v>
                </c:pt>
                <c:pt idx="1938">
                  <c:v>41634</c:v>
                </c:pt>
                <c:pt idx="1939">
                  <c:v>41635</c:v>
                </c:pt>
                <c:pt idx="1940">
                  <c:v>41638</c:v>
                </c:pt>
                <c:pt idx="1941">
                  <c:v>41639</c:v>
                </c:pt>
                <c:pt idx="1942">
                  <c:v>41641</c:v>
                </c:pt>
                <c:pt idx="1943">
                  <c:v>41642</c:v>
                </c:pt>
                <c:pt idx="1944">
                  <c:v>41645</c:v>
                </c:pt>
                <c:pt idx="1945">
                  <c:v>41646</c:v>
                </c:pt>
                <c:pt idx="1946">
                  <c:v>41647</c:v>
                </c:pt>
                <c:pt idx="1947">
                  <c:v>41648</c:v>
                </c:pt>
                <c:pt idx="1948">
                  <c:v>41649</c:v>
                </c:pt>
                <c:pt idx="1949">
                  <c:v>41652</c:v>
                </c:pt>
                <c:pt idx="1950">
                  <c:v>41653</c:v>
                </c:pt>
                <c:pt idx="1951">
                  <c:v>41654</c:v>
                </c:pt>
                <c:pt idx="1952">
                  <c:v>41655</c:v>
                </c:pt>
                <c:pt idx="1953">
                  <c:v>41656</c:v>
                </c:pt>
                <c:pt idx="1954">
                  <c:v>41660</c:v>
                </c:pt>
                <c:pt idx="1955">
                  <c:v>41661</c:v>
                </c:pt>
                <c:pt idx="1956">
                  <c:v>41662</c:v>
                </c:pt>
                <c:pt idx="1957">
                  <c:v>41663</c:v>
                </c:pt>
                <c:pt idx="1958">
                  <c:v>41666</c:v>
                </c:pt>
                <c:pt idx="1959">
                  <c:v>41667</c:v>
                </c:pt>
                <c:pt idx="1960">
                  <c:v>41668</c:v>
                </c:pt>
                <c:pt idx="1961">
                  <c:v>41669</c:v>
                </c:pt>
                <c:pt idx="1962">
                  <c:v>41670</c:v>
                </c:pt>
                <c:pt idx="1963">
                  <c:v>41673</c:v>
                </c:pt>
                <c:pt idx="1964">
                  <c:v>41674</c:v>
                </c:pt>
                <c:pt idx="1965">
                  <c:v>41675</c:v>
                </c:pt>
                <c:pt idx="1966">
                  <c:v>41676</c:v>
                </c:pt>
                <c:pt idx="1967">
                  <c:v>41677</c:v>
                </c:pt>
                <c:pt idx="1968">
                  <c:v>41680</c:v>
                </c:pt>
                <c:pt idx="1969">
                  <c:v>41681</c:v>
                </c:pt>
                <c:pt idx="1970">
                  <c:v>41682</c:v>
                </c:pt>
                <c:pt idx="1971">
                  <c:v>41683</c:v>
                </c:pt>
                <c:pt idx="1972">
                  <c:v>41684</c:v>
                </c:pt>
                <c:pt idx="1973">
                  <c:v>41688</c:v>
                </c:pt>
                <c:pt idx="1974">
                  <c:v>41689</c:v>
                </c:pt>
                <c:pt idx="1975">
                  <c:v>41690</c:v>
                </c:pt>
                <c:pt idx="1976">
                  <c:v>41691</c:v>
                </c:pt>
                <c:pt idx="1977">
                  <c:v>41694</c:v>
                </c:pt>
                <c:pt idx="1978">
                  <c:v>41695</c:v>
                </c:pt>
                <c:pt idx="1979">
                  <c:v>41696</c:v>
                </c:pt>
                <c:pt idx="1980">
                  <c:v>41697</c:v>
                </c:pt>
                <c:pt idx="1981">
                  <c:v>41698</c:v>
                </c:pt>
                <c:pt idx="1982">
                  <c:v>41701</c:v>
                </c:pt>
                <c:pt idx="1983">
                  <c:v>41702</c:v>
                </c:pt>
                <c:pt idx="1984">
                  <c:v>41703</c:v>
                </c:pt>
                <c:pt idx="1985">
                  <c:v>41704</c:v>
                </c:pt>
                <c:pt idx="1986">
                  <c:v>41705</c:v>
                </c:pt>
                <c:pt idx="1987">
                  <c:v>41708</c:v>
                </c:pt>
                <c:pt idx="1988">
                  <c:v>41709</c:v>
                </c:pt>
                <c:pt idx="1989">
                  <c:v>41710</c:v>
                </c:pt>
                <c:pt idx="1990">
                  <c:v>41711</c:v>
                </c:pt>
                <c:pt idx="1991">
                  <c:v>41712</c:v>
                </c:pt>
                <c:pt idx="1992">
                  <c:v>41715</c:v>
                </c:pt>
                <c:pt idx="1993">
                  <c:v>41716</c:v>
                </c:pt>
                <c:pt idx="1994">
                  <c:v>41717</c:v>
                </c:pt>
                <c:pt idx="1995">
                  <c:v>41718</c:v>
                </c:pt>
                <c:pt idx="1996">
                  <c:v>41719</c:v>
                </c:pt>
                <c:pt idx="1997">
                  <c:v>41722</c:v>
                </c:pt>
                <c:pt idx="1998">
                  <c:v>41723</c:v>
                </c:pt>
                <c:pt idx="1999">
                  <c:v>41724</c:v>
                </c:pt>
                <c:pt idx="2000">
                  <c:v>41725</c:v>
                </c:pt>
                <c:pt idx="2001">
                  <c:v>41726</c:v>
                </c:pt>
                <c:pt idx="2002">
                  <c:v>41729</c:v>
                </c:pt>
                <c:pt idx="2003">
                  <c:v>41730</c:v>
                </c:pt>
                <c:pt idx="2004">
                  <c:v>41731</c:v>
                </c:pt>
                <c:pt idx="2005">
                  <c:v>41732</c:v>
                </c:pt>
                <c:pt idx="2006">
                  <c:v>41733</c:v>
                </c:pt>
                <c:pt idx="2007">
                  <c:v>41736</c:v>
                </c:pt>
                <c:pt idx="2008">
                  <c:v>41737</c:v>
                </c:pt>
                <c:pt idx="2009">
                  <c:v>41738</c:v>
                </c:pt>
                <c:pt idx="2010">
                  <c:v>41739</c:v>
                </c:pt>
                <c:pt idx="2011">
                  <c:v>41740</c:v>
                </c:pt>
                <c:pt idx="2012">
                  <c:v>41743</c:v>
                </c:pt>
                <c:pt idx="2013">
                  <c:v>41744</c:v>
                </c:pt>
                <c:pt idx="2014">
                  <c:v>41745</c:v>
                </c:pt>
                <c:pt idx="2015">
                  <c:v>41746</c:v>
                </c:pt>
                <c:pt idx="2016">
                  <c:v>41750</c:v>
                </c:pt>
                <c:pt idx="2017">
                  <c:v>41751</c:v>
                </c:pt>
                <c:pt idx="2018">
                  <c:v>41752</c:v>
                </c:pt>
                <c:pt idx="2019">
                  <c:v>41753</c:v>
                </c:pt>
                <c:pt idx="2020">
                  <c:v>41754</c:v>
                </c:pt>
                <c:pt idx="2021">
                  <c:v>41757</c:v>
                </c:pt>
                <c:pt idx="2022">
                  <c:v>41758</c:v>
                </c:pt>
                <c:pt idx="2023">
                  <c:v>41759</c:v>
                </c:pt>
                <c:pt idx="2024">
                  <c:v>41760</c:v>
                </c:pt>
                <c:pt idx="2025">
                  <c:v>41761</c:v>
                </c:pt>
                <c:pt idx="2026">
                  <c:v>41764</c:v>
                </c:pt>
                <c:pt idx="2027">
                  <c:v>41765</c:v>
                </c:pt>
                <c:pt idx="2028">
                  <c:v>41766</c:v>
                </c:pt>
                <c:pt idx="2029">
                  <c:v>41767</c:v>
                </c:pt>
                <c:pt idx="2030">
                  <c:v>41768</c:v>
                </c:pt>
                <c:pt idx="2031">
                  <c:v>41771</c:v>
                </c:pt>
                <c:pt idx="2032">
                  <c:v>41772</c:v>
                </c:pt>
                <c:pt idx="2033">
                  <c:v>41773</c:v>
                </c:pt>
                <c:pt idx="2034">
                  <c:v>41774</c:v>
                </c:pt>
                <c:pt idx="2035">
                  <c:v>41775</c:v>
                </c:pt>
                <c:pt idx="2036">
                  <c:v>41778</c:v>
                </c:pt>
                <c:pt idx="2037">
                  <c:v>41779</c:v>
                </c:pt>
                <c:pt idx="2038">
                  <c:v>41780</c:v>
                </c:pt>
                <c:pt idx="2039">
                  <c:v>41781</c:v>
                </c:pt>
                <c:pt idx="2040">
                  <c:v>41782</c:v>
                </c:pt>
                <c:pt idx="2041">
                  <c:v>41786</c:v>
                </c:pt>
                <c:pt idx="2042">
                  <c:v>41787</c:v>
                </c:pt>
                <c:pt idx="2043">
                  <c:v>41788</c:v>
                </c:pt>
                <c:pt idx="2044">
                  <c:v>41789</c:v>
                </c:pt>
                <c:pt idx="2045">
                  <c:v>41792</c:v>
                </c:pt>
                <c:pt idx="2046">
                  <c:v>41793</c:v>
                </c:pt>
                <c:pt idx="2047">
                  <c:v>41794</c:v>
                </c:pt>
                <c:pt idx="2048">
                  <c:v>41795</c:v>
                </c:pt>
                <c:pt idx="2049">
                  <c:v>41796</c:v>
                </c:pt>
                <c:pt idx="2050">
                  <c:v>41799</c:v>
                </c:pt>
                <c:pt idx="2051">
                  <c:v>41800</c:v>
                </c:pt>
                <c:pt idx="2052">
                  <c:v>41801</c:v>
                </c:pt>
                <c:pt idx="2053">
                  <c:v>41802</c:v>
                </c:pt>
                <c:pt idx="2054">
                  <c:v>41803</c:v>
                </c:pt>
                <c:pt idx="2055">
                  <c:v>41806</c:v>
                </c:pt>
                <c:pt idx="2056">
                  <c:v>41807</c:v>
                </c:pt>
                <c:pt idx="2057">
                  <c:v>41808</c:v>
                </c:pt>
                <c:pt idx="2058">
                  <c:v>41809</c:v>
                </c:pt>
                <c:pt idx="2059">
                  <c:v>41810</c:v>
                </c:pt>
                <c:pt idx="2060">
                  <c:v>41813</c:v>
                </c:pt>
                <c:pt idx="2061">
                  <c:v>41814</c:v>
                </c:pt>
                <c:pt idx="2062">
                  <c:v>41815</c:v>
                </c:pt>
                <c:pt idx="2063">
                  <c:v>41816</c:v>
                </c:pt>
                <c:pt idx="2064">
                  <c:v>41817</c:v>
                </c:pt>
                <c:pt idx="2065">
                  <c:v>41820</c:v>
                </c:pt>
                <c:pt idx="2066">
                  <c:v>41821</c:v>
                </c:pt>
                <c:pt idx="2067">
                  <c:v>41822</c:v>
                </c:pt>
                <c:pt idx="2068">
                  <c:v>41823</c:v>
                </c:pt>
                <c:pt idx="2069">
                  <c:v>41827</c:v>
                </c:pt>
                <c:pt idx="2070">
                  <c:v>41828</c:v>
                </c:pt>
                <c:pt idx="2071">
                  <c:v>41829</c:v>
                </c:pt>
                <c:pt idx="2072">
                  <c:v>41830</c:v>
                </c:pt>
                <c:pt idx="2073">
                  <c:v>41831</c:v>
                </c:pt>
                <c:pt idx="2074">
                  <c:v>41834</c:v>
                </c:pt>
                <c:pt idx="2075">
                  <c:v>41835</c:v>
                </c:pt>
                <c:pt idx="2076">
                  <c:v>41836</c:v>
                </c:pt>
                <c:pt idx="2077">
                  <c:v>41837</c:v>
                </c:pt>
                <c:pt idx="2078">
                  <c:v>41838</c:v>
                </c:pt>
                <c:pt idx="2079">
                  <c:v>41841</c:v>
                </c:pt>
                <c:pt idx="2080">
                  <c:v>41842</c:v>
                </c:pt>
                <c:pt idx="2081">
                  <c:v>41843</c:v>
                </c:pt>
                <c:pt idx="2082">
                  <c:v>41844</c:v>
                </c:pt>
                <c:pt idx="2083">
                  <c:v>41845</c:v>
                </c:pt>
                <c:pt idx="2084">
                  <c:v>41848</c:v>
                </c:pt>
                <c:pt idx="2085">
                  <c:v>41849</c:v>
                </c:pt>
                <c:pt idx="2086">
                  <c:v>41850</c:v>
                </c:pt>
                <c:pt idx="2087">
                  <c:v>41851</c:v>
                </c:pt>
                <c:pt idx="2088">
                  <c:v>41852</c:v>
                </c:pt>
                <c:pt idx="2089">
                  <c:v>41855</c:v>
                </c:pt>
                <c:pt idx="2090">
                  <c:v>41856</c:v>
                </c:pt>
                <c:pt idx="2091">
                  <c:v>41857</c:v>
                </c:pt>
                <c:pt idx="2092">
                  <c:v>41858</c:v>
                </c:pt>
                <c:pt idx="2093">
                  <c:v>41859</c:v>
                </c:pt>
                <c:pt idx="2094">
                  <c:v>41862</c:v>
                </c:pt>
                <c:pt idx="2095">
                  <c:v>41863</c:v>
                </c:pt>
                <c:pt idx="2096">
                  <c:v>41864</c:v>
                </c:pt>
                <c:pt idx="2097">
                  <c:v>41865</c:v>
                </c:pt>
                <c:pt idx="2098">
                  <c:v>41866</c:v>
                </c:pt>
                <c:pt idx="2099">
                  <c:v>41869</c:v>
                </c:pt>
                <c:pt idx="2100">
                  <c:v>41870</c:v>
                </c:pt>
                <c:pt idx="2101">
                  <c:v>41871</c:v>
                </c:pt>
                <c:pt idx="2102">
                  <c:v>41872</c:v>
                </c:pt>
                <c:pt idx="2103">
                  <c:v>41873</c:v>
                </c:pt>
                <c:pt idx="2104">
                  <c:v>41876</c:v>
                </c:pt>
                <c:pt idx="2105">
                  <c:v>41877</c:v>
                </c:pt>
                <c:pt idx="2106">
                  <c:v>41878</c:v>
                </c:pt>
                <c:pt idx="2107">
                  <c:v>41879</c:v>
                </c:pt>
                <c:pt idx="2108">
                  <c:v>41880</c:v>
                </c:pt>
                <c:pt idx="2109">
                  <c:v>41884</c:v>
                </c:pt>
                <c:pt idx="2110">
                  <c:v>41885</c:v>
                </c:pt>
                <c:pt idx="2111">
                  <c:v>41886</c:v>
                </c:pt>
                <c:pt idx="2112">
                  <c:v>41887</c:v>
                </c:pt>
                <c:pt idx="2113">
                  <c:v>41890</c:v>
                </c:pt>
                <c:pt idx="2114">
                  <c:v>41891</c:v>
                </c:pt>
                <c:pt idx="2115">
                  <c:v>41892</c:v>
                </c:pt>
                <c:pt idx="2116">
                  <c:v>41893</c:v>
                </c:pt>
                <c:pt idx="2117">
                  <c:v>41894</c:v>
                </c:pt>
                <c:pt idx="2118">
                  <c:v>41897</c:v>
                </c:pt>
                <c:pt idx="2119">
                  <c:v>41898</c:v>
                </c:pt>
                <c:pt idx="2120">
                  <c:v>41899</c:v>
                </c:pt>
                <c:pt idx="2121">
                  <c:v>41900</c:v>
                </c:pt>
                <c:pt idx="2122">
                  <c:v>41901</c:v>
                </c:pt>
                <c:pt idx="2123">
                  <c:v>41904</c:v>
                </c:pt>
                <c:pt idx="2124">
                  <c:v>41905</c:v>
                </c:pt>
                <c:pt idx="2125">
                  <c:v>41906</c:v>
                </c:pt>
                <c:pt idx="2126">
                  <c:v>41907</c:v>
                </c:pt>
                <c:pt idx="2127">
                  <c:v>41908</c:v>
                </c:pt>
                <c:pt idx="2128">
                  <c:v>41911</c:v>
                </c:pt>
                <c:pt idx="2129">
                  <c:v>41912</c:v>
                </c:pt>
                <c:pt idx="2130">
                  <c:v>41913</c:v>
                </c:pt>
                <c:pt idx="2131">
                  <c:v>41914</c:v>
                </c:pt>
                <c:pt idx="2132">
                  <c:v>41915</c:v>
                </c:pt>
                <c:pt idx="2133">
                  <c:v>41918</c:v>
                </c:pt>
                <c:pt idx="2134">
                  <c:v>41919</c:v>
                </c:pt>
                <c:pt idx="2135">
                  <c:v>41920</c:v>
                </c:pt>
                <c:pt idx="2136">
                  <c:v>41921</c:v>
                </c:pt>
                <c:pt idx="2137">
                  <c:v>41922</c:v>
                </c:pt>
                <c:pt idx="2138">
                  <c:v>41925</c:v>
                </c:pt>
                <c:pt idx="2139">
                  <c:v>41926</c:v>
                </c:pt>
                <c:pt idx="2140">
                  <c:v>41927</c:v>
                </c:pt>
                <c:pt idx="2141">
                  <c:v>41928</c:v>
                </c:pt>
                <c:pt idx="2142">
                  <c:v>41929</c:v>
                </c:pt>
                <c:pt idx="2143">
                  <c:v>41932</c:v>
                </c:pt>
                <c:pt idx="2144">
                  <c:v>41933</c:v>
                </c:pt>
                <c:pt idx="2145">
                  <c:v>41934</c:v>
                </c:pt>
                <c:pt idx="2146">
                  <c:v>41935</c:v>
                </c:pt>
                <c:pt idx="2147">
                  <c:v>41936</c:v>
                </c:pt>
                <c:pt idx="2148">
                  <c:v>41939</c:v>
                </c:pt>
                <c:pt idx="2149">
                  <c:v>41940</c:v>
                </c:pt>
                <c:pt idx="2150">
                  <c:v>41941</c:v>
                </c:pt>
                <c:pt idx="2151">
                  <c:v>41942</c:v>
                </c:pt>
                <c:pt idx="2152">
                  <c:v>41943</c:v>
                </c:pt>
                <c:pt idx="2153">
                  <c:v>41946</c:v>
                </c:pt>
                <c:pt idx="2154">
                  <c:v>41947</c:v>
                </c:pt>
                <c:pt idx="2155">
                  <c:v>41948</c:v>
                </c:pt>
                <c:pt idx="2156">
                  <c:v>41949</c:v>
                </c:pt>
                <c:pt idx="2157">
                  <c:v>41950</c:v>
                </c:pt>
                <c:pt idx="2158">
                  <c:v>41953</c:v>
                </c:pt>
                <c:pt idx="2159">
                  <c:v>41954</c:v>
                </c:pt>
                <c:pt idx="2160">
                  <c:v>41955</c:v>
                </c:pt>
                <c:pt idx="2161">
                  <c:v>41956</c:v>
                </c:pt>
                <c:pt idx="2162">
                  <c:v>41957</c:v>
                </c:pt>
                <c:pt idx="2163">
                  <c:v>41960</c:v>
                </c:pt>
                <c:pt idx="2164">
                  <c:v>41961</c:v>
                </c:pt>
                <c:pt idx="2165">
                  <c:v>41962</c:v>
                </c:pt>
                <c:pt idx="2166">
                  <c:v>41963</c:v>
                </c:pt>
                <c:pt idx="2167">
                  <c:v>41964</c:v>
                </c:pt>
                <c:pt idx="2168">
                  <c:v>41967</c:v>
                </c:pt>
                <c:pt idx="2169">
                  <c:v>41968</c:v>
                </c:pt>
                <c:pt idx="2170">
                  <c:v>41969</c:v>
                </c:pt>
                <c:pt idx="2171">
                  <c:v>41971</c:v>
                </c:pt>
                <c:pt idx="2172">
                  <c:v>41974</c:v>
                </c:pt>
                <c:pt idx="2173">
                  <c:v>41975</c:v>
                </c:pt>
                <c:pt idx="2174">
                  <c:v>41976</c:v>
                </c:pt>
                <c:pt idx="2175">
                  <c:v>41977</c:v>
                </c:pt>
                <c:pt idx="2176">
                  <c:v>41978</c:v>
                </c:pt>
                <c:pt idx="2177">
                  <c:v>41981</c:v>
                </c:pt>
                <c:pt idx="2178">
                  <c:v>41982</c:v>
                </c:pt>
                <c:pt idx="2179">
                  <c:v>41983</c:v>
                </c:pt>
                <c:pt idx="2180">
                  <c:v>41984</c:v>
                </c:pt>
                <c:pt idx="2181">
                  <c:v>41985</c:v>
                </c:pt>
                <c:pt idx="2182">
                  <c:v>41988</c:v>
                </c:pt>
                <c:pt idx="2183">
                  <c:v>41989</c:v>
                </c:pt>
                <c:pt idx="2184">
                  <c:v>41990</c:v>
                </c:pt>
                <c:pt idx="2185">
                  <c:v>41991</c:v>
                </c:pt>
                <c:pt idx="2186">
                  <c:v>41992</c:v>
                </c:pt>
                <c:pt idx="2187">
                  <c:v>41995</c:v>
                </c:pt>
                <c:pt idx="2188">
                  <c:v>41996</c:v>
                </c:pt>
                <c:pt idx="2189">
                  <c:v>41997</c:v>
                </c:pt>
                <c:pt idx="2190">
                  <c:v>41999</c:v>
                </c:pt>
                <c:pt idx="2191">
                  <c:v>42002</c:v>
                </c:pt>
                <c:pt idx="2192">
                  <c:v>42003</c:v>
                </c:pt>
                <c:pt idx="2193">
                  <c:v>42004</c:v>
                </c:pt>
                <c:pt idx="2194">
                  <c:v>42006</c:v>
                </c:pt>
                <c:pt idx="2195">
                  <c:v>42009</c:v>
                </c:pt>
                <c:pt idx="2196">
                  <c:v>42010</c:v>
                </c:pt>
                <c:pt idx="2197">
                  <c:v>42011</c:v>
                </c:pt>
                <c:pt idx="2198">
                  <c:v>42012</c:v>
                </c:pt>
                <c:pt idx="2199">
                  <c:v>42013</c:v>
                </c:pt>
                <c:pt idx="2200">
                  <c:v>42016</c:v>
                </c:pt>
                <c:pt idx="2201">
                  <c:v>42017</c:v>
                </c:pt>
                <c:pt idx="2202">
                  <c:v>42018</c:v>
                </c:pt>
                <c:pt idx="2203">
                  <c:v>42019</c:v>
                </c:pt>
                <c:pt idx="2204">
                  <c:v>42020</c:v>
                </c:pt>
                <c:pt idx="2205">
                  <c:v>42024</c:v>
                </c:pt>
                <c:pt idx="2206">
                  <c:v>42025</c:v>
                </c:pt>
                <c:pt idx="2207">
                  <c:v>42026</c:v>
                </c:pt>
                <c:pt idx="2208">
                  <c:v>42027</c:v>
                </c:pt>
                <c:pt idx="2209">
                  <c:v>42030</c:v>
                </c:pt>
                <c:pt idx="2210">
                  <c:v>42031</c:v>
                </c:pt>
                <c:pt idx="2211">
                  <c:v>42032</c:v>
                </c:pt>
                <c:pt idx="2212">
                  <c:v>42033</c:v>
                </c:pt>
                <c:pt idx="2213">
                  <c:v>42034</c:v>
                </c:pt>
                <c:pt idx="2214">
                  <c:v>42037</c:v>
                </c:pt>
                <c:pt idx="2215">
                  <c:v>42038</c:v>
                </c:pt>
                <c:pt idx="2216">
                  <c:v>42039</c:v>
                </c:pt>
                <c:pt idx="2217">
                  <c:v>42040</c:v>
                </c:pt>
                <c:pt idx="2218">
                  <c:v>42041</c:v>
                </c:pt>
                <c:pt idx="2219">
                  <c:v>42044</c:v>
                </c:pt>
                <c:pt idx="2220">
                  <c:v>42045</c:v>
                </c:pt>
                <c:pt idx="2221">
                  <c:v>42046</c:v>
                </c:pt>
                <c:pt idx="2222">
                  <c:v>42047</c:v>
                </c:pt>
                <c:pt idx="2223">
                  <c:v>42048</c:v>
                </c:pt>
                <c:pt idx="2224">
                  <c:v>42052</c:v>
                </c:pt>
                <c:pt idx="2225">
                  <c:v>42053</c:v>
                </c:pt>
                <c:pt idx="2226">
                  <c:v>42054</c:v>
                </c:pt>
                <c:pt idx="2227">
                  <c:v>42055</c:v>
                </c:pt>
                <c:pt idx="2228">
                  <c:v>42058</c:v>
                </c:pt>
                <c:pt idx="2229">
                  <c:v>42059</c:v>
                </c:pt>
                <c:pt idx="2230">
                  <c:v>42060</c:v>
                </c:pt>
                <c:pt idx="2231">
                  <c:v>42061</c:v>
                </c:pt>
                <c:pt idx="2232">
                  <c:v>42062</c:v>
                </c:pt>
                <c:pt idx="2233">
                  <c:v>42065</c:v>
                </c:pt>
                <c:pt idx="2234">
                  <c:v>42066</c:v>
                </c:pt>
                <c:pt idx="2235">
                  <c:v>42067</c:v>
                </c:pt>
                <c:pt idx="2236">
                  <c:v>42068</c:v>
                </c:pt>
                <c:pt idx="2237">
                  <c:v>42069</c:v>
                </c:pt>
                <c:pt idx="2238">
                  <c:v>42072</c:v>
                </c:pt>
                <c:pt idx="2239">
                  <c:v>42073</c:v>
                </c:pt>
                <c:pt idx="2240">
                  <c:v>42074</c:v>
                </c:pt>
                <c:pt idx="2241">
                  <c:v>42075</c:v>
                </c:pt>
                <c:pt idx="2242">
                  <c:v>42076</c:v>
                </c:pt>
                <c:pt idx="2243">
                  <c:v>42079</c:v>
                </c:pt>
                <c:pt idx="2244">
                  <c:v>42080</c:v>
                </c:pt>
                <c:pt idx="2245">
                  <c:v>42081</c:v>
                </c:pt>
                <c:pt idx="2246">
                  <c:v>42082</c:v>
                </c:pt>
                <c:pt idx="2247">
                  <c:v>42083</c:v>
                </c:pt>
                <c:pt idx="2248">
                  <c:v>42086</c:v>
                </c:pt>
                <c:pt idx="2249">
                  <c:v>42087</c:v>
                </c:pt>
                <c:pt idx="2250">
                  <c:v>42088</c:v>
                </c:pt>
                <c:pt idx="2251">
                  <c:v>42089</c:v>
                </c:pt>
                <c:pt idx="2252">
                  <c:v>42090</c:v>
                </c:pt>
                <c:pt idx="2253">
                  <c:v>42093</c:v>
                </c:pt>
                <c:pt idx="2254">
                  <c:v>42094</c:v>
                </c:pt>
                <c:pt idx="2255">
                  <c:v>42095</c:v>
                </c:pt>
                <c:pt idx="2256">
                  <c:v>42096</c:v>
                </c:pt>
                <c:pt idx="2257">
                  <c:v>42100</c:v>
                </c:pt>
                <c:pt idx="2258">
                  <c:v>42101</c:v>
                </c:pt>
                <c:pt idx="2259">
                  <c:v>42102</c:v>
                </c:pt>
                <c:pt idx="2260">
                  <c:v>42103</c:v>
                </c:pt>
                <c:pt idx="2261">
                  <c:v>42104</c:v>
                </c:pt>
                <c:pt idx="2262">
                  <c:v>42107</c:v>
                </c:pt>
                <c:pt idx="2263">
                  <c:v>42108</c:v>
                </c:pt>
                <c:pt idx="2264">
                  <c:v>42109</c:v>
                </c:pt>
                <c:pt idx="2265">
                  <c:v>42110</c:v>
                </c:pt>
                <c:pt idx="2266">
                  <c:v>42111</c:v>
                </c:pt>
                <c:pt idx="2267">
                  <c:v>42114</c:v>
                </c:pt>
                <c:pt idx="2268">
                  <c:v>42115</c:v>
                </c:pt>
                <c:pt idx="2269">
                  <c:v>42116</c:v>
                </c:pt>
                <c:pt idx="2270">
                  <c:v>42117</c:v>
                </c:pt>
                <c:pt idx="2271">
                  <c:v>42118</c:v>
                </c:pt>
                <c:pt idx="2272">
                  <c:v>42121</c:v>
                </c:pt>
                <c:pt idx="2273">
                  <c:v>42122</c:v>
                </c:pt>
                <c:pt idx="2274">
                  <c:v>42123</c:v>
                </c:pt>
                <c:pt idx="2275">
                  <c:v>42124</c:v>
                </c:pt>
                <c:pt idx="2276">
                  <c:v>42125</c:v>
                </c:pt>
                <c:pt idx="2277">
                  <c:v>42128</c:v>
                </c:pt>
                <c:pt idx="2278">
                  <c:v>42129</c:v>
                </c:pt>
                <c:pt idx="2279">
                  <c:v>42130</c:v>
                </c:pt>
                <c:pt idx="2280">
                  <c:v>42131</c:v>
                </c:pt>
                <c:pt idx="2281">
                  <c:v>42132</c:v>
                </c:pt>
                <c:pt idx="2282">
                  <c:v>42135</c:v>
                </c:pt>
                <c:pt idx="2283">
                  <c:v>42136</c:v>
                </c:pt>
                <c:pt idx="2284">
                  <c:v>42137</c:v>
                </c:pt>
                <c:pt idx="2285">
                  <c:v>42138</c:v>
                </c:pt>
                <c:pt idx="2286">
                  <c:v>42139</c:v>
                </c:pt>
                <c:pt idx="2287">
                  <c:v>42142</c:v>
                </c:pt>
                <c:pt idx="2288">
                  <c:v>42143</c:v>
                </c:pt>
                <c:pt idx="2289">
                  <c:v>42144</c:v>
                </c:pt>
                <c:pt idx="2290">
                  <c:v>42145</c:v>
                </c:pt>
                <c:pt idx="2291">
                  <c:v>42146</c:v>
                </c:pt>
                <c:pt idx="2292">
                  <c:v>42150</c:v>
                </c:pt>
                <c:pt idx="2293">
                  <c:v>42151</c:v>
                </c:pt>
                <c:pt idx="2294">
                  <c:v>42152</c:v>
                </c:pt>
                <c:pt idx="2295">
                  <c:v>42153</c:v>
                </c:pt>
                <c:pt idx="2296">
                  <c:v>42156</c:v>
                </c:pt>
                <c:pt idx="2297">
                  <c:v>42157</c:v>
                </c:pt>
                <c:pt idx="2298">
                  <c:v>42158</c:v>
                </c:pt>
                <c:pt idx="2299">
                  <c:v>42159</c:v>
                </c:pt>
                <c:pt idx="2300">
                  <c:v>42160</c:v>
                </c:pt>
                <c:pt idx="2301">
                  <c:v>42163</c:v>
                </c:pt>
                <c:pt idx="2302">
                  <c:v>42164</c:v>
                </c:pt>
                <c:pt idx="2303">
                  <c:v>42165</c:v>
                </c:pt>
                <c:pt idx="2304">
                  <c:v>42166</c:v>
                </c:pt>
                <c:pt idx="2305">
                  <c:v>42167</c:v>
                </c:pt>
                <c:pt idx="2306">
                  <c:v>42170</c:v>
                </c:pt>
                <c:pt idx="2307">
                  <c:v>42171</c:v>
                </c:pt>
                <c:pt idx="2308">
                  <c:v>42172</c:v>
                </c:pt>
                <c:pt idx="2309">
                  <c:v>42173</c:v>
                </c:pt>
                <c:pt idx="2310">
                  <c:v>42174</c:v>
                </c:pt>
                <c:pt idx="2311">
                  <c:v>42177</c:v>
                </c:pt>
                <c:pt idx="2312">
                  <c:v>42178</c:v>
                </c:pt>
                <c:pt idx="2313">
                  <c:v>42179</c:v>
                </c:pt>
                <c:pt idx="2314">
                  <c:v>42180</c:v>
                </c:pt>
                <c:pt idx="2315">
                  <c:v>42181</c:v>
                </c:pt>
                <c:pt idx="2316">
                  <c:v>42184</c:v>
                </c:pt>
                <c:pt idx="2317">
                  <c:v>42185</c:v>
                </c:pt>
                <c:pt idx="2318">
                  <c:v>42186</c:v>
                </c:pt>
                <c:pt idx="2319">
                  <c:v>42187</c:v>
                </c:pt>
                <c:pt idx="2320">
                  <c:v>42191</c:v>
                </c:pt>
                <c:pt idx="2321">
                  <c:v>42192</c:v>
                </c:pt>
                <c:pt idx="2322">
                  <c:v>42193</c:v>
                </c:pt>
                <c:pt idx="2323">
                  <c:v>42194</c:v>
                </c:pt>
                <c:pt idx="2324">
                  <c:v>42195</c:v>
                </c:pt>
                <c:pt idx="2325">
                  <c:v>42198</c:v>
                </c:pt>
                <c:pt idx="2326">
                  <c:v>42199</c:v>
                </c:pt>
                <c:pt idx="2327">
                  <c:v>42200</c:v>
                </c:pt>
                <c:pt idx="2328">
                  <c:v>42201</c:v>
                </c:pt>
                <c:pt idx="2329">
                  <c:v>42202</c:v>
                </c:pt>
                <c:pt idx="2330">
                  <c:v>42205</c:v>
                </c:pt>
                <c:pt idx="2331">
                  <c:v>42206</c:v>
                </c:pt>
                <c:pt idx="2332">
                  <c:v>42207</c:v>
                </c:pt>
                <c:pt idx="2333">
                  <c:v>42208</c:v>
                </c:pt>
                <c:pt idx="2334">
                  <c:v>42209</c:v>
                </c:pt>
                <c:pt idx="2335">
                  <c:v>42212</c:v>
                </c:pt>
                <c:pt idx="2336">
                  <c:v>42213</c:v>
                </c:pt>
                <c:pt idx="2337">
                  <c:v>42214</c:v>
                </c:pt>
                <c:pt idx="2338">
                  <c:v>42215</c:v>
                </c:pt>
                <c:pt idx="2339">
                  <c:v>42216</c:v>
                </c:pt>
                <c:pt idx="2340">
                  <c:v>42219</c:v>
                </c:pt>
                <c:pt idx="2341">
                  <c:v>42220</c:v>
                </c:pt>
                <c:pt idx="2342">
                  <c:v>42221</c:v>
                </c:pt>
                <c:pt idx="2343">
                  <c:v>42222</c:v>
                </c:pt>
                <c:pt idx="2344">
                  <c:v>42223</c:v>
                </c:pt>
                <c:pt idx="2345">
                  <c:v>42226</c:v>
                </c:pt>
                <c:pt idx="2346">
                  <c:v>42227</c:v>
                </c:pt>
                <c:pt idx="2347">
                  <c:v>42228</c:v>
                </c:pt>
                <c:pt idx="2348">
                  <c:v>42229</c:v>
                </c:pt>
                <c:pt idx="2349">
                  <c:v>42230</c:v>
                </c:pt>
                <c:pt idx="2350">
                  <c:v>42233</c:v>
                </c:pt>
                <c:pt idx="2351">
                  <c:v>42234</c:v>
                </c:pt>
                <c:pt idx="2352">
                  <c:v>42235</c:v>
                </c:pt>
                <c:pt idx="2353">
                  <c:v>42236</c:v>
                </c:pt>
                <c:pt idx="2354">
                  <c:v>42237</c:v>
                </c:pt>
                <c:pt idx="2355">
                  <c:v>42240</c:v>
                </c:pt>
                <c:pt idx="2356">
                  <c:v>42241</c:v>
                </c:pt>
                <c:pt idx="2357">
                  <c:v>42242</c:v>
                </c:pt>
                <c:pt idx="2358">
                  <c:v>42243</c:v>
                </c:pt>
                <c:pt idx="2359">
                  <c:v>42244</c:v>
                </c:pt>
                <c:pt idx="2360">
                  <c:v>42247</c:v>
                </c:pt>
                <c:pt idx="2361">
                  <c:v>42248</c:v>
                </c:pt>
                <c:pt idx="2362">
                  <c:v>42249</c:v>
                </c:pt>
                <c:pt idx="2363">
                  <c:v>42250</c:v>
                </c:pt>
                <c:pt idx="2364">
                  <c:v>42251</c:v>
                </c:pt>
                <c:pt idx="2365">
                  <c:v>42255</c:v>
                </c:pt>
                <c:pt idx="2366">
                  <c:v>42256</c:v>
                </c:pt>
                <c:pt idx="2367">
                  <c:v>42257</c:v>
                </c:pt>
                <c:pt idx="2368">
                  <c:v>42258</c:v>
                </c:pt>
                <c:pt idx="2369">
                  <c:v>42261</c:v>
                </c:pt>
                <c:pt idx="2370">
                  <c:v>42262</c:v>
                </c:pt>
                <c:pt idx="2371">
                  <c:v>42263</c:v>
                </c:pt>
                <c:pt idx="2372">
                  <c:v>42264</c:v>
                </c:pt>
                <c:pt idx="2373">
                  <c:v>42265</c:v>
                </c:pt>
                <c:pt idx="2374">
                  <c:v>42268</c:v>
                </c:pt>
                <c:pt idx="2375">
                  <c:v>42269</c:v>
                </c:pt>
                <c:pt idx="2376">
                  <c:v>42270</c:v>
                </c:pt>
                <c:pt idx="2377">
                  <c:v>42271</c:v>
                </c:pt>
                <c:pt idx="2378">
                  <c:v>42272</c:v>
                </c:pt>
                <c:pt idx="2379">
                  <c:v>42275</c:v>
                </c:pt>
                <c:pt idx="2380">
                  <c:v>42276</c:v>
                </c:pt>
                <c:pt idx="2381">
                  <c:v>42277</c:v>
                </c:pt>
                <c:pt idx="2382">
                  <c:v>42278</c:v>
                </c:pt>
                <c:pt idx="2383">
                  <c:v>42279</c:v>
                </c:pt>
                <c:pt idx="2384">
                  <c:v>42282</c:v>
                </c:pt>
                <c:pt idx="2385">
                  <c:v>42283</c:v>
                </c:pt>
                <c:pt idx="2386">
                  <c:v>42284</c:v>
                </c:pt>
                <c:pt idx="2387">
                  <c:v>42285</c:v>
                </c:pt>
                <c:pt idx="2388">
                  <c:v>42286</c:v>
                </c:pt>
                <c:pt idx="2389">
                  <c:v>42289</c:v>
                </c:pt>
                <c:pt idx="2390">
                  <c:v>42290</c:v>
                </c:pt>
                <c:pt idx="2391">
                  <c:v>42291</c:v>
                </c:pt>
                <c:pt idx="2392">
                  <c:v>42292</c:v>
                </c:pt>
                <c:pt idx="2393">
                  <c:v>42293</c:v>
                </c:pt>
                <c:pt idx="2394">
                  <c:v>42296</c:v>
                </c:pt>
                <c:pt idx="2395">
                  <c:v>42297</c:v>
                </c:pt>
                <c:pt idx="2396">
                  <c:v>42298</c:v>
                </c:pt>
                <c:pt idx="2397">
                  <c:v>42299</c:v>
                </c:pt>
                <c:pt idx="2398">
                  <c:v>42300</c:v>
                </c:pt>
                <c:pt idx="2399">
                  <c:v>42303</c:v>
                </c:pt>
                <c:pt idx="2400">
                  <c:v>42304</c:v>
                </c:pt>
                <c:pt idx="2401">
                  <c:v>42305</c:v>
                </c:pt>
                <c:pt idx="2402">
                  <c:v>42306</c:v>
                </c:pt>
                <c:pt idx="2403">
                  <c:v>42307</c:v>
                </c:pt>
                <c:pt idx="2404">
                  <c:v>42310</c:v>
                </c:pt>
                <c:pt idx="2405">
                  <c:v>42311</c:v>
                </c:pt>
                <c:pt idx="2406">
                  <c:v>42312</c:v>
                </c:pt>
                <c:pt idx="2407">
                  <c:v>42313</c:v>
                </c:pt>
                <c:pt idx="2408">
                  <c:v>42314</c:v>
                </c:pt>
                <c:pt idx="2409">
                  <c:v>42317</c:v>
                </c:pt>
                <c:pt idx="2410">
                  <c:v>42318</c:v>
                </c:pt>
                <c:pt idx="2411">
                  <c:v>42319</c:v>
                </c:pt>
                <c:pt idx="2412">
                  <c:v>42320</c:v>
                </c:pt>
                <c:pt idx="2413">
                  <c:v>42321</c:v>
                </c:pt>
                <c:pt idx="2414">
                  <c:v>42324</c:v>
                </c:pt>
                <c:pt idx="2415">
                  <c:v>42325</c:v>
                </c:pt>
                <c:pt idx="2416">
                  <c:v>42326</c:v>
                </c:pt>
                <c:pt idx="2417">
                  <c:v>42327</c:v>
                </c:pt>
                <c:pt idx="2418">
                  <c:v>42328</c:v>
                </c:pt>
                <c:pt idx="2419">
                  <c:v>42331</c:v>
                </c:pt>
                <c:pt idx="2420">
                  <c:v>42332</c:v>
                </c:pt>
                <c:pt idx="2421">
                  <c:v>42333</c:v>
                </c:pt>
                <c:pt idx="2422">
                  <c:v>42335</c:v>
                </c:pt>
                <c:pt idx="2423">
                  <c:v>42338</c:v>
                </c:pt>
                <c:pt idx="2424">
                  <c:v>42339</c:v>
                </c:pt>
                <c:pt idx="2425">
                  <c:v>42340</c:v>
                </c:pt>
                <c:pt idx="2426">
                  <c:v>42341</c:v>
                </c:pt>
                <c:pt idx="2427">
                  <c:v>42342</c:v>
                </c:pt>
                <c:pt idx="2428">
                  <c:v>42345</c:v>
                </c:pt>
                <c:pt idx="2429">
                  <c:v>42346</c:v>
                </c:pt>
                <c:pt idx="2430">
                  <c:v>42347</c:v>
                </c:pt>
                <c:pt idx="2431">
                  <c:v>42348</c:v>
                </c:pt>
                <c:pt idx="2432">
                  <c:v>42349</c:v>
                </c:pt>
                <c:pt idx="2433">
                  <c:v>42352</c:v>
                </c:pt>
                <c:pt idx="2434">
                  <c:v>42353</c:v>
                </c:pt>
                <c:pt idx="2435">
                  <c:v>42354</c:v>
                </c:pt>
                <c:pt idx="2436">
                  <c:v>42355</c:v>
                </c:pt>
                <c:pt idx="2437">
                  <c:v>42356</c:v>
                </c:pt>
                <c:pt idx="2438">
                  <c:v>42359</c:v>
                </c:pt>
                <c:pt idx="2439">
                  <c:v>42360</c:v>
                </c:pt>
                <c:pt idx="2440">
                  <c:v>42361</c:v>
                </c:pt>
                <c:pt idx="2441">
                  <c:v>42362</c:v>
                </c:pt>
                <c:pt idx="2442">
                  <c:v>42366</c:v>
                </c:pt>
                <c:pt idx="2443">
                  <c:v>42367</c:v>
                </c:pt>
                <c:pt idx="2444">
                  <c:v>42368</c:v>
                </c:pt>
                <c:pt idx="2445">
                  <c:v>42369</c:v>
                </c:pt>
                <c:pt idx="2446">
                  <c:v>42373</c:v>
                </c:pt>
                <c:pt idx="2447">
                  <c:v>42374</c:v>
                </c:pt>
                <c:pt idx="2448">
                  <c:v>42375</c:v>
                </c:pt>
                <c:pt idx="2449">
                  <c:v>42376</c:v>
                </c:pt>
                <c:pt idx="2450">
                  <c:v>42377</c:v>
                </c:pt>
                <c:pt idx="2451">
                  <c:v>42380</c:v>
                </c:pt>
                <c:pt idx="2452">
                  <c:v>42381</c:v>
                </c:pt>
                <c:pt idx="2453">
                  <c:v>42382</c:v>
                </c:pt>
                <c:pt idx="2454">
                  <c:v>42383</c:v>
                </c:pt>
                <c:pt idx="2455">
                  <c:v>42384</c:v>
                </c:pt>
                <c:pt idx="2456">
                  <c:v>42388</c:v>
                </c:pt>
                <c:pt idx="2457">
                  <c:v>42389</c:v>
                </c:pt>
                <c:pt idx="2458">
                  <c:v>42390</c:v>
                </c:pt>
                <c:pt idx="2459">
                  <c:v>42391</c:v>
                </c:pt>
                <c:pt idx="2460">
                  <c:v>42394</c:v>
                </c:pt>
                <c:pt idx="2461">
                  <c:v>42395</c:v>
                </c:pt>
                <c:pt idx="2462">
                  <c:v>42396</c:v>
                </c:pt>
                <c:pt idx="2463">
                  <c:v>42397</c:v>
                </c:pt>
                <c:pt idx="2464">
                  <c:v>42398</c:v>
                </c:pt>
                <c:pt idx="2465">
                  <c:v>42401</c:v>
                </c:pt>
                <c:pt idx="2466">
                  <c:v>42402</c:v>
                </c:pt>
                <c:pt idx="2467">
                  <c:v>42403</c:v>
                </c:pt>
                <c:pt idx="2468">
                  <c:v>42404</c:v>
                </c:pt>
                <c:pt idx="2469">
                  <c:v>42405</c:v>
                </c:pt>
                <c:pt idx="2470">
                  <c:v>42408</c:v>
                </c:pt>
                <c:pt idx="2471">
                  <c:v>42409</c:v>
                </c:pt>
                <c:pt idx="2472">
                  <c:v>42410</c:v>
                </c:pt>
                <c:pt idx="2473">
                  <c:v>42411</c:v>
                </c:pt>
                <c:pt idx="2474">
                  <c:v>42412</c:v>
                </c:pt>
                <c:pt idx="2475">
                  <c:v>42416</c:v>
                </c:pt>
                <c:pt idx="2476">
                  <c:v>42417</c:v>
                </c:pt>
                <c:pt idx="2477">
                  <c:v>42418</c:v>
                </c:pt>
                <c:pt idx="2478">
                  <c:v>42419</c:v>
                </c:pt>
                <c:pt idx="2479">
                  <c:v>42422</c:v>
                </c:pt>
                <c:pt idx="2480">
                  <c:v>42423</c:v>
                </c:pt>
              </c:numCache>
            </c:numRef>
          </c:cat>
          <c:val>
            <c:numRef>
              <c:f>FINAL!$M$16:$M$2496</c:f>
              <c:numCache>
                <c:formatCode>General</c:formatCode>
                <c:ptCount val="2481"/>
                <c:pt idx="0">
                  <c:v>100</c:v>
                </c:pt>
                <c:pt idx="1">
                  <c:v>101.20859246166485</c:v>
                </c:pt>
                <c:pt idx="2">
                  <c:v>101.28113809791307</c:v>
                </c:pt>
                <c:pt idx="3">
                  <c:v>101.32411554703326</c:v>
                </c:pt>
                <c:pt idx="4">
                  <c:v>101.31716209790082</c:v>
                </c:pt>
                <c:pt idx="5">
                  <c:v>101.14061450578309</c:v>
                </c:pt>
                <c:pt idx="6">
                  <c:v>100.87859178535265</c:v>
                </c:pt>
                <c:pt idx="7">
                  <c:v>100.85227878816939</c:v>
                </c:pt>
                <c:pt idx="8">
                  <c:v>101.018767983739</c:v>
                </c:pt>
                <c:pt idx="9">
                  <c:v>101.03762831330515</c:v>
                </c:pt>
                <c:pt idx="10">
                  <c:v>100.82870882335082</c:v>
                </c:pt>
                <c:pt idx="11">
                  <c:v>101.13848986854858</c:v>
                </c:pt>
                <c:pt idx="12">
                  <c:v>100.93208635894408</c:v>
                </c:pt>
                <c:pt idx="13">
                  <c:v>101.10186927746661</c:v>
                </c:pt>
                <c:pt idx="14">
                  <c:v>101.62230602882443</c:v>
                </c:pt>
                <c:pt idx="15">
                  <c:v>101.58014736638489</c:v>
                </c:pt>
                <c:pt idx="16">
                  <c:v>101.59855151187726</c:v>
                </c:pt>
                <c:pt idx="17">
                  <c:v>101.51076430337017</c:v>
                </c:pt>
                <c:pt idx="18">
                  <c:v>100.86119056498107</c:v>
                </c:pt>
                <c:pt idx="19">
                  <c:v>100.29429432421063</c:v>
                </c:pt>
                <c:pt idx="20">
                  <c:v>100.42090107411651</c:v>
                </c:pt>
                <c:pt idx="21">
                  <c:v>100.32703526469226</c:v>
                </c:pt>
                <c:pt idx="22">
                  <c:v>99.482228330384885</c:v>
                </c:pt>
                <c:pt idx="23">
                  <c:v>99.149007660360184</c:v>
                </c:pt>
                <c:pt idx="24">
                  <c:v>99.354093140736438</c:v>
                </c:pt>
                <c:pt idx="25">
                  <c:v>99.159624066611102</c:v>
                </c:pt>
                <c:pt idx="26">
                  <c:v>99.043766921298229</c:v>
                </c:pt>
                <c:pt idx="27">
                  <c:v>98.726290601179329</c:v>
                </c:pt>
                <c:pt idx="28">
                  <c:v>99.877334515629428</c:v>
                </c:pt>
                <c:pt idx="29">
                  <c:v>100.16294941855577</c:v>
                </c:pt>
                <c:pt idx="30">
                  <c:v>99.352097949518694</c:v>
                </c:pt>
                <c:pt idx="31">
                  <c:v>99.777956730968683</c:v>
                </c:pt>
                <c:pt idx="32">
                  <c:v>100.96574262727366</c:v>
                </c:pt>
                <c:pt idx="33">
                  <c:v>101.06429673900743</c:v>
                </c:pt>
                <c:pt idx="34">
                  <c:v>100.14824464806334</c:v>
                </c:pt>
                <c:pt idx="35">
                  <c:v>100.34407085939517</c:v>
                </c:pt>
                <c:pt idx="36">
                  <c:v>99.932937830940077</c:v>
                </c:pt>
                <c:pt idx="37">
                  <c:v>100.00374172750459</c:v>
                </c:pt>
                <c:pt idx="38">
                  <c:v>99.763415063061586</c:v>
                </c:pt>
                <c:pt idx="39">
                  <c:v>99.130085070446924</c:v>
                </c:pt>
                <c:pt idx="40">
                  <c:v>98.620564130117998</c:v>
                </c:pt>
                <c:pt idx="41">
                  <c:v>98.876446168144881</c:v>
                </c:pt>
                <c:pt idx="42">
                  <c:v>99.926270878687617</c:v>
                </c:pt>
                <c:pt idx="43">
                  <c:v>99.336576955149852</c:v>
                </c:pt>
                <c:pt idx="44">
                  <c:v>98.86812114423212</c:v>
                </c:pt>
                <c:pt idx="45">
                  <c:v>98.851375950711159</c:v>
                </c:pt>
                <c:pt idx="46">
                  <c:v>99.332831221767407</c:v>
                </c:pt>
                <c:pt idx="47">
                  <c:v>99.08751096613048</c:v>
                </c:pt>
                <c:pt idx="48">
                  <c:v>98.998746569429358</c:v>
                </c:pt>
                <c:pt idx="49">
                  <c:v>99.198701001792244</c:v>
                </c:pt>
                <c:pt idx="50">
                  <c:v>98.856414766435122</c:v>
                </c:pt>
                <c:pt idx="51">
                  <c:v>99.13463692842781</c:v>
                </c:pt>
                <c:pt idx="52">
                  <c:v>99.992001740082813</c:v>
                </c:pt>
                <c:pt idx="53">
                  <c:v>99.887129033268309</c:v>
                </c:pt>
                <c:pt idx="54">
                  <c:v>100.26398902984565</c:v>
                </c:pt>
                <c:pt idx="55">
                  <c:v>99.900586012247885</c:v>
                </c:pt>
                <c:pt idx="56">
                  <c:v>100.02517581705658</c:v>
                </c:pt>
                <c:pt idx="57">
                  <c:v>99.68759241882934</c:v>
                </c:pt>
                <c:pt idx="58">
                  <c:v>99.760852731872205</c:v>
                </c:pt>
                <c:pt idx="59">
                  <c:v>99.964729046496174</c:v>
                </c:pt>
                <c:pt idx="60">
                  <c:v>99.417975742686707</c:v>
                </c:pt>
                <c:pt idx="61">
                  <c:v>98.773804765266078</c:v>
                </c:pt>
                <c:pt idx="62">
                  <c:v>98.531698465199085</c:v>
                </c:pt>
                <c:pt idx="63">
                  <c:v>98.463550429130706</c:v>
                </c:pt>
                <c:pt idx="64">
                  <c:v>98.558066631982484</c:v>
                </c:pt>
                <c:pt idx="65">
                  <c:v>99.472441593257017</c:v>
                </c:pt>
                <c:pt idx="66">
                  <c:v>98.258410129068423</c:v>
                </c:pt>
                <c:pt idx="67">
                  <c:v>97.880640868081002</c:v>
                </c:pt>
                <c:pt idx="68">
                  <c:v>98.664330003248622</c:v>
                </c:pt>
                <c:pt idx="69">
                  <c:v>99.161434616931302</c:v>
                </c:pt>
                <c:pt idx="70">
                  <c:v>99.126972223671459</c:v>
                </c:pt>
                <c:pt idx="71">
                  <c:v>98.908092555684661</c:v>
                </c:pt>
                <c:pt idx="72">
                  <c:v>99.16482629654169</c:v>
                </c:pt>
                <c:pt idx="73">
                  <c:v>99.118283151994305</c:v>
                </c:pt>
                <c:pt idx="74">
                  <c:v>98.865387819681501</c:v>
                </c:pt>
                <c:pt idx="75">
                  <c:v>99.14651749979393</c:v>
                </c:pt>
                <c:pt idx="76">
                  <c:v>99.176561032449712</c:v>
                </c:pt>
                <c:pt idx="77">
                  <c:v>99.126964480408716</c:v>
                </c:pt>
                <c:pt idx="78">
                  <c:v>99.038232991484406</c:v>
                </c:pt>
                <c:pt idx="79">
                  <c:v>98.844065099381012</c:v>
                </c:pt>
                <c:pt idx="80">
                  <c:v>98.593017229476715</c:v>
                </c:pt>
                <c:pt idx="81">
                  <c:v>98.841369063724414</c:v>
                </c:pt>
                <c:pt idx="82">
                  <c:v>98.636722631565434</c:v>
                </c:pt>
                <c:pt idx="83">
                  <c:v>98.531587679743666</c:v>
                </c:pt>
                <c:pt idx="84">
                  <c:v>99.19070451507335</c:v>
                </c:pt>
                <c:pt idx="85">
                  <c:v>99.539310939050822</c:v>
                </c:pt>
                <c:pt idx="86">
                  <c:v>99.618070728242444</c:v>
                </c:pt>
                <c:pt idx="87">
                  <c:v>99.590040320094516</c:v>
                </c:pt>
                <c:pt idx="88">
                  <c:v>99.391186126355294</c:v>
                </c:pt>
                <c:pt idx="89">
                  <c:v>99.424938611867745</c:v>
                </c:pt>
                <c:pt idx="90">
                  <c:v>99.201794761254419</c:v>
                </c:pt>
                <c:pt idx="91">
                  <c:v>99.254589395626837</c:v>
                </c:pt>
                <c:pt idx="92">
                  <c:v>98.906930877504806</c:v>
                </c:pt>
                <c:pt idx="93">
                  <c:v>99.162390871625092</c:v>
                </c:pt>
                <c:pt idx="94">
                  <c:v>99.24197289219353</c:v>
                </c:pt>
                <c:pt idx="95">
                  <c:v>99.241592444847512</c:v>
                </c:pt>
                <c:pt idx="96">
                  <c:v>99.224472248645739</c:v>
                </c:pt>
                <c:pt idx="97">
                  <c:v>99.498062144286152</c:v>
                </c:pt>
                <c:pt idx="98">
                  <c:v>99.583063654268216</c:v>
                </c:pt>
                <c:pt idx="99">
                  <c:v>99.090551186395004</c:v>
                </c:pt>
                <c:pt idx="100">
                  <c:v>98.979010575088168</c:v>
                </c:pt>
                <c:pt idx="101">
                  <c:v>99.272786610304735</c:v>
                </c:pt>
                <c:pt idx="102">
                  <c:v>99.281868280899474</c:v>
                </c:pt>
                <c:pt idx="103">
                  <c:v>99.769839798081037</c:v>
                </c:pt>
                <c:pt idx="104">
                  <c:v>99.958269710806718</c:v>
                </c:pt>
                <c:pt idx="105">
                  <c:v>99.890395734924425</c:v>
                </c:pt>
                <c:pt idx="106">
                  <c:v>100.02661543008364</c:v>
                </c:pt>
                <c:pt idx="107">
                  <c:v>100.07625473782358</c:v>
                </c:pt>
                <c:pt idx="108">
                  <c:v>99.967556887758647</c:v>
                </c:pt>
                <c:pt idx="109">
                  <c:v>100.22803322330147</c:v>
                </c:pt>
                <c:pt idx="110">
                  <c:v>99.957643375300961</c:v>
                </c:pt>
                <c:pt idx="111">
                  <c:v>99.83440553512672</c:v>
                </c:pt>
                <c:pt idx="112">
                  <c:v>100.27443381367982</c:v>
                </c:pt>
                <c:pt idx="113">
                  <c:v>100.65130305270152</c:v>
                </c:pt>
                <c:pt idx="114">
                  <c:v>100.66071788192282</c:v>
                </c:pt>
                <c:pt idx="115">
                  <c:v>100.75711671693495</c:v>
                </c:pt>
                <c:pt idx="116">
                  <c:v>100.63297136907775</c:v>
                </c:pt>
                <c:pt idx="117">
                  <c:v>100.46234316969088</c:v>
                </c:pt>
                <c:pt idx="118">
                  <c:v>100.56761085043009</c:v>
                </c:pt>
                <c:pt idx="119">
                  <c:v>101.17481123525607</c:v>
                </c:pt>
                <c:pt idx="120">
                  <c:v>101.28720937545017</c:v>
                </c:pt>
                <c:pt idx="121">
                  <c:v>101.15098413412701</c:v>
                </c:pt>
                <c:pt idx="122">
                  <c:v>101.19145711937608</c:v>
                </c:pt>
                <c:pt idx="123">
                  <c:v>101.29484672951092</c:v>
                </c:pt>
                <c:pt idx="124">
                  <c:v>101.16499305579862</c:v>
                </c:pt>
                <c:pt idx="125">
                  <c:v>101.64760541572257</c:v>
                </c:pt>
                <c:pt idx="126">
                  <c:v>101.75165244253803</c:v>
                </c:pt>
                <c:pt idx="127">
                  <c:v>101.87943622128979</c:v>
                </c:pt>
                <c:pt idx="128">
                  <c:v>101.6933958352168</c:v>
                </c:pt>
                <c:pt idx="129">
                  <c:v>101.76459351347101</c:v>
                </c:pt>
                <c:pt idx="130">
                  <c:v>101.80184372340156</c:v>
                </c:pt>
                <c:pt idx="131">
                  <c:v>101.86291172235777</c:v>
                </c:pt>
                <c:pt idx="132">
                  <c:v>102.17625591229721</c:v>
                </c:pt>
                <c:pt idx="133">
                  <c:v>102.18961209162956</c:v>
                </c:pt>
                <c:pt idx="134">
                  <c:v>102.3691550363955</c:v>
                </c:pt>
                <c:pt idx="135">
                  <c:v>102.6231856550921</c:v>
                </c:pt>
                <c:pt idx="136">
                  <c:v>102.18951869581301</c:v>
                </c:pt>
                <c:pt idx="137">
                  <c:v>102.21140574477351</c:v>
                </c:pt>
                <c:pt idx="138">
                  <c:v>102.21177663228501</c:v>
                </c:pt>
                <c:pt idx="139">
                  <c:v>101.83606894643329</c:v>
                </c:pt>
                <c:pt idx="140">
                  <c:v>101.81857274725182</c:v>
                </c:pt>
                <c:pt idx="141">
                  <c:v>101.70538639230293</c:v>
                </c:pt>
                <c:pt idx="142">
                  <c:v>102.28238535930171</c:v>
                </c:pt>
                <c:pt idx="143">
                  <c:v>102.39580347639264</c:v>
                </c:pt>
                <c:pt idx="144">
                  <c:v>102.50243183325679</c:v>
                </c:pt>
                <c:pt idx="145">
                  <c:v>102.2291107542337</c:v>
                </c:pt>
                <c:pt idx="146">
                  <c:v>102.32441768894395</c:v>
                </c:pt>
                <c:pt idx="147">
                  <c:v>102.45483334187504</c:v>
                </c:pt>
                <c:pt idx="148">
                  <c:v>102.78045798374981</c:v>
                </c:pt>
                <c:pt idx="149">
                  <c:v>102.90402588194448</c:v>
                </c:pt>
                <c:pt idx="150">
                  <c:v>103.02155090488046</c:v>
                </c:pt>
                <c:pt idx="151">
                  <c:v>103.07454250104803</c:v>
                </c:pt>
                <c:pt idx="152">
                  <c:v>103.04879593390889</c:v>
                </c:pt>
                <c:pt idx="153">
                  <c:v>103.13378083880262</c:v>
                </c:pt>
                <c:pt idx="154">
                  <c:v>103.25435269142388</c:v>
                </c:pt>
                <c:pt idx="155">
                  <c:v>103.06562815286878</c:v>
                </c:pt>
                <c:pt idx="156">
                  <c:v>102.36488929127053</c:v>
                </c:pt>
                <c:pt idx="157">
                  <c:v>102.6476175920868</c:v>
                </c:pt>
                <c:pt idx="158">
                  <c:v>103.10346636664937</c:v>
                </c:pt>
                <c:pt idx="159">
                  <c:v>103.12935982537056</c:v>
                </c:pt>
                <c:pt idx="160">
                  <c:v>102.98504366388769</c:v>
                </c:pt>
                <c:pt idx="161">
                  <c:v>103.44256326060743</c:v>
                </c:pt>
                <c:pt idx="162">
                  <c:v>103.64957758755966</c:v>
                </c:pt>
                <c:pt idx="163">
                  <c:v>103.58144298723421</c:v>
                </c:pt>
                <c:pt idx="164">
                  <c:v>103.37580497493383</c:v>
                </c:pt>
                <c:pt idx="165">
                  <c:v>103.43989800326605</c:v>
                </c:pt>
                <c:pt idx="166">
                  <c:v>104.64605986984178</c:v>
                </c:pt>
                <c:pt idx="167">
                  <c:v>104.59125739835923</c:v>
                </c:pt>
                <c:pt idx="168">
                  <c:v>104.61843661080066</c:v>
                </c:pt>
                <c:pt idx="169">
                  <c:v>105.07297429507285</c:v>
                </c:pt>
                <c:pt idx="170">
                  <c:v>105.13194235478288</c:v>
                </c:pt>
                <c:pt idx="171">
                  <c:v>104.96213587647543</c:v>
                </c:pt>
                <c:pt idx="172">
                  <c:v>105.0754006524796</c:v>
                </c:pt>
                <c:pt idx="173">
                  <c:v>105.00095489143369</c:v>
                </c:pt>
                <c:pt idx="174">
                  <c:v>104.80806995255563</c:v>
                </c:pt>
                <c:pt idx="175">
                  <c:v>104.5294783825626</c:v>
                </c:pt>
                <c:pt idx="176">
                  <c:v>104.75694832687239</c:v>
                </c:pt>
                <c:pt idx="177">
                  <c:v>105.1243998288729</c:v>
                </c:pt>
                <c:pt idx="178">
                  <c:v>105.04667125256479</c:v>
                </c:pt>
                <c:pt idx="179">
                  <c:v>104.80962630504702</c:v>
                </c:pt>
                <c:pt idx="180">
                  <c:v>104.74681294936819</c:v>
                </c:pt>
                <c:pt idx="181">
                  <c:v>104.81114284296268</c:v>
                </c:pt>
                <c:pt idx="182">
                  <c:v>104.49227706933479</c:v>
                </c:pt>
                <c:pt idx="183">
                  <c:v>104.60827994482941</c:v>
                </c:pt>
                <c:pt idx="184">
                  <c:v>104.58125492983842</c:v>
                </c:pt>
                <c:pt idx="185">
                  <c:v>104.68271750658803</c:v>
                </c:pt>
                <c:pt idx="186">
                  <c:v>105.01455620893603</c:v>
                </c:pt>
                <c:pt idx="187">
                  <c:v>105.26938146191875</c:v>
                </c:pt>
                <c:pt idx="188">
                  <c:v>105.31242423599576</c:v>
                </c:pt>
                <c:pt idx="189">
                  <c:v>105.26535394371905</c:v>
                </c:pt>
                <c:pt idx="190">
                  <c:v>105.10899594709493</c:v>
                </c:pt>
                <c:pt idx="191">
                  <c:v>105.26116549400827</c:v>
                </c:pt>
                <c:pt idx="192">
                  <c:v>104.98338786399087</c:v>
                </c:pt>
                <c:pt idx="193">
                  <c:v>105.16931016443517</c:v>
                </c:pt>
                <c:pt idx="194">
                  <c:v>105.61635651118699</c:v>
                </c:pt>
                <c:pt idx="195">
                  <c:v>105.0212180632078</c:v>
                </c:pt>
                <c:pt idx="196">
                  <c:v>104.95778787321245</c:v>
                </c:pt>
                <c:pt idx="197">
                  <c:v>104.90022337747976</c:v>
                </c:pt>
                <c:pt idx="198">
                  <c:v>105.20297211806322</c:v>
                </c:pt>
                <c:pt idx="199">
                  <c:v>105.54976597500536</c:v>
                </c:pt>
                <c:pt idx="200">
                  <c:v>105.83231033408575</c:v>
                </c:pt>
                <c:pt idx="201">
                  <c:v>105.92197144046585</c:v>
                </c:pt>
                <c:pt idx="202">
                  <c:v>105.87077985532073</c:v>
                </c:pt>
                <c:pt idx="203">
                  <c:v>105.90772879334168</c:v>
                </c:pt>
                <c:pt idx="204">
                  <c:v>105.98160089698898</c:v>
                </c:pt>
                <c:pt idx="205">
                  <c:v>105.91910915979437</c:v>
                </c:pt>
                <c:pt idx="206">
                  <c:v>105.54430305167945</c:v>
                </c:pt>
                <c:pt idx="207">
                  <c:v>105.37219521844844</c:v>
                </c:pt>
                <c:pt idx="208">
                  <c:v>105.77247679470889</c:v>
                </c:pt>
                <c:pt idx="209">
                  <c:v>106.17674200450962</c:v>
                </c:pt>
                <c:pt idx="210">
                  <c:v>106.23182579494004</c:v>
                </c:pt>
                <c:pt idx="211">
                  <c:v>106.1855210541847</c:v>
                </c:pt>
                <c:pt idx="212">
                  <c:v>106.33653306936955</c:v>
                </c:pt>
                <c:pt idx="213">
                  <c:v>106.26186263037189</c:v>
                </c:pt>
                <c:pt idx="214">
                  <c:v>106.21629985782744</c:v>
                </c:pt>
                <c:pt idx="215">
                  <c:v>106.02704204178282</c:v>
                </c:pt>
                <c:pt idx="216">
                  <c:v>105.9605554974585</c:v>
                </c:pt>
                <c:pt idx="217">
                  <c:v>104.12079244241146</c:v>
                </c:pt>
                <c:pt idx="218">
                  <c:v>104.41029801952217</c:v>
                </c:pt>
                <c:pt idx="219">
                  <c:v>104.27485155594785</c:v>
                </c:pt>
                <c:pt idx="220">
                  <c:v>103.68034140219059</c:v>
                </c:pt>
                <c:pt idx="221">
                  <c:v>103.19264758841916</c:v>
                </c:pt>
                <c:pt idx="222">
                  <c:v>103.99205792636543</c:v>
                </c:pt>
                <c:pt idx="223">
                  <c:v>103.86387600160258</c:v>
                </c:pt>
                <c:pt idx="224">
                  <c:v>104.23397365095417</c:v>
                </c:pt>
                <c:pt idx="225">
                  <c:v>104.26966283295309</c:v>
                </c:pt>
                <c:pt idx="226">
                  <c:v>104.40902599923015</c:v>
                </c:pt>
                <c:pt idx="227">
                  <c:v>103.34571070174761</c:v>
                </c:pt>
                <c:pt idx="228">
                  <c:v>103.69145889749858</c:v>
                </c:pt>
                <c:pt idx="229">
                  <c:v>103.88244607101235</c:v>
                </c:pt>
                <c:pt idx="230">
                  <c:v>103.68360193134272</c:v>
                </c:pt>
                <c:pt idx="231">
                  <c:v>104.24838769333219</c:v>
                </c:pt>
                <c:pt idx="232">
                  <c:v>104.57851824506207</c:v>
                </c:pt>
                <c:pt idx="233">
                  <c:v>105.47166121701908</c:v>
                </c:pt>
                <c:pt idx="234">
                  <c:v>105.45328687532529</c:v>
                </c:pt>
                <c:pt idx="235">
                  <c:v>105.51099236293604</c:v>
                </c:pt>
                <c:pt idx="236">
                  <c:v>105.56205400841742</c:v>
                </c:pt>
                <c:pt idx="237">
                  <c:v>105.23563777880531</c:v>
                </c:pt>
                <c:pt idx="238">
                  <c:v>105.00202692245142</c:v>
                </c:pt>
                <c:pt idx="239">
                  <c:v>105.18307828657707</c:v>
                </c:pt>
                <c:pt idx="240">
                  <c:v>105.1060398863694</c:v>
                </c:pt>
                <c:pt idx="241">
                  <c:v>105.24252106227017</c:v>
                </c:pt>
                <c:pt idx="242">
                  <c:v>105.7308528612394</c:v>
                </c:pt>
                <c:pt idx="243">
                  <c:v>105.78968332945684</c:v>
                </c:pt>
                <c:pt idx="244">
                  <c:v>105.95100971176863</c:v>
                </c:pt>
                <c:pt idx="245">
                  <c:v>105.98219853756204</c:v>
                </c:pt>
                <c:pt idx="246">
                  <c:v>106.12085627580004</c:v>
                </c:pt>
                <c:pt idx="247">
                  <c:v>106.09565278231267</c:v>
                </c:pt>
                <c:pt idx="248">
                  <c:v>106.40738725454953</c:v>
                </c:pt>
                <c:pt idx="249">
                  <c:v>106.57543510991681</c:v>
                </c:pt>
                <c:pt idx="250">
                  <c:v>106.52187668982165</c:v>
                </c:pt>
                <c:pt idx="251">
                  <c:v>106.97055329759424</c:v>
                </c:pt>
                <c:pt idx="252">
                  <c:v>106.9682776876632</c:v>
                </c:pt>
                <c:pt idx="253">
                  <c:v>106.67222274160952</c:v>
                </c:pt>
                <c:pt idx="254">
                  <c:v>107.18530994745051</c:v>
                </c:pt>
                <c:pt idx="255">
                  <c:v>107.46268024409203</c:v>
                </c:pt>
                <c:pt idx="256">
                  <c:v>107.43176530280095</c:v>
                </c:pt>
                <c:pt idx="257">
                  <c:v>107.90594924930416</c:v>
                </c:pt>
                <c:pt idx="258">
                  <c:v>107.86459817816893</c:v>
                </c:pt>
                <c:pt idx="259">
                  <c:v>107.83069428362884</c:v>
                </c:pt>
                <c:pt idx="260">
                  <c:v>107.50323611864012</c:v>
                </c:pt>
                <c:pt idx="261">
                  <c:v>107.62948355077822</c:v>
                </c:pt>
                <c:pt idx="262">
                  <c:v>108.09931782310153</c:v>
                </c:pt>
                <c:pt idx="263">
                  <c:v>108.39884067391392</c:v>
                </c:pt>
                <c:pt idx="264">
                  <c:v>108.45955440571672</c:v>
                </c:pt>
                <c:pt idx="265">
                  <c:v>108.61971336795452</c:v>
                </c:pt>
                <c:pt idx="266">
                  <c:v>108.55639000642351</c:v>
                </c:pt>
                <c:pt idx="267">
                  <c:v>108.71398942791613</c:v>
                </c:pt>
                <c:pt idx="268">
                  <c:v>107.6484506419733</c:v>
                </c:pt>
                <c:pt idx="269">
                  <c:v>108.15048075590713</c:v>
                </c:pt>
                <c:pt idx="270">
                  <c:v>107.57006715074039</c:v>
                </c:pt>
                <c:pt idx="271">
                  <c:v>107.46565841113257</c:v>
                </c:pt>
                <c:pt idx="272">
                  <c:v>107.89496146450425</c:v>
                </c:pt>
                <c:pt idx="273">
                  <c:v>107.84543698313671</c:v>
                </c:pt>
                <c:pt idx="274">
                  <c:v>108.20189190623417</c:v>
                </c:pt>
                <c:pt idx="275">
                  <c:v>108.53759807417595</c:v>
                </c:pt>
                <c:pt idx="276">
                  <c:v>108.44794861100057</c:v>
                </c:pt>
                <c:pt idx="277">
                  <c:v>108.26180665264917</c:v>
                </c:pt>
                <c:pt idx="278">
                  <c:v>108.1727023019605</c:v>
                </c:pt>
                <c:pt idx="279">
                  <c:v>108.46761895688225</c:v>
                </c:pt>
                <c:pt idx="280">
                  <c:v>108.53567524410431</c:v>
                </c:pt>
                <c:pt idx="281">
                  <c:v>108.86001885119254</c:v>
                </c:pt>
                <c:pt idx="282">
                  <c:v>108.85684592983006</c:v>
                </c:pt>
                <c:pt idx="283">
                  <c:v>109.04321886229624</c:v>
                </c:pt>
                <c:pt idx="284">
                  <c:v>109.1440047370274</c:v>
                </c:pt>
                <c:pt idx="285">
                  <c:v>108.99263523931722</c:v>
                </c:pt>
                <c:pt idx="286">
                  <c:v>109.11311213689527</c:v>
                </c:pt>
                <c:pt idx="287">
                  <c:v>108.15456662767225</c:v>
                </c:pt>
                <c:pt idx="288">
                  <c:v>109.34396318842147</c:v>
                </c:pt>
                <c:pt idx="289">
                  <c:v>109.37904062891209</c:v>
                </c:pt>
                <c:pt idx="290">
                  <c:v>108.77736977947757</c:v>
                </c:pt>
                <c:pt idx="291">
                  <c:v>110.24740228877907</c:v>
                </c:pt>
                <c:pt idx="292">
                  <c:v>110.4946819843596</c:v>
                </c:pt>
                <c:pt idx="293">
                  <c:v>110.93173776551882</c:v>
                </c:pt>
                <c:pt idx="294">
                  <c:v>110.84451055014044</c:v>
                </c:pt>
                <c:pt idx="295">
                  <c:v>110.60592213497611</c:v>
                </c:pt>
                <c:pt idx="296">
                  <c:v>109.85374128613488</c:v>
                </c:pt>
                <c:pt idx="297">
                  <c:v>110.17605925181233</c:v>
                </c:pt>
                <c:pt idx="298">
                  <c:v>109.46564989321942</c:v>
                </c:pt>
                <c:pt idx="299">
                  <c:v>109.29283655775635</c:v>
                </c:pt>
                <c:pt idx="300">
                  <c:v>108.68568357646141</c:v>
                </c:pt>
                <c:pt idx="301">
                  <c:v>109.89492263730335</c:v>
                </c:pt>
                <c:pt idx="302">
                  <c:v>109.87194183573747</c:v>
                </c:pt>
                <c:pt idx="303">
                  <c:v>109.76735908071133</c:v>
                </c:pt>
                <c:pt idx="304">
                  <c:v>110.45624885082421</c:v>
                </c:pt>
                <c:pt idx="305">
                  <c:v>110.78332636813933</c:v>
                </c:pt>
                <c:pt idx="306">
                  <c:v>110.77005558625687</c:v>
                </c:pt>
                <c:pt idx="307">
                  <c:v>110.84385269464833</c:v>
                </c:pt>
                <c:pt idx="308">
                  <c:v>110.86030800373855</c:v>
                </c:pt>
                <c:pt idx="309">
                  <c:v>110.05524705495478</c:v>
                </c:pt>
                <c:pt idx="310">
                  <c:v>110.37008207950741</c:v>
                </c:pt>
                <c:pt idx="311">
                  <c:v>111.95975185294201</c:v>
                </c:pt>
                <c:pt idx="312">
                  <c:v>112.06718957502365</c:v>
                </c:pt>
                <c:pt idx="313">
                  <c:v>112.01405100876235</c:v>
                </c:pt>
                <c:pt idx="314">
                  <c:v>112.02479544820471</c:v>
                </c:pt>
                <c:pt idx="315">
                  <c:v>111.86957580145793</c:v>
                </c:pt>
                <c:pt idx="316">
                  <c:v>112.11955438362808</c:v>
                </c:pt>
                <c:pt idx="317">
                  <c:v>111.41502946279576</c:v>
                </c:pt>
                <c:pt idx="318">
                  <c:v>111.68628631374651</c:v>
                </c:pt>
                <c:pt idx="319">
                  <c:v>110.58034162062241</c:v>
                </c:pt>
                <c:pt idx="320">
                  <c:v>110.83830679971277</c:v>
                </c:pt>
                <c:pt idx="321">
                  <c:v>109.54490482423246</c:v>
                </c:pt>
                <c:pt idx="322">
                  <c:v>108.66900957738473</c:v>
                </c:pt>
                <c:pt idx="323">
                  <c:v>109.22615285963487</c:v>
                </c:pt>
                <c:pt idx="324">
                  <c:v>108.53548128223068</c:v>
                </c:pt>
                <c:pt idx="325">
                  <c:v>108.92852311388894</c:v>
                </c:pt>
                <c:pt idx="326">
                  <c:v>109.1659526793503</c:v>
                </c:pt>
                <c:pt idx="327">
                  <c:v>107.71480630390207</c:v>
                </c:pt>
                <c:pt idx="328">
                  <c:v>109.01552275896259</c:v>
                </c:pt>
                <c:pt idx="329">
                  <c:v>109.35125910491944</c:v>
                </c:pt>
                <c:pt idx="330">
                  <c:v>110.12064482188492</c:v>
                </c:pt>
                <c:pt idx="331">
                  <c:v>108.48812753292417</c:v>
                </c:pt>
                <c:pt idx="332">
                  <c:v>108.50865911394912</c:v>
                </c:pt>
                <c:pt idx="333">
                  <c:v>108.48178649261165</c:v>
                </c:pt>
                <c:pt idx="334">
                  <c:v>107.49695954836314</c:v>
                </c:pt>
                <c:pt idx="335">
                  <c:v>106.74943768516984</c:v>
                </c:pt>
                <c:pt idx="336">
                  <c:v>106.92283817220375</c:v>
                </c:pt>
                <c:pt idx="337">
                  <c:v>108.23619947069034</c:v>
                </c:pt>
                <c:pt idx="338">
                  <c:v>108.22160269703667</c:v>
                </c:pt>
                <c:pt idx="339">
                  <c:v>108.28037199461696</c:v>
                </c:pt>
                <c:pt idx="340">
                  <c:v>108.91451163241783</c:v>
                </c:pt>
                <c:pt idx="341">
                  <c:v>108.85611422544176</c:v>
                </c:pt>
                <c:pt idx="342">
                  <c:v>109.48394419022233</c:v>
                </c:pt>
                <c:pt idx="343">
                  <c:v>109.01843927329384</c:v>
                </c:pt>
                <c:pt idx="344">
                  <c:v>107.7389429363337</c:v>
                </c:pt>
                <c:pt idx="345">
                  <c:v>108.91986212152489</c:v>
                </c:pt>
                <c:pt idx="346">
                  <c:v>108.69216442648481</c:v>
                </c:pt>
                <c:pt idx="347">
                  <c:v>109.30175146044829</c:v>
                </c:pt>
                <c:pt idx="348">
                  <c:v>109.87384693770211</c:v>
                </c:pt>
                <c:pt idx="349">
                  <c:v>109.24201072023395</c:v>
                </c:pt>
                <c:pt idx="350">
                  <c:v>109.47425266547188</c:v>
                </c:pt>
                <c:pt idx="351">
                  <c:v>108.54873228515441</c:v>
                </c:pt>
                <c:pt idx="352">
                  <c:v>108.47965480081348</c:v>
                </c:pt>
                <c:pt idx="353">
                  <c:v>109.21906802961696</c:v>
                </c:pt>
                <c:pt idx="354">
                  <c:v>109.22166585045233</c:v>
                </c:pt>
                <c:pt idx="355">
                  <c:v>109.68146920195926</c:v>
                </c:pt>
                <c:pt idx="356">
                  <c:v>109.69255597737641</c:v>
                </c:pt>
                <c:pt idx="357">
                  <c:v>109.41171938467704</c:v>
                </c:pt>
                <c:pt idx="358">
                  <c:v>111.00956838649232</c:v>
                </c:pt>
                <c:pt idx="359">
                  <c:v>111.34739310703577</c:v>
                </c:pt>
                <c:pt idx="360">
                  <c:v>110.97308678173792</c:v>
                </c:pt>
                <c:pt idx="361">
                  <c:v>111.22882722864233</c:v>
                </c:pt>
                <c:pt idx="362">
                  <c:v>110.93649388622919</c:v>
                </c:pt>
                <c:pt idx="363">
                  <c:v>110.91748952549941</c:v>
                </c:pt>
                <c:pt idx="364">
                  <c:v>111.21759056260183</c:v>
                </c:pt>
                <c:pt idx="365">
                  <c:v>111.434860835626</c:v>
                </c:pt>
                <c:pt idx="366">
                  <c:v>111.26640382114594</c:v>
                </c:pt>
                <c:pt idx="367">
                  <c:v>112.00575058175869</c:v>
                </c:pt>
                <c:pt idx="368">
                  <c:v>111.990908574526</c:v>
                </c:pt>
                <c:pt idx="369">
                  <c:v>111.73602667117333</c:v>
                </c:pt>
                <c:pt idx="370">
                  <c:v>111.85396134426205</c:v>
                </c:pt>
                <c:pt idx="371">
                  <c:v>112.38863957720515</c:v>
                </c:pt>
                <c:pt idx="372">
                  <c:v>112.20789012315056</c:v>
                </c:pt>
                <c:pt idx="373">
                  <c:v>112.66211894834734</c:v>
                </c:pt>
                <c:pt idx="374">
                  <c:v>112.56566350357157</c:v>
                </c:pt>
                <c:pt idx="375">
                  <c:v>113.25294963350846</c:v>
                </c:pt>
                <c:pt idx="376">
                  <c:v>113.5035224407835</c:v>
                </c:pt>
                <c:pt idx="377">
                  <c:v>112.89326319871911</c:v>
                </c:pt>
                <c:pt idx="378">
                  <c:v>112.50378576927986</c:v>
                </c:pt>
                <c:pt idx="379">
                  <c:v>112.5845079439635</c:v>
                </c:pt>
                <c:pt idx="380">
                  <c:v>112.54214010079339</c:v>
                </c:pt>
                <c:pt idx="381">
                  <c:v>111.10072555512814</c:v>
                </c:pt>
                <c:pt idx="382">
                  <c:v>111.31172831252478</c:v>
                </c:pt>
                <c:pt idx="383">
                  <c:v>111.8016586456603</c:v>
                </c:pt>
                <c:pt idx="384">
                  <c:v>111.66517967647276</c:v>
                </c:pt>
                <c:pt idx="385">
                  <c:v>111.61066861163874</c:v>
                </c:pt>
                <c:pt idx="386">
                  <c:v>112.38009239683785</c:v>
                </c:pt>
                <c:pt idx="387">
                  <c:v>112.5887079349358</c:v>
                </c:pt>
                <c:pt idx="388">
                  <c:v>112.70095228155738</c:v>
                </c:pt>
                <c:pt idx="389">
                  <c:v>113.34229685757323</c:v>
                </c:pt>
                <c:pt idx="390">
                  <c:v>111.8102640040744</c:v>
                </c:pt>
                <c:pt idx="391">
                  <c:v>111.85510848560662</c:v>
                </c:pt>
                <c:pt idx="392">
                  <c:v>111.5779991518298</c:v>
                </c:pt>
                <c:pt idx="393">
                  <c:v>112.25021394264847</c:v>
                </c:pt>
                <c:pt idx="394">
                  <c:v>110.60183173010094</c:v>
                </c:pt>
                <c:pt idx="395">
                  <c:v>110.56997679557492</c:v>
                </c:pt>
                <c:pt idx="396">
                  <c:v>109.78012162796139</c:v>
                </c:pt>
                <c:pt idx="397">
                  <c:v>109.23186292051213</c:v>
                </c:pt>
                <c:pt idx="398">
                  <c:v>110.82080179559443</c:v>
                </c:pt>
                <c:pt idx="399">
                  <c:v>110.42908855336768</c:v>
                </c:pt>
                <c:pt idx="400">
                  <c:v>109.69956782325033</c:v>
                </c:pt>
                <c:pt idx="401">
                  <c:v>109.98645054377491</c:v>
                </c:pt>
                <c:pt idx="402">
                  <c:v>109.0262537659564</c:v>
                </c:pt>
                <c:pt idx="403">
                  <c:v>109.27081299475319</c:v>
                </c:pt>
                <c:pt idx="404">
                  <c:v>108.40063874248894</c:v>
                </c:pt>
                <c:pt idx="405">
                  <c:v>109.31611100866755</c:v>
                </c:pt>
                <c:pt idx="406">
                  <c:v>108.04592866794074</c:v>
                </c:pt>
                <c:pt idx="407">
                  <c:v>108.85249941072206</c:v>
                </c:pt>
                <c:pt idx="408">
                  <c:v>110.40690362116555</c:v>
                </c:pt>
                <c:pt idx="409">
                  <c:v>110.41457250574284</c:v>
                </c:pt>
                <c:pt idx="410">
                  <c:v>110.8280332323606</c:v>
                </c:pt>
                <c:pt idx="411">
                  <c:v>110.48623790260692</c:v>
                </c:pt>
                <c:pt idx="412">
                  <c:v>110.12493390272844</c:v>
                </c:pt>
                <c:pt idx="413">
                  <c:v>110.96134105321438</c:v>
                </c:pt>
                <c:pt idx="414">
                  <c:v>111.795600332855</c:v>
                </c:pt>
                <c:pt idx="415">
                  <c:v>111.69621591762949</c:v>
                </c:pt>
                <c:pt idx="416">
                  <c:v>112.11563533459717</c:v>
                </c:pt>
                <c:pt idx="417">
                  <c:v>110.69899175901853</c:v>
                </c:pt>
                <c:pt idx="418">
                  <c:v>111.03386435615776</c:v>
                </c:pt>
                <c:pt idx="419">
                  <c:v>111.10183253606218</c:v>
                </c:pt>
                <c:pt idx="420">
                  <c:v>110.33821784196316</c:v>
                </c:pt>
                <c:pt idx="421">
                  <c:v>109.50952554882807</c:v>
                </c:pt>
                <c:pt idx="422">
                  <c:v>109.85337591606762</c:v>
                </c:pt>
                <c:pt idx="423">
                  <c:v>109.7786292926385</c:v>
                </c:pt>
                <c:pt idx="424">
                  <c:v>110.04759826736789</c:v>
                </c:pt>
                <c:pt idx="425">
                  <c:v>110.96483744696538</c:v>
                </c:pt>
                <c:pt idx="426">
                  <c:v>111.41296956268054</c:v>
                </c:pt>
                <c:pt idx="427">
                  <c:v>111.45801272923167</c:v>
                </c:pt>
                <c:pt idx="428">
                  <c:v>111.12332825932909</c:v>
                </c:pt>
                <c:pt idx="429">
                  <c:v>111.18442154549159</c:v>
                </c:pt>
                <c:pt idx="430">
                  <c:v>110.78484286981234</c:v>
                </c:pt>
                <c:pt idx="431">
                  <c:v>109.98509394283258</c:v>
                </c:pt>
                <c:pt idx="432">
                  <c:v>109.98509394283258</c:v>
                </c:pt>
                <c:pt idx="433">
                  <c:v>108.63494247796731</c:v>
                </c:pt>
                <c:pt idx="434">
                  <c:v>108.81001986661545</c:v>
                </c:pt>
                <c:pt idx="435">
                  <c:v>107.81156895771497</c:v>
                </c:pt>
                <c:pt idx="436">
                  <c:v>108.54598336008412</c:v>
                </c:pt>
                <c:pt idx="437">
                  <c:v>108.97735413979674</c:v>
                </c:pt>
                <c:pt idx="438">
                  <c:v>108.23655703333576</c:v>
                </c:pt>
                <c:pt idx="439">
                  <c:v>108.82485797251498</c:v>
                </c:pt>
                <c:pt idx="440">
                  <c:v>107.46862938065981</c:v>
                </c:pt>
                <c:pt idx="441">
                  <c:v>107.16706818086978</c:v>
                </c:pt>
                <c:pt idx="442">
                  <c:v>105.68036714266373</c:v>
                </c:pt>
                <c:pt idx="443">
                  <c:v>105.34615351305138</c:v>
                </c:pt>
                <c:pt idx="444">
                  <c:v>104.74754803706581</c:v>
                </c:pt>
                <c:pt idx="445">
                  <c:v>105.87055685043534</c:v>
                </c:pt>
                <c:pt idx="446">
                  <c:v>106.40323143611268</c:v>
                </c:pt>
                <c:pt idx="447">
                  <c:v>105.55881755716447</c:v>
                </c:pt>
                <c:pt idx="448">
                  <c:v>106.48540535454137</c:v>
                </c:pt>
                <c:pt idx="449">
                  <c:v>106.8129692690311</c:v>
                </c:pt>
                <c:pt idx="450">
                  <c:v>106.55854066646339</c:v>
                </c:pt>
                <c:pt idx="451">
                  <c:v>107.45215452635355</c:v>
                </c:pt>
                <c:pt idx="452">
                  <c:v>108.01481152887844</c:v>
                </c:pt>
                <c:pt idx="453">
                  <c:v>107.79663626885869</c:v>
                </c:pt>
                <c:pt idx="454">
                  <c:v>106.03885005719944</c:v>
                </c:pt>
                <c:pt idx="455">
                  <c:v>105.61651511827787</c:v>
                </c:pt>
                <c:pt idx="456">
                  <c:v>106.0329457218201</c:v>
                </c:pt>
                <c:pt idx="457">
                  <c:v>105.81007912834835</c:v>
                </c:pt>
                <c:pt idx="458">
                  <c:v>106.12163822530177</c:v>
                </c:pt>
                <c:pt idx="459">
                  <c:v>106.50717343843721</c:v>
                </c:pt>
                <c:pt idx="460">
                  <c:v>107.23163951816207</c:v>
                </c:pt>
                <c:pt idx="461">
                  <c:v>106.51203514679325</c:v>
                </c:pt>
                <c:pt idx="462">
                  <c:v>106.55665008078041</c:v>
                </c:pt>
                <c:pt idx="463">
                  <c:v>106.50889656164406</c:v>
                </c:pt>
                <c:pt idx="464">
                  <c:v>106.95308504542885</c:v>
                </c:pt>
                <c:pt idx="465">
                  <c:v>106.26498294904309</c:v>
                </c:pt>
                <c:pt idx="466">
                  <c:v>106.68370116003311</c:v>
                </c:pt>
                <c:pt idx="467">
                  <c:v>107.4204920989372</c:v>
                </c:pt>
                <c:pt idx="468">
                  <c:v>107.79205518029706</c:v>
                </c:pt>
                <c:pt idx="469">
                  <c:v>107.74250153476318</c:v>
                </c:pt>
                <c:pt idx="470">
                  <c:v>107.26079023023898</c:v>
                </c:pt>
                <c:pt idx="471">
                  <c:v>105.80796051933061</c:v>
                </c:pt>
                <c:pt idx="472">
                  <c:v>105.83618912231141</c:v>
                </c:pt>
                <c:pt idx="473">
                  <c:v>105.65374582906122</c:v>
                </c:pt>
                <c:pt idx="474">
                  <c:v>105.9304722407861</c:v>
                </c:pt>
                <c:pt idx="475">
                  <c:v>104.76449838422559</c:v>
                </c:pt>
                <c:pt idx="476">
                  <c:v>104.32394356444127</c:v>
                </c:pt>
                <c:pt idx="477">
                  <c:v>103.51733800250275</c:v>
                </c:pt>
                <c:pt idx="478">
                  <c:v>105.43912811093877</c:v>
                </c:pt>
                <c:pt idx="479">
                  <c:v>104.96488556296694</c:v>
                </c:pt>
                <c:pt idx="480">
                  <c:v>105.23396048909126</c:v>
                </c:pt>
                <c:pt idx="481">
                  <c:v>104.14040662290867</c:v>
                </c:pt>
                <c:pt idx="482">
                  <c:v>103.67392771051234</c:v>
                </c:pt>
                <c:pt idx="483">
                  <c:v>105.87230874068904</c:v>
                </c:pt>
                <c:pt idx="484">
                  <c:v>104.58663572473587</c:v>
                </c:pt>
                <c:pt idx="485">
                  <c:v>105.83877236183403</c:v>
                </c:pt>
                <c:pt idx="486">
                  <c:v>106.64957325577637</c:v>
                </c:pt>
                <c:pt idx="487">
                  <c:v>106.76414821365687</c:v>
                </c:pt>
                <c:pt idx="488">
                  <c:v>106.41419834530726</c:v>
                </c:pt>
                <c:pt idx="489">
                  <c:v>105.8044191931865</c:v>
                </c:pt>
                <c:pt idx="490">
                  <c:v>105.36917610409067</c:v>
                </c:pt>
                <c:pt idx="491">
                  <c:v>105.66880713055721</c:v>
                </c:pt>
                <c:pt idx="492">
                  <c:v>107.56536529286116</c:v>
                </c:pt>
                <c:pt idx="493">
                  <c:v>107.4613467631694</c:v>
                </c:pt>
                <c:pt idx="494">
                  <c:v>107.53128350943399</c:v>
                </c:pt>
                <c:pt idx="495">
                  <c:v>107.57408210837262</c:v>
                </c:pt>
                <c:pt idx="496">
                  <c:v>107.6580752985769</c:v>
                </c:pt>
                <c:pt idx="497">
                  <c:v>107.38605607918096</c:v>
                </c:pt>
                <c:pt idx="498">
                  <c:v>107.27404434540179</c:v>
                </c:pt>
                <c:pt idx="499">
                  <c:v>107.08404018964515</c:v>
                </c:pt>
                <c:pt idx="500">
                  <c:v>106.23450055103764</c:v>
                </c:pt>
                <c:pt idx="501">
                  <c:v>105.99686161079735</c:v>
                </c:pt>
                <c:pt idx="502">
                  <c:v>106.14614304301639</c:v>
                </c:pt>
                <c:pt idx="503">
                  <c:v>107.35044196140946</c:v>
                </c:pt>
                <c:pt idx="504">
                  <c:v>107.38060012880645</c:v>
                </c:pt>
                <c:pt idx="505">
                  <c:v>107.80223810086089</c:v>
                </c:pt>
                <c:pt idx="506">
                  <c:v>107.54030467606661</c:v>
                </c:pt>
                <c:pt idx="507">
                  <c:v>107.18012394989744</c:v>
                </c:pt>
                <c:pt idx="508">
                  <c:v>107.18420377112949</c:v>
                </c:pt>
                <c:pt idx="509">
                  <c:v>107.52946315802787</c:v>
                </c:pt>
                <c:pt idx="510">
                  <c:v>107.86134540247679</c:v>
                </c:pt>
                <c:pt idx="511">
                  <c:v>107.80463069344655</c:v>
                </c:pt>
                <c:pt idx="512">
                  <c:v>107.59502323100271</c:v>
                </c:pt>
                <c:pt idx="513">
                  <c:v>107.38810079930693</c:v>
                </c:pt>
                <c:pt idx="514">
                  <c:v>108.30845508664427</c:v>
                </c:pt>
                <c:pt idx="515">
                  <c:v>108.48367418040273</c:v>
                </c:pt>
                <c:pt idx="516">
                  <c:v>108.2377655760119</c:v>
                </c:pt>
                <c:pt idx="517">
                  <c:v>108.65187890372778</c:v>
                </c:pt>
                <c:pt idx="518">
                  <c:v>107.66783268898691</c:v>
                </c:pt>
                <c:pt idx="519">
                  <c:v>107.86537486820976</c:v>
                </c:pt>
                <c:pt idx="520">
                  <c:v>107.50265431566511</c:v>
                </c:pt>
                <c:pt idx="521">
                  <c:v>108.09503863692221</c:v>
                </c:pt>
                <c:pt idx="522">
                  <c:v>108.07424490914613</c:v>
                </c:pt>
                <c:pt idx="523">
                  <c:v>108.29069535118249</c:v>
                </c:pt>
                <c:pt idx="524">
                  <c:v>108.86379825311984</c:v>
                </c:pt>
                <c:pt idx="525">
                  <c:v>108.93185867898248</c:v>
                </c:pt>
                <c:pt idx="526">
                  <c:v>108.98077044770915</c:v>
                </c:pt>
                <c:pt idx="527">
                  <c:v>108.47544825729426</c:v>
                </c:pt>
                <c:pt idx="528">
                  <c:v>107.60474360151457</c:v>
                </c:pt>
                <c:pt idx="529">
                  <c:v>107.7455642135435</c:v>
                </c:pt>
                <c:pt idx="530">
                  <c:v>107.03388016979069</c:v>
                </c:pt>
                <c:pt idx="531">
                  <c:v>107.64711868642891</c:v>
                </c:pt>
                <c:pt idx="532">
                  <c:v>107.84504602471702</c:v>
                </c:pt>
                <c:pt idx="533">
                  <c:v>108.11733427684798</c:v>
                </c:pt>
                <c:pt idx="534">
                  <c:v>108.19929641145347</c:v>
                </c:pt>
                <c:pt idx="535">
                  <c:v>107.63101792625214</c:v>
                </c:pt>
                <c:pt idx="536">
                  <c:v>107.31954377881135</c:v>
                </c:pt>
                <c:pt idx="537">
                  <c:v>107.30201617938462</c:v>
                </c:pt>
                <c:pt idx="538">
                  <c:v>108.34713670010555</c:v>
                </c:pt>
                <c:pt idx="539">
                  <c:v>106.65831861169433</c:v>
                </c:pt>
                <c:pt idx="540">
                  <c:v>106.53395339429522</c:v>
                </c:pt>
                <c:pt idx="541">
                  <c:v>106.33246643727146</c:v>
                </c:pt>
                <c:pt idx="542">
                  <c:v>105.01417463145252</c:v>
                </c:pt>
                <c:pt idx="543">
                  <c:v>105.18638186807942</c:v>
                </c:pt>
                <c:pt idx="544">
                  <c:v>105.96254658484337</c:v>
                </c:pt>
                <c:pt idx="545">
                  <c:v>106.09151141386384</c:v>
                </c:pt>
                <c:pt idx="546">
                  <c:v>105.67167525286919</c:v>
                </c:pt>
                <c:pt idx="547">
                  <c:v>105.26174993870632</c:v>
                </c:pt>
                <c:pt idx="548">
                  <c:v>105.41467256099973</c:v>
                </c:pt>
                <c:pt idx="549">
                  <c:v>104.3994539622965</c:v>
                </c:pt>
                <c:pt idx="550">
                  <c:v>104.40222647744426</c:v>
                </c:pt>
                <c:pt idx="551">
                  <c:v>104.24025993706042</c:v>
                </c:pt>
                <c:pt idx="552">
                  <c:v>104.54482179034875</c:v>
                </c:pt>
                <c:pt idx="553">
                  <c:v>102.72584134235554</c:v>
                </c:pt>
                <c:pt idx="554">
                  <c:v>102.50228856164856</c:v>
                </c:pt>
                <c:pt idx="555">
                  <c:v>102.53471096404786</c:v>
                </c:pt>
                <c:pt idx="556">
                  <c:v>102.73136933546718</c:v>
                </c:pt>
                <c:pt idx="557">
                  <c:v>101.79632846538424</c:v>
                </c:pt>
                <c:pt idx="558">
                  <c:v>101.8520069061867</c:v>
                </c:pt>
                <c:pt idx="559">
                  <c:v>101.42496883779786</c:v>
                </c:pt>
                <c:pt idx="560">
                  <c:v>102.2911601496298</c:v>
                </c:pt>
                <c:pt idx="561">
                  <c:v>101.12626003345615</c:v>
                </c:pt>
                <c:pt idx="562">
                  <c:v>101.47968074957464</c:v>
                </c:pt>
                <c:pt idx="563">
                  <c:v>100.91697976966454</c:v>
                </c:pt>
                <c:pt idx="564">
                  <c:v>100.46144523383828</c:v>
                </c:pt>
                <c:pt idx="565">
                  <c:v>99.830768174525517</c:v>
                </c:pt>
                <c:pt idx="566">
                  <c:v>101.74712407861985</c:v>
                </c:pt>
                <c:pt idx="567">
                  <c:v>102.35824735872207</c:v>
                </c:pt>
                <c:pt idx="568">
                  <c:v>102.35562607973301</c:v>
                </c:pt>
                <c:pt idx="569">
                  <c:v>102.3280212054849</c:v>
                </c:pt>
                <c:pt idx="570">
                  <c:v>103.01832928504571</c:v>
                </c:pt>
                <c:pt idx="571">
                  <c:v>103.20031716265532</c:v>
                </c:pt>
                <c:pt idx="572">
                  <c:v>102.57049917651453</c:v>
                </c:pt>
                <c:pt idx="573">
                  <c:v>102.73358594752852</c:v>
                </c:pt>
                <c:pt idx="574">
                  <c:v>101.74879480523271</c:v>
                </c:pt>
                <c:pt idx="575">
                  <c:v>102.9226609994612</c:v>
                </c:pt>
                <c:pt idx="576">
                  <c:v>103.78062143353682</c:v>
                </c:pt>
                <c:pt idx="577">
                  <c:v>103.09858785396644</c:v>
                </c:pt>
                <c:pt idx="578">
                  <c:v>102.81102334445565</c:v>
                </c:pt>
                <c:pt idx="579">
                  <c:v>102.35011905749754</c:v>
                </c:pt>
                <c:pt idx="580">
                  <c:v>103.81980255506458</c:v>
                </c:pt>
                <c:pt idx="581">
                  <c:v>103.99392906844029</c:v>
                </c:pt>
                <c:pt idx="582">
                  <c:v>103.06142895594239</c:v>
                </c:pt>
                <c:pt idx="583">
                  <c:v>104.29264374893063</c:v>
                </c:pt>
                <c:pt idx="584">
                  <c:v>104.65468159210992</c:v>
                </c:pt>
                <c:pt idx="585">
                  <c:v>104.02410129706968</c:v>
                </c:pt>
                <c:pt idx="586">
                  <c:v>103.87245208263836</c:v>
                </c:pt>
                <c:pt idx="587">
                  <c:v>103.90843055064047</c:v>
                </c:pt>
                <c:pt idx="588">
                  <c:v>104.08739569500534</c:v>
                </c:pt>
                <c:pt idx="589">
                  <c:v>103.2688118218756</c:v>
                </c:pt>
                <c:pt idx="590">
                  <c:v>102.78784375179953</c:v>
                </c:pt>
                <c:pt idx="591">
                  <c:v>102.98995310202035</c:v>
                </c:pt>
                <c:pt idx="592">
                  <c:v>103.1200773903329</c:v>
                </c:pt>
                <c:pt idx="593">
                  <c:v>103.67232005120862</c:v>
                </c:pt>
                <c:pt idx="594">
                  <c:v>102.63989361839714</c:v>
                </c:pt>
                <c:pt idx="595">
                  <c:v>102.56557491570634</c:v>
                </c:pt>
                <c:pt idx="596">
                  <c:v>102.9790299022612</c:v>
                </c:pt>
                <c:pt idx="597">
                  <c:v>103.71122795444965</c:v>
                </c:pt>
                <c:pt idx="598">
                  <c:v>102.98444802539207</c:v>
                </c:pt>
                <c:pt idx="599">
                  <c:v>102.77371536707676</c:v>
                </c:pt>
                <c:pt idx="600">
                  <c:v>102.66913809600395</c:v>
                </c:pt>
                <c:pt idx="601">
                  <c:v>101.13310317060804</c:v>
                </c:pt>
                <c:pt idx="602">
                  <c:v>101.35714746342717</c:v>
                </c:pt>
                <c:pt idx="603">
                  <c:v>102.39657406281385</c:v>
                </c:pt>
                <c:pt idx="604">
                  <c:v>100.64875946992443</c:v>
                </c:pt>
                <c:pt idx="605">
                  <c:v>100.95822413693759</c:v>
                </c:pt>
                <c:pt idx="606">
                  <c:v>101.65515743154219</c:v>
                </c:pt>
                <c:pt idx="607">
                  <c:v>101.76299385410078</c:v>
                </c:pt>
                <c:pt idx="608">
                  <c:v>99.364648948216001</c:v>
                </c:pt>
                <c:pt idx="609">
                  <c:v>100.41552389229497</c:v>
                </c:pt>
                <c:pt idx="610">
                  <c:v>98.031909399412825</c:v>
                </c:pt>
                <c:pt idx="611">
                  <c:v>100.50464305595692</c:v>
                </c:pt>
                <c:pt idx="612">
                  <c:v>102.51013168822602</c:v>
                </c:pt>
                <c:pt idx="613">
                  <c:v>100.53247945140232</c:v>
                </c:pt>
                <c:pt idx="614">
                  <c:v>99.785445106145247</c:v>
                </c:pt>
                <c:pt idx="615">
                  <c:v>99.669392361355207</c:v>
                </c:pt>
                <c:pt idx="616">
                  <c:v>100.63162417789663</c:v>
                </c:pt>
                <c:pt idx="617">
                  <c:v>100.79099628155421</c:v>
                </c:pt>
                <c:pt idx="618">
                  <c:v>96.361380687478601</c:v>
                </c:pt>
                <c:pt idx="619">
                  <c:v>98.972933575622974</c:v>
                </c:pt>
                <c:pt idx="620">
                  <c:v>98.748064518063217</c:v>
                </c:pt>
                <c:pt idx="621">
                  <c:v>96.758746800565845</c:v>
                </c:pt>
                <c:pt idx="622">
                  <c:v>96.105311784524758</c:v>
                </c:pt>
                <c:pt idx="623">
                  <c:v>94.254425754778126</c:v>
                </c:pt>
                <c:pt idx="624">
                  <c:v>91.549568358887896</c:v>
                </c:pt>
                <c:pt idx="625">
                  <c:v>91.030815346645824</c:v>
                </c:pt>
                <c:pt idx="626">
                  <c:v>87.564039823616298</c:v>
                </c:pt>
                <c:pt idx="627">
                  <c:v>87.049194987744642</c:v>
                </c:pt>
                <c:pt idx="628">
                  <c:v>92.089359059981618</c:v>
                </c:pt>
                <c:pt idx="629">
                  <c:v>91.844301414404143</c:v>
                </c:pt>
                <c:pt idx="630">
                  <c:v>87.695244461800044</c:v>
                </c:pt>
                <c:pt idx="631">
                  <c:v>89.559096838750179</c:v>
                </c:pt>
                <c:pt idx="632">
                  <c:v>89.280889528430421</c:v>
                </c:pt>
                <c:pt idx="633">
                  <c:v>91.409563121195347</c:v>
                </c:pt>
                <c:pt idx="634">
                  <c:v>90.001870691355549</c:v>
                </c:pt>
                <c:pt idx="635">
                  <c:v>87.256250564040087</c:v>
                </c:pt>
                <c:pt idx="636">
                  <c:v>87.807452262834985</c:v>
                </c:pt>
                <c:pt idx="637">
                  <c:v>86.292280337673247</c:v>
                </c:pt>
                <c:pt idx="638">
                  <c:v>84.92177267465776</c:v>
                </c:pt>
                <c:pt idx="639">
                  <c:v>89.502878761963927</c:v>
                </c:pt>
                <c:pt idx="640">
                  <c:v>89.007073296471972</c:v>
                </c:pt>
                <c:pt idx="641">
                  <c:v>90.155440529274884</c:v>
                </c:pt>
                <c:pt idx="642">
                  <c:v>90.848078937684562</c:v>
                </c:pt>
                <c:pt idx="643">
                  <c:v>90.733200076576253</c:v>
                </c:pt>
                <c:pt idx="644">
                  <c:v>92.585329199530264</c:v>
                </c:pt>
                <c:pt idx="645">
                  <c:v>90.146765569905043</c:v>
                </c:pt>
                <c:pt idx="646">
                  <c:v>87.881198537387874</c:v>
                </c:pt>
                <c:pt idx="647">
                  <c:v>89.149089359271002</c:v>
                </c:pt>
                <c:pt idx="648">
                  <c:v>88.585078858270876</c:v>
                </c:pt>
                <c:pt idx="649">
                  <c:v>87.608841819036869</c:v>
                </c:pt>
                <c:pt idx="650">
                  <c:v>85.335660623832425</c:v>
                </c:pt>
                <c:pt idx="651">
                  <c:v>88.288817153340744</c:v>
                </c:pt>
                <c:pt idx="652">
                  <c:v>86.448033729937151</c:v>
                </c:pt>
                <c:pt idx="653">
                  <c:v>85.332402793894829</c:v>
                </c:pt>
                <c:pt idx="654">
                  <c:v>85.752169006874496</c:v>
                </c:pt>
                <c:pt idx="655">
                  <c:v>83.13005628710242</c:v>
                </c:pt>
                <c:pt idx="656">
                  <c:v>80.340090476281603</c:v>
                </c:pt>
                <c:pt idx="657">
                  <c:v>82.880748140524744</c:v>
                </c:pt>
                <c:pt idx="658">
                  <c:v>85.562875772436286</c:v>
                </c:pt>
                <c:pt idx="659">
                  <c:v>85.843126560059233</c:v>
                </c:pt>
                <c:pt idx="660">
                  <c:v>87.359465859272078</c:v>
                </c:pt>
                <c:pt idx="661">
                  <c:v>87.780674531178263</c:v>
                </c:pt>
                <c:pt idx="662">
                  <c:v>83.861474661316294</c:v>
                </c:pt>
                <c:pt idx="663">
                  <c:v>85.536217726188625</c:v>
                </c:pt>
                <c:pt idx="664">
                  <c:v>86.641181884678346</c:v>
                </c:pt>
                <c:pt idx="665">
                  <c:v>85.371524488844358</c:v>
                </c:pt>
                <c:pt idx="666">
                  <c:v>86.929528044416202</c:v>
                </c:pt>
                <c:pt idx="667">
                  <c:v>88.598024870088651</c:v>
                </c:pt>
                <c:pt idx="668">
                  <c:v>87.563260727822467</c:v>
                </c:pt>
                <c:pt idx="669">
                  <c:v>88.071791653430338</c:v>
                </c:pt>
                <c:pt idx="670">
                  <c:v>86.803433299350559</c:v>
                </c:pt>
                <c:pt idx="671">
                  <c:v>87.108480907758391</c:v>
                </c:pt>
                <c:pt idx="672">
                  <c:v>86.555964427173109</c:v>
                </c:pt>
                <c:pt idx="673">
                  <c:v>88.778733791240583</c:v>
                </c:pt>
                <c:pt idx="674">
                  <c:v>88.352913192885794</c:v>
                </c:pt>
                <c:pt idx="675">
                  <c:v>87.418018587220374</c:v>
                </c:pt>
                <c:pt idx="676">
                  <c:v>87.546388621744342</c:v>
                </c:pt>
                <c:pt idx="677">
                  <c:v>86.745250621618581</c:v>
                </c:pt>
                <c:pt idx="678">
                  <c:v>86.323780345948222</c:v>
                </c:pt>
                <c:pt idx="679">
                  <c:v>86.573302835362881</c:v>
                </c:pt>
                <c:pt idx="680">
                  <c:v>86.805155544102391</c:v>
                </c:pt>
                <c:pt idx="681">
                  <c:v>86.637074983986054</c:v>
                </c:pt>
                <c:pt idx="682">
                  <c:v>87.694353819968768</c:v>
                </c:pt>
                <c:pt idx="683">
                  <c:v>87.949542408791572</c:v>
                </c:pt>
                <c:pt idx="684">
                  <c:v>88.425778933490761</c:v>
                </c:pt>
                <c:pt idx="685">
                  <c:v>88.219376197731634</c:v>
                </c:pt>
                <c:pt idx="686">
                  <c:v>88.550632042112142</c:v>
                </c:pt>
                <c:pt idx="687">
                  <c:v>87.221946245181968</c:v>
                </c:pt>
                <c:pt idx="688">
                  <c:v>87.232347290509168</c:v>
                </c:pt>
                <c:pt idx="689">
                  <c:v>86.199204876582812</c:v>
                </c:pt>
                <c:pt idx="690">
                  <c:v>85.156607807912593</c:v>
                </c:pt>
                <c:pt idx="691">
                  <c:v>85.231464523116173</c:v>
                </c:pt>
                <c:pt idx="692">
                  <c:v>83.792752190988324</c:v>
                </c:pt>
                <c:pt idx="693">
                  <c:v>83.848440331819248</c:v>
                </c:pt>
                <c:pt idx="694">
                  <c:v>84.165453303420108</c:v>
                </c:pt>
                <c:pt idx="695">
                  <c:v>81.94280893949292</c:v>
                </c:pt>
                <c:pt idx="696">
                  <c:v>83.724705296427075</c:v>
                </c:pt>
                <c:pt idx="697">
                  <c:v>83.089974299642535</c:v>
                </c:pt>
                <c:pt idx="698">
                  <c:v>83.313388429934619</c:v>
                </c:pt>
                <c:pt idx="699">
                  <c:v>83.544717148334939</c:v>
                </c:pt>
                <c:pt idx="700">
                  <c:v>84.001103771531916</c:v>
                </c:pt>
                <c:pt idx="701">
                  <c:v>85.410541595984782</c:v>
                </c:pt>
                <c:pt idx="702">
                  <c:v>83.996136226283852</c:v>
                </c:pt>
                <c:pt idx="703">
                  <c:v>83.721874884007789</c:v>
                </c:pt>
                <c:pt idx="704">
                  <c:v>83.674475857534617</c:v>
                </c:pt>
                <c:pt idx="705">
                  <c:v>84.311859375212009</c:v>
                </c:pt>
                <c:pt idx="706">
                  <c:v>84.043466782962312</c:v>
                </c:pt>
                <c:pt idx="707">
                  <c:v>84.588263397404717</c:v>
                </c:pt>
                <c:pt idx="708">
                  <c:v>85.661116505083271</c:v>
                </c:pt>
                <c:pt idx="709">
                  <c:v>85.712190918836498</c:v>
                </c:pt>
                <c:pt idx="710">
                  <c:v>83.594035600852408</c:v>
                </c:pt>
                <c:pt idx="711">
                  <c:v>83.926527956777264</c:v>
                </c:pt>
                <c:pt idx="712">
                  <c:v>84.164943947872189</c:v>
                </c:pt>
                <c:pt idx="713">
                  <c:v>83.731748403575693</c:v>
                </c:pt>
                <c:pt idx="714">
                  <c:v>81.934119829725304</c:v>
                </c:pt>
                <c:pt idx="715">
                  <c:v>81.882685619029004</c:v>
                </c:pt>
                <c:pt idx="716">
                  <c:v>81.377924071379766</c:v>
                </c:pt>
                <c:pt idx="717">
                  <c:v>80.913543153084021</c:v>
                </c:pt>
                <c:pt idx="718">
                  <c:v>79.509731794697927</c:v>
                </c:pt>
                <c:pt idx="719">
                  <c:v>81.104033857577093</c:v>
                </c:pt>
                <c:pt idx="720">
                  <c:v>80.671837076278464</c:v>
                </c:pt>
                <c:pt idx="721">
                  <c:v>80.016080227311249</c:v>
                </c:pt>
                <c:pt idx="722">
                  <c:v>79.061530144251108</c:v>
                </c:pt>
                <c:pt idx="723">
                  <c:v>77.20696803229086</c:v>
                </c:pt>
                <c:pt idx="724">
                  <c:v>76.959643978707206</c:v>
                </c:pt>
                <c:pt idx="725">
                  <c:v>77.873659252649034</c:v>
                </c:pt>
                <c:pt idx="726">
                  <c:v>76.217586372221803</c:v>
                </c:pt>
                <c:pt idx="727">
                  <c:v>76.263927736729116</c:v>
                </c:pt>
                <c:pt idx="728">
                  <c:v>75.881704153220241</c:v>
                </c:pt>
                <c:pt idx="729">
                  <c:v>78.297136578891838</c:v>
                </c:pt>
                <c:pt idx="730">
                  <c:v>78.392886273429667</c:v>
                </c:pt>
                <c:pt idx="731">
                  <c:v>79.989303456745461</c:v>
                </c:pt>
                <c:pt idx="732">
                  <c:v>80.298823299223343</c:v>
                </c:pt>
                <c:pt idx="733">
                  <c:v>80.157659549321863</c:v>
                </c:pt>
                <c:pt idx="734">
                  <c:v>81.445791830476992</c:v>
                </c:pt>
                <c:pt idx="735">
                  <c:v>82.295188582525924</c:v>
                </c:pt>
                <c:pt idx="736">
                  <c:v>81.761127152245919</c:v>
                </c:pt>
                <c:pt idx="737">
                  <c:v>80.952942958289086</c:v>
                </c:pt>
                <c:pt idx="738">
                  <c:v>83.816958519009248</c:v>
                </c:pt>
                <c:pt idx="739">
                  <c:v>82.961392423204472</c:v>
                </c:pt>
                <c:pt idx="740">
                  <c:v>83.378336307692848</c:v>
                </c:pt>
                <c:pt idx="741">
                  <c:v>84.338271440482927</c:v>
                </c:pt>
                <c:pt idx="742">
                  <c:v>83.472038224303134</c:v>
                </c:pt>
                <c:pt idx="743">
                  <c:v>82.006113347907799</c:v>
                </c:pt>
                <c:pt idx="744">
                  <c:v>82.531975438460705</c:v>
                </c:pt>
                <c:pt idx="745">
                  <c:v>83.215199143789945</c:v>
                </c:pt>
                <c:pt idx="746">
                  <c:v>84.449120367489087</c:v>
                </c:pt>
                <c:pt idx="747">
                  <c:v>84.847589740550902</c:v>
                </c:pt>
                <c:pt idx="748">
                  <c:v>84.494000138910664</c:v>
                </c:pt>
                <c:pt idx="749">
                  <c:v>83.434533788136818</c:v>
                </c:pt>
                <c:pt idx="750">
                  <c:v>83.92610749281711</c:v>
                </c:pt>
                <c:pt idx="751">
                  <c:v>85.247475413941714</c:v>
                </c:pt>
                <c:pt idx="752">
                  <c:v>85.299652791244128</c:v>
                </c:pt>
                <c:pt idx="753">
                  <c:v>84.413439008053558</c:v>
                </c:pt>
                <c:pt idx="754">
                  <c:v>84.746622270452505</c:v>
                </c:pt>
                <c:pt idx="755">
                  <c:v>85.405053178405467</c:v>
                </c:pt>
                <c:pt idx="756">
                  <c:v>85.605154156687135</c:v>
                </c:pt>
                <c:pt idx="757">
                  <c:v>83.773640940167851</c:v>
                </c:pt>
                <c:pt idx="758">
                  <c:v>84.663822050123258</c:v>
                </c:pt>
                <c:pt idx="759">
                  <c:v>84.338643973949658</c:v>
                </c:pt>
                <c:pt idx="760">
                  <c:v>84.757062828826051</c:v>
                </c:pt>
                <c:pt idx="761">
                  <c:v>85.46890993247456</c:v>
                </c:pt>
                <c:pt idx="762">
                  <c:v>85.038718820061476</c:v>
                </c:pt>
                <c:pt idx="763">
                  <c:v>84.922194820791987</c:v>
                </c:pt>
                <c:pt idx="764">
                  <c:v>85.839778758469294</c:v>
                </c:pt>
                <c:pt idx="765">
                  <c:v>85.799002800197286</c:v>
                </c:pt>
                <c:pt idx="766">
                  <c:v>86.030504102421673</c:v>
                </c:pt>
                <c:pt idx="767">
                  <c:v>87.487352141169509</c:v>
                </c:pt>
                <c:pt idx="768">
                  <c:v>87.321488372284975</c:v>
                </c:pt>
                <c:pt idx="769">
                  <c:v>88.081372756051323</c:v>
                </c:pt>
                <c:pt idx="770">
                  <c:v>87.499930135767869</c:v>
                </c:pt>
                <c:pt idx="771">
                  <c:v>88.552949495781306</c:v>
                </c:pt>
                <c:pt idx="772">
                  <c:v>87.600454709549339</c:v>
                </c:pt>
                <c:pt idx="773">
                  <c:v>87.557581318205195</c:v>
                </c:pt>
                <c:pt idx="774">
                  <c:v>86.380154273781926</c:v>
                </c:pt>
                <c:pt idx="775">
                  <c:v>86.827241347049366</c:v>
                </c:pt>
                <c:pt idx="776">
                  <c:v>86.331888469152659</c:v>
                </c:pt>
                <c:pt idx="777">
                  <c:v>87.643666155603441</c:v>
                </c:pt>
                <c:pt idx="778">
                  <c:v>87.567555640974689</c:v>
                </c:pt>
                <c:pt idx="779">
                  <c:v>87.342882516374175</c:v>
                </c:pt>
                <c:pt idx="780">
                  <c:v>86.61105343444676</c:v>
                </c:pt>
                <c:pt idx="781">
                  <c:v>86.546216774045888</c:v>
                </c:pt>
                <c:pt idx="782">
                  <c:v>87.684392217866915</c:v>
                </c:pt>
                <c:pt idx="783">
                  <c:v>86.852655675293036</c:v>
                </c:pt>
                <c:pt idx="784">
                  <c:v>87.522241743781592</c:v>
                </c:pt>
                <c:pt idx="785">
                  <c:v>88.116288475730215</c:v>
                </c:pt>
                <c:pt idx="786">
                  <c:v>89.220054683212311</c:v>
                </c:pt>
                <c:pt idx="787">
                  <c:v>89.276350143695723</c:v>
                </c:pt>
                <c:pt idx="788">
                  <c:v>89.255546430513022</c:v>
                </c:pt>
                <c:pt idx="789">
                  <c:v>89.635343032147986</c:v>
                </c:pt>
                <c:pt idx="790">
                  <c:v>89.500468272314691</c:v>
                </c:pt>
                <c:pt idx="791">
                  <c:v>89.424796778573878</c:v>
                </c:pt>
                <c:pt idx="792">
                  <c:v>89.459012707150649</c:v>
                </c:pt>
                <c:pt idx="793">
                  <c:v>89.301357542645675</c:v>
                </c:pt>
                <c:pt idx="794">
                  <c:v>89.155138919898107</c:v>
                </c:pt>
                <c:pt idx="795">
                  <c:v>89.019810025683682</c:v>
                </c:pt>
                <c:pt idx="796">
                  <c:v>88.540970255673741</c:v>
                </c:pt>
                <c:pt idx="797">
                  <c:v>88.408776258658733</c:v>
                </c:pt>
                <c:pt idx="798">
                  <c:v>88.381656965867947</c:v>
                </c:pt>
                <c:pt idx="799">
                  <c:v>88.755614448220413</c:v>
                </c:pt>
                <c:pt idx="800">
                  <c:v>89.112847404044956</c:v>
                </c:pt>
                <c:pt idx="801">
                  <c:v>87.49430431229824</c:v>
                </c:pt>
                <c:pt idx="802">
                  <c:v>87.402484593804161</c:v>
                </c:pt>
                <c:pt idx="803">
                  <c:v>88.15606510912454</c:v>
                </c:pt>
                <c:pt idx="804">
                  <c:v>89.282160601834804</c:v>
                </c:pt>
                <c:pt idx="805">
                  <c:v>89.216188084058032</c:v>
                </c:pt>
                <c:pt idx="806">
                  <c:v>89.6033899774296</c:v>
                </c:pt>
                <c:pt idx="807">
                  <c:v>89.221196339000386</c:v>
                </c:pt>
                <c:pt idx="808">
                  <c:v>89.415784185081947</c:v>
                </c:pt>
                <c:pt idx="809">
                  <c:v>88.112794597166157</c:v>
                </c:pt>
                <c:pt idx="810">
                  <c:v>88.225832808927095</c:v>
                </c:pt>
                <c:pt idx="811">
                  <c:v>87.357534015982736</c:v>
                </c:pt>
                <c:pt idx="812">
                  <c:v>87.284655921591224</c:v>
                </c:pt>
                <c:pt idx="813">
                  <c:v>88.001920737350346</c:v>
                </c:pt>
                <c:pt idx="814">
                  <c:v>87.79500622421115</c:v>
                </c:pt>
                <c:pt idx="815">
                  <c:v>88.859673075487336</c:v>
                </c:pt>
                <c:pt idx="816">
                  <c:v>89.095862983945011</c:v>
                </c:pt>
                <c:pt idx="817">
                  <c:v>90.415816266251525</c:v>
                </c:pt>
                <c:pt idx="818">
                  <c:v>90.806492317579952</c:v>
                </c:pt>
                <c:pt idx="819">
                  <c:v>90.789117518361081</c:v>
                </c:pt>
                <c:pt idx="820">
                  <c:v>91.308047638803018</c:v>
                </c:pt>
                <c:pt idx="821">
                  <c:v>91.473646854658838</c:v>
                </c:pt>
                <c:pt idx="822">
                  <c:v>91.449211207622511</c:v>
                </c:pt>
                <c:pt idx="823">
                  <c:v>92.51412335926409</c:v>
                </c:pt>
                <c:pt idx="824">
                  <c:v>92.654843302302027</c:v>
                </c:pt>
                <c:pt idx="825">
                  <c:v>92.792984420310887</c:v>
                </c:pt>
                <c:pt idx="826">
                  <c:v>92.672054427786108</c:v>
                </c:pt>
                <c:pt idx="827">
                  <c:v>92.46062342224711</c:v>
                </c:pt>
                <c:pt idx="828">
                  <c:v>93.010560986569558</c:v>
                </c:pt>
                <c:pt idx="829">
                  <c:v>93.044965703833412</c:v>
                </c:pt>
                <c:pt idx="830">
                  <c:v>93.758717491420541</c:v>
                </c:pt>
                <c:pt idx="831">
                  <c:v>93.899921787533813</c:v>
                </c:pt>
                <c:pt idx="832">
                  <c:v>93.76313126854734</c:v>
                </c:pt>
                <c:pt idx="833">
                  <c:v>93.499436488172663</c:v>
                </c:pt>
                <c:pt idx="834">
                  <c:v>94.127717292592337</c:v>
                </c:pt>
                <c:pt idx="835">
                  <c:v>93.970291275031897</c:v>
                </c:pt>
                <c:pt idx="836">
                  <c:v>93.37545401271602</c:v>
                </c:pt>
                <c:pt idx="837">
                  <c:v>93.913535524751879</c:v>
                </c:pt>
                <c:pt idx="838">
                  <c:v>94.236599356803296</c:v>
                </c:pt>
                <c:pt idx="839">
                  <c:v>93.834614514622857</c:v>
                </c:pt>
                <c:pt idx="840">
                  <c:v>92.696364352995815</c:v>
                </c:pt>
                <c:pt idx="841">
                  <c:v>92.803521679778243</c:v>
                </c:pt>
                <c:pt idx="842">
                  <c:v>93.389277073949955</c:v>
                </c:pt>
                <c:pt idx="843">
                  <c:v>93.860337456401396</c:v>
                </c:pt>
                <c:pt idx="844">
                  <c:v>94.720240128798679</c:v>
                </c:pt>
                <c:pt idx="845">
                  <c:v>94.694393825468623</c:v>
                </c:pt>
                <c:pt idx="846">
                  <c:v>94.806578940573331</c:v>
                </c:pt>
                <c:pt idx="847">
                  <c:v>94.812112398488139</c:v>
                </c:pt>
                <c:pt idx="848">
                  <c:v>94.943985449036546</c:v>
                </c:pt>
                <c:pt idx="849">
                  <c:v>94.849592167803877</c:v>
                </c:pt>
                <c:pt idx="850">
                  <c:v>94.466572860895511</c:v>
                </c:pt>
                <c:pt idx="851">
                  <c:v>93.421592743320389</c:v>
                </c:pt>
                <c:pt idx="852">
                  <c:v>93.135933798597378</c:v>
                </c:pt>
                <c:pt idx="853">
                  <c:v>93.520986114625657</c:v>
                </c:pt>
                <c:pt idx="854">
                  <c:v>95.094087201950543</c:v>
                </c:pt>
                <c:pt idx="855">
                  <c:v>95.487415790754085</c:v>
                </c:pt>
                <c:pt idx="856">
                  <c:v>95.831660283016575</c:v>
                </c:pt>
                <c:pt idx="857">
                  <c:v>96.331049166595591</c:v>
                </c:pt>
                <c:pt idx="858">
                  <c:v>96.266006749235402</c:v>
                </c:pt>
                <c:pt idx="859">
                  <c:v>96.57112806760756</c:v>
                </c:pt>
                <c:pt idx="860">
                  <c:v>96.72251799429597</c:v>
                </c:pt>
                <c:pt idx="861">
                  <c:v>97.463582858136064</c:v>
                </c:pt>
                <c:pt idx="862">
                  <c:v>97.314482070332389</c:v>
                </c:pt>
                <c:pt idx="863">
                  <c:v>97.442805045966892</c:v>
                </c:pt>
                <c:pt idx="864">
                  <c:v>97.276797458974798</c:v>
                </c:pt>
                <c:pt idx="865">
                  <c:v>97.596588557641411</c:v>
                </c:pt>
                <c:pt idx="866">
                  <c:v>97.105263328307032</c:v>
                </c:pt>
                <c:pt idx="867">
                  <c:v>96.643476254027149</c:v>
                </c:pt>
                <c:pt idx="868">
                  <c:v>96.349162388124782</c:v>
                </c:pt>
                <c:pt idx="869">
                  <c:v>97.207132868418881</c:v>
                </c:pt>
                <c:pt idx="870">
                  <c:v>97.098767280685266</c:v>
                </c:pt>
                <c:pt idx="871">
                  <c:v>96.9371816608529</c:v>
                </c:pt>
                <c:pt idx="872">
                  <c:v>95.688648221271677</c:v>
                </c:pt>
                <c:pt idx="873">
                  <c:v>95.460170661334431</c:v>
                </c:pt>
                <c:pt idx="874">
                  <c:v>96.913076329173393</c:v>
                </c:pt>
                <c:pt idx="875">
                  <c:v>97.577196270571434</c:v>
                </c:pt>
                <c:pt idx="876">
                  <c:v>97.681098789350571</c:v>
                </c:pt>
                <c:pt idx="877">
                  <c:v>98.045932031486345</c:v>
                </c:pt>
                <c:pt idx="878">
                  <c:v>98.322453435693475</c:v>
                </c:pt>
                <c:pt idx="879">
                  <c:v>98.538094986780166</c:v>
                </c:pt>
                <c:pt idx="880">
                  <c:v>98.400752006005234</c:v>
                </c:pt>
                <c:pt idx="881">
                  <c:v>99.264013013037086</c:v>
                </c:pt>
                <c:pt idx="882">
                  <c:v>99.470354755440681</c:v>
                </c:pt>
                <c:pt idx="883">
                  <c:v>99.067596698321921</c:v>
                </c:pt>
                <c:pt idx="884">
                  <c:v>99.533478903669007</c:v>
                </c:pt>
                <c:pt idx="885">
                  <c:v>99.22297789243396</c:v>
                </c:pt>
                <c:pt idx="886">
                  <c:v>98.783728920589652</c:v>
                </c:pt>
                <c:pt idx="887">
                  <c:v>99.30943666974629</c:v>
                </c:pt>
                <c:pt idx="888">
                  <c:v>98.704716884002565</c:v>
                </c:pt>
                <c:pt idx="889">
                  <c:v>98.126440360946518</c:v>
                </c:pt>
                <c:pt idx="890">
                  <c:v>97.963655038823759</c:v>
                </c:pt>
                <c:pt idx="891">
                  <c:v>97.00650551431923</c:v>
                </c:pt>
                <c:pt idx="892">
                  <c:v>98.069055837794238</c:v>
                </c:pt>
                <c:pt idx="893">
                  <c:v>96.678708690210001</c:v>
                </c:pt>
                <c:pt idx="894">
                  <c:v>96.900470862140239</c:v>
                </c:pt>
                <c:pt idx="895">
                  <c:v>96.874613790400304</c:v>
                </c:pt>
                <c:pt idx="896">
                  <c:v>97.324323305749189</c:v>
                </c:pt>
                <c:pt idx="897">
                  <c:v>99.661540536583672</c:v>
                </c:pt>
                <c:pt idx="898">
                  <c:v>100.12969353177563</c:v>
                </c:pt>
                <c:pt idx="899">
                  <c:v>101.19872193472435</c:v>
                </c:pt>
                <c:pt idx="900">
                  <c:v>101.18097682068371</c:v>
                </c:pt>
                <c:pt idx="901">
                  <c:v>101.43554694013082</c:v>
                </c:pt>
                <c:pt idx="902">
                  <c:v>100.91521548478892</c:v>
                </c:pt>
                <c:pt idx="903">
                  <c:v>101.0274147278091</c:v>
                </c:pt>
                <c:pt idx="904">
                  <c:v>101.74393086575299</c:v>
                </c:pt>
                <c:pt idx="905">
                  <c:v>101.77632558886673</c:v>
                </c:pt>
                <c:pt idx="906">
                  <c:v>101.75249295984707</c:v>
                </c:pt>
                <c:pt idx="907">
                  <c:v>101.06943648791442</c:v>
                </c:pt>
                <c:pt idx="908">
                  <c:v>100.90697214576561</c:v>
                </c:pt>
                <c:pt idx="909">
                  <c:v>101.59393617574878</c:v>
                </c:pt>
                <c:pt idx="910">
                  <c:v>101.56684421453616</c:v>
                </c:pt>
                <c:pt idx="911">
                  <c:v>101.79557974756577</c:v>
                </c:pt>
                <c:pt idx="912">
                  <c:v>100.91843461535773</c:v>
                </c:pt>
                <c:pt idx="913">
                  <c:v>101.10982542943188</c:v>
                </c:pt>
                <c:pt idx="914">
                  <c:v>101.7202883550689</c:v>
                </c:pt>
                <c:pt idx="915">
                  <c:v>101.73771783650702</c:v>
                </c:pt>
                <c:pt idx="916">
                  <c:v>101.31031009326108</c:v>
                </c:pt>
                <c:pt idx="917">
                  <c:v>101.58939424445623</c:v>
                </c:pt>
                <c:pt idx="918">
                  <c:v>101.46401266147672</c:v>
                </c:pt>
                <c:pt idx="919">
                  <c:v>100.94393199834447</c:v>
                </c:pt>
                <c:pt idx="920">
                  <c:v>101.12928337631091</c:v>
                </c:pt>
                <c:pt idx="921">
                  <c:v>101.42456482784081</c:v>
                </c:pt>
                <c:pt idx="922">
                  <c:v>101.61134023184184</c:v>
                </c:pt>
                <c:pt idx="923">
                  <c:v>101.96491951971214</c:v>
                </c:pt>
                <c:pt idx="924">
                  <c:v>101.68211835886098</c:v>
                </c:pt>
                <c:pt idx="925">
                  <c:v>101.73947877330437</c:v>
                </c:pt>
                <c:pt idx="926">
                  <c:v>101.13868035829044</c:v>
                </c:pt>
                <c:pt idx="927">
                  <c:v>101.43349285714521</c:v>
                </c:pt>
                <c:pt idx="928">
                  <c:v>101.96620569617291</c:v>
                </c:pt>
                <c:pt idx="929">
                  <c:v>102.14788777355444</c:v>
                </c:pt>
                <c:pt idx="930">
                  <c:v>102.26529178760518</c:v>
                </c:pt>
                <c:pt idx="931">
                  <c:v>102.53405314038764</c:v>
                </c:pt>
                <c:pt idx="932">
                  <c:v>102.59321720414489</c:v>
                </c:pt>
                <c:pt idx="933">
                  <c:v>102.52135155517855</c:v>
                </c:pt>
                <c:pt idx="934">
                  <c:v>102.53136518390443</c:v>
                </c:pt>
                <c:pt idx="935">
                  <c:v>102.016168785633</c:v>
                </c:pt>
                <c:pt idx="936">
                  <c:v>102.83451209994338</c:v>
                </c:pt>
                <c:pt idx="937">
                  <c:v>102.99471026043589</c:v>
                </c:pt>
                <c:pt idx="938">
                  <c:v>103.02280335178557</c:v>
                </c:pt>
                <c:pt idx="939">
                  <c:v>103.22891418917175</c:v>
                </c:pt>
                <c:pt idx="940">
                  <c:v>103.37765120521041</c:v>
                </c:pt>
                <c:pt idx="941">
                  <c:v>103.4679389405466</c:v>
                </c:pt>
                <c:pt idx="942">
                  <c:v>102.98261442616959</c:v>
                </c:pt>
                <c:pt idx="943">
                  <c:v>103.4113234492776</c:v>
                </c:pt>
                <c:pt idx="944">
                  <c:v>103.53678757503218</c:v>
                </c:pt>
                <c:pt idx="945">
                  <c:v>102.9764884485682</c:v>
                </c:pt>
                <c:pt idx="946">
                  <c:v>103.62007450526109</c:v>
                </c:pt>
                <c:pt idx="947">
                  <c:v>103.07099792569912</c:v>
                </c:pt>
                <c:pt idx="948">
                  <c:v>102.09466549657621</c:v>
                </c:pt>
                <c:pt idx="949">
                  <c:v>100.96442575601866</c:v>
                </c:pt>
                <c:pt idx="950">
                  <c:v>101.18837445082606</c:v>
                </c:pt>
                <c:pt idx="951">
                  <c:v>100.84544567546031</c:v>
                </c:pt>
                <c:pt idx="952">
                  <c:v>101.09151827654355</c:v>
                </c:pt>
                <c:pt idx="953">
                  <c:v>100.36013881723122</c:v>
                </c:pt>
                <c:pt idx="954">
                  <c:v>99.652026372486063</c:v>
                </c:pt>
                <c:pt idx="955">
                  <c:v>101.48158007821334</c:v>
                </c:pt>
                <c:pt idx="956">
                  <c:v>102.09474893733369</c:v>
                </c:pt>
                <c:pt idx="957">
                  <c:v>101.78357719005629</c:v>
                </c:pt>
                <c:pt idx="958">
                  <c:v>100.19877439014003</c:v>
                </c:pt>
                <c:pt idx="959">
                  <c:v>100.57139241705293</c:v>
                </c:pt>
                <c:pt idx="960">
                  <c:v>100.11062066790475</c:v>
                </c:pt>
                <c:pt idx="961">
                  <c:v>100.74835772447121</c:v>
                </c:pt>
                <c:pt idx="962">
                  <c:v>100.65447164107084</c:v>
                </c:pt>
                <c:pt idx="963">
                  <c:v>101.36275598873897</c:v>
                </c:pt>
                <c:pt idx="964">
                  <c:v>101.24183805685728</c:v>
                </c:pt>
                <c:pt idx="965">
                  <c:v>102.08077914886159</c:v>
                </c:pt>
                <c:pt idx="966">
                  <c:v>102.29708556663299</c:v>
                </c:pt>
                <c:pt idx="967">
                  <c:v>102.60188042813259</c:v>
                </c:pt>
                <c:pt idx="968">
                  <c:v>102.71405415780781</c:v>
                </c:pt>
                <c:pt idx="969">
                  <c:v>102.66034358917403</c:v>
                </c:pt>
                <c:pt idx="970">
                  <c:v>102.03910587131462</c:v>
                </c:pt>
                <c:pt idx="971">
                  <c:v>102.5350386716393</c:v>
                </c:pt>
                <c:pt idx="972">
                  <c:v>102.42835116985472</c:v>
                </c:pt>
                <c:pt idx="973">
                  <c:v>102.5003242347147</c:v>
                </c:pt>
                <c:pt idx="974">
                  <c:v>103.02095078539126</c:v>
                </c:pt>
                <c:pt idx="975">
                  <c:v>103.14098846186724</c:v>
                </c:pt>
                <c:pt idx="976">
                  <c:v>103.16312350244708</c:v>
                </c:pt>
                <c:pt idx="977">
                  <c:v>103.35584146392341</c:v>
                </c:pt>
                <c:pt idx="978">
                  <c:v>104.07971983388322</c:v>
                </c:pt>
                <c:pt idx="979">
                  <c:v>104.07057961083642</c:v>
                </c:pt>
                <c:pt idx="980">
                  <c:v>104.15970461313819</c:v>
                </c:pt>
                <c:pt idx="981">
                  <c:v>104.39534145640346</c:v>
                </c:pt>
                <c:pt idx="982">
                  <c:v>104.60629912565528</c:v>
                </c:pt>
                <c:pt idx="983">
                  <c:v>104.59493124817693</c:v>
                </c:pt>
                <c:pt idx="984">
                  <c:v>104.61857900348311</c:v>
                </c:pt>
                <c:pt idx="985">
                  <c:v>105.02550127364206</c:v>
                </c:pt>
                <c:pt idx="986">
                  <c:v>105.33121347311297</c:v>
                </c:pt>
                <c:pt idx="987">
                  <c:v>105.31405281546135</c:v>
                </c:pt>
                <c:pt idx="988">
                  <c:v>105.04621259296079</c:v>
                </c:pt>
                <c:pt idx="989">
                  <c:v>105.31383183445762</c:v>
                </c:pt>
                <c:pt idx="990">
                  <c:v>105.69143351660826</c:v>
                </c:pt>
                <c:pt idx="991">
                  <c:v>105.40113920395247</c:v>
                </c:pt>
                <c:pt idx="992">
                  <c:v>105.31132817604515</c:v>
                </c:pt>
                <c:pt idx="993">
                  <c:v>105.35017411045165</c:v>
                </c:pt>
                <c:pt idx="994">
                  <c:v>105.64953877770935</c:v>
                </c:pt>
                <c:pt idx="995">
                  <c:v>105.65179005067559</c:v>
                </c:pt>
                <c:pt idx="996">
                  <c:v>105.47889597096905</c:v>
                </c:pt>
                <c:pt idx="997">
                  <c:v>105.86989929227441</c:v>
                </c:pt>
                <c:pt idx="998">
                  <c:v>106.28956861550242</c:v>
                </c:pt>
                <c:pt idx="999">
                  <c:v>106.37908014334005</c:v>
                </c:pt>
                <c:pt idx="1000">
                  <c:v>106.06650037042088</c:v>
                </c:pt>
                <c:pt idx="1001">
                  <c:v>106.24545311111943</c:v>
                </c:pt>
                <c:pt idx="1002">
                  <c:v>106.60051802935008</c:v>
                </c:pt>
                <c:pt idx="1003">
                  <c:v>106.6946794253337</c:v>
                </c:pt>
                <c:pt idx="1004">
                  <c:v>106.73124068717208</c:v>
                </c:pt>
                <c:pt idx="1005">
                  <c:v>107.32627203402488</c:v>
                </c:pt>
                <c:pt idx="1006">
                  <c:v>107.3714844395404</c:v>
                </c:pt>
                <c:pt idx="1007">
                  <c:v>106.50572115170269</c:v>
                </c:pt>
                <c:pt idx="1008">
                  <c:v>106.74649432115888</c:v>
                </c:pt>
                <c:pt idx="1009">
                  <c:v>107.17659305445736</c:v>
                </c:pt>
                <c:pt idx="1010">
                  <c:v>107.12199129602358</c:v>
                </c:pt>
                <c:pt idx="1011">
                  <c:v>107.24324236831498</c:v>
                </c:pt>
                <c:pt idx="1012">
                  <c:v>107.62521772833517</c:v>
                </c:pt>
                <c:pt idx="1013">
                  <c:v>107.39401377825007</c:v>
                </c:pt>
                <c:pt idx="1014">
                  <c:v>106.13847714590173</c:v>
                </c:pt>
                <c:pt idx="1015">
                  <c:v>106.19402367955368</c:v>
                </c:pt>
                <c:pt idx="1016">
                  <c:v>108.2011792855035</c:v>
                </c:pt>
                <c:pt idx="1017">
                  <c:v>107.30053389369814</c:v>
                </c:pt>
                <c:pt idx="1018">
                  <c:v>108.09912756688502</c:v>
                </c:pt>
                <c:pt idx="1019">
                  <c:v>103.45664440717185</c:v>
                </c:pt>
                <c:pt idx="1020">
                  <c:v>103.101396572106</c:v>
                </c:pt>
                <c:pt idx="1021">
                  <c:v>101.40146044448709</c:v>
                </c:pt>
                <c:pt idx="1022">
                  <c:v>100.625321091619</c:v>
                </c:pt>
                <c:pt idx="1023">
                  <c:v>102.83777740342838</c:v>
                </c:pt>
                <c:pt idx="1024">
                  <c:v>102.66308982831627</c:v>
                </c:pt>
                <c:pt idx="1025">
                  <c:v>103.36836062425397</c:v>
                </c:pt>
                <c:pt idx="1026">
                  <c:v>102.74065326139448</c:v>
                </c:pt>
                <c:pt idx="1027">
                  <c:v>101.77488543975019</c:v>
                </c:pt>
                <c:pt idx="1028">
                  <c:v>101.8313434013477</c:v>
                </c:pt>
                <c:pt idx="1029">
                  <c:v>101.10854453663286</c:v>
                </c:pt>
                <c:pt idx="1030">
                  <c:v>100.84918776866104</c:v>
                </c:pt>
                <c:pt idx="1031">
                  <c:v>98.883847335305575</c:v>
                </c:pt>
                <c:pt idx="1032">
                  <c:v>99.647977982151843</c:v>
                </c:pt>
                <c:pt idx="1033">
                  <c:v>99.130843876634515</c:v>
                </c:pt>
                <c:pt idx="1034">
                  <c:v>99.454786794271811</c:v>
                </c:pt>
                <c:pt idx="1035">
                  <c:v>99.347338483024302</c:v>
                </c:pt>
                <c:pt idx="1036">
                  <c:v>101.35862071536374</c:v>
                </c:pt>
                <c:pt idx="1037">
                  <c:v>100.73148113421462</c:v>
                </c:pt>
                <c:pt idx="1038">
                  <c:v>99.847141462936165</c:v>
                </c:pt>
                <c:pt idx="1039">
                  <c:v>100.87191833356226</c:v>
                </c:pt>
                <c:pt idx="1040">
                  <c:v>101.05667718484275</c:v>
                </c:pt>
                <c:pt idx="1041">
                  <c:v>99.720430144145084</c:v>
                </c:pt>
                <c:pt idx="1042">
                  <c:v>99.291994545083384</c:v>
                </c:pt>
                <c:pt idx="1043">
                  <c:v>99.9212550928562</c:v>
                </c:pt>
                <c:pt idx="1044">
                  <c:v>99.624933057548461</c:v>
                </c:pt>
                <c:pt idx="1045">
                  <c:v>101.40305347547566</c:v>
                </c:pt>
                <c:pt idx="1046">
                  <c:v>101.68086817050232</c:v>
                </c:pt>
                <c:pt idx="1047">
                  <c:v>101.5548566638255</c:v>
                </c:pt>
                <c:pt idx="1048">
                  <c:v>102.73370919410932</c:v>
                </c:pt>
                <c:pt idx="1049">
                  <c:v>102.70515234946726</c:v>
                </c:pt>
                <c:pt idx="1050">
                  <c:v>102.7710356484955</c:v>
                </c:pt>
                <c:pt idx="1051">
                  <c:v>102.83871844767981</c:v>
                </c:pt>
                <c:pt idx="1052">
                  <c:v>102.64040484130963</c:v>
                </c:pt>
                <c:pt idx="1053">
                  <c:v>101.81564880348576</c:v>
                </c:pt>
                <c:pt idx="1054">
                  <c:v>101.66366572491103</c:v>
                </c:pt>
                <c:pt idx="1055">
                  <c:v>100.80951740339711</c:v>
                </c:pt>
                <c:pt idx="1056">
                  <c:v>100.95134599793087</c:v>
                </c:pt>
                <c:pt idx="1057">
                  <c:v>100.83466115809458</c:v>
                </c:pt>
                <c:pt idx="1058">
                  <c:v>99.256870314730605</c:v>
                </c:pt>
                <c:pt idx="1059">
                  <c:v>98.660864001381853</c:v>
                </c:pt>
                <c:pt idx="1060">
                  <c:v>98.716517073762475</c:v>
                </c:pt>
                <c:pt idx="1061">
                  <c:v>99.098121863789714</c:v>
                </c:pt>
                <c:pt idx="1062">
                  <c:v>100.37015918631556</c:v>
                </c:pt>
                <c:pt idx="1063">
                  <c:v>101.94250069721532</c:v>
                </c:pt>
                <c:pt idx="1064">
                  <c:v>102.40061540289547</c:v>
                </c:pt>
                <c:pt idx="1065">
                  <c:v>102.76945854457091</c:v>
                </c:pt>
                <c:pt idx="1066">
                  <c:v>102.80711665444986</c:v>
                </c:pt>
                <c:pt idx="1067">
                  <c:v>103.57424094767237</c:v>
                </c:pt>
                <c:pt idx="1068">
                  <c:v>103.98656564137444</c:v>
                </c:pt>
                <c:pt idx="1069">
                  <c:v>104.04875799552504</c:v>
                </c:pt>
                <c:pt idx="1070">
                  <c:v>103.04217950653376</c:v>
                </c:pt>
                <c:pt idx="1071">
                  <c:v>103.24923717847143</c:v>
                </c:pt>
                <c:pt idx="1072">
                  <c:v>103.80949522499179</c:v>
                </c:pt>
                <c:pt idx="1073">
                  <c:v>103.13050730969023</c:v>
                </c:pt>
                <c:pt idx="1074">
                  <c:v>104.00183854189525</c:v>
                </c:pt>
                <c:pt idx="1075">
                  <c:v>104.41385623796656</c:v>
                </c:pt>
                <c:pt idx="1076">
                  <c:v>104.98310590950622</c:v>
                </c:pt>
                <c:pt idx="1077">
                  <c:v>104.87647529630759</c:v>
                </c:pt>
                <c:pt idx="1078">
                  <c:v>104.63205471023217</c:v>
                </c:pt>
                <c:pt idx="1079">
                  <c:v>104.414197063663</c:v>
                </c:pt>
                <c:pt idx="1080">
                  <c:v>104.41751471901259</c:v>
                </c:pt>
                <c:pt idx="1081">
                  <c:v>104.84170891031913</c:v>
                </c:pt>
                <c:pt idx="1082">
                  <c:v>104.68590485788367</c:v>
                </c:pt>
                <c:pt idx="1083">
                  <c:v>104.84483248713043</c:v>
                </c:pt>
                <c:pt idx="1084">
                  <c:v>104.80057511686877</c:v>
                </c:pt>
                <c:pt idx="1085">
                  <c:v>104.56129807518948</c:v>
                </c:pt>
                <c:pt idx="1086">
                  <c:v>104.57742540467933</c:v>
                </c:pt>
                <c:pt idx="1087">
                  <c:v>104.26539653717141</c:v>
                </c:pt>
                <c:pt idx="1088">
                  <c:v>103.88288693463377</c:v>
                </c:pt>
                <c:pt idx="1089">
                  <c:v>103.77806155401689</c:v>
                </c:pt>
                <c:pt idx="1090">
                  <c:v>103.22237810847932</c:v>
                </c:pt>
                <c:pt idx="1091">
                  <c:v>103.33537875521428</c:v>
                </c:pt>
                <c:pt idx="1092">
                  <c:v>104.32224339304284</c:v>
                </c:pt>
                <c:pt idx="1093">
                  <c:v>104.56789394254994</c:v>
                </c:pt>
                <c:pt idx="1094">
                  <c:v>103.65288910873794</c:v>
                </c:pt>
                <c:pt idx="1095">
                  <c:v>103.46721966094026</c:v>
                </c:pt>
                <c:pt idx="1096">
                  <c:v>103.42041188342728</c:v>
                </c:pt>
                <c:pt idx="1097">
                  <c:v>102.66997052340147</c:v>
                </c:pt>
                <c:pt idx="1098">
                  <c:v>102.70944414605746</c:v>
                </c:pt>
                <c:pt idx="1099">
                  <c:v>102.29949765426225</c:v>
                </c:pt>
                <c:pt idx="1100">
                  <c:v>102.75873506282295</c:v>
                </c:pt>
                <c:pt idx="1101">
                  <c:v>102.00673173236424</c:v>
                </c:pt>
                <c:pt idx="1102">
                  <c:v>101.99810552899031</c:v>
                </c:pt>
                <c:pt idx="1103">
                  <c:v>103.48904197620648</c:v>
                </c:pt>
                <c:pt idx="1104">
                  <c:v>103.95892853527238</c:v>
                </c:pt>
                <c:pt idx="1105">
                  <c:v>104.64604355233196</c:v>
                </c:pt>
                <c:pt idx="1106">
                  <c:v>104.04583831570757</c:v>
                </c:pt>
                <c:pt idx="1107">
                  <c:v>104.38079684596813</c:v>
                </c:pt>
                <c:pt idx="1108">
                  <c:v>104.63299320734488</c:v>
                </c:pt>
                <c:pt idx="1109">
                  <c:v>104.8874259871106</c:v>
                </c:pt>
                <c:pt idx="1110">
                  <c:v>105.4711580005128</c:v>
                </c:pt>
                <c:pt idx="1111">
                  <c:v>105.4335535231082</c:v>
                </c:pt>
                <c:pt idx="1112">
                  <c:v>105.62023232405672</c:v>
                </c:pt>
                <c:pt idx="1113">
                  <c:v>105.60098716808739</c:v>
                </c:pt>
                <c:pt idx="1114">
                  <c:v>105.64464877162372</c:v>
                </c:pt>
                <c:pt idx="1115">
                  <c:v>106.44806581822604</c:v>
                </c:pt>
                <c:pt idx="1116">
                  <c:v>106.31159513325461</c:v>
                </c:pt>
                <c:pt idx="1117">
                  <c:v>106.05509222338038</c:v>
                </c:pt>
                <c:pt idx="1118">
                  <c:v>105.61330508902601</c:v>
                </c:pt>
                <c:pt idx="1119">
                  <c:v>106.73250585417381</c:v>
                </c:pt>
                <c:pt idx="1120">
                  <c:v>106.4300566681105</c:v>
                </c:pt>
                <c:pt idx="1121">
                  <c:v>106.68817396951366</c:v>
                </c:pt>
                <c:pt idx="1122">
                  <c:v>106.55013098062742</c:v>
                </c:pt>
                <c:pt idx="1123">
                  <c:v>106.3858468427252</c:v>
                </c:pt>
                <c:pt idx="1124">
                  <c:v>106.60505205214577</c:v>
                </c:pt>
                <c:pt idx="1125">
                  <c:v>106.16239764831091</c:v>
                </c:pt>
                <c:pt idx="1126">
                  <c:v>107.25594859730347</c:v>
                </c:pt>
                <c:pt idx="1127">
                  <c:v>107.20548142359922</c:v>
                </c:pt>
                <c:pt idx="1128">
                  <c:v>107.10281011399073</c:v>
                </c:pt>
                <c:pt idx="1129">
                  <c:v>107.43066830946775</c:v>
                </c:pt>
                <c:pt idx="1130">
                  <c:v>107.43850558948002</c:v>
                </c:pt>
                <c:pt idx="1131">
                  <c:v>107.64364295512773</c:v>
                </c:pt>
                <c:pt idx="1132">
                  <c:v>108.02691126676858</c:v>
                </c:pt>
                <c:pt idx="1133">
                  <c:v>107.83022361320164</c:v>
                </c:pt>
                <c:pt idx="1134">
                  <c:v>107.93954110589613</c:v>
                </c:pt>
                <c:pt idx="1135">
                  <c:v>108.33048342398344</c:v>
                </c:pt>
                <c:pt idx="1136">
                  <c:v>107.4704854526634</c:v>
                </c:pt>
                <c:pt idx="1137">
                  <c:v>108.03599829960747</c:v>
                </c:pt>
                <c:pt idx="1138">
                  <c:v>108.13182285652464</c:v>
                </c:pt>
                <c:pt idx="1139">
                  <c:v>108.26100275775632</c:v>
                </c:pt>
                <c:pt idx="1140">
                  <c:v>108.3772176151644</c:v>
                </c:pt>
                <c:pt idx="1141">
                  <c:v>108.37813171257854</c:v>
                </c:pt>
                <c:pt idx="1142">
                  <c:v>108.2323344047266</c:v>
                </c:pt>
                <c:pt idx="1143">
                  <c:v>108.29320336525699</c:v>
                </c:pt>
                <c:pt idx="1144">
                  <c:v>108.26941834365249</c:v>
                </c:pt>
                <c:pt idx="1145">
                  <c:v>108.3206588776623</c:v>
                </c:pt>
                <c:pt idx="1146">
                  <c:v>108.74090696319469</c:v>
                </c:pt>
                <c:pt idx="1147">
                  <c:v>108.94088374778562</c:v>
                </c:pt>
                <c:pt idx="1148">
                  <c:v>109.99122533455557</c:v>
                </c:pt>
                <c:pt idx="1149">
                  <c:v>110.20696328738038</c:v>
                </c:pt>
                <c:pt idx="1150">
                  <c:v>110.09009005470624</c:v>
                </c:pt>
                <c:pt idx="1151">
                  <c:v>109.64684975753116</c:v>
                </c:pt>
                <c:pt idx="1152">
                  <c:v>109.88676436615671</c:v>
                </c:pt>
                <c:pt idx="1153">
                  <c:v>109.65368407151195</c:v>
                </c:pt>
                <c:pt idx="1154">
                  <c:v>109.0062652419947</c:v>
                </c:pt>
                <c:pt idx="1155">
                  <c:v>108.93990941305175</c:v>
                </c:pt>
                <c:pt idx="1156">
                  <c:v>108.05720282081325</c:v>
                </c:pt>
                <c:pt idx="1157">
                  <c:v>108.06866568412315</c:v>
                </c:pt>
                <c:pt idx="1158">
                  <c:v>108.89848896825193</c:v>
                </c:pt>
                <c:pt idx="1159">
                  <c:v>109.03680858589036</c:v>
                </c:pt>
                <c:pt idx="1160">
                  <c:v>108.95092277482148</c:v>
                </c:pt>
                <c:pt idx="1161">
                  <c:v>108.1727928540152</c:v>
                </c:pt>
                <c:pt idx="1162">
                  <c:v>108.97992260005695</c:v>
                </c:pt>
                <c:pt idx="1163">
                  <c:v>108.57295873003964</c:v>
                </c:pt>
                <c:pt idx="1164">
                  <c:v>108.59575512718143</c:v>
                </c:pt>
                <c:pt idx="1165">
                  <c:v>108.25147587568306</c:v>
                </c:pt>
                <c:pt idx="1166">
                  <c:v>109.72973404857439</c:v>
                </c:pt>
                <c:pt idx="1167">
                  <c:v>112.6758640121206</c:v>
                </c:pt>
                <c:pt idx="1168">
                  <c:v>112.82252813316494</c:v>
                </c:pt>
                <c:pt idx="1169">
                  <c:v>112.71597771624238</c:v>
                </c:pt>
                <c:pt idx="1170">
                  <c:v>112.74500637490273</c:v>
                </c:pt>
                <c:pt idx="1171">
                  <c:v>112.95368252561909</c:v>
                </c:pt>
                <c:pt idx="1172">
                  <c:v>113.17071015023275</c:v>
                </c:pt>
                <c:pt idx="1173">
                  <c:v>113.51031406552542</c:v>
                </c:pt>
                <c:pt idx="1174">
                  <c:v>113.51305939721036</c:v>
                </c:pt>
                <c:pt idx="1175">
                  <c:v>113.56476189350964</c:v>
                </c:pt>
                <c:pt idx="1176">
                  <c:v>113.27389619483186</c:v>
                </c:pt>
                <c:pt idx="1177">
                  <c:v>113.62420041628394</c:v>
                </c:pt>
                <c:pt idx="1178">
                  <c:v>113.67173924513689</c:v>
                </c:pt>
                <c:pt idx="1179">
                  <c:v>113.81658067796045</c:v>
                </c:pt>
                <c:pt idx="1180">
                  <c:v>114.15974257884019</c:v>
                </c:pt>
                <c:pt idx="1181">
                  <c:v>114.35264761173288</c:v>
                </c:pt>
                <c:pt idx="1182">
                  <c:v>114.25862852250934</c:v>
                </c:pt>
                <c:pt idx="1183">
                  <c:v>114.29363060879496</c:v>
                </c:pt>
                <c:pt idx="1184">
                  <c:v>114.33771064668262</c:v>
                </c:pt>
                <c:pt idx="1185">
                  <c:v>114.42671810832535</c:v>
                </c:pt>
                <c:pt idx="1186">
                  <c:v>114.32564792899788</c:v>
                </c:pt>
                <c:pt idx="1187">
                  <c:v>114.29998812542946</c:v>
                </c:pt>
                <c:pt idx="1188">
                  <c:v>114.94663137430229</c:v>
                </c:pt>
                <c:pt idx="1189">
                  <c:v>114.87116734323186</c:v>
                </c:pt>
                <c:pt idx="1190">
                  <c:v>115.15875222132311</c:v>
                </c:pt>
                <c:pt idx="1191">
                  <c:v>115.03651737982732</c:v>
                </c:pt>
                <c:pt idx="1192">
                  <c:v>114.93040762756348</c:v>
                </c:pt>
                <c:pt idx="1193">
                  <c:v>114.8513167060738</c:v>
                </c:pt>
                <c:pt idx="1194">
                  <c:v>115.06523548064351</c:v>
                </c:pt>
                <c:pt idx="1195">
                  <c:v>115.58346601518221</c:v>
                </c:pt>
                <c:pt idx="1196">
                  <c:v>115.4845968337017</c:v>
                </c:pt>
                <c:pt idx="1197">
                  <c:v>115.91099817740438</c:v>
                </c:pt>
                <c:pt idx="1198">
                  <c:v>115.99076743011686</c:v>
                </c:pt>
                <c:pt idx="1199">
                  <c:v>115.40410504137594</c:v>
                </c:pt>
                <c:pt idx="1200">
                  <c:v>115.32938477241662</c:v>
                </c:pt>
                <c:pt idx="1201">
                  <c:v>115.46856267336906</c:v>
                </c:pt>
                <c:pt idx="1202">
                  <c:v>115.80551655750961</c:v>
                </c:pt>
                <c:pt idx="1203">
                  <c:v>115.8207678185604</c:v>
                </c:pt>
                <c:pt idx="1204">
                  <c:v>116.0652043745058</c:v>
                </c:pt>
                <c:pt idx="1205">
                  <c:v>116.19544574819366</c:v>
                </c:pt>
                <c:pt idx="1206">
                  <c:v>115.15825784272016</c:v>
                </c:pt>
                <c:pt idx="1207">
                  <c:v>115.41254226437248</c:v>
                </c:pt>
                <c:pt idx="1208">
                  <c:v>116.36117658008315</c:v>
                </c:pt>
                <c:pt idx="1209">
                  <c:v>116.18797776592031</c:v>
                </c:pt>
                <c:pt idx="1210">
                  <c:v>116.3247449766982</c:v>
                </c:pt>
                <c:pt idx="1211">
                  <c:v>116.4924996582689</c:v>
                </c:pt>
                <c:pt idx="1212">
                  <c:v>116.85596386417973</c:v>
                </c:pt>
                <c:pt idx="1213">
                  <c:v>117.10047503529918</c:v>
                </c:pt>
                <c:pt idx="1214">
                  <c:v>116.93736521366641</c:v>
                </c:pt>
                <c:pt idx="1215">
                  <c:v>116.98118751075678</c:v>
                </c:pt>
                <c:pt idx="1216">
                  <c:v>117.30331564933256</c:v>
                </c:pt>
                <c:pt idx="1217">
                  <c:v>117.44319884935075</c:v>
                </c:pt>
                <c:pt idx="1218">
                  <c:v>117.25323690813516</c:v>
                </c:pt>
                <c:pt idx="1219">
                  <c:v>117.62009197651062</c:v>
                </c:pt>
                <c:pt idx="1220">
                  <c:v>117.80096877923133</c:v>
                </c:pt>
                <c:pt idx="1221">
                  <c:v>117.91433780985972</c:v>
                </c:pt>
                <c:pt idx="1222">
                  <c:v>116.70403472447025</c:v>
                </c:pt>
                <c:pt idx="1223">
                  <c:v>116.34738583163411</c:v>
                </c:pt>
                <c:pt idx="1224">
                  <c:v>116.28954140698168</c:v>
                </c:pt>
                <c:pt idx="1225">
                  <c:v>116.90299745192013</c:v>
                </c:pt>
                <c:pt idx="1226">
                  <c:v>117.85531659537099</c:v>
                </c:pt>
                <c:pt idx="1227">
                  <c:v>115.72733584426062</c:v>
                </c:pt>
                <c:pt idx="1228">
                  <c:v>115.80361906900735</c:v>
                </c:pt>
                <c:pt idx="1229">
                  <c:v>116.76672074440896</c:v>
                </c:pt>
                <c:pt idx="1230">
                  <c:v>116.07142927185745</c:v>
                </c:pt>
                <c:pt idx="1231">
                  <c:v>115.74783468716208</c:v>
                </c:pt>
                <c:pt idx="1232">
                  <c:v>116.24723374759361</c:v>
                </c:pt>
                <c:pt idx="1233">
                  <c:v>116.15120210344959</c:v>
                </c:pt>
                <c:pt idx="1234">
                  <c:v>115.05526172209288</c:v>
                </c:pt>
                <c:pt idx="1235">
                  <c:v>115.46258494173894</c:v>
                </c:pt>
                <c:pt idx="1236">
                  <c:v>115.11335019337574</c:v>
                </c:pt>
                <c:pt idx="1237">
                  <c:v>114.46869625250615</c:v>
                </c:pt>
                <c:pt idx="1238">
                  <c:v>113.35291512050755</c:v>
                </c:pt>
                <c:pt idx="1239">
                  <c:v>114.11228080801524</c:v>
                </c:pt>
                <c:pt idx="1240">
                  <c:v>114.35775677558578</c:v>
                </c:pt>
                <c:pt idx="1241">
                  <c:v>115.21508235991807</c:v>
                </c:pt>
                <c:pt idx="1242">
                  <c:v>115.01054226777278</c:v>
                </c:pt>
                <c:pt idx="1243">
                  <c:v>114.97226607954902</c:v>
                </c:pt>
                <c:pt idx="1244">
                  <c:v>115.29592508411466</c:v>
                </c:pt>
                <c:pt idx="1245">
                  <c:v>115.16209806478776</c:v>
                </c:pt>
                <c:pt idx="1246">
                  <c:v>115.72834002255171</c:v>
                </c:pt>
                <c:pt idx="1247">
                  <c:v>115.67249687558942</c:v>
                </c:pt>
                <c:pt idx="1248">
                  <c:v>115.61898031851383</c:v>
                </c:pt>
                <c:pt idx="1249">
                  <c:v>115.49600648128919</c:v>
                </c:pt>
                <c:pt idx="1250">
                  <c:v>115.57113382228437</c:v>
                </c:pt>
                <c:pt idx="1251">
                  <c:v>115.57407552050898</c:v>
                </c:pt>
                <c:pt idx="1252">
                  <c:v>115.54667792667091</c:v>
                </c:pt>
                <c:pt idx="1253">
                  <c:v>115.67283478670207</c:v>
                </c:pt>
                <c:pt idx="1254">
                  <c:v>115.58492433302155</c:v>
                </c:pt>
                <c:pt idx="1255">
                  <c:v>115.35349618627411</c:v>
                </c:pt>
                <c:pt idx="1256">
                  <c:v>115.19238673836794</c:v>
                </c:pt>
                <c:pt idx="1257">
                  <c:v>114.74447529392825</c:v>
                </c:pt>
                <c:pt idx="1258">
                  <c:v>114.75538953527766</c:v>
                </c:pt>
                <c:pt idx="1259">
                  <c:v>114.76019134477731</c:v>
                </c:pt>
                <c:pt idx="1260">
                  <c:v>114.9854304386439</c:v>
                </c:pt>
                <c:pt idx="1261">
                  <c:v>114.35198590717496</c:v>
                </c:pt>
                <c:pt idx="1262">
                  <c:v>114.6796721533193</c:v>
                </c:pt>
                <c:pt idx="1263">
                  <c:v>115.45461744746379</c:v>
                </c:pt>
                <c:pt idx="1264">
                  <c:v>115.75923101615241</c:v>
                </c:pt>
                <c:pt idx="1265">
                  <c:v>115.66704810551205</c:v>
                </c:pt>
                <c:pt idx="1266">
                  <c:v>116.18636954598578</c:v>
                </c:pt>
                <c:pt idx="1267">
                  <c:v>116.54944117078064</c:v>
                </c:pt>
                <c:pt idx="1268">
                  <c:v>116.75663482790821</c:v>
                </c:pt>
                <c:pt idx="1269">
                  <c:v>116.89094340539975</c:v>
                </c:pt>
                <c:pt idx="1270">
                  <c:v>116.78850599487222</c:v>
                </c:pt>
                <c:pt idx="1271">
                  <c:v>116.59117304076618</c:v>
                </c:pt>
                <c:pt idx="1272">
                  <c:v>116.19154090012283</c:v>
                </c:pt>
                <c:pt idx="1273">
                  <c:v>115.6646205583334</c:v>
                </c:pt>
                <c:pt idx="1274">
                  <c:v>115.96798055732057</c:v>
                </c:pt>
                <c:pt idx="1275">
                  <c:v>116.67960680426378</c:v>
                </c:pt>
                <c:pt idx="1276">
                  <c:v>117.1506447403557</c:v>
                </c:pt>
                <c:pt idx="1277">
                  <c:v>116.48417193485946</c:v>
                </c:pt>
                <c:pt idx="1278">
                  <c:v>116.76928944261314</c:v>
                </c:pt>
                <c:pt idx="1279">
                  <c:v>116.29828144604782</c:v>
                </c:pt>
                <c:pt idx="1280">
                  <c:v>115.93750353355084</c:v>
                </c:pt>
                <c:pt idx="1281">
                  <c:v>115.91613811096461</c:v>
                </c:pt>
                <c:pt idx="1282">
                  <c:v>116.42638612669785</c:v>
                </c:pt>
                <c:pt idx="1283">
                  <c:v>116.55317441603233</c:v>
                </c:pt>
                <c:pt idx="1284">
                  <c:v>116.10512652539612</c:v>
                </c:pt>
                <c:pt idx="1285">
                  <c:v>115.41281682377762</c:v>
                </c:pt>
                <c:pt idx="1286">
                  <c:v>115.36507018830774</c:v>
                </c:pt>
                <c:pt idx="1287">
                  <c:v>115.54868600108655</c:v>
                </c:pt>
                <c:pt idx="1288">
                  <c:v>115.77707594592653</c:v>
                </c:pt>
                <c:pt idx="1289">
                  <c:v>116.01331291718959</c:v>
                </c:pt>
                <c:pt idx="1290">
                  <c:v>116.62776251231107</c:v>
                </c:pt>
                <c:pt idx="1291">
                  <c:v>115.29909728743657</c:v>
                </c:pt>
                <c:pt idx="1292">
                  <c:v>115.22849078839401</c:v>
                </c:pt>
                <c:pt idx="1293">
                  <c:v>114.66768065530505</c:v>
                </c:pt>
                <c:pt idx="1294">
                  <c:v>114.05075625662806</c:v>
                </c:pt>
                <c:pt idx="1295">
                  <c:v>114.00950704184963</c:v>
                </c:pt>
                <c:pt idx="1296">
                  <c:v>113.59210347540036</c:v>
                </c:pt>
                <c:pt idx="1297">
                  <c:v>114.58299881733723</c:v>
                </c:pt>
                <c:pt idx="1298">
                  <c:v>113.73399207708343</c:v>
                </c:pt>
                <c:pt idx="1299">
                  <c:v>113.66187253266769</c:v>
                </c:pt>
                <c:pt idx="1300">
                  <c:v>114.72151831778022</c:v>
                </c:pt>
                <c:pt idx="1301">
                  <c:v>113.70483075613616</c:v>
                </c:pt>
                <c:pt idx="1302">
                  <c:v>113.7881737872118</c:v>
                </c:pt>
                <c:pt idx="1303">
                  <c:v>113.96141790652746</c:v>
                </c:pt>
                <c:pt idx="1304">
                  <c:v>114.26884037087619</c:v>
                </c:pt>
                <c:pt idx="1305">
                  <c:v>115.03578133459699</c:v>
                </c:pt>
                <c:pt idx="1306">
                  <c:v>114.58581624295373</c:v>
                </c:pt>
                <c:pt idx="1307">
                  <c:v>114.40736045236254</c:v>
                </c:pt>
                <c:pt idx="1308">
                  <c:v>113.6902863561818</c:v>
                </c:pt>
                <c:pt idx="1309">
                  <c:v>114.19613268396799</c:v>
                </c:pt>
                <c:pt idx="1310">
                  <c:v>114.91892636688156</c:v>
                </c:pt>
                <c:pt idx="1311">
                  <c:v>115.42260625634853</c:v>
                </c:pt>
                <c:pt idx="1312">
                  <c:v>115.95816457048893</c:v>
                </c:pt>
                <c:pt idx="1313">
                  <c:v>116.74498345200944</c:v>
                </c:pt>
                <c:pt idx="1314">
                  <c:v>116.66698905026158</c:v>
                </c:pt>
                <c:pt idx="1315">
                  <c:v>116.72541497983944</c:v>
                </c:pt>
                <c:pt idx="1316">
                  <c:v>117.33552975176555</c:v>
                </c:pt>
                <c:pt idx="1317">
                  <c:v>116.92713322708308</c:v>
                </c:pt>
                <c:pt idx="1318">
                  <c:v>115.86949867999631</c:v>
                </c:pt>
                <c:pt idx="1319">
                  <c:v>115.6126431648814</c:v>
                </c:pt>
                <c:pt idx="1320">
                  <c:v>115.49436536868328</c:v>
                </c:pt>
                <c:pt idx="1321">
                  <c:v>115.0752352898869</c:v>
                </c:pt>
                <c:pt idx="1322">
                  <c:v>115.36366686423642</c:v>
                </c:pt>
                <c:pt idx="1323">
                  <c:v>114.89472312137954</c:v>
                </c:pt>
                <c:pt idx="1324">
                  <c:v>115.8316136162526</c:v>
                </c:pt>
                <c:pt idx="1325">
                  <c:v>116.03363895825711</c:v>
                </c:pt>
                <c:pt idx="1326">
                  <c:v>117.12415456369503</c:v>
                </c:pt>
                <c:pt idx="1327">
                  <c:v>117.1452454556283</c:v>
                </c:pt>
                <c:pt idx="1328">
                  <c:v>116.79792211497717</c:v>
                </c:pt>
                <c:pt idx="1329">
                  <c:v>116.91009414993755</c:v>
                </c:pt>
                <c:pt idx="1330">
                  <c:v>115.69071758109371</c:v>
                </c:pt>
                <c:pt idx="1331">
                  <c:v>115.47177553700723</c:v>
                </c:pt>
                <c:pt idx="1332">
                  <c:v>115.09934894273063</c:v>
                </c:pt>
                <c:pt idx="1333">
                  <c:v>114.86154037053491</c:v>
                </c:pt>
                <c:pt idx="1334">
                  <c:v>113.39379670618889</c:v>
                </c:pt>
                <c:pt idx="1335">
                  <c:v>113.67817411589421</c:v>
                </c:pt>
                <c:pt idx="1336">
                  <c:v>110.96010456562803</c:v>
                </c:pt>
                <c:pt idx="1337">
                  <c:v>110.92820539635028</c:v>
                </c:pt>
                <c:pt idx="1338">
                  <c:v>107.23238665029969</c:v>
                </c:pt>
                <c:pt idx="1339">
                  <c:v>109.77415802200186</c:v>
                </c:pt>
                <c:pt idx="1340">
                  <c:v>107.35076238999284</c:v>
                </c:pt>
                <c:pt idx="1341">
                  <c:v>109.83539672419143</c:v>
                </c:pt>
                <c:pt idx="1342">
                  <c:v>110.12435343630607</c:v>
                </c:pt>
                <c:pt idx="1343">
                  <c:v>111.32386540016978</c:v>
                </c:pt>
                <c:pt idx="1344">
                  <c:v>110.78179824264086</c:v>
                </c:pt>
                <c:pt idx="1345">
                  <c:v>110.83427461341714</c:v>
                </c:pt>
                <c:pt idx="1346">
                  <c:v>108.36301814070259</c:v>
                </c:pt>
                <c:pt idx="1347">
                  <c:v>107.5498086239495</c:v>
                </c:pt>
                <c:pt idx="1348">
                  <c:v>107.56368873596294</c:v>
                </c:pt>
                <c:pt idx="1349">
                  <c:v>109.40759119676477</c:v>
                </c:pt>
                <c:pt idx="1350">
                  <c:v>110.12530348899631</c:v>
                </c:pt>
                <c:pt idx="1351">
                  <c:v>109.26822264110514</c:v>
                </c:pt>
                <c:pt idx="1352">
                  <c:v>110.09437700673979</c:v>
                </c:pt>
                <c:pt idx="1353">
                  <c:v>111.6511159882083</c:v>
                </c:pt>
                <c:pt idx="1354">
                  <c:v>111.78213590813364</c:v>
                </c:pt>
                <c:pt idx="1355">
                  <c:v>112.05723210218255</c:v>
                </c:pt>
                <c:pt idx="1356">
                  <c:v>111.39209080620073</c:v>
                </c:pt>
                <c:pt idx="1357">
                  <c:v>109.9839901581507</c:v>
                </c:pt>
                <c:pt idx="1358">
                  <c:v>109.57505286244441</c:v>
                </c:pt>
                <c:pt idx="1359">
                  <c:v>111.14452149746741</c:v>
                </c:pt>
                <c:pt idx="1360">
                  <c:v>110.55477732773566</c:v>
                </c:pt>
                <c:pt idx="1361">
                  <c:v>109.07856946958178</c:v>
                </c:pt>
                <c:pt idx="1362">
                  <c:v>109.4584728244311</c:v>
                </c:pt>
                <c:pt idx="1363">
                  <c:v>109.9576080563217</c:v>
                </c:pt>
                <c:pt idx="1364">
                  <c:v>110.69870885324312</c:v>
                </c:pt>
                <c:pt idx="1365">
                  <c:v>111.65000551082622</c:v>
                </c:pt>
                <c:pt idx="1366">
                  <c:v>111.9685807595731</c:v>
                </c:pt>
                <c:pt idx="1367">
                  <c:v>111.41979189983752</c:v>
                </c:pt>
                <c:pt idx="1368">
                  <c:v>111.2718450050716</c:v>
                </c:pt>
                <c:pt idx="1369">
                  <c:v>110.06002366528213</c:v>
                </c:pt>
                <c:pt idx="1370">
                  <c:v>108.30549279331683</c:v>
                </c:pt>
                <c:pt idx="1371">
                  <c:v>108.62029499112049</c:v>
                </c:pt>
                <c:pt idx="1372">
                  <c:v>109.88768947347511</c:v>
                </c:pt>
                <c:pt idx="1373">
                  <c:v>110.47494773056067</c:v>
                </c:pt>
                <c:pt idx="1374">
                  <c:v>109.33201917604755</c:v>
                </c:pt>
                <c:pt idx="1375">
                  <c:v>109.77559338551723</c:v>
                </c:pt>
                <c:pt idx="1376">
                  <c:v>108.40481749086354</c:v>
                </c:pt>
                <c:pt idx="1377">
                  <c:v>106.86270621696396</c:v>
                </c:pt>
                <c:pt idx="1378">
                  <c:v>108.06429555572078</c:v>
                </c:pt>
                <c:pt idx="1379">
                  <c:v>109.02961031828087</c:v>
                </c:pt>
                <c:pt idx="1380">
                  <c:v>110.02743381944117</c:v>
                </c:pt>
                <c:pt idx="1381">
                  <c:v>109.57834032534996</c:v>
                </c:pt>
                <c:pt idx="1382">
                  <c:v>111.44801731937338</c:v>
                </c:pt>
                <c:pt idx="1383">
                  <c:v>111.47833023991736</c:v>
                </c:pt>
                <c:pt idx="1384">
                  <c:v>112.02428070878892</c:v>
                </c:pt>
                <c:pt idx="1385">
                  <c:v>111.85771737569944</c:v>
                </c:pt>
                <c:pt idx="1386">
                  <c:v>112.82977902412989</c:v>
                </c:pt>
                <c:pt idx="1387">
                  <c:v>111.73702789376176</c:v>
                </c:pt>
                <c:pt idx="1388">
                  <c:v>112.87779031567399</c:v>
                </c:pt>
                <c:pt idx="1389">
                  <c:v>112.16388697552932</c:v>
                </c:pt>
                <c:pt idx="1390">
                  <c:v>112.45267341930267</c:v>
                </c:pt>
                <c:pt idx="1391">
                  <c:v>113.61583828486087</c:v>
                </c:pt>
                <c:pt idx="1392">
                  <c:v>114.34712698353268</c:v>
                </c:pt>
                <c:pt idx="1393">
                  <c:v>113.31238599619007</c:v>
                </c:pt>
                <c:pt idx="1394">
                  <c:v>113.89288309074509</c:v>
                </c:pt>
                <c:pt idx="1395">
                  <c:v>116.02654699132036</c:v>
                </c:pt>
                <c:pt idx="1396">
                  <c:v>116.03210677307054</c:v>
                </c:pt>
                <c:pt idx="1397">
                  <c:v>114.57992555524629</c:v>
                </c:pt>
                <c:pt idx="1398">
                  <c:v>114.28759106761981</c:v>
                </c:pt>
                <c:pt idx="1399">
                  <c:v>115.1899183124825</c:v>
                </c:pt>
                <c:pt idx="1400">
                  <c:v>116.4953462162436</c:v>
                </c:pt>
                <c:pt idx="1401">
                  <c:v>116.05506831395263</c:v>
                </c:pt>
                <c:pt idx="1402">
                  <c:v>116.39114065702135</c:v>
                </c:pt>
                <c:pt idx="1403">
                  <c:v>117.04041435789965</c:v>
                </c:pt>
                <c:pt idx="1404">
                  <c:v>114.87735833292338</c:v>
                </c:pt>
                <c:pt idx="1405">
                  <c:v>115.3722534695053</c:v>
                </c:pt>
                <c:pt idx="1406">
                  <c:v>116.49648357696088</c:v>
                </c:pt>
                <c:pt idx="1407">
                  <c:v>115.94020215243508</c:v>
                </c:pt>
                <c:pt idx="1408">
                  <c:v>116.21945226786241</c:v>
                </c:pt>
                <c:pt idx="1409">
                  <c:v>115.25389047697257</c:v>
                </c:pt>
                <c:pt idx="1410">
                  <c:v>114.2857618968368</c:v>
                </c:pt>
                <c:pt idx="1411">
                  <c:v>114.26320790766192</c:v>
                </c:pt>
                <c:pt idx="1412">
                  <c:v>113.19779149534477</c:v>
                </c:pt>
                <c:pt idx="1413">
                  <c:v>112.96342164422111</c:v>
                </c:pt>
                <c:pt idx="1414">
                  <c:v>111.71544606336491</c:v>
                </c:pt>
                <c:pt idx="1415">
                  <c:v>111.56543952529965</c:v>
                </c:pt>
                <c:pt idx="1416">
                  <c:v>113.19654980308243</c:v>
                </c:pt>
                <c:pt idx="1417">
                  <c:v>113.32184387523041</c:v>
                </c:pt>
                <c:pt idx="1418">
                  <c:v>115.77612807164299</c:v>
                </c:pt>
                <c:pt idx="1419">
                  <c:v>115.66564049192492</c:v>
                </c:pt>
                <c:pt idx="1420">
                  <c:v>115.65170016982927</c:v>
                </c:pt>
                <c:pt idx="1421">
                  <c:v>116.24655894846983</c:v>
                </c:pt>
                <c:pt idx="1422">
                  <c:v>116.31082801525095</c:v>
                </c:pt>
                <c:pt idx="1423">
                  <c:v>116.42820447363245</c:v>
                </c:pt>
                <c:pt idx="1424">
                  <c:v>115.19745454648394</c:v>
                </c:pt>
                <c:pt idx="1425">
                  <c:v>115.88185615037597</c:v>
                </c:pt>
                <c:pt idx="1426">
                  <c:v>115.00252536438208</c:v>
                </c:pt>
                <c:pt idx="1427">
                  <c:v>114.48800325950918</c:v>
                </c:pt>
                <c:pt idx="1428">
                  <c:v>113.83837890286466</c:v>
                </c:pt>
                <c:pt idx="1429">
                  <c:v>114.02297101600369</c:v>
                </c:pt>
                <c:pt idx="1430">
                  <c:v>114.20632689372221</c:v>
                </c:pt>
                <c:pt idx="1431">
                  <c:v>113.53634815462721</c:v>
                </c:pt>
                <c:pt idx="1432">
                  <c:v>115.22947949247882</c:v>
                </c:pt>
                <c:pt idx="1433">
                  <c:v>115.34180340304506</c:v>
                </c:pt>
                <c:pt idx="1434">
                  <c:v>115.81848374065453</c:v>
                </c:pt>
                <c:pt idx="1435">
                  <c:v>116.341698820711</c:v>
                </c:pt>
                <c:pt idx="1436">
                  <c:v>116.34629610753819</c:v>
                </c:pt>
                <c:pt idx="1437">
                  <c:v>115.62041319993446</c:v>
                </c:pt>
                <c:pt idx="1438">
                  <c:v>116.23939191725111</c:v>
                </c:pt>
                <c:pt idx="1439">
                  <c:v>115.98998276134245</c:v>
                </c:pt>
                <c:pt idx="1440">
                  <c:v>116.88739253572847</c:v>
                </c:pt>
                <c:pt idx="1441">
                  <c:v>116.89837595632287</c:v>
                </c:pt>
                <c:pt idx="1442">
                  <c:v>117.07043337963603</c:v>
                </c:pt>
                <c:pt idx="1443">
                  <c:v>116.65226368839558</c:v>
                </c:pt>
                <c:pt idx="1444">
                  <c:v>116.67781569472915</c:v>
                </c:pt>
                <c:pt idx="1445">
                  <c:v>116.91091007359432</c:v>
                </c:pt>
                <c:pt idx="1446">
                  <c:v>117.26536057461608</c:v>
                </c:pt>
                <c:pt idx="1447">
                  <c:v>116.9815653886178</c:v>
                </c:pt>
                <c:pt idx="1448">
                  <c:v>116.87535149248814</c:v>
                </c:pt>
                <c:pt idx="1449">
                  <c:v>117.0039934739641</c:v>
                </c:pt>
                <c:pt idx="1450">
                  <c:v>117.3516389644772</c:v>
                </c:pt>
                <c:pt idx="1451">
                  <c:v>117.44127546006045</c:v>
                </c:pt>
                <c:pt idx="1452">
                  <c:v>117.14335440014841</c:v>
                </c:pt>
                <c:pt idx="1453">
                  <c:v>117.17096196591955</c:v>
                </c:pt>
                <c:pt idx="1454">
                  <c:v>117.00552751872573</c:v>
                </c:pt>
                <c:pt idx="1455">
                  <c:v>116.95254078513199</c:v>
                </c:pt>
                <c:pt idx="1456">
                  <c:v>116.57030441508343</c:v>
                </c:pt>
                <c:pt idx="1457">
                  <c:v>116.11785570156972</c:v>
                </c:pt>
                <c:pt idx="1458">
                  <c:v>116.46611327674758</c:v>
                </c:pt>
                <c:pt idx="1459">
                  <c:v>116.6175628459283</c:v>
                </c:pt>
                <c:pt idx="1460">
                  <c:v>116.19712339145083</c:v>
                </c:pt>
                <c:pt idx="1461">
                  <c:v>115.89225105795164</c:v>
                </c:pt>
                <c:pt idx="1462">
                  <c:v>116.73857556739004</c:v>
                </c:pt>
                <c:pt idx="1463">
                  <c:v>116.69158391968513</c:v>
                </c:pt>
                <c:pt idx="1464">
                  <c:v>116.80963570319869</c:v>
                </c:pt>
                <c:pt idx="1465">
                  <c:v>116.93580623877507</c:v>
                </c:pt>
                <c:pt idx="1466">
                  <c:v>117.76267543295525</c:v>
                </c:pt>
                <c:pt idx="1467">
                  <c:v>117.80207621195194</c:v>
                </c:pt>
                <c:pt idx="1468">
                  <c:v>119.5747244965508</c:v>
                </c:pt>
                <c:pt idx="1469">
                  <c:v>118.97987279787057</c:v>
                </c:pt>
                <c:pt idx="1470">
                  <c:v>117.95588577158455</c:v>
                </c:pt>
                <c:pt idx="1471">
                  <c:v>120.07153533122019</c:v>
                </c:pt>
                <c:pt idx="1472">
                  <c:v>120.43921112482303</c:v>
                </c:pt>
                <c:pt idx="1473">
                  <c:v>120.46299301827935</c:v>
                </c:pt>
                <c:pt idx="1474">
                  <c:v>120.55638195135954</c:v>
                </c:pt>
                <c:pt idx="1475">
                  <c:v>120.9956659229951</c:v>
                </c:pt>
                <c:pt idx="1476">
                  <c:v>121.0808783027633</c:v>
                </c:pt>
                <c:pt idx="1477">
                  <c:v>121.41331712614932</c:v>
                </c:pt>
                <c:pt idx="1478">
                  <c:v>121.24055733025538</c:v>
                </c:pt>
                <c:pt idx="1479">
                  <c:v>120.98013744440688</c:v>
                </c:pt>
                <c:pt idx="1480">
                  <c:v>120.8575065713196</c:v>
                </c:pt>
                <c:pt idx="1481">
                  <c:v>120.66136786158879</c:v>
                </c:pt>
                <c:pt idx="1482">
                  <c:v>120.23250469306222</c:v>
                </c:pt>
                <c:pt idx="1483">
                  <c:v>119.28699386592059</c:v>
                </c:pt>
                <c:pt idx="1484">
                  <c:v>119.12813612199997</c:v>
                </c:pt>
                <c:pt idx="1485">
                  <c:v>120.19454099378964</c:v>
                </c:pt>
                <c:pt idx="1486">
                  <c:v>120.37480344298503</c:v>
                </c:pt>
                <c:pt idx="1487">
                  <c:v>120.36232690336628</c:v>
                </c:pt>
                <c:pt idx="1488">
                  <c:v>121.45350525300695</c:v>
                </c:pt>
                <c:pt idx="1489">
                  <c:v>121.3808567506349</c:v>
                </c:pt>
                <c:pt idx="1490">
                  <c:v>121.7430109550147</c:v>
                </c:pt>
                <c:pt idx="1491">
                  <c:v>121.81114746121723</c:v>
                </c:pt>
                <c:pt idx="1492">
                  <c:v>122.05317876897685</c:v>
                </c:pt>
                <c:pt idx="1493">
                  <c:v>121.87006653411507</c:v>
                </c:pt>
                <c:pt idx="1494">
                  <c:v>121.75604529109302</c:v>
                </c:pt>
                <c:pt idx="1495">
                  <c:v>121.31732464375327</c:v>
                </c:pt>
                <c:pt idx="1496">
                  <c:v>121.50590576055113</c:v>
                </c:pt>
                <c:pt idx="1497">
                  <c:v>122.34950954685097</c:v>
                </c:pt>
                <c:pt idx="1498">
                  <c:v>122.17719359317188</c:v>
                </c:pt>
                <c:pt idx="1499">
                  <c:v>121.87532289000293</c:v>
                </c:pt>
                <c:pt idx="1500">
                  <c:v>121.77733982664957</c:v>
                </c:pt>
                <c:pt idx="1501">
                  <c:v>122.00253522375505</c:v>
                </c:pt>
                <c:pt idx="1502">
                  <c:v>122.46032516507971</c:v>
                </c:pt>
                <c:pt idx="1503">
                  <c:v>122.21610180265357</c:v>
                </c:pt>
                <c:pt idx="1504">
                  <c:v>121.59264732190732</c:v>
                </c:pt>
                <c:pt idx="1505">
                  <c:v>121.5544040806269</c:v>
                </c:pt>
                <c:pt idx="1506">
                  <c:v>120.56774693797672</c:v>
                </c:pt>
                <c:pt idx="1507">
                  <c:v>118.71168505068887</c:v>
                </c:pt>
                <c:pt idx="1508">
                  <c:v>119.6848665068098</c:v>
                </c:pt>
                <c:pt idx="1509">
                  <c:v>124.04716110091371</c:v>
                </c:pt>
                <c:pt idx="1510">
                  <c:v>122.22078210161091</c:v>
                </c:pt>
                <c:pt idx="1511">
                  <c:v>122.02301085921614</c:v>
                </c:pt>
                <c:pt idx="1512">
                  <c:v>123.65525036753276</c:v>
                </c:pt>
                <c:pt idx="1513">
                  <c:v>123.34179314438668</c:v>
                </c:pt>
                <c:pt idx="1514">
                  <c:v>122.81449470041464</c:v>
                </c:pt>
                <c:pt idx="1515">
                  <c:v>122.63804088098898</c:v>
                </c:pt>
                <c:pt idx="1516">
                  <c:v>122.12250081519038</c:v>
                </c:pt>
                <c:pt idx="1517">
                  <c:v>121.68882540171585</c:v>
                </c:pt>
                <c:pt idx="1518">
                  <c:v>122.38102187961421</c:v>
                </c:pt>
                <c:pt idx="1519">
                  <c:v>122.73537368997619</c:v>
                </c:pt>
                <c:pt idx="1520">
                  <c:v>122.86943089429768</c:v>
                </c:pt>
                <c:pt idx="1521">
                  <c:v>122.63084692497621</c:v>
                </c:pt>
                <c:pt idx="1522">
                  <c:v>122.97779701445856</c:v>
                </c:pt>
                <c:pt idx="1523">
                  <c:v>122.82427377979097</c:v>
                </c:pt>
                <c:pt idx="1524">
                  <c:v>122.35393102376878</c:v>
                </c:pt>
                <c:pt idx="1525">
                  <c:v>121.36609252836284</c:v>
                </c:pt>
                <c:pt idx="1526">
                  <c:v>121.37813072802849</c:v>
                </c:pt>
                <c:pt idx="1527">
                  <c:v>120.88879344040311</c:v>
                </c:pt>
                <c:pt idx="1528">
                  <c:v>119.960140664541</c:v>
                </c:pt>
                <c:pt idx="1529">
                  <c:v>120.11113362164437</c:v>
                </c:pt>
                <c:pt idx="1530">
                  <c:v>118.92514803546794</c:v>
                </c:pt>
                <c:pt idx="1531">
                  <c:v>117.99098387285598</c:v>
                </c:pt>
                <c:pt idx="1532">
                  <c:v>117.63075901308189</c:v>
                </c:pt>
                <c:pt idx="1533">
                  <c:v>117.3553419483589</c:v>
                </c:pt>
                <c:pt idx="1534">
                  <c:v>116.47216504676987</c:v>
                </c:pt>
                <c:pt idx="1535">
                  <c:v>116.04193051162785</c:v>
                </c:pt>
                <c:pt idx="1536">
                  <c:v>119.40016693835699</c:v>
                </c:pt>
                <c:pt idx="1537">
                  <c:v>119.40478015151952</c:v>
                </c:pt>
                <c:pt idx="1538">
                  <c:v>119.48149828670284</c:v>
                </c:pt>
                <c:pt idx="1539">
                  <c:v>119.56393930655402</c:v>
                </c:pt>
                <c:pt idx="1540">
                  <c:v>119.43447839762197</c:v>
                </c:pt>
                <c:pt idx="1541">
                  <c:v>120.09607990033301</c:v>
                </c:pt>
                <c:pt idx="1542">
                  <c:v>119.23530209525036</c:v>
                </c:pt>
                <c:pt idx="1543">
                  <c:v>119.09957220715577</c:v>
                </c:pt>
                <c:pt idx="1544">
                  <c:v>117.63210783307861</c:v>
                </c:pt>
                <c:pt idx="1545">
                  <c:v>117.76071645906626</c:v>
                </c:pt>
                <c:pt idx="1546">
                  <c:v>118.63777234008661</c:v>
                </c:pt>
                <c:pt idx="1547">
                  <c:v>120.00503690423938</c:v>
                </c:pt>
                <c:pt idx="1548">
                  <c:v>119.97358399114444</c:v>
                </c:pt>
                <c:pt idx="1549">
                  <c:v>120.46032462840614</c:v>
                </c:pt>
                <c:pt idx="1550">
                  <c:v>119.70021221985748</c:v>
                </c:pt>
                <c:pt idx="1551">
                  <c:v>120.39751010299592</c:v>
                </c:pt>
                <c:pt idx="1552">
                  <c:v>119.97472134166519</c:v>
                </c:pt>
                <c:pt idx="1553">
                  <c:v>120.62346515763259</c:v>
                </c:pt>
                <c:pt idx="1554">
                  <c:v>121.24695714892967</c:v>
                </c:pt>
                <c:pt idx="1555">
                  <c:v>121.0357848340816</c:v>
                </c:pt>
                <c:pt idx="1556">
                  <c:v>121.61408267898729</c:v>
                </c:pt>
                <c:pt idx="1557">
                  <c:v>121.49575298197564</c:v>
                </c:pt>
                <c:pt idx="1558">
                  <c:v>120.14340037002304</c:v>
                </c:pt>
                <c:pt idx="1559">
                  <c:v>119.79589169070405</c:v>
                </c:pt>
                <c:pt idx="1560">
                  <c:v>118.82547235628277</c:v>
                </c:pt>
                <c:pt idx="1561">
                  <c:v>118.74475153640822</c:v>
                </c:pt>
                <c:pt idx="1562">
                  <c:v>119.24314383695594</c:v>
                </c:pt>
                <c:pt idx="1563">
                  <c:v>119.08216395379881</c:v>
                </c:pt>
                <c:pt idx="1564">
                  <c:v>120.56594219604503</c:v>
                </c:pt>
                <c:pt idx="1565">
                  <c:v>120.71419787318897</c:v>
                </c:pt>
                <c:pt idx="1566">
                  <c:v>121.09034957617936</c:v>
                </c:pt>
                <c:pt idx="1567">
                  <c:v>120.8065757405472</c:v>
                </c:pt>
                <c:pt idx="1568">
                  <c:v>120.23680840443046</c:v>
                </c:pt>
                <c:pt idx="1569">
                  <c:v>120.13828856407781</c:v>
                </c:pt>
                <c:pt idx="1570">
                  <c:v>119.65017069319097</c:v>
                </c:pt>
                <c:pt idx="1571">
                  <c:v>119.64927875993347</c:v>
                </c:pt>
                <c:pt idx="1572">
                  <c:v>119.35092486120301</c:v>
                </c:pt>
                <c:pt idx="1573">
                  <c:v>120.33541172230304</c:v>
                </c:pt>
                <c:pt idx="1574">
                  <c:v>120.19616542120484</c:v>
                </c:pt>
                <c:pt idx="1575">
                  <c:v>120.64147124076347</c:v>
                </c:pt>
                <c:pt idx="1576">
                  <c:v>121.04444402853592</c:v>
                </c:pt>
                <c:pt idx="1577">
                  <c:v>121.20888981599873</c:v>
                </c:pt>
                <c:pt idx="1578">
                  <c:v>120.59910742286263</c:v>
                </c:pt>
                <c:pt idx="1579">
                  <c:v>120.0618959526083</c:v>
                </c:pt>
                <c:pt idx="1580">
                  <c:v>119.51915843314121</c:v>
                </c:pt>
                <c:pt idx="1581">
                  <c:v>120.10341400417167</c:v>
                </c:pt>
                <c:pt idx="1582">
                  <c:v>123.68748151621163</c:v>
                </c:pt>
                <c:pt idx="1583">
                  <c:v>124.86749730470947</c:v>
                </c:pt>
                <c:pt idx="1584">
                  <c:v>124.79839351036082</c:v>
                </c:pt>
                <c:pt idx="1585">
                  <c:v>124.52903149737016</c:v>
                </c:pt>
                <c:pt idx="1586">
                  <c:v>124.32893503791445</c:v>
                </c:pt>
                <c:pt idx="1587">
                  <c:v>123.93042876499702</c:v>
                </c:pt>
                <c:pt idx="1588">
                  <c:v>125.11026460514437</c:v>
                </c:pt>
                <c:pt idx="1589">
                  <c:v>125.24215300963199</c:v>
                </c:pt>
                <c:pt idx="1590">
                  <c:v>125.56194390834619</c:v>
                </c:pt>
                <c:pt idx="1591">
                  <c:v>125.60092021376607</c:v>
                </c:pt>
                <c:pt idx="1592">
                  <c:v>125.62689635649832</c:v>
                </c:pt>
                <c:pt idx="1593">
                  <c:v>125.76436234303043</c:v>
                </c:pt>
                <c:pt idx="1594">
                  <c:v>125.68564052745582</c:v>
                </c:pt>
                <c:pt idx="1595">
                  <c:v>125.67758438680626</c:v>
                </c:pt>
                <c:pt idx="1596">
                  <c:v>125.74919911653598</c:v>
                </c:pt>
                <c:pt idx="1597">
                  <c:v>126.19564174215868</c:v>
                </c:pt>
                <c:pt idx="1598">
                  <c:v>126.31376823035615</c:v>
                </c:pt>
                <c:pt idx="1599">
                  <c:v>126.3124321987917</c:v>
                </c:pt>
                <c:pt idx="1600">
                  <c:v>126.09153931037315</c:v>
                </c:pt>
                <c:pt idx="1601">
                  <c:v>126.10581547409703</c:v>
                </c:pt>
                <c:pt idx="1602">
                  <c:v>125.59683863147363</c:v>
                </c:pt>
                <c:pt idx="1603">
                  <c:v>126.00218332992695</c:v>
                </c:pt>
                <c:pt idx="1604">
                  <c:v>125.97137769667641</c:v>
                </c:pt>
                <c:pt idx="1605">
                  <c:v>125.92046898358893</c:v>
                </c:pt>
                <c:pt idx="1606">
                  <c:v>125.97363202839503</c:v>
                </c:pt>
                <c:pt idx="1607">
                  <c:v>125.40663492057622</c:v>
                </c:pt>
                <c:pt idx="1608">
                  <c:v>126.32161130684543</c:v>
                </c:pt>
                <c:pt idx="1609">
                  <c:v>126.19448920785288</c:v>
                </c:pt>
                <c:pt idx="1610">
                  <c:v>126.08741244332985</c:v>
                </c:pt>
                <c:pt idx="1611">
                  <c:v>127.37574218627385</c:v>
                </c:pt>
                <c:pt idx="1612">
                  <c:v>127.63367423969133</c:v>
                </c:pt>
                <c:pt idx="1613">
                  <c:v>127.24134306678918</c:v>
                </c:pt>
                <c:pt idx="1614">
                  <c:v>127.44078649085894</c:v>
                </c:pt>
                <c:pt idx="1615">
                  <c:v>127.57413366833062</c:v>
                </c:pt>
                <c:pt idx="1616">
                  <c:v>128.61448769177863</c:v>
                </c:pt>
                <c:pt idx="1617">
                  <c:v>128.86907564746957</c:v>
                </c:pt>
                <c:pt idx="1618">
                  <c:v>128.66774107026259</c:v>
                </c:pt>
                <c:pt idx="1619">
                  <c:v>128.5854079459593</c:v>
                </c:pt>
                <c:pt idx="1620">
                  <c:v>128.66162589532834</c:v>
                </c:pt>
                <c:pt idx="1621">
                  <c:v>128.62684177279411</c:v>
                </c:pt>
                <c:pt idx="1622">
                  <c:v>128.62199710383277</c:v>
                </c:pt>
                <c:pt idx="1623">
                  <c:v>128.47841332457773</c:v>
                </c:pt>
                <c:pt idx="1624">
                  <c:v>127.80378458669566</c:v>
                </c:pt>
                <c:pt idx="1625">
                  <c:v>127.43719724267551</c:v>
                </c:pt>
                <c:pt idx="1626">
                  <c:v>128.37834896746375</c:v>
                </c:pt>
                <c:pt idx="1627">
                  <c:v>128.07664707514087</c:v>
                </c:pt>
                <c:pt idx="1628">
                  <c:v>128.23221795877132</c:v>
                </c:pt>
                <c:pt idx="1629">
                  <c:v>128.27345115114682</c:v>
                </c:pt>
                <c:pt idx="1630">
                  <c:v>128.49168769674992</c:v>
                </c:pt>
                <c:pt idx="1631">
                  <c:v>128.93838264868782</c:v>
                </c:pt>
                <c:pt idx="1632">
                  <c:v>128.91764874973993</c:v>
                </c:pt>
                <c:pt idx="1633">
                  <c:v>128.69483378728924</c:v>
                </c:pt>
                <c:pt idx="1634">
                  <c:v>128.05837830794445</c:v>
                </c:pt>
                <c:pt idx="1635">
                  <c:v>127.70997174450271</c:v>
                </c:pt>
                <c:pt idx="1636">
                  <c:v>127.86023012681501</c:v>
                </c:pt>
                <c:pt idx="1637">
                  <c:v>127.67060463546952</c:v>
                </c:pt>
                <c:pt idx="1638">
                  <c:v>127.88787350918541</c:v>
                </c:pt>
                <c:pt idx="1639">
                  <c:v>128.50458496192203</c:v>
                </c:pt>
                <c:pt idx="1640">
                  <c:v>128.72896132481475</c:v>
                </c:pt>
                <c:pt idx="1641">
                  <c:v>128.57167497865734</c:v>
                </c:pt>
                <c:pt idx="1642">
                  <c:v>127.50637588896841</c:v>
                </c:pt>
                <c:pt idx="1643">
                  <c:v>127.53440044147366</c:v>
                </c:pt>
                <c:pt idx="1644">
                  <c:v>126.61335127451306</c:v>
                </c:pt>
                <c:pt idx="1645">
                  <c:v>126.41802528730865</c:v>
                </c:pt>
                <c:pt idx="1646">
                  <c:v>126.60737189483746</c:v>
                </c:pt>
                <c:pt idx="1647">
                  <c:v>126.59252201697241</c:v>
                </c:pt>
                <c:pt idx="1648">
                  <c:v>126.22124646819859</c:v>
                </c:pt>
                <c:pt idx="1649">
                  <c:v>126.91082620172888</c:v>
                </c:pt>
                <c:pt idx="1650">
                  <c:v>126.29960577869278</c:v>
                </c:pt>
                <c:pt idx="1651">
                  <c:v>126.66472233900829</c:v>
                </c:pt>
                <c:pt idx="1652">
                  <c:v>127.02889751023616</c:v>
                </c:pt>
                <c:pt idx="1653">
                  <c:v>125.49978663140978</c:v>
                </c:pt>
                <c:pt idx="1654">
                  <c:v>124.71812415793738</c:v>
                </c:pt>
                <c:pt idx="1655">
                  <c:v>124.82405457242787</c:v>
                </c:pt>
                <c:pt idx="1656">
                  <c:v>124.83219615659391</c:v>
                </c:pt>
                <c:pt idx="1657">
                  <c:v>124.58344175311673</c:v>
                </c:pt>
                <c:pt idx="1658">
                  <c:v>123.72057636240888</c:v>
                </c:pt>
                <c:pt idx="1659">
                  <c:v>123.68352041525792</c:v>
                </c:pt>
                <c:pt idx="1660">
                  <c:v>123.96720145294093</c:v>
                </c:pt>
                <c:pt idx="1661">
                  <c:v>125.18267467735619</c:v>
                </c:pt>
                <c:pt idx="1662">
                  <c:v>125.22419493516436</c:v>
                </c:pt>
                <c:pt idx="1663">
                  <c:v>125.36946766979348</c:v>
                </c:pt>
                <c:pt idx="1664">
                  <c:v>126.18601898578835</c:v>
                </c:pt>
                <c:pt idx="1665">
                  <c:v>126.05796589906963</c:v>
                </c:pt>
                <c:pt idx="1666">
                  <c:v>125.72854378508241</c:v>
                </c:pt>
                <c:pt idx="1667">
                  <c:v>126.22240224084105</c:v>
                </c:pt>
                <c:pt idx="1668">
                  <c:v>126.49186911561137</c:v>
                </c:pt>
                <c:pt idx="1669">
                  <c:v>126.50214247621609</c:v>
                </c:pt>
                <c:pt idx="1670">
                  <c:v>126.20200605378383</c:v>
                </c:pt>
                <c:pt idx="1671">
                  <c:v>126.09411124492455</c:v>
                </c:pt>
                <c:pt idx="1672">
                  <c:v>126.19403302029723</c:v>
                </c:pt>
                <c:pt idx="1673">
                  <c:v>126.40267296192508</c:v>
                </c:pt>
                <c:pt idx="1674">
                  <c:v>126.58727875825757</c:v>
                </c:pt>
                <c:pt idx="1675">
                  <c:v>126.60870291002863</c:v>
                </c:pt>
                <c:pt idx="1676">
                  <c:v>127.02327936134655</c:v>
                </c:pt>
                <c:pt idx="1677">
                  <c:v>127.05174715143204</c:v>
                </c:pt>
                <c:pt idx="1678">
                  <c:v>126.65017440390409</c:v>
                </c:pt>
                <c:pt idx="1679">
                  <c:v>126.38383758347928</c:v>
                </c:pt>
                <c:pt idx="1680">
                  <c:v>127.82313284542673</c:v>
                </c:pt>
                <c:pt idx="1681">
                  <c:v>128.55726064285199</c:v>
                </c:pt>
                <c:pt idx="1682">
                  <c:v>128.02903596200568</c:v>
                </c:pt>
                <c:pt idx="1683">
                  <c:v>129.09730104457046</c:v>
                </c:pt>
                <c:pt idx="1684">
                  <c:v>128.13152828122821</c:v>
                </c:pt>
                <c:pt idx="1685">
                  <c:v>127.65316604307755</c:v>
                </c:pt>
                <c:pt idx="1686">
                  <c:v>127.3476023053705</c:v>
                </c:pt>
                <c:pt idx="1687">
                  <c:v>127.2542334328696</c:v>
                </c:pt>
                <c:pt idx="1688">
                  <c:v>126.55115401749232</c:v>
                </c:pt>
                <c:pt idx="1689">
                  <c:v>131.83966786269499</c:v>
                </c:pt>
                <c:pt idx="1690">
                  <c:v>134.93145024996232</c:v>
                </c:pt>
                <c:pt idx="1691">
                  <c:v>134.74364250515944</c:v>
                </c:pt>
                <c:pt idx="1692">
                  <c:v>135.05430006105072</c:v>
                </c:pt>
                <c:pt idx="1693">
                  <c:v>134.84340290860996</c:v>
                </c:pt>
                <c:pt idx="1694">
                  <c:v>134.62479626591221</c:v>
                </c:pt>
                <c:pt idx="1695">
                  <c:v>134.80356919990976</c:v>
                </c:pt>
                <c:pt idx="1696">
                  <c:v>135.31564967044369</c:v>
                </c:pt>
                <c:pt idx="1697">
                  <c:v>135.31243250897694</c:v>
                </c:pt>
                <c:pt idx="1698">
                  <c:v>135.24946656606153</c:v>
                </c:pt>
                <c:pt idx="1699">
                  <c:v>135.32579660199715</c:v>
                </c:pt>
                <c:pt idx="1700">
                  <c:v>135.33912385012417</c:v>
                </c:pt>
                <c:pt idx="1701">
                  <c:v>135.72098084040499</c:v>
                </c:pt>
                <c:pt idx="1702">
                  <c:v>135.95192663950408</c:v>
                </c:pt>
                <c:pt idx="1703">
                  <c:v>136.25292789029075</c:v>
                </c:pt>
                <c:pt idx="1704">
                  <c:v>136.355626973662</c:v>
                </c:pt>
                <c:pt idx="1705">
                  <c:v>136.35608307051371</c:v>
                </c:pt>
                <c:pt idx="1706">
                  <c:v>136.72734466595466</c:v>
                </c:pt>
                <c:pt idx="1707">
                  <c:v>136.60089352348535</c:v>
                </c:pt>
                <c:pt idx="1708">
                  <c:v>136.94963928879014</c:v>
                </c:pt>
                <c:pt idx="1709">
                  <c:v>136.68261364979062</c:v>
                </c:pt>
                <c:pt idx="1710">
                  <c:v>136.50743319806364</c:v>
                </c:pt>
                <c:pt idx="1711">
                  <c:v>137.19356503883731</c:v>
                </c:pt>
                <c:pt idx="1712">
                  <c:v>136.40204800982599</c:v>
                </c:pt>
                <c:pt idx="1713">
                  <c:v>137.05767875384251</c:v>
                </c:pt>
                <c:pt idx="1714">
                  <c:v>137.08148237359973</c:v>
                </c:pt>
                <c:pt idx="1715">
                  <c:v>136.94391778248516</c:v>
                </c:pt>
                <c:pt idx="1716">
                  <c:v>137.33132629117492</c:v>
                </c:pt>
                <c:pt idx="1717">
                  <c:v>137.28970881863407</c:v>
                </c:pt>
                <c:pt idx="1718">
                  <c:v>137.39921406096639</c:v>
                </c:pt>
                <c:pt idx="1719">
                  <c:v>137.43990671961299</c:v>
                </c:pt>
                <c:pt idx="1720">
                  <c:v>137.48736743605471</c:v>
                </c:pt>
                <c:pt idx="1721">
                  <c:v>137.41552315184452</c:v>
                </c:pt>
                <c:pt idx="1722">
                  <c:v>137.91960038723334</c:v>
                </c:pt>
                <c:pt idx="1723">
                  <c:v>137.06421310512118</c:v>
                </c:pt>
                <c:pt idx="1724">
                  <c:v>136.836943640112</c:v>
                </c:pt>
                <c:pt idx="1725">
                  <c:v>138.00286288804404</c:v>
                </c:pt>
                <c:pt idx="1726">
                  <c:v>136.73947563377405</c:v>
                </c:pt>
                <c:pt idx="1727">
                  <c:v>137.11538030494995</c:v>
                </c:pt>
                <c:pt idx="1728">
                  <c:v>139.32150260759886</c:v>
                </c:pt>
                <c:pt idx="1729">
                  <c:v>137.8292328160714</c:v>
                </c:pt>
                <c:pt idx="1730">
                  <c:v>137.9303296803389</c:v>
                </c:pt>
                <c:pt idx="1731">
                  <c:v>138.60027998197742</c:v>
                </c:pt>
                <c:pt idx="1732">
                  <c:v>139.26320224952826</c:v>
                </c:pt>
                <c:pt idx="1733">
                  <c:v>139.31958344245066</c:v>
                </c:pt>
                <c:pt idx="1734">
                  <c:v>139.44611764821627</c:v>
                </c:pt>
                <c:pt idx="1735">
                  <c:v>139.75855439271709</c:v>
                </c:pt>
                <c:pt idx="1736">
                  <c:v>139.98560190304448</c:v>
                </c:pt>
                <c:pt idx="1737">
                  <c:v>139.81739106167328</c:v>
                </c:pt>
                <c:pt idx="1738">
                  <c:v>139.90925294645305</c:v>
                </c:pt>
                <c:pt idx="1739">
                  <c:v>140.30120981840182</c:v>
                </c:pt>
                <c:pt idx="1740">
                  <c:v>140.18767500239886</c:v>
                </c:pt>
                <c:pt idx="1741">
                  <c:v>139.80143357066291</c:v>
                </c:pt>
                <c:pt idx="1742">
                  <c:v>139.63209738413315</c:v>
                </c:pt>
                <c:pt idx="1743">
                  <c:v>140.0996900478483</c:v>
                </c:pt>
                <c:pt idx="1744">
                  <c:v>139.51950290639232</c:v>
                </c:pt>
                <c:pt idx="1745">
                  <c:v>140.01997880470773</c:v>
                </c:pt>
                <c:pt idx="1746">
                  <c:v>139.78614600669871</c:v>
                </c:pt>
                <c:pt idx="1747">
                  <c:v>140.33026778481189</c:v>
                </c:pt>
                <c:pt idx="1748">
                  <c:v>140.28898810609888</c:v>
                </c:pt>
                <c:pt idx="1749">
                  <c:v>140.57354266494735</c:v>
                </c:pt>
                <c:pt idx="1750">
                  <c:v>140.2591045569082</c:v>
                </c:pt>
                <c:pt idx="1751">
                  <c:v>140.62183510634259</c:v>
                </c:pt>
                <c:pt idx="1752">
                  <c:v>139.88032974434256</c:v>
                </c:pt>
                <c:pt idx="1753">
                  <c:v>140.16347737163369</c:v>
                </c:pt>
                <c:pt idx="1754">
                  <c:v>139.86248142989405</c:v>
                </c:pt>
                <c:pt idx="1755">
                  <c:v>140.30324346030667</c:v>
                </c:pt>
                <c:pt idx="1756">
                  <c:v>140.55188234684729</c:v>
                </c:pt>
                <c:pt idx="1757">
                  <c:v>141.40848532351825</c:v>
                </c:pt>
                <c:pt idx="1758">
                  <c:v>141.65964385085749</c:v>
                </c:pt>
                <c:pt idx="1759">
                  <c:v>141.45871701333516</c:v>
                </c:pt>
                <c:pt idx="1760">
                  <c:v>139.83432560325346</c:v>
                </c:pt>
                <c:pt idx="1761">
                  <c:v>139.0760466273066</c:v>
                </c:pt>
                <c:pt idx="1762">
                  <c:v>138.06238095712388</c:v>
                </c:pt>
                <c:pt idx="1763">
                  <c:v>137.70000202756523</c:v>
                </c:pt>
                <c:pt idx="1764">
                  <c:v>138.29192411810476</c:v>
                </c:pt>
                <c:pt idx="1765">
                  <c:v>139.19716661619424</c:v>
                </c:pt>
                <c:pt idx="1766">
                  <c:v>139.89767542466515</c:v>
                </c:pt>
                <c:pt idx="1767">
                  <c:v>139.87336386800271</c:v>
                </c:pt>
                <c:pt idx="1768">
                  <c:v>140.15553987869419</c:v>
                </c:pt>
                <c:pt idx="1769">
                  <c:v>140.0264506459209</c:v>
                </c:pt>
                <c:pt idx="1770">
                  <c:v>140.52956671675847</c:v>
                </c:pt>
                <c:pt idx="1771">
                  <c:v>140.70416937493658</c:v>
                </c:pt>
                <c:pt idx="1772">
                  <c:v>140.04934016601138</c:v>
                </c:pt>
                <c:pt idx="1773">
                  <c:v>140.70813042160998</c:v>
                </c:pt>
                <c:pt idx="1774">
                  <c:v>141.4492836070317</c:v>
                </c:pt>
                <c:pt idx="1775">
                  <c:v>141.58421249589261</c:v>
                </c:pt>
                <c:pt idx="1776">
                  <c:v>141.95447600059592</c:v>
                </c:pt>
                <c:pt idx="1777">
                  <c:v>142.24825740465386</c:v>
                </c:pt>
                <c:pt idx="1778">
                  <c:v>141.98601089442349</c:v>
                </c:pt>
                <c:pt idx="1779">
                  <c:v>142.29282225031858</c:v>
                </c:pt>
                <c:pt idx="1780">
                  <c:v>142.29587069787854</c:v>
                </c:pt>
                <c:pt idx="1781">
                  <c:v>143.01746632561799</c:v>
                </c:pt>
                <c:pt idx="1782">
                  <c:v>143.38316897349304</c:v>
                </c:pt>
                <c:pt idx="1783">
                  <c:v>143.02401521766959</c:v>
                </c:pt>
                <c:pt idx="1784">
                  <c:v>143.7605957852353</c:v>
                </c:pt>
                <c:pt idx="1785">
                  <c:v>143.70972905209268</c:v>
                </c:pt>
                <c:pt idx="1786">
                  <c:v>143.83349109902915</c:v>
                </c:pt>
                <c:pt idx="1787">
                  <c:v>143.21319278772106</c:v>
                </c:pt>
                <c:pt idx="1788">
                  <c:v>142.98937405953842</c:v>
                </c:pt>
                <c:pt idx="1789">
                  <c:v>142.9355419836285</c:v>
                </c:pt>
                <c:pt idx="1790">
                  <c:v>143.38871419784672</c:v>
                </c:pt>
                <c:pt idx="1791">
                  <c:v>142.88341681217548</c:v>
                </c:pt>
                <c:pt idx="1792">
                  <c:v>143.11591601694539</c:v>
                </c:pt>
                <c:pt idx="1793">
                  <c:v>141.85936195905629</c:v>
                </c:pt>
                <c:pt idx="1794">
                  <c:v>142.29732975755866</c:v>
                </c:pt>
                <c:pt idx="1795">
                  <c:v>141.76608269760706</c:v>
                </c:pt>
                <c:pt idx="1796">
                  <c:v>140.78933248029341</c:v>
                </c:pt>
                <c:pt idx="1797">
                  <c:v>141.36956065612341</c:v>
                </c:pt>
                <c:pt idx="1798">
                  <c:v>142.27655770179828</c:v>
                </c:pt>
                <c:pt idx="1799">
                  <c:v>142.4288021512709</c:v>
                </c:pt>
                <c:pt idx="1800">
                  <c:v>142.3555370530747</c:v>
                </c:pt>
                <c:pt idx="1801">
                  <c:v>141.73428801595111</c:v>
                </c:pt>
                <c:pt idx="1802">
                  <c:v>142.73874017076187</c:v>
                </c:pt>
                <c:pt idx="1803">
                  <c:v>142.31873049445457</c:v>
                </c:pt>
                <c:pt idx="1804">
                  <c:v>142.85721677441089</c:v>
                </c:pt>
                <c:pt idx="1805">
                  <c:v>143.41372749355418</c:v>
                </c:pt>
                <c:pt idx="1806">
                  <c:v>142.42048187660896</c:v>
                </c:pt>
                <c:pt idx="1807">
                  <c:v>140.63949361079858</c:v>
                </c:pt>
                <c:pt idx="1808">
                  <c:v>140.8272266442863</c:v>
                </c:pt>
                <c:pt idx="1809">
                  <c:v>139.97205606746328</c:v>
                </c:pt>
                <c:pt idx="1810">
                  <c:v>140.63672958189917</c:v>
                </c:pt>
                <c:pt idx="1811">
                  <c:v>141.31111778348617</c:v>
                </c:pt>
                <c:pt idx="1812">
                  <c:v>141.74917290578944</c:v>
                </c:pt>
                <c:pt idx="1813">
                  <c:v>141.44514852055883</c:v>
                </c:pt>
                <c:pt idx="1814">
                  <c:v>141.8273184688737</c:v>
                </c:pt>
                <c:pt idx="1815">
                  <c:v>141.77721741211496</c:v>
                </c:pt>
                <c:pt idx="1816">
                  <c:v>141.82177624056294</c:v>
                </c:pt>
                <c:pt idx="1817">
                  <c:v>142.53134796189235</c:v>
                </c:pt>
                <c:pt idx="1818">
                  <c:v>142.90560531135628</c:v>
                </c:pt>
                <c:pt idx="1819">
                  <c:v>143.42218617251493</c:v>
                </c:pt>
                <c:pt idx="1820">
                  <c:v>143.43520624606359</c:v>
                </c:pt>
                <c:pt idx="1821">
                  <c:v>144.40728349912595</c:v>
                </c:pt>
                <c:pt idx="1822">
                  <c:v>144.63014222788456</c:v>
                </c:pt>
                <c:pt idx="1823">
                  <c:v>144.72956420651388</c:v>
                </c:pt>
                <c:pt idx="1824">
                  <c:v>144.46118011122454</c:v>
                </c:pt>
                <c:pt idx="1825">
                  <c:v>144.66155012766504</c:v>
                </c:pt>
                <c:pt idx="1826">
                  <c:v>145.02559005665586</c:v>
                </c:pt>
                <c:pt idx="1827">
                  <c:v>145.1423405627481</c:v>
                </c:pt>
                <c:pt idx="1828">
                  <c:v>145.28987693833562</c:v>
                </c:pt>
                <c:pt idx="1829">
                  <c:v>145.15534372052574</c:v>
                </c:pt>
                <c:pt idx="1830">
                  <c:v>144.8787372743173</c:v>
                </c:pt>
                <c:pt idx="1831">
                  <c:v>145.06392398251933</c:v>
                </c:pt>
                <c:pt idx="1832">
                  <c:v>145.12400074441123</c:v>
                </c:pt>
                <c:pt idx="1833">
                  <c:v>144.8529092997552</c:v>
                </c:pt>
                <c:pt idx="1834">
                  <c:v>144.87998332468175</c:v>
                </c:pt>
                <c:pt idx="1835">
                  <c:v>144.8701010035814</c:v>
                </c:pt>
                <c:pt idx="1836">
                  <c:v>145.77847717746917</c:v>
                </c:pt>
                <c:pt idx="1837">
                  <c:v>145.89804683892461</c:v>
                </c:pt>
                <c:pt idx="1838">
                  <c:v>145.79009557976278</c:v>
                </c:pt>
                <c:pt idx="1839">
                  <c:v>145.37291560805153</c:v>
                </c:pt>
                <c:pt idx="1840">
                  <c:v>145.09627909543849</c:v>
                </c:pt>
                <c:pt idx="1841">
                  <c:v>145.37816356996905</c:v>
                </c:pt>
                <c:pt idx="1842">
                  <c:v>145.11866370215498</c:v>
                </c:pt>
                <c:pt idx="1843">
                  <c:v>145.03501168366776</c:v>
                </c:pt>
                <c:pt idx="1844">
                  <c:v>145.23632162252326</c:v>
                </c:pt>
                <c:pt idx="1845">
                  <c:v>144.86040596502056</c:v>
                </c:pt>
                <c:pt idx="1846">
                  <c:v>143.82598960691411</c:v>
                </c:pt>
                <c:pt idx="1847">
                  <c:v>143.5678660342798</c:v>
                </c:pt>
                <c:pt idx="1848">
                  <c:v>142.85658861774937</c:v>
                </c:pt>
                <c:pt idx="1849">
                  <c:v>143.78682610521338</c:v>
                </c:pt>
                <c:pt idx="1850">
                  <c:v>143.31323998813394</c:v>
                </c:pt>
                <c:pt idx="1851">
                  <c:v>145.31617219410481</c:v>
                </c:pt>
                <c:pt idx="1852">
                  <c:v>145.73025499951015</c:v>
                </c:pt>
                <c:pt idx="1853">
                  <c:v>145.23989118969044</c:v>
                </c:pt>
                <c:pt idx="1854">
                  <c:v>145.14863037408512</c:v>
                </c:pt>
                <c:pt idx="1855">
                  <c:v>145.28841409323692</c:v>
                </c:pt>
                <c:pt idx="1856">
                  <c:v>145.38466827220029</c:v>
                </c:pt>
                <c:pt idx="1857">
                  <c:v>145.15392290541436</c:v>
                </c:pt>
                <c:pt idx="1858">
                  <c:v>145.45614728055804</c:v>
                </c:pt>
                <c:pt idx="1859">
                  <c:v>146.04648047372055</c:v>
                </c:pt>
                <c:pt idx="1860">
                  <c:v>146.1348285757324</c:v>
                </c:pt>
                <c:pt idx="1861">
                  <c:v>146.10534283553267</c:v>
                </c:pt>
                <c:pt idx="1862">
                  <c:v>146.81612646692082</c:v>
                </c:pt>
                <c:pt idx="1863">
                  <c:v>146.94417267492196</c:v>
                </c:pt>
                <c:pt idx="1864">
                  <c:v>147.12184395088016</c:v>
                </c:pt>
                <c:pt idx="1865">
                  <c:v>146.82656249039277</c:v>
                </c:pt>
                <c:pt idx="1866">
                  <c:v>147.0258583852322</c:v>
                </c:pt>
                <c:pt idx="1867">
                  <c:v>147.44437937738323</c:v>
                </c:pt>
                <c:pt idx="1868">
                  <c:v>147.75531886735203</c:v>
                </c:pt>
                <c:pt idx="1869">
                  <c:v>148.65497642022933</c:v>
                </c:pt>
                <c:pt idx="1870">
                  <c:v>148.5179966039953</c:v>
                </c:pt>
                <c:pt idx="1871">
                  <c:v>147.98207492250742</c:v>
                </c:pt>
                <c:pt idx="1872">
                  <c:v>147.63287077005944</c:v>
                </c:pt>
                <c:pt idx="1873">
                  <c:v>147.44115554159976</c:v>
                </c:pt>
                <c:pt idx="1874">
                  <c:v>147.23920158404403</c:v>
                </c:pt>
                <c:pt idx="1875">
                  <c:v>147.49579618618901</c:v>
                </c:pt>
                <c:pt idx="1876">
                  <c:v>147.19536381568491</c:v>
                </c:pt>
                <c:pt idx="1877">
                  <c:v>146.75162428238508</c:v>
                </c:pt>
                <c:pt idx="1878">
                  <c:v>147.8838384270731</c:v>
                </c:pt>
                <c:pt idx="1879">
                  <c:v>147.81470621429889</c:v>
                </c:pt>
                <c:pt idx="1880">
                  <c:v>147.13125089208478</c:v>
                </c:pt>
                <c:pt idx="1881">
                  <c:v>147.65012726090345</c:v>
                </c:pt>
                <c:pt idx="1882">
                  <c:v>147.02214476163937</c:v>
                </c:pt>
                <c:pt idx="1883">
                  <c:v>146.11560235052826</c:v>
                </c:pt>
                <c:pt idx="1884">
                  <c:v>146.15752745313875</c:v>
                </c:pt>
                <c:pt idx="1885">
                  <c:v>147.75287163108658</c:v>
                </c:pt>
                <c:pt idx="1886">
                  <c:v>148.21728369156145</c:v>
                </c:pt>
                <c:pt idx="1887">
                  <c:v>148.55968983206279</c:v>
                </c:pt>
                <c:pt idx="1888">
                  <c:v>148.01506671404223</c:v>
                </c:pt>
                <c:pt idx="1889">
                  <c:v>149.01857279788172</c:v>
                </c:pt>
                <c:pt idx="1890">
                  <c:v>149.52106057922384</c:v>
                </c:pt>
                <c:pt idx="1891">
                  <c:v>150.01065006587365</c:v>
                </c:pt>
                <c:pt idx="1892">
                  <c:v>150.01752931609164</c:v>
                </c:pt>
                <c:pt idx="1893">
                  <c:v>150.44789267297895</c:v>
                </c:pt>
                <c:pt idx="1894">
                  <c:v>150.09249449831964</c:v>
                </c:pt>
                <c:pt idx="1895">
                  <c:v>150.33700780404214</c:v>
                </c:pt>
                <c:pt idx="1896">
                  <c:v>150.66735846357378</c:v>
                </c:pt>
                <c:pt idx="1897">
                  <c:v>150.76753110511348</c:v>
                </c:pt>
                <c:pt idx="1898">
                  <c:v>151.18849021268178</c:v>
                </c:pt>
                <c:pt idx="1899">
                  <c:v>150.81989387660076</c:v>
                </c:pt>
                <c:pt idx="1900">
                  <c:v>150.53036716786983</c:v>
                </c:pt>
                <c:pt idx="1901">
                  <c:v>150.74889474838497</c:v>
                </c:pt>
                <c:pt idx="1902">
                  <c:v>151.01802196733075</c:v>
                </c:pt>
                <c:pt idx="1903">
                  <c:v>150.80617834542321</c:v>
                </c:pt>
                <c:pt idx="1904">
                  <c:v>151.12781242347265</c:v>
                </c:pt>
                <c:pt idx="1905">
                  <c:v>150.13166922527219</c:v>
                </c:pt>
                <c:pt idx="1906">
                  <c:v>151.13962187960206</c:v>
                </c:pt>
                <c:pt idx="1907">
                  <c:v>151.19425240693613</c:v>
                </c:pt>
                <c:pt idx="1908">
                  <c:v>151.01506073586478</c:v>
                </c:pt>
                <c:pt idx="1909">
                  <c:v>151.62631766415262</c:v>
                </c:pt>
                <c:pt idx="1910">
                  <c:v>151.99304573886221</c:v>
                </c:pt>
                <c:pt idx="1911">
                  <c:v>152.3139031585788</c:v>
                </c:pt>
                <c:pt idx="1912">
                  <c:v>152.03226076015247</c:v>
                </c:pt>
                <c:pt idx="1913">
                  <c:v>151.87696387023652</c:v>
                </c:pt>
                <c:pt idx="1914">
                  <c:v>151.60088108313329</c:v>
                </c:pt>
                <c:pt idx="1915">
                  <c:v>152.21703066409731</c:v>
                </c:pt>
                <c:pt idx="1916">
                  <c:v>152.59463841062879</c:v>
                </c:pt>
                <c:pt idx="1917">
                  <c:v>152.49825003334422</c:v>
                </c:pt>
                <c:pt idx="1918">
                  <c:v>152.50967166562558</c:v>
                </c:pt>
                <c:pt idx="1919">
                  <c:v>152.69917196490778</c:v>
                </c:pt>
                <c:pt idx="1920">
                  <c:v>152.63918158620939</c:v>
                </c:pt>
                <c:pt idx="1921">
                  <c:v>152.43166850853561</c:v>
                </c:pt>
                <c:pt idx="1922">
                  <c:v>152.18832293301114</c:v>
                </c:pt>
                <c:pt idx="1923">
                  <c:v>152.0891332620468</c:v>
                </c:pt>
                <c:pt idx="1924">
                  <c:v>151.75913358088184</c:v>
                </c:pt>
                <c:pt idx="1925">
                  <c:v>152.61186104754412</c:v>
                </c:pt>
                <c:pt idx="1926">
                  <c:v>152.75051532634347</c:v>
                </c:pt>
                <c:pt idx="1927">
                  <c:v>152.50766804864963</c:v>
                </c:pt>
                <c:pt idx="1928">
                  <c:v>151.64471400725643</c:v>
                </c:pt>
                <c:pt idx="1929">
                  <c:v>151.70554141843618</c:v>
                </c:pt>
                <c:pt idx="1930">
                  <c:v>151.6159636013341</c:v>
                </c:pt>
                <c:pt idx="1931">
                  <c:v>151.82979279641913</c:v>
                </c:pt>
                <c:pt idx="1932">
                  <c:v>151.59438327519592</c:v>
                </c:pt>
                <c:pt idx="1933">
                  <c:v>153.93179770080226</c:v>
                </c:pt>
                <c:pt idx="1934">
                  <c:v>153.9967468582519</c:v>
                </c:pt>
                <c:pt idx="1935">
                  <c:v>154.19922088913785</c:v>
                </c:pt>
                <c:pt idx="1936">
                  <c:v>153.56026302201008</c:v>
                </c:pt>
                <c:pt idx="1937">
                  <c:v>153.78413629317328</c:v>
                </c:pt>
                <c:pt idx="1938">
                  <c:v>154.10002656208567</c:v>
                </c:pt>
                <c:pt idx="1939">
                  <c:v>154.07409252866898</c:v>
                </c:pt>
                <c:pt idx="1940">
                  <c:v>154.06028660639939</c:v>
                </c:pt>
                <c:pt idx="1941">
                  <c:v>154.36529931351009</c:v>
                </c:pt>
                <c:pt idx="1942">
                  <c:v>153.68131361733748</c:v>
                </c:pt>
                <c:pt idx="1943">
                  <c:v>153.45616065437591</c:v>
                </c:pt>
                <c:pt idx="1944">
                  <c:v>153.34489648874876</c:v>
                </c:pt>
                <c:pt idx="1945">
                  <c:v>153.81120089488363</c:v>
                </c:pt>
                <c:pt idx="1946">
                  <c:v>153.73185479952221</c:v>
                </c:pt>
                <c:pt idx="1947">
                  <c:v>153.75862729544647</c:v>
                </c:pt>
                <c:pt idx="1948">
                  <c:v>153.93596420299184</c:v>
                </c:pt>
                <c:pt idx="1949">
                  <c:v>152.96800003439833</c:v>
                </c:pt>
                <c:pt idx="1950">
                  <c:v>153.7953995068799</c:v>
                </c:pt>
                <c:pt idx="1951">
                  <c:v>154.19266748937886</c:v>
                </c:pt>
                <c:pt idx="1952">
                  <c:v>154.08880904521462</c:v>
                </c:pt>
                <c:pt idx="1953">
                  <c:v>153.7887103023223</c:v>
                </c:pt>
                <c:pt idx="1954">
                  <c:v>154.00199208361934</c:v>
                </c:pt>
                <c:pt idx="1955">
                  <c:v>154.04625993035123</c:v>
                </c:pt>
                <c:pt idx="1956">
                  <c:v>153.36155793050904</c:v>
                </c:pt>
                <c:pt idx="1957">
                  <c:v>151.76080903083184</c:v>
                </c:pt>
                <c:pt idx="1958">
                  <c:v>151.39079303821634</c:v>
                </c:pt>
                <c:pt idx="1959">
                  <c:v>151.85561467651036</c:v>
                </c:pt>
                <c:pt idx="1960">
                  <c:v>151.08045212460516</c:v>
                </c:pt>
                <c:pt idx="1961">
                  <c:v>151.93156762397697</c:v>
                </c:pt>
                <c:pt idx="1962">
                  <c:v>151.44042505144057</c:v>
                </c:pt>
                <c:pt idx="1963">
                  <c:v>149.7115851893316</c:v>
                </c:pt>
                <c:pt idx="1964">
                  <c:v>151.01749087445651</c:v>
                </c:pt>
                <c:pt idx="1965">
                  <c:v>150.11894156416082</c:v>
                </c:pt>
                <c:pt idx="1966">
                  <c:v>153.95466053356861</c:v>
                </c:pt>
                <c:pt idx="1967">
                  <c:v>154.97860578147436</c:v>
                </c:pt>
                <c:pt idx="1968">
                  <c:v>155.06447019534312</c:v>
                </c:pt>
                <c:pt idx="1969">
                  <c:v>155.92213909968723</c:v>
                </c:pt>
                <c:pt idx="1970">
                  <c:v>155.68077771056301</c:v>
                </c:pt>
                <c:pt idx="1971">
                  <c:v>156.11954095420336</c:v>
                </c:pt>
                <c:pt idx="1972">
                  <c:v>155.82876979689289</c:v>
                </c:pt>
                <c:pt idx="1973">
                  <c:v>155.87155196356923</c:v>
                </c:pt>
                <c:pt idx="1974">
                  <c:v>155.31559962779204</c:v>
                </c:pt>
                <c:pt idx="1975">
                  <c:v>155.52545053747298</c:v>
                </c:pt>
                <c:pt idx="1976">
                  <c:v>155.40325311477608</c:v>
                </c:pt>
                <c:pt idx="1977">
                  <c:v>155.82320485845563</c:v>
                </c:pt>
                <c:pt idx="1978">
                  <c:v>155.66283970781296</c:v>
                </c:pt>
                <c:pt idx="1979">
                  <c:v>155.69399811422977</c:v>
                </c:pt>
                <c:pt idx="1980">
                  <c:v>156.05234966678134</c:v>
                </c:pt>
                <c:pt idx="1981">
                  <c:v>156.22185286249368</c:v>
                </c:pt>
                <c:pt idx="1982">
                  <c:v>155.6455093681073</c:v>
                </c:pt>
                <c:pt idx="1983">
                  <c:v>156.833681650617</c:v>
                </c:pt>
                <c:pt idx="1984">
                  <c:v>156.82949698642153</c:v>
                </c:pt>
                <c:pt idx="1985">
                  <c:v>156.93388127289893</c:v>
                </c:pt>
                <c:pt idx="1986">
                  <c:v>156.9906903149157</c:v>
                </c:pt>
                <c:pt idx="1987">
                  <c:v>156.92006822008628</c:v>
                </c:pt>
                <c:pt idx="1988">
                  <c:v>156.50045690683669</c:v>
                </c:pt>
                <c:pt idx="1989">
                  <c:v>156.52433884823753</c:v>
                </c:pt>
                <c:pt idx="1990">
                  <c:v>155.60858516896806</c:v>
                </c:pt>
                <c:pt idx="1991">
                  <c:v>155.38903710936628</c:v>
                </c:pt>
                <c:pt idx="1992">
                  <c:v>156.13596588594254</c:v>
                </c:pt>
                <c:pt idx="1993">
                  <c:v>156.69958511475562</c:v>
                </c:pt>
                <c:pt idx="1994">
                  <c:v>156.17910474887836</c:v>
                </c:pt>
                <c:pt idx="1995">
                  <c:v>156.63009564783621</c:v>
                </c:pt>
                <c:pt idx="1996">
                  <c:v>156.37967376108287</c:v>
                </c:pt>
                <c:pt idx="1997">
                  <c:v>155.99930616851739</c:v>
                </c:pt>
                <c:pt idx="1998">
                  <c:v>156.31285606183189</c:v>
                </c:pt>
                <c:pt idx="1999">
                  <c:v>155.75245229434319</c:v>
                </c:pt>
                <c:pt idx="2000">
                  <c:v>155.59126253598043</c:v>
                </c:pt>
                <c:pt idx="2001">
                  <c:v>155.95225338327384</c:v>
                </c:pt>
                <c:pt idx="2002">
                  <c:v>156.24572359901427</c:v>
                </c:pt>
                <c:pt idx="2003">
                  <c:v>156.74820439019575</c:v>
                </c:pt>
                <c:pt idx="2004">
                  <c:v>156.92425811213818</c:v>
                </c:pt>
                <c:pt idx="2005">
                  <c:v>156.83587462549718</c:v>
                </c:pt>
                <c:pt idx="2006">
                  <c:v>155.85272858041714</c:v>
                </c:pt>
                <c:pt idx="2007">
                  <c:v>155.01500836100749</c:v>
                </c:pt>
                <c:pt idx="2008">
                  <c:v>154.51102466075488</c:v>
                </c:pt>
                <c:pt idx="2009">
                  <c:v>155.30816394571511</c:v>
                </c:pt>
                <c:pt idx="2010">
                  <c:v>153.63982056448751</c:v>
                </c:pt>
                <c:pt idx="2011">
                  <c:v>152.91104809421441</c:v>
                </c:pt>
                <c:pt idx="2012">
                  <c:v>153.53930314809631</c:v>
                </c:pt>
                <c:pt idx="2013">
                  <c:v>154.05805951344502</c:v>
                </c:pt>
                <c:pt idx="2014">
                  <c:v>154.86597449092574</c:v>
                </c:pt>
                <c:pt idx="2015">
                  <c:v>155.66916104777374</c:v>
                </c:pt>
                <c:pt idx="2016">
                  <c:v>155.91507255086117</c:v>
                </c:pt>
                <c:pt idx="2017">
                  <c:v>156.20741564988901</c:v>
                </c:pt>
                <c:pt idx="2018">
                  <c:v>156.01404091878587</c:v>
                </c:pt>
                <c:pt idx="2019">
                  <c:v>156.14797711652565</c:v>
                </c:pt>
                <c:pt idx="2020">
                  <c:v>155.57788815471989</c:v>
                </c:pt>
                <c:pt idx="2021">
                  <c:v>155.36764902840045</c:v>
                </c:pt>
                <c:pt idx="2022">
                  <c:v>155.72434322065172</c:v>
                </c:pt>
                <c:pt idx="2023">
                  <c:v>155.92389992191352</c:v>
                </c:pt>
                <c:pt idx="2024">
                  <c:v>155.91272673446721</c:v>
                </c:pt>
                <c:pt idx="2025">
                  <c:v>155.80760847502145</c:v>
                </c:pt>
                <c:pt idx="2026">
                  <c:v>155.95338252209717</c:v>
                </c:pt>
                <c:pt idx="2027">
                  <c:v>155.25250005525319</c:v>
                </c:pt>
                <c:pt idx="2028">
                  <c:v>155.6884858361999</c:v>
                </c:pt>
                <c:pt idx="2029">
                  <c:v>155.58155522315411</c:v>
                </c:pt>
                <c:pt idx="2030">
                  <c:v>155.69975748916232</c:v>
                </c:pt>
                <c:pt idx="2031">
                  <c:v>156.45277710970075</c:v>
                </c:pt>
                <c:pt idx="2032">
                  <c:v>156.48577271291899</c:v>
                </c:pt>
                <c:pt idx="2033">
                  <c:v>156.11794929396217</c:v>
                </c:pt>
                <c:pt idx="2034">
                  <c:v>155.3871784448051</c:v>
                </c:pt>
                <c:pt idx="2035">
                  <c:v>155.67829321106058</c:v>
                </c:pt>
                <c:pt idx="2036">
                  <c:v>155.97756932242774</c:v>
                </c:pt>
                <c:pt idx="2037">
                  <c:v>155.47076716437616</c:v>
                </c:pt>
                <c:pt idx="2038">
                  <c:v>156.101672174681</c:v>
                </c:pt>
                <c:pt idx="2039">
                  <c:v>156.28604780904564</c:v>
                </c:pt>
                <c:pt idx="2040">
                  <c:v>156.61802838077512</c:v>
                </c:pt>
                <c:pt idx="2041">
                  <c:v>157.08692736236796</c:v>
                </c:pt>
                <c:pt idx="2042">
                  <c:v>156.99942451043407</c:v>
                </c:pt>
                <c:pt idx="2043">
                  <c:v>157.42074112837744</c:v>
                </c:pt>
                <c:pt idx="2044">
                  <c:v>157.56586110660552</c:v>
                </c:pt>
                <c:pt idx="2045">
                  <c:v>157.6232003782591</c:v>
                </c:pt>
                <c:pt idx="2046">
                  <c:v>157.59331291604511</c:v>
                </c:pt>
                <c:pt idx="2047">
                  <c:v>157.742369078222</c:v>
                </c:pt>
                <c:pt idx="2048">
                  <c:v>158.25702740835771</c:v>
                </c:pt>
                <c:pt idx="2049">
                  <c:v>158.62321586525118</c:v>
                </c:pt>
                <c:pt idx="2050">
                  <c:v>158.69766814001559</c:v>
                </c:pt>
                <c:pt idx="2051">
                  <c:v>158.67814883189646</c:v>
                </c:pt>
                <c:pt idx="2052">
                  <c:v>158.39752425750862</c:v>
                </c:pt>
                <c:pt idx="2053">
                  <c:v>157.83609385654239</c:v>
                </c:pt>
                <c:pt idx="2054">
                  <c:v>158.08346534517057</c:v>
                </c:pt>
                <c:pt idx="2055">
                  <c:v>158.14960017231789</c:v>
                </c:pt>
                <c:pt idx="2056">
                  <c:v>158.32139723305892</c:v>
                </c:pt>
                <c:pt idx="2057">
                  <c:v>158.9324296648746</c:v>
                </c:pt>
                <c:pt idx="2058">
                  <c:v>159.03394605087809</c:v>
                </c:pt>
                <c:pt idx="2059">
                  <c:v>159.17151445604486</c:v>
                </c:pt>
                <c:pt idx="2060">
                  <c:v>159.1609725980108</c:v>
                </c:pt>
                <c:pt idx="2061">
                  <c:v>158.64884765115104</c:v>
                </c:pt>
                <c:pt idx="2062">
                  <c:v>159.03733791645337</c:v>
                </c:pt>
                <c:pt idx="2063">
                  <c:v>158.94359700649358</c:v>
                </c:pt>
                <c:pt idx="2064">
                  <c:v>159.0954575670857</c:v>
                </c:pt>
                <c:pt idx="2065">
                  <c:v>159.06584460098134</c:v>
                </c:pt>
                <c:pt idx="2066">
                  <c:v>159.59694858006205</c:v>
                </c:pt>
                <c:pt idx="2067">
                  <c:v>159.64951887609971</c:v>
                </c:pt>
                <c:pt idx="2068">
                  <c:v>160.08692146349358</c:v>
                </c:pt>
                <c:pt idx="2069">
                  <c:v>159.77286585914374</c:v>
                </c:pt>
                <c:pt idx="2070">
                  <c:v>159.20976476691902</c:v>
                </c:pt>
                <c:pt idx="2071">
                  <c:v>159.57947135665842</c:v>
                </c:pt>
                <c:pt idx="2072">
                  <c:v>159.2498502814627</c:v>
                </c:pt>
                <c:pt idx="2073">
                  <c:v>159.28502892956755</c:v>
                </c:pt>
                <c:pt idx="2074">
                  <c:v>160.83507870875172</c:v>
                </c:pt>
                <c:pt idx="2075">
                  <c:v>160.67970214695225</c:v>
                </c:pt>
                <c:pt idx="2076">
                  <c:v>161.00165280120902</c:v>
                </c:pt>
                <c:pt idx="2077">
                  <c:v>160.03554485917701</c:v>
                </c:pt>
                <c:pt idx="2078">
                  <c:v>160.78566842977128</c:v>
                </c:pt>
                <c:pt idx="2079">
                  <c:v>160.57801899126375</c:v>
                </c:pt>
                <c:pt idx="2080">
                  <c:v>160.97540336922958</c:v>
                </c:pt>
                <c:pt idx="2081">
                  <c:v>161.09549956988781</c:v>
                </c:pt>
                <c:pt idx="2082">
                  <c:v>161.09974842603327</c:v>
                </c:pt>
                <c:pt idx="2083">
                  <c:v>160.70240863729092</c:v>
                </c:pt>
                <c:pt idx="2084">
                  <c:v>160.69754877185511</c:v>
                </c:pt>
                <c:pt idx="2085">
                  <c:v>160.20866204874415</c:v>
                </c:pt>
                <c:pt idx="2086">
                  <c:v>160.19265996810529</c:v>
                </c:pt>
                <c:pt idx="2087">
                  <c:v>158.56993137919395</c:v>
                </c:pt>
                <c:pt idx="2088">
                  <c:v>158.34324685485444</c:v>
                </c:pt>
                <c:pt idx="2089">
                  <c:v>158.91241563039694</c:v>
                </c:pt>
                <c:pt idx="2090">
                  <c:v>158.1428461211321</c:v>
                </c:pt>
                <c:pt idx="2091">
                  <c:v>158.14408147700036</c:v>
                </c:pt>
                <c:pt idx="2092">
                  <c:v>157.70471000537191</c:v>
                </c:pt>
                <c:pt idx="2093">
                  <c:v>158.61398741188708</c:v>
                </c:pt>
                <c:pt idx="2094">
                  <c:v>158.83282592132892</c:v>
                </c:pt>
                <c:pt idx="2095">
                  <c:v>158.70285151397843</c:v>
                </c:pt>
                <c:pt idx="2096">
                  <c:v>159.23507542713585</c:v>
                </c:pt>
                <c:pt idx="2097">
                  <c:v>159.58107504138795</c:v>
                </c:pt>
                <c:pt idx="2098">
                  <c:v>159.5761778633775</c:v>
                </c:pt>
                <c:pt idx="2099">
                  <c:v>160.25690649747594</c:v>
                </c:pt>
                <c:pt idx="2100">
                  <c:v>160.65760159370186</c:v>
                </c:pt>
                <c:pt idx="2101">
                  <c:v>160.85663995255962</c:v>
                </c:pt>
                <c:pt idx="2102">
                  <c:v>161.09389521684776</c:v>
                </c:pt>
                <c:pt idx="2103">
                  <c:v>160.93339722600999</c:v>
                </c:pt>
                <c:pt idx="2104">
                  <c:v>161.31865319603403</c:v>
                </c:pt>
                <c:pt idx="2105">
                  <c:v>161.40343366064513</c:v>
                </c:pt>
                <c:pt idx="2106">
                  <c:v>161.4074687061362</c:v>
                </c:pt>
                <c:pt idx="2107">
                  <c:v>161.27108757794721</c:v>
                </c:pt>
                <c:pt idx="2108">
                  <c:v>161.52970657336294</c:v>
                </c:pt>
                <c:pt idx="2109">
                  <c:v>161.46322867051646</c:v>
                </c:pt>
                <c:pt idx="2110">
                  <c:v>161.60588546596222</c:v>
                </c:pt>
                <c:pt idx="2111">
                  <c:v>161.48189758450445</c:v>
                </c:pt>
                <c:pt idx="2112">
                  <c:v>161.73261098766932</c:v>
                </c:pt>
                <c:pt idx="2113">
                  <c:v>161.43482312706183</c:v>
                </c:pt>
                <c:pt idx="2114">
                  <c:v>160.85737978811289</c:v>
                </c:pt>
                <c:pt idx="2115">
                  <c:v>161.08080068471546</c:v>
                </c:pt>
                <c:pt idx="2116">
                  <c:v>161.23527126709158</c:v>
                </c:pt>
                <c:pt idx="2117">
                  <c:v>160.37332707431398</c:v>
                </c:pt>
                <c:pt idx="2118">
                  <c:v>160.27511272449487</c:v>
                </c:pt>
                <c:pt idx="2119">
                  <c:v>160.81288244822113</c:v>
                </c:pt>
                <c:pt idx="2120">
                  <c:v>160.91706192113753</c:v>
                </c:pt>
                <c:pt idx="2121">
                  <c:v>161.3105975047564</c:v>
                </c:pt>
                <c:pt idx="2122">
                  <c:v>161.27210161799209</c:v>
                </c:pt>
                <c:pt idx="2123">
                  <c:v>160.62593827809312</c:v>
                </c:pt>
                <c:pt idx="2124">
                  <c:v>160.162011063655</c:v>
                </c:pt>
                <c:pt idx="2125">
                  <c:v>160.78924368060467</c:v>
                </c:pt>
                <c:pt idx="2126">
                  <c:v>158.17806573051053</c:v>
                </c:pt>
                <c:pt idx="2127">
                  <c:v>158.83710550265747</c:v>
                </c:pt>
                <c:pt idx="2128">
                  <c:v>158.61556411428936</c:v>
                </c:pt>
                <c:pt idx="2129">
                  <c:v>158.39461868040581</c:v>
                </c:pt>
                <c:pt idx="2130">
                  <c:v>157.34536847224194</c:v>
                </c:pt>
                <c:pt idx="2131">
                  <c:v>157.97503867703458</c:v>
                </c:pt>
                <c:pt idx="2132">
                  <c:v>158.81821044303223</c:v>
                </c:pt>
                <c:pt idx="2133">
                  <c:v>158.6549833914591</c:v>
                </c:pt>
                <c:pt idx="2134">
                  <c:v>157.45507039525737</c:v>
                </c:pt>
                <c:pt idx="2135">
                  <c:v>158.63497058539662</c:v>
                </c:pt>
                <c:pt idx="2136">
                  <c:v>156.95744301846958</c:v>
                </c:pt>
                <c:pt idx="2137">
                  <c:v>158.09702701864174</c:v>
                </c:pt>
                <c:pt idx="2138">
                  <c:v>156.75517946510354</c:v>
                </c:pt>
                <c:pt idx="2139">
                  <c:v>156.83921565144288</c:v>
                </c:pt>
                <c:pt idx="2140">
                  <c:v>156.20399051695429</c:v>
                </c:pt>
                <c:pt idx="2141">
                  <c:v>156.21531274618496</c:v>
                </c:pt>
                <c:pt idx="2142">
                  <c:v>157.22166018383354</c:v>
                </c:pt>
                <c:pt idx="2143">
                  <c:v>157.94037205979313</c:v>
                </c:pt>
                <c:pt idx="2144">
                  <c:v>159.48617215187994</c:v>
                </c:pt>
                <c:pt idx="2145">
                  <c:v>159.03629135318002</c:v>
                </c:pt>
                <c:pt idx="2146">
                  <c:v>159.97427582062909</c:v>
                </c:pt>
                <c:pt idx="2147">
                  <c:v>160.35988480149933</c:v>
                </c:pt>
                <c:pt idx="2148">
                  <c:v>160.1859071181141</c:v>
                </c:pt>
                <c:pt idx="2149">
                  <c:v>160.15580098577962</c:v>
                </c:pt>
                <c:pt idx="2150">
                  <c:v>160.45460743364427</c:v>
                </c:pt>
                <c:pt idx="2151">
                  <c:v>160.74165135481488</c:v>
                </c:pt>
                <c:pt idx="2152">
                  <c:v>161.46659605886626</c:v>
                </c:pt>
                <c:pt idx="2153">
                  <c:v>161.50533199115566</c:v>
                </c:pt>
                <c:pt idx="2154">
                  <c:v>161.23216997406035</c:v>
                </c:pt>
                <c:pt idx="2155">
                  <c:v>161.52995792742857</c:v>
                </c:pt>
                <c:pt idx="2156">
                  <c:v>161.83488656309862</c:v>
                </c:pt>
                <c:pt idx="2157">
                  <c:v>161.82309369364057</c:v>
                </c:pt>
                <c:pt idx="2158">
                  <c:v>162.07555403017392</c:v>
                </c:pt>
                <c:pt idx="2159">
                  <c:v>162.13201083321252</c:v>
                </c:pt>
                <c:pt idx="2160">
                  <c:v>162.07517623771435</c:v>
                </c:pt>
                <c:pt idx="2161">
                  <c:v>162.11811532524939</c:v>
                </c:pt>
                <c:pt idx="2162">
                  <c:v>162.13759178970324</c:v>
                </c:pt>
                <c:pt idx="2163">
                  <c:v>162.19720645856731</c:v>
                </c:pt>
                <c:pt idx="2164">
                  <c:v>162.61356124950794</c:v>
                </c:pt>
                <c:pt idx="2165">
                  <c:v>162.49150993635641</c:v>
                </c:pt>
                <c:pt idx="2166">
                  <c:v>162.65132698920982</c:v>
                </c:pt>
                <c:pt idx="2167">
                  <c:v>163.07721951512235</c:v>
                </c:pt>
                <c:pt idx="2168">
                  <c:v>163.31075146746889</c:v>
                </c:pt>
                <c:pt idx="2169">
                  <c:v>163.14155417973242</c:v>
                </c:pt>
                <c:pt idx="2170">
                  <c:v>163.35096841962877</c:v>
                </c:pt>
                <c:pt idx="2171">
                  <c:v>163.12383997849932</c:v>
                </c:pt>
                <c:pt idx="2172">
                  <c:v>163.71585079263812</c:v>
                </c:pt>
                <c:pt idx="2173">
                  <c:v>164.20884170184888</c:v>
                </c:pt>
                <c:pt idx="2174">
                  <c:v>164.48825622740233</c:v>
                </c:pt>
                <c:pt idx="2175">
                  <c:v>164.39270327837588</c:v>
                </c:pt>
                <c:pt idx="2176">
                  <c:v>164.52957024870057</c:v>
                </c:pt>
                <c:pt idx="2177">
                  <c:v>163.93261275968766</c:v>
                </c:pt>
                <c:pt idx="2178">
                  <c:v>163.91311885336964</c:v>
                </c:pt>
                <c:pt idx="2179">
                  <c:v>161.17507552617027</c:v>
                </c:pt>
                <c:pt idx="2180">
                  <c:v>161.51272880015594</c:v>
                </c:pt>
                <c:pt idx="2181">
                  <c:v>160.17547625231279</c:v>
                </c:pt>
                <c:pt idx="2182">
                  <c:v>159.66751089485314</c:v>
                </c:pt>
                <c:pt idx="2183">
                  <c:v>158.98980090379598</c:v>
                </c:pt>
                <c:pt idx="2184">
                  <c:v>160.60771317461916</c:v>
                </c:pt>
                <c:pt idx="2185">
                  <c:v>162.53622810957864</c:v>
                </c:pt>
                <c:pt idx="2186">
                  <c:v>162.90763044429923</c:v>
                </c:pt>
                <c:pt idx="2187">
                  <c:v>163.21800187457609</c:v>
                </c:pt>
                <c:pt idx="2188">
                  <c:v>163.36052531574268</c:v>
                </c:pt>
                <c:pt idx="2189">
                  <c:v>163.58189627762141</c:v>
                </c:pt>
                <c:pt idx="2190">
                  <c:v>163.28304645703588</c:v>
                </c:pt>
                <c:pt idx="2191">
                  <c:v>163.59571655189612</c:v>
                </c:pt>
                <c:pt idx="2192">
                  <c:v>163.57596551324977</c:v>
                </c:pt>
                <c:pt idx="2193">
                  <c:v>162.73266884195428</c:v>
                </c:pt>
                <c:pt idx="2194">
                  <c:v>162.66428144336345</c:v>
                </c:pt>
                <c:pt idx="2195">
                  <c:v>161.17768386589302</c:v>
                </c:pt>
                <c:pt idx="2196">
                  <c:v>160.46096812608809</c:v>
                </c:pt>
                <c:pt idx="2197">
                  <c:v>161.39403446143461</c:v>
                </c:pt>
                <c:pt idx="2198">
                  <c:v>162.83757062039663</c:v>
                </c:pt>
                <c:pt idx="2199">
                  <c:v>162.15333601487725</c:v>
                </c:pt>
                <c:pt idx="2200">
                  <c:v>161.49712890735964</c:v>
                </c:pt>
                <c:pt idx="2201">
                  <c:v>161.28891349508865</c:v>
                </c:pt>
                <c:pt idx="2202">
                  <c:v>160.82012222093496</c:v>
                </c:pt>
                <c:pt idx="2203">
                  <c:v>160.07649896962874</c:v>
                </c:pt>
                <c:pt idx="2204">
                  <c:v>161.15094841370066</c:v>
                </c:pt>
                <c:pt idx="2205">
                  <c:v>161.27583636879044</c:v>
                </c:pt>
                <c:pt idx="2206">
                  <c:v>161.65738682589887</c:v>
                </c:pt>
                <c:pt idx="2207">
                  <c:v>162.89162218434419</c:v>
                </c:pt>
                <c:pt idx="2208">
                  <c:v>162.44435415260907</c:v>
                </c:pt>
                <c:pt idx="2209">
                  <c:v>162.65296936894975</c:v>
                </c:pt>
                <c:pt idx="2210">
                  <c:v>161.56418307947752</c:v>
                </c:pt>
                <c:pt idx="2211">
                  <c:v>162.03494089100909</c:v>
                </c:pt>
                <c:pt idx="2212">
                  <c:v>162.79221784340785</c:v>
                </c:pt>
                <c:pt idx="2213">
                  <c:v>161.7194674775445</c:v>
                </c:pt>
                <c:pt idx="2214">
                  <c:v>162.76760943037866</c:v>
                </c:pt>
                <c:pt idx="2215">
                  <c:v>163.94274831826704</c:v>
                </c:pt>
                <c:pt idx="2216">
                  <c:v>163.41105319759086</c:v>
                </c:pt>
                <c:pt idx="2217">
                  <c:v>164.2368233816492</c:v>
                </c:pt>
                <c:pt idx="2218">
                  <c:v>163.94097609720819</c:v>
                </c:pt>
                <c:pt idx="2219">
                  <c:v>163.5928307286724</c:v>
                </c:pt>
                <c:pt idx="2220">
                  <c:v>164.4660494451243</c:v>
                </c:pt>
                <c:pt idx="2221">
                  <c:v>164.46366425449526</c:v>
                </c:pt>
                <c:pt idx="2222">
                  <c:v>165.25675164067704</c:v>
                </c:pt>
                <c:pt idx="2223">
                  <c:v>165.59344027462666</c:v>
                </c:pt>
                <c:pt idx="2224">
                  <c:v>165.7257103438497</c:v>
                </c:pt>
                <c:pt idx="2225">
                  <c:v>165.6996719479645</c:v>
                </c:pt>
                <c:pt idx="2226">
                  <c:v>165.61167990430931</c:v>
                </c:pt>
                <c:pt idx="2227">
                  <c:v>166.11898880005663</c:v>
                </c:pt>
                <c:pt idx="2228">
                  <c:v>166.31369324144723</c:v>
                </c:pt>
                <c:pt idx="2229">
                  <c:v>163.97158109690903</c:v>
                </c:pt>
                <c:pt idx="2230">
                  <c:v>163.90879771881589</c:v>
                </c:pt>
                <c:pt idx="2231">
                  <c:v>163.04307640301701</c:v>
                </c:pt>
                <c:pt idx="2232">
                  <c:v>162.76308059538087</c:v>
                </c:pt>
                <c:pt idx="2233">
                  <c:v>163.22264419145634</c:v>
                </c:pt>
                <c:pt idx="2234">
                  <c:v>163.25244416403828</c:v>
                </c:pt>
                <c:pt idx="2235">
                  <c:v>162.87390117150753</c:v>
                </c:pt>
                <c:pt idx="2236">
                  <c:v>162.95104730798636</c:v>
                </c:pt>
                <c:pt idx="2237">
                  <c:v>162.3771617483614</c:v>
                </c:pt>
                <c:pt idx="2238">
                  <c:v>161.9980805662376</c:v>
                </c:pt>
                <c:pt idx="2239">
                  <c:v>160.56564799249475</c:v>
                </c:pt>
                <c:pt idx="2240">
                  <c:v>160.37289761728769</c:v>
                </c:pt>
                <c:pt idx="2241">
                  <c:v>163.00857443707005</c:v>
                </c:pt>
                <c:pt idx="2242">
                  <c:v>162.46930363083084</c:v>
                </c:pt>
                <c:pt idx="2243">
                  <c:v>163.33225174278854</c:v>
                </c:pt>
                <c:pt idx="2244">
                  <c:v>163.0086808176786</c:v>
                </c:pt>
                <c:pt idx="2245">
                  <c:v>163.94736002451401</c:v>
                </c:pt>
                <c:pt idx="2246">
                  <c:v>163.54793599663816</c:v>
                </c:pt>
                <c:pt idx="2247">
                  <c:v>164.28494165766253</c:v>
                </c:pt>
                <c:pt idx="2248">
                  <c:v>164.1415498391292</c:v>
                </c:pt>
                <c:pt idx="2249">
                  <c:v>163.63767969345449</c:v>
                </c:pt>
                <c:pt idx="2250">
                  <c:v>162.44648501340055</c:v>
                </c:pt>
                <c:pt idx="2251">
                  <c:v>162.25338252278519</c:v>
                </c:pt>
                <c:pt idx="2252">
                  <c:v>162.44553143528813</c:v>
                </c:pt>
                <c:pt idx="2253">
                  <c:v>163.43942676449356</c:v>
                </c:pt>
                <c:pt idx="2254">
                  <c:v>162.72064237700016</c:v>
                </c:pt>
                <c:pt idx="2255">
                  <c:v>162.39801659238603</c:v>
                </c:pt>
                <c:pt idx="2256">
                  <c:v>162.68462127091209</c:v>
                </c:pt>
                <c:pt idx="2257">
                  <c:v>163.22219140448036</c:v>
                </c:pt>
                <c:pt idx="2258">
                  <c:v>163.05391867781111</c:v>
                </c:pt>
                <c:pt idx="2259">
                  <c:v>163.27262435731183</c:v>
                </c:pt>
                <c:pt idx="2260">
                  <c:v>163.63651550338892</c:v>
                </c:pt>
                <c:pt idx="2261">
                  <c:v>164.06219987505395</c:v>
                </c:pt>
                <c:pt idx="2262">
                  <c:v>163.68639733259639</c:v>
                </c:pt>
                <c:pt idx="2263">
                  <c:v>163.81977589601411</c:v>
                </c:pt>
                <c:pt idx="2264">
                  <c:v>164.24147206125525</c:v>
                </c:pt>
                <c:pt idx="2265">
                  <c:v>164.17754151479468</c:v>
                </c:pt>
                <c:pt idx="2266">
                  <c:v>163.24901756373853</c:v>
                </c:pt>
                <c:pt idx="2267">
                  <c:v>164.00283177432462</c:v>
                </c:pt>
                <c:pt idx="2268">
                  <c:v>163.88141470928505</c:v>
                </c:pt>
                <c:pt idx="2269">
                  <c:v>164.29828950841824</c:v>
                </c:pt>
                <c:pt idx="2270">
                  <c:v>164.49197499079381</c:v>
                </c:pt>
                <c:pt idx="2271">
                  <c:v>164.67725841261947</c:v>
                </c:pt>
                <c:pt idx="2272">
                  <c:v>164.33626904300476</c:v>
                </c:pt>
                <c:pt idx="2273">
                  <c:v>164.56380821262977</c:v>
                </c:pt>
                <c:pt idx="2274">
                  <c:v>164.25604285794131</c:v>
                </c:pt>
                <c:pt idx="2275">
                  <c:v>163.42417918596931</c:v>
                </c:pt>
                <c:pt idx="2276">
                  <c:v>164.39374413616545</c:v>
                </c:pt>
                <c:pt idx="2277">
                  <c:v>164.62005173185736</c:v>
                </c:pt>
                <c:pt idx="2278">
                  <c:v>163.63029804678362</c:v>
                </c:pt>
                <c:pt idx="2279">
                  <c:v>163.46260793543206</c:v>
                </c:pt>
                <c:pt idx="2280">
                  <c:v>163.96095408081274</c:v>
                </c:pt>
                <c:pt idx="2281">
                  <c:v>167.50349922993064</c:v>
                </c:pt>
                <c:pt idx="2282">
                  <c:v>167.07724038424604</c:v>
                </c:pt>
                <c:pt idx="2283">
                  <c:v>166.77840504475526</c:v>
                </c:pt>
                <c:pt idx="2284">
                  <c:v>166.75298053847914</c:v>
                </c:pt>
                <c:pt idx="2285">
                  <c:v>167.65171496048467</c:v>
                </c:pt>
                <c:pt idx="2286">
                  <c:v>167.71613254932669</c:v>
                </c:pt>
                <c:pt idx="2287">
                  <c:v>167.97172873386128</c:v>
                </c:pt>
                <c:pt idx="2288">
                  <c:v>167.91768936030186</c:v>
                </c:pt>
                <c:pt idx="2289">
                  <c:v>167.83956351732255</c:v>
                </c:pt>
                <c:pt idx="2290">
                  <c:v>168.03575859944996</c:v>
                </c:pt>
                <c:pt idx="2291">
                  <c:v>167.84807258868099</c:v>
                </c:pt>
                <c:pt idx="2292">
                  <c:v>166.98517152596673</c:v>
                </c:pt>
                <c:pt idx="2293">
                  <c:v>167.75018295715688</c:v>
                </c:pt>
                <c:pt idx="2294">
                  <c:v>167.64393095757254</c:v>
                </c:pt>
                <c:pt idx="2295">
                  <c:v>167.11431023255227</c:v>
                </c:pt>
                <c:pt idx="2296">
                  <c:v>167.28638946478011</c:v>
                </c:pt>
                <c:pt idx="2297">
                  <c:v>167.20202261637618</c:v>
                </c:pt>
                <c:pt idx="2298">
                  <c:v>167.37916355330626</c:v>
                </c:pt>
                <c:pt idx="2299">
                  <c:v>166.65749346868822</c:v>
                </c:pt>
                <c:pt idx="2300">
                  <c:v>166.42416790978484</c:v>
                </c:pt>
                <c:pt idx="2301">
                  <c:v>165.87026964715429</c:v>
                </c:pt>
                <c:pt idx="2302">
                  <c:v>165.99409805014329</c:v>
                </c:pt>
                <c:pt idx="2303">
                  <c:v>166.94137414320613</c:v>
                </c:pt>
                <c:pt idx="2304">
                  <c:v>167.03401934302531</c:v>
                </c:pt>
                <c:pt idx="2305">
                  <c:v>166.44987630239916</c:v>
                </c:pt>
                <c:pt idx="2306">
                  <c:v>166.06516995874784</c:v>
                </c:pt>
                <c:pt idx="2307">
                  <c:v>166.36138647173121</c:v>
                </c:pt>
                <c:pt idx="2308">
                  <c:v>166.51114257347547</c:v>
                </c:pt>
                <c:pt idx="2309">
                  <c:v>167.32068328969922</c:v>
                </c:pt>
                <c:pt idx="2310">
                  <c:v>166.87699052343771</c:v>
                </c:pt>
                <c:pt idx="2311">
                  <c:v>167.385532767271</c:v>
                </c:pt>
                <c:pt idx="2312">
                  <c:v>167.43875613897316</c:v>
                </c:pt>
                <c:pt idx="2313">
                  <c:v>166.82313770123409</c:v>
                </c:pt>
                <c:pt idx="2314">
                  <c:v>166.57510796715079</c:v>
                </c:pt>
                <c:pt idx="2315">
                  <c:v>166.54262189503655</c:v>
                </c:pt>
                <c:pt idx="2316">
                  <c:v>164.80507045056208</c:v>
                </c:pt>
                <c:pt idx="2317">
                  <c:v>165.02412814174338</c:v>
                </c:pt>
                <c:pt idx="2318">
                  <c:v>165.59644257813028</c:v>
                </c:pt>
                <c:pt idx="2319">
                  <c:v>164.4768875931457</c:v>
                </c:pt>
                <c:pt idx="2320">
                  <c:v>164.13882047692189</c:v>
                </c:pt>
                <c:pt idx="2321">
                  <c:v>164.61745897639935</c:v>
                </c:pt>
                <c:pt idx="2322">
                  <c:v>163.24679365306869</c:v>
                </c:pt>
                <c:pt idx="2323">
                  <c:v>163.43144212146964</c:v>
                </c:pt>
                <c:pt idx="2324">
                  <c:v>164.43968802289226</c:v>
                </c:pt>
                <c:pt idx="2325">
                  <c:v>165.34953768984292</c:v>
                </c:pt>
                <c:pt idx="2326">
                  <c:v>165.71770738345123</c:v>
                </c:pt>
                <c:pt idx="2327">
                  <c:v>165.65680920036385</c:v>
                </c:pt>
                <c:pt idx="2328">
                  <c:v>166.32064698801548</c:v>
                </c:pt>
                <c:pt idx="2329">
                  <c:v>166.41264325981024</c:v>
                </c:pt>
                <c:pt idx="2330">
                  <c:v>166.4768094409566</c:v>
                </c:pt>
                <c:pt idx="2331">
                  <c:v>166.12207588577837</c:v>
                </c:pt>
                <c:pt idx="2332">
                  <c:v>165.92375252377505</c:v>
                </c:pt>
                <c:pt idx="2333">
                  <c:v>165.45285759430331</c:v>
                </c:pt>
                <c:pt idx="2334">
                  <c:v>164.56740953020898</c:v>
                </c:pt>
                <c:pt idx="2335">
                  <c:v>164.0922202944102</c:v>
                </c:pt>
                <c:pt idx="2336">
                  <c:v>165.13396729182085</c:v>
                </c:pt>
                <c:pt idx="2337">
                  <c:v>165.72324876783316</c:v>
                </c:pt>
                <c:pt idx="2338">
                  <c:v>165.71056247680647</c:v>
                </c:pt>
                <c:pt idx="2339">
                  <c:v>165.52234700176723</c:v>
                </c:pt>
                <c:pt idx="2340">
                  <c:v>165.29418573175377</c:v>
                </c:pt>
                <c:pt idx="2341">
                  <c:v>165.10825301439522</c:v>
                </c:pt>
                <c:pt idx="2342">
                  <c:v>165.36538183599291</c:v>
                </c:pt>
                <c:pt idx="2343">
                  <c:v>164.72434527694796</c:v>
                </c:pt>
                <c:pt idx="2344">
                  <c:v>164.48756332005476</c:v>
                </c:pt>
                <c:pt idx="2345">
                  <c:v>165.58026704400262</c:v>
                </c:pt>
                <c:pt idx="2346">
                  <c:v>164.77397053443718</c:v>
                </c:pt>
                <c:pt idx="2347">
                  <c:v>164.51142176120825</c:v>
                </c:pt>
                <c:pt idx="2348">
                  <c:v>164.35564639456743</c:v>
                </c:pt>
                <c:pt idx="2349">
                  <c:v>164.62630954986838</c:v>
                </c:pt>
                <c:pt idx="2350">
                  <c:v>165.0569605495576</c:v>
                </c:pt>
                <c:pt idx="2351">
                  <c:v>164.82522268723986</c:v>
                </c:pt>
                <c:pt idx="2352">
                  <c:v>164.10890565140915</c:v>
                </c:pt>
                <c:pt idx="2353">
                  <c:v>162.03155592132353</c:v>
                </c:pt>
                <c:pt idx="2354">
                  <c:v>159.42100475023605</c:v>
                </c:pt>
                <c:pt idx="2355">
                  <c:v>156.25990631190038</c:v>
                </c:pt>
                <c:pt idx="2356">
                  <c:v>154.96222824042948</c:v>
                </c:pt>
                <c:pt idx="2357">
                  <c:v>159.71231372369746</c:v>
                </c:pt>
                <c:pt idx="2358">
                  <c:v>161.08236816946422</c:v>
                </c:pt>
                <c:pt idx="2359">
                  <c:v>160.82262280876452</c:v>
                </c:pt>
                <c:pt idx="2360">
                  <c:v>157.73244355843053</c:v>
                </c:pt>
                <c:pt idx="2361">
                  <c:v>155.39986401884406</c:v>
                </c:pt>
                <c:pt idx="2362">
                  <c:v>156.78750990438635</c:v>
                </c:pt>
                <c:pt idx="2363">
                  <c:v>156.87882165779169</c:v>
                </c:pt>
                <c:pt idx="2364">
                  <c:v>155.67637857204534</c:v>
                </c:pt>
                <c:pt idx="2365">
                  <c:v>157.62879544345697</c:v>
                </c:pt>
                <c:pt idx="2366">
                  <c:v>156.15340701804001</c:v>
                </c:pt>
                <c:pt idx="2367">
                  <c:v>156.53194878358102</c:v>
                </c:pt>
                <c:pt idx="2368">
                  <c:v>156.84493016899927</c:v>
                </c:pt>
                <c:pt idx="2369">
                  <c:v>156.46580266753355</c:v>
                </c:pt>
                <c:pt idx="2370">
                  <c:v>156.41102851488645</c:v>
                </c:pt>
                <c:pt idx="2371">
                  <c:v>157.09183624128573</c:v>
                </c:pt>
                <c:pt idx="2372">
                  <c:v>156.84292029412049</c:v>
                </c:pt>
                <c:pt idx="2373">
                  <c:v>155.57529976707247</c:v>
                </c:pt>
                <c:pt idx="2374">
                  <c:v>155.24365537350545</c:v>
                </c:pt>
                <c:pt idx="2375">
                  <c:v>154.25527299821189</c:v>
                </c:pt>
                <c:pt idx="2376">
                  <c:v>153.82235819857743</c:v>
                </c:pt>
                <c:pt idx="2377">
                  <c:v>153.49394947831729</c:v>
                </c:pt>
                <c:pt idx="2378">
                  <c:v>153.47235632326263</c:v>
                </c:pt>
                <c:pt idx="2379">
                  <c:v>151.50283653313139</c:v>
                </c:pt>
                <c:pt idx="2380">
                  <c:v>151.56510100580485</c:v>
                </c:pt>
                <c:pt idx="2381">
                  <c:v>153.01069270528541</c:v>
                </c:pt>
                <c:pt idx="2382">
                  <c:v>153.33206539843431</c:v>
                </c:pt>
                <c:pt idx="2383">
                  <c:v>154.4149641057418</c:v>
                </c:pt>
                <c:pt idx="2384">
                  <c:v>155.84145700148389</c:v>
                </c:pt>
                <c:pt idx="2385">
                  <c:v>155.52990087883396</c:v>
                </c:pt>
                <c:pt idx="2386">
                  <c:v>155.46690891884973</c:v>
                </c:pt>
                <c:pt idx="2387">
                  <c:v>156.1211207047553</c:v>
                </c:pt>
                <c:pt idx="2388">
                  <c:v>156.14634800868043</c:v>
                </c:pt>
                <c:pt idx="2389">
                  <c:v>156.24593064455195</c:v>
                </c:pt>
                <c:pt idx="2390">
                  <c:v>155.71270905280403</c:v>
                </c:pt>
                <c:pt idx="2391">
                  <c:v>155.34551525023252</c:v>
                </c:pt>
                <c:pt idx="2392">
                  <c:v>156.49917132014184</c:v>
                </c:pt>
                <c:pt idx="2393">
                  <c:v>156.85680903587101</c:v>
                </c:pt>
                <c:pt idx="2394">
                  <c:v>156.87802560678202</c:v>
                </c:pt>
                <c:pt idx="2395">
                  <c:v>159.16087172225517</c:v>
                </c:pt>
                <c:pt idx="2396">
                  <c:v>158.64363849760065</c:v>
                </c:pt>
                <c:pt idx="2397">
                  <c:v>159.90912293699088</c:v>
                </c:pt>
                <c:pt idx="2398">
                  <c:v>160.64056182460425</c:v>
                </c:pt>
                <c:pt idx="2399">
                  <c:v>160.43290369768962</c:v>
                </c:pt>
                <c:pt idx="2400">
                  <c:v>160.17412765145394</c:v>
                </c:pt>
                <c:pt idx="2401">
                  <c:v>160.97542166026076</c:v>
                </c:pt>
                <c:pt idx="2402">
                  <c:v>161.03237281784325</c:v>
                </c:pt>
                <c:pt idx="2403">
                  <c:v>160.85198862503748</c:v>
                </c:pt>
                <c:pt idx="2404">
                  <c:v>161.55692495827657</c:v>
                </c:pt>
                <c:pt idx="2405">
                  <c:v>161.76574395762611</c:v>
                </c:pt>
                <c:pt idx="2406">
                  <c:v>161.70388223214061</c:v>
                </c:pt>
                <c:pt idx="2407">
                  <c:v>161.37453526936235</c:v>
                </c:pt>
                <c:pt idx="2408">
                  <c:v>161.39520096327709</c:v>
                </c:pt>
                <c:pt idx="2409">
                  <c:v>160.75139829527595</c:v>
                </c:pt>
                <c:pt idx="2410">
                  <c:v>160.87281757926962</c:v>
                </c:pt>
                <c:pt idx="2411">
                  <c:v>160.59157799378099</c:v>
                </c:pt>
                <c:pt idx="2412">
                  <c:v>159.46881470055615</c:v>
                </c:pt>
                <c:pt idx="2413">
                  <c:v>158.54300256359573</c:v>
                </c:pt>
                <c:pt idx="2414">
                  <c:v>161.88157319786905</c:v>
                </c:pt>
                <c:pt idx="2415">
                  <c:v>161.73960096346855</c:v>
                </c:pt>
                <c:pt idx="2416">
                  <c:v>163.01314541572037</c:v>
                </c:pt>
                <c:pt idx="2417">
                  <c:v>162.92160807127647</c:v>
                </c:pt>
                <c:pt idx="2418">
                  <c:v>163.23199234988084</c:v>
                </c:pt>
                <c:pt idx="2419">
                  <c:v>163.13120147593025</c:v>
                </c:pt>
                <c:pt idx="2420">
                  <c:v>163.26847885558692</c:v>
                </c:pt>
                <c:pt idx="2421">
                  <c:v>163.2258461067272</c:v>
                </c:pt>
                <c:pt idx="2422">
                  <c:v>163.36401365732061</c:v>
                </c:pt>
                <c:pt idx="2423">
                  <c:v>162.9527847899441</c:v>
                </c:pt>
                <c:pt idx="2424">
                  <c:v>163.79095838371924</c:v>
                </c:pt>
                <c:pt idx="2425">
                  <c:v>162.89045592778746</c:v>
                </c:pt>
                <c:pt idx="2426">
                  <c:v>162.39346163477441</c:v>
                </c:pt>
                <c:pt idx="2427">
                  <c:v>164.04458914837528</c:v>
                </c:pt>
                <c:pt idx="2428">
                  <c:v>163.4556513651429</c:v>
                </c:pt>
                <c:pt idx="2429">
                  <c:v>163.45695769791303</c:v>
                </c:pt>
                <c:pt idx="2430">
                  <c:v>162.79214907260928</c:v>
                </c:pt>
                <c:pt idx="2431">
                  <c:v>162.77625014936226</c:v>
                </c:pt>
                <c:pt idx="2432">
                  <c:v>161.16238299403491</c:v>
                </c:pt>
                <c:pt idx="2433">
                  <c:v>161.51286551751176</c:v>
                </c:pt>
                <c:pt idx="2434">
                  <c:v>162.37037890135622</c:v>
                </c:pt>
                <c:pt idx="2435">
                  <c:v>163.54877810616932</c:v>
                </c:pt>
                <c:pt idx="2436">
                  <c:v>162.31885077584514</c:v>
                </c:pt>
                <c:pt idx="2437">
                  <c:v>160.87443725768443</c:v>
                </c:pt>
                <c:pt idx="2438">
                  <c:v>161.50011131747351</c:v>
                </c:pt>
                <c:pt idx="2439">
                  <c:v>162.21206539898091</c:v>
                </c:pt>
                <c:pt idx="2440">
                  <c:v>163.21924291897929</c:v>
                </c:pt>
                <c:pt idx="2441">
                  <c:v>163.08878074999319</c:v>
                </c:pt>
                <c:pt idx="2442">
                  <c:v>162.91113102205483</c:v>
                </c:pt>
                <c:pt idx="2443">
                  <c:v>163.77698011618131</c:v>
                </c:pt>
                <c:pt idx="2444">
                  <c:v>163.6170894529379</c:v>
                </c:pt>
                <c:pt idx="2445">
                  <c:v>162.79810550852511</c:v>
                </c:pt>
                <c:pt idx="2446">
                  <c:v>161.50365417032646</c:v>
                </c:pt>
                <c:pt idx="2447">
                  <c:v>161.66614803401677</c:v>
                </c:pt>
                <c:pt idx="2448">
                  <c:v>160.60598826501186</c:v>
                </c:pt>
                <c:pt idx="2449">
                  <c:v>158.70277349245436</c:v>
                </c:pt>
                <c:pt idx="2450">
                  <c:v>157.84273087740536</c:v>
                </c:pt>
                <c:pt idx="2451">
                  <c:v>157.91007167818341</c:v>
                </c:pt>
                <c:pt idx="2452">
                  <c:v>158.52614152797301</c:v>
                </c:pt>
                <c:pt idx="2453">
                  <c:v>156.54730405867588</c:v>
                </c:pt>
                <c:pt idx="2454">
                  <c:v>157.85415619594966</c:v>
                </c:pt>
                <c:pt idx="2455">
                  <c:v>156.1494029324902</c:v>
                </c:pt>
                <c:pt idx="2456">
                  <c:v>156.1909247406123</c:v>
                </c:pt>
                <c:pt idx="2457">
                  <c:v>155.27768773692517</c:v>
                </c:pt>
                <c:pt idx="2458">
                  <c:v>155.6810541279205</c:v>
                </c:pt>
                <c:pt idx="2459">
                  <c:v>157.25994667469431</c:v>
                </c:pt>
                <c:pt idx="2460">
                  <c:v>156.03033536580571</c:v>
                </c:pt>
                <c:pt idx="2461">
                  <c:v>157.1338060234128</c:v>
                </c:pt>
                <c:pt idx="2462">
                  <c:v>156.28029796024816</c:v>
                </c:pt>
                <c:pt idx="2463">
                  <c:v>156.71230037713821</c:v>
                </c:pt>
                <c:pt idx="2464">
                  <c:v>158.65241547455238</c:v>
                </c:pt>
                <c:pt idx="2465">
                  <c:v>158.60958236016972</c:v>
                </c:pt>
                <c:pt idx="2466">
                  <c:v>157.10804468244629</c:v>
                </c:pt>
                <c:pt idx="2467">
                  <c:v>157.48522866070513</c:v>
                </c:pt>
                <c:pt idx="2468">
                  <c:v>157.60545079256428</c:v>
                </c:pt>
                <c:pt idx="2469">
                  <c:v>156.14907423403841</c:v>
                </c:pt>
                <c:pt idx="2470">
                  <c:v>155.04401669158801</c:v>
                </c:pt>
                <c:pt idx="2471">
                  <c:v>154.99257069373249</c:v>
                </c:pt>
                <c:pt idx="2472">
                  <c:v>154.97792672794492</c:v>
                </c:pt>
                <c:pt idx="2473">
                  <c:v>154.0247236859054</c:v>
                </c:pt>
                <c:pt idx="2474">
                  <c:v>155.52785166160544</c:v>
                </c:pt>
                <c:pt idx="2475">
                  <c:v>156.81225460221438</c:v>
                </c:pt>
                <c:pt idx="2476">
                  <c:v>158.1044223909052</c:v>
                </c:pt>
                <c:pt idx="2477">
                  <c:v>157.735587015184</c:v>
                </c:pt>
                <c:pt idx="2478">
                  <c:v>157.73353084249123</c:v>
                </c:pt>
                <c:pt idx="2479">
                  <c:v>158.87348784354293</c:v>
                </c:pt>
                <c:pt idx="2480">
                  <c:v>157.8841522972954</c:v>
                </c:pt>
              </c:numCache>
            </c:numRef>
          </c:val>
          <c:smooth val="0"/>
          <c:extLst xmlns:c16r2="http://schemas.microsoft.com/office/drawing/2015/06/chart">
            <c:ext xmlns:c16="http://schemas.microsoft.com/office/drawing/2014/chart" uri="{C3380CC4-5D6E-409C-BE32-E72D297353CC}">
              <c16:uniqueId val="{00000003-6C35-42D4-9EB0-2FE6E64DA8E8}"/>
            </c:ext>
          </c:extLst>
        </c:ser>
        <c:dLbls>
          <c:showLegendKey val="0"/>
          <c:showVal val="0"/>
          <c:showCatName val="0"/>
          <c:showSerName val="0"/>
          <c:showPercent val="0"/>
          <c:showBubbleSize val="0"/>
        </c:dLbls>
        <c:marker val="1"/>
        <c:smooth val="0"/>
        <c:axId val="560049536"/>
        <c:axId val="560063616"/>
      </c:lineChart>
      <c:dateAx>
        <c:axId val="560049536"/>
        <c:scaling>
          <c:orientation val="minMax"/>
        </c:scaling>
        <c:delete val="0"/>
        <c:axPos val="b"/>
        <c:numFmt formatCode="m/d/yyyy" sourceLinked="1"/>
        <c:majorTickMark val="none"/>
        <c:minorTickMark val="none"/>
        <c:tickLblPos val="nextTo"/>
        <c:crossAx val="560063616"/>
        <c:crosses val="autoZero"/>
        <c:auto val="1"/>
        <c:lblOffset val="100"/>
        <c:baseTimeUnit val="days"/>
      </c:dateAx>
      <c:valAx>
        <c:axId val="560063616"/>
        <c:scaling>
          <c:orientation val="minMax"/>
        </c:scaling>
        <c:delete val="0"/>
        <c:axPos val="l"/>
        <c:majorGridlines/>
        <c:numFmt formatCode="General" sourceLinked="1"/>
        <c:majorTickMark val="none"/>
        <c:minorTickMark val="none"/>
        <c:tickLblPos val="nextTo"/>
        <c:spPr>
          <a:ln w="9525">
            <a:noFill/>
          </a:ln>
        </c:spPr>
        <c:crossAx val="560049536"/>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400" dirty="0"/>
              <a:t>VIX</a:t>
            </a:r>
            <a:r>
              <a:rPr lang="en-US" sz="1400" baseline="0" dirty="0"/>
              <a:t> Index minus 1M realized volatility of the S&amp;P 500</a:t>
            </a:r>
            <a:endParaRPr lang="en-US" sz="1400" dirty="0"/>
          </a:p>
        </c:rich>
      </c:tx>
      <c:layout/>
      <c:overlay val="0"/>
    </c:title>
    <c:autoTitleDeleted val="0"/>
    <c:plotArea>
      <c:layout/>
      <c:lineChart>
        <c:grouping val="standard"/>
        <c:varyColors val="0"/>
        <c:ser>
          <c:idx val="2"/>
          <c:order val="0"/>
          <c:tx>
            <c:strRef>
              <c:f>Sheet1!$AM$24</c:f>
              <c:strCache>
                <c:ptCount val="1"/>
                <c:pt idx="0">
                  <c:v>Spread (VIX - SPX 20bd realised volatility) in volatility points</c:v>
                </c:pt>
              </c:strCache>
            </c:strRef>
          </c:tx>
          <c:marker>
            <c:symbol val="none"/>
          </c:marker>
          <c:cat>
            <c:numRef>
              <c:f>Sheet1!$AJ$25:$AJ$2522</c:f>
              <c:numCache>
                <c:formatCode>m/d/yyyy</c:formatCode>
                <c:ptCount val="2498"/>
                <c:pt idx="0">
                  <c:v>38875</c:v>
                </c:pt>
                <c:pt idx="1">
                  <c:v>38876</c:v>
                </c:pt>
                <c:pt idx="2">
                  <c:v>38877</c:v>
                </c:pt>
                <c:pt idx="3">
                  <c:v>38880</c:v>
                </c:pt>
                <c:pt idx="4">
                  <c:v>38881</c:v>
                </c:pt>
                <c:pt idx="5">
                  <c:v>38882</c:v>
                </c:pt>
                <c:pt idx="6">
                  <c:v>38883</c:v>
                </c:pt>
                <c:pt idx="7">
                  <c:v>38884</c:v>
                </c:pt>
                <c:pt idx="8">
                  <c:v>38887</c:v>
                </c:pt>
                <c:pt idx="9">
                  <c:v>38888</c:v>
                </c:pt>
                <c:pt idx="10">
                  <c:v>38889</c:v>
                </c:pt>
                <c:pt idx="11">
                  <c:v>38890</c:v>
                </c:pt>
                <c:pt idx="12">
                  <c:v>38891</c:v>
                </c:pt>
                <c:pt idx="13">
                  <c:v>38894</c:v>
                </c:pt>
                <c:pt idx="14">
                  <c:v>38895</c:v>
                </c:pt>
                <c:pt idx="15">
                  <c:v>38896</c:v>
                </c:pt>
                <c:pt idx="16">
                  <c:v>38897</c:v>
                </c:pt>
                <c:pt idx="17">
                  <c:v>38898</c:v>
                </c:pt>
                <c:pt idx="18">
                  <c:v>38901</c:v>
                </c:pt>
                <c:pt idx="19">
                  <c:v>38903</c:v>
                </c:pt>
                <c:pt idx="20">
                  <c:v>38904</c:v>
                </c:pt>
                <c:pt idx="21">
                  <c:v>38905</c:v>
                </c:pt>
                <c:pt idx="22">
                  <c:v>38908</c:v>
                </c:pt>
                <c:pt idx="23">
                  <c:v>38909</c:v>
                </c:pt>
                <c:pt idx="24">
                  <c:v>38910</c:v>
                </c:pt>
                <c:pt idx="25">
                  <c:v>38911</c:v>
                </c:pt>
                <c:pt idx="26">
                  <c:v>38912</c:v>
                </c:pt>
                <c:pt idx="27">
                  <c:v>38915</c:v>
                </c:pt>
                <c:pt idx="28">
                  <c:v>38916</c:v>
                </c:pt>
                <c:pt idx="29">
                  <c:v>38917</c:v>
                </c:pt>
                <c:pt idx="30">
                  <c:v>38918</c:v>
                </c:pt>
                <c:pt idx="31">
                  <c:v>38919</c:v>
                </c:pt>
                <c:pt idx="32">
                  <c:v>38922</c:v>
                </c:pt>
                <c:pt idx="33">
                  <c:v>38923</c:v>
                </c:pt>
                <c:pt idx="34">
                  <c:v>38924</c:v>
                </c:pt>
                <c:pt idx="35">
                  <c:v>38925</c:v>
                </c:pt>
                <c:pt idx="36">
                  <c:v>38926</c:v>
                </c:pt>
                <c:pt idx="37">
                  <c:v>38929</c:v>
                </c:pt>
                <c:pt idx="38">
                  <c:v>38930</c:v>
                </c:pt>
                <c:pt idx="39">
                  <c:v>38931</c:v>
                </c:pt>
                <c:pt idx="40">
                  <c:v>38932</c:v>
                </c:pt>
                <c:pt idx="41">
                  <c:v>38933</c:v>
                </c:pt>
                <c:pt idx="42">
                  <c:v>38936</c:v>
                </c:pt>
                <c:pt idx="43">
                  <c:v>38937</c:v>
                </c:pt>
                <c:pt idx="44">
                  <c:v>38938</c:v>
                </c:pt>
                <c:pt idx="45">
                  <c:v>38939</c:v>
                </c:pt>
                <c:pt idx="46">
                  <c:v>38940</c:v>
                </c:pt>
                <c:pt idx="47">
                  <c:v>38943</c:v>
                </c:pt>
                <c:pt idx="48">
                  <c:v>38944</c:v>
                </c:pt>
                <c:pt idx="49">
                  <c:v>38945</c:v>
                </c:pt>
                <c:pt idx="50">
                  <c:v>38946</c:v>
                </c:pt>
                <c:pt idx="51">
                  <c:v>38947</c:v>
                </c:pt>
                <c:pt idx="52">
                  <c:v>38950</c:v>
                </c:pt>
                <c:pt idx="53">
                  <c:v>38951</c:v>
                </c:pt>
                <c:pt idx="54">
                  <c:v>38952</c:v>
                </c:pt>
                <c:pt idx="55">
                  <c:v>38953</c:v>
                </c:pt>
                <c:pt idx="56">
                  <c:v>38954</c:v>
                </c:pt>
                <c:pt idx="57">
                  <c:v>38957</c:v>
                </c:pt>
                <c:pt idx="58">
                  <c:v>38958</c:v>
                </c:pt>
                <c:pt idx="59">
                  <c:v>38959</c:v>
                </c:pt>
                <c:pt idx="60">
                  <c:v>38960</c:v>
                </c:pt>
                <c:pt idx="61">
                  <c:v>38961</c:v>
                </c:pt>
                <c:pt idx="62">
                  <c:v>38965</c:v>
                </c:pt>
                <c:pt idx="63">
                  <c:v>38966</c:v>
                </c:pt>
                <c:pt idx="64">
                  <c:v>38967</c:v>
                </c:pt>
                <c:pt idx="65">
                  <c:v>38968</c:v>
                </c:pt>
                <c:pt idx="66">
                  <c:v>38971</c:v>
                </c:pt>
                <c:pt idx="67">
                  <c:v>38972</c:v>
                </c:pt>
                <c:pt idx="68">
                  <c:v>38973</c:v>
                </c:pt>
                <c:pt idx="69">
                  <c:v>38974</c:v>
                </c:pt>
                <c:pt idx="70">
                  <c:v>38975</c:v>
                </c:pt>
                <c:pt idx="71">
                  <c:v>38978</c:v>
                </c:pt>
                <c:pt idx="72">
                  <c:v>38979</c:v>
                </c:pt>
                <c:pt idx="73">
                  <c:v>38980</c:v>
                </c:pt>
                <c:pt idx="74">
                  <c:v>38981</c:v>
                </c:pt>
                <c:pt idx="75">
                  <c:v>38982</c:v>
                </c:pt>
                <c:pt idx="76">
                  <c:v>38985</c:v>
                </c:pt>
                <c:pt idx="77">
                  <c:v>38986</c:v>
                </c:pt>
                <c:pt idx="78">
                  <c:v>38987</c:v>
                </c:pt>
                <c:pt idx="79">
                  <c:v>38988</c:v>
                </c:pt>
                <c:pt idx="80">
                  <c:v>38989</c:v>
                </c:pt>
                <c:pt idx="81">
                  <c:v>38992</c:v>
                </c:pt>
                <c:pt idx="82">
                  <c:v>38993</c:v>
                </c:pt>
                <c:pt idx="83">
                  <c:v>38994</c:v>
                </c:pt>
                <c:pt idx="84">
                  <c:v>38995</c:v>
                </c:pt>
                <c:pt idx="85">
                  <c:v>38996</c:v>
                </c:pt>
                <c:pt idx="86">
                  <c:v>38999</c:v>
                </c:pt>
                <c:pt idx="87">
                  <c:v>39000</c:v>
                </c:pt>
                <c:pt idx="88">
                  <c:v>39001</c:v>
                </c:pt>
                <c:pt idx="89">
                  <c:v>39002</c:v>
                </c:pt>
                <c:pt idx="90">
                  <c:v>39003</c:v>
                </c:pt>
                <c:pt idx="91">
                  <c:v>39006</c:v>
                </c:pt>
                <c:pt idx="92">
                  <c:v>39007</c:v>
                </c:pt>
                <c:pt idx="93">
                  <c:v>39008</c:v>
                </c:pt>
                <c:pt idx="94">
                  <c:v>39009</c:v>
                </c:pt>
                <c:pt idx="95">
                  <c:v>39010</c:v>
                </c:pt>
                <c:pt idx="96">
                  <c:v>39013</c:v>
                </c:pt>
                <c:pt idx="97">
                  <c:v>39014</c:v>
                </c:pt>
                <c:pt idx="98">
                  <c:v>39015</c:v>
                </c:pt>
                <c:pt idx="99">
                  <c:v>39016</c:v>
                </c:pt>
                <c:pt idx="100">
                  <c:v>39017</c:v>
                </c:pt>
                <c:pt idx="101">
                  <c:v>39020</c:v>
                </c:pt>
                <c:pt idx="102">
                  <c:v>39021</c:v>
                </c:pt>
                <c:pt idx="103">
                  <c:v>39022</c:v>
                </c:pt>
                <c:pt idx="104">
                  <c:v>39023</c:v>
                </c:pt>
                <c:pt idx="105">
                  <c:v>39024</c:v>
                </c:pt>
                <c:pt idx="106">
                  <c:v>39027</c:v>
                </c:pt>
                <c:pt idx="107">
                  <c:v>39028</c:v>
                </c:pt>
                <c:pt idx="108">
                  <c:v>39029</c:v>
                </c:pt>
                <c:pt idx="109">
                  <c:v>39030</c:v>
                </c:pt>
                <c:pt idx="110">
                  <c:v>39031</c:v>
                </c:pt>
                <c:pt idx="111">
                  <c:v>39034</c:v>
                </c:pt>
                <c:pt idx="112">
                  <c:v>39035</c:v>
                </c:pt>
                <c:pt idx="113">
                  <c:v>39036</c:v>
                </c:pt>
                <c:pt idx="114">
                  <c:v>39037</c:v>
                </c:pt>
                <c:pt idx="115">
                  <c:v>39038</c:v>
                </c:pt>
                <c:pt idx="116">
                  <c:v>39041</c:v>
                </c:pt>
                <c:pt idx="117">
                  <c:v>39042</c:v>
                </c:pt>
                <c:pt idx="118">
                  <c:v>39043</c:v>
                </c:pt>
                <c:pt idx="119">
                  <c:v>39045</c:v>
                </c:pt>
                <c:pt idx="120">
                  <c:v>39048</c:v>
                </c:pt>
                <c:pt idx="121">
                  <c:v>39049</c:v>
                </c:pt>
                <c:pt idx="122">
                  <c:v>39050</c:v>
                </c:pt>
                <c:pt idx="123">
                  <c:v>39051</c:v>
                </c:pt>
                <c:pt idx="124">
                  <c:v>39052</c:v>
                </c:pt>
                <c:pt idx="125">
                  <c:v>39055</c:v>
                </c:pt>
                <c:pt idx="126">
                  <c:v>39056</c:v>
                </c:pt>
                <c:pt idx="127">
                  <c:v>39057</c:v>
                </c:pt>
                <c:pt idx="128">
                  <c:v>39058</c:v>
                </c:pt>
                <c:pt idx="129">
                  <c:v>39059</c:v>
                </c:pt>
                <c:pt idx="130">
                  <c:v>39062</c:v>
                </c:pt>
                <c:pt idx="131">
                  <c:v>39063</c:v>
                </c:pt>
                <c:pt idx="132">
                  <c:v>39064</c:v>
                </c:pt>
                <c:pt idx="133">
                  <c:v>39065</c:v>
                </c:pt>
                <c:pt idx="134">
                  <c:v>39066</c:v>
                </c:pt>
                <c:pt idx="135">
                  <c:v>39069</c:v>
                </c:pt>
                <c:pt idx="136">
                  <c:v>39070</c:v>
                </c:pt>
                <c:pt idx="137">
                  <c:v>39071</c:v>
                </c:pt>
                <c:pt idx="138">
                  <c:v>39072</c:v>
                </c:pt>
                <c:pt idx="139">
                  <c:v>39073</c:v>
                </c:pt>
                <c:pt idx="140">
                  <c:v>39077</c:v>
                </c:pt>
                <c:pt idx="141">
                  <c:v>39078</c:v>
                </c:pt>
                <c:pt idx="142">
                  <c:v>39079</c:v>
                </c:pt>
                <c:pt idx="143">
                  <c:v>39080</c:v>
                </c:pt>
                <c:pt idx="144">
                  <c:v>39085</c:v>
                </c:pt>
                <c:pt idx="145">
                  <c:v>39086</c:v>
                </c:pt>
                <c:pt idx="146">
                  <c:v>39087</c:v>
                </c:pt>
                <c:pt idx="147">
                  <c:v>39090</c:v>
                </c:pt>
                <c:pt idx="148">
                  <c:v>39091</c:v>
                </c:pt>
                <c:pt idx="149">
                  <c:v>39092</c:v>
                </c:pt>
                <c:pt idx="150">
                  <c:v>39093</c:v>
                </c:pt>
                <c:pt idx="151">
                  <c:v>39094</c:v>
                </c:pt>
                <c:pt idx="152">
                  <c:v>39098</c:v>
                </c:pt>
                <c:pt idx="153">
                  <c:v>39099</c:v>
                </c:pt>
                <c:pt idx="154">
                  <c:v>39100</c:v>
                </c:pt>
                <c:pt idx="155">
                  <c:v>39101</c:v>
                </c:pt>
                <c:pt idx="156">
                  <c:v>39104</c:v>
                </c:pt>
                <c:pt idx="157">
                  <c:v>39105</c:v>
                </c:pt>
                <c:pt idx="158">
                  <c:v>39106</c:v>
                </c:pt>
                <c:pt idx="159">
                  <c:v>39107</c:v>
                </c:pt>
                <c:pt idx="160">
                  <c:v>39108</c:v>
                </c:pt>
                <c:pt idx="161">
                  <c:v>39111</c:v>
                </c:pt>
                <c:pt idx="162">
                  <c:v>39112</c:v>
                </c:pt>
                <c:pt idx="163">
                  <c:v>39113</c:v>
                </c:pt>
                <c:pt idx="164">
                  <c:v>39114</c:v>
                </c:pt>
                <c:pt idx="165">
                  <c:v>39115</c:v>
                </c:pt>
                <c:pt idx="166">
                  <c:v>39118</c:v>
                </c:pt>
                <c:pt idx="167">
                  <c:v>39119</c:v>
                </c:pt>
                <c:pt idx="168">
                  <c:v>39120</c:v>
                </c:pt>
                <c:pt idx="169">
                  <c:v>39121</c:v>
                </c:pt>
                <c:pt idx="170">
                  <c:v>39122</c:v>
                </c:pt>
                <c:pt idx="171">
                  <c:v>39125</c:v>
                </c:pt>
                <c:pt idx="172">
                  <c:v>39126</c:v>
                </c:pt>
                <c:pt idx="173">
                  <c:v>39127</c:v>
                </c:pt>
                <c:pt idx="174">
                  <c:v>39128</c:v>
                </c:pt>
                <c:pt idx="175">
                  <c:v>39129</c:v>
                </c:pt>
                <c:pt idx="176">
                  <c:v>39133</c:v>
                </c:pt>
                <c:pt idx="177">
                  <c:v>39134</c:v>
                </c:pt>
                <c:pt idx="178">
                  <c:v>39135</c:v>
                </c:pt>
                <c:pt idx="179">
                  <c:v>39136</c:v>
                </c:pt>
                <c:pt idx="180">
                  <c:v>39139</c:v>
                </c:pt>
                <c:pt idx="181">
                  <c:v>39140</c:v>
                </c:pt>
                <c:pt idx="182">
                  <c:v>39141</c:v>
                </c:pt>
                <c:pt idx="183">
                  <c:v>39142</c:v>
                </c:pt>
                <c:pt idx="184">
                  <c:v>39143</c:v>
                </c:pt>
                <c:pt idx="185">
                  <c:v>39146</c:v>
                </c:pt>
                <c:pt idx="186">
                  <c:v>39147</c:v>
                </c:pt>
                <c:pt idx="187">
                  <c:v>39148</c:v>
                </c:pt>
                <c:pt idx="188">
                  <c:v>39149</c:v>
                </c:pt>
                <c:pt idx="189">
                  <c:v>39150</c:v>
                </c:pt>
                <c:pt idx="190">
                  <c:v>39153</c:v>
                </c:pt>
                <c:pt idx="191">
                  <c:v>39154</c:v>
                </c:pt>
                <c:pt idx="192">
                  <c:v>39155</c:v>
                </c:pt>
                <c:pt idx="193">
                  <c:v>39156</c:v>
                </c:pt>
                <c:pt idx="194">
                  <c:v>39157</c:v>
                </c:pt>
                <c:pt idx="195">
                  <c:v>39160</c:v>
                </c:pt>
                <c:pt idx="196">
                  <c:v>39161</c:v>
                </c:pt>
                <c:pt idx="197">
                  <c:v>39162</c:v>
                </c:pt>
                <c:pt idx="198">
                  <c:v>39163</c:v>
                </c:pt>
                <c:pt idx="199">
                  <c:v>39164</c:v>
                </c:pt>
                <c:pt idx="200">
                  <c:v>39167</c:v>
                </c:pt>
                <c:pt idx="201">
                  <c:v>39168</c:v>
                </c:pt>
                <c:pt idx="202">
                  <c:v>39169</c:v>
                </c:pt>
                <c:pt idx="203">
                  <c:v>39170</c:v>
                </c:pt>
                <c:pt idx="204">
                  <c:v>39171</c:v>
                </c:pt>
                <c:pt idx="205">
                  <c:v>39174</c:v>
                </c:pt>
                <c:pt idx="206">
                  <c:v>39175</c:v>
                </c:pt>
                <c:pt idx="207">
                  <c:v>39176</c:v>
                </c:pt>
                <c:pt idx="208">
                  <c:v>39177</c:v>
                </c:pt>
                <c:pt idx="209">
                  <c:v>39181</c:v>
                </c:pt>
                <c:pt idx="210">
                  <c:v>39182</c:v>
                </c:pt>
                <c:pt idx="211">
                  <c:v>39183</c:v>
                </c:pt>
                <c:pt idx="212">
                  <c:v>39184</c:v>
                </c:pt>
                <c:pt idx="213">
                  <c:v>39185</c:v>
                </c:pt>
                <c:pt idx="214">
                  <c:v>39188</c:v>
                </c:pt>
                <c:pt idx="215">
                  <c:v>39189</c:v>
                </c:pt>
                <c:pt idx="216">
                  <c:v>39190</c:v>
                </c:pt>
                <c:pt idx="217">
                  <c:v>39191</c:v>
                </c:pt>
                <c:pt idx="218">
                  <c:v>39192</c:v>
                </c:pt>
                <c:pt idx="219">
                  <c:v>39195</c:v>
                </c:pt>
                <c:pt idx="220">
                  <c:v>39196</c:v>
                </c:pt>
                <c:pt idx="221">
                  <c:v>39197</c:v>
                </c:pt>
                <c:pt idx="222">
                  <c:v>39198</c:v>
                </c:pt>
                <c:pt idx="223">
                  <c:v>39199</c:v>
                </c:pt>
                <c:pt idx="224">
                  <c:v>39202</c:v>
                </c:pt>
                <c:pt idx="225">
                  <c:v>39203</c:v>
                </c:pt>
                <c:pt idx="226">
                  <c:v>39204</c:v>
                </c:pt>
                <c:pt idx="227">
                  <c:v>39205</c:v>
                </c:pt>
                <c:pt idx="228">
                  <c:v>39206</c:v>
                </c:pt>
                <c:pt idx="229">
                  <c:v>39209</c:v>
                </c:pt>
                <c:pt idx="230">
                  <c:v>39210</c:v>
                </c:pt>
                <c:pt idx="231">
                  <c:v>39211</c:v>
                </c:pt>
                <c:pt idx="232">
                  <c:v>39212</c:v>
                </c:pt>
                <c:pt idx="233">
                  <c:v>39213</c:v>
                </c:pt>
                <c:pt idx="234">
                  <c:v>39216</c:v>
                </c:pt>
                <c:pt idx="235">
                  <c:v>39217</c:v>
                </c:pt>
                <c:pt idx="236">
                  <c:v>39218</c:v>
                </c:pt>
                <c:pt idx="237">
                  <c:v>39219</c:v>
                </c:pt>
                <c:pt idx="238">
                  <c:v>39220</c:v>
                </c:pt>
                <c:pt idx="239">
                  <c:v>39223</c:v>
                </c:pt>
                <c:pt idx="240">
                  <c:v>39224</c:v>
                </c:pt>
                <c:pt idx="241">
                  <c:v>39225</c:v>
                </c:pt>
                <c:pt idx="242">
                  <c:v>39226</c:v>
                </c:pt>
                <c:pt idx="243">
                  <c:v>39227</c:v>
                </c:pt>
                <c:pt idx="244">
                  <c:v>39231</c:v>
                </c:pt>
                <c:pt idx="245">
                  <c:v>39232</c:v>
                </c:pt>
                <c:pt idx="246">
                  <c:v>39233</c:v>
                </c:pt>
                <c:pt idx="247">
                  <c:v>39234</c:v>
                </c:pt>
                <c:pt idx="248">
                  <c:v>39237</c:v>
                </c:pt>
                <c:pt idx="249">
                  <c:v>39238</c:v>
                </c:pt>
                <c:pt idx="250">
                  <c:v>39239</c:v>
                </c:pt>
                <c:pt idx="251">
                  <c:v>39240</c:v>
                </c:pt>
                <c:pt idx="252">
                  <c:v>39241</c:v>
                </c:pt>
                <c:pt idx="253">
                  <c:v>39244</c:v>
                </c:pt>
                <c:pt idx="254">
                  <c:v>39245</c:v>
                </c:pt>
                <c:pt idx="255">
                  <c:v>39246</c:v>
                </c:pt>
                <c:pt idx="256">
                  <c:v>39247</c:v>
                </c:pt>
                <c:pt idx="257">
                  <c:v>39248</c:v>
                </c:pt>
                <c:pt idx="258">
                  <c:v>39251</c:v>
                </c:pt>
                <c:pt idx="259">
                  <c:v>39252</c:v>
                </c:pt>
                <c:pt idx="260">
                  <c:v>39253</c:v>
                </c:pt>
                <c:pt idx="261">
                  <c:v>39254</c:v>
                </c:pt>
                <c:pt idx="262">
                  <c:v>39255</c:v>
                </c:pt>
                <c:pt idx="263">
                  <c:v>39258</c:v>
                </c:pt>
                <c:pt idx="264">
                  <c:v>39259</c:v>
                </c:pt>
                <c:pt idx="265">
                  <c:v>39260</c:v>
                </c:pt>
                <c:pt idx="266">
                  <c:v>39261</c:v>
                </c:pt>
                <c:pt idx="267">
                  <c:v>39262</c:v>
                </c:pt>
                <c:pt idx="268">
                  <c:v>39265</c:v>
                </c:pt>
                <c:pt idx="269">
                  <c:v>39266</c:v>
                </c:pt>
                <c:pt idx="270">
                  <c:v>39268</c:v>
                </c:pt>
                <c:pt idx="271">
                  <c:v>39269</c:v>
                </c:pt>
                <c:pt idx="272">
                  <c:v>39272</c:v>
                </c:pt>
                <c:pt idx="273">
                  <c:v>39273</c:v>
                </c:pt>
                <c:pt idx="274">
                  <c:v>39274</c:v>
                </c:pt>
                <c:pt idx="275">
                  <c:v>39275</c:v>
                </c:pt>
                <c:pt idx="276">
                  <c:v>39276</c:v>
                </c:pt>
                <c:pt idx="277">
                  <c:v>39279</c:v>
                </c:pt>
                <c:pt idx="278">
                  <c:v>39280</c:v>
                </c:pt>
                <c:pt idx="279">
                  <c:v>39281</c:v>
                </c:pt>
                <c:pt idx="280">
                  <c:v>39282</c:v>
                </c:pt>
                <c:pt idx="281">
                  <c:v>39283</c:v>
                </c:pt>
                <c:pt idx="282">
                  <c:v>39286</c:v>
                </c:pt>
                <c:pt idx="283">
                  <c:v>39287</c:v>
                </c:pt>
                <c:pt idx="284">
                  <c:v>39288</c:v>
                </c:pt>
                <c:pt idx="285">
                  <c:v>39289</c:v>
                </c:pt>
                <c:pt idx="286">
                  <c:v>39290</c:v>
                </c:pt>
                <c:pt idx="287">
                  <c:v>39293</c:v>
                </c:pt>
                <c:pt idx="288">
                  <c:v>39294</c:v>
                </c:pt>
                <c:pt idx="289">
                  <c:v>39295</c:v>
                </c:pt>
                <c:pt idx="290">
                  <c:v>39296</c:v>
                </c:pt>
                <c:pt idx="291">
                  <c:v>39297</c:v>
                </c:pt>
                <c:pt idx="292">
                  <c:v>39300</c:v>
                </c:pt>
                <c:pt idx="293">
                  <c:v>39301</c:v>
                </c:pt>
                <c:pt idx="294">
                  <c:v>39302</c:v>
                </c:pt>
                <c:pt idx="295">
                  <c:v>39303</c:v>
                </c:pt>
                <c:pt idx="296">
                  <c:v>39304</c:v>
                </c:pt>
                <c:pt idx="297">
                  <c:v>39307</c:v>
                </c:pt>
                <c:pt idx="298">
                  <c:v>39308</c:v>
                </c:pt>
                <c:pt idx="299">
                  <c:v>39309</c:v>
                </c:pt>
                <c:pt idx="300">
                  <c:v>39310</c:v>
                </c:pt>
                <c:pt idx="301">
                  <c:v>39311</c:v>
                </c:pt>
                <c:pt idx="302">
                  <c:v>39314</c:v>
                </c:pt>
                <c:pt idx="303">
                  <c:v>39315</c:v>
                </c:pt>
                <c:pt idx="304">
                  <c:v>39316</c:v>
                </c:pt>
                <c:pt idx="305">
                  <c:v>39317</c:v>
                </c:pt>
                <c:pt idx="306">
                  <c:v>39318</c:v>
                </c:pt>
                <c:pt idx="307">
                  <c:v>39321</c:v>
                </c:pt>
                <c:pt idx="308">
                  <c:v>39322</c:v>
                </c:pt>
                <c:pt idx="309">
                  <c:v>39323</c:v>
                </c:pt>
                <c:pt idx="310">
                  <c:v>39324</c:v>
                </c:pt>
                <c:pt idx="311">
                  <c:v>39325</c:v>
                </c:pt>
                <c:pt idx="312">
                  <c:v>39329</c:v>
                </c:pt>
                <c:pt idx="313">
                  <c:v>39330</c:v>
                </c:pt>
                <c:pt idx="314">
                  <c:v>39331</c:v>
                </c:pt>
                <c:pt idx="315">
                  <c:v>39332</c:v>
                </c:pt>
                <c:pt idx="316">
                  <c:v>39335</c:v>
                </c:pt>
                <c:pt idx="317">
                  <c:v>39336</c:v>
                </c:pt>
                <c:pt idx="318">
                  <c:v>39337</c:v>
                </c:pt>
                <c:pt idx="319">
                  <c:v>39338</c:v>
                </c:pt>
                <c:pt idx="320">
                  <c:v>39339</c:v>
                </c:pt>
                <c:pt idx="321">
                  <c:v>39342</c:v>
                </c:pt>
                <c:pt idx="322">
                  <c:v>39343</c:v>
                </c:pt>
                <c:pt idx="323">
                  <c:v>39344</c:v>
                </c:pt>
                <c:pt idx="324">
                  <c:v>39345</c:v>
                </c:pt>
                <c:pt idx="325">
                  <c:v>39346</c:v>
                </c:pt>
                <c:pt idx="326">
                  <c:v>39349</c:v>
                </c:pt>
                <c:pt idx="327">
                  <c:v>39350</c:v>
                </c:pt>
                <c:pt idx="328">
                  <c:v>39351</c:v>
                </c:pt>
                <c:pt idx="329">
                  <c:v>39352</c:v>
                </c:pt>
                <c:pt idx="330">
                  <c:v>39353</c:v>
                </c:pt>
                <c:pt idx="331">
                  <c:v>39356</c:v>
                </c:pt>
                <c:pt idx="332">
                  <c:v>39357</c:v>
                </c:pt>
                <c:pt idx="333">
                  <c:v>39358</c:v>
                </c:pt>
                <c:pt idx="334">
                  <c:v>39359</c:v>
                </c:pt>
                <c:pt idx="335">
                  <c:v>39360</c:v>
                </c:pt>
                <c:pt idx="336">
                  <c:v>39363</c:v>
                </c:pt>
                <c:pt idx="337">
                  <c:v>39364</c:v>
                </c:pt>
                <c:pt idx="338">
                  <c:v>39365</c:v>
                </c:pt>
                <c:pt idx="339">
                  <c:v>39366</c:v>
                </c:pt>
                <c:pt idx="340">
                  <c:v>39367</c:v>
                </c:pt>
                <c:pt idx="341">
                  <c:v>39370</c:v>
                </c:pt>
                <c:pt idx="342">
                  <c:v>39371</c:v>
                </c:pt>
                <c:pt idx="343">
                  <c:v>39372</c:v>
                </c:pt>
                <c:pt idx="344">
                  <c:v>39373</c:v>
                </c:pt>
                <c:pt idx="345">
                  <c:v>39374</c:v>
                </c:pt>
                <c:pt idx="346">
                  <c:v>39377</c:v>
                </c:pt>
                <c:pt idx="347">
                  <c:v>39378</c:v>
                </c:pt>
                <c:pt idx="348">
                  <c:v>39379</c:v>
                </c:pt>
                <c:pt idx="349">
                  <c:v>39380</c:v>
                </c:pt>
                <c:pt idx="350">
                  <c:v>39381</c:v>
                </c:pt>
                <c:pt idx="351">
                  <c:v>39384</c:v>
                </c:pt>
                <c:pt idx="352">
                  <c:v>39385</c:v>
                </c:pt>
                <c:pt idx="353">
                  <c:v>39386</c:v>
                </c:pt>
                <c:pt idx="354">
                  <c:v>39387</c:v>
                </c:pt>
                <c:pt idx="355">
                  <c:v>39388</c:v>
                </c:pt>
                <c:pt idx="356">
                  <c:v>39391</c:v>
                </c:pt>
                <c:pt idx="357">
                  <c:v>39392</c:v>
                </c:pt>
                <c:pt idx="358">
                  <c:v>39393</c:v>
                </c:pt>
                <c:pt idx="359">
                  <c:v>39394</c:v>
                </c:pt>
                <c:pt idx="360">
                  <c:v>39395</c:v>
                </c:pt>
                <c:pt idx="361">
                  <c:v>39398</c:v>
                </c:pt>
                <c:pt idx="362">
                  <c:v>39399</c:v>
                </c:pt>
                <c:pt idx="363">
                  <c:v>39400</c:v>
                </c:pt>
                <c:pt idx="364">
                  <c:v>39401</c:v>
                </c:pt>
                <c:pt idx="365">
                  <c:v>39402</c:v>
                </c:pt>
                <c:pt idx="366">
                  <c:v>39405</c:v>
                </c:pt>
                <c:pt idx="367">
                  <c:v>39406</c:v>
                </c:pt>
                <c:pt idx="368">
                  <c:v>39407</c:v>
                </c:pt>
                <c:pt idx="369">
                  <c:v>39409</c:v>
                </c:pt>
                <c:pt idx="370">
                  <c:v>39412</c:v>
                </c:pt>
                <c:pt idx="371">
                  <c:v>39413</c:v>
                </c:pt>
                <c:pt idx="372">
                  <c:v>39414</c:v>
                </c:pt>
                <c:pt idx="373">
                  <c:v>39415</c:v>
                </c:pt>
                <c:pt idx="374">
                  <c:v>39416</c:v>
                </c:pt>
                <c:pt idx="375">
                  <c:v>39419</c:v>
                </c:pt>
                <c:pt idx="376">
                  <c:v>39420</c:v>
                </c:pt>
                <c:pt idx="377">
                  <c:v>39421</c:v>
                </c:pt>
                <c:pt idx="378">
                  <c:v>39422</c:v>
                </c:pt>
                <c:pt idx="379">
                  <c:v>39423</c:v>
                </c:pt>
                <c:pt idx="380">
                  <c:v>39426</c:v>
                </c:pt>
                <c:pt idx="381">
                  <c:v>39427</c:v>
                </c:pt>
                <c:pt idx="382">
                  <c:v>39428</c:v>
                </c:pt>
                <c:pt idx="383">
                  <c:v>39429</c:v>
                </c:pt>
                <c:pt idx="384">
                  <c:v>39430</c:v>
                </c:pt>
                <c:pt idx="385">
                  <c:v>39433</c:v>
                </c:pt>
                <c:pt idx="386">
                  <c:v>39434</c:v>
                </c:pt>
                <c:pt idx="387">
                  <c:v>39435</c:v>
                </c:pt>
                <c:pt idx="388">
                  <c:v>39436</c:v>
                </c:pt>
                <c:pt idx="389">
                  <c:v>39437</c:v>
                </c:pt>
                <c:pt idx="390">
                  <c:v>39440</c:v>
                </c:pt>
                <c:pt idx="391">
                  <c:v>39442</c:v>
                </c:pt>
                <c:pt idx="392">
                  <c:v>39443</c:v>
                </c:pt>
                <c:pt idx="393">
                  <c:v>39444</c:v>
                </c:pt>
                <c:pt idx="394">
                  <c:v>39447</c:v>
                </c:pt>
                <c:pt idx="395">
                  <c:v>39449</c:v>
                </c:pt>
                <c:pt idx="396">
                  <c:v>39450</c:v>
                </c:pt>
                <c:pt idx="397">
                  <c:v>39451</c:v>
                </c:pt>
                <c:pt idx="398">
                  <c:v>39454</c:v>
                </c:pt>
                <c:pt idx="399">
                  <c:v>39455</c:v>
                </c:pt>
                <c:pt idx="400">
                  <c:v>39456</c:v>
                </c:pt>
                <c:pt idx="401">
                  <c:v>39457</c:v>
                </c:pt>
                <c:pt idx="402">
                  <c:v>39458</c:v>
                </c:pt>
                <c:pt idx="403">
                  <c:v>39461</c:v>
                </c:pt>
                <c:pt idx="404">
                  <c:v>39462</c:v>
                </c:pt>
                <c:pt idx="405">
                  <c:v>39463</c:v>
                </c:pt>
                <c:pt idx="406">
                  <c:v>39464</c:v>
                </c:pt>
                <c:pt idx="407">
                  <c:v>39465</c:v>
                </c:pt>
                <c:pt idx="408">
                  <c:v>39469</c:v>
                </c:pt>
                <c:pt idx="409">
                  <c:v>39470</c:v>
                </c:pt>
                <c:pt idx="410">
                  <c:v>39471</c:v>
                </c:pt>
                <c:pt idx="411">
                  <c:v>39472</c:v>
                </c:pt>
                <c:pt idx="412">
                  <c:v>39475</c:v>
                </c:pt>
                <c:pt idx="413">
                  <c:v>39476</c:v>
                </c:pt>
                <c:pt idx="414">
                  <c:v>39477</c:v>
                </c:pt>
                <c:pt idx="415">
                  <c:v>39478</c:v>
                </c:pt>
                <c:pt idx="416">
                  <c:v>39479</c:v>
                </c:pt>
                <c:pt idx="417">
                  <c:v>39482</c:v>
                </c:pt>
                <c:pt idx="418">
                  <c:v>39483</c:v>
                </c:pt>
                <c:pt idx="419">
                  <c:v>39484</c:v>
                </c:pt>
                <c:pt idx="420">
                  <c:v>39485</c:v>
                </c:pt>
                <c:pt idx="421">
                  <c:v>39486</c:v>
                </c:pt>
                <c:pt idx="422">
                  <c:v>39489</c:v>
                </c:pt>
                <c:pt idx="423">
                  <c:v>39490</c:v>
                </c:pt>
                <c:pt idx="424">
                  <c:v>39491</c:v>
                </c:pt>
                <c:pt idx="425">
                  <c:v>39492</c:v>
                </c:pt>
                <c:pt idx="426">
                  <c:v>39493</c:v>
                </c:pt>
                <c:pt idx="427">
                  <c:v>39497</c:v>
                </c:pt>
                <c:pt idx="428">
                  <c:v>39498</c:v>
                </c:pt>
                <c:pt idx="429">
                  <c:v>39499</c:v>
                </c:pt>
                <c:pt idx="430">
                  <c:v>39500</c:v>
                </c:pt>
                <c:pt idx="431">
                  <c:v>39503</c:v>
                </c:pt>
                <c:pt idx="432">
                  <c:v>39504</c:v>
                </c:pt>
                <c:pt idx="433">
                  <c:v>39505</c:v>
                </c:pt>
                <c:pt idx="434">
                  <c:v>39506</c:v>
                </c:pt>
                <c:pt idx="435">
                  <c:v>39507</c:v>
                </c:pt>
                <c:pt idx="436">
                  <c:v>39510</c:v>
                </c:pt>
                <c:pt idx="437">
                  <c:v>39511</c:v>
                </c:pt>
                <c:pt idx="438">
                  <c:v>39512</c:v>
                </c:pt>
                <c:pt idx="439">
                  <c:v>39513</c:v>
                </c:pt>
                <c:pt idx="440">
                  <c:v>39514</c:v>
                </c:pt>
                <c:pt idx="441">
                  <c:v>39517</c:v>
                </c:pt>
                <c:pt idx="442">
                  <c:v>39518</c:v>
                </c:pt>
                <c:pt idx="443">
                  <c:v>39519</c:v>
                </c:pt>
                <c:pt idx="444">
                  <c:v>39520</c:v>
                </c:pt>
                <c:pt idx="445">
                  <c:v>39521</c:v>
                </c:pt>
                <c:pt idx="446">
                  <c:v>39524</c:v>
                </c:pt>
                <c:pt idx="447">
                  <c:v>39525</c:v>
                </c:pt>
                <c:pt idx="448">
                  <c:v>39526</c:v>
                </c:pt>
                <c:pt idx="449">
                  <c:v>39527</c:v>
                </c:pt>
                <c:pt idx="450">
                  <c:v>39531</c:v>
                </c:pt>
                <c:pt idx="451">
                  <c:v>39532</c:v>
                </c:pt>
                <c:pt idx="452">
                  <c:v>39533</c:v>
                </c:pt>
                <c:pt idx="453">
                  <c:v>39534</c:v>
                </c:pt>
                <c:pt idx="454">
                  <c:v>39535</c:v>
                </c:pt>
                <c:pt idx="455">
                  <c:v>39538</c:v>
                </c:pt>
                <c:pt idx="456">
                  <c:v>39539</c:v>
                </c:pt>
                <c:pt idx="457">
                  <c:v>39540</c:v>
                </c:pt>
                <c:pt idx="458">
                  <c:v>39541</c:v>
                </c:pt>
                <c:pt idx="459">
                  <c:v>39542</c:v>
                </c:pt>
                <c:pt idx="460">
                  <c:v>39545</c:v>
                </c:pt>
                <c:pt idx="461">
                  <c:v>39546</c:v>
                </c:pt>
                <c:pt idx="462">
                  <c:v>39547</c:v>
                </c:pt>
                <c:pt idx="463">
                  <c:v>39548</c:v>
                </c:pt>
                <c:pt idx="464">
                  <c:v>39549</c:v>
                </c:pt>
                <c:pt idx="465">
                  <c:v>39552</c:v>
                </c:pt>
                <c:pt idx="466">
                  <c:v>39553</c:v>
                </c:pt>
                <c:pt idx="467">
                  <c:v>39554</c:v>
                </c:pt>
                <c:pt idx="468">
                  <c:v>39555</c:v>
                </c:pt>
                <c:pt idx="469">
                  <c:v>39556</c:v>
                </c:pt>
                <c:pt idx="470">
                  <c:v>39559</c:v>
                </c:pt>
                <c:pt idx="471">
                  <c:v>39560</c:v>
                </c:pt>
                <c:pt idx="472">
                  <c:v>39561</c:v>
                </c:pt>
                <c:pt idx="473">
                  <c:v>39562</c:v>
                </c:pt>
                <c:pt idx="474">
                  <c:v>39563</c:v>
                </c:pt>
                <c:pt idx="475">
                  <c:v>39566</c:v>
                </c:pt>
                <c:pt idx="476">
                  <c:v>39567</c:v>
                </c:pt>
                <c:pt idx="477">
                  <c:v>39568</c:v>
                </c:pt>
                <c:pt idx="478">
                  <c:v>39569</c:v>
                </c:pt>
                <c:pt idx="479">
                  <c:v>39570</c:v>
                </c:pt>
                <c:pt idx="480">
                  <c:v>39573</c:v>
                </c:pt>
                <c:pt idx="481">
                  <c:v>39574</c:v>
                </c:pt>
                <c:pt idx="482">
                  <c:v>39575</c:v>
                </c:pt>
                <c:pt idx="483">
                  <c:v>39576</c:v>
                </c:pt>
                <c:pt idx="484">
                  <c:v>39577</c:v>
                </c:pt>
                <c:pt idx="485">
                  <c:v>39580</c:v>
                </c:pt>
                <c:pt idx="486">
                  <c:v>39581</c:v>
                </c:pt>
                <c:pt idx="487">
                  <c:v>39582</c:v>
                </c:pt>
                <c:pt idx="488">
                  <c:v>39583</c:v>
                </c:pt>
                <c:pt idx="489">
                  <c:v>39584</c:v>
                </c:pt>
                <c:pt idx="490">
                  <c:v>39587</c:v>
                </c:pt>
                <c:pt idx="491">
                  <c:v>39588</c:v>
                </c:pt>
                <c:pt idx="492">
                  <c:v>39589</c:v>
                </c:pt>
                <c:pt idx="493">
                  <c:v>39590</c:v>
                </c:pt>
                <c:pt idx="494">
                  <c:v>39591</c:v>
                </c:pt>
                <c:pt idx="495">
                  <c:v>39595</c:v>
                </c:pt>
                <c:pt idx="496">
                  <c:v>39596</c:v>
                </c:pt>
                <c:pt idx="497">
                  <c:v>39597</c:v>
                </c:pt>
                <c:pt idx="498">
                  <c:v>39598</c:v>
                </c:pt>
                <c:pt idx="499">
                  <c:v>39601</c:v>
                </c:pt>
                <c:pt idx="500">
                  <c:v>39602</c:v>
                </c:pt>
                <c:pt idx="501">
                  <c:v>39603</c:v>
                </c:pt>
                <c:pt idx="502">
                  <c:v>39604</c:v>
                </c:pt>
                <c:pt idx="503">
                  <c:v>39605</c:v>
                </c:pt>
                <c:pt idx="504">
                  <c:v>39608</c:v>
                </c:pt>
                <c:pt idx="505">
                  <c:v>39609</c:v>
                </c:pt>
                <c:pt idx="506">
                  <c:v>39610</c:v>
                </c:pt>
                <c:pt idx="507">
                  <c:v>39611</c:v>
                </c:pt>
                <c:pt idx="508">
                  <c:v>39612</c:v>
                </c:pt>
                <c:pt idx="509">
                  <c:v>39615</c:v>
                </c:pt>
                <c:pt idx="510">
                  <c:v>39616</c:v>
                </c:pt>
                <c:pt idx="511">
                  <c:v>39617</c:v>
                </c:pt>
                <c:pt idx="512">
                  <c:v>39618</c:v>
                </c:pt>
                <c:pt idx="513">
                  <c:v>39619</c:v>
                </c:pt>
                <c:pt idx="514">
                  <c:v>39622</c:v>
                </c:pt>
                <c:pt idx="515">
                  <c:v>39623</c:v>
                </c:pt>
                <c:pt idx="516">
                  <c:v>39624</c:v>
                </c:pt>
                <c:pt idx="517">
                  <c:v>39625</c:v>
                </c:pt>
                <c:pt idx="518">
                  <c:v>39626</c:v>
                </c:pt>
                <c:pt idx="519">
                  <c:v>39629</c:v>
                </c:pt>
                <c:pt idx="520">
                  <c:v>39630</c:v>
                </c:pt>
                <c:pt idx="521">
                  <c:v>39631</c:v>
                </c:pt>
                <c:pt idx="522">
                  <c:v>39632</c:v>
                </c:pt>
                <c:pt idx="523">
                  <c:v>39636</c:v>
                </c:pt>
                <c:pt idx="524">
                  <c:v>39637</c:v>
                </c:pt>
                <c:pt idx="525">
                  <c:v>39638</c:v>
                </c:pt>
                <c:pt idx="526">
                  <c:v>39639</c:v>
                </c:pt>
                <c:pt idx="527">
                  <c:v>39640</c:v>
                </c:pt>
                <c:pt idx="528">
                  <c:v>39643</c:v>
                </c:pt>
                <c:pt idx="529">
                  <c:v>39644</c:v>
                </c:pt>
                <c:pt idx="530">
                  <c:v>39645</c:v>
                </c:pt>
                <c:pt idx="531">
                  <c:v>39646</c:v>
                </c:pt>
                <c:pt idx="532">
                  <c:v>39647</c:v>
                </c:pt>
                <c:pt idx="533">
                  <c:v>39650</c:v>
                </c:pt>
                <c:pt idx="534">
                  <c:v>39651</c:v>
                </c:pt>
                <c:pt idx="535">
                  <c:v>39652</c:v>
                </c:pt>
                <c:pt idx="536">
                  <c:v>39653</c:v>
                </c:pt>
                <c:pt idx="537">
                  <c:v>39654</c:v>
                </c:pt>
                <c:pt idx="538">
                  <c:v>39657</c:v>
                </c:pt>
                <c:pt idx="539">
                  <c:v>39658</c:v>
                </c:pt>
                <c:pt idx="540">
                  <c:v>39659</c:v>
                </c:pt>
                <c:pt idx="541">
                  <c:v>39660</c:v>
                </c:pt>
                <c:pt idx="542">
                  <c:v>39661</c:v>
                </c:pt>
                <c:pt idx="543">
                  <c:v>39664</c:v>
                </c:pt>
                <c:pt idx="544">
                  <c:v>39665</c:v>
                </c:pt>
                <c:pt idx="545">
                  <c:v>39666</c:v>
                </c:pt>
                <c:pt idx="546">
                  <c:v>39667</c:v>
                </c:pt>
                <c:pt idx="547">
                  <c:v>39668</c:v>
                </c:pt>
                <c:pt idx="548">
                  <c:v>39671</c:v>
                </c:pt>
                <c:pt idx="549">
                  <c:v>39672</c:v>
                </c:pt>
                <c:pt idx="550">
                  <c:v>39673</c:v>
                </c:pt>
                <c:pt idx="551">
                  <c:v>39674</c:v>
                </c:pt>
                <c:pt idx="552">
                  <c:v>39675</c:v>
                </c:pt>
                <c:pt idx="553">
                  <c:v>39678</c:v>
                </c:pt>
                <c:pt idx="554">
                  <c:v>39679</c:v>
                </c:pt>
                <c:pt idx="555">
                  <c:v>39680</c:v>
                </c:pt>
                <c:pt idx="556">
                  <c:v>39681</c:v>
                </c:pt>
                <c:pt idx="557">
                  <c:v>39682</c:v>
                </c:pt>
                <c:pt idx="558">
                  <c:v>39685</c:v>
                </c:pt>
                <c:pt idx="559">
                  <c:v>39686</c:v>
                </c:pt>
                <c:pt idx="560">
                  <c:v>39687</c:v>
                </c:pt>
                <c:pt idx="561">
                  <c:v>39688</c:v>
                </c:pt>
                <c:pt idx="562">
                  <c:v>39689</c:v>
                </c:pt>
                <c:pt idx="563">
                  <c:v>39693</c:v>
                </c:pt>
                <c:pt idx="564">
                  <c:v>39694</c:v>
                </c:pt>
                <c:pt idx="565">
                  <c:v>39695</c:v>
                </c:pt>
                <c:pt idx="566">
                  <c:v>39696</c:v>
                </c:pt>
                <c:pt idx="567">
                  <c:v>39699</c:v>
                </c:pt>
                <c:pt idx="568">
                  <c:v>39700</c:v>
                </c:pt>
                <c:pt idx="569">
                  <c:v>39701</c:v>
                </c:pt>
                <c:pt idx="570">
                  <c:v>39702</c:v>
                </c:pt>
                <c:pt idx="571">
                  <c:v>39703</c:v>
                </c:pt>
                <c:pt idx="572">
                  <c:v>39706</c:v>
                </c:pt>
                <c:pt idx="573">
                  <c:v>39707</c:v>
                </c:pt>
                <c:pt idx="574">
                  <c:v>39708</c:v>
                </c:pt>
                <c:pt idx="575">
                  <c:v>39709</c:v>
                </c:pt>
                <c:pt idx="576">
                  <c:v>39710</c:v>
                </c:pt>
                <c:pt idx="577">
                  <c:v>39713</c:v>
                </c:pt>
                <c:pt idx="578">
                  <c:v>39714</c:v>
                </c:pt>
                <c:pt idx="579">
                  <c:v>39715</c:v>
                </c:pt>
                <c:pt idx="580">
                  <c:v>39716</c:v>
                </c:pt>
                <c:pt idx="581">
                  <c:v>39717</c:v>
                </c:pt>
                <c:pt idx="582">
                  <c:v>39720</c:v>
                </c:pt>
                <c:pt idx="583">
                  <c:v>39721</c:v>
                </c:pt>
                <c:pt idx="584">
                  <c:v>39722</c:v>
                </c:pt>
                <c:pt idx="585">
                  <c:v>39723</c:v>
                </c:pt>
                <c:pt idx="586">
                  <c:v>39724</c:v>
                </c:pt>
                <c:pt idx="587">
                  <c:v>39727</c:v>
                </c:pt>
                <c:pt idx="588">
                  <c:v>39728</c:v>
                </c:pt>
                <c:pt idx="589">
                  <c:v>39729</c:v>
                </c:pt>
                <c:pt idx="590">
                  <c:v>39730</c:v>
                </c:pt>
                <c:pt idx="591">
                  <c:v>39731</c:v>
                </c:pt>
                <c:pt idx="592">
                  <c:v>39734</c:v>
                </c:pt>
                <c:pt idx="593">
                  <c:v>39735</c:v>
                </c:pt>
                <c:pt idx="594">
                  <c:v>39736</c:v>
                </c:pt>
                <c:pt idx="595">
                  <c:v>39737</c:v>
                </c:pt>
                <c:pt idx="596">
                  <c:v>39738</c:v>
                </c:pt>
                <c:pt idx="597">
                  <c:v>39741</c:v>
                </c:pt>
                <c:pt idx="598">
                  <c:v>39742</c:v>
                </c:pt>
                <c:pt idx="599">
                  <c:v>39743</c:v>
                </c:pt>
                <c:pt idx="600">
                  <c:v>39744</c:v>
                </c:pt>
                <c:pt idx="601">
                  <c:v>39745</c:v>
                </c:pt>
                <c:pt idx="602">
                  <c:v>39748</c:v>
                </c:pt>
                <c:pt idx="603">
                  <c:v>39749</c:v>
                </c:pt>
                <c:pt idx="604">
                  <c:v>39750</c:v>
                </c:pt>
                <c:pt idx="605">
                  <c:v>39751</c:v>
                </c:pt>
                <c:pt idx="606">
                  <c:v>39752</c:v>
                </c:pt>
                <c:pt idx="607">
                  <c:v>39755</c:v>
                </c:pt>
                <c:pt idx="608">
                  <c:v>39756</c:v>
                </c:pt>
                <c:pt idx="609">
                  <c:v>39757</c:v>
                </c:pt>
                <c:pt idx="610">
                  <c:v>39758</c:v>
                </c:pt>
                <c:pt idx="611">
                  <c:v>39759</c:v>
                </c:pt>
                <c:pt idx="612">
                  <c:v>39762</c:v>
                </c:pt>
                <c:pt idx="613">
                  <c:v>39763</c:v>
                </c:pt>
                <c:pt idx="614">
                  <c:v>39764</c:v>
                </c:pt>
                <c:pt idx="615">
                  <c:v>39765</c:v>
                </c:pt>
                <c:pt idx="616">
                  <c:v>39766</c:v>
                </c:pt>
                <c:pt idx="617">
                  <c:v>39769</c:v>
                </c:pt>
                <c:pt idx="618">
                  <c:v>39770</c:v>
                </c:pt>
                <c:pt idx="619">
                  <c:v>39771</c:v>
                </c:pt>
                <c:pt idx="620">
                  <c:v>39772</c:v>
                </c:pt>
                <c:pt idx="621">
                  <c:v>39773</c:v>
                </c:pt>
                <c:pt idx="622">
                  <c:v>39776</c:v>
                </c:pt>
                <c:pt idx="623">
                  <c:v>39777</c:v>
                </c:pt>
                <c:pt idx="624">
                  <c:v>39778</c:v>
                </c:pt>
                <c:pt idx="625">
                  <c:v>39780</c:v>
                </c:pt>
                <c:pt idx="626">
                  <c:v>39783</c:v>
                </c:pt>
                <c:pt idx="627">
                  <c:v>39784</c:v>
                </c:pt>
                <c:pt idx="628">
                  <c:v>39785</c:v>
                </c:pt>
                <c:pt idx="629">
                  <c:v>39786</c:v>
                </c:pt>
                <c:pt idx="630">
                  <c:v>39787</c:v>
                </c:pt>
                <c:pt idx="631">
                  <c:v>39790</c:v>
                </c:pt>
                <c:pt idx="632">
                  <c:v>39791</c:v>
                </c:pt>
                <c:pt idx="633">
                  <c:v>39792</c:v>
                </c:pt>
                <c:pt idx="634">
                  <c:v>39793</c:v>
                </c:pt>
                <c:pt idx="635">
                  <c:v>39794</c:v>
                </c:pt>
                <c:pt idx="636">
                  <c:v>39797</c:v>
                </c:pt>
                <c:pt idx="637">
                  <c:v>39798</c:v>
                </c:pt>
                <c:pt idx="638">
                  <c:v>39799</c:v>
                </c:pt>
                <c:pt idx="639">
                  <c:v>39800</c:v>
                </c:pt>
                <c:pt idx="640">
                  <c:v>39801</c:v>
                </c:pt>
                <c:pt idx="641">
                  <c:v>39804</c:v>
                </c:pt>
                <c:pt idx="642">
                  <c:v>39805</c:v>
                </c:pt>
                <c:pt idx="643">
                  <c:v>39806</c:v>
                </c:pt>
                <c:pt idx="644">
                  <c:v>39808</c:v>
                </c:pt>
                <c:pt idx="645">
                  <c:v>39811</c:v>
                </c:pt>
                <c:pt idx="646">
                  <c:v>39812</c:v>
                </c:pt>
                <c:pt idx="647">
                  <c:v>39813</c:v>
                </c:pt>
                <c:pt idx="648">
                  <c:v>39815</c:v>
                </c:pt>
                <c:pt idx="649">
                  <c:v>39818</c:v>
                </c:pt>
                <c:pt idx="650">
                  <c:v>39819</c:v>
                </c:pt>
                <c:pt idx="651">
                  <c:v>39820</c:v>
                </c:pt>
                <c:pt idx="652">
                  <c:v>39821</c:v>
                </c:pt>
                <c:pt idx="653">
                  <c:v>39822</c:v>
                </c:pt>
                <c:pt idx="654">
                  <c:v>39825</c:v>
                </c:pt>
                <c:pt idx="655">
                  <c:v>39826</c:v>
                </c:pt>
                <c:pt idx="656">
                  <c:v>39827</c:v>
                </c:pt>
                <c:pt idx="657">
                  <c:v>39828</c:v>
                </c:pt>
                <c:pt idx="658">
                  <c:v>39829</c:v>
                </c:pt>
                <c:pt idx="659">
                  <c:v>39833</c:v>
                </c:pt>
                <c:pt idx="660">
                  <c:v>39834</c:v>
                </c:pt>
                <c:pt idx="661">
                  <c:v>39835</c:v>
                </c:pt>
                <c:pt idx="662">
                  <c:v>39836</c:v>
                </c:pt>
                <c:pt idx="663">
                  <c:v>39839</c:v>
                </c:pt>
                <c:pt idx="664">
                  <c:v>39840</c:v>
                </c:pt>
                <c:pt idx="665">
                  <c:v>39841</c:v>
                </c:pt>
                <c:pt idx="666">
                  <c:v>39842</c:v>
                </c:pt>
                <c:pt idx="667">
                  <c:v>39843</c:v>
                </c:pt>
                <c:pt idx="668">
                  <c:v>39846</c:v>
                </c:pt>
                <c:pt idx="669">
                  <c:v>39847</c:v>
                </c:pt>
                <c:pt idx="670">
                  <c:v>39848</c:v>
                </c:pt>
                <c:pt idx="671">
                  <c:v>39849</c:v>
                </c:pt>
                <c:pt idx="672">
                  <c:v>39850</c:v>
                </c:pt>
                <c:pt idx="673">
                  <c:v>39853</c:v>
                </c:pt>
                <c:pt idx="674">
                  <c:v>39854</c:v>
                </c:pt>
                <c:pt idx="675">
                  <c:v>39855</c:v>
                </c:pt>
                <c:pt idx="676">
                  <c:v>39856</c:v>
                </c:pt>
                <c:pt idx="677">
                  <c:v>39857</c:v>
                </c:pt>
                <c:pt idx="678">
                  <c:v>39861</c:v>
                </c:pt>
                <c:pt idx="679">
                  <c:v>39862</c:v>
                </c:pt>
                <c:pt idx="680">
                  <c:v>39863</c:v>
                </c:pt>
                <c:pt idx="681">
                  <c:v>39864</c:v>
                </c:pt>
                <c:pt idx="682">
                  <c:v>39867</c:v>
                </c:pt>
                <c:pt idx="683">
                  <c:v>39868</c:v>
                </c:pt>
                <c:pt idx="684">
                  <c:v>39869</c:v>
                </c:pt>
                <c:pt idx="685">
                  <c:v>39870</c:v>
                </c:pt>
                <c:pt idx="686">
                  <c:v>39871</c:v>
                </c:pt>
                <c:pt idx="687">
                  <c:v>39874</c:v>
                </c:pt>
                <c:pt idx="688">
                  <c:v>39875</c:v>
                </c:pt>
                <c:pt idx="689">
                  <c:v>39876</c:v>
                </c:pt>
                <c:pt idx="690">
                  <c:v>39877</c:v>
                </c:pt>
                <c:pt idx="691">
                  <c:v>39878</c:v>
                </c:pt>
                <c:pt idx="692">
                  <c:v>39881</c:v>
                </c:pt>
                <c:pt idx="693">
                  <c:v>39882</c:v>
                </c:pt>
                <c:pt idx="694">
                  <c:v>39883</c:v>
                </c:pt>
                <c:pt idx="695">
                  <c:v>39884</c:v>
                </c:pt>
                <c:pt idx="696">
                  <c:v>39885</c:v>
                </c:pt>
                <c:pt idx="697">
                  <c:v>39888</c:v>
                </c:pt>
                <c:pt idx="698">
                  <c:v>39889</c:v>
                </c:pt>
                <c:pt idx="699">
                  <c:v>39890</c:v>
                </c:pt>
                <c:pt idx="700">
                  <c:v>39891</c:v>
                </c:pt>
                <c:pt idx="701">
                  <c:v>39892</c:v>
                </c:pt>
                <c:pt idx="702">
                  <c:v>39895</c:v>
                </c:pt>
                <c:pt idx="703">
                  <c:v>39896</c:v>
                </c:pt>
                <c:pt idx="704">
                  <c:v>39897</c:v>
                </c:pt>
                <c:pt idx="705">
                  <c:v>39898</c:v>
                </c:pt>
                <c:pt idx="706">
                  <c:v>39899</c:v>
                </c:pt>
                <c:pt idx="707">
                  <c:v>39902</c:v>
                </c:pt>
                <c:pt idx="708">
                  <c:v>39903</c:v>
                </c:pt>
                <c:pt idx="709">
                  <c:v>39904</c:v>
                </c:pt>
                <c:pt idx="710">
                  <c:v>39905</c:v>
                </c:pt>
                <c:pt idx="711">
                  <c:v>39906</c:v>
                </c:pt>
                <c:pt idx="712">
                  <c:v>39909</c:v>
                </c:pt>
                <c:pt idx="713">
                  <c:v>39910</c:v>
                </c:pt>
                <c:pt idx="714">
                  <c:v>39911</c:v>
                </c:pt>
                <c:pt idx="715">
                  <c:v>39912</c:v>
                </c:pt>
                <c:pt idx="716">
                  <c:v>39916</c:v>
                </c:pt>
                <c:pt idx="717">
                  <c:v>39917</c:v>
                </c:pt>
                <c:pt idx="718">
                  <c:v>39918</c:v>
                </c:pt>
                <c:pt idx="719">
                  <c:v>39919</c:v>
                </c:pt>
                <c:pt idx="720">
                  <c:v>39920</c:v>
                </c:pt>
                <c:pt idx="721">
                  <c:v>39923</c:v>
                </c:pt>
                <c:pt idx="722">
                  <c:v>39924</c:v>
                </c:pt>
                <c:pt idx="723">
                  <c:v>39925</c:v>
                </c:pt>
                <c:pt idx="724">
                  <c:v>39926</c:v>
                </c:pt>
                <c:pt idx="725">
                  <c:v>39927</c:v>
                </c:pt>
                <c:pt idx="726">
                  <c:v>39930</c:v>
                </c:pt>
                <c:pt idx="727">
                  <c:v>39931</c:v>
                </c:pt>
                <c:pt idx="728">
                  <c:v>39932</c:v>
                </c:pt>
                <c:pt idx="729">
                  <c:v>39933</c:v>
                </c:pt>
                <c:pt idx="730">
                  <c:v>39934</c:v>
                </c:pt>
                <c:pt idx="731">
                  <c:v>39937</c:v>
                </c:pt>
                <c:pt idx="732">
                  <c:v>39938</c:v>
                </c:pt>
                <c:pt idx="733">
                  <c:v>39939</c:v>
                </c:pt>
                <c:pt idx="734">
                  <c:v>39940</c:v>
                </c:pt>
                <c:pt idx="735">
                  <c:v>39941</c:v>
                </c:pt>
                <c:pt idx="736">
                  <c:v>39944</c:v>
                </c:pt>
                <c:pt idx="737">
                  <c:v>39945</c:v>
                </c:pt>
                <c:pt idx="738">
                  <c:v>39946</c:v>
                </c:pt>
                <c:pt idx="739">
                  <c:v>39947</c:v>
                </c:pt>
                <c:pt idx="740">
                  <c:v>39948</c:v>
                </c:pt>
                <c:pt idx="741">
                  <c:v>39951</c:v>
                </c:pt>
                <c:pt idx="742">
                  <c:v>39952</c:v>
                </c:pt>
                <c:pt idx="743">
                  <c:v>39953</c:v>
                </c:pt>
                <c:pt idx="744">
                  <c:v>39954</c:v>
                </c:pt>
                <c:pt idx="745">
                  <c:v>39955</c:v>
                </c:pt>
                <c:pt idx="746">
                  <c:v>39959</c:v>
                </c:pt>
                <c:pt idx="747">
                  <c:v>39960</c:v>
                </c:pt>
                <c:pt idx="748">
                  <c:v>39961</c:v>
                </c:pt>
                <c:pt idx="749">
                  <c:v>39962</c:v>
                </c:pt>
                <c:pt idx="750">
                  <c:v>39965</c:v>
                </c:pt>
                <c:pt idx="751">
                  <c:v>39966</c:v>
                </c:pt>
                <c:pt idx="752">
                  <c:v>39967</c:v>
                </c:pt>
                <c:pt idx="753">
                  <c:v>39968</c:v>
                </c:pt>
                <c:pt idx="754">
                  <c:v>39969</c:v>
                </c:pt>
                <c:pt idx="755">
                  <c:v>39972</c:v>
                </c:pt>
                <c:pt idx="756">
                  <c:v>39973</c:v>
                </c:pt>
                <c:pt idx="757">
                  <c:v>39974</c:v>
                </c:pt>
                <c:pt idx="758">
                  <c:v>39975</c:v>
                </c:pt>
                <c:pt idx="759">
                  <c:v>39976</c:v>
                </c:pt>
                <c:pt idx="760">
                  <c:v>39979</c:v>
                </c:pt>
                <c:pt idx="761">
                  <c:v>39980</c:v>
                </c:pt>
                <c:pt idx="762">
                  <c:v>39981</c:v>
                </c:pt>
                <c:pt idx="763">
                  <c:v>39982</c:v>
                </c:pt>
                <c:pt idx="764">
                  <c:v>39983</c:v>
                </c:pt>
                <c:pt idx="765">
                  <c:v>39986</c:v>
                </c:pt>
                <c:pt idx="766">
                  <c:v>39987</c:v>
                </c:pt>
                <c:pt idx="767">
                  <c:v>39988</c:v>
                </c:pt>
                <c:pt idx="768">
                  <c:v>39989</c:v>
                </c:pt>
                <c:pt idx="769">
                  <c:v>39990</c:v>
                </c:pt>
                <c:pt idx="770">
                  <c:v>39993</c:v>
                </c:pt>
                <c:pt idx="771">
                  <c:v>39994</c:v>
                </c:pt>
                <c:pt idx="772">
                  <c:v>39995</c:v>
                </c:pt>
                <c:pt idx="773">
                  <c:v>39996</c:v>
                </c:pt>
                <c:pt idx="774">
                  <c:v>40000</c:v>
                </c:pt>
                <c:pt idx="775">
                  <c:v>40001</c:v>
                </c:pt>
                <c:pt idx="776">
                  <c:v>40002</c:v>
                </c:pt>
                <c:pt idx="777">
                  <c:v>40003</c:v>
                </c:pt>
                <c:pt idx="778">
                  <c:v>40004</c:v>
                </c:pt>
                <c:pt idx="779">
                  <c:v>40007</c:v>
                </c:pt>
                <c:pt idx="780">
                  <c:v>40008</c:v>
                </c:pt>
                <c:pt idx="781">
                  <c:v>40009</c:v>
                </c:pt>
                <c:pt idx="782">
                  <c:v>40010</c:v>
                </c:pt>
                <c:pt idx="783">
                  <c:v>40011</c:v>
                </c:pt>
                <c:pt idx="784">
                  <c:v>40014</c:v>
                </c:pt>
                <c:pt idx="785">
                  <c:v>40015</c:v>
                </c:pt>
                <c:pt idx="786">
                  <c:v>40016</c:v>
                </c:pt>
                <c:pt idx="787">
                  <c:v>40017</c:v>
                </c:pt>
                <c:pt idx="788">
                  <c:v>40018</c:v>
                </c:pt>
                <c:pt idx="789">
                  <c:v>40021</c:v>
                </c:pt>
                <c:pt idx="790">
                  <c:v>40022</c:v>
                </c:pt>
                <c:pt idx="791">
                  <c:v>40023</c:v>
                </c:pt>
                <c:pt idx="792">
                  <c:v>40024</c:v>
                </c:pt>
                <c:pt idx="793">
                  <c:v>40025</c:v>
                </c:pt>
                <c:pt idx="794">
                  <c:v>40028</c:v>
                </c:pt>
                <c:pt idx="795">
                  <c:v>40029</c:v>
                </c:pt>
                <c:pt idx="796">
                  <c:v>40030</c:v>
                </c:pt>
                <c:pt idx="797">
                  <c:v>40031</c:v>
                </c:pt>
                <c:pt idx="798">
                  <c:v>40032</c:v>
                </c:pt>
                <c:pt idx="799">
                  <c:v>40035</c:v>
                </c:pt>
                <c:pt idx="800">
                  <c:v>40036</c:v>
                </c:pt>
                <c:pt idx="801">
                  <c:v>40037</c:v>
                </c:pt>
                <c:pt idx="802">
                  <c:v>40038</c:v>
                </c:pt>
                <c:pt idx="803">
                  <c:v>40039</c:v>
                </c:pt>
                <c:pt idx="804">
                  <c:v>40042</c:v>
                </c:pt>
                <c:pt idx="805">
                  <c:v>40043</c:v>
                </c:pt>
                <c:pt idx="806">
                  <c:v>40044</c:v>
                </c:pt>
                <c:pt idx="807">
                  <c:v>40045</c:v>
                </c:pt>
                <c:pt idx="808">
                  <c:v>40046</c:v>
                </c:pt>
                <c:pt idx="809">
                  <c:v>40049</c:v>
                </c:pt>
                <c:pt idx="810">
                  <c:v>40050</c:v>
                </c:pt>
                <c:pt idx="811">
                  <c:v>40051</c:v>
                </c:pt>
                <c:pt idx="812">
                  <c:v>40052</c:v>
                </c:pt>
                <c:pt idx="813">
                  <c:v>40053</c:v>
                </c:pt>
                <c:pt idx="814">
                  <c:v>40056</c:v>
                </c:pt>
                <c:pt idx="815">
                  <c:v>40057</c:v>
                </c:pt>
                <c:pt idx="816">
                  <c:v>40058</c:v>
                </c:pt>
                <c:pt idx="817">
                  <c:v>40059</c:v>
                </c:pt>
                <c:pt idx="818">
                  <c:v>40060</c:v>
                </c:pt>
                <c:pt idx="819">
                  <c:v>40064</c:v>
                </c:pt>
                <c:pt idx="820">
                  <c:v>40065</c:v>
                </c:pt>
                <c:pt idx="821">
                  <c:v>40066</c:v>
                </c:pt>
                <c:pt idx="822">
                  <c:v>40067</c:v>
                </c:pt>
                <c:pt idx="823">
                  <c:v>40070</c:v>
                </c:pt>
                <c:pt idx="824">
                  <c:v>40071</c:v>
                </c:pt>
                <c:pt idx="825">
                  <c:v>40072</c:v>
                </c:pt>
                <c:pt idx="826">
                  <c:v>40073</c:v>
                </c:pt>
                <c:pt idx="827">
                  <c:v>40074</c:v>
                </c:pt>
                <c:pt idx="828">
                  <c:v>40077</c:v>
                </c:pt>
                <c:pt idx="829">
                  <c:v>40078</c:v>
                </c:pt>
                <c:pt idx="830">
                  <c:v>40079</c:v>
                </c:pt>
                <c:pt idx="831">
                  <c:v>40080</c:v>
                </c:pt>
                <c:pt idx="832">
                  <c:v>40081</c:v>
                </c:pt>
                <c:pt idx="833">
                  <c:v>40084</c:v>
                </c:pt>
                <c:pt idx="834">
                  <c:v>40085</c:v>
                </c:pt>
                <c:pt idx="835">
                  <c:v>40086</c:v>
                </c:pt>
                <c:pt idx="836">
                  <c:v>40087</c:v>
                </c:pt>
                <c:pt idx="837">
                  <c:v>40088</c:v>
                </c:pt>
                <c:pt idx="838">
                  <c:v>40091</c:v>
                </c:pt>
                <c:pt idx="839">
                  <c:v>40092</c:v>
                </c:pt>
                <c:pt idx="840">
                  <c:v>40093</c:v>
                </c:pt>
                <c:pt idx="841">
                  <c:v>40094</c:v>
                </c:pt>
                <c:pt idx="842">
                  <c:v>40095</c:v>
                </c:pt>
                <c:pt idx="843">
                  <c:v>40098</c:v>
                </c:pt>
                <c:pt idx="844">
                  <c:v>40099</c:v>
                </c:pt>
                <c:pt idx="845">
                  <c:v>40100</c:v>
                </c:pt>
                <c:pt idx="846">
                  <c:v>40101</c:v>
                </c:pt>
                <c:pt idx="847">
                  <c:v>40102</c:v>
                </c:pt>
                <c:pt idx="848">
                  <c:v>40105</c:v>
                </c:pt>
                <c:pt idx="849">
                  <c:v>40106</c:v>
                </c:pt>
                <c:pt idx="850">
                  <c:v>40107</c:v>
                </c:pt>
                <c:pt idx="851">
                  <c:v>40108</c:v>
                </c:pt>
                <c:pt idx="852">
                  <c:v>40109</c:v>
                </c:pt>
                <c:pt idx="853">
                  <c:v>40112</c:v>
                </c:pt>
                <c:pt idx="854">
                  <c:v>40113</c:v>
                </c:pt>
                <c:pt idx="855">
                  <c:v>40114</c:v>
                </c:pt>
                <c:pt idx="856">
                  <c:v>40115</c:v>
                </c:pt>
                <c:pt idx="857">
                  <c:v>40116</c:v>
                </c:pt>
                <c:pt idx="858">
                  <c:v>40119</c:v>
                </c:pt>
                <c:pt idx="859">
                  <c:v>40120</c:v>
                </c:pt>
                <c:pt idx="860">
                  <c:v>40121</c:v>
                </c:pt>
                <c:pt idx="861">
                  <c:v>40122</c:v>
                </c:pt>
                <c:pt idx="862">
                  <c:v>40123</c:v>
                </c:pt>
                <c:pt idx="863">
                  <c:v>40126</c:v>
                </c:pt>
                <c:pt idx="864">
                  <c:v>40127</c:v>
                </c:pt>
                <c:pt idx="865">
                  <c:v>40128</c:v>
                </c:pt>
                <c:pt idx="866">
                  <c:v>40129</c:v>
                </c:pt>
                <c:pt idx="867">
                  <c:v>40130</c:v>
                </c:pt>
                <c:pt idx="868">
                  <c:v>40133</c:v>
                </c:pt>
                <c:pt idx="869">
                  <c:v>40134</c:v>
                </c:pt>
                <c:pt idx="870">
                  <c:v>40135</c:v>
                </c:pt>
                <c:pt idx="871">
                  <c:v>40136</c:v>
                </c:pt>
                <c:pt idx="872">
                  <c:v>40137</c:v>
                </c:pt>
                <c:pt idx="873">
                  <c:v>40140</c:v>
                </c:pt>
                <c:pt idx="874">
                  <c:v>40141</c:v>
                </c:pt>
                <c:pt idx="875">
                  <c:v>40142</c:v>
                </c:pt>
                <c:pt idx="876">
                  <c:v>40144</c:v>
                </c:pt>
                <c:pt idx="877">
                  <c:v>40147</c:v>
                </c:pt>
                <c:pt idx="878">
                  <c:v>40148</c:v>
                </c:pt>
                <c:pt idx="879">
                  <c:v>40149</c:v>
                </c:pt>
                <c:pt idx="880">
                  <c:v>40150</c:v>
                </c:pt>
                <c:pt idx="881">
                  <c:v>40151</c:v>
                </c:pt>
                <c:pt idx="882">
                  <c:v>40154</c:v>
                </c:pt>
                <c:pt idx="883">
                  <c:v>40155</c:v>
                </c:pt>
                <c:pt idx="884">
                  <c:v>40156</c:v>
                </c:pt>
                <c:pt idx="885">
                  <c:v>40157</c:v>
                </c:pt>
                <c:pt idx="886">
                  <c:v>40158</c:v>
                </c:pt>
                <c:pt idx="887">
                  <c:v>40161</c:v>
                </c:pt>
                <c:pt idx="888">
                  <c:v>40162</c:v>
                </c:pt>
                <c:pt idx="889">
                  <c:v>40163</c:v>
                </c:pt>
                <c:pt idx="890">
                  <c:v>40164</c:v>
                </c:pt>
                <c:pt idx="891">
                  <c:v>40165</c:v>
                </c:pt>
                <c:pt idx="892">
                  <c:v>40168</c:v>
                </c:pt>
                <c:pt idx="893">
                  <c:v>40169</c:v>
                </c:pt>
                <c:pt idx="894">
                  <c:v>40170</c:v>
                </c:pt>
                <c:pt idx="895">
                  <c:v>40171</c:v>
                </c:pt>
                <c:pt idx="896">
                  <c:v>40175</c:v>
                </c:pt>
                <c:pt idx="897">
                  <c:v>40176</c:v>
                </c:pt>
                <c:pt idx="898">
                  <c:v>40177</c:v>
                </c:pt>
                <c:pt idx="899">
                  <c:v>40178</c:v>
                </c:pt>
                <c:pt idx="900">
                  <c:v>40182</c:v>
                </c:pt>
                <c:pt idx="901">
                  <c:v>40183</c:v>
                </c:pt>
                <c:pt idx="902">
                  <c:v>40184</c:v>
                </c:pt>
                <c:pt idx="903">
                  <c:v>40185</c:v>
                </c:pt>
                <c:pt idx="904">
                  <c:v>40186</c:v>
                </c:pt>
                <c:pt idx="905">
                  <c:v>40189</c:v>
                </c:pt>
                <c:pt idx="906">
                  <c:v>40190</c:v>
                </c:pt>
                <c:pt idx="907">
                  <c:v>40191</c:v>
                </c:pt>
                <c:pt idx="908">
                  <c:v>40192</c:v>
                </c:pt>
                <c:pt idx="909">
                  <c:v>40193</c:v>
                </c:pt>
                <c:pt idx="910">
                  <c:v>40197</c:v>
                </c:pt>
                <c:pt idx="911">
                  <c:v>40198</c:v>
                </c:pt>
                <c:pt idx="912">
                  <c:v>40199</c:v>
                </c:pt>
                <c:pt idx="913">
                  <c:v>40200</c:v>
                </c:pt>
                <c:pt idx="914">
                  <c:v>40203</c:v>
                </c:pt>
                <c:pt idx="915">
                  <c:v>40204</c:v>
                </c:pt>
                <c:pt idx="916">
                  <c:v>40205</c:v>
                </c:pt>
                <c:pt idx="917">
                  <c:v>40206</c:v>
                </c:pt>
                <c:pt idx="918">
                  <c:v>40207</c:v>
                </c:pt>
                <c:pt idx="919">
                  <c:v>40210</c:v>
                </c:pt>
                <c:pt idx="920">
                  <c:v>40211</c:v>
                </c:pt>
                <c:pt idx="921">
                  <c:v>40212</c:v>
                </c:pt>
                <c:pt idx="922">
                  <c:v>40213</c:v>
                </c:pt>
                <c:pt idx="923">
                  <c:v>40214</c:v>
                </c:pt>
                <c:pt idx="924">
                  <c:v>40217</c:v>
                </c:pt>
                <c:pt idx="925">
                  <c:v>40218</c:v>
                </c:pt>
                <c:pt idx="926">
                  <c:v>40219</c:v>
                </c:pt>
                <c:pt idx="927">
                  <c:v>40220</c:v>
                </c:pt>
                <c:pt idx="928">
                  <c:v>40221</c:v>
                </c:pt>
                <c:pt idx="929">
                  <c:v>40225</c:v>
                </c:pt>
                <c:pt idx="930">
                  <c:v>40226</c:v>
                </c:pt>
                <c:pt idx="931">
                  <c:v>40227</c:v>
                </c:pt>
                <c:pt idx="932">
                  <c:v>40228</c:v>
                </c:pt>
                <c:pt idx="933">
                  <c:v>40231</c:v>
                </c:pt>
                <c:pt idx="934">
                  <c:v>40232</c:v>
                </c:pt>
                <c:pt idx="935">
                  <c:v>40233</c:v>
                </c:pt>
                <c:pt idx="936">
                  <c:v>40234</c:v>
                </c:pt>
                <c:pt idx="937">
                  <c:v>40235</c:v>
                </c:pt>
                <c:pt idx="938">
                  <c:v>40238</c:v>
                </c:pt>
                <c:pt idx="939">
                  <c:v>40239</c:v>
                </c:pt>
                <c:pt idx="940">
                  <c:v>40240</c:v>
                </c:pt>
                <c:pt idx="941">
                  <c:v>40241</c:v>
                </c:pt>
                <c:pt idx="942">
                  <c:v>40242</c:v>
                </c:pt>
                <c:pt idx="943">
                  <c:v>40245</c:v>
                </c:pt>
                <c:pt idx="944">
                  <c:v>40246</c:v>
                </c:pt>
                <c:pt idx="945">
                  <c:v>40247</c:v>
                </c:pt>
                <c:pt idx="946">
                  <c:v>40248</c:v>
                </c:pt>
                <c:pt idx="947">
                  <c:v>40249</c:v>
                </c:pt>
                <c:pt idx="948">
                  <c:v>40252</c:v>
                </c:pt>
                <c:pt idx="949">
                  <c:v>40253</c:v>
                </c:pt>
                <c:pt idx="950">
                  <c:v>40254</c:v>
                </c:pt>
                <c:pt idx="951">
                  <c:v>40255</c:v>
                </c:pt>
                <c:pt idx="952">
                  <c:v>40256</c:v>
                </c:pt>
                <c:pt idx="953">
                  <c:v>40259</c:v>
                </c:pt>
                <c:pt idx="954">
                  <c:v>40260</c:v>
                </c:pt>
                <c:pt idx="955">
                  <c:v>40261</c:v>
                </c:pt>
                <c:pt idx="956">
                  <c:v>40262</c:v>
                </c:pt>
                <c:pt idx="957">
                  <c:v>40263</c:v>
                </c:pt>
                <c:pt idx="958">
                  <c:v>40266</c:v>
                </c:pt>
                <c:pt idx="959">
                  <c:v>40267</c:v>
                </c:pt>
                <c:pt idx="960">
                  <c:v>40268</c:v>
                </c:pt>
                <c:pt idx="961">
                  <c:v>40269</c:v>
                </c:pt>
                <c:pt idx="962">
                  <c:v>40273</c:v>
                </c:pt>
                <c:pt idx="963">
                  <c:v>40274</c:v>
                </c:pt>
                <c:pt idx="964">
                  <c:v>40275</c:v>
                </c:pt>
                <c:pt idx="965">
                  <c:v>40276</c:v>
                </c:pt>
                <c:pt idx="966">
                  <c:v>40277</c:v>
                </c:pt>
                <c:pt idx="967">
                  <c:v>40280</c:v>
                </c:pt>
                <c:pt idx="968">
                  <c:v>40281</c:v>
                </c:pt>
                <c:pt idx="969">
                  <c:v>40282</c:v>
                </c:pt>
                <c:pt idx="970">
                  <c:v>40283</c:v>
                </c:pt>
                <c:pt idx="971">
                  <c:v>40284</c:v>
                </c:pt>
                <c:pt idx="972">
                  <c:v>40287</c:v>
                </c:pt>
                <c:pt idx="973">
                  <c:v>40288</c:v>
                </c:pt>
                <c:pt idx="974">
                  <c:v>40289</c:v>
                </c:pt>
                <c:pt idx="975">
                  <c:v>40290</c:v>
                </c:pt>
                <c:pt idx="976">
                  <c:v>40291</c:v>
                </c:pt>
                <c:pt idx="977">
                  <c:v>40294</c:v>
                </c:pt>
                <c:pt idx="978">
                  <c:v>40295</c:v>
                </c:pt>
                <c:pt idx="979">
                  <c:v>40296</c:v>
                </c:pt>
                <c:pt idx="980">
                  <c:v>40297</c:v>
                </c:pt>
                <c:pt idx="981">
                  <c:v>40298</c:v>
                </c:pt>
                <c:pt idx="982">
                  <c:v>40301</c:v>
                </c:pt>
                <c:pt idx="983">
                  <c:v>40302</c:v>
                </c:pt>
                <c:pt idx="984">
                  <c:v>40303</c:v>
                </c:pt>
                <c:pt idx="985">
                  <c:v>40304</c:v>
                </c:pt>
                <c:pt idx="986">
                  <c:v>40305</c:v>
                </c:pt>
                <c:pt idx="987">
                  <c:v>40308</c:v>
                </c:pt>
                <c:pt idx="988">
                  <c:v>40309</c:v>
                </c:pt>
                <c:pt idx="989">
                  <c:v>40310</c:v>
                </c:pt>
                <c:pt idx="990">
                  <c:v>40311</c:v>
                </c:pt>
                <c:pt idx="991">
                  <c:v>40312</c:v>
                </c:pt>
                <c:pt idx="992">
                  <c:v>40315</c:v>
                </c:pt>
                <c:pt idx="993">
                  <c:v>40316</c:v>
                </c:pt>
                <c:pt idx="994">
                  <c:v>40317</c:v>
                </c:pt>
                <c:pt idx="995">
                  <c:v>40318</c:v>
                </c:pt>
                <c:pt idx="996">
                  <c:v>40319</c:v>
                </c:pt>
                <c:pt idx="997">
                  <c:v>40322</c:v>
                </c:pt>
                <c:pt idx="998">
                  <c:v>40323</c:v>
                </c:pt>
                <c:pt idx="999">
                  <c:v>40324</c:v>
                </c:pt>
                <c:pt idx="1000">
                  <c:v>40325</c:v>
                </c:pt>
                <c:pt idx="1001">
                  <c:v>40326</c:v>
                </c:pt>
                <c:pt idx="1002">
                  <c:v>40330</c:v>
                </c:pt>
                <c:pt idx="1003">
                  <c:v>40331</c:v>
                </c:pt>
                <c:pt idx="1004">
                  <c:v>40332</c:v>
                </c:pt>
                <c:pt idx="1005">
                  <c:v>40333</c:v>
                </c:pt>
                <c:pt idx="1006">
                  <c:v>40336</c:v>
                </c:pt>
                <c:pt idx="1007">
                  <c:v>40337</c:v>
                </c:pt>
                <c:pt idx="1008">
                  <c:v>40338</c:v>
                </c:pt>
                <c:pt idx="1009">
                  <c:v>40339</c:v>
                </c:pt>
                <c:pt idx="1010">
                  <c:v>40340</c:v>
                </c:pt>
                <c:pt idx="1011">
                  <c:v>40343</c:v>
                </c:pt>
                <c:pt idx="1012">
                  <c:v>40344</c:v>
                </c:pt>
                <c:pt idx="1013">
                  <c:v>40345</c:v>
                </c:pt>
                <c:pt idx="1014">
                  <c:v>40346</c:v>
                </c:pt>
                <c:pt idx="1015">
                  <c:v>40347</c:v>
                </c:pt>
                <c:pt idx="1016">
                  <c:v>40350</c:v>
                </c:pt>
                <c:pt idx="1017">
                  <c:v>40351</c:v>
                </c:pt>
                <c:pt idx="1018">
                  <c:v>40352</c:v>
                </c:pt>
                <c:pt idx="1019">
                  <c:v>40353</c:v>
                </c:pt>
                <c:pt idx="1020">
                  <c:v>40354</c:v>
                </c:pt>
                <c:pt idx="1021">
                  <c:v>40357</c:v>
                </c:pt>
                <c:pt idx="1022">
                  <c:v>40358</c:v>
                </c:pt>
                <c:pt idx="1023">
                  <c:v>40359</c:v>
                </c:pt>
                <c:pt idx="1024">
                  <c:v>40360</c:v>
                </c:pt>
                <c:pt idx="1025">
                  <c:v>40361</c:v>
                </c:pt>
                <c:pt idx="1026">
                  <c:v>40365</c:v>
                </c:pt>
                <c:pt idx="1027">
                  <c:v>40366</c:v>
                </c:pt>
                <c:pt idx="1028">
                  <c:v>40367</c:v>
                </c:pt>
                <c:pt idx="1029">
                  <c:v>40368</c:v>
                </c:pt>
                <c:pt idx="1030">
                  <c:v>40371</c:v>
                </c:pt>
                <c:pt idx="1031">
                  <c:v>40372</c:v>
                </c:pt>
                <c:pt idx="1032">
                  <c:v>40373</c:v>
                </c:pt>
                <c:pt idx="1033">
                  <c:v>40374</c:v>
                </c:pt>
                <c:pt idx="1034">
                  <c:v>40375</c:v>
                </c:pt>
                <c:pt idx="1035">
                  <c:v>40378</c:v>
                </c:pt>
                <c:pt idx="1036">
                  <c:v>40379</c:v>
                </c:pt>
                <c:pt idx="1037">
                  <c:v>40380</c:v>
                </c:pt>
                <c:pt idx="1038">
                  <c:v>40381</c:v>
                </c:pt>
                <c:pt idx="1039">
                  <c:v>40382</c:v>
                </c:pt>
                <c:pt idx="1040">
                  <c:v>40385</c:v>
                </c:pt>
                <c:pt idx="1041">
                  <c:v>40386</c:v>
                </c:pt>
                <c:pt idx="1042">
                  <c:v>40387</c:v>
                </c:pt>
                <c:pt idx="1043">
                  <c:v>40388</c:v>
                </c:pt>
                <c:pt idx="1044">
                  <c:v>40389</c:v>
                </c:pt>
                <c:pt idx="1045">
                  <c:v>40392</c:v>
                </c:pt>
                <c:pt idx="1046">
                  <c:v>40393</c:v>
                </c:pt>
                <c:pt idx="1047">
                  <c:v>40394</c:v>
                </c:pt>
                <c:pt idx="1048">
                  <c:v>40395</c:v>
                </c:pt>
                <c:pt idx="1049">
                  <c:v>40396</c:v>
                </c:pt>
                <c:pt idx="1050">
                  <c:v>40399</c:v>
                </c:pt>
                <c:pt idx="1051">
                  <c:v>40400</c:v>
                </c:pt>
                <c:pt idx="1052">
                  <c:v>40401</c:v>
                </c:pt>
                <c:pt idx="1053">
                  <c:v>40402</c:v>
                </c:pt>
                <c:pt idx="1054">
                  <c:v>40403</c:v>
                </c:pt>
                <c:pt idx="1055">
                  <c:v>40406</c:v>
                </c:pt>
                <c:pt idx="1056">
                  <c:v>40407</c:v>
                </c:pt>
                <c:pt idx="1057">
                  <c:v>40408</c:v>
                </c:pt>
                <c:pt idx="1058">
                  <c:v>40409</c:v>
                </c:pt>
                <c:pt idx="1059">
                  <c:v>40410</c:v>
                </c:pt>
                <c:pt idx="1060">
                  <c:v>40413</c:v>
                </c:pt>
                <c:pt idx="1061">
                  <c:v>40414</c:v>
                </c:pt>
                <c:pt idx="1062">
                  <c:v>40415</c:v>
                </c:pt>
                <c:pt idx="1063">
                  <c:v>40416</c:v>
                </c:pt>
                <c:pt idx="1064">
                  <c:v>40417</c:v>
                </c:pt>
                <c:pt idx="1065">
                  <c:v>40420</c:v>
                </c:pt>
                <c:pt idx="1066">
                  <c:v>40421</c:v>
                </c:pt>
                <c:pt idx="1067">
                  <c:v>40422</c:v>
                </c:pt>
                <c:pt idx="1068">
                  <c:v>40423</c:v>
                </c:pt>
                <c:pt idx="1069">
                  <c:v>40424</c:v>
                </c:pt>
                <c:pt idx="1070">
                  <c:v>40428</c:v>
                </c:pt>
                <c:pt idx="1071">
                  <c:v>40429</c:v>
                </c:pt>
                <c:pt idx="1072">
                  <c:v>40430</c:v>
                </c:pt>
                <c:pt idx="1073">
                  <c:v>40431</c:v>
                </c:pt>
                <c:pt idx="1074">
                  <c:v>40434</c:v>
                </c:pt>
                <c:pt idx="1075">
                  <c:v>40435</c:v>
                </c:pt>
                <c:pt idx="1076">
                  <c:v>40436</c:v>
                </c:pt>
                <c:pt idx="1077">
                  <c:v>40437</c:v>
                </c:pt>
                <c:pt idx="1078">
                  <c:v>40438</c:v>
                </c:pt>
                <c:pt idx="1079">
                  <c:v>40441</c:v>
                </c:pt>
                <c:pt idx="1080">
                  <c:v>40442</c:v>
                </c:pt>
                <c:pt idx="1081">
                  <c:v>40443</c:v>
                </c:pt>
                <c:pt idx="1082">
                  <c:v>40444</c:v>
                </c:pt>
                <c:pt idx="1083">
                  <c:v>40445</c:v>
                </c:pt>
                <c:pt idx="1084">
                  <c:v>40448</c:v>
                </c:pt>
                <c:pt idx="1085">
                  <c:v>40449</c:v>
                </c:pt>
                <c:pt idx="1086">
                  <c:v>40450</c:v>
                </c:pt>
                <c:pt idx="1087">
                  <c:v>40451</c:v>
                </c:pt>
                <c:pt idx="1088">
                  <c:v>40452</c:v>
                </c:pt>
                <c:pt idx="1089">
                  <c:v>40455</c:v>
                </c:pt>
                <c:pt idx="1090">
                  <c:v>40456</c:v>
                </c:pt>
                <c:pt idx="1091">
                  <c:v>40457</c:v>
                </c:pt>
                <c:pt idx="1092">
                  <c:v>40458</c:v>
                </c:pt>
                <c:pt idx="1093">
                  <c:v>40459</c:v>
                </c:pt>
                <c:pt idx="1094">
                  <c:v>40462</c:v>
                </c:pt>
                <c:pt idx="1095">
                  <c:v>40463</c:v>
                </c:pt>
                <c:pt idx="1096">
                  <c:v>40464</c:v>
                </c:pt>
                <c:pt idx="1097">
                  <c:v>40465</c:v>
                </c:pt>
                <c:pt idx="1098">
                  <c:v>40466</c:v>
                </c:pt>
                <c:pt idx="1099">
                  <c:v>40469</c:v>
                </c:pt>
                <c:pt idx="1100">
                  <c:v>40470</c:v>
                </c:pt>
                <c:pt idx="1101">
                  <c:v>40471</c:v>
                </c:pt>
                <c:pt idx="1102">
                  <c:v>40472</c:v>
                </c:pt>
                <c:pt idx="1103">
                  <c:v>40473</c:v>
                </c:pt>
                <c:pt idx="1104">
                  <c:v>40476</c:v>
                </c:pt>
                <c:pt idx="1105">
                  <c:v>40477</c:v>
                </c:pt>
                <c:pt idx="1106">
                  <c:v>40478</c:v>
                </c:pt>
                <c:pt idx="1107">
                  <c:v>40479</c:v>
                </c:pt>
                <c:pt idx="1108">
                  <c:v>40480</c:v>
                </c:pt>
                <c:pt idx="1109">
                  <c:v>40483</c:v>
                </c:pt>
                <c:pt idx="1110">
                  <c:v>40484</c:v>
                </c:pt>
                <c:pt idx="1111">
                  <c:v>40485</c:v>
                </c:pt>
                <c:pt idx="1112">
                  <c:v>40486</c:v>
                </c:pt>
                <c:pt idx="1113">
                  <c:v>40487</c:v>
                </c:pt>
                <c:pt idx="1114">
                  <c:v>40490</c:v>
                </c:pt>
                <c:pt idx="1115">
                  <c:v>40491</c:v>
                </c:pt>
                <c:pt idx="1116">
                  <c:v>40492</c:v>
                </c:pt>
                <c:pt idx="1117">
                  <c:v>40493</c:v>
                </c:pt>
                <c:pt idx="1118">
                  <c:v>40494</c:v>
                </c:pt>
                <c:pt idx="1119">
                  <c:v>40497</c:v>
                </c:pt>
                <c:pt idx="1120">
                  <c:v>40498</c:v>
                </c:pt>
                <c:pt idx="1121">
                  <c:v>40499</c:v>
                </c:pt>
                <c:pt idx="1122">
                  <c:v>40500</c:v>
                </c:pt>
                <c:pt idx="1123">
                  <c:v>40501</c:v>
                </c:pt>
                <c:pt idx="1124">
                  <c:v>40504</c:v>
                </c:pt>
                <c:pt idx="1125">
                  <c:v>40505</c:v>
                </c:pt>
                <c:pt idx="1126">
                  <c:v>40506</c:v>
                </c:pt>
                <c:pt idx="1127">
                  <c:v>40508</c:v>
                </c:pt>
                <c:pt idx="1128">
                  <c:v>40511</c:v>
                </c:pt>
                <c:pt idx="1129">
                  <c:v>40512</c:v>
                </c:pt>
                <c:pt idx="1130">
                  <c:v>40513</c:v>
                </c:pt>
                <c:pt idx="1131">
                  <c:v>40514</c:v>
                </c:pt>
                <c:pt idx="1132">
                  <c:v>40515</c:v>
                </c:pt>
                <c:pt idx="1133">
                  <c:v>40518</c:v>
                </c:pt>
                <c:pt idx="1134">
                  <c:v>40519</c:v>
                </c:pt>
                <c:pt idx="1135">
                  <c:v>40520</c:v>
                </c:pt>
                <c:pt idx="1136">
                  <c:v>40521</c:v>
                </c:pt>
                <c:pt idx="1137">
                  <c:v>40522</c:v>
                </c:pt>
                <c:pt idx="1138">
                  <c:v>40525</c:v>
                </c:pt>
                <c:pt idx="1139">
                  <c:v>40526</c:v>
                </c:pt>
                <c:pt idx="1140">
                  <c:v>40527</c:v>
                </c:pt>
                <c:pt idx="1141">
                  <c:v>40528</c:v>
                </c:pt>
                <c:pt idx="1142">
                  <c:v>40529</c:v>
                </c:pt>
                <c:pt idx="1143">
                  <c:v>40532</c:v>
                </c:pt>
                <c:pt idx="1144">
                  <c:v>40533</c:v>
                </c:pt>
                <c:pt idx="1145">
                  <c:v>40534</c:v>
                </c:pt>
                <c:pt idx="1146">
                  <c:v>40535</c:v>
                </c:pt>
                <c:pt idx="1147">
                  <c:v>40539</c:v>
                </c:pt>
                <c:pt idx="1148">
                  <c:v>40540</c:v>
                </c:pt>
                <c:pt idx="1149">
                  <c:v>40541</c:v>
                </c:pt>
                <c:pt idx="1150">
                  <c:v>40542</c:v>
                </c:pt>
                <c:pt idx="1151">
                  <c:v>40543</c:v>
                </c:pt>
                <c:pt idx="1152">
                  <c:v>40546</c:v>
                </c:pt>
                <c:pt idx="1153">
                  <c:v>40547</c:v>
                </c:pt>
                <c:pt idx="1154">
                  <c:v>40548</c:v>
                </c:pt>
                <c:pt idx="1155">
                  <c:v>40549</c:v>
                </c:pt>
                <c:pt idx="1156">
                  <c:v>40550</c:v>
                </c:pt>
                <c:pt idx="1157">
                  <c:v>40553</c:v>
                </c:pt>
                <c:pt idx="1158">
                  <c:v>40554</c:v>
                </c:pt>
                <c:pt idx="1159">
                  <c:v>40555</c:v>
                </c:pt>
                <c:pt idx="1160">
                  <c:v>40556</c:v>
                </c:pt>
                <c:pt idx="1161">
                  <c:v>40557</c:v>
                </c:pt>
                <c:pt idx="1162">
                  <c:v>40561</c:v>
                </c:pt>
                <c:pt idx="1163">
                  <c:v>40562</c:v>
                </c:pt>
                <c:pt idx="1164">
                  <c:v>40563</c:v>
                </c:pt>
                <c:pt idx="1165">
                  <c:v>40564</c:v>
                </c:pt>
                <c:pt idx="1166">
                  <c:v>40567</c:v>
                </c:pt>
                <c:pt idx="1167">
                  <c:v>40568</c:v>
                </c:pt>
                <c:pt idx="1168">
                  <c:v>40569</c:v>
                </c:pt>
                <c:pt idx="1169">
                  <c:v>40570</c:v>
                </c:pt>
                <c:pt idx="1170">
                  <c:v>40571</c:v>
                </c:pt>
                <c:pt idx="1171">
                  <c:v>40574</c:v>
                </c:pt>
                <c:pt idx="1172">
                  <c:v>40575</c:v>
                </c:pt>
                <c:pt idx="1173">
                  <c:v>40576</c:v>
                </c:pt>
                <c:pt idx="1174">
                  <c:v>40577</c:v>
                </c:pt>
                <c:pt idx="1175">
                  <c:v>40578</c:v>
                </c:pt>
                <c:pt idx="1176">
                  <c:v>40581</c:v>
                </c:pt>
                <c:pt idx="1177">
                  <c:v>40582</c:v>
                </c:pt>
                <c:pt idx="1178">
                  <c:v>40583</c:v>
                </c:pt>
                <c:pt idx="1179">
                  <c:v>40584</c:v>
                </c:pt>
                <c:pt idx="1180">
                  <c:v>40585</c:v>
                </c:pt>
                <c:pt idx="1181">
                  <c:v>40588</c:v>
                </c:pt>
                <c:pt idx="1182">
                  <c:v>40589</c:v>
                </c:pt>
                <c:pt idx="1183">
                  <c:v>40590</c:v>
                </c:pt>
                <c:pt idx="1184">
                  <c:v>40591</c:v>
                </c:pt>
                <c:pt idx="1185">
                  <c:v>40592</c:v>
                </c:pt>
                <c:pt idx="1186">
                  <c:v>40596</c:v>
                </c:pt>
                <c:pt idx="1187">
                  <c:v>40597</c:v>
                </c:pt>
                <c:pt idx="1188">
                  <c:v>40598</c:v>
                </c:pt>
                <c:pt idx="1189">
                  <c:v>40599</c:v>
                </c:pt>
                <c:pt idx="1190">
                  <c:v>40602</c:v>
                </c:pt>
                <c:pt idx="1191">
                  <c:v>40603</c:v>
                </c:pt>
                <c:pt idx="1192">
                  <c:v>40604</c:v>
                </c:pt>
                <c:pt idx="1193">
                  <c:v>40605</c:v>
                </c:pt>
                <c:pt idx="1194">
                  <c:v>40606</c:v>
                </c:pt>
                <c:pt idx="1195">
                  <c:v>40609</c:v>
                </c:pt>
                <c:pt idx="1196">
                  <c:v>40610</c:v>
                </c:pt>
                <c:pt idx="1197">
                  <c:v>40611</c:v>
                </c:pt>
                <c:pt idx="1198">
                  <c:v>40612</c:v>
                </c:pt>
                <c:pt idx="1199">
                  <c:v>40613</c:v>
                </c:pt>
                <c:pt idx="1200">
                  <c:v>40616</c:v>
                </c:pt>
                <c:pt idx="1201">
                  <c:v>40617</c:v>
                </c:pt>
                <c:pt idx="1202">
                  <c:v>40618</c:v>
                </c:pt>
                <c:pt idx="1203">
                  <c:v>40619</c:v>
                </c:pt>
                <c:pt idx="1204">
                  <c:v>40620</c:v>
                </c:pt>
                <c:pt idx="1205">
                  <c:v>40623</c:v>
                </c:pt>
                <c:pt idx="1206">
                  <c:v>40624</c:v>
                </c:pt>
                <c:pt idx="1207">
                  <c:v>40625</c:v>
                </c:pt>
                <c:pt idx="1208">
                  <c:v>40626</c:v>
                </c:pt>
                <c:pt idx="1209">
                  <c:v>40627</c:v>
                </c:pt>
                <c:pt idx="1210">
                  <c:v>40630</c:v>
                </c:pt>
                <c:pt idx="1211">
                  <c:v>40631</c:v>
                </c:pt>
                <c:pt idx="1212">
                  <c:v>40632</c:v>
                </c:pt>
                <c:pt idx="1213">
                  <c:v>40633</c:v>
                </c:pt>
                <c:pt idx="1214">
                  <c:v>40634</c:v>
                </c:pt>
                <c:pt idx="1215">
                  <c:v>40637</c:v>
                </c:pt>
                <c:pt idx="1216">
                  <c:v>40638</c:v>
                </c:pt>
                <c:pt idx="1217">
                  <c:v>40639</c:v>
                </c:pt>
                <c:pt idx="1218">
                  <c:v>40640</c:v>
                </c:pt>
                <c:pt idx="1219">
                  <c:v>40641</c:v>
                </c:pt>
                <c:pt idx="1220">
                  <c:v>40644</c:v>
                </c:pt>
                <c:pt idx="1221">
                  <c:v>40645</c:v>
                </c:pt>
                <c:pt idx="1222">
                  <c:v>40646</c:v>
                </c:pt>
                <c:pt idx="1223">
                  <c:v>40647</c:v>
                </c:pt>
                <c:pt idx="1224">
                  <c:v>40648</c:v>
                </c:pt>
                <c:pt idx="1225">
                  <c:v>40651</c:v>
                </c:pt>
                <c:pt idx="1226">
                  <c:v>40652</c:v>
                </c:pt>
                <c:pt idx="1227">
                  <c:v>40653</c:v>
                </c:pt>
                <c:pt idx="1228">
                  <c:v>40654</c:v>
                </c:pt>
                <c:pt idx="1229">
                  <c:v>40658</c:v>
                </c:pt>
                <c:pt idx="1230">
                  <c:v>40659</c:v>
                </c:pt>
                <c:pt idx="1231">
                  <c:v>40660</c:v>
                </c:pt>
                <c:pt idx="1232">
                  <c:v>40661</c:v>
                </c:pt>
                <c:pt idx="1233">
                  <c:v>40662</c:v>
                </c:pt>
                <c:pt idx="1234">
                  <c:v>40665</c:v>
                </c:pt>
                <c:pt idx="1235">
                  <c:v>40666</c:v>
                </c:pt>
                <c:pt idx="1236">
                  <c:v>40667</c:v>
                </c:pt>
                <c:pt idx="1237">
                  <c:v>40668</c:v>
                </c:pt>
                <c:pt idx="1238">
                  <c:v>40669</c:v>
                </c:pt>
                <c:pt idx="1239">
                  <c:v>40672</c:v>
                </c:pt>
                <c:pt idx="1240">
                  <c:v>40673</c:v>
                </c:pt>
                <c:pt idx="1241">
                  <c:v>40674</c:v>
                </c:pt>
                <c:pt idx="1242">
                  <c:v>40675</c:v>
                </c:pt>
                <c:pt idx="1243">
                  <c:v>40676</c:v>
                </c:pt>
                <c:pt idx="1244">
                  <c:v>40679</c:v>
                </c:pt>
                <c:pt idx="1245">
                  <c:v>40680</c:v>
                </c:pt>
                <c:pt idx="1246">
                  <c:v>40681</c:v>
                </c:pt>
                <c:pt idx="1247">
                  <c:v>40682</c:v>
                </c:pt>
                <c:pt idx="1248">
                  <c:v>40683</c:v>
                </c:pt>
                <c:pt idx="1249">
                  <c:v>40686</c:v>
                </c:pt>
                <c:pt idx="1250">
                  <c:v>40687</c:v>
                </c:pt>
                <c:pt idx="1251">
                  <c:v>40688</c:v>
                </c:pt>
                <c:pt idx="1252">
                  <c:v>40689</c:v>
                </c:pt>
                <c:pt idx="1253">
                  <c:v>40690</c:v>
                </c:pt>
                <c:pt idx="1254">
                  <c:v>40694</c:v>
                </c:pt>
                <c:pt idx="1255">
                  <c:v>40695</c:v>
                </c:pt>
                <c:pt idx="1256">
                  <c:v>40696</c:v>
                </c:pt>
                <c:pt idx="1257">
                  <c:v>40697</c:v>
                </c:pt>
                <c:pt idx="1258">
                  <c:v>40700</c:v>
                </c:pt>
                <c:pt idx="1259">
                  <c:v>40701</c:v>
                </c:pt>
                <c:pt idx="1260">
                  <c:v>40702</c:v>
                </c:pt>
                <c:pt idx="1261">
                  <c:v>40703</c:v>
                </c:pt>
                <c:pt idx="1262">
                  <c:v>40704</c:v>
                </c:pt>
                <c:pt idx="1263">
                  <c:v>40707</c:v>
                </c:pt>
                <c:pt idx="1264">
                  <c:v>40708</c:v>
                </c:pt>
                <c:pt idx="1265">
                  <c:v>40709</c:v>
                </c:pt>
                <c:pt idx="1266">
                  <c:v>40710</c:v>
                </c:pt>
                <c:pt idx="1267">
                  <c:v>40711</c:v>
                </c:pt>
                <c:pt idx="1268">
                  <c:v>40714</c:v>
                </c:pt>
                <c:pt idx="1269">
                  <c:v>40715</c:v>
                </c:pt>
                <c:pt idx="1270">
                  <c:v>40716</c:v>
                </c:pt>
                <c:pt idx="1271">
                  <c:v>40717</c:v>
                </c:pt>
                <c:pt idx="1272">
                  <c:v>40718</c:v>
                </c:pt>
                <c:pt idx="1273">
                  <c:v>40721</c:v>
                </c:pt>
                <c:pt idx="1274">
                  <c:v>40722</c:v>
                </c:pt>
                <c:pt idx="1275">
                  <c:v>40723</c:v>
                </c:pt>
                <c:pt idx="1276">
                  <c:v>40724</c:v>
                </c:pt>
                <c:pt idx="1277">
                  <c:v>40725</c:v>
                </c:pt>
                <c:pt idx="1278">
                  <c:v>40729</c:v>
                </c:pt>
                <c:pt idx="1279">
                  <c:v>40730</c:v>
                </c:pt>
                <c:pt idx="1280">
                  <c:v>40731</c:v>
                </c:pt>
                <c:pt idx="1281">
                  <c:v>40732</c:v>
                </c:pt>
                <c:pt idx="1282">
                  <c:v>40735</c:v>
                </c:pt>
                <c:pt idx="1283">
                  <c:v>40736</c:v>
                </c:pt>
                <c:pt idx="1284">
                  <c:v>40737</c:v>
                </c:pt>
                <c:pt idx="1285">
                  <c:v>40738</c:v>
                </c:pt>
                <c:pt idx="1286">
                  <c:v>40739</c:v>
                </c:pt>
                <c:pt idx="1287">
                  <c:v>40742</c:v>
                </c:pt>
                <c:pt idx="1288">
                  <c:v>40743</c:v>
                </c:pt>
                <c:pt idx="1289">
                  <c:v>40744</c:v>
                </c:pt>
                <c:pt idx="1290">
                  <c:v>40745</c:v>
                </c:pt>
                <c:pt idx="1291">
                  <c:v>40746</c:v>
                </c:pt>
                <c:pt idx="1292">
                  <c:v>40749</c:v>
                </c:pt>
                <c:pt idx="1293">
                  <c:v>40750</c:v>
                </c:pt>
                <c:pt idx="1294">
                  <c:v>40751</c:v>
                </c:pt>
                <c:pt idx="1295">
                  <c:v>40752</c:v>
                </c:pt>
                <c:pt idx="1296">
                  <c:v>40753</c:v>
                </c:pt>
                <c:pt idx="1297">
                  <c:v>40756</c:v>
                </c:pt>
                <c:pt idx="1298">
                  <c:v>40757</c:v>
                </c:pt>
                <c:pt idx="1299">
                  <c:v>40758</c:v>
                </c:pt>
                <c:pt idx="1300">
                  <c:v>40759</c:v>
                </c:pt>
                <c:pt idx="1301">
                  <c:v>40760</c:v>
                </c:pt>
                <c:pt idx="1302">
                  <c:v>40763</c:v>
                </c:pt>
                <c:pt idx="1303">
                  <c:v>40764</c:v>
                </c:pt>
                <c:pt idx="1304">
                  <c:v>40765</c:v>
                </c:pt>
                <c:pt idx="1305">
                  <c:v>40766</c:v>
                </c:pt>
                <c:pt idx="1306">
                  <c:v>40767</c:v>
                </c:pt>
                <c:pt idx="1307">
                  <c:v>40770</c:v>
                </c:pt>
                <c:pt idx="1308">
                  <c:v>40771</c:v>
                </c:pt>
                <c:pt idx="1309">
                  <c:v>40772</c:v>
                </c:pt>
                <c:pt idx="1310">
                  <c:v>40773</c:v>
                </c:pt>
                <c:pt idx="1311">
                  <c:v>40774</c:v>
                </c:pt>
                <c:pt idx="1312">
                  <c:v>40777</c:v>
                </c:pt>
                <c:pt idx="1313">
                  <c:v>40778</c:v>
                </c:pt>
                <c:pt idx="1314">
                  <c:v>40779</c:v>
                </c:pt>
                <c:pt idx="1315">
                  <c:v>40780</c:v>
                </c:pt>
                <c:pt idx="1316">
                  <c:v>40781</c:v>
                </c:pt>
                <c:pt idx="1317">
                  <c:v>40784</c:v>
                </c:pt>
                <c:pt idx="1318">
                  <c:v>40785</c:v>
                </c:pt>
                <c:pt idx="1319">
                  <c:v>40786</c:v>
                </c:pt>
                <c:pt idx="1320">
                  <c:v>40787</c:v>
                </c:pt>
                <c:pt idx="1321">
                  <c:v>40788</c:v>
                </c:pt>
                <c:pt idx="1322">
                  <c:v>40792</c:v>
                </c:pt>
                <c:pt idx="1323">
                  <c:v>40793</c:v>
                </c:pt>
                <c:pt idx="1324">
                  <c:v>40794</c:v>
                </c:pt>
                <c:pt idx="1325">
                  <c:v>40795</c:v>
                </c:pt>
                <c:pt idx="1326">
                  <c:v>40798</c:v>
                </c:pt>
                <c:pt idx="1327">
                  <c:v>40799</c:v>
                </c:pt>
                <c:pt idx="1328">
                  <c:v>40800</c:v>
                </c:pt>
                <c:pt idx="1329">
                  <c:v>40801</c:v>
                </c:pt>
                <c:pt idx="1330">
                  <c:v>40802</c:v>
                </c:pt>
                <c:pt idx="1331">
                  <c:v>40805</c:v>
                </c:pt>
                <c:pt idx="1332">
                  <c:v>40806</c:v>
                </c:pt>
                <c:pt idx="1333">
                  <c:v>40807</c:v>
                </c:pt>
                <c:pt idx="1334">
                  <c:v>40808</c:v>
                </c:pt>
                <c:pt idx="1335">
                  <c:v>40809</c:v>
                </c:pt>
                <c:pt idx="1336">
                  <c:v>40812</c:v>
                </c:pt>
                <c:pt idx="1337">
                  <c:v>40813</c:v>
                </c:pt>
                <c:pt idx="1338">
                  <c:v>40814</c:v>
                </c:pt>
                <c:pt idx="1339">
                  <c:v>40815</c:v>
                </c:pt>
                <c:pt idx="1340">
                  <c:v>40816</c:v>
                </c:pt>
                <c:pt idx="1341">
                  <c:v>40819</c:v>
                </c:pt>
                <c:pt idx="1342">
                  <c:v>40820</c:v>
                </c:pt>
                <c:pt idx="1343">
                  <c:v>40821</c:v>
                </c:pt>
                <c:pt idx="1344">
                  <c:v>40822</c:v>
                </c:pt>
                <c:pt idx="1345">
                  <c:v>40823</c:v>
                </c:pt>
                <c:pt idx="1346">
                  <c:v>40826</c:v>
                </c:pt>
                <c:pt idx="1347">
                  <c:v>40827</c:v>
                </c:pt>
                <c:pt idx="1348">
                  <c:v>40828</c:v>
                </c:pt>
                <c:pt idx="1349">
                  <c:v>40829</c:v>
                </c:pt>
                <c:pt idx="1350">
                  <c:v>40830</c:v>
                </c:pt>
                <c:pt idx="1351">
                  <c:v>40833</c:v>
                </c:pt>
                <c:pt idx="1352">
                  <c:v>40834</c:v>
                </c:pt>
                <c:pt idx="1353">
                  <c:v>40835</c:v>
                </c:pt>
                <c:pt idx="1354">
                  <c:v>40836</c:v>
                </c:pt>
                <c:pt idx="1355">
                  <c:v>40837</c:v>
                </c:pt>
                <c:pt idx="1356">
                  <c:v>40840</c:v>
                </c:pt>
                <c:pt idx="1357">
                  <c:v>40841</c:v>
                </c:pt>
                <c:pt idx="1358">
                  <c:v>40842</c:v>
                </c:pt>
                <c:pt idx="1359">
                  <c:v>40843</c:v>
                </c:pt>
                <c:pt idx="1360">
                  <c:v>40844</c:v>
                </c:pt>
                <c:pt idx="1361">
                  <c:v>40847</c:v>
                </c:pt>
                <c:pt idx="1362">
                  <c:v>40848</c:v>
                </c:pt>
                <c:pt idx="1363">
                  <c:v>40849</c:v>
                </c:pt>
                <c:pt idx="1364">
                  <c:v>40850</c:v>
                </c:pt>
                <c:pt idx="1365">
                  <c:v>40851</c:v>
                </c:pt>
                <c:pt idx="1366">
                  <c:v>40854</c:v>
                </c:pt>
                <c:pt idx="1367">
                  <c:v>40855</c:v>
                </c:pt>
                <c:pt idx="1368">
                  <c:v>40856</c:v>
                </c:pt>
                <c:pt idx="1369">
                  <c:v>40857</c:v>
                </c:pt>
                <c:pt idx="1370">
                  <c:v>40858</c:v>
                </c:pt>
                <c:pt idx="1371">
                  <c:v>40861</c:v>
                </c:pt>
                <c:pt idx="1372">
                  <c:v>40862</c:v>
                </c:pt>
                <c:pt idx="1373">
                  <c:v>40863</c:v>
                </c:pt>
                <c:pt idx="1374">
                  <c:v>40864</c:v>
                </c:pt>
                <c:pt idx="1375">
                  <c:v>40865</c:v>
                </c:pt>
                <c:pt idx="1376">
                  <c:v>40868</c:v>
                </c:pt>
                <c:pt idx="1377">
                  <c:v>40869</c:v>
                </c:pt>
                <c:pt idx="1378">
                  <c:v>40870</c:v>
                </c:pt>
                <c:pt idx="1379">
                  <c:v>40872</c:v>
                </c:pt>
                <c:pt idx="1380">
                  <c:v>40875</c:v>
                </c:pt>
                <c:pt idx="1381">
                  <c:v>40876</c:v>
                </c:pt>
                <c:pt idx="1382">
                  <c:v>40877</c:v>
                </c:pt>
                <c:pt idx="1383">
                  <c:v>40878</c:v>
                </c:pt>
                <c:pt idx="1384">
                  <c:v>40879</c:v>
                </c:pt>
                <c:pt idx="1385">
                  <c:v>40882</c:v>
                </c:pt>
                <c:pt idx="1386">
                  <c:v>40883</c:v>
                </c:pt>
                <c:pt idx="1387">
                  <c:v>40884</c:v>
                </c:pt>
                <c:pt idx="1388">
                  <c:v>40885</c:v>
                </c:pt>
                <c:pt idx="1389">
                  <c:v>40886</c:v>
                </c:pt>
                <c:pt idx="1390">
                  <c:v>40889</c:v>
                </c:pt>
                <c:pt idx="1391">
                  <c:v>40890</c:v>
                </c:pt>
                <c:pt idx="1392">
                  <c:v>40891</c:v>
                </c:pt>
                <c:pt idx="1393">
                  <c:v>40892</c:v>
                </c:pt>
                <c:pt idx="1394">
                  <c:v>40893</c:v>
                </c:pt>
                <c:pt idx="1395">
                  <c:v>40896</c:v>
                </c:pt>
                <c:pt idx="1396">
                  <c:v>40897</c:v>
                </c:pt>
                <c:pt idx="1397">
                  <c:v>40898</c:v>
                </c:pt>
                <c:pt idx="1398">
                  <c:v>40899</c:v>
                </c:pt>
                <c:pt idx="1399">
                  <c:v>40900</c:v>
                </c:pt>
                <c:pt idx="1400">
                  <c:v>40904</c:v>
                </c:pt>
                <c:pt idx="1401">
                  <c:v>40905</c:v>
                </c:pt>
                <c:pt idx="1402">
                  <c:v>40906</c:v>
                </c:pt>
                <c:pt idx="1403">
                  <c:v>40907</c:v>
                </c:pt>
                <c:pt idx="1404">
                  <c:v>40911</c:v>
                </c:pt>
                <c:pt idx="1405">
                  <c:v>40912</c:v>
                </c:pt>
                <c:pt idx="1406">
                  <c:v>40913</c:v>
                </c:pt>
                <c:pt idx="1407">
                  <c:v>40914</c:v>
                </c:pt>
                <c:pt idx="1408">
                  <c:v>40917</c:v>
                </c:pt>
                <c:pt idx="1409">
                  <c:v>40918</c:v>
                </c:pt>
                <c:pt idx="1410">
                  <c:v>40919</c:v>
                </c:pt>
                <c:pt idx="1411">
                  <c:v>40920</c:v>
                </c:pt>
                <c:pt idx="1412">
                  <c:v>40921</c:v>
                </c:pt>
                <c:pt idx="1413">
                  <c:v>40925</c:v>
                </c:pt>
                <c:pt idx="1414">
                  <c:v>40926</c:v>
                </c:pt>
                <c:pt idx="1415">
                  <c:v>40927</c:v>
                </c:pt>
                <c:pt idx="1416">
                  <c:v>40928</c:v>
                </c:pt>
                <c:pt idx="1417">
                  <c:v>40931</c:v>
                </c:pt>
                <c:pt idx="1418">
                  <c:v>40932</c:v>
                </c:pt>
                <c:pt idx="1419">
                  <c:v>40933</c:v>
                </c:pt>
                <c:pt idx="1420">
                  <c:v>40934</c:v>
                </c:pt>
                <c:pt idx="1421">
                  <c:v>40935</c:v>
                </c:pt>
                <c:pt idx="1422">
                  <c:v>40938</c:v>
                </c:pt>
                <c:pt idx="1423">
                  <c:v>40939</c:v>
                </c:pt>
                <c:pt idx="1424">
                  <c:v>40940</c:v>
                </c:pt>
                <c:pt idx="1425">
                  <c:v>40941</c:v>
                </c:pt>
                <c:pt idx="1426">
                  <c:v>40942</c:v>
                </c:pt>
                <c:pt idx="1427">
                  <c:v>40945</c:v>
                </c:pt>
                <c:pt idx="1428">
                  <c:v>40946</c:v>
                </c:pt>
                <c:pt idx="1429">
                  <c:v>40947</c:v>
                </c:pt>
                <c:pt idx="1430">
                  <c:v>40948</c:v>
                </c:pt>
                <c:pt idx="1431">
                  <c:v>40949</c:v>
                </c:pt>
                <c:pt idx="1432">
                  <c:v>40952</c:v>
                </c:pt>
                <c:pt idx="1433">
                  <c:v>40953</c:v>
                </c:pt>
                <c:pt idx="1434">
                  <c:v>40954</c:v>
                </c:pt>
                <c:pt idx="1435">
                  <c:v>40955</c:v>
                </c:pt>
                <c:pt idx="1436">
                  <c:v>40956</c:v>
                </c:pt>
                <c:pt idx="1437">
                  <c:v>40960</c:v>
                </c:pt>
                <c:pt idx="1438">
                  <c:v>40961</c:v>
                </c:pt>
                <c:pt idx="1439">
                  <c:v>40962</c:v>
                </c:pt>
                <c:pt idx="1440">
                  <c:v>40963</c:v>
                </c:pt>
                <c:pt idx="1441">
                  <c:v>40966</c:v>
                </c:pt>
                <c:pt idx="1442">
                  <c:v>40967</c:v>
                </c:pt>
                <c:pt idx="1443">
                  <c:v>40968</c:v>
                </c:pt>
                <c:pt idx="1444">
                  <c:v>40969</c:v>
                </c:pt>
                <c:pt idx="1445">
                  <c:v>40970</c:v>
                </c:pt>
                <c:pt idx="1446">
                  <c:v>40973</c:v>
                </c:pt>
                <c:pt idx="1447">
                  <c:v>40974</c:v>
                </c:pt>
                <c:pt idx="1448">
                  <c:v>40975</c:v>
                </c:pt>
                <c:pt idx="1449">
                  <c:v>40976</c:v>
                </c:pt>
                <c:pt idx="1450">
                  <c:v>40977</c:v>
                </c:pt>
                <c:pt idx="1451">
                  <c:v>40980</c:v>
                </c:pt>
                <c:pt idx="1452">
                  <c:v>40981</c:v>
                </c:pt>
                <c:pt idx="1453">
                  <c:v>40982</c:v>
                </c:pt>
                <c:pt idx="1454">
                  <c:v>40983</c:v>
                </c:pt>
                <c:pt idx="1455">
                  <c:v>40984</c:v>
                </c:pt>
                <c:pt idx="1456">
                  <c:v>40987</c:v>
                </c:pt>
                <c:pt idx="1457">
                  <c:v>40988</c:v>
                </c:pt>
                <c:pt idx="1458">
                  <c:v>40989</c:v>
                </c:pt>
                <c:pt idx="1459">
                  <c:v>40990</c:v>
                </c:pt>
                <c:pt idx="1460">
                  <c:v>40991</c:v>
                </c:pt>
                <c:pt idx="1461">
                  <c:v>40994</c:v>
                </c:pt>
                <c:pt idx="1462">
                  <c:v>40995</c:v>
                </c:pt>
                <c:pt idx="1463">
                  <c:v>40996</c:v>
                </c:pt>
                <c:pt idx="1464">
                  <c:v>40997</c:v>
                </c:pt>
                <c:pt idx="1465">
                  <c:v>40998</c:v>
                </c:pt>
                <c:pt idx="1466">
                  <c:v>41001</c:v>
                </c:pt>
                <c:pt idx="1467">
                  <c:v>41002</c:v>
                </c:pt>
                <c:pt idx="1468">
                  <c:v>41003</c:v>
                </c:pt>
                <c:pt idx="1469">
                  <c:v>41004</c:v>
                </c:pt>
                <c:pt idx="1470">
                  <c:v>41008</c:v>
                </c:pt>
                <c:pt idx="1471">
                  <c:v>41009</c:v>
                </c:pt>
                <c:pt idx="1472">
                  <c:v>41010</c:v>
                </c:pt>
                <c:pt idx="1473">
                  <c:v>41011</c:v>
                </c:pt>
                <c:pt idx="1474">
                  <c:v>41012</c:v>
                </c:pt>
                <c:pt idx="1475">
                  <c:v>41015</c:v>
                </c:pt>
                <c:pt idx="1476">
                  <c:v>41016</c:v>
                </c:pt>
                <c:pt idx="1477">
                  <c:v>41017</c:v>
                </c:pt>
                <c:pt idx="1478">
                  <c:v>41018</c:v>
                </c:pt>
                <c:pt idx="1479">
                  <c:v>41019</c:v>
                </c:pt>
                <c:pt idx="1480">
                  <c:v>41022</c:v>
                </c:pt>
                <c:pt idx="1481">
                  <c:v>41023</c:v>
                </c:pt>
                <c:pt idx="1482">
                  <c:v>41024</c:v>
                </c:pt>
                <c:pt idx="1483">
                  <c:v>41025</c:v>
                </c:pt>
                <c:pt idx="1484">
                  <c:v>41026</c:v>
                </c:pt>
                <c:pt idx="1485">
                  <c:v>41029</c:v>
                </c:pt>
                <c:pt idx="1486">
                  <c:v>41030</c:v>
                </c:pt>
                <c:pt idx="1487">
                  <c:v>41031</c:v>
                </c:pt>
                <c:pt idx="1488">
                  <c:v>41032</c:v>
                </c:pt>
                <c:pt idx="1489">
                  <c:v>41033</c:v>
                </c:pt>
                <c:pt idx="1490">
                  <c:v>41036</c:v>
                </c:pt>
                <c:pt idx="1491">
                  <c:v>41037</c:v>
                </c:pt>
                <c:pt idx="1492">
                  <c:v>41038</c:v>
                </c:pt>
                <c:pt idx="1493">
                  <c:v>41039</c:v>
                </c:pt>
                <c:pt idx="1494">
                  <c:v>41040</c:v>
                </c:pt>
                <c:pt idx="1495">
                  <c:v>41043</c:v>
                </c:pt>
                <c:pt idx="1496">
                  <c:v>41044</c:v>
                </c:pt>
                <c:pt idx="1497">
                  <c:v>41045</c:v>
                </c:pt>
                <c:pt idx="1498">
                  <c:v>41046</c:v>
                </c:pt>
                <c:pt idx="1499">
                  <c:v>41047</c:v>
                </c:pt>
                <c:pt idx="1500">
                  <c:v>41050</c:v>
                </c:pt>
                <c:pt idx="1501">
                  <c:v>41051</c:v>
                </c:pt>
                <c:pt idx="1502">
                  <c:v>41052</c:v>
                </c:pt>
                <c:pt idx="1503">
                  <c:v>41053</c:v>
                </c:pt>
                <c:pt idx="1504">
                  <c:v>41054</c:v>
                </c:pt>
                <c:pt idx="1505">
                  <c:v>41058</c:v>
                </c:pt>
                <c:pt idx="1506">
                  <c:v>41059</c:v>
                </c:pt>
                <c:pt idx="1507">
                  <c:v>41060</c:v>
                </c:pt>
                <c:pt idx="1508">
                  <c:v>41061</c:v>
                </c:pt>
                <c:pt idx="1509">
                  <c:v>41064</c:v>
                </c:pt>
                <c:pt idx="1510">
                  <c:v>41065</c:v>
                </c:pt>
                <c:pt idx="1511">
                  <c:v>41066</c:v>
                </c:pt>
                <c:pt idx="1512">
                  <c:v>41067</c:v>
                </c:pt>
                <c:pt idx="1513">
                  <c:v>41068</c:v>
                </c:pt>
                <c:pt idx="1514">
                  <c:v>41071</c:v>
                </c:pt>
                <c:pt idx="1515">
                  <c:v>41072</c:v>
                </c:pt>
                <c:pt idx="1516">
                  <c:v>41073</c:v>
                </c:pt>
                <c:pt idx="1517">
                  <c:v>41074</c:v>
                </c:pt>
                <c:pt idx="1518">
                  <c:v>41075</c:v>
                </c:pt>
                <c:pt idx="1519">
                  <c:v>41078</c:v>
                </c:pt>
                <c:pt idx="1520">
                  <c:v>41079</c:v>
                </c:pt>
                <c:pt idx="1521">
                  <c:v>41080</c:v>
                </c:pt>
                <c:pt idx="1522">
                  <c:v>41081</c:v>
                </c:pt>
                <c:pt idx="1523">
                  <c:v>41082</c:v>
                </c:pt>
                <c:pt idx="1524">
                  <c:v>41085</c:v>
                </c:pt>
                <c:pt idx="1525">
                  <c:v>41086</c:v>
                </c:pt>
                <c:pt idx="1526">
                  <c:v>41087</c:v>
                </c:pt>
                <c:pt idx="1527">
                  <c:v>41088</c:v>
                </c:pt>
                <c:pt idx="1528">
                  <c:v>41089</c:v>
                </c:pt>
                <c:pt idx="1529">
                  <c:v>41092</c:v>
                </c:pt>
                <c:pt idx="1530">
                  <c:v>41093</c:v>
                </c:pt>
                <c:pt idx="1531">
                  <c:v>41095</c:v>
                </c:pt>
                <c:pt idx="1532">
                  <c:v>41096</c:v>
                </c:pt>
                <c:pt idx="1533">
                  <c:v>41099</c:v>
                </c:pt>
                <c:pt idx="1534">
                  <c:v>41100</c:v>
                </c:pt>
                <c:pt idx="1535">
                  <c:v>41101</c:v>
                </c:pt>
                <c:pt idx="1536">
                  <c:v>41102</c:v>
                </c:pt>
                <c:pt idx="1537">
                  <c:v>41103</c:v>
                </c:pt>
                <c:pt idx="1538">
                  <c:v>41106</c:v>
                </c:pt>
                <c:pt idx="1539">
                  <c:v>41107</c:v>
                </c:pt>
                <c:pt idx="1540">
                  <c:v>41108</c:v>
                </c:pt>
                <c:pt idx="1541">
                  <c:v>41109</c:v>
                </c:pt>
                <c:pt idx="1542">
                  <c:v>41110</c:v>
                </c:pt>
                <c:pt idx="1543">
                  <c:v>41113</c:v>
                </c:pt>
                <c:pt idx="1544">
                  <c:v>41114</c:v>
                </c:pt>
                <c:pt idx="1545">
                  <c:v>41115</c:v>
                </c:pt>
                <c:pt idx="1546">
                  <c:v>41116</c:v>
                </c:pt>
                <c:pt idx="1547">
                  <c:v>41117</c:v>
                </c:pt>
                <c:pt idx="1548">
                  <c:v>41120</c:v>
                </c:pt>
                <c:pt idx="1549">
                  <c:v>41121</c:v>
                </c:pt>
                <c:pt idx="1550">
                  <c:v>41122</c:v>
                </c:pt>
                <c:pt idx="1551">
                  <c:v>41123</c:v>
                </c:pt>
                <c:pt idx="1552">
                  <c:v>41124</c:v>
                </c:pt>
                <c:pt idx="1553">
                  <c:v>41127</c:v>
                </c:pt>
                <c:pt idx="1554">
                  <c:v>41128</c:v>
                </c:pt>
                <c:pt idx="1555">
                  <c:v>41129</c:v>
                </c:pt>
                <c:pt idx="1556">
                  <c:v>41130</c:v>
                </c:pt>
                <c:pt idx="1557">
                  <c:v>41131</c:v>
                </c:pt>
                <c:pt idx="1558">
                  <c:v>41134</c:v>
                </c:pt>
                <c:pt idx="1559">
                  <c:v>41135</c:v>
                </c:pt>
                <c:pt idx="1560">
                  <c:v>41136</c:v>
                </c:pt>
                <c:pt idx="1561">
                  <c:v>41137</c:v>
                </c:pt>
                <c:pt idx="1562">
                  <c:v>41138</c:v>
                </c:pt>
                <c:pt idx="1563">
                  <c:v>41141</c:v>
                </c:pt>
                <c:pt idx="1564">
                  <c:v>41142</c:v>
                </c:pt>
                <c:pt idx="1565">
                  <c:v>41143</c:v>
                </c:pt>
                <c:pt idx="1566">
                  <c:v>41144</c:v>
                </c:pt>
                <c:pt idx="1567">
                  <c:v>41145</c:v>
                </c:pt>
                <c:pt idx="1568">
                  <c:v>41148</c:v>
                </c:pt>
                <c:pt idx="1569">
                  <c:v>41149</c:v>
                </c:pt>
                <c:pt idx="1570">
                  <c:v>41150</c:v>
                </c:pt>
                <c:pt idx="1571">
                  <c:v>41151</c:v>
                </c:pt>
                <c:pt idx="1572">
                  <c:v>41152</c:v>
                </c:pt>
                <c:pt idx="1573">
                  <c:v>41156</c:v>
                </c:pt>
                <c:pt idx="1574">
                  <c:v>41157</c:v>
                </c:pt>
                <c:pt idx="1575">
                  <c:v>41158</c:v>
                </c:pt>
                <c:pt idx="1576">
                  <c:v>41159</c:v>
                </c:pt>
                <c:pt idx="1577">
                  <c:v>41162</c:v>
                </c:pt>
                <c:pt idx="1578">
                  <c:v>41163</c:v>
                </c:pt>
                <c:pt idx="1579">
                  <c:v>41164</c:v>
                </c:pt>
                <c:pt idx="1580">
                  <c:v>41165</c:v>
                </c:pt>
                <c:pt idx="1581">
                  <c:v>41166</c:v>
                </c:pt>
                <c:pt idx="1582">
                  <c:v>41169</c:v>
                </c:pt>
                <c:pt idx="1583">
                  <c:v>41170</c:v>
                </c:pt>
                <c:pt idx="1584">
                  <c:v>41171</c:v>
                </c:pt>
                <c:pt idx="1585">
                  <c:v>41172</c:v>
                </c:pt>
                <c:pt idx="1586">
                  <c:v>41173</c:v>
                </c:pt>
                <c:pt idx="1587">
                  <c:v>41176</c:v>
                </c:pt>
                <c:pt idx="1588">
                  <c:v>41177</c:v>
                </c:pt>
                <c:pt idx="1589">
                  <c:v>41178</c:v>
                </c:pt>
                <c:pt idx="1590">
                  <c:v>41179</c:v>
                </c:pt>
                <c:pt idx="1591">
                  <c:v>41180</c:v>
                </c:pt>
                <c:pt idx="1592">
                  <c:v>41183</c:v>
                </c:pt>
                <c:pt idx="1593">
                  <c:v>41184</c:v>
                </c:pt>
                <c:pt idx="1594">
                  <c:v>41185</c:v>
                </c:pt>
                <c:pt idx="1595">
                  <c:v>41186</c:v>
                </c:pt>
                <c:pt idx="1596">
                  <c:v>41187</c:v>
                </c:pt>
                <c:pt idx="1597">
                  <c:v>41190</c:v>
                </c:pt>
                <c:pt idx="1598">
                  <c:v>41191</c:v>
                </c:pt>
                <c:pt idx="1599">
                  <c:v>41192</c:v>
                </c:pt>
                <c:pt idx="1600">
                  <c:v>41193</c:v>
                </c:pt>
                <c:pt idx="1601">
                  <c:v>41194</c:v>
                </c:pt>
                <c:pt idx="1602">
                  <c:v>41197</c:v>
                </c:pt>
                <c:pt idx="1603">
                  <c:v>41198</c:v>
                </c:pt>
                <c:pt idx="1604">
                  <c:v>41199</c:v>
                </c:pt>
                <c:pt idx="1605">
                  <c:v>41200</c:v>
                </c:pt>
                <c:pt idx="1606">
                  <c:v>41201</c:v>
                </c:pt>
                <c:pt idx="1607">
                  <c:v>41204</c:v>
                </c:pt>
                <c:pt idx="1608">
                  <c:v>41205</c:v>
                </c:pt>
                <c:pt idx="1609">
                  <c:v>41206</c:v>
                </c:pt>
                <c:pt idx="1610">
                  <c:v>41207</c:v>
                </c:pt>
                <c:pt idx="1611">
                  <c:v>41208</c:v>
                </c:pt>
                <c:pt idx="1612">
                  <c:v>41213</c:v>
                </c:pt>
                <c:pt idx="1613">
                  <c:v>41214</c:v>
                </c:pt>
                <c:pt idx="1614">
                  <c:v>41215</c:v>
                </c:pt>
                <c:pt idx="1615">
                  <c:v>41218</c:v>
                </c:pt>
                <c:pt idx="1616">
                  <c:v>41219</c:v>
                </c:pt>
                <c:pt idx="1617">
                  <c:v>41220</c:v>
                </c:pt>
                <c:pt idx="1618">
                  <c:v>41221</c:v>
                </c:pt>
                <c:pt idx="1619">
                  <c:v>41222</c:v>
                </c:pt>
                <c:pt idx="1620">
                  <c:v>41225</c:v>
                </c:pt>
                <c:pt idx="1621">
                  <c:v>41226</c:v>
                </c:pt>
                <c:pt idx="1622">
                  <c:v>41227</c:v>
                </c:pt>
                <c:pt idx="1623">
                  <c:v>41228</c:v>
                </c:pt>
                <c:pt idx="1624">
                  <c:v>41229</c:v>
                </c:pt>
                <c:pt idx="1625">
                  <c:v>41232</c:v>
                </c:pt>
                <c:pt idx="1626">
                  <c:v>41233</c:v>
                </c:pt>
                <c:pt idx="1627">
                  <c:v>41234</c:v>
                </c:pt>
                <c:pt idx="1628">
                  <c:v>41236</c:v>
                </c:pt>
                <c:pt idx="1629">
                  <c:v>41239</c:v>
                </c:pt>
                <c:pt idx="1630">
                  <c:v>41240</c:v>
                </c:pt>
                <c:pt idx="1631">
                  <c:v>41241</c:v>
                </c:pt>
                <c:pt idx="1632">
                  <c:v>41242</c:v>
                </c:pt>
                <c:pt idx="1633">
                  <c:v>41243</c:v>
                </c:pt>
                <c:pt idx="1634">
                  <c:v>41246</c:v>
                </c:pt>
                <c:pt idx="1635">
                  <c:v>41247</c:v>
                </c:pt>
                <c:pt idx="1636">
                  <c:v>41248</c:v>
                </c:pt>
                <c:pt idx="1637">
                  <c:v>41249</c:v>
                </c:pt>
                <c:pt idx="1638">
                  <c:v>41250</c:v>
                </c:pt>
                <c:pt idx="1639">
                  <c:v>41253</c:v>
                </c:pt>
                <c:pt idx="1640">
                  <c:v>41254</c:v>
                </c:pt>
                <c:pt idx="1641">
                  <c:v>41255</c:v>
                </c:pt>
                <c:pt idx="1642">
                  <c:v>41256</c:v>
                </c:pt>
                <c:pt idx="1643">
                  <c:v>41257</c:v>
                </c:pt>
                <c:pt idx="1644">
                  <c:v>41260</c:v>
                </c:pt>
                <c:pt idx="1645">
                  <c:v>41261</c:v>
                </c:pt>
                <c:pt idx="1646">
                  <c:v>41262</c:v>
                </c:pt>
                <c:pt idx="1647">
                  <c:v>41263</c:v>
                </c:pt>
                <c:pt idx="1648">
                  <c:v>41264</c:v>
                </c:pt>
                <c:pt idx="1649">
                  <c:v>41267</c:v>
                </c:pt>
                <c:pt idx="1650">
                  <c:v>41269</c:v>
                </c:pt>
                <c:pt idx="1651">
                  <c:v>41270</c:v>
                </c:pt>
                <c:pt idx="1652">
                  <c:v>41271</c:v>
                </c:pt>
                <c:pt idx="1653">
                  <c:v>41274</c:v>
                </c:pt>
                <c:pt idx="1654">
                  <c:v>41276</c:v>
                </c:pt>
                <c:pt idx="1655">
                  <c:v>41277</c:v>
                </c:pt>
                <c:pt idx="1656">
                  <c:v>41278</c:v>
                </c:pt>
                <c:pt idx="1657">
                  <c:v>41281</c:v>
                </c:pt>
                <c:pt idx="1658">
                  <c:v>41282</c:v>
                </c:pt>
                <c:pt idx="1659">
                  <c:v>41283</c:v>
                </c:pt>
                <c:pt idx="1660">
                  <c:v>41284</c:v>
                </c:pt>
                <c:pt idx="1661">
                  <c:v>41285</c:v>
                </c:pt>
                <c:pt idx="1662">
                  <c:v>41288</c:v>
                </c:pt>
                <c:pt idx="1663">
                  <c:v>41289</c:v>
                </c:pt>
                <c:pt idx="1664">
                  <c:v>41290</c:v>
                </c:pt>
                <c:pt idx="1665">
                  <c:v>41291</c:v>
                </c:pt>
                <c:pt idx="1666">
                  <c:v>41292</c:v>
                </c:pt>
                <c:pt idx="1667">
                  <c:v>41296</c:v>
                </c:pt>
                <c:pt idx="1668">
                  <c:v>41297</c:v>
                </c:pt>
                <c:pt idx="1669">
                  <c:v>41298</c:v>
                </c:pt>
                <c:pt idx="1670">
                  <c:v>41299</c:v>
                </c:pt>
                <c:pt idx="1671">
                  <c:v>41302</c:v>
                </c:pt>
                <c:pt idx="1672">
                  <c:v>41303</c:v>
                </c:pt>
                <c:pt idx="1673">
                  <c:v>41304</c:v>
                </c:pt>
                <c:pt idx="1674">
                  <c:v>41305</c:v>
                </c:pt>
                <c:pt idx="1675">
                  <c:v>41306</c:v>
                </c:pt>
                <c:pt idx="1676">
                  <c:v>41309</c:v>
                </c:pt>
                <c:pt idx="1677">
                  <c:v>41310</c:v>
                </c:pt>
                <c:pt idx="1678">
                  <c:v>41311</c:v>
                </c:pt>
                <c:pt idx="1679">
                  <c:v>41312</c:v>
                </c:pt>
                <c:pt idx="1680">
                  <c:v>41313</c:v>
                </c:pt>
                <c:pt idx="1681">
                  <c:v>41316</c:v>
                </c:pt>
                <c:pt idx="1682">
                  <c:v>41317</c:v>
                </c:pt>
                <c:pt idx="1683">
                  <c:v>41318</c:v>
                </c:pt>
                <c:pt idx="1684">
                  <c:v>41319</c:v>
                </c:pt>
                <c:pt idx="1685">
                  <c:v>41320</c:v>
                </c:pt>
                <c:pt idx="1686">
                  <c:v>41324</c:v>
                </c:pt>
                <c:pt idx="1687">
                  <c:v>41325</c:v>
                </c:pt>
                <c:pt idx="1688">
                  <c:v>41326</c:v>
                </c:pt>
                <c:pt idx="1689">
                  <c:v>41327</c:v>
                </c:pt>
                <c:pt idx="1690">
                  <c:v>41330</c:v>
                </c:pt>
                <c:pt idx="1691">
                  <c:v>41331</c:v>
                </c:pt>
                <c:pt idx="1692">
                  <c:v>41332</c:v>
                </c:pt>
                <c:pt idx="1693">
                  <c:v>41333</c:v>
                </c:pt>
                <c:pt idx="1694">
                  <c:v>41334</c:v>
                </c:pt>
                <c:pt idx="1695">
                  <c:v>41337</c:v>
                </c:pt>
                <c:pt idx="1696">
                  <c:v>41338</c:v>
                </c:pt>
                <c:pt idx="1697">
                  <c:v>41339</c:v>
                </c:pt>
                <c:pt idx="1698">
                  <c:v>41340</c:v>
                </c:pt>
                <c:pt idx="1699">
                  <c:v>41341</c:v>
                </c:pt>
                <c:pt idx="1700">
                  <c:v>41344</c:v>
                </c:pt>
                <c:pt idx="1701">
                  <c:v>41345</c:v>
                </c:pt>
                <c:pt idx="1702">
                  <c:v>41346</c:v>
                </c:pt>
                <c:pt idx="1703">
                  <c:v>41347</c:v>
                </c:pt>
                <c:pt idx="1704">
                  <c:v>41348</c:v>
                </c:pt>
                <c:pt idx="1705">
                  <c:v>41351</c:v>
                </c:pt>
                <c:pt idx="1706">
                  <c:v>41352</c:v>
                </c:pt>
                <c:pt idx="1707">
                  <c:v>41353</c:v>
                </c:pt>
                <c:pt idx="1708">
                  <c:v>41354</c:v>
                </c:pt>
                <c:pt idx="1709">
                  <c:v>41355</c:v>
                </c:pt>
                <c:pt idx="1710">
                  <c:v>41358</c:v>
                </c:pt>
                <c:pt idx="1711">
                  <c:v>41359</c:v>
                </c:pt>
                <c:pt idx="1712">
                  <c:v>41360</c:v>
                </c:pt>
                <c:pt idx="1713">
                  <c:v>41361</c:v>
                </c:pt>
                <c:pt idx="1714">
                  <c:v>41365</c:v>
                </c:pt>
                <c:pt idx="1715">
                  <c:v>41366</c:v>
                </c:pt>
                <c:pt idx="1716">
                  <c:v>41367</c:v>
                </c:pt>
                <c:pt idx="1717">
                  <c:v>41368</c:v>
                </c:pt>
                <c:pt idx="1718">
                  <c:v>41369</c:v>
                </c:pt>
                <c:pt idx="1719">
                  <c:v>41372</c:v>
                </c:pt>
                <c:pt idx="1720">
                  <c:v>41373</c:v>
                </c:pt>
                <c:pt idx="1721">
                  <c:v>41374</c:v>
                </c:pt>
                <c:pt idx="1722">
                  <c:v>41375</c:v>
                </c:pt>
                <c:pt idx="1723">
                  <c:v>41376</c:v>
                </c:pt>
                <c:pt idx="1724">
                  <c:v>41379</c:v>
                </c:pt>
                <c:pt idx="1725">
                  <c:v>41380</c:v>
                </c:pt>
                <c:pt idx="1726">
                  <c:v>41381</c:v>
                </c:pt>
                <c:pt idx="1727">
                  <c:v>41382</c:v>
                </c:pt>
                <c:pt idx="1728">
                  <c:v>41383</c:v>
                </c:pt>
                <c:pt idx="1729">
                  <c:v>41386</c:v>
                </c:pt>
                <c:pt idx="1730">
                  <c:v>41387</c:v>
                </c:pt>
                <c:pt idx="1731">
                  <c:v>41388</c:v>
                </c:pt>
                <c:pt idx="1732">
                  <c:v>41389</c:v>
                </c:pt>
                <c:pt idx="1733">
                  <c:v>41390</c:v>
                </c:pt>
                <c:pt idx="1734">
                  <c:v>41393</c:v>
                </c:pt>
                <c:pt idx="1735">
                  <c:v>41394</c:v>
                </c:pt>
                <c:pt idx="1736">
                  <c:v>41395</c:v>
                </c:pt>
                <c:pt idx="1737">
                  <c:v>41396</c:v>
                </c:pt>
                <c:pt idx="1738">
                  <c:v>41397</c:v>
                </c:pt>
                <c:pt idx="1739">
                  <c:v>41400</c:v>
                </c:pt>
                <c:pt idx="1740">
                  <c:v>41401</c:v>
                </c:pt>
                <c:pt idx="1741">
                  <c:v>41402</c:v>
                </c:pt>
                <c:pt idx="1742">
                  <c:v>41403</c:v>
                </c:pt>
                <c:pt idx="1743">
                  <c:v>41404</c:v>
                </c:pt>
                <c:pt idx="1744">
                  <c:v>41407</c:v>
                </c:pt>
                <c:pt idx="1745">
                  <c:v>41408</c:v>
                </c:pt>
                <c:pt idx="1746">
                  <c:v>41409</c:v>
                </c:pt>
                <c:pt idx="1747">
                  <c:v>41410</c:v>
                </c:pt>
                <c:pt idx="1748">
                  <c:v>41411</c:v>
                </c:pt>
                <c:pt idx="1749">
                  <c:v>41414</c:v>
                </c:pt>
                <c:pt idx="1750">
                  <c:v>41415</c:v>
                </c:pt>
                <c:pt idx="1751">
                  <c:v>41416</c:v>
                </c:pt>
                <c:pt idx="1752">
                  <c:v>41417</c:v>
                </c:pt>
                <c:pt idx="1753">
                  <c:v>41418</c:v>
                </c:pt>
                <c:pt idx="1754">
                  <c:v>41422</c:v>
                </c:pt>
                <c:pt idx="1755">
                  <c:v>41423</c:v>
                </c:pt>
                <c:pt idx="1756">
                  <c:v>41424</c:v>
                </c:pt>
                <c:pt idx="1757">
                  <c:v>41425</c:v>
                </c:pt>
                <c:pt idx="1758">
                  <c:v>41428</c:v>
                </c:pt>
                <c:pt idx="1759">
                  <c:v>41429</c:v>
                </c:pt>
                <c:pt idx="1760">
                  <c:v>41430</c:v>
                </c:pt>
                <c:pt idx="1761">
                  <c:v>41431</c:v>
                </c:pt>
                <c:pt idx="1762">
                  <c:v>41432</c:v>
                </c:pt>
                <c:pt idx="1763">
                  <c:v>41435</c:v>
                </c:pt>
                <c:pt idx="1764">
                  <c:v>41436</c:v>
                </c:pt>
                <c:pt idx="1765">
                  <c:v>41437</c:v>
                </c:pt>
                <c:pt idx="1766">
                  <c:v>41438</c:v>
                </c:pt>
                <c:pt idx="1767">
                  <c:v>41439</c:v>
                </c:pt>
                <c:pt idx="1768">
                  <c:v>41442</c:v>
                </c:pt>
                <c:pt idx="1769">
                  <c:v>41443</c:v>
                </c:pt>
                <c:pt idx="1770">
                  <c:v>41444</c:v>
                </c:pt>
                <c:pt idx="1771">
                  <c:v>41445</c:v>
                </c:pt>
                <c:pt idx="1772">
                  <c:v>41446</c:v>
                </c:pt>
                <c:pt idx="1773">
                  <c:v>41449</c:v>
                </c:pt>
                <c:pt idx="1774">
                  <c:v>41450</c:v>
                </c:pt>
                <c:pt idx="1775">
                  <c:v>41451</c:v>
                </c:pt>
                <c:pt idx="1776">
                  <c:v>41452</c:v>
                </c:pt>
                <c:pt idx="1777">
                  <c:v>41453</c:v>
                </c:pt>
                <c:pt idx="1778">
                  <c:v>41456</c:v>
                </c:pt>
                <c:pt idx="1779">
                  <c:v>41457</c:v>
                </c:pt>
                <c:pt idx="1780">
                  <c:v>41458</c:v>
                </c:pt>
                <c:pt idx="1781">
                  <c:v>41460</c:v>
                </c:pt>
                <c:pt idx="1782">
                  <c:v>41463</c:v>
                </c:pt>
                <c:pt idx="1783">
                  <c:v>41464</c:v>
                </c:pt>
                <c:pt idx="1784">
                  <c:v>41465</c:v>
                </c:pt>
                <c:pt idx="1785">
                  <c:v>41466</c:v>
                </c:pt>
                <c:pt idx="1786">
                  <c:v>41467</c:v>
                </c:pt>
                <c:pt idx="1787">
                  <c:v>41470</c:v>
                </c:pt>
                <c:pt idx="1788">
                  <c:v>41471</c:v>
                </c:pt>
                <c:pt idx="1789">
                  <c:v>41472</c:v>
                </c:pt>
                <c:pt idx="1790">
                  <c:v>41473</c:v>
                </c:pt>
                <c:pt idx="1791">
                  <c:v>41474</c:v>
                </c:pt>
                <c:pt idx="1792">
                  <c:v>41477</c:v>
                </c:pt>
                <c:pt idx="1793">
                  <c:v>41478</c:v>
                </c:pt>
                <c:pt idx="1794">
                  <c:v>41479</c:v>
                </c:pt>
                <c:pt idx="1795">
                  <c:v>41480</c:v>
                </c:pt>
                <c:pt idx="1796">
                  <c:v>41481</c:v>
                </c:pt>
                <c:pt idx="1797">
                  <c:v>41484</c:v>
                </c:pt>
                <c:pt idx="1798">
                  <c:v>41485</c:v>
                </c:pt>
                <c:pt idx="1799">
                  <c:v>41486</c:v>
                </c:pt>
                <c:pt idx="1800">
                  <c:v>41487</c:v>
                </c:pt>
                <c:pt idx="1801">
                  <c:v>41488</c:v>
                </c:pt>
                <c:pt idx="1802">
                  <c:v>41491</c:v>
                </c:pt>
                <c:pt idx="1803">
                  <c:v>41492</c:v>
                </c:pt>
                <c:pt idx="1804">
                  <c:v>41493</c:v>
                </c:pt>
                <c:pt idx="1805">
                  <c:v>41494</c:v>
                </c:pt>
                <c:pt idx="1806">
                  <c:v>41495</c:v>
                </c:pt>
                <c:pt idx="1807">
                  <c:v>41498</c:v>
                </c:pt>
                <c:pt idx="1808">
                  <c:v>41499</c:v>
                </c:pt>
                <c:pt idx="1809">
                  <c:v>41500</c:v>
                </c:pt>
                <c:pt idx="1810">
                  <c:v>41501</c:v>
                </c:pt>
                <c:pt idx="1811">
                  <c:v>41502</c:v>
                </c:pt>
                <c:pt idx="1812">
                  <c:v>41505</c:v>
                </c:pt>
                <c:pt idx="1813">
                  <c:v>41506</c:v>
                </c:pt>
                <c:pt idx="1814">
                  <c:v>41507</c:v>
                </c:pt>
                <c:pt idx="1815">
                  <c:v>41508</c:v>
                </c:pt>
                <c:pt idx="1816">
                  <c:v>41509</c:v>
                </c:pt>
                <c:pt idx="1817">
                  <c:v>41512</c:v>
                </c:pt>
                <c:pt idx="1818">
                  <c:v>41513</c:v>
                </c:pt>
                <c:pt idx="1819">
                  <c:v>41514</c:v>
                </c:pt>
                <c:pt idx="1820">
                  <c:v>41515</c:v>
                </c:pt>
                <c:pt idx="1821">
                  <c:v>41516</c:v>
                </c:pt>
                <c:pt idx="1822">
                  <c:v>41520</c:v>
                </c:pt>
                <c:pt idx="1823">
                  <c:v>41521</c:v>
                </c:pt>
                <c:pt idx="1824">
                  <c:v>41522</c:v>
                </c:pt>
                <c:pt idx="1825">
                  <c:v>41523</c:v>
                </c:pt>
                <c:pt idx="1826">
                  <c:v>41526</c:v>
                </c:pt>
                <c:pt idx="1827">
                  <c:v>41527</c:v>
                </c:pt>
                <c:pt idx="1828">
                  <c:v>41528</c:v>
                </c:pt>
                <c:pt idx="1829">
                  <c:v>41529</c:v>
                </c:pt>
                <c:pt idx="1830">
                  <c:v>41530</c:v>
                </c:pt>
                <c:pt idx="1831">
                  <c:v>41533</c:v>
                </c:pt>
                <c:pt idx="1832">
                  <c:v>41534</c:v>
                </c:pt>
                <c:pt idx="1833">
                  <c:v>41535</c:v>
                </c:pt>
                <c:pt idx="1834">
                  <c:v>41536</c:v>
                </c:pt>
                <c:pt idx="1835">
                  <c:v>41537</c:v>
                </c:pt>
                <c:pt idx="1836">
                  <c:v>41540</c:v>
                </c:pt>
                <c:pt idx="1837">
                  <c:v>41541</c:v>
                </c:pt>
                <c:pt idx="1838">
                  <c:v>41542</c:v>
                </c:pt>
                <c:pt idx="1839">
                  <c:v>41543</c:v>
                </c:pt>
                <c:pt idx="1840">
                  <c:v>41544</c:v>
                </c:pt>
                <c:pt idx="1841">
                  <c:v>41547</c:v>
                </c:pt>
                <c:pt idx="1842">
                  <c:v>41548</c:v>
                </c:pt>
                <c:pt idx="1843">
                  <c:v>41549</c:v>
                </c:pt>
                <c:pt idx="1844">
                  <c:v>41550</c:v>
                </c:pt>
                <c:pt idx="1845">
                  <c:v>41551</c:v>
                </c:pt>
                <c:pt idx="1846">
                  <c:v>41554</c:v>
                </c:pt>
                <c:pt idx="1847">
                  <c:v>41555</c:v>
                </c:pt>
                <c:pt idx="1848">
                  <c:v>41556</c:v>
                </c:pt>
                <c:pt idx="1849">
                  <c:v>41557</c:v>
                </c:pt>
                <c:pt idx="1850">
                  <c:v>41558</c:v>
                </c:pt>
                <c:pt idx="1851">
                  <c:v>41561</c:v>
                </c:pt>
                <c:pt idx="1852">
                  <c:v>41562</c:v>
                </c:pt>
                <c:pt idx="1853">
                  <c:v>41563</c:v>
                </c:pt>
                <c:pt idx="1854">
                  <c:v>41564</c:v>
                </c:pt>
                <c:pt idx="1855">
                  <c:v>41565</c:v>
                </c:pt>
                <c:pt idx="1856">
                  <c:v>41568</c:v>
                </c:pt>
                <c:pt idx="1857">
                  <c:v>41569</c:v>
                </c:pt>
                <c:pt idx="1858">
                  <c:v>41570</c:v>
                </c:pt>
                <c:pt idx="1859">
                  <c:v>41571</c:v>
                </c:pt>
                <c:pt idx="1860">
                  <c:v>41572</c:v>
                </c:pt>
                <c:pt idx="1861">
                  <c:v>41575</c:v>
                </c:pt>
                <c:pt idx="1862">
                  <c:v>41576</c:v>
                </c:pt>
                <c:pt idx="1863">
                  <c:v>41577</c:v>
                </c:pt>
                <c:pt idx="1864">
                  <c:v>41578</c:v>
                </c:pt>
                <c:pt idx="1865">
                  <c:v>41579</c:v>
                </c:pt>
                <c:pt idx="1866">
                  <c:v>41582</c:v>
                </c:pt>
                <c:pt idx="1867">
                  <c:v>41583</c:v>
                </c:pt>
                <c:pt idx="1868">
                  <c:v>41584</c:v>
                </c:pt>
                <c:pt idx="1869">
                  <c:v>41585</c:v>
                </c:pt>
                <c:pt idx="1870">
                  <c:v>41586</c:v>
                </c:pt>
                <c:pt idx="1871">
                  <c:v>41589</c:v>
                </c:pt>
                <c:pt idx="1872">
                  <c:v>41590</c:v>
                </c:pt>
                <c:pt idx="1873">
                  <c:v>41591</c:v>
                </c:pt>
                <c:pt idx="1874">
                  <c:v>41592</c:v>
                </c:pt>
                <c:pt idx="1875">
                  <c:v>41593</c:v>
                </c:pt>
                <c:pt idx="1876">
                  <c:v>41596</c:v>
                </c:pt>
                <c:pt idx="1877">
                  <c:v>41597</c:v>
                </c:pt>
                <c:pt idx="1878">
                  <c:v>41598</c:v>
                </c:pt>
                <c:pt idx="1879">
                  <c:v>41599</c:v>
                </c:pt>
                <c:pt idx="1880">
                  <c:v>41600</c:v>
                </c:pt>
                <c:pt idx="1881">
                  <c:v>41603</c:v>
                </c:pt>
                <c:pt idx="1882">
                  <c:v>41604</c:v>
                </c:pt>
                <c:pt idx="1883">
                  <c:v>41605</c:v>
                </c:pt>
                <c:pt idx="1884">
                  <c:v>41607</c:v>
                </c:pt>
                <c:pt idx="1885">
                  <c:v>41610</c:v>
                </c:pt>
                <c:pt idx="1886">
                  <c:v>41611</c:v>
                </c:pt>
                <c:pt idx="1887">
                  <c:v>41612</c:v>
                </c:pt>
                <c:pt idx="1888">
                  <c:v>41613</c:v>
                </c:pt>
                <c:pt idx="1889">
                  <c:v>41614</c:v>
                </c:pt>
                <c:pt idx="1890">
                  <c:v>41617</c:v>
                </c:pt>
                <c:pt idx="1891">
                  <c:v>41618</c:v>
                </c:pt>
                <c:pt idx="1892">
                  <c:v>41619</c:v>
                </c:pt>
                <c:pt idx="1893">
                  <c:v>41620</c:v>
                </c:pt>
                <c:pt idx="1894">
                  <c:v>41621</c:v>
                </c:pt>
                <c:pt idx="1895">
                  <c:v>41624</c:v>
                </c:pt>
                <c:pt idx="1896">
                  <c:v>41625</c:v>
                </c:pt>
                <c:pt idx="1897">
                  <c:v>41626</c:v>
                </c:pt>
                <c:pt idx="1898">
                  <c:v>41627</c:v>
                </c:pt>
                <c:pt idx="1899">
                  <c:v>41628</c:v>
                </c:pt>
                <c:pt idx="1900">
                  <c:v>41631</c:v>
                </c:pt>
                <c:pt idx="1901">
                  <c:v>41632</c:v>
                </c:pt>
                <c:pt idx="1902">
                  <c:v>41634</c:v>
                </c:pt>
                <c:pt idx="1903">
                  <c:v>41635</c:v>
                </c:pt>
                <c:pt idx="1904">
                  <c:v>41638</c:v>
                </c:pt>
                <c:pt idx="1905">
                  <c:v>41639</c:v>
                </c:pt>
                <c:pt idx="1906">
                  <c:v>41641</c:v>
                </c:pt>
                <c:pt idx="1907">
                  <c:v>41642</c:v>
                </c:pt>
                <c:pt idx="1908">
                  <c:v>41645</c:v>
                </c:pt>
                <c:pt idx="1909">
                  <c:v>41646</c:v>
                </c:pt>
                <c:pt idx="1910">
                  <c:v>41647</c:v>
                </c:pt>
                <c:pt idx="1911">
                  <c:v>41648</c:v>
                </c:pt>
                <c:pt idx="1912">
                  <c:v>41649</c:v>
                </c:pt>
                <c:pt idx="1913">
                  <c:v>41652</c:v>
                </c:pt>
                <c:pt idx="1914">
                  <c:v>41653</c:v>
                </c:pt>
                <c:pt idx="1915">
                  <c:v>41654</c:v>
                </c:pt>
                <c:pt idx="1916">
                  <c:v>41655</c:v>
                </c:pt>
                <c:pt idx="1917">
                  <c:v>41656</c:v>
                </c:pt>
                <c:pt idx="1918">
                  <c:v>41660</c:v>
                </c:pt>
                <c:pt idx="1919">
                  <c:v>41661</c:v>
                </c:pt>
                <c:pt idx="1920">
                  <c:v>41662</c:v>
                </c:pt>
                <c:pt idx="1921">
                  <c:v>41663</c:v>
                </c:pt>
                <c:pt idx="1922">
                  <c:v>41666</c:v>
                </c:pt>
                <c:pt idx="1923">
                  <c:v>41667</c:v>
                </c:pt>
                <c:pt idx="1924">
                  <c:v>41668</c:v>
                </c:pt>
                <c:pt idx="1925">
                  <c:v>41669</c:v>
                </c:pt>
                <c:pt idx="1926">
                  <c:v>41670</c:v>
                </c:pt>
                <c:pt idx="1927">
                  <c:v>41673</c:v>
                </c:pt>
                <c:pt idx="1928">
                  <c:v>41674</c:v>
                </c:pt>
                <c:pt idx="1929">
                  <c:v>41675</c:v>
                </c:pt>
                <c:pt idx="1930">
                  <c:v>41676</c:v>
                </c:pt>
                <c:pt idx="1931">
                  <c:v>41677</c:v>
                </c:pt>
                <c:pt idx="1932">
                  <c:v>41680</c:v>
                </c:pt>
                <c:pt idx="1933">
                  <c:v>41681</c:v>
                </c:pt>
                <c:pt idx="1934">
                  <c:v>41682</c:v>
                </c:pt>
                <c:pt idx="1935">
                  <c:v>41683</c:v>
                </c:pt>
                <c:pt idx="1936">
                  <c:v>41684</c:v>
                </c:pt>
                <c:pt idx="1937">
                  <c:v>41688</c:v>
                </c:pt>
                <c:pt idx="1938">
                  <c:v>41689</c:v>
                </c:pt>
                <c:pt idx="1939">
                  <c:v>41690</c:v>
                </c:pt>
                <c:pt idx="1940">
                  <c:v>41691</c:v>
                </c:pt>
                <c:pt idx="1941">
                  <c:v>41694</c:v>
                </c:pt>
                <c:pt idx="1942">
                  <c:v>41695</c:v>
                </c:pt>
                <c:pt idx="1943">
                  <c:v>41696</c:v>
                </c:pt>
                <c:pt idx="1944">
                  <c:v>41697</c:v>
                </c:pt>
                <c:pt idx="1945">
                  <c:v>41698</c:v>
                </c:pt>
                <c:pt idx="1946">
                  <c:v>41701</c:v>
                </c:pt>
                <c:pt idx="1947">
                  <c:v>41702</c:v>
                </c:pt>
                <c:pt idx="1948">
                  <c:v>41703</c:v>
                </c:pt>
                <c:pt idx="1949">
                  <c:v>41704</c:v>
                </c:pt>
                <c:pt idx="1950">
                  <c:v>41705</c:v>
                </c:pt>
                <c:pt idx="1951">
                  <c:v>41708</c:v>
                </c:pt>
                <c:pt idx="1952">
                  <c:v>41709</c:v>
                </c:pt>
                <c:pt idx="1953">
                  <c:v>41710</c:v>
                </c:pt>
                <c:pt idx="1954">
                  <c:v>41711</c:v>
                </c:pt>
                <c:pt idx="1955">
                  <c:v>41712</c:v>
                </c:pt>
                <c:pt idx="1956">
                  <c:v>41715</c:v>
                </c:pt>
                <c:pt idx="1957">
                  <c:v>41716</c:v>
                </c:pt>
                <c:pt idx="1958">
                  <c:v>41717</c:v>
                </c:pt>
                <c:pt idx="1959">
                  <c:v>41718</c:v>
                </c:pt>
                <c:pt idx="1960">
                  <c:v>41719</c:v>
                </c:pt>
                <c:pt idx="1961">
                  <c:v>41722</c:v>
                </c:pt>
                <c:pt idx="1962">
                  <c:v>41723</c:v>
                </c:pt>
                <c:pt idx="1963">
                  <c:v>41724</c:v>
                </c:pt>
                <c:pt idx="1964">
                  <c:v>41725</c:v>
                </c:pt>
                <c:pt idx="1965">
                  <c:v>41726</c:v>
                </c:pt>
                <c:pt idx="1966">
                  <c:v>41729</c:v>
                </c:pt>
                <c:pt idx="1967">
                  <c:v>41730</c:v>
                </c:pt>
                <c:pt idx="1968">
                  <c:v>41731</c:v>
                </c:pt>
                <c:pt idx="1969">
                  <c:v>41732</c:v>
                </c:pt>
                <c:pt idx="1970">
                  <c:v>41733</c:v>
                </c:pt>
                <c:pt idx="1971">
                  <c:v>41736</c:v>
                </c:pt>
                <c:pt idx="1972">
                  <c:v>41737</c:v>
                </c:pt>
                <c:pt idx="1973">
                  <c:v>41738</c:v>
                </c:pt>
                <c:pt idx="1974">
                  <c:v>41739</c:v>
                </c:pt>
                <c:pt idx="1975">
                  <c:v>41740</c:v>
                </c:pt>
                <c:pt idx="1976">
                  <c:v>41743</c:v>
                </c:pt>
                <c:pt idx="1977">
                  <c:v>41744</c:v>
                </c:pt>
                <c:pt idx="1978">
                  <c:v>41745</c:v>
                </c:pt>
                <c:pt idx="1979">
                  <c:v>41746</c:v>
                </c:pt>
                <c:pt idx="1980">
                  <c:v>41750</c:v>
                </c:pt>
                <c:pt idx="1981">
                  <c:v>41751</c:v>
                </c:pt>
                <c:pt idx="1982">
                  <c:v>41752</c:v>
                </c:pt>
                <c:pt idx="1983">
                  <c:v>41753</c:v>
                </c:pt>
                <c:pt idx="1984">
                  <c:v>41754</c:v>
                </c:pt>
                <c:pt idx="1985">
                  <c:v>41757</c:v>
                </c:pt>
                <c:pt idx="1986">
                  <c:v>41758</c:v>
                </c:pt>
                <c:pt idx="1987">
                  <c:v>41759</c:v>
                </c:pt>
                <c:pt idx="1988">
                  <c:v>41760</c:v>
                </c:pt>
                <c:pt idx="1989">
                  <c:v>41761</c:v>
                </c:pt>
                <c:pt idx="1990">
                  <c:v>41764</c:v>
                </c:pt>
                <c:pt idx="1991">
                  <c:v>41765</c:v>
                </c:pt>
                <c:pt idx="1992">
                  <c:v>41766</c:v>
                </c:pt>
                <c:pt idx="1993">
                  <c:v>41767</c:v>
                </c:pt>
                <c:pt idx="1994">
                  <c:v>41768</c:v>
                </c:pt>
                <c:pt idx="1995">
                  <c:v>41771</c:v>
                </c:pt>
                <c:pt idx="1996">
                  <c:v>41772</c:v>
                </c:pt>
                <c:pt idx="1997">
                  <c:v>41773</c:v>
                </c:pt>
                <c:pt idx="1998">
                  <c:v>41774</c:v>
                </c:pt>
                <c:pt idx="1999">
                  <c:v>41775</c:v>
                </c:pt>
                <c:pt idx="2000">
                  <c:v>41778</c:v>
                </c:pt>
                <c:pt idx="2001">
                  <c:v>41779</c:v>
                </c:pt>
                <c:pt idx="2002">
                  <c:v>41780</c:v>
                </c:pt>
                <c:pt idx="2003">
                  <c:v>41781</c:v>
                </c:pt>
                <c:pt idx="2004">
                  <c:v>41782</c:v>
                </c:pt>
                <c:pt idx="2005">
                  <c:v>41786</c:v>
                </c:pt>
                <c:pt idx="2006">
                  <c:v>41787</c:v>
                </c:pt>
                <c:pt idx="2007">
                  <c:v>41788</c:v>
                </c:pt>
                <c:pt idx="2008">
                  <c:v>41789</c:v>
                </c:pt>
                <c:pt idx="2009">
                  <c:v>41792</c:v>
                </c:pt>
                <c:pt idx="2010">
                  <c:v>41793</c:v>
                </c:pt>
                <c:pt idx="2011">
                  <c:v>41794</c:v>
                </c:pt>
                <c:pt idx="2012">
                  <c:v>41795</c:v>
                </c:pt>
                <c:pt idx="2013">
                  <c:v>41796</c:v>
                </c:pt>
                <c:pt idx="2014">
                  <c:v>41799</c:v>
                </c:pt>
                <c:pt idx="2015">
                  <c:v>41800</c:v>
                </c:pt>
                <c:pt idx="2016">
                  <c:v>41801</c:v>
                </c:pt>
                <c:pt idx="2017">
                  <c:v>41802</c:v>
                </c:pt>
                <c:pt idx="2018">
                  <c:v>41803</c:v>
                </c:pt>
                <c:pt idx="2019">
                  <c:v>41806</c:v>
                </c:pt>
                <c:pt idx="2020">
                  <c:v>41807</c:v>
                </c:pt>
                <c:pt idx="2021">
                  <c:v>41808</c:v>
                </c:pt>
                <c:pt idx="2022">
                  <c:v>41809</c:v>
                </c:pt>
                <c:pt idx="2023">
                  <c:v>41810</c:v>
                </c:pt>
                <c:pt idx="2024">
                  <c:v>41813</c:v>
                </c:pt>
                <c:pt idx="2025">
                  <c:v>41814</c:v>
                </c:pt>
                <c:pt idx="2026">
                  <c:v>41815</c:v>
                </c:pt>
                <c:pt idx="2027">
                  <c:v>41816</c:v>
                </c:pt>
                <c:pt idx="2028">
                  <c:v>41817</c:v>
                </c:pt>
                <c:pt idx="2029">
                  <c:v>41820</c:v>
                </c:pt>
                <c:pt idx="2030">
                  <c:v>41821</c:v>
                </c:pt>
                <c:pt idx="2031">
                  <c:v>41822</c:v>
                </c:pt>
                <c:pt idx="2032">
                  <c:v>41823</c:v>
                </c:pt>
                <c:pt idx="2033">
                  <c:v>41827</c:v>
                </c:pt>
                <c:pt idx="2034">
                  <c:v>41828</c:v>
                </c:pt>
                <c:pt idx="2035">
                  <c:v>41829</c:v>
                </c:pt>
                <c:pt idx="2036">
                  <c:v>41830</c:v>
                </c:pt>
                <c:pt idx="2037">
                  <c:v>41831</c:v>
                </c:pt>
                <c:pt idx="2038">
                  <c:v>41834</c:v>
                </c:pt>
                <c:pt idx="2039">
                  <c:v>41835</c:v>
                </c:pt>
                <c:pt idx="2040">
                  <c:v>41836</c:v>
                </c:pt>
                <c:pt idx="2041">
                  <c:v>41837</c:v>
                </c:pt>
                <c:pt idx="2042">
                  <c:v>41838</c:v>
                </c:pt>
                <c:pt idx="2043">
                  <c:v>41841</c:v>
                </c:pt>
                <c:pt idx="2044">
                  <c:v>41842</c:v>
                </c:pt>
                <c:pt idx="2045">
                  <c:v>41843</c:v>
                </c:pt>
                <c:pt idx="2046">
                  <c:v>41844</c:v>
                </c:pt>
                <c:pt idx="2047">
                  <c:v>41845</c:v>
                </c:pt>
                <c:pt idx="2048">
                  <c:v>41848</c:v>
                </c:pt>
                <c:pt idx="2049">
                  <c:v>41849</c:v>
                </c:pt>
                <c:pt idx="2050">
                  <c:v>41850</c:v>
                </c:pt>
                <c:pt idx="2051">
                  <c:v>41851</c:v>
                </c:pt>
                <c:pt idx="2052">
                  <c:v>41852</c:v>
                </c:pt>
                <c:pt idx="2053">
                  <c:v>41855</c:v>
                </c:pt>
                <c:pt idx="2054">
                  <c:v>41856</c:v>
                </c:pt>
                <c:pt idx="2055">
                  <c:v>41857</c:v>
                </c:pt>
                <c:pt idx="2056">
                  <c:v>41858</c:v>
                </c:pt>
                <c:pt idx="2057">
                  <c:v>41859</c:v>
                </c:pt>
                <c:pt idx="2058">
                  <c:v>41862</c:v>
                </c:pt>
                <c:pt idx="2059">
                  <c:v>41863</c:v>
                </c:pt>
                <c:pt idx="2060">
                  <c:v>41864</c:v>
                </c:pt>
                <c:pt idx="2061">
                  <c:v>41865</c:v>
                </c:pt>
                <c:pt idx="2062">
                  <c:v>41866</c:v>
                </c:pt>
                <c:pt idx="2063">
                  <c:v>41869</c:v>
                </c:pt>
                <c:pt idx="2064">
                  <c:v>41870</c:v>
                </c:pt>
                <c:pt idx="2065">
                  <c:v>41871</c:v>
                </c:pt>
                <c:pt idx="2066">
                  <c:v>41872</c:v>
                </c:pt>
                <c:pt idx="2067">
                  <c:v>41873</c:v>
                </c:pt>
                <c:pt idx="2068">
                  <c:v>41876</c:v>
                </c:pt>
                <c:pt idx="2069">
                  <c:v>41877</c:v>
                </c:pt>
                <c:pt idx="2070">
                  <c:v>41878</c:v>
                </c:pt>
                <c:pt idx="2071">
                  <c:v>41879</c:v>
                </c:pt>
                <c:pt idx="2072">
                  <c:v>41880</c:v>
                </c:pt>
                <c:pt idx="2073">
                  <c:v>41884</c:v>
                </c:pt>
                <c:pt idx="2074">
                  <c:v>41885</c:v>
                </c:pt>
                <c:pt idx="2075">
                  <c:v>41886</c:v>
                </c:pt>
                <c:pt idx="2076">
                  <c:v>41887</c:v>
                </c:pt>
                <c:pt idx="2077">
                  <c:v>41890</c:v>
                </c:pt>
                <c:pt idx="2078">
                  <c:v>41891</c:v>
                </c:pt>
                <c:pt idx="2079">
                  <c:v>41892</c:v>
                </c:pt>
                <c:pt idx="2080">
                  <c:v>41893</c:v>
                </c:pt>
                <c:pt idx="2081">
                  <c:v>41894</c:v>
                </c:pt>
                <c:pt idx="2082">
                  <c:v>41897</c:v>
                </c:pt>
                <c:pt idx="2083">
                  <c:v>41898</c:v>
                </c:pt>
                <c:pt idx="2084">
                  <c:v>41899</c:v>
                </c:pt>
                <c:pt idx="2085">
                  <c:v>41900</c:v>
                </c:pt>
                <c:pt idx="2086">
                  <c:v>41901</c:v>
                </c:pt>
                <c:pt idx="2087">
                  <c:v>41904</c:v>
                </c:pt>
                <c:pt idx="2088">
                  <c:v>41905</c:v>
                </c:pt>
                <c:pt idx="2089">
                  <c:v>41906</c:v>
                </c:pt>
                <c:pt idx="2090">
                  <c:v>41907</c:v>
                </c:pt>
                <c:pt idx="2091">
                  <c:v>41908</c:v>
                </c:pt>
                <c:pt idx="2092">
                  <c:v>41911</c:v>
                </c:pt>
                <c:pt idx="2093">
                  <c:v>41912</c:v>
                </c:pt>
                <c:pt idx="2094">
                  <c:v>41913</c:v>
                </c:pt>
                <c:pt idx="2095">
                  <c:v>41914</c:v>
                </c:pt>
                <c:pt idx="2096">
                  <c:v>41915</c:v>
                </c:pt>
                <c:pt idx="2097">
                  <c:v>41918</c:v>
                </c:pt>
                <c:pt idx="2098">
                  <c:v>41919</c:v>
                </c:pt>
                <c:pt idx="2099">
                  <c:v>41920</c:v>
                </c:pt>
                <c:pt idx="2100">
                  <c:v>41921</c:v>
                </c:pt>
                <c:pt idx="2101">
                  <c:v>41922</c:v>
                </c:pt>
                <c:pt idx="2102">
                  <c:v>41925</c:v>
                </c:pt>
                <c:pt idx="2103">
                  <c:v>41926</c:v>
                </c:pt>
                <c:pt idx="2104">
                  <c:v>41927</c:v>
                </c:pt>
                <c:pt idx="2105">
                  <c:v>41928</c:v>
                </c:pt>
                <c:pt idx="2106">
                  <c:v>41929</c:v>
                </c:pt>
                <c:pt idx="2107">
                  <c:v>41932</c:v>
                </c:pt>
                <c:pt idx="2108">
                  <c:v>41933</c:v>
                </c:pt>
                <c:pt idx="2109">
                  <c:v>41934</c:v>
                </c:pt>
                <c:pt idx="2110">
                  <c:v>41935</c:v>
                </c:pt>
                <c:pt idx="2111">
                  <c:v>41936</c:v>
                </c:pt>
                <c:pt idx="2112">
                  <c:v>41939</c:v>
                </c:pt>
                <c:pt idx="2113">
                  <c:v>41940</c:v>
                </c:pt>
                <c:pt idx="2114">
                  <c:v>41941</c:v>
                </c:pt>
                <c:pt idx="2115">
                  <c:v>41942</c:v>
                </c:pt>
                <c:pt idx="2116">
                  <c:v>41943</c:v>
                </c:pt>
                <c:pt idx="2117">
                  <c:v>41946</c:v>
                </c:pt>
                <c:pt idx="2118">
                  <c:v>41947</c:v>
                </c:pt>
                <c:pt idx="2119">
                  <c:v>41948</c:v>
                </c:pt>
                <c:pt idx="2120">
                  <c:v>41949</c:v>
                </c:pt>
                <c:pt idx="2121">
                  <c:v>41950</c:v>
                </c:pt>
                <c:pt idx="2122">
                  <c:v>41953</c:v>
                </c:pt>
                <c:pt idx="2123">
                  <c:v>41954</c:v>
                </c:pt>
                <c:pt idx="2124">
                  <c:v>41955</c:v>
                </c:pt>
                <c:pt idx="2125">
                  <c:v>41956</c:v>
                </c:pt>
                <c:pt idx="2126">
                  <c:v>41957</c:v>
                </c:pt>
                <c:pt idx="2127">
                  <c:v>41960</c:v>
                </c:pt>
                <c:pt idx="2128">
                  <c:v>41961</c:v>
                </c:pt>
                <c:pt idx="2129">
                  <c:v>41962</c:v>
                </c:pt>
                <c:pt idx="2130">
                  <c:v>41963</c:v>
                </c:pt>
                <c:pt idx="2131">
                  <c:v>41964</c:v>
                </c:pt>
                <c:pt idx="2132">
                  <c:v>41967</c:v>
                </c:pt>
                <c:pt idx="2133">
                  <c:v>41968</c:v>
                </c:pt>
                <c:pt idx="2134">
                  <c:v>41969</c:v>
                </c:pt>
                <c:pt idx="2135">
                  <c:v>41971</c:v>
                </c:pt>
                <c:pt idx="2136">
                  <c:v>41974</c:v>
                </c:pt>
                <c:pt idx="2137">
                  <c:v>41975</c:v>
                </c:pt>
                <c:pt idx="2138">
                  <c:v>41976</c:v>
                </c:pt>
                <c:pt idx="2139">
                  <c:v>41977</c:v>
                </c:pt>
                <c:pt idx="2140">
                  <c:v>41978</c:v>
                </c:pt>
                <c:pt idx="2141">
                  <c:v>41981</c:v>
                </c:pt>
                <c:pt idx="2142">
                  <c:v>41982</c:v>
                </c:pt>
                <c:pt idx="2143">
                  <c:v>41983</c:v>
                </c:pt>
                <c:pt idx="2144">
                  <c:v>41984</c:v>
                </c:pt>
                <c:pt idx="2145">
                  <c:v>41985</c:v>
                </c:pt>
                <c:pt idx="2146">
                  <c:v>41988</c:v>
                </c:pt>
                <c:pt idx="2147">
                  <c:v>41989</c:v>
                </c:pt>
                <c:pt idx="2148">
                  <c:v>41990</c:v>
                </c:pt>
                <c:pt idx="2149">
                  <c:v>41991</c:v>
                </c:pt>
                <c:pt idx="2150">
                  <c:v>41992</c:v>
                </c:pt>
                <c:pt idx="2151">
                  <c:v>41995</c:v>
                </c:pt>
                <c:pt idx="2152">
                  <c:v>41996</c:v>
                </c:pt>
                <c:pt idx="2153">
                  <c:v>41997</c:v>
                </c:pt>
                <c:pt idx="2154">
                  <c:v>41999</c:v>
                </c:pt>
                <c:pt idx="2155">
                  <c:v>42002</c:v>
                </c:pt>
                <c:pt idx="2156">
                  <c:v>42003</c:v>
                </c:pt>
                <c:pt idx="2157">
                  <c:v>42004</c:v>
                </c:pt>
                <c:pt idx="2158">
                  <c:v>42006</c:v>
                </c:pt>
                <c:pt idx="2159">
                  <c:v>42009</c:v>
                </c:pt>
                <c:pt idx="2160">
                  <c:v>42010</c:v>
                </c:pt>
                <c:pt idx="2161">
                  <c:v>42011</c:v>
                </c:pt>
                <c:pt idx="2162">
                  <c:v>42012</c:v>
                </c:pt>
                <c:pt idx="2163">
                  <c:v>42013</c:v>
                </c:pt>
                <c:pt idx="2164">
                  <c:v>42016</c:v>
                </c:pt>
                <c:pt idx="2165">
                  <c:v>42017</c:v>
                </c:pt>
                <c:pt idx="2166">
                  <c:v>42018</c:v>
                </c:pt>
                <c:pt idx="2167">
                  <c:v>42019</c:v>
                </c:pt>
                <c:pt idx="2168">
                  <c:v>42020</c:v>
                </c:pt>
                <c:pt idx="2169">
                  <c:v>42024</c:v>
                </c:pt>
                <c:pt idx="2170">
                  <c:v>42025</c:v>
                </c:pt>
                <c:pt idx="2171">
                  <c:v>42026</c:v>
                </c:pt>
                <c:pt idx="2172">
                  <c:v>42027</c:v>
                </c:pt>
                <c:pt idx="2173">
                  <c:v>42030</c:v>
                </c:pt>
                <c:pt idx="2174">
                  <c:v>42031</c:v>
                </c:pt>
                <c:pt idx="2175">
                  <c:v>42032</c:v>
                </c:pt>
                <c:pt idx="2176">
                  <c:v>42033</c:v>
                </c:pt>
                <c:pt idx="2177">
                  <c:v>42034</c:v>
                </c:pt>
                <c:pt idx="2178">
                  <c:v>42037</c:v>
                </c:pt>
                <c:pt idx="2179">
                  <c:v>42038</c:v>
                </c:pt>
                <c:pt idx="2180">
                  <c:v>42039</c:v>
                </c:pt>
                <c:pt idx="2181">
                  <c:v>42040</c:v>
                </c:pt>
                <c:pt idx="2182">
                  <c:v>42041</c:v>
                </c:pt>
                <c:pt idx="2183">
                  <c:v>42044</c:v>
                </c:pt>
                <c:pt idx="2184">
                  <c:v>42045</c:v>
                </c:pt>
                <c:pt idx="2185">
                  <c:v>42046</c:v>
                </c:pt>
                <c:pt idx="2186">
                  <c:v>42047</c:v>
                </c:pt>
                <c:pt idx="2187">
                  <c:v>42048</c:v>
                </c:pt>
                <c:pt idx="2188">
                  <c:v>42052</c:v>
                </c:pt>
                <c:pt idx="2189">
                  <c:v>42053</c:v>
                </c:pt>
                <c:pt idx="2190">
                  <c:v>42054</c:v>
                </c:pt>
                <c:pt idx="2191">
                  <c:v>42055</c:v>
                </c:pt>
                <c:pt idx="2192">
                  <c:v>42058</c:v>
                </c:pt>
                <c:pt idx="2193">
                  <c:v>42059</c:v>
                </c:pt>
                <c:pt idx="2194">
                  <c:v>42060</c:v>
                </c:pt>
                <c:pt idx="2195">
                  <c:v>42061</c:v>
                </c:pt>
                <c:pt idx="2196">
                  <c:v>42062</c:v>
                </c:pt>
                <c:pt idx="2197">
                  <c:v>42065</c:v>
                </c:pt>
                <c:pt idx="2198">
                  <c:v>42066</c:v>
                </c:pt>
                <c:pt idx="2199">
                  <c:v>42067</c:v>
                </c:pt>
                <c:pt idx="2200">
                  <c:v>42068</c:v>
                </c:pt>
                <c:pt idx="2201">
                  <c:v>42069</c:v>
                </c:pt>
                <c:pt idx="2202">
                  <c:v>42072</c:v>
                </c:pt>
                <c:pt idx="2203">
                  <c:v>42073</c:v>
                </c:pt>
                <c:pt idx="2204">
                  <c:v>42074</c:v>
                </c:pt>
                <c:pt idx="2205">
                  <c:v>42075</c:v>
                </c:pt>
                <c:pt idx="2206">
                  <c:v>42076</c:v>
                </c:pt>
                <c:pt idx="2207">
                  <c:v>42079</c:v>
                </c:pt>
                <c:pt idx="2208">
                  <c:v>42080</c:v>
                </c:pt>
                <c:pt idx="2209">
                  <c:v>42081</c:v>
                </c:pt>
                <c:pt idx="2210">
                  <c:v>42082</c:v>
                </c:pt>
                <c:pt idx="2211">
                  <c:v>42083</c:v>
                </c:pt>
                <c:pt idx="2212">
                  <c:v>42086</c:v>
                </c:pt>
                <c:pt idx="2213">
                  <c:v>42087</c:v>
                </c:pt>
                <c:pt idx="2214">
                  <c:v>42088</c:v>
                </c:pt>
                <c:pt idx="2215">
                  <c:v>42089</c:v>
                </c:pt>
                <c:pt idx="2216">
                  <c:v>42090</c:v>
                </c:pt>
                <c:pt idx="2217">
                  <c:v>42093</c:v>
                </c:pt>
                <c:pt idx="2218">
                  <c:v>42094</c:v>
                </c:pt>
                <c:pt idx="2219">
                  <c:v>42095</c:v>
                </c:pt>
                <c:pt idx="2220">
                  <c:v>42096</c:v>
                </c:pt>
                <c:pt idx="2221">
                  <c:v>42100</c:v>
                </c:pt>
                <c:pt idx="2222">
                  <c:v>42101</c:v>
                </c:pt>
                <c:pt idx="2223">
                  <c:v>42102</c:v>
                </c:pt>
                <c:pt idx="2224">
                  <c:v>42103</c:v>
                </c:pt>
                <c:pt idx="2225">
                  <c:v>42104</c:v>
                </c:pt>
                <c:pt idx="2226">
                  <c:v>42107</c:v>
                </c:pt>
                <c:pt idx="2227">
                  <c:v>42108</c:v>
                </c:pt>
                <c:pt idx="2228">
                  <c:v>42109</c:v>
                </c:pt>
                <c:pt idx="2229">
                  <c:v>42110</c:v>
                </c:pt>
                <c:pt idx="2230">
                  <c:v>42111</c:v>
                </c:pt>
                <c:pt idx="2231">
                  <c:v>42114</c:v>
                </c:pt>
                <c:pt idx="2232">
                  <c:v>42115</c:v>
                </c:pt>
                <c:pt idx="2233">
                  <c:v>42116</c:v>
                </c:pt>
                <c:pt idx="2234">
                  <c:v>42117</c:v>
                </c:pt>
                <c:pt idx="2235">
                  <c:v>42118</c:v>
                </c:pt>
                <c:pt idx="2236">
                  <c:v>42121</c:v>
                </c:pt>
                <c:pt idx="2237">
                  <c:v>42122</c:v>
                </c:pt>
                <c:pt idx="2238">
                  <c:v>42123</c:v>
                </c:pt>
                <c:pt idx="2239">
                  <c:v>42124</c:v>
                </c:pt>
                <c:pt idx="2240">
                  <c:v>42125</c:v>
                </c:pt>
                <c:pt idx="2241">
                  <c:v>42128</c:v>
                </c:pt>
                <c:pt idx="2242">
                  <c:v>42129</c:v>
                </c:pt>
                <c:pt idx="2243">
                  <c:v>42130</c:v>
                </c:pt>
                <c:pt idx="2244">
                  <c:v>42131</c:v>
                </c:pt>
                <c:pt idx="2245">
                  <c:v>42132</c:v>
                </c:pt>
                <c:pt idx="2246">
                  <c:v>42135</c:v>
                </c:pt>
                <c:pt idx="2247">
                  <c:v>42136</c:v>
                </c:pt>
                <c:pt idx="2248">
                  <c:v>42137</c:v>
                </c:pt>
                <c:pt idx="2249">
                  <c:v>42138</c:v>
                </c:pt>
                <c:pt idx="2250">
                  <c:v>42139</c:v>
                </c:pt>
                <c:pt idx="2251">
                  <c:v>42142</c:v>
                </c:pt>
                <c:pt idx="2252">
                  <c:v>42143</c:v>
                </c:pt>
                <c:pt idx="2253">
                  <c:v>42144</c:v>
                </c:pt>
                <c:pt idx="2254">
                  <c:v>42145</c:v>
                </c:pt>
                <c:pt idx="2255">
                  <c:v>42146</c:v>
                </c:pt>
                <c:pt idx="2256">
                  <c:v>42150</c:v>
                </c:pt>
                <c:pt idx="2257">
                  <c:v>42151</c:v>
                </c:pt>
                <c:pt idx="2258">
                  <c:v>42152</c:v>
                </c:pt>
                <c:pt idx="2259">
                  <c:v>42153</c:v>
                </c:pt>
                <c:pt idx="2260">
                  <c:v>42156</c:v>
                </c:pt>
                <c:pt idx="2261">
                  <c:v>42157</c:v>
                </c:pt>
                <c:pt idx="2262">
                  <c:v>42158</c:v>
                </c:pt>
                <c:pt idx="2263">
                  <c:v>42159</c:v>
                </c:pt>
                <c:pt idx="2264">
                  <c:v>42160</c:v>
                </c:pt>
                <c:pt idx="2265">
                  <c:v>42163</c:v>
                </c:pt>
                <c:pt idx="2266">
                  <c:v>42164</c:v>
                </c:pt>
                <c:pt idx="2267">
                  <c:v>42165</c:v>
                </c:pt>
                <c:pt idx="2268">
                  <c:v>42166</c:v>
                </c:pt>
                <c:pt idx="2269">
                  <c:v>42167</c:v>
                </c:pt>
                <c:pt idx="2270">
                  <c:v>42170</c:v>
                </c:pt>
                <c:pt idx="2271">
                  <c:v>42171</c:v>
                </c:pt>
                <c:pt idx="2272">
                  <c:v>42172</c:v>
                </c:pt>
                <c:pt idx="2273">
                  <c:v>42173</c:v>
                </c:pt>
                <c:pt idx="2274">
                  <c:v>42174</c:v>
                </c:pt>
                <c:pt idx="2275">
                  <c:v>42177</c:v>
                </c:pt>
                <c:pt idx="2276">
                  <c:v>42178</c:v>
                </c:pt>
                <c:pt idx="2277">
                  <c:v>42179</c:v>
                </c:pt>
                <c:pt idx="2278">
                  <c:v>42180</c:v>
                </c:pt>
                <c:pt idx="2279">
                  <c:v>42181</c:v>
                </c:pt>
                <c:pt idx="2280">
                  <c:v>42184</c:v>
                </c:pt>
                <c:pt idx="2281">
                  <c:v>42185</c:v>
                </c:pt>
                <c:pt idx="2282">
                  <c:v>42186</c:v>
                </c:pt>
                <c:pt idx="2283">
                  <c:v>42187</c:v>
                </c:pt>
                <c:pt idx="2284">
                  <c:v>42191</c:v>
                </c:pt>
                <c:pt idx="2285">
                  <c:v>42192</c:v>
                </c:pt>
                <c:pt idx="2286">
                  <c:v>42193</c:v>
                </c:pt>
                <c:pt idx="2287">
                  <c:v>42194</c:v>
                </c:pt>
                <c:pt idx="2288">
                  <c:v>42195</c:v>
                </c:pt>
                <c:pt idx="2289">
                  <c:v>42198</c:v>
                </c:pt>
                <c:pt idx="2290">
                  <c:v>42199</c:v>
                </c:pt>
                <c:pt idx="2291">
                  <c:v>42200</c:v>
                </c:pt>
                <c:pt idx="2292">
                  <c:v>42201</c:v>
                </c:pt>
                <c:pt idx="2293">
                  <c:v>42202</c:v>
                </c:pt>
                <c:pt idx="2294">
                  <c:v>42205</c:v>
                </c:pt>
                <c:pt idx="2295">
                  <c:v>42206</c:v>
                </c:pt>
                <c:pt idx="2296">
                  <c:v>42207</c:v>
                </c:pt>
                <c:pt idx="2297">
                  <c:v>42208</c:v>
                </c:pt>
                <c:pt idx="2298">
                  <c:v>42209</c:v>
                </c:pt>
                <c:pt idx="2299">
                  <c:v>42212</c:v>
                </c:pt>
                <c:pt idx="2300">
                  <c:v>42213</c:v>
                </c:pt>
                <c:pt idx="2301">
                  <c:v>42214</c:v>
                </c:pt>
                <c:pt idx="2302">
                  <c:v>42215</c:v>
                </c:pt>
                <c:pt idx="2303">
                  <c:v>42216</c:v>
                </c:pt>
                <c:pt idx="2304">
                  <c:v>42219</c:v>
                </c:pt>
                <c:pt idx="2305">
                  <c:v>42220</c:v>
                </c:pt>
                <c:pt idx="2306">
                  <c:v>42221</c:v>
                </c:pt>
                <c:pt idx="2307">
                  <c:v>42222</c:v>
                </c:pt>
                <c:pt idx="2308">
                  <c:v>42223</c:v>
                </c:pt>
                <c:pt idx="2309">
                  <c:v>42226</c:v>
                </c:pt>
                <c:pt idx="2310">
                  <c:v>42227</c:v>
                </c:pt>
                <c:pt idx="2311">
                  <c:v>42228</c:v>
                </c:pt>
                <c:pt idx="2312">
                  <c:v>42229</c:v>
                </c:pt>
                <c:pt idx="2313">
                  <c:v>42230</c:v>
                </c:pt>
                <c:pt idx="2314">
                  <c:v>42233</c:v>
                </c:pt>
                <c:pt idx="2315">
                  <c:v>42234</c:v>
                </c:pt>
                <c:pt idx="2316">
                  <c:v>42235</c:v>
                </c:pt>
                <c:pt idx="2317">
                  <c:v>42236</c:v>
                </c:pt>
                <c:pt idx="2318">
                  <c:v>42237</c:v>
                </c:pt>
                <c:pt idx="2319">
                  <c:v>42240</c:v>
                </c:pt>
                <c:pt idx="2320">
                  <c:v>42241</c:v>
                </c:pt>
                <c:pt idx="2321">
                  <c:v>42242</c:v>
                </c:pt>
                <c:pt idx="2322">
                  <c:v>42243</c:v>
                </c:pt>
                <c:pt idx="2323">
                  <c:v>42244</c:v>
                </c:pt>
                <c:pt idx="2324">
                  <c:v>42247</c:v>
                </c:pt>
                <c:pt idx="2325">
                  <c:v>42248</c:v>
                </c:pt>
                <c:pt idx="2326">
                  <c:v>42249</c:v>
                </c:pt>
                <c:pt idx="2327">
                  <c:v>42250</c:v>
                </c:pt>
                <c:pt idx="2328">
                  <c:v>42251</c:v>
                </c:pt>
                <c:pt idx="2329">
                  <c:v>42255</c:v>
                </c:pt>
                <c:pt idx="2330">
                  <c:v>42256</c:v>
                </c:pt>
                <c:pt idx="2331">
                  <c:v>42257</c:v>
                </c:pt>
                <c:pt idx="2332">
                  <c:v>42258</c:v>
                </c:pt>
                <c:pt idx="2333">
                  <c:v>42261</c:v>
                </c:pt>
                <c:pt idx="2334">
                  <c:v>42262</c:v>
                </c:pt>
                <c:pt idx="2335">
                  <c:v>42263</c:v>
                </c:pt>
                <c:pt idx="2336">
                  <c:v>42264</c:v>
                </c:pt>
                <c:pt idx="2337">
                  <c:v>42265</c:v>
                </c:pt>
                <c:pt idx="2338">
                  <c:v>42268</c:v>
                </c:pt>
                <c:pt idx="2339">
                  <c:v>42269</c:v>
                </c:pt>
                <c:pt idx="2340">
                  <c:v>42270</c:v>
                </c:pt>
                <c:pt idx="2341">
                  <c:v>42271</c:v>
                </c:pt>
                <c:pt idx="2342">
                  <c:v>42272</c:v>
                </c:pt>
                <c:pt idx="2343">
                  <c:v>42275</c:v>
                </c:pt>
                <c:pt idx="2344">
                  <c:v>42276</c:v>
                </c:pt>
                <c:pt idx="2345">
                  <c:v>42277</c:v>
                </c:pt>
                <c:pt idx="2346">
                  <c:v>42278</c:v>
                </c:pt>
                <c:pt idx="2347">
                  <c:v>42279</c:v>
                </c:pt>
                <c:pt idx="2348">
                  <c:v>42282</c:v>
                </c:pt>
                <c:pt idx="2349">
                  <c:v>42283</c:v>
                </c:pt>
                <c:pt idx="2350">
                  <c:v>42284</c:v>
                </c:pt>
                <c:pt idx="2351">
                  <c:v>42285</c:v>
                </c:pt>
                <c:pt idx="2352">
                  <c:v>42286</c:v>
                </c:pt>
                <c:pt idx="2353">
                  <c:v>42289</c:v>
                </c:pt>
                <c:pt idx="2354">
                  <c:v>42290</c:v>
                </c:pt>
                <c:pt idx="2355">
                  <c:v>42291</c:v>
                </c:pt>
                <c:pt idx="2356">
                  <c:v>42292</c:v>
                </c:pt>
                <c:pt idx="2357">
                  <c:v>42293</c:v>
                </c:pt>
                <c:pt idx="2358">
                  <c:v>42296</c:v>
                </c:pt>
                <c:pt idx="2359">
                  <c:v>42297</c:v>
                </c:pt>
                <c:pt idx="2360">
                  <c:v>42298</c:v>
                </c:pt>
                <c:pt idx="2361">
                  <c:v>42299</c:v>
                </c:pt>
                <c:pt idx="2362">
                  <c:v>42300</c:v>
                </c:pt>
                <c:pt idx="2363">
                  <c:v>42303</c:v>
                </c:pt>
                <c:pt idx="2364">
                  <c:v>42304</c:v>
                </c:pt>
                <c:pt idx="2365">
                  <c:v>42305</c:v>
                </c:pt>
                <c:pt idx="2366">
                  <c:v>42306</c:v>
                </c:pt>
                <c:pt idx="2367">
                  <c:v>42307</c:v>
                </c:pt>
                <c:pt idx="2368">
                  <c:v>42310</c:v>
                </c:pt>
                <c:pt idx="2369">
                  <c:v>42311</c:v>
                </c:pt>
                <c:pt idx="2370">
                  <c:v>42312</c:v>
                </c:pt>
                <c:pt idx="2371">
                  <c:v>42313</c:v>
                </c:pt>
                <c:pt idx="2372">
                  <c:v>42314</c:v>
                </c:pt>
                <c:pt idx="2373">
                  <c:v>42317</c:v>
                </c:pt>
                <c:pt idx="2374">
                  <c:v>42318</c:v>
                </c:pt>
                <c:pt idx="2375">
                  <c:v>42319</c:v>
                </c:pt>
                <c:pt idx="2376">
                  <c:v>42320</c:v>
                </c:pt>
                <c:pt idx="2377">
                  <c:v>42321</c:v>
                </c:pt>
                <c:pt idx="2378">
                  <c:v>42324</c:v>
                </c:pt>
                <c:pt idx="2379">
                  <c:v>42325</c:v>
                </c:pt>
                <c:pt idx="2380">
                  <c:v>42326</c:v>
                </c:pt>
                <c:pt idx="2381">
                  <c:v>42327</c:v>
                </c:pt>
                <c:pt idx="2382">
                  <c:v>42328</c:v>
                </c:pt>
                <c:pt idx="2383">
                  <c:v>42331</c:v>
                </c:pt>
                <c:pt idx="2384">
                  <c:v>42332</c:v>
                </c:pt>
                <c:pt idx="2385">
                  <c:v>42333</c:v>
                </c:pt>
                <c:pt idx="2386">
                  <c:v>42335</c:v>
                </c:pt>
                <c:pt idx="2387">
                  <c:v>42338</c:v>
                </c:pt>
                <c:pt idx="2388">
                  <c:v>42339</c:v>
                </c:pt>
                <c:pt idx="2389">
                  <c:v>42340</c:v>
                </c:pt>
                <c:pt idx="2390">
                  <c:v>42341</c:v>
                </c:pt>
                <c:pt idx="2391">
                  <c:v>42342</c:v>
                </c:pt>
                <c:pt idx="2392">
                  <c:v>42345</c:v>
                </c:pt>
                <c:pt idx="2393">
                  <c:v>42346</c:v>
                </c:pt>
                <c:pt idx="2394">
                  <c:v>42347</c:v>
                </c:pt>
                <c:pt idx="2395">
                  <c:v>42348</c:v>
                </c:pt>
                <c:pt idx="2396">
                  <c:v>42349</c:v>
                </c:pt>
                <c:pt idx="2397">
                  <c:v>42352</c:v>
                </c:pt>
                <c:pt idx="2398">
                  <c:v>42353</c:v>
                </c:pt>
                <c:pt idx="2399">
                  <c:v>42354</c:v>
                </c:pt>
                <c:pt idx="2400">
                  <c:v>42355</c:v>
                </c:pt>
                <c:pt idx="2401">
                  <c:v>42356</c:v>
                </c:pt>
                <c:pt idx="2402">
                  <c:v>42359</c:v>
                </c:pt>
                <c:pt idx="2403">
                  <c:v>42360</c:v>
                </c:pt>
                <c:pt idx="2404">
                  <c:v>42361</c:v>
                </c:pt>
                <c:pt idx="2405">
                  <c:v>42362</c:v>
                </c:pt>
                <c:pt idx="2406">
                  <c:v>42366</c:v>
                </c:pt>
                <c:pt idx="2407">
                  <c:v>42367</c:v>
                </c:pt>
                <c:pt idx="2408">
                  <c:v>42368</c:v>
                </c:pt>
                <c:pt idx="2409">
                  <c:v>42369</c:v>
                </c:pt>
                <c:pt idx="2410">
                  <c:v>42373</c:v>
                </c:pt>
                <c:pt idx="2411">
                  <c:v>42374</c:v>
                </c:pt>
                <c:pt idx="2412">
                  <c:v>42375</c:v>
                </c:pt>
                <c:pt idx="2413">
                  <c:v>42376</c:v>
                </c:pt>
                <c:pt idx="2414">
                  <c:v>42377</c:v>
                </c:pt>
                <c:pt idx="2415">
                  <c:v>42380</c:v>
                </c:pt>
                <c:pt idx="2416">
                  <c:v>42381</c:v>
                </c:pt>
                <c:pt idx="2417">
                  <c:v>42382</c:v>
                </c:pt>
                <c:pt idx="2418">
                  <c:v>42383</c:v>
                </c:pt>
                <c:pt idx="2419">
                  <c:v>42384</c:v>
                </c:pt>
                <c:pt idx="2420">
                  <c:v>42388</c:v>
                </c:pt>
                <c:pt idx="2421">
                  <c:v>42389</c:v>
                </c:pt>
                <c:pt idx="2422">
                  <c:v>42390</c:v>
                </c:pt>
                <c:pt idx="2423">
                  <c:v>42391</c:v>
                </c:pt>
                <c:pt idx="2424">
                  <c:v>42394</c:v>
                </c:pt>
                <c:pt idx="2425">
                  <c:v>42395</c:v>
                </c:pt>
                <c:pt idx="2426">
                  <c:v>42396</c:v>
                </c:pt>
                <c:pt idx="2427">
                  <c:v>42397</c:v>
                </c:pt>
                <c:pt idx="2428">
                  <c:v>42398</c:v>
                </c:pt>
                <c:pt idx="2429">
                  <c:v>42401</c:v>
                </c:pt>
                <c:pt idx="2430">
                  <c:v>42402</c:v>
                </c:pt>
                <c:pt idx="2431">
                  <c:v>42403</c:v>
                </c:pt>
                <c:pt idx="2432">
                  <c:v>42404</c:v>
                </c:pt>
                <c:pt idx="2433">
                  <c:v>42405</c:v>
                </c:pt>
                <c:pt idx="2434">
                  <c:v>42408</c:v>
                </c:pt>
                <c:pt idx="2435">
                  <c:v>42409</c:v>
                </c:pt>
                <c:pt idx="2436">
                  <c:v>42410</c:v>
                </c:pt>
                <c:pt idx="2437">
                  <c:v>42411</c:v>
                </c:pt>
                <c:pt idx="2438">
                  <c:v>42412</c:v>
                </c:pt>
                <c:pt idx="2439">
                  <c:v>42416</c:v>
                </c:pt>
                <c:pt idx="2440">
                  <c:v>42417</c:v>
                </c:pt>
                <c:pt idx="2441">
                  <c:v>42418</c:v>
                </c:pt>
                <c:pt idx="2442">
                  <c:v>42419</c:v>
                </c:pt>
                <c:pt idx="2443">
                  <c:v>42422</c:v>
                </c:pt>
                <c:pt idx="2444">
                  <c:v>42423</c:v>
                </c:pt>
                <c:pt idx="2445">
                  <c:v>42424</c:v>
                </c:pt>
                <c:pt idx="2446">
                  <c:v>42425</c:v>
                </c:pt>
                <c:pt idx="2447">
                  <c:v>42426</c:v>
                </c:pt>
                <c:pt idx="2448">
                  <c:v>42429</c:v>
                </c:pt>
                <c:pt idx="2449">
                  <c:v>42430</c:v>
                </c:pt>
                <c:pt idx="2450">
                  <c:v>42431</c:v>
                </c:pt>
                <c:pt idx="2451">
                  <c:v>42432</c:v>
                </c:pt>
                <c:pt idx="2452">
                  <c:v>42433</c:v>
                </c:pt>
                <c:pt idx="2453">
                  <c:v>42436</c:v>
                </c:pt>
                <c:pt idx="2454">
                  <c:v>42437</c:v>
                </c:pt>
                <c:pt idx="2455">
                  <c:v>42438</c:v>
                </c:pt>
                <c:pt idx="2456">
                  <c:v>42439</c:v>
                </c:pt>
                <c:pt idx="2457">
                  <c:v>42440</c:v>
                </c:pt>
                <c:pt idx="2458">
                  <c:v>42443</c:v>
                </c:pt>
                <c:pt idx="2459">
                  <c:v>42444</c:v>
                </c:pt>
                <c:pt idx="2460">
                  <c:v>42445</c:v>
                </c:pt>
                <c:pt idx="2461">
                  <c:v>42446</c:v>
                </c:pt>
                <c:pt idx="2462">
                  <c:v>42447</c:v>
                </c:pt>
                <c:pt idx="2463">
                  <c:v>42450</c:v>
                </c:pt>
                <c:pt idx="2464">
                  <c:v>42451</c:v>
                </c:pt>
                <c:pt idx="2465">
                  <c:v>42452</c:v>
                </c:pt>
                <c:pt idx="2466">
                  <c:v>42453</c:v>
                </c:pt>
                <c:pt idx="2467">
                  <c:v>42457</c:v>
                </c:pt>
                <c:pt idx="2468">
                  <c:v>42458</c:v>
                </c:pt>
                <c:pt idx="2469">
                  <c:v>42459</c:v>
                </c:pt>
                <c:pt idx="2470">
                  <c:v>42460</c:v>
                </c:pt>
                <c:pt idx="2471">
                  <c:v>42461</c:v>
                </c:pt>
                <c:pt idx="2472">
                  <c:v>42464</c:v>
                </c:pt>
                <c:pt idx="2473">
                  <c:v>42465</c:v>
                </c:pt>
                <c:pt idx="2474">
                  <c:v>42466</c:v>
                </c:pt>
                <c:pt idx="2475">
                  <c:v>42467</c:v>
                </c:pt>
                <c:pt idx="2476">
                  <c:v>42468</c:v>
                </c:pt>
                <c:pt idx="2477">
                  <c:v>42471</c:v>
                </c:pt>
                <c:pt idx="2478">
                  <c:v>42472</c:v>
                </c:pt>
                <c:pt idx="2479">
                  <c:v>42473</c:v>
                </c:pt>
                <c:pt idx="2480">
                  <c:v>42474</c:v>
                </c:pt>
                <c:pt idx="2481">
                  <c:v>42475</c:v>
                </c:pt>
                <c:pt idx="2482">
                  <c:v>42478</c:v>
                </c:pt>
                <c:pt idx="2483">
                  <c:v>42479</c:v>
                </c:pt>
                <c:pt idx="2484">
                  <c:v>42480</c:v>
                </c:pt>
                <c:pt idx="2485">
                  <c:v>42481</c:v>
                </c:pt>
                <c:pt idx="2486">
                  <c:v>42482</c:v>
                </c:pt>
                <c:pt idx="2487">
                  <c:v>42485</c:v>
                </c:pt>
                <c:pt idx="2488">
                  <c:v>42486</c:v>
                </c:pt>
                <c:pt idx="2489">
                  <c:v>42487</c:v>
                </c:pt>
                <c:pt idx="2490">
                  <c:v>42488</c:v>
                </c:pt>
                <c:pt idx="2491">
                  <c:v>42489</c:v>
                </c:pt>
                <c:pt idx="2492">
                  <c:v>42492</c:v>
                </c:pt>
                <c:pt idx="2493">
                  <c:v>42493</c:v>
                </c:pt>
                <c:pt idx="2494">
                  <c:v>42494</c:v>
                </c:pt>
                <c:pt idx="2495">
                  <c:v>42495</c:v>
                </c:pt>
                <c:pt idx="2496">
                  <c:v>42496</c:v>
                </c:pt>
                <c:pt idx="2497">
                  <c:v>42499</c:v>
                </c:pt>
              </c:numCache>
            </c:numRef>
          </c:cat>
          <c:val>
            <c:numRef>
              <c:f>Sheet1!$AM$25:$AM$2522</c:f>
              <c:numCache>
                <c:formatCode>_(* #,##0.00_);_(* \(#,##0.00\);_(* "-"??_);_(@_)</c:formatCode>
                <c:ptCount val="2498"/>
                <c:pt idx="0">
                  <c:v>3.4728159969482366</c:v>
                </c:pt>
                <c:pt idx="1">
                  <c:v>3.9519988902578489</c:v>
                </c:pt>
                <c:pt idx="2">
                  <c:v>4.2239058953655153</c:v>
                </c:pt>
                <c:pt idx="3">
                  <c:v>6.9252822689900793</c:v>
                </c:pt>
                <c:pt idx="4">
                  <c:v>9.6044962538737781</c:v>
                </c:pt>
                <c:pt idx="5">
                  <c:v>6.9750611369169153</c:v>
                </c:pt>
                <c:pt idx="6">
                  <c:v>0.23672401347910599</c:v>
                </c:pt>
                <c:pt idx="7">
                  <c:v>1.7085422478833767</c:v>
                </c:pt>
                <c:pt idx="8">
                  <c:v>2.0891857050846454</c:v>
                </c:pt>
                <c:pt idx="9">
                  <c:v>0.98194682311831816</c:v>
                </c:pt>
                <c:pt idx="10">
                  <c:v>-0.5624842689200743</c:v>
                </c:pt>
                <c:pt idx="11">
                  <c:v>-0.28748370631152542</c:v>
                </c:pt>
                <c:pt idx="12">
                  <c:v>0.33758463079495982</c:v>
                </c:pt>
                <c:pt idx="13">
                  <c:v>0.11400410818148965</c:v>
                </c:pt>
                <c:pt idx="14">
                  <c:v>1.5896942884080585</c:v>
                </c:pt>
                <c:pt idx="15">
                  <c:v>1.1617262752843112</c:v>
                </c:pt>
                <c:pt idx="16">
                  <c:v>-2.979671004051343</c:v>
                </c:pt>
                <c:pt idx="17">
                  <c:v>-2.9119333014877928</c:v>
                </c:pt>
                <c:pt idx="18">
                  <c:v>-1.8331079043778953</c:v>
                </c:pt>
                <c:pt idx="19">
                  <c:v>-0.98467134844279214</c:v>
                </c:pt>
                <c:pt idx="20">
                  <c:v>-1.3100077537853276</c:v>
                </c:pt>
                <c:pt idx="21">
                  <c:v>-1.2192897806426517</c:v>
                </c:pt>
                <c:pt idx="22">
                  <c:v>-1.0672211120993564</c:v>
                </c:pt>
                <c:pt idx="23">
                  <c:v>-1.1296165912926508</c:v>
                </c:pt>
                <c:pt idx="24">
                  <c:v>0.14572670917002706</c:v>
                </c:pt>
                <c:pt idx="25">
                  <c:v>2.6451585118831362</c:v>
                </c:pt>
                <c:pt idx="26">
                  <c:v>4.8986663686165501</c:v>
                </c:pt>
                <c:pt idx="27">
                  <c:v>5.5302852350034293</c:v>
                </c:pt>
                <c:pt idx="28">
                  <c:v>4.9944808081119678</c:v>
                </c:pt>
                <c:pt idx="29">
                  <c:v>1.2084621640934516</c:v>
                </c:pt>
                <c:pt idx="30">
                  <c:v>1.9119158749820786</c:v>
                </c:pt>
                <c:pt idx="31">
                  <c:v>3.0006968061728423</c:v>
                </c:pt>
                <c:pt idx="32">
                  <c:v>-0.58527779427322013</c:v>
                </c:pt>
                <c:pt idx="33">
                  <c:v>-0.77528018226230566</c:v>
                </c:pt>
                <c:pt idx="34">
                  <c:v>-0.57634978492842881</c:v>
                </c:pt>
                <c:pt idx="35">
                  <c:v>-0.27664142273995662</c:v>
                </c:pt>
                <c:pt idx="36">
                  <c:v>0.4867813417171879</c:v>
                </c:pt>
                <c:pt idx="37">
                  <c:v>1.1188412237152194</c:v>
                </c:pt>
                <c:pt idx="38">
                  <c:v>1.4237561699434549</c:v>
                </c:pt>
                <c:pt idx="39">
                  <c:v>0.79311368424301865</c:v>
                </c:pt>
                <c:pt idx="40">
                  <c:v>0.93161592491385337</c:v>
                </c:pt>
                <c:pt idx="41">
                  <c:v>1.0596810252532451</c:v>
                </c:pt>
                <c:pt idx="42">
                  <c:v>1.9023704471906684</c:v>
                </c:pt>
                <c:pt idx="43">
                  <c:v>1.917944153491316</c:v>
                </c:pt>
                <c:pt idx="44">
                  <c:v>2.4146891873865513</c:v>
                </c:pt>
                <c:pt idx="45">
                  <c:v>2.6153732571716088</c:v>
                </c:pt>
                <c:pt idx="46">
                  <c:v>2.5137309663040326</c:v>
                </c:pt>
                <c:pt idx="47">
                  <c:v>2.5137649346422264</c:v>
                </c:pt>
                <c:pt idx="48">
                  <c:v>0.89210539458989546</c:v>
                </c:pt>
                <c:pt idx="49">
                  <c:v>1.2481308240115008</c:v>
                </c:pt>
                <c:pt idx="50">
                  <c:v>1.7092481686011753</c:v>
                </c:pt>
                <c:pt idx="51">
                  <c:v>1.6494767556788081</c:v>
                </c:pt>
                <c:pt idx="52">
                  <c:v>3.5080974164028751</c:v>
                </c:pt>
                <c:pt idx="53">
                  <c:v>3.6700223394091585</c:v>
                </c:pt>
                <c:pt idx="54">
                  <c:v>3.6583002893294179</c:v>
                </c:pt>
                <c:pt idx="55">
                  <c:v>3.8562100195025373</c:v>
                </c:pt>
                <c:pt idx="56">
                  <c:v>4.7602229294394265</c:v>
                </c:pt>
                <c:pt idx="57">
                  <c:v>4.5113874019645301</c:v>
                </c:pt>
                <c:pt idx="58">
                  <c:v>4.8861893090309723</c:v>
                </c:pt>
                <c:pt idx="59">
                  <c:v>5.0270857328077314</c:v>
                </c:pt>
                <c:pt idx="60">
                  <c:v>5.1029577179462926</c:v>
                </c:pt>
                <c:pt idx="61">
                  <c:v>4.6027940630955495</c:v>
                </c:pt>
                <c:pt idx="62">
                  <c:v>5.4280367687582638</c:v>
                </c:pt>
                <c:pt idx="63">
                  <c:v>5.6339858522541961</c:v>
                </c:pt>
                <c:pt idx="64">
                  <c:v>5.7320090477876882</c:v>
                </c:pt>
                <c:pt idx="65">
                  <c:v>5.0547640867642354</c:v>
                </c:pt>
                <c:pt idx="66">
                  <c:v>5.1016954432775927</c:v>
                </c:pt>
                <c:pt idx="67">
                  <c:v>3.3955818782598737</c:v>
                </c:pt>
                <c:pt idx="68">
                  <c:v>3.8381280352933684</c:v>
                </c:pt>
                <c:pt idx="69">
                  <c:v>4.5599004888560515</c:v>
                </c:pt>
                <c:pt idx="70">
                  <c:v>4.7412256702153019</c:v>
                </c:pt>
                <c:pt idx="71">
                  <c:v>4.8418789084207523</c:v>
                </c:pt>
                <c:pt idx="72">
                  <c:v>5.1484879655156304</c:v>
                </c:pt>
                <c:pt idx="73">
                  <c:v>4.3815589650087956</c:v>
                </c:pt>
                <c:pt idx="74">
                  <c:v>5.1399185443271715</c:v>
                </c:pt>
                <c:pt idx="75">
                  <c:v>5.4003027612464383</c:v>
                </c:pt>
                <c:pt idx="76">
                  <c:v>4.4115431227899276</c:v>
                </c:pt>
                <c:pt idx="77">
                  <c:v>3.6204110691410025</c:v>
                </c:pt>
                <c:pt idx="78">
                  <c:v>3.6642006148015409</c:v>
                </c:pt>
                <c:pt idx="79">
                  <c:v>3.8144641175909002</c:v>
                </c:pt>
                <c:pt idx="80">
                  <c:v>3.9798697274682535</c:v>
                </c:pt>
                <c:pt idx="81">
                  <c:v>4.5787556460051242</c:v>
                </c:pt>
                <c:pt idx="82">
                  <c:v>4.2415648042751997</c:v>
                </c:pt>
                <c:pt idx="83">
                  <c:v>3.9734635668214362</c:v>
                </c:pt>
                <c:pt idx="84">
                  <c:v>4.5008127523252188</c:v>
                </c:pt>
                <c:pt idx="85">
                  <c:v>3.9069946573697432</c:v>
                </c:pt>
                <c:pt idx="86">
                  <c:v>4.0341711327545564</c:v>
                </c:pt>
                <c:pt idx="87">
                  <c:v>4.5552124584438136</c:v>
                </c:pt>
                <c:pt idx="88">
                  <c:v>4.5650568077327858</c:v>
                </c:pt>
                <c:pt idx="89">
                  <c:v>3.5226520409909381</c:v>
                </c:pt>
                <c:pt idx="90">
                  <c:v>3.1905490574123565</c:v>
                </c:pt>
                <c:pt idx="91">
                  <c:v>3.5303201551124932</c:v>
                </c:pt>
                <c:pt idx="92">
                  <c:v>4.0499539587124112</c:v>
                </c:pt>
                <c:pt idx="93">
                  <c:v>3.7714959223363405</c:v>
                </c:pt>
                <c:pt idx="94">
                  <c:v>3.7759507491921585</c:v>
                </c:pt>
                <c:pt idx="95">
                  <c:v>3.6822041151671354</c:v>
                </c:pt>
                <c:pt idx="96">
                  <c:v>4.4162838562856468</c:v>
                </c:pt>
                <c:pt idx="97">
                  <c:v>4.4379086976032722</c:v>
                </c:pt>
                <c:pt idx="98">
                  <c:v>4.3004351863162276</c:v>
                </c:pt>
                <c:pt idx="99">
                  <c:v>4.0950355395329412</c:v>
                </c:pt>
                <c:pt idx="100">
                  <c:v>3.5044152092959204</c:v>
                </c:pt>
                <c:pt idx="101">
                  <c:v>4.1239336144422847</c:v>
                </c:pt>
                <c:pt idx="102">
                  <c:v>3.9998068299957974</c:v>
                </c:pt>
                <c:pt idx="103">
                  <c:v>4.8509121248842213</c:v>
                </c:pt>
                <c:pt idx="104">
                  <c:v>4.7790476212468329</c:v>
                </c:pt>
                <c:pt idx="105">
                  <c:v>4.54704090473526</c:v>
                </c:pt>
                <c:pt idx="106">
                  <c:v>3.5250159634465259</c:v>
                </c:pt>
                <c:pt idx="107">
                  <c:v>3.4518216617211994</c:v>
                </c:pt>
                <c:pt idx="108">
                  <c:v>3.2285026881124459</c:v>
                </c:pt>
                <c:pt idx="109">
                  <c:v>3.7924432660317309</c:v>
                </c:pt>
                <c:pt idx="110">
                  <c:v>3.577111020677616</c:v>
                </c:pt>
                <c:pt idx="111">
                  <c:v>3.6457604678614528</c:v>
                </c:pt>
                <c:pt idx="112">
                  <c:v>3.188899103577679</c:v>
                </c:pt>
                <c:pt idx="113">
                  <c:v>2.984050548274225</c:v>
                </c:pt>
                <c:pt idx="114">
                  <c:v>2.8239608797394609</c:v>
                </c:pt>
                <c:pt idx="115">
                  <c:v>2.7137518724718506</c:v>
                </c:pt>
                <c:pt idx="116">
                  <c:v>2.8535794314556497</c:v>
                </c:pt>
                <c:pt idx="117">
                  <c:v>2.7816496639385719</c:v>
                </c:pt>
                <c:pt idx="118">
                  <c:v>3.0662663461632809</c:v>
                </c:pt>
                <c:pt idx="119">
                  <c:v>3.6568307364525765</c:v>
                </c:pt>
                <c:pt idx="120">
                  <c:v>4.1917002954224225</c:v>
                </c:pt>
                <c:pt idx="121">
                  <c:v>3.4265601933358494</c:v>
                </c:pt>
                <c:pt idx="122">
                  <c:v>2.0588896566069561</c:v>
                </c:pt>
                <c:pt idx="123">
                  <c:v>2.6839564543955654</c:v>
                </c:pt>
                <c:pt idx="124">
                  <c:v>3.327703990828164</c:v>
                </c:pt>
                <c:pt idx="125">
                  <c:v>2.5573502217366277</c:v>
                </c:pt>
                <c:pt idx="126">
                  <c:v>3.3189094899872527</c:v>
                </c:pt>
                <c:pt idx="127">
                  <c:v>3.3369865814817823</c:v>
                </c:pt>
                <c:pt idx="128">
                  <c:v>4.4908686682685079</c:v>
                </c:pt>
                <c:pt idx="129">
                  <c:v>4.2128710295706044</c:v>
                </c:pt>
                <c:pt idx="130">
                  <c:v>2.8465617626011519</c:v>
                </c:pt>
                <c:pt idx="131">
                  <c:v>2.7676958916765817</c:v>
                </c:pt>
                <c:pt idx="132">
                  <c:v>2.5550204299560173</c:v>
                </c:pt>
                <c:pt idx="133">
                  <c:v>1.8543690023026471</c:v>
                </c:pt>
                <c:pt idx="134">
                  <c:v>1.9477586536881184</c:v>
                </c:pt>
                <c:pt idx="135">
                  <c:v>2.3618230669623692</c:v>
                </c:pt>
                <c:pt idx="136">
                  <c:v>2.0614784743778785</c:v>
                </c:pt>
                <c:pt idx="137">
                  <c:v>1.9872568575918501</c:v>
                </c:pt>
                <c:pt idx="138">
                  <c:v>2.1370465308497413</c:v>
                </c:pt>
                <c:pt idx="139">
                  <c:v>2.8391923757798447</c:v>
                </c:pt>
                <c:pt idx="140">
                  <c:v>4.4469180142246945</c:v>
                </c:pt>
                <c:pt idx="141">
                  <c:v>3.5656561502476425</c:v>
                </c:pt>
                <c:pt idx="142">
                  <c:v>4.4720642959132224</c:v>
                </c:pt>
                <c:pt idx="143">
                  <c:v>4.7639798796470814</c:v>
                </c:pt>
                <c:pt idx="144">
                  <c:v>5.3279801203018975</c:v>
                </c:pt>
                <c:pt idx="145">
                  <c:v>5.5169644214121041</c:v>
                </c:pt>
                <c:pt idx="146">
                  <c:v>5.8999838856672921</c:v>
                </c:pt>
                <c:pt idx="147">
                  <c:v>5.719439932146944</c:v>
                </c:pt>
                <c:pt idx="148">
                  <c:v>5.8022972304072589</c:v>
                </c:pt>
                <c:pt idx="149">
                  <c:v>5.3575684502988397</c:v>
                </c:pt>
                <c:pt idx="150">
                  <c:v>4.4141570670623365</c:v>
                </c:pt>
                <c:pt idx="151">
                  <c:v>3.5305305682282295</c:v>
                </c:pt>
                <c:pt idx="152">
                  <c:v>4.1228304054234055</c:v>
                </c:pt>
                <c:pt idx="153">
                  <c:v>4.6718928447748223</c:v>
                </c:pt>
                <c:pt idx="154">
                  <c:v>4.840426346398667</c:v>
                </c:pt>
                <c:pt idx="155">
                  <c:v>4.4311423431914871</c:v>
                </c:pt>
                <c:pt idx="156">
                  <c:v>4.5320107725057932</c:v>
                </c:pt>
                <c:pt idx="157">
                  <c:v>3.9948394599466601</c:v>
                </c:pt>
                <c:pt idx="158">
                  <c:v>3.0718659373418751</c:v>
                </c:pt>
                <c:pt idx="159">
                  <c:v>3.4268708553024552</c:v>
                </c:pt>
                <c:pt idx="160">
                  <c:v>3.455142963842285</c:v>
                </c:pt>
                <c:pt idx="161">
                  <c:v>4.2011073376660324</c:v>
                </c:pt>
                <c:pt idx="162">
                  <c:v>3.4286238403512233</c:v>
                </c:pt>
                <c:pt idx="163">
                  <c:v>2.7716705777432624</c:v>
                </c:pt>
                <c:pt idx="164">
                  <c:v>2.525838220226452</c:v>
                </c:pt>
                <c:pt idx="165">
                  <c:v>2.2924795624246723</c:v>
                </c:pt>
                <c:pt idx="166">
                  <c:v>3.186166364521875</c:v>
                </c:pt>
                <c:pt idx="167">
                  <c:v>3.2913902109693334</c:v>
                </c:pt>
                <c:pt idx="168">
                  <c:v>2.9903170266583081</c:v>
                </c:pt>
                <c:pt idx="169">
                  <c:v>3.0615322427949163</c:v>
                </c:pt>
                <c:pt idx="170">
                  <c:v>3.431811405748729</c:v>
                </c:pt>
                <c:pt idx="171">
                  <c:v>4.0111920693496099</c:v>
                </c:pt>
                <c:pt idx="172">
                  <c:v>2.2911571550096821</c:v>
                </c:pt>
                <c:pt idx="173">
                  <c:v>1.8086797310780736</c:v>
                </c:pt>
                <c:pt idx="174">
                  <c:v>1.9211848661329314</c:v>
                </c:pt>
                <c:pt idx="175">
                  <c:v>1.7240623668352038</c:v>
                </c:pt>
                <c:pt idx="176">
                  <c:v>2.2482442060576311</c:v>
                </c:pt>
                <c:pt idx="177">
                  <c:v>2.201228861141276</c:v>
                </c:pt>
                <c:pt idx="178">
                  <c:v>2.6608993936773322</c:v>
                </c:pt>
                <c:pt idx="179">
                  <c:v>4.2843734731109295</c:v>
                </c:pt>
                <c:pt idx="180">
                  <c:v>4.8522498523673647</c:v>
                </c:pt>
                <c:pt idx="181">
                  <c:v>3.9573913383055519</c:v>
                </c:pt>
                <c:pt idx="182">
                  <c:v>1.0798565253673398</c:v>
                </c:pt>
                <c:pt idx="183">
                  <c:v>1.7358560376183829</c:v>
                </c:pt>
                <c:pt idx="184">
                  <c:v>4.3044397855667018</c:v>
                </c:pt>
                <c:pt idx="185">
                  <c:v>5.1675887950713566</c:v>
                </c:pt>
                <c:pt idx="186">
                  <c:v>0.14774646032727767</c:v>
                </c:pt>
                <c:pt idx="187">
                  <c:v>-0.54544193107384509</c:v>
                </c:pt>
                <c:pt idx="188">
                  <c:v>-1.7842674610685061</c:v>
                </c:pt>
                <c:pt idx="189">
                  <c:v>-2.0056912908784059</c:v>
                </c:pt>
                <c:pt idx="190">
                  <c:v>-2.0357963512350032</c:v>
                </c:pt>
                <c:pt idx="191">
                  <c:v>0.67975990810205944</c:v>
                </c:pt>
                <c:pt idx="192">
                  <c:v>-0.11779518206461725</c:v>
                </c:pt>
                <c:pt idx="193">
                  <c:v>-0.72308239286578146</c:v>
                </c:pt>
                <c:pt idx="194">
                  <c:v>-0.32778055981800003</c:v>
                </c:pt>
                <c:pt idx="195">
                  <c:v>-3.1641917233036136</c:v>
                </c:pt>
                <c:pt idx="196">
                  <c:v>-4.6485014371604265</c:v>
                </c:pt>
                <c:pt idx="197">
                  <c:v>-6.9120030089445823</c:v>
                </c:pt>
                <c:pt idx="198">
                  <c:v>-6.1725866964624423</c:v>
                </c:pt>
                <c:pt idx="199">
                  <c:v>-6.1331739850812781</c:v>
                </c:pt>
                <c:pt idx="200">
                  <c:v>-5.9281620121444192</c:v>
                </c:pt>
                <c:pt idx="201">
                  <c:v>-0.7093842284127766</c:v>
                </c:pt>
                <c:pt idx="202">
                  <c:v>0.54795486649045488</c:v>
                </c:pt>
                <c:pt idx="203">
                  <c:v>0.70559688364671969</c:v>
                </c:pt>
                <c:pt idx="204">
                  <c:v>0.90982622977931471</c:v>
                </c:pt>
                <c:pt idx="205">
                  <c:v>1.3860274609273442</c:v>
                </c:pt>
                <c:pt idx="206">
                  <c:v>0.99350513986903033</c:v>
                </c:pt>
                <c:pt idx="207">
                  <c:v>0.86000150933213537</c:v>
                </c:pt>
                <c:pt idx="208">
                  <c:v>1.003054046430224</c:v>
                </c:pt>
                <c:pt idx="209">
                  <c:v>0.91218723878626751</c:v>
                </c:pt>
                <c:pt idx="210">
                  <c:v>0.4529062130478323</c:v>
                </c:pt>
                <c:pt idx="211">
                  <c:v>3.8787417985843122</c:v>
                </c:pt>
                <c:pt idx="212">
                  <c:v>3.1272158619653005</c:v>
                </c:pt>
                <c:pt idx="213">
                  <c:v>2.6211178202192973</c:v>
                </c:pt>
                <c:pt idx="214">
                  <c:v>2.2144936094687653</c:v>
                </c:pt>
                <c:pt idx="215">
                  <c:v>2.8397856615693287</c:v>
                </c:pt>
                <c:pt idx="216">
                  <c:v>3.2187007451823706</c:v>
                </c:pt>
                <c:pt idx="217">
                  <c:v>5.1303439853743669</c:v>
                </c:pt>
                <c:pt idx="218">
                  <c:v>4.1685394678819669</c:v>
                </c:pt>
                <c:pt idx="219">
                  <c:v>5.0123688043376315</c:v>
                </c:pt>
                <c:pt idx="220">
                  <c:v>5.0663650994447114</c:v>
                </c:pt>
                <c:pt idx="221">
                  <c:v>5.1391399610066379</c:v>
                </c:pt>
                <c:pt idx="222">
                  <c:v>5.577675009090088</c:v>
                </c:pt>
                <c:pt idx="223">
                  <c:v>5.1851789332364975</c:v>
                </c:pt>
                <c:pt idx="224">
                  <c:v>6.1672006210540502</c:v>
                </c:pt>
                <c:pt idx="225">
                  <c:v>5.4567556644121424</c:v>
                </c:pt>
                <c:pt idx="226">
                  <c:v>5.297042713830125</c:v>
                </c:pt>
                <c:pt idx="227">
                  <c:v>5.2715564934382151</c:v>
                </c:pt>
                <c:pt idx="228">
                  <c:v>5.0988134174214235</c:v>
                </c:pt>
                <c:pt idx="229">
                  <c:v>5.3580049714354985</c:v>
                </c:pt>
                <c:pt idx="230">
                  <c:v>5.3298120978875527</c:v>
                </c:pt>
                <c:pt idx="231">
                  <c:v>5.6800188023817286</c:v>
                </c:pt>
                <c:pt idx="232">
                  <c:v>4.4535944769344988</c:v>
                </c:pt>
                <c:pt idx="233">
                  <c:v>3.3790693498687032</c:v>
                </c:pt>
                <c:pt idx="234">
                  <c:v>4.9177237887945937</c:v>
                </c:pt>
                <c:pt idx="235">
                  <c:v>4.9327875247553967</c:v>
                </c:pt>
                <c:pt idx="236">
                  <c:v>4.0337173678768252</c:v>
                </c:pt>
                <c:pt idx="237">
                  <c:v>4.0535302802202482</c:v>
                </c:pt>
                <c:pt idx="238">
                  <c:v>3.5486507561273943</c:v>
                </c:pt>
                <c:pt idx="239">
                  <c:v>4.186459533431429</c:v>
                </c:pt>
                <c:pt idx="240">
                  <c:v>3.9381492182953877</c:v>
                </c:pt>
                <c:pt idx="241">
                  <c:v>4.6716089645060199</c:v>
                </c:pt>
                <c:pt idx="242">
                  <c:v>4.7243495529978832</c:v>
                </c:pt>
                <c:pt idx="243">
                  <c:v>3.8220135858282336</c:v>
                </c:pt>
                <c:pt idx="244">
                  <c:v>4.5672556906273494</c:v>
                </c:pt>
                <c:pt idx="245">
                  <c:v>3.5604217591559681</c:v>
                </c:pt>
                <c:pt idx="246">
                  <c:v>3.964158129514697</c:v>
                </c:pt>
                <c:pt idx="247">
                  <c:v>3.7189088620027109</c:v>
                </c:pt>
                <c:pt idx="248">
                  <c:v>4.2328165570466441</c:v>
                </c:pt>
                <c:pt idx="249">
                  <c:v>4.3092978008424474</c:v>
                </c:pt>
                <c:pt idx="250">
                  <c:v>4.957342563938985</c:v>
                </c:pt>
                <c:pt idx="251">
                  <c:v>5.3371059313871871</c:v>
                </c:pt>
                <c:pt idx="252">
                  <c:v>3.4904174518617825</c:v>
                </c:pt>
                <c:pt idx="253">
                  <c:v>3.8717826043681738</c:v>
                </c:pt>
                <c:pt idx="254">
                  <c:v>5.1781344941715028</c:v>
                </c:pt>
                <c:pt idx="255">
                  <c:v>2.015753889020516</c:v>
                </c:pt>
                <c:pt idx="256">
                  <c:v>1.1774407429475955</c:v>
                </c:pt>
                <c:pt idx="257">
                  <c:v>1.2956869800861748</c:v>
                </c:pt>
                <c:pt idx="258">
                  <c:v>0.95874920306381206</c:v>
                </c:pt>
                <c:pt idx="259">
                  <c:v>0.38604024343949911</c:v>
                </c:pt>
                <c:pt idx="260">
                  <c:v>1.2531209882232304</c:v>
                </c:pt>
                <c:pt idx="261">
                  <c:v>0.60044027880859496</c:v>
                </c:pt>
                <c:pt idx="262">
                  <c:v>1.7898667371926607</c:v>
                </c:pt>
                <c:pt idx="263">
                  <c:v>2.8131335061727909</c:v>
                </c:pt>
                <c:pt idx="264">
                  <c:v>5.0476016862016024</c:v>
                </c:pt>
                <c:pt idx="265">
                  <c:v>1.5975274815094309</c:v>
                </c:pt>
                <c:pt idx="266">
                  <c:v>1.6121539163508447</c:v>
                </c:pt>
                <c:pt idx="267">
                  <c:v>2.4051475845539629</c:v>
                </c:pt>
                <c:pt idx="268">
                  <c:v>0.98798754398655986</c:v>
                </c:pt>
                <c:pt idx="269">
                  <c:v>0.54680130881498978</c:v>
                </c:pt>
                <c:pt idx="270">
                  <c:v>1.4795693777583856</c:v>
                </c:pt>
                <c:pt idx="271">
                  <c:v>2.4163486743912541</c:v>
                </c:pt>
                <c:pt idx="272">
                  <c:v>3.4363122693278418</c:v>
                </c:pt>
                <c:pt idx="273">
                  <c:v>4.6831515867785365</c:v>
                </c:pt>
                <c:pt idx="274">
                  <c:v>4.264475001413083</c:v>
                </c:pt>
                <c:pt idx="275">
                  <c:v>2.5273767825982145</c:v>
                </c:pt>
                <c:pt idx="276">
                  <c:v>2.1888020864660462</c:v>
                </c:pt>
                <c:pt idx="277">
                  <c:v>2.7625088516837231</c:v>
                </c:pt>
                <c:pt idx="278">
                  <c:v>2.8166368451890134</c:v>
                </c:pt>
                <c:pt idx="279">
                  <c:v>3.1603758046010539</c:v>
                </c:pt>
                <c:pt idx="280">
                  <c:v>3.4620521413053384</c:v>
                </c:pt>
                <c:pt idx="281">
                  <c:v>4.3933259730865704</c:v>
                </c:pt>
                <c:pt idx="282">
                  <c:v>5.2125558654708986</c:v>
                </c:pt>
                <c:pt idx="283">
                  <c:v>4.7645179557430195</c:v>
                </c:pt>
                <c:pt idx="284">
                  <c:v>4.3094904207455045</c:v>
                </c:pt>
                <c:pt idx="285">
                  <c:v>4.8130534207110358</c:v>
                </c:pt>
                <c:pt idx="286">
                  <c:v>7.3421204839644618</c:v>
                </c:pt>
                <c:pt idx="287">
                  <c:v>3.5304188977546418</c:v>
                </c:pt>
                <c:pt idx="288">
                  <c:v>6.2752349871618378</c:v>
                </c:pt>
                <c:pt idx="289">
                  <c:v>6.2174496891356679</c:v>
                </c:pt>
                <c:pt idx="290">
                  <c:v>3.6394497925533646</c:v>
                </c:pt>
                <c:pt idx="291">
                  <c:v>5.5735836215772441</c:v>
                </c:pt>
                <c:pt idx="292">
                  <c:v>1.1325914884926487</c:v>
                </c:pt>
                <c:pt idx="293">
                  <c:v>5.8369052419249279E-2</c:v>
                </c:pt>
                <c:pt idx="294">
                  <c:v>-0.5931782436397165</c:v>
                </c:pt>
                <c:pt idx="295">
                  <c:v>3.3774165245814114</c:v>
                </c:pt>
                <c:pt idx="296">
                  <c:v>5.2749362247956375</c:v>
                </c:pt>
                <c:pt idx="297">
                  <c:v>3.528139244291864</c:v>
                </c:pt>
                <c:pt idx="298">
                  <c:v>4.0644807831101444</c:v>
                </c:pt>
                <c:pt idx="299">
                  <c:v>6.8137911712570416</c:v>
                </c:pt>
                <c:pt idx="300">
                  <c:v>7.032044170055757</c:v>
                </c:pt>
                <c:pt idx="301">
                  <c:v>4.2610056466393047</c:v>
                </c:pt>
                <c:pt idx="302">
                  <c:v>0.74363125930713148</c:v>
                </c:pt>
                <c:pt idx="303">
                  <c:v>0.41479000153274714</c:v>
                </c:pt>
                <c:pt idx="304">
                  <c:v>-2.3207565638763583</c:v>
                </c:pt>
                <c:pt idx="305">
                  <c:v>-1.2385908650112825</c:v>
                </c:pt>
                <c:pt idx="306">
                  <c:v>-2.7783423596796419</c:v>
                </c:pt>
                <c:pt idx="307">
                  <c:v>-0.71431378439653637</c:v>
                </c:pt>
                <c:pt idx="308">
                  <c:v>1.7847104047847369</c:v>
                </c:pt>
                <c:pt idx="309">
                  <c:v>-1.8438056790832713</c:v>
                </c:pt>
                <c:pt idx="310">
                  <c:v>-0.57775088148641074</c:v>
                </c:pt>
                <c:pt idx="311">
                  <c:v>-0.55514296147296527</c:v>
                </c:pt>
                <c:pt idx="312">
                  <c:v>7.393168957531282E-2</c:v>
                </c:pt>
                <c:pt idx="313">
                  <c:v>1.5650505754010724</c:v>
                </c:pt>
                <c:pt idx="314">
                  <c:v>1.5141827013504332</c:v>
                </c:pt>
                <c:pt idx="315">
                  <c:v>5.6228115127954839</c:v>
                </c:pt>
                <c:pt idx="316">
                  <c:v>6.7683241476628266</c:v>
                </c:pt>
                <c:pt idx="317">
                  <c:v>4.1024037727118321</c:v>
                </c:pt>
                <c:pt idx="318">
                  <c:v>5.0049449574496698</c:v>
                </c:pt>
                <c:pt idx="319">
                  <c:v>5.5516467715700655</c:v>
                </c:pt>
                <c:pt idx="320">
                  <c:v>5.6932971888487671</c:v>
                </c:pt>
                <c:pt idx="321">
                  <c:v>8.902492003152366</c:v>
                </c:pt>
                <c:pt idx="322">
                  <c:v>0.22068387137922363</c:v>
                </c:pt>
                <c:pt idx="323">
                  <c:v>-0.13042686052639474</c:v>
                </c:pt>
                <c:pt idx="324">
                  <c:v>0.30849606151197306</c:v>
                </c:pt>
                <c:pt idx="325">
                  <c:v>-1.1335705637043199</c:v>
                </c:pt>
                <c:pt idx="326">
                  <c:v>-0.60849306072110199</c:v>
                </c:pt>
                <c:pt idx="327">
                  <c:v>-1.0533437962155168</c:v>
                </c:pt>
                <c:pt idx="328">
                  <c:v>0.40836592489905121</c:v>
                </c:pt>
                <c:pt idx="329">
                  <c:v>1.2207873498007031</c:v>
                </c:pt>
                <c:pt idx="330">
                  <c:v>2.2784687918745412</c:v>
                </c:pt>
                <c:pt idx="331">
                  <c:v>1.9498797562338799</c:v>
                </c:pt>
                <c:pt idx="332">
                  <c:v>2.862572718562209</c:v>
                </c:pt>
                <c:pt idx="333">
                  <c:v>3.7866197219519226</c:v>
                </c:pt>
                <c:pt idx="334">
                  <c:v>3.4453773113088504</c:v>
                </c:pt>
                <c:pt idx="335">
                  <c:v>3.5459764732979959</c:v>
                </c:pt>
                <c:pt idx="336">
                  <c:v>3.9870756183224829</c:v>
                </c:pt>
                <c:pt idx="337">
                  <c:v>3.0621146868109821</c:v>
                </c:pt>
                <c:pt idx="338">
                  <c:v>3.5429843148979625</c:v>
                </c:pt>
                <c:pt idx="339">
                  <c:v>5.6096668652563793</c:v>
                </c:pt>
                <c:pt idx="340">
                  <c:v>4.4578699788775715</c:v>
                </c:pt>
                <c:pt idx="341">
                  <c:v>5.6781180813118972</c:v>
                </c:pt>
                <c:pt idx="342">
                  <c:v>10.319901311476871</c:v>
                </c:pt>
                <c:pt idx="343">
                  <c:v>9.0428041693834</c:v>
                </c:pt>
                <c:pt idx="344">
                  <c:v>9.3695124003429768</c:v>
                </c:pt>
                <c:pt idx="345">
                  <c:v>9.9471835239766353</c:v>
                </c:pt>
                <c:pt idx="346">
                  <c:v>8.6397528116319293</c:v>
                </c:pt>
                <c:pt idx="347">
                  <c:v>7.0107674886850688</c:v>
                </c:pt>
                <c:pt idx="348">
                  <c:v>7.5250435979580672</c:v>
                </c:pt>
                <c:pt idx="349">
                  <c:v>7.9877861530212231</c:v>
                </c:pt>
                <c:pt idx="350">
                  <c:v>5.4872203080075899</c:v>
                </c:pt>
                <c:pt idx="351">
                  <c:v>6.5714643349404325</c:v>
                </c:pt>
                <c:pt idx="352">
                  <c:v>7.5852573821458105</c:v>
                </c:pt>
                <c:pt idx="353">
                  <c:v>4.4466431732025216</c:v>
                </c:pt>
                <c:pt idx="354">
                  <c:v>6.1877568326460715</c:v>
                </c:pt>
                <c:pt idx="355">
                  <c:v>6.4351621335580669</c:v>
                </c:pt>
                <c:pt idx="356">
                  <c:v>7.7004537629600716</c:v>
                </c:pt>
                <c:pt idx="357">
                  <c:v>4.4226389027398003</c:v>
                </c:pt>
                <c:pt idx="358">
                  <c:v>6.7597095284311068</c:v>
                </c:pt>
                <c:pt idx="359">
                  <c:v>6.4337084468955332</c:v>
                </c:pt>
                <c:pt idx="360">
                  <c:v>8.5542423961983243</c:v>
                </c:pt>
                <c:pt idx="361">
                  <c:v>11.083931880754724</c:v>
                </c:pt>
                <c:pt idx="362">
                  <c:v>1.086605422858153</c:v>
                </c:pt>
                <c:pt idx="363">
                  <c:v>2.8989586103769422</c:v>
                </c:pt>
                <c:pt idx="364">
                  <c:v>4.7057028963699565</c:v>
                </c:pt>
                <c:pt idx="365">
                  <c:v>3.6298271547032468</c:v>
                </c:pt>
                <c:pt idx="366">
                  <c:v>3.5147581696621746</c:v>
                </c:pt>
                <c:pt idx="367">
                  <c:v>2.6189153943572849</c:v>
                </c:pt>
                <c:pt idx="368">
                  <c:v>4.0809631589804525</c:v>
                </c:pt>
                <c:pt idx="369">
                  <c:v>1.7590123830353466</c:v>
                </c:pt>
                <c:pt idx="370">
                  <c:v>4.7537024147115527</c:v>
                </c:pt>
                <c:pt idx="371">
                  <c:v>1.3229543815599349</c:v>
                </c:pt>
                <c:pt idx="372">
                  <c:v>-3.2652286810595674</c:v>
                </c:pt>
                <c:pt idx="373">
                  <c:v>-2.9268911042330896</c:v>
                </c:pt>
                <c:pt idx="374">
                  <c:v>-2.6748910170323326</c:v>
                </c:pt>
                <c:pt idx="375">
                  <c:v>-1.9860479471038945</c:v>
                </c:pt>
                <c:pt idx="376">
                  <c:v>-1.8430063199714464</c:v>
                </c:pt>
                <c:pt idx="377">
                  <c:v>-3.3388545320679643</c:v>
                </c:pt>
                <c:pt idx="378">
                  <c:v>-3.1550423921509778</c:v>
                </c:pt>
                <c:pt idx="379">
                  <c:v>-3.2796725458659304</c:v>
                </c:pt>
                <c:pt idx="380">
                  <c:v>-2.7803804885341314</c:v>
                </c:pt>
                <c:pt idx="381">
                  <c:v>-1.5850797755694368</c:v>
                </c:pt>
                <c:pt idx="382">
                  <c:v>-0.63961617003912286</c:v>
                </c:pt>
                <c:pt idx="383">
                  <c:v>-0.39009241451483379</c:v>
                </c:pt>
                <c:pt idx="384">
                  <c:v>0.27567596114363158</c:v>
                </c:pt>
                <c:pt idx="385">
                  <c:v>0.94308170841611583</c:v>
                </c:pt>
                <c:pt idx="386">
                  <c:v>-0.14018369724478619</c:v>
                </c:pt>
                <c:pt idx="387">
                  <c:v>-1.0678194725574714</c:v>
                </c:pt>
                <c:pt idx="388">
                  <c:v>-1.3512873478953469</c:v>
                </c:pt>
                <c:pt idx="389">
                  <c:v>-3.4414078467640579</c:v>
                </c:pt>
                <c:pt idx="390">
                  <c:v>-1.305731922208575</c:v>
                </c:pt>
                <c:pt idx="391">
                  <c:v>-0.76469293257825366</c:v>
                </c:pt>
                <c:pt idx="392">
                  <c:v>2.536787915479799</c:v>
                </c:pt>
                <c:pt idx="393">
                  <c:v>3.0118954009591885</c:v>
                </c:pt>
                <c:pt idx="394">
                  <c:v>4.8266965241384021</c:v>
                </c:pt>
                <c:pt idx="395">
                  <c:v>4.8865251897796504</c:v>
                </c:pt>
                <c:pt idx="396">
                  <c:v>4.3297338409334749</c:v>
                </c:pt>
                <c:pt idx="397">
                  <c:v>4.8261206354771522</c:v>
                </c:pt>
                <c:pt idx="398">
                  <c:v>5.6684112569994758</c:v>
                </c:pt>
                <c:pt idx="399">
                  <c:v>6.5153456771844862</c:v>
                </c:pt>
                <c:pt idx="400">
                  <c:v>4.607613329774038</c:v>
                </c:pt>
                <c:pt idx="401">
                  <c:v>5.3617282916794267</c:v>
                </c:pt>
                <c:pt idx="402">
                  <c:v>5.396531497738799</c:v>
                </c:pt>
                <c:pt idx="403">
                  <c:v>4.0182396507387006</c:v>
                </c:pt>
                <c:pt idx="404">
                  <c:v>3.1599458970783587</c:v>
                </c:pt>
                <c:pt idx="405">
                  <c:v>4.6782630924156656</c:v>
                </c:pt>
                <c:pt idx="406">
                  <c:v>6.8823168634872065</c:v>
                </c:pt>
                <c:pt idx="407">
                  <c:v>5.6246817633950315</c:v>
                </c:pt>
                <c:pt idx="408">
                  <c:v>9.6405005053486477</c:v>
                </c:pt>
                <c:pt idx="409">
                  <c:v>6.9593704730589403</c:v>
                </c:pt>
                <c:pt idx="410">
                  <c:v>5.5525810834872793</c:v>
                </c:pt>
                <c:pt idx="411">
                  <c:v>6.6427226818096488</c:v>
                </c:pt>
                <c:pt idx="412">
                  <c:v>4.1262629074293509</c:v>
                </c:pt>
                <c:pt idx="413">
                  <c:v>3.4565865370117272</c:v>
                </c:pt>
                <c:pt idx="414">
                  <c:v>3.777432400605532</c:v>
                </c:pt>
                <c:pt idx="415">
                  <c:v>1.6309192458700328</c:v>
                </c:pt>
                <c:pt idx="416">
                  <c:v>-1.0821163734391708</c:v>
                </c:pt>
                <c:pt idx="417">
                  <c:v>2.1489798083503544</c:v>
                </c:pt>
                <c:pt idx="418">
                  <c:v>2.0036928663490547</c:v>
                </c:pt>
                <c:pt idx="419">
                  <c:v>3.3154307902847293</c:v>
                </c:pt>
                <c:pt idx="420">
                  <c:v>2.3952999329835354</c:v>
                </c:pt>
                <c:pt idx="421">
                  <c:v>3.0519023458547818</c:v>
                </c:pt>
                <c:pt idx="422">
                  <c:v>2.762820264197527</c:v>
                </c:pt>
                <c:pt idx="423">
                  <c:v>1.7107551775587844</c:v>
                </c:pt>
                <c:pt idx="424">
                  <c:v>1.1961879308637209</c:v>
                </c:pt>
                <c:pt idx="425">
                  <c:v>1.4675964703128734</c:v>
                </c:pt>
                <c:pt idx="426">
                  <c:v>3.4549822551743019</c:v>
                </c:pt>
                <c:pt idx="427">
                  <c:v>4.1599327189564885</c:v>
                </c:pt>
                <c:pt idx="428">
                  <c:v>3.3083922256783413</c:v>
                </c:pt>
                <c:pt idx="429">
                  <c:v>4.712306992447826</c:v>
                </c:pt>
                <c:pt idx="430">
                  <c:v>3.7769195403568432</c:v>
                </c:pt>
                <c:pt idx="431">
                  <c:v>3.1239037878108498</c:v>
                </c:pt>
                <c:pt idx="432">
                  <c:v>2.7714456342031624</c:v>
                </c:pt>
                <c:pt idx="433">
                  <c:v>3.6489063259005086</c:v>
                </c:pt>
                <c:pt idx="434">
                  <c:v>4.2727184425013194</c:v>
                </c:pt>
                <c:pt idx="435">
                  <c:v>5.8908528214596938</c:v>
                </c:pt>
                <c:pt idx="436">
                  <c:v>6.2687830371880384</c:v>
                </c:pt>
                <c:pt idx="437">
                  <c:v>5.7353649534962496</c:v>
                </c:pt>
                <c:pt idx="438">
                  <c:v>8.3104404266640515</c:v>
                </c:pt>
                <c:pt idx="439">
                  <c:v>9.6207011178645381</c:v>
                </c:pt>
                <c:pt idx="440">
                  <c:v>9.6759139379042214</c:v>
                </c:pt>
                <c:pt idx="441">
                  <c:v>10.904370363234998</c:v>
                </c:pt>
                <c:pt idx="442">
                  <c:v>3.4493001210330054</c:v>
                </c:pt>
                <c:pt idx="443">
                  <c:v>4.3284717435625257</c:v>
                </c:pt>
                <c:pt idx="444">
                  <c:v>4.941722965557263</c:v>
                </c:pt>
                <c:pt idx="445">
                  <c:v>8.1485080888819414</c:v>
                </c:pt>
                <c:pt idx="446">
                  <c:v>9.1418225118517409</c:v>
                </c:pt>
                <c:pt idx="447">
                  <c:v>-2.1697174333520919</c:v>
                </c:pt>
                <c:pt idx="448">
                  <c:v>0.8620070076862052</c:v>
                </c:pt>
                <c:pt idx="449">
                  <c:v>-3.4692305063453888</c:v>
                </c:pt>
                <c:pt idx="450">
                  <c:v>-4.7404040033412027</c:v>
                </c:pt>
                <c:pt idx="451">
                  <c:v>-4.3293292377108656</c:v>
                </c:pt>
                <c:pt idx="452">
                  <c:v>-3.9604834932423341</c:v>
                </c:pt>
                <c:pt idx="453">
                  <c:v>-4.3696859179049916</c:v>
                </c:pt>
                <c:pt idx="454">
                  <c:v>-4.5111611674606316</c:v>
                </c:pt>
                <c:pt idx="455">
                  <c:v>-3.155542063726624</c:v>
                </c:pt>
                <c:pt idx="456">
                  <c:v>-8.7386890212527</c:v>
                </c:pt>
                <c:pt idx="457">
                  <c:v>-7.961957995092023</c:v>
                </c:pt>
                <c:pt idx="458">
                  <c:v>-8.151320033602774</c:v>
                </c:pt>
                <c:pt idx="459">
                  <c:v>-7.6550589136093112</c:v>
                </c:pt>
                <c:pt idx="460">
                  <c:v>-7.4121215746875304</c:v>
                </c:pt>
                <c:pt idx="461">
                  <c:v>-6.8330198467963541</c:v>
                </c:pt>
                <c:pt idx="462">
                  <c:v>-3.8891715526199659</c:v>
                </c:pt>
                <c:pt idx="463">
                  <c:v>-4.4570930050201465</c:v>
                </c:pt>
                <c:pt idx="464">
                  <c:v>-4.117090993920983</c:v>
                </c:pt>
                <c:pt idx="465">
                  <c:v>-2.6072274844457426</c:v>
                </c:pt>
                <c:pt idx="466">
                  <c:v>-3.3674809793603599</c:v>
                </c:pt>
                <c:pt idx="467">
                  <c:v>-2.501684743844204</c:v>
                </c:pt>
                <c:pt idx="468">
                  <c:v>-0.55100532444716244</c:v>
                </c:pt>
                <c:pt idx="469">
                  <c:v>-0.11538463835720214</c:v>
                </c:pt>
                <c:pt idx="470">
                  <c:v>0.81212831987023948</c:v>
                </c:pt>
                <c:pt idx="471">
                  <c:v>0.85480273679731933</c:v>
                </c:pt>
                <c:pt idx="472">
                  <c:v>0.56429118417044288</c:v>
                </c:pt>
                <c:pt idx="473">
                  <c:v>0.9068577959260915</c:v>
                </c:pt>
                <c:pt idx="474">
                  <c:v>0.78425279556913197</c:v>
                </c:pt>
                <c:pt idx="475">
                  <c:v>0.8073084217546711</c:v>
                </c:pt>
                <c:pt idx="476">
                  <c:v>5.7588477543544458</c:v>
                </c:pt>
                <c:pt idx="477">
                  <c:v>6.2457725535206121</c:v>
                </c:pt>
                <c:pt idx="478">
                  <c:v>3.2193591176295664</c:v>
                </c:pt>
                <c:pt idx="479">
                  <c:v>2.5088175034133409</c:v>
                </c:pt>
                <c:pt idx="480">
                  <c:v>3.0796232956464413</c:v>
                </c:pt>
                <c:pt idx="481">
                  <c:v>2.423911896131556</c:v>
                </c:pt>
                <c:pt idx="482">
                  <c:v>2.7246456315187295</c:v>
                </c:pt>
                <c:pt idx="483">
                  <c:v>2.4115095309900831</c:v>
                </c:pt>
                <c:pt idx="484">
                  <c:v>4.1706152335038968</c:v>
                </c:pt>
                <c:pt idx="485">
                  <c:v>2.378152925134283</c:v>
                </c:pt>
                <c:pt idx="486">
                  <c:v>2.5455259856599937</c:v>
                </c:pt>
                <c:pt idx="487">
                  <c:v>4.1109681997297063</c:v>
                </c:pt>
                <c:pt idx="488">
                  <c:v>2.3927105333192644</c:v>
                </c:pt>
                <c:pt idx="489">
                  <c:v>3.8948868725803165</c:v>
                </c:pt>
                <c:pt idx="490">
                  <c:v>4.4772157070133458</c:v>
                </c:pt>
                <c:pt idx="491">
                  <c:v>4.9956624829110368</c:v>
                </c:pt>
                <c:pt idx="492">
                  <c:v>4.5766249683819265</c:v>
                </c:pt>
                <c:pt idx="493">
                  <c:v>4.1896868959646145</c:v>
                </c:pt>
                <c:pt idx="494">
                  <c:v>5.112020350429658</c:v>
                </c:pt>
                <c:pt idx="495">
                  <c:v>4.9525353549785436</c:v>
                </c:pt>
                <c:pt idx="496">
                  <c:v>4.3662876409941207</c:v>
                </c:pt>
                <c:pt idx="497">
                  <c:v>3.3943298665803119</c:v>
                </c:pt>
                <c:pt idx="498">
                  <c:v>4.4244474489722352</c:v>
                </c:pt>
                <c:pt idx="499">
                  <c:v>6.0210542210916094</c:v>
                </c:pt>
                <c:pt idx="500">
                  <c:v>6.3810808527299674</c:v>
                </c:pt>
                <c:pt idx="501">
                  <c:v>7.3204397459111252</c:v>
                </c:pt>
                <c:pt idx="502">
                  <c:v>4.7698616573143697</c:v>
                </c:pt>
                <c:pt idx="503">
                  <c:v>5.7675832183019331</c:v>
                </c:pt>
                <c:pt idx="504">
                  <c:v>5.4304470541704317</c:v>
                </c:pt>
                <c:pt idx="505">
                  <c:v>6.0581509087722747</c:v>
                </c:pt>
                <c:pt idx="506">
                  <c:v>6.1593870205719661</c:v>
                </c:pt>
                <c:pt idx="507">
                  <c:v>5.4021098570106032</c:v>
                </c:pt>
                <c:pt idx="508">
                  <c:v>2.8057857989195329</c:v>
                </c:pt>
                <c:pt idx="509">
                  <c:v>2.5608672462062221</c:v>
                </c:pt>
                <c:pt idx="510">
                  <c:v>2.7178803804569771</c:v>
                </c:pt>
                <c:pt idx="511">
                  <c:v>3.806218503386305</c:v>
                </c:pt>
                <c:pt idx="512">
                  <c:v>3.7244327370556358</c:v>
                </c:pt>
                <c:pt idx="513">
                  <c:v>4.1230013931217364</c:v>
                </c:pt>
                <c:pt idx="514">
                  <c:v>4.2880567517378871</c:v>
                </c:pt>
                <c:pt idx="515">
                  <c:v>4.3768258170461118</c:v>
                </c:pt>
                <c:pt idx="516">
                  <c:v>2.9942653783575688</c:v>
                </c:pt>
                <c:pt idx="517">
                  <c:v>3.6447040294919852</c:v>
                </c:pt>
                <c:pt idx="518">
                  <c:v>3.2688204305594963</c:v>
                </c:pt>
                <c:pt idx="519">
                  <c:v>3.8087707021911195</c:v>
                </c:pt>
                <c:pt idx="520">
                  <c:v>3.3358681681620816</c:v>
                </c:pt>
                <c:pt idx="521">
                  <c:v>4.9778058893420267</c:v>
                </c:pt>
                <c:pt idx="522">
                  <c:v>5.6517356901763156</c:v>
                </c:pt>
                <c:pt idx="523">
                  <c:v>9.2425781860506131</c:v>
                </c:pt>
                <c:pt idx="524">
                  <c:v>5.0533805944586003</c:v>
                </c:pt>
                <c:pt idx="525">
                  <c:v>5.8386849749607173</c:v>
                </c:pt>
                <c:pt idx="526">
                  <c:v>6.4073744458536117</c:v>
                </c:pt>
                <c:pt idx="527">
                  <c:v>8.2669406327641273</c:v>
                </c:pt>
                <c:pt idx="528">
                  <c:v>10.528911799196528</c:v>
                </c:pt>
                <c:pt idx="529">
                  <c:v>10.583179116633262</c:v>
                </c:pt>
                <c:pt idx="530">
                  <c:v>4.1656066605872342</c:v>
                </c:pt>
                <c:pt idx="531">
                  <c:v>3.450214225983367</c:v>
                </c:pt>
                <c:pt idx="532">
                  <c:v>2.5987242806351176</c:v>
                </c:pt>
                <c:pt idx="533">
                  <c:v>2.3918322105825283</c:v>
                </c:pt>
                <c:pt idx="534">
                  <c:v>-0.20593274123107963</c:v>
                </c:pt>
                <c:pt idx="535">
                  <c:v>-0.16217377627075757</c:v>
                </c:pt>
                <c:pt idx="536">
                  <c:v>0.77054485881545565</c:v>
                </c:pt>
                <c:pt idx="537">
                  <c:v>2.5377429894279575</c:v>
                </c:pt>
                <c:pt idx="538">
                  <c:v>2.9125189548503321</c:v>
                </c:pt>
                <c:pt idx="539">
                  <c:v>-1.0329668492813693</c:v>
                </c:pt>
                <c:pt idx="540">
                  <c:v>-2.6095770511771947</c:v>
                </c:pt>
                <c:pt idx="541">
                  <c:v>-0.41991483832371224</c:v>
                </c:pt>
                <c:pt idx="542">
                  <c:v>-0.87764516250983804</c:v>
                </c:pt>
                <c:pt idx="543">
                  <c:v>1.3893861730171486E-2</c:v>
                </c:pt>
                <c:pt idx="544">
                  <c:v>-3.7387655287592136</c:v>
                </c:pt>
                <c:pt idx="545">
                  <c:v>-3.0586284230339822</c:v>
                </c:pt>
                <c:pt idx="546">
                  <c:v>-3.0754236105747346</c:v>
                </c:pt>
                <c:pt idx="547">
                  <c:v>-4.472963251646739</c:v>
                </c:pt>
                <c:pt idx="548">
                  <c:v>-4.6974431532099068</c:v>
                </c:pt>
                <c:pt idx="549">
                  <c:v>-3.73772287230614</c:v>
                </c:pt>
                <c:pt idx="550">
                  <c:v>-2.0522685073245088</c:v>
                </c:pt>
                <c:pt idx="551">
                  <c:v>-2.9973460785489818</c:v>
                </c:pt>
                <c:pt idx="552">
                  <c:v>-3.7746396189581004</c:v>
                </c:pt>
                <c:pt idx="553">
                  <c:v>-3.1109901242942413</c:v>
                </c:pt>
                <c:pt idx="554">
                  <c:v>-2.5770390782164116</c:v>
                </c:pt>
                <c:pt idx="555">
                  <c:v>-3.5014789004291695</c:v>
                </c:pt>
                <c:pt idx="556">
                  <c:v>-2.4975211139972089</c:v>
                </c:pt>
                <c:pt idx="557">
                  <c:v>-3.7822177107097286</c:v>
                </c:pt>
                <c:pt idx="558">
                  <c:v>-1.7488439472586075</c:v>
                </c:pt>
                <c:pt idx="559">
                  <c:v>-0.75689552219679601</c:v>
                </c:pt>
                <c:pt idx="560">
                  <c:v>-0.82671928472227985</c:v>
                </c:pt>
                <c:pt idx="561">
                  <c:v>-1.1841508933226246</c:v>
                </c:pt>
                <c:pt idx="562">
                  <c:v>-0.52781550202892769</c:v>
                </c:pt>
                <c:pt idx="563">
                  <c:v>1.0457922696841759</c:v>
                </c:pt>
                <c:pt idx="564">
                  <c:v>3.1030670320510989</c:v>
                </c:pt>
                <c:pt idx="565">
                  <c:v>2.9163203743831607</c:v>
                </c:pt>
                <c:pt idx="566">
                  <c:v>2.7138593392789816</c:v>
                </c:pt>
                <c:pt idx="567">
                  <c:v>2.7959306108041786</c:v>
                </c:pt>
                <c:pt idx="568">
                  <c:v>2.5864744704017699</c:v>
                </c:pt>
                <c:pt idx="569">
                  <c:v>1.6637501043767959</c:v>
                </c:pt>
                <c:pt idx="570">
                  <c:v>0.84322595251027366</c:v>
                </c:pt>
                <c:pt idx="571">
                  <c:v>2.2154949787537905</c:v>
                </c:pt>
                <c:pt idx="572">
                  <c:v>3.1348047093792966</c:v>
                </c:pt>
                <c:pt idx="573">
                  <c:v>1.062269881267075</c:v>
                </c:pt>
                <c:pt idx="574">
                  <c:v>2.822373888927987</c:v>
                </c:pt>
                <c:pt idx="575">
                  <c:v>-4.1047169045371978</c:v>
                </c:pt>
                <c:pt idx="576">
                  <c:v>-8.0273657343120917</c:v>
                </c:pt>
                <c:pt idx="577">
                  <c:v>-8.1486504093314434</c:v>
                </c:pt>
                <c:pt idx="578">
                  <c:v>-6.0923360757632832</c:v>
                </c:pt>
                <c:pt idx="579">
                  <c:v>-6.5469636151506361</c:v>
                </c:pt>
                <c:pt idx="580">
                  <c:v>-9.5310986192299332</c:v>
                </c:pt>
                <c:pt idx="581">
                  <c:v>-7.1687176194009048</c:v>
                </c:pt>
                <c:pt idx="582">
                  <c:v>-5.6323438268562178</c:v>
                </c:pt>
                <c:pt idx="583">
                  <c:v>-17.163218566742412</c:v>
                </c:pt>
                <c:pt idx="584">
                  <c:v>-16.735418634363153</c:v>
                </c:pt>
                <c:pt idx="585">
                  <c:v>-12.056582648223335</c:v>
                </c:pt>
                <c:pt idx="586">
                  <c:v>-12.131580656686779</c:v>
                </c:pt>
                <c:pt idx="587">
                  <c:v>-5.4804889170196773</c:v>
                </c:pt>
                <c:pt idx="588">
                  <c:v>-5.9049121386026693</c:v>
                </c:pt>
                <c:pt idx="589">
                  <c:v>-1.7372292996342575</c:v>
                </c:pt>
                <c:pt idx="590">
                  <c:v>0.77788015273266842</c:v>
                </c:pt>
                <c:pt idx="591">
                  <c:v>7.1408012614024408</c:v>
                </c:pt>
                <c:pt idx="592">
                  <c:v>-20.874110090263954</c:v>
                </c:pt>
                <c:pt idx="593">
                  <c:v>-20.127488182919485</c:v>
                </c:pt>
                <c:pt idx="594">
                  <c:v>-10.807338854296377</c:v>
                </c:pt>
                <c:pt idx="595">
                  <c:v>-12.375544666127736</c:v>
                </c:pt>
                <c:pt idx="596">
                  <c:v>-7.3567527971214242</c:v>
                </c:pt>
                <c:pt idx="597">
                  <c:v>-27.03185682748952</c:v>
                </c:pt>
                <c:pt idx="598">
                  <c:v>-27.225454623084222</c:v>
                </c:pt>
                <c:pt idx="599">
                  <c:v>-12.676081123908933</c:v>
                </c:pt>
                <c:pt idx="600">
                  <c:v>-14.189666604881058</c:v>
                </c:pt>
                <c:pt idx="601">
                  <c:v>-2.9033462367434426</c:v>
                </c:pt>
                <c:pt idx="602">
                  <c:v>2.7392711103214396</c:v>
                </c:pt>
                <c:pt idx="603">
                  <c:v>-17.653218698129447</c:v>
                </c:pt>
                <c:pt idx="604">
                  <c:v>-14.621433868307932</c:v>
                </c:pt>
                <c:pt idx="605">
                  <c:v>-21.848493040465435</c:v>
                </c:pt>
                <c:pt idx="606">
                  <c:v>-25.212784908766771</c:v>
                </c:pt>
                <c:pt idx="607">
                  <c:v>-30.53004718237915</c:v>
                </c:pt>
                <c:pt idx="608">
                  <c:v>-35.293917275861908</c:v>
                </c:pt>
                <c:pt idx="609">
                  <c:v>-30.630584168061713</c:v>
                </c:pt>
                <c:pt idx="610">
                  <c:v>-18.690102786166928</c:v>
                </c:pt>
                <c:pt idx="611">
                  <c:v>-26.760177846940469</c:v>
                </c:pt>
                <c:pt idx="612">
                  <c:v>-12.491110411431961</c:v>
                </c:pt>
                <c:pt idx="613">
                  <c:v>-11.310045124216927</c:v>
                </c:pt>
                <c:pt idx="614">
                  <c:v>-0.81489980789473115</c:v>
                </c:pt>
                <c:pt idx="615">
                  <c:v>-10.22005855911161</c:v>
                </c:pt>
                <c:pt idx="616">
                  <c:v>-5.2124814699830875</c:v>
                </c:pt>
                <c:pt idx="617">
                  <c:v>-0.21639197570296753</c:v>
                </c:pt>
                <c:pt idx="618">
                  <c:v>-1.3778211527525563</c:v>
                </c:pt>
                <c:pt idx="619">
                  <c:v>5.2252731421351006</c:v>
                </c:pt>
                <c:pt idx="620">
                  <c:v>8.5743030233228481</c:v>
                </c:pt>
                <c:pt idx="621">
                  <c:v>-3.0883503633699627</c:v>
                </c:pt>
                <c:pt idx="622">
                  <c:v>-13.902411291041139</c:v>
                </c:pt>
                <c:pt idx="623">
                  <c:v>-7.9112787838026444</c:v>
                </c:pt>
                <c:pt idx="624">
                  <c:v>-15.227937670335489</c:v>
                </c:pt>
                <c:pt idx="625">
                  <c:v>-14.256760981834859</c:v>
                </c:pt>
                <c:pt idx="626">
                  <c:v>-7.6227701070040172</c:v>
                </c:pt>
                <c:pt idx="627">
                  <c:v>-15.007179104825518</c:v>
                </c:pt>
                <c:pt idx="628">
                  <c:v>-16.283870567901182</c:v>
                </c:pt>
                <c:pt idx="629">
                  <c:v>-11.866288024482863</c:v>
                </c:pt>
                <c:pt idx="630">
                  <c:v>-14.950590807229824</c:v>
                </c:pt>
                <c:pt idx="631">
                  <c:v>-16.951168446796714</c:v>
                </c:pt>
                <c:pt idx="632">
                  <c:v>-16.842202175738073</c:v>
                </c:pt>
                <c:pt idx="633">
                  <c:v>-19.759262473837591</c:v>
                </c:pt>
                <c:pt idx="634">
                  <c:v>-17.901962000426831</c:v>
                </c:pt>
                <c:pt idx="635">
                  <c:v>-15.270901233310209</c:v>
                </c:pt>
                <c:pt idx="636">
                  <c:v>-11.257413172463549</c:v>
                </c:pt>
                <c:pt idx="637">
                  <c:v>-17.166470069351103</c:v>
                </c:pt>
                <c:pt idx="638">
                  <c:v>-19.806797558471395</c:v>
                </c:pt>
                <c:pt idx="639">
                  <c:v>-18.563023495633523</c:v>
                </c:pt>
                <c:pt idx="640">
                  <c:v>-14.901824581235685</c:v>
                </c:pt>
                <c:pt idx="641">
                  <c:v>-12.52947834200544</c:v>
                </c:pt>
                <c:pt idx="642">
                  <c:v>-7.8739180656194225</c:v>
                </c:pt>
                <c:pt idx="643">
                  <c:v>-8.6733592222685889</c:v>
                </c:pt>
                <c:pt idx="644">
                  <c:v>-7.9980187156902307</c:v>
                </c:pt>
                <c:pt idx="645">
                  <c:v>-7.3372513572093903</c:v>
                </c:pt>
                <c:pt idx="646">
                  <c:v>2.931289199788556</c:v>
                </c:pt>
                <c:pt idx="647">
                  <c:v>3.3222926203896441</c:v>
                </c:pt>
                <c:pt idx="648">
                  <c:v>2.007218967279345</c:v>
                </c:pt>
                <c:pt idx="649">
                  <c:v>3.8464396239415555</c:v>
                </c:pt>
                <c:pt idx="650">
                  <c:v>5.2684605931333008</c:v>
                </c:pt>
                <c:pt idx="651">
                  <c:v>10.663639793977792</c:v>
                </c:pt>
                <c:pt idx="652">
                  <c:v>10.993847733192135</c:v>
                </c:pt>
                <c:pt idx="653">
                  <c:v>10.534383776250312</c:v>
                </c:pt>
                <c:pt idx="654">
                  <c:v>14.202520499091531</c:v>
                </c:pt>
                <c:pt idx="655">
                  <c:v>11.736132747730842</c:v>
                </c:pt>
                <c:pt idx="656">
                  <c:v>15.661262786061936</c:v>
                </c:pt>
                <c:pt idx="657">
                  <c:v>23.559600741438736</c:v>
                </c:pt>
                <c:pt idx="658">
                  <c:v>18.465174231661869</c:v>
                </c:pt>
                <c:pt idx="659">
                  <c:v>24.093761027513388</c:v>
                </c:pt>
                <c:pt idx="660">
                  <c:v>9.8336509150795059</c:v>
                </c:pt>
                <c:pt idx="661">
                  <c:v>10.868364822833771</c:v>
                </c:pt>
                <c:pt idx="662">
                  <c:v>10.847332733279957</c:v>
                </c:pt>
                <c:pt idx="663">
                  <c:v>9.2735199104557751</c:v>
                </c:pt>
                <c:pt idx="664">
                  <c:v>5.6364977819286119</c:v>
                </c:pt>
                <c:pt idx="665">
                  <c:v>1.0666101605085909</c:v>
                </c:pt>
                <c:pt idx="666">
                  <c:v>3.3268099224569414</c:v>
                </c:pt>
                <c:pt idx="667">
                  <c:v>5.4183671976800127</c:v>
                </c:pt>
                <c:pt idx="668">
                  <c:v>8.3524351571334918</c:v>
                </c:pt>
                <c:pt idx="669">
                  <c:v>5.0958503969416373</c:v>
                </c:pt>
                <c:pt idx="670">
                  <c:v>6.1841822459452853</c:v>
                </c:pt>
                <c:pt idx="671">
                  <c:v>6.4742027911060536</c:v>
                </c:pt>
                <c:pt idx="672">
                  <c:v>4.6704596448169378</c:v>
                </c:pt>
                <c:pt idx="673">
                  <c:v>5.5997770484073284</c:v>
                </c:pt>
                <c:pt idx="674">
                  <c:v>5.4276064281193523</c:v>
                </c:pt>
                <c:pt idx="675">
                  <c:v>3.1445566446807902</c:v>
                </c:pt>
                <c:pt idx="676">
                  <c:v>1.5986797734218738</c:v>
                </c:pt>
                <c:pt idx="677">
                  <c:v>3.1406869864838702</c:v>
                </c:pt>
                <c:pt idx="678">
                  <c:v>5.8808550055923341</c:v>
                </c:pt>
                <c:pt idx="679">
                  <c:v>10.074905157483993</c:v>
                </c:pt>
                <c:pt idx="680">
                  <c:v>12.189631462015054</c:v>
                </c:pt>
                <c:pt idx="681">
                  <c:v>14.549823159128666</c:v>
                </c:pt>
                <c:pt idx="682">
                  <c:v>16.296730019372113</c:v>
                </c:pt>
                <c:pt idx="683">
                  <c:v>5.9518245498522413</c:v>
                </c:pt>
                <c:pt idx="684">
                  <c:v>5.463165964129935</c:v>
                </c:pt>
                <c:pt idx="685">
                  <c:v>7.9828161117232455</c:v>
                </c:pt>
                <c:pt idx="686">
                  <c:v>10.447115910794958</c:v>
                </c:pt>
                <c:pt idx="687">
                  <c:v>14.294917395059375</c:v>
                </c:pt>
                <c:pt idx="688">
                  <c:v>12.674457568449609</c:v>
                </c:pt>
                <c:pt idx="689">
                  <c:v>8.5604616050164513</c:v>
                </c:pt>
                <c:pt idx="690">
                  <c:v>9.2058890136797302</c:v>
                </c:pt>
                <c:pt idx="691">
                  <c:v>9.3010729870364628</c:v>
                </c:pt>
                <c:pt idx="692">
                  <c:v>12.13165709089335</c:v>
                </c:pt>
                <c:pt idx="693">
                  <c:v>-1.3508437697393849</c:v>
                </c:pt>
                <c:pt idx="694">
                  <c:v>0.3773763601773783</c:v>
                </c:pt>
                <c:pt idx="695">
                  <c:v>-4.9003532197888884</c:v>
                </c:pt>
                <c:pt idx="696">
                  <c:v>-3.8887830422655147</c:v>
                </c:pt>
                <c:pt idx="697">
                  <c:v>-2.4712686813187279</c:v>
                </c:pt>
                <c:pt idx="698">
                  <c:v>-4.3119160008938113</c:v>
                </c:pt>
                <c:pt idx="699">
                  <c:v>-5.6831125975916441</c:v>
                </c:pt>
                <c:pt idx="700">
                  <c:v>-2.0993620849142025</c:v>
                </c:pt>
                <c:pt idx="701">
                  <c:v>-0.27721371134458717</c:v>
                </c:pt>
                <c:pt idx="702">
                  <c:v>-6.9429231407164229</c:v>
                </c:pt>
                <c:pt idx="703">
                  <c:v>-6.3217634723873655</c:v>
                </c:pt>
                <c:pt idx="704">
                  <c:v>-6.8285683400493182</c:v>
                </c:pt>
                <c:pt idx="705">
                  <c:v>-8.665491128505959</c:v>
                </c:pt>
                <c:pt idx="706">
                  <c:v>-7.7393608863992327</c:v>
                </c:pt>
                <c:pt idx="707">
                  <c:v>-1.6369969860593248</c:v>
                </c:pt>
                <c:pt idx="708">
                  <c:v>-2.8718862563519352</c:v>
                </c:pt>
                <c:pt idx="709">
                  <c:v>-4.4660701067504363</c:v>
                </c:pt>
                <c:pt idx="710">
                  <c:v>-1.3648090762031717</c:v>
                </c:pt>
                <c:pt idx="711">
                  <c:v>-3.5802931573740757</c:v>
                </c:pt>
                <c:pt idx="712">
                  <c:v>-2.2469613395683985</c:v>
                </c:pt>
                <c:pt idx="713">
                  <c:v>4.4310214687925953E-2</c:v>
                </c:pt>
                <c:pt idx="714">
                  <c:v>-1.513624383718043</c:v>
                </c:pt>
                <c:pt idx="715">
                  <c:v>-3.5622559931775433</c:v>
                </c:pt>
                <c:pt idx="716">
                  <c:v>-2.3052773541371199</c:v>
                </c:pt>
                <c:pt idx="717">
                  <c:v>-3.4196022178744343</c:v>
                </c:pt>
                <c:pt idx="718">
                  <c:v>-3.8520227824161921</c:v>
                </c:pt>
                <c:pt idx="719">
                  <c:v>-3.9954731619887776</c:v>
                </c:pt>
                <c:pt idx="720">
                  <c:v>-5.3143545127425531</c:v>
                </c:pt>
                <c:pt idx="721">
                  <c:v>-2.8983111765616298</c:v>
                </c:pt>
                <c:pt idx="722">
                  <c:v>1.8615298647316758</c:v>
                </c:pt>
                <c:pt idx="723">
                  <c:v>3.6128842814797943</c:v>
                </c:pt>
                <c:pt idx="724">
                  <c:v>2.6544864963556627</c:v>
                </c:pt>
                <c:pt idx="725">
                  <c:v>2.7632367426430382</c:v>
                </c:pt>
                <c:pt idx="726">
                  <c:v>4.9819391497810788</c:v>
                </c:pt>
                <c:pt idx="727">
                  <c:v>7.664535729336186</c:v>
                </c:pt>
                <c:pt idx="728">
                  <c:v>5.3277956272119953</c:v>
                </c:pt>
                <c:pt idx="729">
                  <c:v>6.0212330454882057</c:v>
                </c:pt>
                <c:pt idx="730">
                  <c:v>6.2270825915040628</c:v>
                </c:pt>
                <c:pt idx="731">
                  <c:v>3.5390686832831699</c:v>
                </c:pt>
                <c:pt idx="732">
                  <c:v>2.5632116349573741</c:v>
                </c:pt>
                <c:pt idx="733">
                  <c:v>3.1909362626020679</c:v>
                </c:pt>
                <c:pt idx="734">
                  <c:v>3.4905497133545071</c:v>
                </c:pt>
                <c:pt idx="735">
                  <c:v>3.7150422199541291</c:v>
                </c:pt>
                <c:pt idx="736">
                  <c:v>3.0864528549213399</c:v>
                </c:pt>
                <c:pt idx="737">
                  <c:v>3.2411066904582175</c:v>
                </c:pt>
                <c:pt idx="738">
                  <c:v>3.2628051540758651</c:v>
                </c:pt>
                <c:pt idx="739">
                  <c:v>1.2330849432666768</c:v>
                </c:pt>
                <c:pt idx="740">
                  <c:v>2.664541464056569</c:v>
                </c:pt>
                <c:pt idx="741">
                  <c:v>3.0014036029569811</c:v>
                </c:pt>
                <c:pt idx="742">
                  <c:v>2.2091636788414029</c:v>
                </c:pt>
                <c:pt idx="743">
                  <c:v>2.5648572176833362</c:v>
                </c:pt>
                <c:pt idx="744">
                  <c:v>4.0559013721035324</c:v>
                </c:pt>
                <c:pt idx="745">
                  <c:v>5.8652023666526549</c:v>
                </c:pt>
                <c:pt idx="746">
                  <c:v>2.8314324707507388</c:v>
                </c:pt>
                <c:pt idx="747">
                  <c:v>3.5314479597445381</c:v>
                </c:pt>
                <c:pt idx="748">
                  <c:v>3.3016393370255304</c:v>
                </c:pt>
                <c:pt idx="749">
                  <c:v>0.2802168801312177</c:v>
                </c:pt>
                <c:pt idx="750">
                  <c:v>0.27263028147067603</c:v>
                </c:pt>
                <c:pt idx="751">
                  <c:v>2.0109009860742653</c:v>
                </c:pt>
                <c:pt idx="752">
                  <c:v>2.895127880998094</c:v>
                </c:pt>
                <c:pt idx="753">
                  <c:v>2.4140900997843886</c:v>
                </c:pt>
                <c:pt idx="754">
                  <c:v>2.3423392601378881</c:v>
                </c:pt>
                <c:pt idx="755">
                  <c:v>3.7556662757049217</c:v>
                </c:pt>
                <c:pt idx="756">
                  <c:v>3.6151276663035996</c:v>
                </c:pt>
                <c:pt idx="757">
                  <c:v>3.7517384167000816</c:v>
                </c:pt>
                <c:pt idx="758">
                  <c:v>5.8679508913726943</c:v>
                </c:pt>
                <c:pt idx="759">
                  <c:v>6.0536001085635647</c:v>
                </c:pt>
                <c:pt idx="760">
                  <c:v>7.2276217148774524</c:v>
                </c:pt>
                <c:pt idx="761">
                  <c:v>10.942458504024266</c:v>
                </c:pt>
                <c:pt idx="762">
                  <c:v>9.8061345156056419</c:v>
                </c:pt>
                <c:pt idx="763">
                  <c:v>8.2026264073375845</c:v>
                </c:pt>
                <c:pt idx="764">
                  <c:v>7.1851592703953804</c:v>
                </c:pt>
                <c:pt idx="765">
                  <c:v>7.31391593583702</c:v>
                </c:pt>
                <c:pt idx="766">
                  <c:v>8.6976738128054123</c:v>
                </c:pt>
                <c:pt idx="767">
                  <c:v>8.1415068308990737</c:v>
                </c:pt>
                <c:pt idx="768">
                  <c:v>4.7984671058566661</c:v>
                </c:pt>
                <c:pt idx="769">
                  <c:v>4.8940846280939478</c:v>
                </c:pt>
                <c:pt idx="770">
                  <c:v>6.2376921819248059</c:v>
                </c:pt>
                <c:pt idx="771">
                  <c:v>7.0778275426217006</c:v>
                </c:pt>
                <c:pt idx="772">
                  <c:v>7.4335633978217626</c:v>
                </c:pt>
                <c:pt idx="773">
                  <c:v>7.0793953258983882</c:v>
                </c:pt>
                <c:pt idx="774">
                  <c:v>8.052069423987513</c:v>
                </c:pt>
                <c:pt idx="775">
                  <c:v>8.9988313033793599</c:v>
                </c:pt>
                <c:pt idx="776">
                  <c:v>9.5821016641665651</c:v>
                </c:pt>
                <c:pt idx="777">
                  <c:v>7.9207843389388302</c:v>
                </c:pt>
                <c:pt idx="778">
                  <c:v>7.4318292192064677</c:v>
                </c:pt>
                <c:pt idx="779">
                  <c:v>2.5427016696184328</c:v>
                </c:pt>
                <c:pt idx="780">
                  <c:v>2.543582107683684</c:v>
                </c:pt>
                <c:pt idx="781">
                  <c:v>1.4825163322585238</c:v>
                </c:pt>
                <c:pt idx="782">
                  <c:v>0.89132625179635383</c:v>
                </c:pt>
                <c:pt idx="783">
                  <c:v>-6.5542624761422141E-2</c:v>
                </c:pt>
                <c:pt idx="784">
                  <c:v>-0.26654609736041779</c:v>
                </c:pt>
                <c:pt idx="785">
                  <c:v>2.4366466222022098</c:v>
                </c:pt>
                <c:pt idx="786">
                  <c:v>1.9949495591126798</c:v>
                </c:pt>
                <c:pt idx="787">
                  <c:v>0.84504499352801854</c:v>
                </c:pt>
                <c:pt idx="788">
                  <c:v>1.4388875382505883</c:v>
                </c:pt>
                <c:pt idx="789">
                  <c:v>2.6963998329302132</c:v>
                </c:pt>
                <c:pt idx="790">
                  <c:v>3.4384309012330498</c:v>
                </c:pt>
                <c:pt idx="791">
                  <c:v>4.2709678901233534</c:v>
                </c:pt>
                <c:pt idx="792">
                  <c:v>3.8320813106406253</c:v>
                </c:pt>
                <c:pt idx="793">
                  <c:v>8.1320908209524401</c:v>
                </c:pt>
                <c:pt idx="794">
                  <c:v>7.4223901316446401</c:v>
                </c:pt>
                <c:pt idx="795">
                  <c:v>9.3635992438559601</c:v>
                </c:pt>
                <c:pt idx="796">
                  <c:v>9.2792520017093789</c:v>
                </c:pt>
                <c:pt idx="797">
                  <c:v>9.4846887735694914</c:v>
                </c:pt>
                <c:pt idx="798">
                  <c:v>8.8429525099578292</c:v>
                </c:pt>
                <c:pt idx="799">
                  <c:v>10.128073605275588</c:v>
                </c:pt>
                <c:pt idx="800">
                  <c:v>9.7681846971687687</c:v>
                </c:pt>
                <c:pt idx="801">
                  <c:v>11.763178288749829</c:v>
                </c:pt>
                <c:pt idx="802">
                  <c:v>11.091108129926461</c:v>
                </c:pt>
                <c:pt idx="803">
                  <c:v>10.030891411453569</c:v>
                </c:pt>
                <c:pt idx="804">
                  <c:v>10.910766450202294</c:v>
                </c:pt>
                <c:pt idx="805">
                  <c:v>8.9390895372680585</c:v>
                </c:pt>
                <c:pt idx="806">
                  <c:v>8.9533051917324613</c:v>
                </c:pt>
                <c:pt idx="807">
                  <c:v>9.2480346494295684</c:v>
                </c:pt>
                <c:pt idx="808">
                  <c:v>8.071373328474623</c:v>
                </c:pt>
                <c:pt idx="809">
                  <c:v>8.1728773777207966</c:v>
                </c:pt>
                <c:pt idx="810">
                  <c:v>8.0467908553318068</c:v>
                </c:pt>
                <c:pt idx="811">
                  <c:v>8.2530466773080366</c:v>
                </c:pt>
                <c:pt idx="812">
                  <c:v>8.3377517768909115</c:v>
                </c:pt>
                <c:pt idx="813">
                  <c:v>8.3569460106697075</c:v>
                </c:pt>
                <c:pt idx="814">
                  <c:v>10.005305785612</c:v>
                </c:pt>
                <c:pt idx="815">
                  <c:v>11.176424900614407</c:v>
                </c:pt>
                <c:pt idx="816">
                  <c:v>10.918715496918846</c:v>
                </c:pt>
                <c:pt idx="817">
                  <c:v>8.9655857003036026</c:v>
                </c:pt>
                <c:pt idx="818">
                  <c:v>7.1555475285860703</c:v>
                </c:pt>
                <c:pt idx="819">
                  <c:v>7.3266818148290058</c:v>
                </c:pt>
                <c:pt idx="820">
                  <c:v>6.6166377345855478</c:v>
                </c:pt>
                <c:pt idx="821">
                  <c:v>5.9204846157270286</c:v>
                </c:pt>
                <c:pt idx="822">
                  <c:v>6.5877811813513318</c:v>
                </c:pt>
                <c:pt idx="823">
                  <c:v>6.6333548747590285</c:v>
                </c:pt>
                <c:pt idx="824">
                  <c:v>9.3921171384307769</c:v>
                </c:pt>
                <c:pt idx="825">
                  <c:v>9.2366659140132512</c:v>
                </c:pt>
                <c:pt idx="826">
                  <c:v>9.042112321109899</c:v>
                </c:pt>
                <c:pt idx="827">
                  <c:v>9.5859302822131127</c:v>
                </c:pt>
                <c:pt idx="828">
                  <c:v>10.804244877170376</c:v>
                </c:pt>
                <c:pt idx="829">
                  <c:v>9.7545894649755187</c:v>
                </c:pt>
                <c:pt idx="830">
                  <c:v>9.4667336554852177</c:v>
                </c:pt>
                <c:pt idx="831">
                  <c:v>10.383574426736653</c:v>
                </c:pt>
                <c:pt idx="832">
                  <c:v>10.839977917839638</c:v>
                </c:pt>
                <c:pt idx="833">
                  <c:v>8.9728927086746175</c:v>
                </c:pt>
                <c:pt idx="834">
                  <c:v>9.626953165019831</c:v>
                </c:pt>
                <c:pt idx="835">
                  <c:v>12.757383422054009</c:v>
                </c:pt>
                <c:pt idx="836">
                  <c:v>11.899153378870272</c:v>
                </c:pt>
                <c:pt idx="837">
                  <c:v>12.370734993278596</c:v>
                </c:pt>
                <c:pt idx="838">
                  <c:v>10.351688394103281</c:v>
                </c:pt>
                <c:pt idx="839">
                  <c:v>8.8325468692404456</c:v>
                </c:pt>
                <c:pt idx="840">
                  <c:v>7.9697998119576754</c:v>
                </c:pt>
                <c:pt idx="841">
                  <c:v>7.6524305128165988</c:v>
                </c:pt>
                <c:pt idx="842">
                  <c:v>6.5392905122850014</c:v>
                </c:pt>
                <c:pt idx="843">
                  <c:v>6.4921178761959411</c:v>
                </c:pt>
                <c:pt idx="844">
                  <c:v>6.4272064295551825</c:v>
                </c:pt>
                <c:pt idx="845">
                  <c:v>6.0318339740656786</c:v>
                </c:pt>
                <c:pt idx="846">
                  <c:v>4.9325073432891164</c:v>
                </c:pt>
                <c:pt idx="847">
                  <c:v>4.3126422118767715</c:v>
                </c:pt>
                <c:pt idx="848">
                  <c:v>4.1997181107193162</c:v>
                </c:pt>
                <c:pt idx="849">
                  <c:v>3.5048765583521213</c:v>
                </c:pt>
                <c:pt idx="850">
                  <c:v>4.9227127245332847</c:v>
                </c:pt>
                <c:pt idx="851">
                  <c:v>3.5395414443510602</c:v>
                </c:pt>
                <c:pt idx="852">
                  <c:v>4.6049338286387407</c:v>
                </c:pt>
                <c:pt idx="853">
                  <c:v>7.0951305409951315</c:v>
                </c:pt>
                <c:pt idx="854">
                  <c:v>7.5904552762329383</c:v>
                </c:pt>
                <c:pt idx="855">
                  <c:v>9.3043494220638259</c:v>
                </c:pt>
                <c:pt idx="856">
                  <c:v>7.0135902343228533</c:v>
                </c:pt>
                <c:pt idx="857">
                  <c:v>10.028647058449664</c:v>
                </c:pt>
                <c:pt idx="858">
                  <c:v>9.6756386957487202</c:v>
                </c:pt>
                <c:pt idx="859">
                  <c:v>9.3189196025222429</c:v>
                </c:pt>
                <c:pt idx="860">
                  <c:v>8.2556898258707037</c:v>
                </c:pt>
                <c:pt idx="861">
                  <c:v>4.9266265015249857</c:v>
                </c:pt>
                <c:pt idx="862">
                  <c:v>3.7693968014486767</c:v>
                </c:pt>
                <c:pt idx="863">
                  <c:v>1.308631395021151</c:v>
                </c:pt>
                <c:pt idx="864">
                  <c:v>1.0363366497324167</c:v>
                </c:pt>
                <c:pt idx="865">
                  <c:v>2.0494572720171882</c:v>
                </c:pt>
                <c:pt idx="866">
                  <c:v>2.9756106551811241</c:v>
                </c:pt>
                <c:pt idx="867">
                  <c:v>2.1929265977006231</c:v>
                </c:pt>
                <c:pt idx="868">
                  <c:v>1.3663443023705617</c:v>
                </c:pt>
                <c:pt idx="869">
                  <c:v>1.0357097424498696</c:v>
                </c:pt>
                <c:pt idx="870">
                  <c:v>0.55931597828581536</c:v>
                </c:pt>
                <c:pt idx="871">
                  <c:v>1.2343558248110313</c:v>
                </c:pt>
                <c:pt idx="872">
                  <c:v>1.2501782325713806</c:v>
                </c:pt>
                <c:pt idx="873">
                  <c:v>0.26939816407455519</c:v>
                </c:pt>
                <c:pt idx="874">
                  <c:v>-0.35307242071944966</c:v>
                </c:pt>
                <c:pt idx="875">
                  <c:v>1.2910386380080352</c:v>
                </c:pt>
                <c:pt idx="876">
                  <c:v>5.6267031956697213</c:v>
                </c:pt>
                <c:pt idx="877">
                  <c:v>8.9284728208043198</c:v>
                </c:pt>
                <c:pt idx="878">
                  <c:v>6.0431374965457501</c:v>
                </c:pt>
                <c:pt idx="879">
                  <c:v>5.2147917907684329</c:v>
                </c:pt>
                <c:pt idx="880">
                  <c:v>6.0548236441538474</c:v>
                </c:pt>
                <c:pt idx="881">
                  <c:v>5.9948144072227816</c:v>
                </c:pt>
                <c:pt idx="882">
                  <c:v>6.7726815938944664</c:v>
                </c:pt>
                <c:pt idx="883">
                  <c:v>9.8583090708050687</c:v>
                </c:pt>
                <c:pt idx="884">
                  <c:v>8.7655171056547356</c:v>
                </c:pt>
                <c:pt idx="885">
                  <c:v>8.3851890633378332</c:v>
                </c:pt>
                <c:pt idx="886">
                  <c:v>8.1765088632992065</c:v>
                </c:pt>
                <c:pt idx="887">
                  <c:v>7.6716290734513244</c:v>
                </c:pt>
                <c:pt idx="888">
                  <c:v>8.8127775503962003</c:v>
                </c:pt>
                <c:pt idx="889">
                  <c:v>7.8604218843860876</c:v>
                </c:pt>
                <c:pt idx="890">
                  <c:v>9.1516740708277862</c:v>
                </c:pt>
                <c:pt idx="891">
                  <c:v>9.0544046384388963</c:v>
                </c:pt>
                <c:pt idx="892">
                  <c:v>7.4507172339766532</c:v>
                </c:pt>
                <c:pt idx="893">
                  <c:v>7.3128868890836802</c:v>
                </c:pt>
                <c:pt idx="894">
                  <c:v>7.4742671380333467</c:v>
                </c:pt>
                <c:pt idx="895">
                  <c:v>7.2004183404359878</c:v>
                </c:pt>
                <c:pt idx="896">
                  <c:v>9.6890956053350816</c:v>
                </c:pt>
                <c:pt idx="897">
                  <c:v>9.7480368838653071</c:v>
                </c:pt>
                <c:pt idx="898">
                  <c:v>10.49480766920594</c:v>
                </c:pt>
                <c:pt idx="899">
                  <c:v>11.454636571208912</c:v>
                </c:pt>
                <c:pt idx="900">
                  <c:v>8.9459130875648185</c:v>
                </c:pt>
                <c:pt idx="901">
                  <c:v>8.3383169585516992</c:v>
                </c:pt>
                <c:pt idx="902">
                  <c:v>8.2358879482037022</c:v>
                </c:pt>
                <c:pt idx="903">
                  <c:v>9.0462590973186554</c:v>
                </c:pt>
                <c:pt idx="904">
                  <c:v>8.1273674196809615</c:v>
                </c:pt>
                <c:pt idx="905">
                  <c:v>7.6395757427632303</c:v>
                </c:pt>
                <c:pt idx="906">
                  <c:v>7.5745561332131288</c:v>
                </c:pt>
                <c:pt idx="907">
                  <c:v>7.0697713732427712</c:v>
                </c:pt>
                <c:pt idx="908">
                  <c:v>7.1654889618705324</c:v>
                </c:pt>
                <c:pt idx="909">
                  <c:v>6.5165672869159526</c:v>
                </c:pt>
                <c:pt idx="910">
                  <c:v>6.6288065293987337</c:v>
                </c:pt>
                <c:pt idx="911">
                  <c:v>6.880139974203729</c:v>
                </c:pt>
                <c:pt idx="912">
                  <c:v>8.8561397438420979</c:v>
                </c:pt>
                <c:pt idx="913">
                  <c:v>11.784951787254085</c:v>
                </c:pt>
                <c:pt idx="914">
                  <c:v>9.7956878053841816</c:v>
                </c:pt>
                <c:pt idx="915">
                  <c:v>9.0829741600029958</c:v>
                </c:pt>
                <c:pt idx="916">
                  <c:v>7.5313992872398234</c:v>
                </c:pt>
                <c:pt idx="917">
                  <c:v>7.6801444041585594</c:v>
                </c:pt>
                <c:pt idx="918">
                  <c:v>8.3465942501996828</c:v>
                </c:pt>
                <c:pt idx="919">
                  <c:v>5.5788944420830937</c:v>
                </c:pt>
                <c:pt idx="920">
                  <c:v>4.8423858070558792</c:v>
                </c:pt>
                <c:pt idx="921">
                  <c:v>4.9865714119013163</c:v>
                </c:pt>
                <c:pt idx="922">
                  <c:v>6.4116868813331562</c:v>
                </c:pt>
                <c:pt idx="923">
                  <c:v>6.4924784578228367</c:v>
                </c:pt>
                <c:pt idx="924">
                  <c:v>6.9485306934342042</c:v>
                </c:pt>
                <c:pt idx="925">
                  <c:v>5.6137099206930055</c:v>
                </c:pt>
                <c:pt idx="926">
                  <c:v>5.1338494737963591</c:v>
                </c:pt>
                <c:pt idx="927">
                  <c:v>3.5885224918469487</c:v>
                </c:pt>
                <c:pt idx="928">
                  <c:v>2.4594419664259264</c:v>
                </c:pt>
                <c:pt idx="929">
                  <c:v>0.87398190734717662</c:v>
                </c:pt>
                <c:pt idx="930">
                  <c:v>0.8781135768433812</c:v>
                </c:pt>
                <c:pt idx="931">
                  <c:v>-0.18763473407387155</c:v>
                </c:pt>
                <c:pt idx="932">
                  <c:v>0.26259972725983516</c:v>
                </c:pt>
                <c:pt idx="933">
                  <c:v>1.971973196798213</c:v>
                </c:pt>
                <c:pt idx="934">
                  <c:v>2.8998810212096187</c:v>
                </c:pt>
                <c:pt idx="935">
                  <c:v>1.5539313659588327</c:v>
                </c:pt>
                <c:pt idx="936">
                  <c:v>1.4318539044054863</c:v>
                </c:pt>
                <c:pt idx="937">
                  <c:v>1.3899689633956576</c:v>
                </c:pt>
                <c:pt idx="938">
                  <c:v>1.3407661732125238</c:v>
                </c:pt>
                <c:pt idx="939">
                  <c:v>1.7315317772736594</c:v>
                </c:pt>
                <c:pt idx="940">
                  <c:v>2.0491886463908537</c:v>
                </c:pt>
                <c:pt idx="941">
                  <c:v>2.0713537193709746</c:v>
                </c:pt>
                <c:pt idx="942">
                  <c:v>5.4883937966065002</c:v>
                </c:pt>
                <c:pt idx="943">
                  <c:v>5.7903979964200438</c:v>
                </c:pt>
                <c:pt idx="944">
                  <c:v>6.7897949139485521</c:v>
                </c:pt>
                <c:pt idx="945">
                  <c:v>7.9688470570411845</c:v>
                </c:pt>
                <c:pt idx="946">
                  <c:v>7.6685254972264376</c:v>
                </c:pt>
                <c:pt idx="947">
                  <c:v>7.3470945522979614</c:v>
                </c:pt>
                <c:pt idx="948">
                  <c:v>7.9529077924453029</c:v>
                </c:pt>
                <c:pt idx="949">
                  <c:v>9.0274157503565871</c:v>
                </c:pt>
                <c:pt idx="950">
                  <c:v>8.1966192523385786</c:v>
                </c:pt>
                <c:pt idx="951">
                  <c:v>7.9429917528847716</c:v>
                </c:pt>
                <c:pt idx="952">
                  <c:v>7.8717074479783129</c:v>
                </c:pt>
                <c:pt idx="953">
                  <c:v>7.804943534755493</c:v>
                </c:pt>
                <c:pt idx="954">
                  <c:v>9.0168997447517629</c:v>
                </c:pt>
                <c:pt idx="955">
                  <c:v>9.9349561279677108</c:v>
                </c:pt>
                <c:pt idx="956">
                  <c:v>10.815616258097409</c:v>
                </c:pt>
                <c:pt idx="957">
                  <c:v>10.166039474603638</c:v>
                </c:pt>
                <c:pt idx="958">
                  <c:v>10.405207520492093</c:v>
                </c:pt>
                <c:pt idx="959">
                  <c:v>9.8918014852788634</c:v>
                </c:pt>
                <c:pt idx="960">
                  <c:v>10.102649593735377</c:v>
                </c:pt>
                <c:pt idx="961">
                  <c:v>9.7747866734917093</c:v>
                </c:pt>
                <c:pt idx="962">
                  <c:v>10.281601940655595</c:v>
                </c:pt>
                <c:pt idx="963">
                  <c:v>9.5425871990148075</c:v>
                </c:pt>
                <c:pt idx="964">
                  <c:v>9.3417917284544938</c:v>
                </c:pt>
                <c:pt idx="965">
                  <c:v>9.2470664992679925</c:v>
                </c:pt>
                <c:pt idx="966">
                  <c:v>8.7388568878813597</c:v>
                </c:pt>
                <c:pt idx="967">
                  <c:v>8.2201154887216639</c:v>
                </c:pt>
                <c:pt idx="968">
                  <c:v>8.8460759632284223</c:v>
                </c:pt>
                <c:pt idx="969">
                  <c:v>7.8064409860475346</c:v>
                </c:pt>
                <c:pt idx="970">
                  <c:v>8.2160792181983169</c:v>
                </c:pt>
                <c:pt idx="971">
                  <c:v>8.3435367383162653</c:v>
                </c:pt>
                <c:pt idx="972">
                  <c:v>7.5357418872455382</c:v>
                </c:pt>
                <c:pt idx="973">
                  <c:v>5.7331171838109691</c:v>
                </c:pt>
                <c:pt idx="974">
                  <c:v>6.4895871460107859</c:v>
                </c:pt>
                <c:pt idx="975">
                  <c:v>6.9758277785216567</c:v>
                </c:pt>
                <c:pt idx="976">
                  <c:v>7.033682245492348</c:v>
                </c:pt>
                <c:pt idx="977">
                  <c:v>7.6206377809288783</c:v>
                </c:pt>
                <c:pt idx="978">
                  <c:v>9.537471365323217</c:v>
                </c:pt>
                <c:pt idx="979">
                  <c:v>7.6398843248965509</c:v>
                </c:pt>
                <c:pt idx="980">
                  <c:v>4.4348547200701471</c:v>
                </c:pt>
                <c:pt idx="981">
                  <c:v>6.802320584982632</c:v>
                </c:pt>
                <c:pt idx="982">
                  <c:v>4.5028380337203657</c:v>
                </c:pt>
                <c:pt idx="983">
                  <c:v>5.8748322753765212</c:v>
                </c:pt>
                <c:pt idx="984">
                  <c:v>6.9166366481176107</c:v>
                </c:pt>
                <c:pt idx="985">
                  <c:v>11.576696578917961</c:v>
                </c:pt>
                <c:pt idx="986">
                  <c:v>19.546441595655686</c:v>
                </c:pt>
                <c:pt idx="987">
                  <c:v>1.7900099738825392</c:v>
                </c:pt>
                <c:pt idx="988">
                  <c:v>1.2760850627319409</c:v>
                </c:pt>
                <c:pt idx="989">
                  <c:v>-1.6997954046619412</c:v>
                </c:pt>
                <c:pt idx="990">
                  <c:v>-0.77589115457477043</c:v>
                </c:pt>
                <c:pt idx="991">
                  <c:v>3.5842300404620775</c:v>
                </c:pt>
                <c:pt idx="992">
                  <c:v>3.2711802108283452</c:v>
                </c:pt>
                <c:pt idx="993">
                  <c:v>5.9830982572915525</c:v>
                </c:pt>
                <c:pt idx="994">
                  <c:v>7.7676551610078528</c:v>
                </c:pt>
                <c:pt idx="995">
                  <c:v>15.579005890224213</c:v>
                </c:pt>
                <c:pt idx="996">
                  <c:v>9.3170771363713261</c:v>
                </c:pt>
                <c:pt idx="997">
                  <c:v>7.4323259221391327</c:v>
                </c:pt>
                <c:pt idx="998">
                  <c:v>4.3674108110397345</c:v>
                </c:pt>
                <c:pt idx="999">
                  <c:v>5.0736897794286193</c:v>
                </c:pt>
                <c:pt idx="1000">
                  <c:v>-2.5592609212241104</c:v>
                </c:pt>
                <c:pt idx="1001">
                  <c:v>1.3824183706734328E-2</c:v>
                </c:pt>
                <c:pt idx="1002">
                  <c:v>3.8495335445610346</c:v>
                </c:pt>
                <c:pt idx="1003">
                  <c:v>-2.5923814398381761</c:v>
                </c:pt>
                <c:pt idx="1004">
                  <c:v>-3.37871733129011</c:v>
                </c:pt>
                <c:pt idx="1005">
                  <c:v>2.3778702191007026</c:v>
                </c:pt>
                <c:pt idx="1006">
                  <c:v>3.5523526290282881</c:v>
                </c:pt>
                <c:pt idx="1007">
                  <c:v>4.8958763822259668</c:v>
                </c:pt>
                <c:pt idx="1008">
                  <c:v>4.9233380555230859</c:v>
                </c:pt>
                <c:pt idx="1009">
                  <c:v>4.5256619824185496E-3</c:v>
                </c:pt>
                <c:pt idx="1010">
                  <c:v>-1.7335779437636034</c:v>
                </c:pt>
                <c:pt idx="1011">
                  <c:v>-1.3487585357998544</c:v>
                </c:pt>
                <c:pt idx="1012">
                  <c:v>-5.3708564331753692</c:v>
                </c:pt>
                <c:pt idx="1013">
                  <c:v>-4.921214992520734</c:v>
                </c:pt>
                <c:pt idx="1014">
                  <c:v>-5.7410367189035414</c:v>
                </c:pt>
                <c:pt idx="1015">
                  <c:v>-3.0133255352726431</c:v>
                </c:pt>
                <c:pt idx="1016">
                  <c:v>-1.7210784602890024</c:v>
                </c:pt>
                <c:pt idx="1017">
                  <c:v>0.19926899301117573</c:v>
                </c:pt>
                <c:pt idx="1018">
                  <c:v>2.241028455296501E-2</c:v>
                </c:pt>
                <c:pt idx="1019">
                  <c:v>2.2009438822634229</c:v>
                </c:pt>
                <c:pt idx="1020">
                  <c:v>3.689879247630226</c:v>
                </c:pt>
                <c:pt idx="1021">
                  <c:v>4.5126312490568337</c:v>
                </c:pt>
                <c:pt idx="1022">
                  <c:v>7.9073950697902848</c:v>
                </c:pt>
                <c:pt idx="1023">
                  <c:v>10.181473913295477</c:v>
                </c:pt>
                <c:pt idx="1024">
                  <c:v>8.6511776929051454</c:v>
                </c:pt>
                <c:pt idx="1025">
                  <c:v>8.9363552060066844</c:v>
                </c:pt>
                <c:pt idx="1026">
                  <c:v>8.7759176980782474</c:v>
                </c:pt>
                <c:pt idx="1027">
                  <c:v>3.4046107921066575</c:v>
                </c:pt>
                <c:pt idx="1028">
                  <c:v>2.1532189498478265</c:v>
                </c:pt>
                <c:pt idx="1029">
                  <c:v>3.7574727233635361</c:v>
                </c:pt>
                <c:pt idx="1030">
                  <c:v>3.2769783860027433</c:v>
                </c:pt>
                <c:pt idx="1031">
                  <c:v>2.6817136883732133</c:v>
                </c:pt>
                <c:pt idx="1032">
                  <c:v>4.7620857191218002</c:v>
                </c:pt>
                <c:pt idx="1033">
                  <c:v>4.9984314784817299</c:v>
                </c:pt>
                <c:pt idx="1034">
                  <c:v>3.7540923030902089</c:v>
                </c:pt>
                <c:pt idx="1035">
                  <c:v>3.3138050312689042</c:v>
                </c:pt>
                <c:pt idx="1036">
                  <c:v>0.79105166101582081</c:v>
                </c:pt>
                <c:pt idx="1037">
                  <c:v>2.7535502373048026</c:v>
                </c:pt>
                <c:pt idx="1038">
                  <c:v>0.29741124884971881</c:v>
                </c:pt>
                <c:pt idx="1039">
                  <c:v>-0.15602921583804386</c:v>
                </c:pt>
                <c:pt idx="1040">
                  <c:v>-1.1484773417944099</c:v>
                </c:pt>
                <c:pt idx="1041">
                  <c:v>-0.6703252307942914</c:v>
                </c:pt>
                <c:pt idx="1042">
                  <c:v>3.5534365325317285</c:v>
                </c:pt>
                <c:pt idx="1043">
                  <c:v>3.834654789719552</c:v>
                </c:pt>
                <c:pt idx="1044">
                  <c:v>3.3129994394909685</c:v>
                </c:pt>
                <c:pt idx="1045">
                  <c:v>1.0711918774535452</c:v>
                </c:pt>
                <c:pt idx="1046">
                  <c:v>1.417183742948533</c:v>
                </c:pt>
                <c:pt idx="1047">
                  <c:v>3.426326895627013</c:v>
                </c:pt>
                <c:pt idx="1048">
                  <c:v>3.4106958930952116</c:v>
                </c:pt>
                <c:pt idx="1049">
                  <c:v>3.0101942317540322</c:v>
                </c:pt>
                <c:pt idx="1050">
                  <c:v>3.3768291852563941</c:v>
                </c:pt>
                <c:pt idx="1051">
                  <c:v>4.0547262926333509</c:v>
                </c:pt>
                <c:pt idx="1052">
                  <c:v>4.2429254960068938</c:v>
                </c:pt>
                <c:pt idx="1053">
                  <c:v>4.5138920064349355</c:v>
                </c:pt>
                <c:pt idx="1054">
                  <c:v>7.839122307037286</c:v>
                </c:pt>
                <c:pt idx="1055">
                  <c:v>7.8054944140419806</c:v>
                </c:pt>
                <c:pt idx="1056">
                  <c:v>5.9725922415798269</c:v>
                </c:pt>
                <c:pt idx="1057">
                  <c:v>6.9195623193392537</c:v>
                </c:pt>
                <c:pt idx="1058">
                  <c:v>9.5053267932134027</c:v>
                </c:pt>
                <c:pt idx="1059">
                  <c:v>8.872750809856889</c:v>
                </c:pt>
                <c:pt idx="1060">
                  <c:v>9.7042533330367053</c:v>
                </c:pt>
                <c:pt idx="1061">
                  <c:v>10.9160237118331</c:v>
                </c:pt>
                <c:pt idx="1062">
                  <c:v>10.092551927882203</c:v>
                </c:pt>
                <c:pt idx="1063">
                  <c:v>10.66365309061702</c:v>
                </c:pt>
                <c:pt idx="1064">
                  <c:v>6.4443498557754166</c:v>
                </c:pt>
                <c:pt idx="1065">
                  <c:v>10.93279935369384</c:v>
                </c:pt>
                <c:pt idx="1066">
                  <c:v>9.7220120742415865</c:v>
                </c:pt>
                <c:pt idx="1067">
                  <c:v>4.1303898684888596</c:v>
                </c:pt>
                <c:pt idx="1068">
                  <c:v>3.0361086848732843</c:v>
                </c:pt>
                <c:pt idx="1069">
                  <c:v>0.51226384765752087</c:v>
                </c:pt>
                <c:pt idx="1070">
                  <c:v>2.803662745668198</c:v>
                </c:pt>
                <c:pt idx="1071">
                  <c:v>2.1344333695031081</c:v>
                </c:pt>
                <c:pt idx="1072">
                  <c:v>4.3155103224353866</c:v>
                </c:pt>
                <c:pt idx="1073">
                  <c:v>3.5837057672641697</c:v>
                </c:pt>
                <c:pt idx="1074">
                  <c:v>2.5918276835041305</c:v>
                </c:pt>
                <c:pt idx="1075">
                  <c:v>2.9286851533262577</c:v>
                </c:pt>
                <c:pt idx="1076">
                  <c:v>3.8480376496860536</c:v>
                </c:pt>
                <c:pt idx="1077">
                  <c:v>3.4564737592963941</c:v>
                </c:pt>
                <c:pt idx="1078">
                  <c:v>5.0896965429808958</c:v>
                </c:pt>
                <c:pt idx="1079">
                  <c:v>4.147812690447866</c:v>
                </c:pt>
                <c:pt idx="1080">
                  <c:v>5.0721631867906876</c:v>
                </c:pt>
                <c:pt idx="1081">
                  <c:v>6.2578843998471276</c:v>
                </c:pt>
                <c:pt idx="1082">
                  <c:v>7.0551512047865721</c:v>
                </c:pt>
                <c:pt idx="1083">
                  <c:v>4.2898708025113725</c:v>
                </c:pt>
                <c:pt idx="1084">
                  <c:v>5.3426775354661862</c:v>
                </c:pt>
                <c:pt idx="1085">
                  <c:v>6.8273130701220461</c:v>
                </c:pt>
                <c:pt idx="1086">
                  <c:v>7.3393630678715791</c:v>
                </c:pt>
                <c:pt idx="1087">
                  <c:v>10.564770731883907</c:v>
                </c:pt>
                <c:pt idx="1088">
                  <c:v>9.5578425630040869</c:v>
                </c:pt>
                <c:pt idx="1089">
                  <c:v>10.708237940393969</c:v>
                </c:pt>
                <c:pt idx="1090">
                  <c:v>8.1943778493671395</c:v>
                </c:pt>
                <c:pt idx="1091">
                  <c:v>7.9236894754727167</c:v>
                </c:pt>
                <c:pt idx="1092">
                  <c:v>7.9332684815568317</c:v>
                </c:pt>
                <c:pt idx="1093">
                  <c:v>7.0459773397212242</c:v>
                </c:pt>
                <c:pt idx="1094">
                  <c:v>5.665262353018397</c:v>
                </c:pt>
                <c:pt idx="1095">
                  <c:v>5.6561639974223725</c:v>
                </c:pt>
                <c:pt idx="1096">
                  <c:v>5.6862659357928029</c:v>
                </c:pt>
                <c:pt idx="1097">
                  <c:v>6.359414708406061</c:v>
                </c:pt>
                <c:pt idx="1098">
                  <c:v>5.5181517694579245</c:v>
                </c:pt>
                <c:pt idx="1099">
                  <c:v>6.30564348152107</c:v>
                </c:pt>
                <c:pt idx="1100">
                  <c:v>6.4252568178653711</c:v>
                </c:pt>
                <c:pt idx="1101">
                  <c:v>5.4006102016110171</c:v>
                </c:pt>
                <c:pt idx="1102">
                  <c:v>5.3991233053980796</c:v>
                </c:pt>
                <c:pt idx="1103">
                  <c:v>6.7639945363105909</c:v>
                </c:pt>
                <c:pt idx="1104">
                  <c:v>8.1350910148033062</c:v>
                </c:pt>
                <c:pt idx="1105">
                  <c:v>8.5423331655980341</c:v>
                </c:pt>
                <c:pt idx="1106">
                  <c:v>9.0273425758280617</c:v>
                </c:pt>
                <c:pt idx="1107">
                  <c:v>9.327601291581777</c:v>
                </c:pt>
                <c:pt idx="1108">
                  <c:v>9.6628106848928148</c:v>
                </c:pt>
                <c:pt idx="1109">
                  <c:v>10.86393391830056</c:v>
                </c:pt>
                <c:pt idx="1110">
                  <c:v>12.765303207869669</c:v>
                </c:pt>
                <c:pt idx="1111">
                  <c:v>10.755510390009132</c:v>
                </c:pt>
                <c:pt idx="1112">
                  <c:v>7.8514486572575048</c:v>
                </c:pt>
                <c:pt idx="1113">
                  <c:v>7.6573704701900978</c:v>
                </c:pt>
                <c:pt idx="1114">
                  <c:v>7.5892942825576819</c:v>
                </c:pt>
                <c:pt idx="1115">
                  <c:v>7.7678670142913884</c:v>
                </c:pt>
                <c:pt idx="1116">
                  <c:v>7.2855773179005725</c:v>
                </c:pt>
                <c:pt idx="1117">
                  <c:v>7.415390040717333</c:v>
                </c:pt>
                <c:pt idx="1118">
                  <c:v>8.4026665630315023</c:v>
                </c:pt>
                <c:pt idx="1119">
                  <c:v>8.1998657708308436</c:v>
                </c:pt>
                <c:pt idx="1120">
                  <c:v>10.518441034560217</c:v>
                </c:pt>
                <c:pt idx="1121">
                  <c:v>10.284080292075002</c:v>
                </c:pt>
                <c:pt idx="1122">
                  <c:v>6.0684922347602841</c:v>
                </c:pt>
                <c:pt idx="1123">
                  <c:v>5.3557085178876811</c:v>
                </c:pt>
                <c:pt idx="1124">
                  <c:v>5.6731965678990637</c:v>
                </c:pt>
                <c:pt idx="1125">
                  <c:v>6.8733696269179827</c:v>
                </c:pt>
                <c:pt idx="1126">
                  <c:v>4.8523553850905596</c:v>
                </c:pt>
                <c:pt idx="1127">
                  <c:v>7.2321577952379421</c:v>
                </c:pt>
                <c:pt idx="1128">
                  <c:v>6.5328159063841316</c:v>
                </c:pt>
                <c:pt idx="1129">
                  <c:v>8.3828292895058727</c:v>
                </c:pt>
                <c:pt idx="1130">
                  <c:v>4.5721989861946035</c:v>
                </c:pt>
                <c:pt idx="1131">
                  <c:v>2.0763652454281853</c:v>
                </c:pt>
                <c:pt idx="1132">
                  <c:v>2.0495632779483799</c:v>
                </c:pt>
                <c:pt idx="1133">
                  <c:v>2.1155204601294662</c:v>
                </c:pt>
                <c:pt idx="1134">
                  <c:v>2.1022192209743467</c:v>
                </c:pt>
                <c:pt idx="1135">
                  <c:v>2.1009893089395879</c:v>
                </c:pt>
                <c:pt idx="1136">
                  <c:v>1.6267860353139485</c:v>
                </c:pt>
                <c:pt idx="1137">
                  <c:v>1.9843970210139421</c:v>
                </c:pt>
                <c:pt idx="1138">
                  <c:v>2.6826372319570857</c:v>
                </c:pt>
                <c:pt idx="1139">
                  <c:v>2.7787254131940804</c:v>
                </c:pt>
                <c:pt idx="1140">
                  <c:v>4.4534335991258143</c:v>
                </c:pt>
                <c:pt idx="1141">
                  <c:v>3.863517960876492</c:v>
                </c:pt>
                <c:pt idx="1142">
                  <c:v>3.4206036639531536</c:v>
                </c:pt>
                <c:pt idx="1143">
                  <c:v>3.7205526495296573</c:v>
                </c:pt>
                <c:pt idx="1144">
                  <c:v>3.7932130633014149</c:v>
                </c:pt>
                <c:pt idx="1145">
                  <c:v>4.3925482843984538</c:v>
                </c:pt>
                <c:pt idx="1146">
                  <c:v>6.188378142498312</c:v>
                </c:pt>
                <c:pt idx="1147">
                  <c:v>8.0392074428314171</c:v>
                </c:pt>
                <c:pt idx="1148">
                  <c:v>7.982776511629841</c:v>
                </c:pt>
                <c:pt idx="1149">
                  <c:v>8.3136196182347195</c:v>
                </c:pt>
                <c:pt idx="1150">
                  <c:v>11.496481455796838</c:v>
                </c:pt>
                <c:pt idx="1151">
                  <c:v>13.181184256932912</c:v>
                </c:pt>
                <c:pt idx="1152">
                  <c:v>11.871668043843661</c:v>
                </c:pt>
                <c:pt idx="1153">
                  <c:v>11.640576571620828</c:v>
                </c:pt>
                <c:pt idx="1154">
                  <c:v>11.203015130304026</c:v>
                </c:pt>
                <c:pt idx="1155">
                  <c:v>11.428211887721872</c:v>
                </c:pt>
                <c:pt idx="1156">
                  <c:v>11.08239219993909</c:v>
                </c:pt>
                <c:pt idx="1157">
                  <c:v>11.637466992962841</c:v>
                </c:pt>
                <c:pt idx="1158">
                  <c:v>10.936376291010157</c:v>
                </c:pt>
                <c:pt idx="1159">
                  <c:v>9.7070656683195846</c:v>
                </c:pt>
                <c:pt idx="1160">
                  <c:v>10.233868178604599</c:v>
                </c:pt>
                <c:pt idx="1161">
                  <c:v>9.1817407863594571</c:v>
                </c:pt>
                <c:pt idx="1162">
                  <c:v>9.6019281330462274</c:v>
                </c:pt>
                <c:pt idx="1163">
                  <c:v>9.7035962491491539</c:v>
                </c:pt>
                <c:pt idx="1164">
                  <c:v>10.533274526487261</c:v>
                </c:pt>
                <c:pt idx="1165">
                  <c:v>11.045966532830045</c:v>
                </c:pt>
                <c:pt idx="1166">
                  <c:v>10.102167919725048</c:v>
                </c:pt>
                <c:pt idx="1167">
                  <c:v>10.036705071429424</c:v>
                </c:pt>
                <c:pt idx="1168">
                  <c:v>9.0213945287915696</c:v>
                </c:pt>
                <c:pt idx="1169">
                  <c:v>8.5291974387878966</c:v>
                </c:pt>
                <c:pt idx="1170">
                  <c:v>9.7536825342456162</c:v>
                </c:pt>
                <c:pt idx="1171">
                  <c:v>8.9652560179653324</c:v>
                </c:pt>
                <c:pt idx="1172">
                  <c:v>6.2539141859725822</c:v>
                </c:pt>
                <c:pt idx="1173">
                  <c:v>5.8685616204035966</c:v>
                </c:pt>
                <c:pt idx="1174">
                  <c:v>5.333166633224387</c:v>
                </c:pt>
                <c:pt idx="1175">
                  <c:v>4.6276454121842514</c:v>
                </c:pt>
                <c:pt idx="1176">
                  <c:v>4.925407536873962</c:v>
                </c:pt>
                <c:pt idx="1177">
                  <c:v>4.4927777972147389</c:v>
                </c:pt>
                <c:pt idx="1178">
                  <c:v>4.4399709986004083</c:v>
                </c:pt>
                <c:pt idx="1179">
                  <c:v>4.976732388348176</c:v>
                </c:pt>
                <c:pt idx="1180">
                  <c:v>4.5481552226648905</c:v>
                </c:pt>
                <c:pt idx="1181">
                  <c:v>5.0027423386275567</c:v>
                </c:pt>
                <c:pt idx="1182">
                  <c:v>5.294564734462055</c:v>
                </c:pt>
                <c:pt idx="1183">
                  <c:v>6.3827973769509452</c:v>
                </c:pt>
                <c:pt idx="1184">
                  <c:v>6.3258698090936942</c:v>
                </c:pt>
                <c:pt idx="1185">
                  <c:v>6.1651299883011319</c:v>
                </c:pt>
                <c:pt idx="1186">
                  <c:v>7.7896872013209801</c:v>
                </c:pt>
                <c:pt idx="1187">
                  <c:v>8.8795646532907302</c:v>
                </c:pt>
                <c:pt idx="1188">
                  <c:v>8.1277838751600253</c:v>
                </c:pt>
                <c:pt idx="1189">
                  <c:v>5.5551169131236842</c:v>
                </c:pt>
                <c:pt idx="1190">
                  <c:v>6.5501652636778953</c:v>
                </c:pt>
                <c:pt idx="1191">
                  <c:v>7.8414194720721229</c:v>
                </c:pt>
                <c:pt idx="1192">
                  <c:v>8.9096360739443767</c:v>
                </c:pt>
                <c:pt idx="1193">
                  <c:v>5.4123352488016332</c:v>
                </c:pt>
                <c:pt idx="1194">
                  <c:v>5.5518699995156462</c:v>
                </c:pt>
                <c:pt idx="1195">
                  <c:v>6.8241451476606789</c:v>
                </c:pt>
                <c:pt idx="1196">
                  <c:v>5.7936883175260689</c:v>
                </c:pt>
                <c:pt idx="1197">
                  <c:v>6.2693261515790795</c:v>
                </c:pt>
                <c:pt idx="1198">
                  <c:v>6.4128741099070101</c:v>
                </c:pt>
                <c:pt idx="1199">
                  <c:v>4.359178805074551</c:v>
                </c:pt>
                <c:pt idx="1200">
                  <c:v>5.4747649771911631</c:v>
                </c:pt>
                <c:pt idx="1201">
                  <c:v>8.3384850045535082</c:v>
                </c:pt>
                <c:pt idx="1202">
                  <c:v>12.218343482156374</c:v>
                </c:pt>
                <c:pt idx="1203">
                  <c:v>8.5269724115155796</c:v>
                </c:pt>
                <c:pt idx="1204">
                  <c:v>6.5420882167219503</c:v>
                </c:pt>
                <c:pt idx="1205">
                  <c:v>1.7382265018736769</c:v>
                </c:pt>
                <c:pt idx="1206">
                  <c:v>2.7027599381988594</c:v>
                </c:pt>
                <c:pt idx="1207">
                  <c:v>1.7317961303986829</c:v>
                </c:pt>
                <c:pt idx="1208">
                  <c:v>0.23048987740606763</c:v>
                </c:pt>
                <c:pt idx="1209">
                  <c:v>0.52106419893376277</c:v>
                </c:pt>
                <c:pt idx="1210">
                  <c:v>2.1676080994376097</c:v>
                </c:pt>
                <c:pt idx="1211">
                  <c:v>1.6687199025574166</c:v>
                </c:pt>
                <c:pt idx="1212">
                  <c:v>1.0767077761747541</c:v>
                </c:pt>
                <c:pt idx="1213">
                  <c:v>2.2528114925486813</c:v>
                </c:pt>
                <c:pt idx="1214">
                  <c:v>2.0555629367403543</c:v>
                </c:pt>
                <c:pt idx="1215">
                  <c:v>2.5108066032217211</c:v>
                </c:pt>
                <c:pt idx="1216">
                  <c:v>2.5619811704032243</c:v>
                </c:pt>
                <c:pt idx="1217">
                  <c:v>2.2147511641715081</c:v>
                </c:pt>
                <c:pt idx="1218">
                  <c:v>4.3401474512082707</c:v>
                </c:pt>
                <c:pt idx="1219">
                  <c:v>5.1389771873294769</c:v>
                </c:pt>
                <c:pt idx="1220">
                  <c:v>4.0450652880031326</c:v>
                </c:pt>
                <c:pt idx="1221">
                  <c:v>4.9420915647837695</c:v>
                </c:pt>
                <c:pt idx="1222">
                  <c:v>7.5931699508418289</c:v>
                </c:pt>
                <c:pt idx="1223">
                  <c:v>7.8922069500632075</c:v>
                </c:pt>
                <c:pt idx="1224">
                  <c:v>6.9573070178676772</c:v>
                </c:pt>
                <c:pt idx="1225">
                  <c:v>9.0167109602559101</c:v>
                </c:pt>
                <c:pt idx="1226">
                  <c:v>7.7962698660823229</c:v>
                </c:pt>
                <c:pt idx="1227">
                  <c:v>5.8738174157381708</c:v>
                </c:pt>
                <c:pt idx="1228">
                  <c:v>5.857829479646445</c:v>
                </c:pt>
                <c:pt idx="1229">
                  <c:v>6.9273220824356692</c:v>
                </c:pt>
                <c:pt idx="1230">
                  <c:v>6.4346603934923596</c:v>
                </c:pt>
                <c:pt idx="1231">
                  <c:v>6.2259806915276741</c:v>
                </c:pt>
                <c:pt idx="1232">
                  <c:v>5.6709691121412913</c:v>
                </c:pt>
                <c:pt idx="1233">
                  <c:v>5.8665791283503284</c:v>
                </c:pt>
                <c:pt idx="1234">
                  <c:v>7.1427895005864173</c:v>
                </c:pt>
                <c:pt idx="1235">
                  <c:v>7.7142792114132135</c:v>
                </c:pt>
                <c:pt idx="1236">
                  <c:v>7.6839112968428793</c:v>
                </c:pt>
                <c:pt idx="1237">
                  <c:v>8.2269308428341432</c:v>
                </c:pt>
                <c:pt idx="1238">
                  <c:v>8.3542125383611463</c:v>
                </c:pt>
                <c:pt idx="1239">
                  <c:v>7.1371695008499687</c:v>
                </c:pt>
                <c:pt idx="1240">
                  <c:v>5.6499195362787136</c:v>
                </c:pt>
                <c:pt idx="1241">
                  <c:v>6.2374821663662443</c:v>
                </c:pt>
                <c:pt idx="1242">
                  <c:v>5.2382646026456774</c:v>
                </c:pt>
                <c:pt idx="1243">
                  <c:v>5.7779751415928366</c:v>
                </c:pt>
                <c:pt idx="1244">
                  <c:v>6.7383602355709877</c:v>
                </c:pt>
                <c:pt idx="1245">
                  <c:v>6.8628380355312215</c:v>
                </c:pt>
                <c:pt idx="1246">
                  <c:v>5.3084757541945802</c:v>
                </c:pt>
                <c:pt idx="1247">
                  <c:v>5.6042647045599958</c:v>
                </c:pt>
                <c:pt idx="1248">
                  <c:v>7.2743980764426857</c:v>
                </c:pt>
                <c:pt idx="1249">
                  <c:v>7.2815039234771977</c:v>
                </c:pt>
                <c:pt idx="1250">
                  <c:v>7.4344519668707667</c:v>
                </c:pt>
                <c:pt idx="1251">
                  <c:v>6.9187471044799453</c:v>
                </c:pt>
                <c:pt idx="1252">
                  <c:v>5.912627598393688</c:v>
                </c:pt>
                <c:pt idx="1253">
                  <c:v>5.7005477059841523</c:v>
                </c:pt>
                <c:pt idx="1254">
                  <c:v>4.3632167252224283</c:v>
                </c:pt>
                <c:pt idx="1255">
                  <c:v>4.6543944879488706</c:v>
                </c:pt>
                <c:pt idx="1256">
                  <c:v>4.5890419206187252</c:v>
                </c:pt>
                <c:pt idx="1257">
                  <c:v>4.3955628058612781</c:v>
                </c:pt>
                <c:pt idx="1258">
                  <c:v>4.6786903010910565</c:v>
                </c:pt>
                <c:pt idx="1259">
                  <c:v>4.4703372366525107</c:v>
                </c:pt>
                <c:pt idx="1260">
                  <c:v>5.7460135728515995</c:v>
                </c:pt>
                <c:pt idx="1261">
                  <c:v>4.6192379472599026</c:v>
                </c:pt>
                <c:pt idx="1262">
                  <c:v>5.3125154116785254</c:v>
                </c:pt>
                <c:pt idx="1263">
                  <c:v>6.1459714107179542</c:v>
                </c:pt>
                <c:pt idx="1264">
                  <c:v>3.8649592018594578</c:v>
                </c:pt>
                <c:pt idx="1265">
                  <c:v>5.8606738652825561</c:v>
                </c:pt>
                <c:pt idx="1266">
                  <c:v>7.752544488774177</c:v>
                </c:pt>
                <c:pt idx="1267">
                  <c:v>6.8313449568856131</c:v>
                </c:pt>
                <c:pt idx="1268">
                  <c:v>4.8261051110940896</c:v>
                </c:pt>
                <c:pt idx="1269">
                  <c:v>3.2295826589173822</c:v>
                </c:pt>
                <c:pt idx="1270">
                  <c:v>2.7613170754604428</c:v>
                </c:pt>
                <c:pt idx="1271">
                  <c:v>3.6044633508301755</c:v>
                </c:pt>
                <c:pt idx="1272">
                  <c:v>5.1359076960085073</c:v>
                </c:pt>
                <c:pt idx="1273">
                  <c:v>4.2340699037486278</c:v>
                </c:pt>
                <c:pt idx="1274">
                  <c:v>2.5893696184513453</c:v>
                </c:pt>
                <c:pt idx="1275">
                  <c:v>2.3622554985731763</c:v>
                </c:pt>
                <c:pt idx="1276">
                  <c:v>1.1753989107732843</c:v>
                </c:pt>
                <c:pt idx="1277">
                  <c:v>0.24315372168846605</c:v>
                </c:pt>
                <c:pt idx="1278">
                  <c:v>1.0749601992138729</c:v>
                </c:pt>
                <c:pt idx="1279">
                  <c:v>1.3896178411576199</c:v>
                </c:pt>
                <c:pt idx="1280">
                  <c:v>0.91333882825854751</c:v>
                </c:pt>
                <c:pt idx="1281">
                  <c:v>0.63051444799355205</c:v>
                </c:pt>
                <c:pt idx="1282">
                  <c:v>2.4277296638348433</c:v>
                </c:pt>
                <c:pt idx="1283">
                  <c:v>3.7541773319197782</c:v>
                </c:pt>
                <c:pt idx="1284">
                  <c:v>4.30171257330462</c:v>
                </c:pt>
                <c:pt idx="1285">
                  <c:v>6.4979639697658351</c:v>
                </c:pt>
                <c:pt idx="1286">
                  <c:v>5.1626898559154002</c:v>
                </c:pt>
                <c:pt idx="1287">
                  <c:v>6.1588445384385766</c:v>
                </c:pt>
                <c:pt idx="1288">
                  <c:v>3.5542416846833373</c:v>
                </c:pt>
                <c:pt idx="1289">
                  <c:v>4.017553984147276</c:v>
                </c:pt>
                <c:pt idx="1290">
                  <c:v>2.1701511457885401</c:v>
                </c:pt>
                <c:pt idx="1291">
                  <c:v>2.2339394465253406</c:v>
                </c:pt>
                <c:pt idx="1292">
                  <c:v>4.6735177997805328</c:v>
                </c:pt>
                <c:pt idx="1293">
                  <c:v>5.5772894368340902</c:v>
                </c:pt>
                <c:pt idx="1294">
                  <c:v>6.8932181674205619</c:v>
                </c:pt>
                <c:pt idx="1295">
                  <c:v>7.8894604492919846</c:v>
                </c:pt>
                <c:pt idx="1296">
                  <c:v>9.7451319638346323</c:v>
                </c:pt>
                <c:pt idx="1297">
                  <c:v>9.2392183653973383</c:v>
                </c:pt>
                <c:pt idx="1298">
                  <c:v>8.0704585514684268</c:v>
                </c:pt>
                <c:pt idx="1299">
                  <c:v>6.4667290500025256</c:v>
                </c:pt>
                <c:pt idx="1300">
                  <c:v>8.8793580524930036</c:v>
                </c:pt>
                <c:pt idx="1301">
                  <c:v>9.1424266240511702</c:v>
                </c:pt>
                <c:pt idx="1302">
                  <c:v>16.133791317732783</c:v>
                </c:pt>
                <c:pt idx="1303">
                  <c:v>-2.2356438484603061</c:v>
                </c:pt>
                <c:pt idx="1304">
                  <c:v>3.3419825046333673</c:v>
                </c:pt>
                <c:pt idx="1305">
                  <c:v>-4.9457695382140008</c:v>
                </c:pt>
                <c:pt idx="1306">
                  <c:v>-7.576192267916726</c:v>
                </c:pt>
                <c:pt idx="1307">
                  <c:v>-13.082460529301699</c:v>
                </c:pt>
                <c:pt idx="1308">
                  <c:v>-11.495585285298981</c:v>
                </c:pt>
                <c:pt idx="1309">
                  <c:v>-12.791805108120652</c:v>
                </c:pt>
                <c:pt idx="1310">
                  <c:v>-3.3254608492158386</c:v>
                </c:pt>
                <c:pt idx="1311">
                  <c:v>-2.8766152201561979</c:v>
                </c:pt>
                <c:pt idx="1312">
                  <c:v>-3.5915570727951094</c:v>
                </c:pt>
                <c:pt idx="1313">
                  <c:v>-12.157157844613604</c:v>
                </c:pt>
                <c:pt idx="1314">
                  <c:v>-12.731579568947343</c:v>
                </c:pt>
                <c:pt idx="1315">
                  <c:v>-9.0078845503045617</c:v>
                </c:pt>
                <c:pt idx="1316">
                  <c:v>-13.728917248499496</c:v>
                </c:pt>
                <c:pt idx="1317">
                  <c:v>-18.377610580633068</c:v>
                </c:pt>
                <c:pt idx="1318">
                  <c:v>-17.067991263164817</c:v>
                </c:pt>
                <c:pt idx="1319">
                  <c:v>-18.336350282083892</c:v>
                </c:pt>
                <c:pt idx="1320">
                  <c:v>-15.120523857163636</c:v>
                </c:pt>
                <c:pt idx="1321">
                  <c:v>-13.906598706939738</c:v>
                </c:pt>
                <c:pt idx="1322">
                  <c:v>-3.6996782916904447</c:v>
                </c:pt>
                <c:pt idx="1323">
                  <c:v>-5.1579411041510319</c:v>
                </c:pt>
                <c:pt idx="1324">
                  <c:v>-0.49180827018714401</c:v>
                </c:pt>
                <c:pt idx="1325">
                  <c:v>6.0089466868745109</c:v>
                </c:pt>
                <c:pt idx="1326">
                  <c:v>6.0316949703499043</c:v>
                </c:pt>
                <c:pt idx="1327">
                  <c:v>5.1923821732709712</c:v>
                </c:pt>
                <c:pt idx="1328">
                  <c:v>2.6359735574499501</c:v>
                </c:pt>
                <c:pt idx="1329">
                  <c:v>-0.57396807682864037</c:v>
                </c:pt>
                <c:pt idx="1330">
                  <c:v>3.3881229691186121</c:v>
                </c:pt>
                <c:pt idx="1331">
                  <c:v>5.5419125552696737</c:v>
                </c:pt>
                <c:pt idx="1332">
                  <c:v>5.6333733140787769</c:v>
                </c:pt>
                <c:pt idx="1333">
                  <c:v>10.143477494502772</c:v>
                </c:pt>
                <c:pt idx="1334">
                  <c:v>12.300511338265196</c:v>
                </c:pt>
                <c:pt idx="1335">
                  <c:v>12.5274432233211</c:v>
                </c:pt>
                <c:pt idx="1336">
                  <c:v>9.5686102008916745</c:v>
                </c:pt>
                <c:pt idx="1337">
                  <c:v>9.8794095800179385</c:v>
                </c:pt>
                <c:pt idx="1338">
                  <c:v>12.457719006793239</c:v>
                </c:pt>
                <c:pt idx="1339">
                  <c:v>10.0852586806072</c:v>
                </c:pt>
                <c:pt idx="1340">
                  <c:v>13.246898119978233</c:v>
                </c:pt>
                <c:pt idx="1341">
                  <c:v>15.389648164323821</c:v>
                </c:pt>
                <c:pt idx="1342">
                  <c:v>9.4847527836526169</c:v>
                </c:pt>
                <c:pt idx="1343">
                  <c:v>7.612200900457383</c:v>
                </c:pt>
                <c:pt idx="1344">
                  <c:v>5.403319289067027</c:v>
                </c:pt>
                <c:pt idx="1345">
                  <c:v>6.7622939023033677</c:v>
                </c:pt>
                <c:pt idx="1346">
                  <c:v>1.3268651079578031</c:v>
                </c:pt>
                <c:pt idx="1347">
                  <c:v>1.297169847186963</c:v>
                </c:pt>
                <c:pt idx="1348">
                  <c:v>-0.13858491716615684</c:v>
                </c:pt>
                <c:pt idx="1349">
                  <c:v>-0.12190118191180987</c:v>
                </c:pt>
                <c:pt idx="1350">
                  <c:v>-3.142836535201321</c:v>
                </c:pt>
                <c:pt idx="1351">
                  <c:v>1.405084485921021</c:v>
                </c:pt>
                <c:pt idx="1352">
                  <c:v>-1.2190031413307101</c:v>
                </c:pt>
                <c:pt idx="1353">
                  <c:v>3.2689182936488703</c:v>
                </c:pt>
                <c:pt idx="1354">
                  <c:v>6.3496233751728246</c:v>
                </c:pt>
                <c:pt idx="1355">
                  <c:v>2.4027891834934811</c:v>
                </c:pt>
                <c:pt idx="1356">
                  <c:v>1.0054076753743979</c:v>
                </c:pt>
                <c:pt idx="1357">
                  <c:v>2.8547113157312287</c:v>
                </c:pt>
                <c:pt idx="1358">
                  <c:v>1.6857642742073409</c:v>
                </c:pt>
                <c:pt idx="1359">
                  <c:v>-4.634692716872757</c:v>
                </c:pt>
                <c:pt idx="1360">
                  <c:v>-3.4319140012720348</c:v>
                </c:pt>
                <c:pt idx="1361">
                  <c:v>2.6094924695364066</c:v>
                </c:pt>
                <c:pt idx="1362">
                  <c:v>5.4441495922156582</c:v>
                </c:pt>
                <c:pt idx="1363">
                  <c:v>3.5149965515297921</c:v>
                </c:pt>
                <c:pt idx="1364">
                  <c:v>1.2442986898224817</c:v>
                </c:pt>
                <c:pt idx="1365">
                  <c:v>1.0013161636055257</c:v>
                </c:pt>
                <c:pt idx="1366">
                  <c:v>2.8210120422993921</c:v>
                </c:pt>
                <c:pt idx="1367">
                  <c:v>0.28069542686728899</c:v>
                </c:pt>
                <c:pt idx="1368">
                  <c:v>5.5247256499413533</c:v>
                </c:pt>
                <c:pt idx="1369">
                  <c:v>2.0940379695468749</c:v>
                </c:pt>
                <c:pt idx="1370">
                  <c:v>-0.8252413356250432</c:v>
                </c:pt>
                <c:pt idx="1371">
                  <c:v>0.9753495335766138</c:v>
                </c:pt>
                <c:pt idx="1372">
                  <c:v>1.8076014235518967</c:v>
                </c:pt>
                <c:pt idx="1373">
                  <c:v>3.809479783921399</c:v>
                </c:pt>
                <c:pt idx="1374">
                  <c:v>4.1671272885199562</c:v>
                </c:pt>
                <c:pt idx="1375">
                  <c:v>2.4634223946902289</c:v>
                </c:pt>
                <c:pt idx="1376">
                  <c:v>3.1886707234182521</c:v>
                </c:pt>
                <c:pt idx="1377">
                  <c:v>2.9833259882709018</c:v>
                </c:pt>
                <c:pt idx="1378">
                  <c:v>4.4851303097476869</c:v>
                </c:pt>
                <c:pt idx="1379">
                  <c:v>8.4103716025949176</c:v>
                </c:pt>
                <c:pt idx="1380">
                  <c:v>3.4455397892585893</c:v>
                </c:pt>
                <c:pt idx="1381">
                  <c:v>3.0298280399447153</c:v>
                </c:pt>
                <c:pt idx="1382">
                  <c:v>-2.2937181221369674</c:v>
                </c:pt>
                <c:pt idx="1383">
                  <c:v>-2.1815687411350537</c:v>
                </c:pt>
                <c:pt idx="1384">
                  <c:v>-1.2677623295810847</c:v>
                </c:pt>
                <c:pt idx="1385">
                  <c:v>-1.1169391760901648</c:v>
                </c:pt>
                <c:pt idx="1386">
                  <c:v>-0.73997143535699528</c:v>
                </c:pt>
                <c:pt idx="1387">
                  <c:v>0.12051631143211727</c:v>
                </c:pt>
                <c:pt idx="1388">
                  <c:v>4.3020548601703181</c:v>
                </c:pt>
                <c:pt idx="1389">
                  <c:v>-0.4074705842014692</c:v>
                </c:pt>
                <c:pt idx="1390">
                  <c:v>-0.71082901447239166</c:v>
                </c:pt>
                <c:pt idx="1391">
                  <c:v>-0.93534779041805072</c:v>
                </c:pt>
                <c:pt idx="1392">
                  <c:v>-0.45571639629565786</c:v>
                </c:pt>
                <c:pt idx="1393">
                  <c:v>-0.84000789972151768</c:v>
                </c:pt>
                <c:pt idx="1394">
                  <c:v>-0.98086899220879431</c:v>
                </c:pt>
                <c:pt idx="1395">
                  <c:v>-0.70510632756304037</c:v>
                </c:pt>
                <c:pt idx="1396">
                  <c:v>-3.5050718588125833</c:v>
                </c:pt>
                <c:pt idx="1397">
                  <c:v>-5.1968951229332312</c:v>
                </c:pt>
                <c:pt idx="1398">
                  <c:v>-3.8798695655591686</c:v>
                </c:pt>
                <c:pt idx="1399">
                  <c:v>-4.2504986223122962</c:v>
                </c:pt>
                <c:pt idx="1400">
                  <c:v>-1.3697378066798382</c:v>
                </c:pt>
                <c:pt idx="1401">
                  <c:v>-0.4044901922701738</c:v>
                </c:pt>
                <c:pt idx="1402">
                  <c:v>3.6494005186454794</c:v>
                </c:pt>
                <c:pt idx="1403">
                  <c:v>4.3380104832102528</c:v>
                </c:pt>
                <c:pt idx="1404">
                  <c:v>3.1998490528727332</c:v>
                </c:pt>
                <c:pt idx="1405">
                  <c:v>2.7323986434675707</c:v>
                </c:pt>
                <c:pt idx="1406">
                  <c:v>1.9776912795122863</c:v>
                </c:pt>
                <c:pt idx="1407">
                  <c:v>1.0955650496007052</c:v>
                </c:pt>
                <c:pt idx="1408">
                  <c:v>3.3538962474166381</c:v>
                </c:pt>
                <c:pt idx="1409">
                  <c:v>3.6456671103008071</c:v>
                </c:pt>
                <c:pt idx="1410">
                  <c:v>5.1401547610265412</c:v>
                </c:pt>
                <c:pt idx="1411">
                  <c:v>5.0932961330871471</c:v>
                </c:pt>
                <c:pt idx="1412">
                  <c:v>6.1649976470649399</c:v>
                </c:pt>
                <c:pt idx="1413">
                  <c:v>7.4541815553020445</c:v>
                </c:pt>
                <c:pt idx="1414">
                  <c:v>5.8768938014990386</c:v>
                </c:pt>
                <c:pt idx="1415">
                  <c:v>5.9861837399435318</c:v>
                </c:pt>
                <c:pt idx="1416">
                  <c:v>7.993471476648212</c:v>
                </c:pt>
                <c:pt idx="1417">
                  <c:v>8.3520715692432699</c:v>
                </c:pt>
                <c:pt idx="1418">
                  <c:v>8.7129210344502681</c:v>
                </c:pt>
                <c:pt idx="1419">
                  <c:v>8.1432554918616411</c:v>
                </c:pt>
                <c:pt idx="1420">
                  <c:v>8.0261756744553292</c:v>
                </c:pt>
                <c:pt idx="1421">
                  <c:v>9.3738329824919937</c:v>
                </c:pt>
                <c:pt idx="1422">
                  <c:v>10.592519653258826</c:v>
                </c:pt>
                <c:pt idx="1423">
                  <c:v>10.891915115529224</c:v>
                </c:pt>
                <c:pt idx="1424">
                  <c:v>11.093182246041719</c:v>
                </c:pt>
                <c:pt idx="1425">
                  <c:v>10.542390936262867</c:v>
                </c:pt>
                <c:pt idx="1426">
                  <c:v>8.4116991750891401</c:v>
                </c:pt>
                <c:pt idx="1427">
                  <c:v>9.2008017106262301</c:v>
                </c:pt>
                <c:pt idx="1428">
                  <c:v>9.089359720748579</c:v>
                </c:pt>
                <c:pt idx="1429">
                  <c:v>9.9316047166394288</c:v>
                </c:pt>
                <c:pt idx="1430">
                  <c:v>10.426564826879538</c:v>
                </c:pt>
                <c:pt idx="1431">
                  <c:v>11.966403494788945</c:v>
                </c:pt>
                <c:pt idx="1432">
                  <c:v>10.425669121286564</c:v>
                </c:pt>
                <c:pt idx="1433">
                  <c:v>10.859715622730864</c:v>
                </c:pt>
                <c:pt idx="1434">
                  <c:v>12.73701943614814</c:v>
                </c:pt>
                <c:pt idx="1435">
                  <c:v>10.221649365088048</c:v>
                </c:pt>
                <c:pt idx="1436">
                  <c:v>8.7856917947611421</c:v>
                </c:pt>
                <c:pt idx="1437">
                  <c:v>9.1998102633279064</c:v>
                </c:pt>
                <c:pt idx="1438">
                  <c:v>9.0689001072614595</c:v>
                </c:pt>
                <c:pt idx="1439">
                  <c:v>7.9990365930955498</c:v>
                </c:pt>
                <c:pt idx="1440">
                  <c:v>8.9247273031916858</c:v>
                </c:pt>
                <c:pt idx="1441">
                  <c:v>9.8964571299142126</c:v>
                </c:pt>
                <c:pt idx="1442">
                  <c:v>9.8224458200887614</c:v>
                </c:pt>
                <c:pt idx="1443">
                  <c:v>9.9701561768876719</c:v>
                </c:pt>
                <c:pt idx="1444">
                  <c:v>9.0415779105083338</c:v>
                </c:pt>
                <c:pt idx="1445">
                  <c:v>8.8759324816174221</c:v>
                </c:pt>
                <c:pt idx="1446">
                  <c:v>10.933738541111619</c:v>
                </c:pt>
                <c:pt idx="1447">
                  <c:v>11.715766395068854</c:v>
                </c:pt>
                <c:pt idx="1448">
                  <c:v>9.6137508902728612</c:v>
                </c:pt>
                <c:pt idx="1449">
                  <c:v>7.916977166119703</c:v>
                </c:pt>
                <c:pt idx="1450">
                  <c:v>7.0228582426216173</c:v>
                </c:pt>
                <c:pt idx="1451">
                  <c:v>5.9556937586992182</c:v>
                </c:pt>
                <c:pt idx="1452">
                  <c:v>3.549380895339997</c:v>
                </c:pt>
                <c:pt idx="1453">
                  <c:v>4.0512915511657726</c:v>
                </c:pt>
                <c:pt idx="1454">
                  <c:v>4.377644947280916</c:v>
                </c:pt>
                <c:pt idx="1455">
                  <c:v>3.9268685612867449</c:v>
                </c:pt>
                <c:pt idx="1456">
                  <c:v>4.4674566314288917</c:v>
                </c:pt>
                <c:pt idx="1457">
                  <c:v>4.8773881726362616</c:v>
                </c:pt>
                <c:pt idx="1458">
                  <c:v>4.5045260276016368</c:v>
                </c:pt>
                <c:pt idx="1459">
                  <c:v>4.5450823358822019</c:v>
                </c:pt>
                <c:pt idx="1460">
                  <c:v>3.7729000624987492</c:v>
                </c:pt>
                <c:pt idx="1461">
                  <c:v>2.333282662125888</c:v>
                </c:pt>
                <c:pt idx="1462">
                  <c:v>3.5718025575859209</c:v>
                </c:pt>
                <c:pt idx="1463">
                  <c:v>3.4375335862512735</c:v>
                </c:pt>
                <c:pt idx="1464">
                  <c:v>3.5349911979310105</c:v>
                </c:pt>
                <c:pt idx="1465">
                  <c:v>3.6326641821749299</c:v>
                </c:pt>
                <c:pt idx="1466">
                  <c:v>3.7577391859367855</c:v>
                </c:pt>
                <c:pt idx="1467">
                  <c:v>5.431815799624105</c:v>
                </c:pt>
                <c:pt idx="1468">
                  <c:v>5.399616310489284</c:v>
                </c:pt>
                <c:pt idx="1469">
                  <c:v>6.0599615100078665</c:v>
                </c:pt>
                <c:pt idx="1470">
                  <c:v>7.3243549953113929</c:v>
                </c:pt>
                <c:pt idx="1471">
                  <c:v>7.3064245524801565</c:v>
                </c:pt>
                <c:pt idx="1472">
                  <c:v>8.4597145456144727</c:v>
                </c:pt>
                <c:pt idx="1473">
                  <c:v>4.5227964844207822</c:v>
                </c:pt>
                <c:pt idx="1474">
                  <c:v>6.3794266777512068</c:v>
                </c:pt>
                <c:pt idx="1475">
                  <c:v>6.4041930178024451</c:v>
                </c:pt>
                <c:pt idx="1476">
                  <c:v>4.1435436727952881</c:v>
                </c:pt>
                <c:pt idx="1477">
                  <c:v>4.2958150870248843</c:v>
                </c:pt>
                <c:pt idx="1478">
                  <c:v>3.9001035368111698</c:v>
                </c:pt>
                <c:pt idx="1479">
                  <c:v>3.1590476830627381</c:v>
                </c:pt>
                <c:pt idx="1480">
                  <c:v>4.4902529525561761</c:v>
                </c:pt>
                <c:pt idx="1481">
                  <c:v>4.5862539333048788</c:v>
                </c:pt>
                <c:pt idx="1482">
                  <c:v>2.2911967004922209</c:v>
                </c:pt>
                <c:pt idx="1483">
                  <c:v>1.5697844389947868</c:v>
                </c:pt>
                <c:pt idx="1484">
                  <c:v>1.6316656352173387</c:v>
                </c:pt>
                <c:pt idx="1485">
                  <c:v>2.4676235750075106</c:v>
                </c:pt>
                <c:pt idx="1486">
                  <c:v>2.0337549162610795</c:v>
                </c:pt>
                <c:pt idx="1487">
                  <c:v>2.3522050047345755</c:v>
                </c:pt>
                <c:pt idx="1488">
                  <c:v>3.2361498694422535</c:v>
                </c:pt>
                <c:pt idx="1489">
                  <c:v>3.7475104026979595</c:v>
                </c:pt>
                <c:pt idx="1490">
                  <c:v>4.0200451025887594</c:v>
                </c:pt>
                <c:pt idx="1491">
                  <c:v>5.406796511980172</c:v>
                </c:pt>
                <c:pt idx="1492">
                  <c:v>6.5075898234953273</c:v>
                </c:pt>
                <c:pt idx="1493">
                  <c:v>6.2664300728824811</c:v>
                </c:pt>
                <c:pt idx="1494">
                  <c:v>8.035449800293323</c:v>
                </c:pt>
                <c:pt idx="1495">
                  <c:v>9.4381285987531385</c:v>
                </c:pt>
                <c:pt idx="1496">
                  <c:v>11.097643547893719</c:v>
                </c:pt>
                <c:pt idx="1497">
                  <c:v>11.389020210190115</c:v>
                </c:pt>
                <c:pt idx="1498">
                  <c:v>12.734304917146542</c:v>
                </c:pt>
                <c:pt idx="1499">
                  <c:v>13.32291815852957</c:v>
                </c:pt>
                <c:pt idx="1500">
                  <c:v>8.6304149689364031</c:v>
                </c:pt>
                <c:pt idx="1501">
                  <c:v>9.2292470574234819</c:v>
                </c:pt>
                <c:pt idx="1502">
                  <c:v>10.321960290928239</c:v>
                </c:pt>
                <c:pt idx="1503">
                  <c:v>9.9353409434069029</c:v>
                </c:pt>
                <c:pt idx="1504">
                  <c:v>10.321488170177295</c:v>
                </c:pt>
                <c:pt idx="1505">
                  <c:v>8.5442342040894985</c:v>
                </c:pt>
                <c:pt idx="1506">
                  <c:v>11.338900650177949</c:v>
                </c:pt>
                <c:pt idx="1507">
                  <c:v>11.256596695163115</c:v>
                </c:pt>
                <c:pt idx="1508">
                  <c:v>11.788878653675692</c:v>
                </c:pt>
                <c:pt idx="1509">
                  <c:v>11.881979184140807</c:v>
                </c:pt>
                <c:pt idx="1510">
                  <c:v>10.129237214581643</c:v>
                </c:pt>
                <c:pt idx="1511">
                  <c:v>4.9539053096357897</c:v>
                </c:pt>
                <c:pt idx="1512">
                  <c:v>4.6042927974582284</c:v>
                </c:pt>
                <c:pt idx="1513">
                  <c:v>3.8301229327726727</c:v>
                </c:pt>
                <c:pt idx="1514">
                  <c:v>5.6973730355498633</c:v>
                </c:pt>
                <c:pt idx="1515">
                  <c:v>4.0081377145015109</c:v>
                </c:pt>
                <c:pt idx="1516">
                  <c:v>6.1331446422107945</c:v>
                </c:pt>
                <c:pt idx="1517">
                  <c:v>3.1710243204976534</c:v>
                </c:pt>
                <c:pt idx="1518">
                  <c:v>3.2014302378235326</c:v>
                </c:pt>
                <c:pt idx="1519">
                  <c:v>0.71860768627667326</c:v>
                </c:pt>
                <c:pt idx="1520">
                  <c:v>1.3006374060970467</c:v>
                </c:pt>
                <c:pt idx="1521">
                  <c:v>0.12493737913346903</c:v>
                </c:pt>
                <c:pt idx="1522">
                  <c:v>0.96797166769366783</c:v>
                </c:pt>
                <c:pt idx="1523">
                  <c:v>-1.1562981321551091</c:v>
                </c:pt>
                <c:pt idx="1524">
                  <c:v>0.24086387382976637</c:v>
                </c:pt>
                <c:pt idx="1525">
                  <c:v>-7.8295890529367362E-2</c:v>
                </c:pt>
                <c:pt idx="1526">
                  <c:v>0.10535941165036866</c:v>
                </c:pt>
                <c:pt idx="1527">
                  <c:v>0.36868444300811321</c:v>
                </c:pt>
                <c:pt idx="1528">
                  <c:v>-1.5280855892632561</c:v>
                </c:pt>
                <c:pt idx="1529">
                  <c:v>-1.775222482034422</c:v>
                </c:pt>
                <c:pt idx="1530">
                  <c:v>-1.9247031728589632</c:v>
                </c:pt>
                <c:pt idx="1531">
                  <c:v>0.21672291933183263</c:v>
                </c:pt>
                <c:pt idx="1532">
                  <c:v>-0.64547163997304424</c:v>
                </c:pt>
                <c:pt idx="1533">
                  <c:v>0.3787526442381034</c:v>
                </c:pt>
                <c:pt idx="1534">
                  <c:v>1.5183298751375252</c:v>
                </c:pt>
                <c:pt idx="1535">
                  <c:v>1.1873324941380132</c:v>
                </c:pt>
                <c:pt idx="1536">
                  <c:v>1.6766496827087918</c:v>
                </c:pt>
                <c:pt idx="1537">
                  <c:v>-0.46972034333524482</c:v>
                </c:pt>
                <c:pt idx="1538">
                  <c:v>0.22067724058182914</c:v>
                </c:pt>
                <c:pt idx="1539">
                  <c:v>-0.58857455010654647</c:v>
                </c:pt>
                <c:pt idx="1540">
                  <c:v>-0.72409879993075577</c:v>
                </c:pt>
                <c:pt idx="1541">
                  <c:v>-1.4292865902858443</c:v>
                </c:pt>
                <c:pt idx="1542">
                  <c:v>1.1794861491611908</c:v>
                </c:pt>
                <c:pt idx="1543">
                  <c:v>3.2658500426345158</c:v>
                </c:pt>
                <c:pt idx="1544">
                  <c:v>5.9447093459066096</c:v>
                </c:pt>
                <c:pt idx="1545">
                  <c:v>4.8808224526640718</c:v>
                </c:pt>
                <c:pt idx="1546">
                  <c:v>2.2836480972255906</c:v>
                </c:pt>
                <c:pt idx="1547">
                  <c:v>0.25373036926762127</c:v>
                </c:pt>
                <c:pt idx="1548">
                  <c:v>3.8901374654084746</c:v>
                </c:pt>
                <c:pt idx="1549">
                  <c:v>4.6882319076576975</c:v>
                </c:pt>
                <c:pt idx="1550">
                  <c:v>4.8321042308912601</c:v>
                </c:pt>
                <c:pt idx="1551">
                  <c:v>3.2900855336627624</c:v>
                </c:pt>
                <c:pt idx="1552">
                  <c:v>0.32431817336072977</c:v>
                </c:pt>
                <c:pt idx="1553">
                  <c:v>0.67140907874790046</c:v>
                </c:pt>
                <c:pt idx="1554">
                  <c:v>1.1059196658124688</c:v>
                </c:pt>
                <c:pt idx="1555">
                  <c:v>0.44666420532271378</c:v>
                </c:pt>
                <c:pt idx="1556">
                  <c:v>0.63253435264054025</c:v>
                </c:pt>
                <c:pt idx="1557">
                  <c:v>1.0401069443568693</c:v>
                </c:pt>
                <c:pt idx="1558">
                  <c:v>3.7132548429150147E-2</c:v>
                </c:pt>
                <c:pt idx="1559">
                  <c:v>1.3325938013991485</c:v>
                </c:pt>
                <c:pt idx="1560">
                  <c:v>1.2531429764255613</c:v>
                </c:pt>
                <c:pt idx="1561">
                  <c:v>0.75806106795465178</c:v>
                </c:pt>
                <c:pt idx="1562">
                  <c:v>0.6195233563653646</c:v>
                </c:pt>
                <c:pt idx="1563">
                  <c:v>1.8239437742214024</c:v>
                </c:pt>
                <c:pt idx="1564">
                  <c:v>3.3747706713647005</c:v>
                </c:pt>
                <c:pt idx="1565">
                  <c:v>3.4818817817580534</c:v>
                </c:pt>
                <c:pt idx="1566">
                  <c:v>4.9094799348157387</c:v>
                </c:pt>
                <c:pt idx="1567">
                  <c:v>6.0024056394309788</c:v>
                </c:pt>
                <c:pt idx="1568">
                  <c:v>7.1722943656975335</c:v>
                </c:pt>
                <c:pt idx="1569">
                  <c:v>7.494797508663936</c:v>
                </c:pt>
                <c:pt idx="1570">
                  <c:v>8.1954462979648248</c:v>
                </c:pt>
                <c:pt idx="1571">
                  <c:v>8.9078172887323976</c:v>
                </c:pt>
                <c:pt idx="1572">
                  <c:v>11.215279493200079</c:v>
                </c:pt>
                <c:pt idx="1573">
                  <c:v>11.733434674162027</c:v>
                </c:pt>
                <c:pt idx="1574">
                  <c:v>11.731405377193823</c:v>
                </c:pt>
                <c:pt idx="1575">
                  <c:v>6.2516416948143849</c:v>
                </c:pt>
                <c:pt idx="1576">
                  <c:v>4.9761101727435362</c:v>
                </c:pt>
                <c:pt idx="1577">
                  <c:v>6.5270594767057739</c:v>
                </c:pt>
                <c:pt idx="1578">
                  <c:v>6.6564422093636928</c:v>
                </c:pt>
                <c:pt idx="1579">
                  <c:v>6.0498272486930933</c:v>
                </c:pt>
                <c:pt idx="1580">
                  <c:v>2.9358093029264176</c:v>
                </c:pt>
                <c:pt idx="1581">
                  <c:v>3.5342737567679596</c:v>
                </c:pt>
                <c:pt idx="1582">
                  <c:v>3.4792145190727513</c:v>
                </c:pt>
                <c:pt idx="1583">
                  <c:v>3.0374784523563738</c:v>
                </c:pt>
                <c:pt idx="1584">
                  <c:v>2.8896587750900844</c:v>
                </c:pt>
                <c:pt idx="1585">
                  <c:v>3.0629671540830308</c:v>
                </c:pt>
                <c:pt idx="1586">
                  <c:v>3.5613392159454804</c:v>
                </c:pt>
                <c:pt idx="1587">
                  <c:v>3.7630624384387619</c:v>
                </c:pt>
                <c:pt idx="1588">
                  <c:v>4.194835684108762</c:v>
                </c:pt>
                <c:pt idx="1589">
                  <c:v>5.329461423424096</c:v>
                </c:pt>
                <c:pt idx="1590">
                  <c:v>2.9460342796554406</c:v>
                </c:pt>
                <c:pt idx="1591">
                  <c:v>4.1205685226329818</c:v>
                </c:pt>
                <c:pt idx="1592">
                  <c:v>4.7786839849291942</c:v>
                </c:pt>
                <c:pt idx="1593">
                  <c:v>4.2045373809272961</c:v>
                </c:pt>
                <c:pt idx="1594">
                  <c:v>3.9393493059482489</c:v>
                </c:pt>
                <c:pt idx="1595">
                  <c:v>5.1063748582190218</c:v>
                </c:pt>
                <c:pt idx="1596">
                  <c:v>4.9452167045314646</c:v>
                </c:pt>
                <c:pt idx="1597">
                  <c:v>5.9446973732371875</c:v>
                </c:pt>
                <c:pt idx="1598">
                  <c:v>6.4757457403137275</c:v>
                </c:pt>
                <c:pt idx="1599">
                  <c:v>6.1619811016281236</c:v>
                </c:pt>
                <c:pt idx="1600">
                  <c:v>7.4917021208798786</c:v>
                </c:pt>
                <c:pt idx="1601">
                  <c:v>8.2253758431788704</c:v>
                </c:pt>
                <c:pt idx="1602">
                  <c:v>6.7314210762050726</c:v>
                </c:pt>
                <c:pt idx="1603">
                  <c:v>5.8459120786394898</c:v>
                </c:pt>
                <c:pt idx="1604">
                  <c:v>5.5838695763022113</c:v>
                </c:pt>
                <c:pt idx="1605">
                  <c:v>5.5055407518666124</c:v>
                </c:pt>
                <c:pt idx="1606">
                  <c:v>5.8585546223636582</c:v>
                </c:pt>
                <c:pt idx="1607">
                  <c:v>5.4195957661571592</c:v>
                </c:pt>
                <c:pt idx="1608">
                  <c:v>7.0915569119718942</c:v>
                </c:pt>
                <c:pt idx="1609">
                  <c:v>6.6970624631534266</c:v>
                </c:pt>
                <c:pt idx="1610">
                  <c:v>7.0531310291710057</c:v>
                </c:pt>
                <c:pt idx="1611">
                  <c:v>6.8112406123763094</c:v>
                </c:pt>
                <c:pt idx="1612">
                  <c:v>7.6757669663789292</c:v>
                </c:pt>
                <c:pt idx="1613">
                  <c:v>4.9750619219118466</c:v>
                </c:pt>
                <c:pt idx="1614">
                  <c:v>5.5913372898051357</c:v>
                </c:pt>
                <c:pt idx="1615">
                  <c:v>6.760429867624131</c:v>
                </c:pt>
                <c:pt idx="1616">
                  <c:v>5.4589122385929807</c:v>
                </c:pt>
                <c:pt idx="1617">
                  <c:v>4.4944428836091426</c:v>
                </c:pt>
                <c:pt idx="1618">
                  <c:v>3.7163213741427779</c:v>
                </c:pt>
                <c:pt idx="1619">
                  <c:v>3.8493127352986183</c:v>
                </c:pt>
                <c:pt idx="1620">
                  <c:v>1.920503560693207</c:v>
                </c:pt>
                <c:pt idx="1621">
                  <c:v>1.8759999120701809</c:v>
                </c:pt>
                <c:pt idx="1622">
                  <c:v>3.0528916858106547</c:v>
                </c:pt>
                <c:pt idx="1623">
                  <c:v>3.9505202631048233</c:v>
                </c:pt>
                <c:pt idx="1624">
                  <c:v>2.3157673831739083</c:v>
                </c:pt>
                <c:pt idx="1625">
                  <c:v>-1.0980514597117601</c:v>
                </c:pt>
                <c:pt idx="1626">
                  <c:v>-0.3916334752665368</c:v>
                </c:pt>
                <c:pt idx="1627">
                  <c:v>-0.20889937832139494</c:v>
                </c:pt>
                <c:pt idx="1628">
                  <c:v>-0.38455411444363874</c:v>
                </c:pt>
                <c:pt idx="1629">
                  <c:v>-2.4090891233702338E-3</c:v>
                </c:pt>
                <c:pt idx="1630">
                  <c:v>0.35915118156543968</c:v>
                </c:pt>
                <c:pt idx="1631">
                  <c:v>-0.32786750049991487</c:v>
                </c:pt>
                <c:pt idx="1632">
                  <c:v>-0.85252020491911884</c:v>
                </c:pt>
                <c:pt idx="1633">
                  <c:v>0.46970899637152341</c:v>
                </c:pt>
                <c:pt idx="1634">
                  <c:v>1.5157357065812893</c:v>
                </c:pt>
                <c:pt idx="1635">
                  <c:v>2.0123771909935</c:v>
                </c:pt>
                <c:pt idx="1636">
                  <c:v>1.6410745357052114</c:v>
                </c:pt>
                <c:pt idx="1637">
                  <c:v>4.5530861895909647</c:v>
                </c:pt>
                <c:pt idx="1638">
                  <c:v>4.8792434953512611</c:v>
                </c:pt>
                <c:pt idx="1639">
                  <c:v>5.0227181877476061</c:v>
                </c:pt>
                <c:pt idx="1640">
                  <c:v>4.4061400950073786</c:v>
                </c:pt>
                <c:pt idx="1641">
                  <c:v>4.9770236093533091</c:v>
                </c:pt>
                <c:pt idx="1642">
                  <c:v>6.7791268198686208</c:v>
                </c:pt>
                <c:pt idx="1643">
                  <c:v>7.0440192390442746</c:v>
                </c:pt>
                <c:pt idx="1644">
                  <c:v>5.8448126929340427</c:v>
                </c:pt>
                <c:pt idx="1645">
                  <c:v>6.557637074755843</c:v>
                </c:pt>
                <c:pt idx="1646">
                  <c:v>7.7136911494871399</c:v>
                </c:pt>
                <c:pt idx="1647">
                  <c:v>7.9322982556510393</c:v>
                </c:pt>
                <c:pt idx="1648">
                  <c:v>8.2437074816782783</c:v>
                </c:pt>
                <c:pt idx="1649">
                  <c:v>8.9768434945913711</c:v>
                </c:pt>
                <c:pt idx="1650">
                  <c:v>9.9019163224841957</c:v>
                </c:pt>
                <c:pt idx="1651">
                  <c:v>10.247701900949751</c:v>
                </c:pt>
                <c:pt idx="1652">
                  <c:v>12.78876118662804</c:v>
                </c:pt>
                <c:pt idx="1653">
                  <c:v>6.3434484205497323</c:v>
                </c:pt>
                <c:pt idx="1654">
                  <c:v>0.25385019467211722</c:v>
                </c:pt>
                <c:pt idx="1655">
                  <c:v>0.12093192618095883</c:v>
                </c:pt>
                <c:pt idx="1656">
                  <c:v>-0.64839678170760251</c:v>
                </c:pt>
                <c:pt idx="1657">
                  <c:v>-0.79061198280902523</c:v>
                </c:pt>
                <c:pt idx="1658">
                  <c:v>-1.054450477136462</c:v>
                </c:pt>
                <c:pt idx="1659">
                  <c:v>-0.86608705525310914</c:v>
                </c:pt>
                <c:pt idx="1660">
                  <c:v>-1.238187299115598</c:v>
                </c:pt>
                <c:pt idx="1661">
                  <c:v>-1.3740530823815407</c:v>
                </c:pt>
                <c:pt idx="1662">
                  <c:v>-0.95492741157843231</c:v>
                </c:pt>
                <c:pt idx="1663">
                  <c:v>-0.75912881258688725</c:v>
                </c:pt>
                <c:pt idx="1664">
                  <c:v>-0.42419460640336915</c:v>
                </c:pt>
                <c:pt idx="1665">
                  <c:v>0.13214109587579292</c:v>
                </c:pt>
                <c:pt idx="1666">
                  <c:v>-0.58593101160719785</c:v>
                </c:pt>
                <c:pt idx="1667">
                  <c:v>-0.58097695276732031</c:v>
                </c:pt>
                <c:pt idx="1668">
                  <c:v>0.12339300423109684</c:v>
                </c:pt>
                <c:pt idx="1669">
                  <c:v>0.44567831036142896</c:v>
                </c:pt>
                <c:pt idx="1670">
                  <c:v>0.90022715375098894</c:v>
                </c:pt>
                <c:pt idx="1671">
                  <c:v>1.5497434680498814</c:v>
                </c:pt>
                <c:pt idx="1672">
                  <c:v>2.4602534440029773</c:v>
                </c:pt>
                <c:pt idx="1673">
                  <c:v>4.3516595219340912</c:v>
                </c:pt>
                <c:pt idx="1674">
                  <c:v>8.7401984665282093</c:v>
                </c:pt>
                <c:pt idx="1675">
                  <c:v>6.691519915565582</c:v>
                </c:pt>
                <c:pt idx="1676">
                  <c:v>6.9633676823621373</c:v>
                </c:pt>
                <c:pt idx="1677">
                  <c:v>5.4982396131254054</c:v>
                </c:pt>
                <c:pt idx="1678">
                  <c:v>5.3807204345697333</c:v>
                </c:pt>
                <c:pt idx="1679">
                  <c:v>5.3742590955455762</c:v>
                </c:pt>
                <c:pt idx="1680">
                  <c:v>5.0538575464511055</c:v>
                </c:pt>
                <c:pt idx="1681">
                  <c:v>4.9567117736233568</c:v>
                </c:pt>
                <c:pt idx="1682">
                  <c:v>4.7087307869723123</c:v>
                </c:pt>
                <c:pt idx="1683">
                  <c:v>5.0419492136084987</c:v>
                </c:pt>
                <c:pt idx="1684">
                  <c:v>4.7316212005549083</c:v>
                </c:pt>
                <c:pt idx="1685">
                  <c:v>4.6247230725616815</c:v>
                </c:pt>
                <c:pt idx="1686">
                  <c:v>4.2166515945533556</c:v>
                </c:pt>
                <c:pt idx="1687">
                  <c:v>5.279814768882515</c:v>
                </c:pt>
                <c:pt idx="1688">
                  <c:v>5.5092261310982691</c:v>
                </c:pt>
                <c:pt idx="1689">
                  <c:v>4.0051445516454214</c:v>
                </c:pt>
                <c:pt idx="1690">
                  <c:v>6.9363270220595963</c:v>
                </c:pt>
                <c:pt idx="1691">
                  <c:v>4.6061101070171455</c:v>
                </c:pt>
                <c:pt idx="1692">
                  <c:v>1.7681164302132568</c:v>
                </c:pt>
                <c:pt idx="1693">
                  <c:v>2.6334405218417234</c:v>
                </c:pt>
                <c:pt idx="1694">
                  <c:v>2.5170423958913641</c:v>
                </c:pt>
                <c:pt idx="1695">
                  <c:v>1.5504888649036235</c:v>
                </c:pt>
                <c:pt idx="1696">
                  <c:v>1.4709290742048589</c:v>
                </c:pt>
                <c:pt idx="1697">
                  <c:v>1.9915989847181002</c:v>
                </c:pt>
                <c:pt idx="1698">
                  <c:v>1.5192426857444776</c:v>
                </c:pt>
                <c:pt idx="1699">
                  <c:v>1.0403379638079371</c:v>
                </c:pt>
                <c:pt idx="1700">
                  <c:v>9.7062454732996239E-2</c:v>
                </c:pt>
                <c:pt idx="1701">
                  <c:v>0.75082949299625779</c:v>
                </c:pt>
                <c:pt idx="1702">
                  <c:v>0.31181557199712051</c:v>
                </c:pt>
                <c:pt idx="1703">
                  <c:v>-0.32258763032051579</c:v>
                </c:pt>
                <c:pt idx="1704">
                  <c:v>-0.36989789309669341</c:v>
                </c:pt>
                <c:pt idx="1705">
                  <c:v>1.4657125300127651</c:v>
                </c:pt>
                <c:pt idx="1706">
                  <c:v>2.6744022511774004</c:v>
                </c:pt>
                <c:pt idx="1707">
                  <c:v>1.8442566608895317</c:v>
                </c:pt>
                <c:pt idx="1708">
                  <c:v>2.9515449765342803</c:v>
                </c:pt>
                <c:pt idx="1709">
                  <c:v>2.6571979269443795</c:v>
                </c:pt>
                <c:pt idx="1710">
                  <c:v>5.4714865423598047</c:v>
                </c:pt>
                <c:pt idx="1711">
                  <c:v>4.3748517903909256</c:v>
                </c:pt>
                <c:pt idx="1712">
                  <c:v>5.6787298088448761</c:v>
                </c:pt>
                <c:pt idx="1713">
                  <c:v>5.2333492487784765</c:v>
                </c:pt>
                <c:pt idx="1714">
                  <c:v>5.7962678955560927</c:v>
                </c:pt>
                <c:pt idx="1715">
                  <c:v>4.9635982110427825</c:v>
                </c:pt>
                <c:pt idx="1716">
                  <c:v>5.8993733728923985</c:v>
                </c:pt>
                <c:pt idx="1717">
                  <c:v>5.4837296102056845</c:v>
                </c:pt>
                <c:pt idx="1718">
                  <c:v>5.352232706319981</c:v>
                </c:pt>
                <c:pt idx="1719">
                  <c:v>4.4819980919560996</c:v>
                </c:pt>
                <c:pt idx="1720">
                  <c:v>4.1185589257612403</c:v>
                </c:pt>
                <c:pt idx="1721">
                  <c:v>2.7767824843340225</c:v>
                </c:pt>
                <c:pt idx="1722">
                  <c:v>2.6181974516011843</c:v>
                </c:pt>
                <c:pt idx="1723">
                  <c:v>2.4789199752281692</c:v>
                </c:pt>
                <c:pt idx="1724">
                  <c:v>4.4399937486234</c:v>
                </c:pt>
                <c:pt idx="1725">
                  <c:v>0.31647354578857589</c:v>
                </c:pt>
                <c:pt idx="1726">
                  <c:v>1.8703001185461727</c:v>
                </c:pt>
                <c:pt idx="1727">
                  <c:v>2.943674806699101</c:v>
                </c:pt>
                <c:pt idx="1728">
                  <c:v>0.29637878866493883</c:v>
                </c:pt>
                <c:pt idx="1729">
                  <c:v>-0.15532852007189846</c:v>
                </c:pt>
                <c:pt idx="1730">
                  <c:v>-1.4341258163093644</c:v>
                </c:pt>
                <c:pt idx="1731">
                  <c:v>-1.0813386267012532</c:v>
                </c:pt>
                <c:pt idx="1732">
                  <c:v>-1.1181669757222261</c:v>
                </c:pt>
                <c:pt idx="1733">
                  <c:v>-1.0994551141970814</c:v>
                </c:pt>
                <c:pt idx="1734">
                  <c:v>-1.065777357164102</c:v>
                </c:pt>
                <c:pt idx="1735">
                  <c:v>-1.1861401014538835</c:v>
                </c:pt>
                <c:pt idx="1736">
                  <c:v>-9.3015508381119605E-2</c:v>
                </c:pt>
                <c:pt idx="1737">
                  <c:v>-1.2637817589643134</c:v>
                </c:pt>
                <c:pt idx="1738">
                  <c:v>-2.2039939727440032</c:v>
                </c:pt>
                <c:pt idx="1739">
                  <c:v>-2.3060604637410025</c:v>
                </c:pt>
                <c:pt idx="1740">
                  <c:v>-2.1750432592656077</c:v>
                </c:pt>
                <c:pt idx="1741">
                  <c:v>-1.8770589254357013</c:v>
                </c:pt>
                <c:pt idx="1742">
                  <c:v>-1.4919688918467622</c:v>
                </c:pt>
                <c:pt idx="1743">
                  <c:v>-2.000972668222234</c:v>
                </c:pt>
                <c:pt idx="1744">
                  <c:v>1.1872616797676108</c:v>
                </c:pt>
                <c:pt idx="1745">
                  <c:v>1.8828951393669981</c:v>
                </c:pt>
                <c:pt idx="1746">
                  <c:v>3.8851947748640341</c:v>
                </c:pt>
                <c:pt idx="1747">
                  <c:v>4.3819949181654829</c:v>
                </c:pt>
                <c:pt idx="1748">
                  <c:v>3.6294805493119253</c:v>
                </c:pt>
                <c:pt idx="1749">
                  <c:v>4.0891234270325105</c:v>
                </c:pt>
                <c:pt idx="1750">
                  <c:v>4.8387925499322844</c:v>
                </c:pt>
                <c:pt idx="1751">
                  <c:v>4.4596286634995392</c:v>
                </c:pt>
                <c:pt idx="1752">
                  <c:v>4.5489426667703361</c:v>
                </c:pt>
                <c:pt idx="1753">
                  <c:v>4.5276281792841901</c:v>
                </c:pt>
                <c:pt idx="1754">
                  <c:v>5.0728179208299879</c:v>
                </c:pt>
                <c:pt idx="1755">
                  <c:v>4.8859213075151082</c:v>
                </c:pt>
                <c:pt idx="1756">
                  <c:v>5.4448278808442927</c:v>
                </c:pt>
                <c:pt idx="1757">
                  <c:v>5.8751335714947617</c:v>
                </c:pt>
                <c:pt idx="1758">
                  <c:v>6.2868811610328841</c:v>
                </c:pt>
                <c:pt idx="1759">
                  <c:v>6.0406642530609247</c:v>
                </c:pt>
                <c:pt idx="1760">
                  <c:v>6.261136876957921</c:v>
                </c:pt>
                <c:pt idx="1761">
                  <c:v>5.0537211422959114</c:v>
                </c:pt>
                <c:pt idx="1762">
                  <c:v>2.7575382529522905</c:v>
                </c:pt>
                <c:pt idx="1763">
                  <c:v>3.1370570456133615</c:v>
                </c:pt>
                <c:pt idx="1764">
                  <c:v>4.2156359000644681</c:v>
                </c:pt>
                <c:pt idx="1765">
                  <c:v>6.0329535695920953</c:v>
                </c:pt>
                <c:pt idx="1766">
                  <c:v>2.8036932681595768</c:v>
                </c:pt>
                <c:pt idx="1767">
                  <c:v>3.5029185953910495</c:v>
                </c:pt>
                <c:pt idx="1768">
                  <c:v>3.410297657338321</c:v>
                </c:pt>
                <c:pt idx="1769">
                  <c:v>2.8745582312130313</c:v>
                </c:pt>
                <c:pt idx="1770">
                  <c:v>2.1268462827266186</c:v>
                </c:pt>
                <c:pt idx="1771">
                  <c:v>3.7826698505782739</c:v>
                </c:pt>
                <c:pt idx="1772">
                  <c:v>2.1129205198061523</c:v>
                </c:pt>
                <c:pt idx="1773">
                  <c:v>2.9308669501790119</c:v>
                </c:pt>
                <c:pt idx="1774">
                  <c:v>1.0464156470946144</c:v>
                </c:pt>
                <c:pt idx="1775">
                  <c:v>-0.59379543292056858</c:v>
                </c:pt>
                <c:pt idx="1776">
                  <c:v>-1.0605417568410465</c:v>
                </c:pt>
                <c:pt idx="1777">
                  <c:v>-0.42464505208442138</c:v>
                </c:pt>
                <c:pt idx="1778">
                  <c:v>-0.88854608280846958</c:v>
                </c:pt>
                <c:pt idx="1779">
                  <c:v>-0.72727975146826829</c:v>
                </c:pt>
                <c:pt idx="1780">
                  <c:v>-0.22910060693688838</c:v>
                </c:pt>
                <c:pt idx="1781">
                  <c:v>-1.6626279832926527</c:v>
                </c:pt>
                <c:pt idx="1782">
                  <c:v>-1.228264460928491</c:v>
                </c:pt>
                <c:pt idx="1783">
                  <c:v>-1.8651542155473515</c:v>
                </c:pt>
                <c:pt idx="1784">
                  <c:v>-1.525686131332471</c:v>
                </c:pt>
                <c:pt idx="1785">
                  <c:v>-1.9407104996951474</c:v>
                </c:pt>
                <c:pt idx="1786">
                  <c:v>-1.3939692227459499</c:v>
                </c:pt>
                <c:pt idx="1787">
                  <c:v>-1.2033813546894616</c:v>
                </c:pt>
                <c:pt idx="1788">
                  <c:v>-0.52276996155162514</c:v>
                </c:pt>
                <c:pt idx="1789">
                  <c:v>-0.97251241802174815</c:v>
                </c:pt>
                <c:pt idx="1790">
                  <c:v>4.4270798083712037E-2</c:v>
                </c:pt>
                <c:pt idx="1791">
                  <c:v>3.2758643529807134</c:v>
                </c:pt>
                <c:pt idx="1792">
                  <c:v>3.0185549315125404</c:v>
                </c:pt>
                <c:pt idx="1793">
                  <c:v>5.0919988889228911</c:v>
                </c:pt>
                <c:pt idx="1794">
                  <c:v>5.4951604163454251</c:v>
                </c:pt>
                <c:pt idx="1795">
                  <c:v>5.6856321315517322</c:v>
                </c:pt>
                <c:pt idx="1796">
                  <c:v>5.5333877615131684</c:v>
                </c:pt>
                <c:pt idx="1797">
                  <c:v>6.2694371681276868</c:v>
                </c:pt>
                <c:pt idx="1798">
                  <c:v>6.3261699295320026</c:v>
                </c:pt>
                <c:pt idx="1799">
                  <c:v>6.4053939535740039</c:v>
                </c:pt>
                <c:pt idx="1800">
                  <c:v>5.0322092950336783</c:v>
                </c:pt>
                <c:pt idx="1801">
                  <c:v>4.5663886598942218</c:v>
                </c:pt>
                <c:pt idx="1802">
                  <c:v>4.3926117853943554</c:v>
                </c:pt>
                <c:pt idx="1803">
                  <c:v>5.0597939247666064</c:v>
                </c:pt>
                <c:pt idx="1804">
                  <c:v>5.1109312960590572</c:v>
                </c:pt>
                <c:pt idx="1805">
                  <c:v>6.2354669874420603</c:v>
                </c:pt>
                <c:pt idx="1806">
                  <c:v>6.8146991763437743</c:v>
                </c:pt>
                <c:pt idx="1807">
                  <c:v>6.2065865201258656</c:v>
                </c:pt>
                <c:pt idx="1808">
                  <c:v>5.8170550374489132</c:v>
                </c:pt>
                <c:pt idx="1809">
                  <c:v>6.3009792482303162</c:v>
                </c:pt>
                <c:pt idx="1810">
                  <c:v>6.5018250133905884</c:v>
                </c:pt>
                <c:pt idx="1811">
                  <c:v>6.1505101472140629</c:v>
                </c:pt>
                <c:pt idx="1812">
                  <c:v>6.7960803513094845</c:v>
                </c:pt>
                <c:pt idx="1813">
                  <c:v>6.3987427916215953</c:v>
                </c:pt>
                <c:pt idx="1814">
                  <c:v>7.3196874384020294</c:v>
                </c:pt>
                <c:pt idx="1815">
                  <c:v>5.5379327115675503</c:v>
                </c:pt>
                <c:pt idx="1816">
                  <c:v>4.6114161805122054</c:v>
                </c:pt>
                <c:pt idx="1817">
                  <c:v>5.6082669961312988</c:v>
                </c:pt>
                <c:pt idx="1818">
                  <c:v>5.9778971066841633</c:v>
                </c:pt>
                <c:pt idx="1819">
                  <c:v>5.5955591224901724</c:v>
                </c:pt>
                <c:pt idx="1820">
                  <c:v>7.1348342987342592</c:v>
                </c:pt>
                <c:pt idx="1821">
                  <c:v>7.4280492410315828</c:v>
                </c:pt>
                <c:pt idx="1822">
                  <c:v>6.7594197928650219</c:v>
                </c:pt>
                <c:pt idx="1823">
                  <c:v>5.5142951920388015</c:v>
                </c:pt>
                <c:pt idx="1824">
                  <c:v>5.4110818986925171</c:v>
                </c:pt>
                <c:pt idx="1825">
                  <c:v>5.6455939433585902</c:v>
                </c:pt>
                <c:pt idx="1826">
                  <c:v>4.7276753558423215</c:v>
                </c:pt>
                <c:pt idx="1827">
                  <c:v>3.2770031545709415</c:v>
                </c:pt>
                <c:pt idx="1828">
                  <c:v>2.5570552797459913</c:v>
                </c:pt>
                <c:pt idx="1829">
                  <c:v>3.1162985162098868</c:v>
                </c:pt>
                <c:pt idx="1830">
                  <c:v>4.3258726893767339</c:v>
                </c:pt>
                <c:pt idx="1831">
                  <c:v>4.5261968197049764</c:v>
                </c:pt>
                <c:pt idx="1832">
                  <c:v>5.002362960324291</c:v>
                </c:pt>
                <c:pt idx="1833">
                  <c:v>3.3934391776404103</c:v>
                </c:pt>
                <c:pt idx="1834">
                  <c:v>3.281219023826039</c:v>
                </c:pt>
                <c:pt idx="1835">
                  <c:v>2.9690207854106281</c:v>
                </c:pt>
                <c:pt idx="1836">
                  <c:v>3.9624778304550468</c:v>
                </c:pt>
                <c:pt idx="1837">
                  <c:v>3.8162910248896842</c:v>
                </c:pt>
                <c:pt idx="1838">
                  <c:v>5.8274203136887763</c:v>
                </c:pt>
                <c:pt idx="1839">
                  <c:v>5.8629055807735018</c:v>
                </c:pt>
                <c:pt idx="1840">
                  <c:v>6.9915796766848892</c:v>
                </c:pt>
                <c:pt idx="1841">
                  <c:v>7.8596398972125918</c:v>
                </c:pt>
                <c:pt idx="1842">
                  <c:v>6.5431468233215062</c:v>
                </c:pt>
                <c:pt idx="1843">
                  <c:v>7.9010729587187436</c:v>
                </c:pt>
                <c:pt idx="1844">
                  <c:v>8.2422997161853786</c:v>
                </c:pt>
                <c:pt idx="1845">
                  <c:v>7.0548562694692283</c:v>
                </c:pt>
                <c:pt idx="1846">
                  <c:v>9.751833174032571</c:v>
                </c:pt>
                <c:pt idx="1847">
                  <c:v>10.107397833182395</c:v>
                </c:pt>
                <c:pt idx="1848">
                  <c:v>9.4552246608660706</c:v>
                </c:pt>
                <c:pt idx="1849">
                  <c:v>3.6116012360711629</c:v>
                </c:pt>
                <c:pt idx="1850">
                  <c:v>2.7011571770358622</c:v>
                </c:pt>
                <c:pt idx="1851">
                  <c:v>3.1246024624288466</c:v>
                </c:pt>
                <c:pt idx="1852">
                  <c:v>5.5392109526005733</c:v>
                </c:pt>
                <c:pt idx="1853">
                  <c:v>1.3756909432281417</c:v>
                </c:pt>
                <c:pt idx="1854">
                  <c:v>-5.2185641530927418E-2</c:v>
                </c:pt>
                <c:pt idx="1855">
                  <c:v>-0.35450179015734107</c:v>
                </c:pt>
                <c:pt idx="1856">
                  <c:v>-6.9148112598305111E-2</c:v>
                </c:pt>
                <c:pt idx="1857">
                  <c:v>9.1698872738982251E-2</c:v>
                </c:pt>
                <c:pt idx="1858">
                  <c:v>7.5361389753042518E-2</c:v>
                </c:pt>
                <c:pt idx="1859">
                  <c:v>-0.14055736166709298</c:v>
                </c:pt>
                <c:pt idx="1860">
                  <c:v>-0.11452013984029064</c:v>
                </c:pt>
                <c:pt idx="1861">
                  <c:v>0.44432819139100799</c:v>
                </c:pt>
                <c:pt idx="1862">
                  <c:v>0.65575816871200066</c:v>
                </c:pt>
                <c:pt idx="1863">
                  <c:v>0.68281419139830102</c:v>
                </c:pt>
                <c:pt idx="1864">
                  <c:v>1.2445838634670969</c:v>
                </c:pt>
                <c:pt idx="1865">
                  <c:v>0.89779760609008519</c:v>
                </c:pt>
                <c:pt idx="1866">
                  <c:v>1.1940113150145579</c:v>
                </c:pt>
                <c:pt idx="1867">
                  <c:v>2.7363575852873772</c:v>
                </c:pt>
                <c:pt idx="1868">
                  <c:v>2.1746058094444036</c:v>
                </c:pt>
                <c:pt idx="1869">
                  <c:v>4.1942404841687777</c:v>
                </c:pt>
                <c:pt idx="1870">
                  <c:v>2.4369810039171922</c:v>
                </c:pt>
                <c:pt idx="1871">
                  <c:v>2.0897823840943102</c:v>
                </c:pt>
                <c:pt idx="1872">
                  <c:v>2.7843541928458322</c:v>
                </c:pt>
                <c:pt idx="1873">
                  <c:v>3.1855362644673964</c:v>
                </c:pt>
                <c:pt idx="1874">
                  <c:v>3.1464985668871779</c:v>
                </c:pt>
                <c:pt idx="1875">
                  <c:v>3.0937389148988874</c:v>
                </c:pt>
                <c:pt idx="1876">
                  <c:v>3.8268075021019463</c:v>
                </c:pt>
                <c:pt idx="1877">
                  <c:v>4.1956378043223133</c:v>
                </c:pt>
                <c:pt idx="1878">
                  <c:v>4.2872922094058321</c:v>
                </c:pt>
                <c:pt idx="1879">
                  <c:v>3.2312636404243977</c:v>
                </c:pt>
                <c:pt idx="1880">
                  <c:v>2.8041771099684256</c:v>
                </c:pt>
                <c:pt idx="1881">
                  <c:v>3.2918989077513325</c:v>
                </c:pt>
                <c:pt idx="1882">
                  <c:v>3.4538661919825921</c:v>
                </c:pt>
                <c:pt idx="1883">
                  <c:v>3.8618396889428737</c:v>
                </c:pt>
                <c:pt idx="1884">
                  <c:v>4.7445931700090522</c:v>
                </c:pt>
                <c:pt idx="1885">
                  <c:v>5.178989573626108</c:v>
                </c:pt>
                <c:pt idx="1886">
                  <c:v>5.4249835605772692</c:v>
                </c:pt>
                <c:pt idx="1887">
                  <c:v>5.6377345593250681</c:v>
                </c:pt>
                <c:pt idx="1888">
                  <c:v>5.9336962139034357</c:v>
                </c:pt>
                <c:pt idx="1889">
                  <c:v>5.4086636615917509</c:v>
                </c:pt>
                <c:pt idx="1890">
                  <c:v>6.3350635790449941</c:v>
                </c:pt>
                <c:pt idx="1891">
                  <c:v>6.598269918992858</c:v>
                </c:pt>
                <c:pt idx="1892">
                  <c:v>6.969486343694772</c:v>
                </c:pt>
                <c:pt idx="1893">
                  <c:v>7.4753994431820612</c:v>
                </c:pt>
                <c:pt idx="1894">
                  <c:v>7.9145648158839608</c:v>
                </c:pt>
                <c:pt idx="1895">
                  <c:v>7.9882614496634581</c:v>
                </c:pt>
                <c:pt idx="1896">
                  <c:v>8.1989158735657188</c:v>
                </c:pt>
                <c:pt idx="1897">
                  <c:v>3.8527975627090996</c:v>
                </c:pt>
                <c:pt idx="1898">
                  <c:v>4.3186422480523401</c:v>
                </c:pt>
                <c:pt idx="1899">
                  <c:v>4.2170235833257168</c:v>
                </c:pt>
                <c:pt idx="1900">
                  <c:v>3.4449461286183842</c:v>
                </c:pt>
                <c:pt idx="1901">
                  <c:v>2.8803388171967468</c:v>
                </c:pt>
                <c:pt idx="1902">
                  <c:v>2.6371009279712947</c:v>
                </c:pt>
                <c:pt idx="1903">
                  <c:v>2.7696341922265848</c:v>
                </c:pt>
                <c:pt idx="1904">
                  <c:v>3.8815544129323016</c:v>
                </c:pt>
                <c:pt idx="1905">
                  <c:v>4.0891593370211075</c:v>
                </c:pt>
                <c:pt idx="1906">
                  <c:v>4.048754970970549</c:v>
                </c:pt>
                <c:pt idx="1907">
                  <c:v>3.6022978883907708</c:v>
                </c:pt>
                <c:pt idx="1908">
                  <c:v>3.501653068518122</c:v>
                </c:pt>
                <c:pt idx="1909">
                  <c:v>3.3976358012873629</c:v>
                </c:pt>
                <c:pt idx="1910">
                  <c:v>3.3462854483507609</c:v>
                </c:pt>
                <c:pt idx="1911">
                  <c:v>3.4803935542239222</c:v>
                </c:pt>
                <c:pt idx="1912">
                  <c:v>3.9374799186732354</c:v>
                </c:pt>
                <c:pt idx="1913">
                  <c:v>3.7921975840846471</c:v>
                </c:pt>
                <c:pt idx="1914">
                  <c:v>2.2257764720651578</c:v>
                </c:pt>
                <c:pt idx="1915">
                  <c:v>2.2864389300226677</c:v>
                </c:pt>
                <c:pt idx="1916">
                  <c:v>2.6295395825054331</c:v>
                </c:pt>
                <c:pt idx="1917">
                  <c:v>4.0252309214091673</c:v>
                </c:pt>
                <c:pt idx="1918">
                  <c:v>4.4424364055598424</c:v>
                </c:pt>
                <c:pt idx="1919">
                  <c:v>4.5372962443203049</c:v>
                </c:pt>
                <c:pt idx="1920">
                  <c:v>4.9853143556176533</c:v>
                </c:pt>
                <c:pt idx="1921">
                  <c:v>6.6798503820578308</c:v>
                </c:pt>
                <c:pt idx="1922">
                  <c:v>6.1113177934832317</c:v>
                </c:pt>
                <c:pt idx="1923">
                  <c:v>4.1628109995134253</c:v>
                </c:pt>
                <c:pt idx="1924">
                  <c:v>5.3037164454492194</c:v>
                </c:pt>
                <c:pt idx="1925">
                  <c:v>4.52673776854256</c:v>
                </c:pt>
                <c:pt idx="1926">
                  <c:v>5.8050012994162294</c:v>
                </c:pt>
                <c:pt idx="1927">
                  <c:v>6.6773299388769249</c:v>
                </c:pt>
                <c:pt idx="1928">
                  <c:v>3.9168769740834302</c:v>
                </c:pt>
                <c:pt idx="1929">
                  <c:v>5.0578247540841339</c:v>
                </c:pt>
                <c:pt idx="1930">
                  <c:v>1.4499467268197757</c:v>
                </c:pt>
                <c:pt idx="1931">
                  <c:v>-1.356652779061343</c:v>
                </c:pt>
                <c:pt idx="1932">
                  <c:v>-1.3685500437944698</c:v>
                </c:pt>
                <c:pt idx="1933">
                  <c:v>-2.0711250871514957</c:v>
                </c:pt>
                <c:pt idx="1934">
                  <c:v>-1.7880557911011008</c:v>
                </c:pt>
                <c:pt idx="1935">
                  <c:v>-1.9796646710540766</c:v>
                </c:pt>
                <c:pt idx="1936">
                  <c:v>-2.6542756770896876</c:v>
                </c:pt>
                <c:pt idx="1937">
                  <c:v>-2.3003252999507868</c:v>
                </c:pt>
                <c:pt idx="1938">
                  <c:v>-0.80054379285143529</c:v>
                </c:pt>
                <c:pt idx="1939">
                  <c:v>-1.6676710465459876</c:v>
                </c:pt>
                <c:pt idx="1940">
                  <c:v>-1.4661961644724886</c:v>
                </c:pt>
                <c:pt idx="1941">
                  <c:v>7.9070575529438525E-2</c:v>
                </c:pt>
                <c:pt idx="1942">
                  <c:v>-0.32136111750583896</c:v>
                </c:pt>
                <c:pt idx="1943">
                  <c:v>0.44399522027034621</c:v>
                </c:pt>
                <c:pt idx="1944">
                  <c:v>0.80089534899600578</c:v>
                </c:pt>
                <c:pt idx="1945">
                  <c:v>1.1893876666458525</c:v>
                </c:pt>
                <c:pt idx="1946">
                  <c:v>3.1067347769799274</c:v>
                </c:pt>
                <c:pt idx="1947">
                  <c:v>4.171517339840479</c:v>
                </c:pt>
                <c:pt idx="1948">
                  <c:v>3.9941518888293723</c:v>
                </c:pt>
                <c:pt idx="1949">
                  <c:v>4.4925429572737485</c:v>
                </c:pt>
                <c:pt idx="1950">
                  <c:v>4.9387660272378504</c:v>
                </c:pt>
                <c:pt idx="1951">
                  <c:v>5.8252204993163943</c:v>
                </c:pt>
                <c:pt idx="1952">
                  <c:v>6.0355411152446052</c:v>
                </c:pt>
                <c:pt idx="1953">
                  <c:v>6.3915029299241626</c:v>
                </c:pt>
                <c:pt idx="1954">
                  <c:v>6.9056242491454451</c:v>
                </c:pt>
                <c:pt idx="1955">
                  <c:v>8.6242533289121166</c:v>
                </c:pt>
                <c:pt idx="1956">
                  <c:v>5.9906562211039738</c:v>
                </c:pt>
                <c:pt idx="1957">
                  <c:v>4.58625748696927</c:v>
                </c:pt>
                <c:pt idx="1958">
                  <c:v>5.224366161246528</c:v>
                </c:pt>
                <c:pt idx="1959">
                  <c:v>4.6237440540887427</c:v>
                </c:pt>
                <c:pt idx="1960">
                  <c:v>5.0592754608669326</c:v>
                </c:pt>
                <c:pt idx="1961">
                  <c:v>5.164618963946678</c:v>
                </c:pt>
                <c:pt idx="1962">
                  <c:v>4.0094994747068053</c:v>
                </c:pt>
                <c:pt idx="1963">
                  <c:v>4.5637652316988335</c:v>
                </c:pt>
                <c:pt idx="1964">
                  <c:v>4.3847565793478083</c:v>
                </c:pt>
                <c:pt idx="1965">
                  <c:v>4.0840374517372009</c:v>
                </c:pt>
                <c:pt idx="1966">
                  <c:v>3.5716857474953332</c:v>
                </c:pt>
                <c:pt idx="1967">
                  <c:v>3.9653313452216996</c:v>
                </c:pt>
                <c:pt idx="1968">
                  <c:v>3.9125885891766772</c:v>
                </c:pt>
                <c:pt idx="1969">
                  <c:v>4.1889755576372174</c:v>
                </c:pt>
                <c:pt idx="1970">
                  <c:v>3.6981796503845601</c:v>
                </c:pt>
                <c:pt idx="1971">
                  <c:v>4.6561797892541055</c:v>
                </c:pt>
                <c:pt idx="1972">
                  <c:v>3.9797782925422771</c:v>
                </c:pt>
                <c:pt idx="1973">
                  <c:v>2.1967065362966736</c:v>
                </c:pt>
                <c:pt idx="1974">
                  <c:v>2.6425723744487843</c:v>
                </c:pt>
                <c:pt idx="1975">
                  <c:v>3.4084425947071644</c:v>
                </c:pt>
                <c:pt idx="1976">
                  <c:v>2.6185185016848189</c:v>
                </c:pt>
                <c:pt idx="1977">
                  <c:v>2.1534972771988068</c:v>
                </c:pt>
                <c:pt idx="1978">
                  <c:v>0.31850575467244902</c:v>
                </c:pt>
                <c:pt idx="1979">
                  <c:v>-0.33248721259086511</c:v>
                </c:pt>
                <c:pt idx="1980">
                  <c:v>-0.47100096140834102</c:v>
                </c:pt>
                <c:pt idx="1981">
                  <c:v>-0.46466500329974125</c:v>
                </c:pt>
                <c:pt idx="1982">
                  <c:v>-0.34204124569014727</c:v>
                </c:pt>
                <c:pt idx="1983">
                  <c:v>-2.2431039532197494E-2</c:v>
                </c:pt>
                <c:pt idx="1984">
                  <c:v>0.37782005130412022</c:v>
                </c:pt>
                <c:pt idx="1985">
                  <c:v>0.33642404957273664</c:v>
                </c:pt>
                <c:pt idx="1986">
                  <c:v>0.2637242279850488</c:v>
                </c:pt>
                <c:pt idx="1987">
                  <c:v>0.16149100789759896</c:v>
                </c:pt>
                <c:pt idx="1988">
                  <c:v>4.5587071697875126E-2</c:v>
                </c:pt>
                <c:pt idx="1989">
                  <c:v>-0.29673748792467258</c:v>
                </c:pt>
                <c:pt idx="1990">
                  <c:v>0.91438919894297888</c:v>
                </c:pt>
                <c:pt idx="1991">
                  <c:v>1.6259775584567191</c:v>
                </c:pt>
                <c:pt idx="1992">
                  <c:v>1.1450127779213795</c:v>
                </c:pt>
                <c:pt idx="1993">
                  <c:v>1.7643698730885948</c:v>
                </c:pt>
                <c:pt idx="1994">
                  <c:v>4.3547327715785178</c:v>
                </c:pt>
                <c:pt idx="1995">
                  <c:v>4.1706923572055787</c:v>
                </c:pt>
                <c:pt idx="1996">
                  <c:v>4.3721156090077375</c:v>
                </c:pt>
                <c:pt idx="1997">
                  <c:v>4.3157098521157176</c:v>
                </c:pt>
                <c:pt idx="1998">
                  <c:v>5.2454087697306306</c:v>
                </c:pt>
                <c:pt idx="1999">
                  <c:v>4.4258746522990124</c:v>
                </c:pt>
                <c:pt idx="2000">
                  <c:v>4.4019072693473964</c:v>
                </c:pt>
                <c:pt idx="2001">
                  <c:v>4.7163774955055402</c:v>
                </c:pt>
                <c:pt idx="2002">
                  <c:v>3.2060864972457623</c:v>
                </c:pt>
                <c:pt idx="2003">
                  <c:v>3.3095625563733688</c:v>
                </c:pt>
                <c:pt idx="2004">
                  <c:v>3.1476672775478223</c:v>
                </c:pt>
                <c:pt idx="2005">
                  <c:v>3.1422956007839744</c:v>
                </c:pt>
                <c:pt idx="2006">
                  <c:v>3.3907936769050737</c:v>
                </c:pt>
                <c:pt idx="2007">
                  <c:v>3.1575504219491553</c:v>
                </c:pt>
                <c:pt idx="2008">
                  <c:v>2.9922091400759783</c:v>
                </c:pt>
                <c:pt idx="2009">
                  <c:v>3.2185513491952795</c:v>
                </c:pt>
                <c:pt idx="2010">
                  <c:v>3.4960645491732083</c:v>
                </c:pt>
                <c:pt idx="2011">
                  <c:v>4.5977866306250963</c:v>
                </c:pt>
                <c:pt idx="2012">
                  <c:v>4.1269489875907821</c:v>
                </c:pt>
                <c:pt idx="2013">
                  <c:v>3.193679170150804</c:v>
                </c:pt>
                <c:pt idx="2014">
                  <c:v>3.6066687499644074</c:v>
                </c:pt>
                <c:pt idx="2015">
                  <c:v>3.9934837363603481</c:v>
                </c:pt>
                <c:pt idx="2016">
                  <c:v>4.3910682223330433</c:v>
                </c:pt>
                <c:pt idx="2017">
                  <c:v>5.0454554085467809</c:v>
                </c:pt>
                <c:pt idx="2018">
                  <c:v>5.7480071142530909</c:v>
                </c:pt>
                <c:pt idx="2019">
                  <c:v>6.2567460749364896</c:v>
                </c:pt>
                <c:pt idx="2020">
                  <c:v>5.7179670825809117</c:v>
                </c:pt>
                <c:pt idx="2021">
                  <c:v>4.6533584973334943</c:v>
                </c:pt>
                <c:pt idx="2022">
                  <c:v>5.0799412106666306</c:v>
                </c:pt>
                <c:pt idx="2023">
                  <c:v>5.3130010356106343</c:v>
                </c:pt>
                <c:pt idx="2024">
                  <c:v>5.4784091310865497</c:v>
                </c:pt>
                <c:pt idx="2025">
                  <c:v>6.1850761157329579</c:v>
                </c:pt>
                <c:pt idx="2026">
                  <c:v>5.5455639750210652</c:v>
                </c:pt>
                <c:pt idx="2027">
                  <c:v>5.7253693347184722</c:v>
                </c:pt>
                <c:pt idx="2028">
                  <c:v>5.3539924297403081</c:v>
                </c:pt>
                <c:pt idx="2029">
                  <c:v>5.6453125186318589</c:v>
                </c:pt>
                <c:pt idx="2030">
                  <c:v>4.9101126065957006</c:v>
                </c:pt>
                <c:pt idx="2031">
                  <c:v>4.5813084224203946</c:v>
                </c:pt>
                <c:pt idx="2032">
                  <c:v>4.1885880820973433</c:v>
                </c:pt>
                <c:pt idx="2033">
                  <c:v>5.0905953200078287</c:v>
                </c:pt>
                <c:pt idx="2034">
                  <c:v>5.1571709225324174</c:v>
                </c:pt>
                <c:pt idx="2035">
                  <c:v>4.6627749124630178</c:v>
                </c:pt>
                <c:pt idx="2036">
                  <c:v>5.5532724924949637</c:v>
                </c:pt>
                <c:pt idx="2037">
                  <c:v>5.6465186274149826</c:v>
                </c:pt>
                <c:pt idx="2038">
                  <c:v>5.2828805012619471</c:v>
                </c:pt>
                <c:pt idx="2039">
                  <c:v>5.3376751796646262</c:v>
                </c:pt>
                <c:pt idx="2040">
                  <c:v>4.288250194329053</c:v>
                </c:pt>
                <c:pt idx="2041">
                  <c:v>6.8784257004555149</c:v>
                </c:pt>
                <c:pt idx="2042">
                  <c:v>3.5913432616382539</c:v>
                </c:pt>
                <c:pt idx="2043">
                  <c:v>4.2988204533561527</c:v>
                </c:pt>
                <c:pt idx="2044">
                  <c:v>3.5675679407429035</c:v>
                </c:pt>
                <c:pt idx="2045">
                  <c:v>3.2441883046206752</c:v>
                </c:pt>
                <c:pt idx="2046">
                  <c:v>3.6960515172467026</c:v>
                </c:pt>
                <c:pt idx="2047">
                  <c:v>4.3301428862228404</c:v>
                </c:pt>
                <c:pt idx="2048">
                  <c:v>4.215650286005439</c:v>
                </c:pt>
                <c:pt idx="2049">
                  <c:v>4.7518394694594459</c:v>
                </c:pt>
                <c:pt idx="2050">
                  <c:v>5.1447033229769055</c:v>
                </c:pt>
                <c:pt idx="2051">
                  <c:v>6.0996867149003622</c:v>
                </c:pt>
                <c:pt idx="2052">
                  <c:v>6.4512508509247359</c:v>
                </c:pt>
                <c:pt idx="2053">
                  <c:v>4.1478897487286224</c:v>
                </c:pt>
                <c:pt idx="2054">
                  <c:v>5.6641525284883478</c:v>
                </c:pt>
                <c:pt idx="2055">
                  <c:v>5.3604548025919199</c:v>
                </c:pt>
                <c:pt idx="2056">
                  <c:v>5.5907525143680026</c:v>
                </c:pt>
                <c:pt idx="2057">
                  <c:v>3.8206847367277379</c:v>
                </c:pt>
                <c:pt idx="2058">
                  <c:v>2.3910850839177016</c:v>
                </c:pt>
                <c:pt idx="2059">
                  <c:v>2.2936283282356156</c:v>
                </c:pt>
                <c:pt idx="2060">
                  <c:v>0.88654124863040695</c:v>
                </c:pt>
                <c:pt idx="2061">
                  <c:v>1.0141467737581524</c:v>
                </c:pt>
                <c:pt idx="2062">
                  <c:v>2.4096050941917873</c:v>
                </c:pt>
                <c:pt idx="2063">
                  <c:v>1.1340024901491454</c:v>
                </c:pt>
                <c:pt idx="2064">
                  <c:v>1.0249236593227795</c:v>
                </c:pt>
                <c:pt idx="2065">
                  <c:v>0.57658375371379544</c:v>
                </c:pt>
                <c:pt idx="2066">
                  <c:v>0.50816252965668329</c:v>
                </c:pt>
                <c:pt idx="2067">
                  <c:v>0.34079303660163596</c:v>
                </c:pt>
                <c:pt idx="2068">
                  <c:v>0.45551262657187591</c:v>
                </c:pt>
                <c:pt idx="2069">
                  <c:v>0.54227064187543506</c:v>
                </c:pt>
                <c:pt idx="2070">
                  <c:v>0.69217902038957446</c:v>
                </c:pt>
                <c:pt idx="2071">
                  <c:v>4.1001104996814721</c:v>
                </c:pt>
                <c:pt idx="2072">
                  <c:v>4.1979353396178407</c:v>
                </c:pt>
                <c:pt idx="2073">
                  <c:v>4.6690070075056598</c:v>
                </c:pt>
                <c:pt idx="2074">
                  <c:v>5.9848272771645714</c:v>
                </c:pt>
                <c:pt idx="2075">
                  <c:v>6.1758954577299585</c:v>
                </c:pt>
                <c:pt idx="2076">
                  <c:v>6.1980493017711353</c:v>
                </c:pt>
                <c:pt idx="2077">
                  <c:v>7.4830550913688816</c:v>
                </c:pt>
                <c:pt idx="2078">
                  <c:v>7.5557137909086167</c:v>
                </c:pt>
                <c:pt idx="2079">
                  <c:v>6.9881989896014058</c:v>
                </c:pt>
                <c:pt idx="2080">
                  <c:v>7.2238916001710312</c:v>
                </c:pt>
                <c:pt idx="2081">
                  <c:v>7.296937905656292</c:v>
                </c:pt>
                <c:pt idx="2082">
                  <c:v>8.0906392085730392</c:v>
                </c:pt>
                <c:pt idx="2083">
                  <c:v>6.8690127493753304</c:v>
                </c:pt>
                <c:pt idx="2084">
                  <c:v>7.005973201710133</c:v>
                </c:pt>
                <c:pt idx="2085">
                  <c:v>6.2125956310958026</c:v>
                </c:pt>
                <c:pt idx="2086">
                  <c:v>6.3473300302063178</c:v>
                </c:pt>
                <c:pt idx="2087">
                  <c:v>7.2288556755356437</c:v>
                </c:pt>
                <c:pt idx="2088">
                  <c:v>8.3843356970248202</c:v>
                </c:pt>
                <c:pt idx="2089">
                  <c:v>6.1179353006451516</c:v>
                </c:pt>
                <c:pt idx="2090">
                  <c:v>6.451155643801842</c:v>
                </c:pt>
                <c:pt idx="2091">
                  <c:v>5.0843391865890641</c:v>
                </c:pt>
                <c:pt idx="2092">
                  <c:v>6.2845341206002105</c:v>
                </c:pt>
                <c:pt idx="2093">
                  <c:v>6.5848252401153635</c:v>
                </c:pt>
                <c:pt idx="2094">
                  <c:v>6.0080631078166347</c:v>
                </c:pt>
                <c:pt idx="2095">
                  <c:v>5.4470188303209737</c:v>
                </c:pt>
                <c:pt idx="2096">
                  <c:v>3.1643153713826684</c:v>
                </c:pt>
                <c:pt idx="2097">
                  <c:v>4.0982611145015957</c:v>
                </c:pt>
                <c:pt idx="2098">
                  <c:v>4.8893557770775464</c:v>
                </c:pt>
                <c:pt idx="2099">
                  <c:v>1.2092200394926396</c:v>
                </c:pt>
                <c:pt idx="2100">
                  <c:v>3.1427382583046697</c:v>
                </c:pt>
                <c:pt idx="2101">
                  <c:v>5.3040669180632358</c:v>
                </c:pt>
                <c:pt idx="2102">
                  <c:v>7.9015056448698386</c:v>
                </c:pt>
                <c:pt idx="2103">
                  <c:v>6.4045804451707102</c:v>
                </c:pt>
                <c:pt idx="2104">
                  <c:v>9.8604541972842128</c:v>
                </c:pt>
                <c:pt idx="2105">
                  <c:v>9.0509531157622973</c:v>
                </c:pt>
                <c:pt idx="2106">
                  <c:v>4.8189058247346619</c:v>
                </c:pt>
                <c:pt idx="2107">
                  <c:v>0.97079312839900567</c:v>
                </c:pt>
                <c:pt idx="2108">
                  <c:v>-3.061288615148225</c:v>
                </c:pt>
                <c:pt idx="2109">
                  <c:v>-1.0950543911652622</c:v>
                </c:pt>
                <c:pt idx="2110">
                  <c:v>-2.2474286991989558</c:v>
                </c:pt>
                <c:pt idx="2111">
                  <c:v>-2.5796347040813323</c:v>
                </c:pt>
                <c:pt idx="2112">
                  <c:v>-2.6378148635685719</c:v>
                </c:pt>
                <c:pt idx="2113">
                  <c:v>-4.7589369824253378</c:v>
                </c:pt>
                <c:pt idx="2114">
                  <c:v>-3.3263390449821211</c:v>
                </c:pt>
                <c:pt idx="2115">
                  <c:v>-4.0466759746570462</c:v>
                </c:pt>
                <c:pt idx="2116">
                  <c:v>-4.5771528044454026</c:v>
                </c:pt>
                <c:pt idx="2117">
                  <c:v>-3.8550913675034688</c:v>
                </c:pt>
                <c:pt idx="2118">
                  <c:v>-2.7241701197184942</c:v>
                </c:pt>
                <c:pt idx="2119">
                  <c:v>-2.5608009434458401</c:v>
                </c:pt>
                <c:pt idx="2120">
                  <c:v>-0.85613138863503135</c:v>
                </c:pt>
                <c:pt idx="2121">
                  <c:v>-0.45599714962547278</c:v>
                </c:pt>
                <c:pt idx="2122">
                  <c:v>1.2800509505170337</c:v>
                </c:pt>
                <c:pt idx="2123">
                  <c:v>1.499080565185934</c:v>
                </c:pt>
                <c:pt idx="2124">
                  <c:v>2.3801546301533416</c:v>
                </c:pt>
                <c:pt idx="2125">
                  <c:v>3.17022784070185</c:v>
                </c:pt>
                <c:pt idx="2126">
                  <c:v>3.0585380777132589</c:v>
                </c:pt>
                <c:pt idx="2127">
                  <c:v>3.872242943863788</c:v>
                </c:pt>
                <c:pt idx="2128">
                  <c:v>5.6241017162008449</c:v>
                </c:pt>
                <c:pt idx="2129">
                  <c:v>6.4427540784266126</c:v>
                </c:pt>
                <c:pt idx="2130">
                  <c:v>6.8852389935051832</c:v>
                </c:pt>
                <c:pt idx="2131">
                  <c:v>6.3361647980386042</c:v>
                </c:pt>
                <c:pt idx="2132">
                  <c:v>6.2246477483618907</c:v>
                </c:pt>
                <c:pt idx="2133">
                  <c:v>6.7267820644983907</c:v>
                </c:pt>
                <c:pt idx="2134">
                  <c:v>6.6915263824205375</c:v>
                </c:pt>
                <c:pt idx="2135">
                  <c:v>7.912505872956495</c:v>
                </c:pt>
                <c:pt idx="2136">
                  <c:v>9.3829771777849018</c:v>
                </c:pt>
                <c:pt idx="2137">
                  <c:v>7.589270803013326</c:v>
                </c:pt>
                <c:pt idx="2138">
                  <c:v>7.3603818703752237</c:v>
                </c:pt>
                <c:pt idx="2139">
                  <c:v>7.4345939592736059</c:v>
                </c:pt>
                <c:pt idx="2140">
                  <c:v>6.9650597904013205</c:v>
                </c:pt>
                <c:pt idx="2141">
                  <c:v>8.519638197265655</c:v>
                </c:pt>
                <c:pt idx="2142">
                  <c:v>9.2647881643078875</c:v>
                </c:pt>
                <c:pt idx="2143">
                  <c:v>10.279738144900262</c:v>
                </c:pt>
                <c:pt idx="2144">
                  <c:v>11.653944667588807</c:v>
                </c:pt>
                <c:pt idx="2145">
                  <c:v>10.872568181674296</c:v>
                </c:pt>
                <c:pt idx="2146">
                  <c:v>10.0440190410373</c:v>
                </c:pt>
                <c:pt idx="2147">
                  <c:v>12.911648862434665</c:v>
                </c:pt>
                <c:pt idx="2148">
                  <c:v>6.4293488965232068</c:v>
                </c:pt>
                <c:pt idx="2149">
                  <c:v>1.1301340721982855</c:v>
                </c:pt>
                <c:pt idx="2150">
                  <c:v>0.74676764788172145</c:v>
                </c:pt>
                <c:pt idx="2151">
                  <c:v>-0.44393039956619196</c:v>
                </c:pt>
                <c:pt idx="2152">
                  <c:v>-0.87538116113756725</c:v>
                </c:pt>
                <c:pt idx="2153">
                  <c:v>-1.2970120219803398</c:v>
                </c:pt>
                <c:pt idx="2154">
                  <c:v>-1.178408462070174</c:v>
                </c:pt>
                <c:pt idx="2155">
                  <c:v>-0.58059643218699719</c:v>
                </c:pt>
                <c:pt idx="2156">
                  <c:v>0.38702434362613281</c:v>
                </c:pt>
                <c:pt idx="2157">
                  <c:v>3.3512933135110194</c:v>
                </c:pt>
                <c:pt idx="2158">
                  <c:v>2.0099123196806818</c:v>
                </c:pt>
                <c:pt idx="2159">
                  <c:v>2.884873137691768</c:v>
                </c:pt>
                <c:pt idx="2160">
                  <c:v>3.9112346890677911</c:v>
                </c:pt>
                <c:pt idx="2161">
                  <c:v>1.6067792803946519</c:v>
                </c:pt>
                <c:pt idx="2162">
                  <c:v>-1.8834774335853983</c:v>
                </c:pt>
                <c:pt idx="2163">
                  <c:v>-0.61073611634229474</c:v>
                </c:pt>
                <c:pt idx="2164">
                  <c:v>1.2606191346492213</c:v>
                </c:pt>
                <c:pt idx="2165">
                  <c:v>3.2061596422098466</c:v>
                </c:pt>
                <c:pt idx="2166">
                  <c:v>4.1531532874437787</c:v>
                </c:pt>
                <c:pt idx="2167">
                  <c:v>5.0079737957725996</c:v>
                </c:pt>
                <c:pt idx="2168">
                  <c:v>4.4430691282644927</c:v>
                </c:pt>
                <c:pt idx="2169">
                  <c:v>5.8974557562634731</c:v>
                </c:pt>
                <c:pt idx="2170">
                  <c:v>4.8489476171598875</c:v>
                </c:pt>
                <c:pt idx="2171">
                  <c:v>1.3486251283504642</c:v>
                </c:pt>
                <c:pt idx="2172">
                  <c:v>1.5240000985082296</c:v>
                </c:pt>
                <c:pt idx="2173">
                  <c:v>0.33952491309555966</c:v>
                </c:pt>
                <c:pt idx="2174">
                  <c:v>1.4542409744946889</c:v>
                </c:pt>
                <c:pt idx="2175">
                  <c:v>4.1289309198186714</c:v>
                </c:pt>
                <c:pt idx="2176">
                  <c:v>1.9765815487112592</c:v>
                </c:pt>
                <c:pt idx="2177">
                  <c:v>3.9690685376549464</c:v>
                </c:pt>
                <c:pt idx="2178">
                  <c:v>1.6708865129639898</c:v>
                </c:pt>
                <c:pt idx="2179">
                  <c:v>5.7286149051008484E-2</c:v>
                </c:pt>
                <c:pt idx="2180">
                  <c:v>1.3300970342566747</c:v>
                </c:pt>
                <c:pt idx="2181">
                  <c:v>-4.6588672268574327E-2</c:v>
                </c:pt>
                <c:pt idx="2182">
                  <c:v>1.5605975246598347</c:v>
                </c:pt>
                <c:pt idx="2183">
                  <c:v>3.0440648636423315</c:v>
                </c:pt>
                <c:pt idx="2184">
                  <c:v>1.6073964041353501</c:v>
                </c:pt>
                <c:pt idx="2185">
                  <c:v>1.3884928855789096</c:v>
                </c:pt>
                <c:pt idx="2186">
                  <c:v>-0.2821953752221662</c:v>
                </c:pt>
                <c:pt idx="2187">
                  <c:v>-0.37454127277254112</c:v>
                </c:pt>
                <c:pt idx="2188">
                  <c:v>1.2836425343042024</c:v>
                </c:pt>
                <c:pt idx="2189">
                  <c:v>0.91151998911571386</c:v>
                </c:pt>
                <c:pt idx="2190">
                  <c:v>0.7569136903684659</c:v>
                </c:pt>
                <c:pt idx="2191">
                  <c:v>0.55398425620843961</c:v>
                </c:pt>
                <c:pt idx="2192">
                  <c:v>1.0247049854704899</c:v>
                </c:pt>
                <c:pt idx="2193">
                  <c:v>0.15235211854094932</c:v>
                </c:pt>
                <c:pt idx="2194">
                  <c:v>1.4520775594361823</c:v>
                </c:pt>
                <c:pt idx="2195">
                  <c:v>2.8758102286530058</c:v>
                </c:pt>
                <c:pt idx="2196">
                  <c:v>2.4466457647050062</c:v>
                </c:pt>
                <c:pt idx="2197">
                  <c:v>3.6474807451438385</c:v>
                </c:pt>
                <c:pt idx="2198">
                  <c:v>4.8759241841256449</c:v>
                </c:pt>
                <c:pt idx="2199">
                  <c:v>6.2201662104902962</c:v>
                </c:pt>
                <c:pt idx="2200">
                  <c:v>6.2815422524698166</c:v>
                </c:pt>
                <c:pt idx="2201">
                  <c:v>6.3299422534150604</c:v>
                </c:pt>
                <c:pt idx="2202">
                  <c:v>6.2052650494491397</c:v>
                </c:pt>
                <c:pt idx="2203">
                  <c:v>5.9337115511231548</c:v>
                </c:pt>
                <c:pt idx="2204">
                  <c:v>6.8710836047968415</c:v>
                </c:pt>
                <c:pt idx="2205">
                  <c:v>4.373287620098659</c:v>
                </c:pt>
                <c:pt idx="2206">
                  <c:v>5.3772669029863565</c:v>
                </c:pt>
                <c:pt idx="2207">
                  <c:v>3.942057989135106</c:v>
                </c:pt>
                <c:pt idx="2208">
                  <c:v>3.9717361089599281</c:v>
                </c:pt>
                <c:pt idx="2209">
                  <c:v>1.4397594330549102</c:v>
                </c:pt>
                <c:pt idx="2210">
                  <c:v>1.4240394003530277</c:v>
                </c:pt>
                <c:pt idx="2211">
                  <c:v>0.14584926265977793</c:v>
                </c:pt>
                <c:pt idx="2212">
                  <c:v>0.52191913757146657</c:v>
                </c:pt>
                <c:pt idx="2213">
                  <c:v>0.60826383640786297</c:v>
                </c:pt>
                <c:pt idx="2214">
                  <c:v>1.4982564702257699</c:v>
                </c:pt>
                <c:pt idx="2215">
                  <c:v>1.8527492030386368</c:v>
                </c:pt>
                <c:pt idx="2216">
                  <c:v>1.0782715625363981</c:v>
                </c:pt>
                <c:pt idx="2217">
                  <c:v>-4.5965008365597693E-2</c:v>
                </c:pt>
                <c:pt idx="2218">
                  <c:v>0.507599825007779</c:v>
                </c:pt>
                <c:pt idx="2219">
                  <c:v>0.33996029040910536</c:v>
                </c:pt>
                <c:pt idx="2220">
                  <c:v>-0.16752117694000812</c:v>
                </c:pt>
                <c:pt idx="2221">
                  <c:v>0.57959515941873319</c:v>
                </c:pt>
                <c:pt idx="2222">
                  <c:v>0.6680660634617086</c:v>
                </c:pt>
                <c:pt idx="2223">
                  <c:v>1.3673080415211176</c:v>
                </c:pt>
                <c:pt idx="2224">
                  <c:v>0.46458276444496793</c:v>
                </c:pt>
                <c:pt idx="2225">
                  <c:v>0.57101576319210368</c:v>
                </c:pt>
                <c:pt idx="2226">
                  <c:v>2.035048817281905</c:v>
                </c:pt>
                <c:pt idx="2227">
                  <c:v>2.7093272574156222</c:v>
                </c:pt>
                <c:pt idx="2228">
                  <c:v>1.8443252264688819</c:v>
                </c:pt>
                <c:pt idx="2229">
                  <c:v>2.4433557631939342</c:v>
                </c:pt>
                <c:pt idx="2230">
                  <c:v>3.0686421320201203</c:v>
                </c:pt>
                <c:pt idx="2231">
                  <c:v>2.4536250617016755</c:v>
                </c:pt>
                <c:pt idx="2232">
                  <c:v>2.4082934570337806</c:v>
                </c:pt>
                <c:pt idx="2233">
                  <c:v>1.958404059976153</c:v>
                </c:pt>
                <c:pt idx="2234">
                  <c:v>3.3086484517722421</c:v>
                </c:pt>
                <c:pt idx="2235">
                  <c:v>3.2144906469259453</c:v>
                </c:pt>
                <c:pt idx="2236">
                  <c:v>3.8370208099304985</c:v>
                </c:pt>
                <c:pt idx="2237">
                  <c:v>4.0525805475827887</c:v>
                </c:pt>
                <c:pt idx="2238">
                  <c:v>5.6266746951003723</c:v>
                </c:pt>
                <c:pt idx="2239">
                  <c:v>5.9941348761903797</c:v>
                </c:pt>
                <c:pt idx="2240">
                  <c:v>3.4458417200416287</c:v>
                </c:pt>
                <c:pt idx="2241">
                  <c:v>3.8002144258322073</c:v>
                </c:pt>
                <c:pt idx="2242">
                  <c:v>4.2299985018310782</c:v>
                </c:pt>
                <c:pt idx="2243">
                  <c:v>4.973640795505621</c:v>
                </c:pt>
                <c:pt idx="2244">
                  <c:v>4.9906803658380943</c:v>
                </c:pt>
                <c:pt idx="2245">
                  <c:v>1.7849052174148297</c:v>
                </c:pt>
                <c:pt idx="2246">
                  <c:v>2.7433413465979744</c:v>
                </c:pt>
                <c:pt idx="2247">
                  <c:v>2.7066215814583821</c:v>
                </c:pt>
                <c:pt idx="2248">
                  <c:v>2.7677581179235369</c:v>
                </c:pt>
                <c:pt idx="2249">
                  <c:v>1.0905657562604851</c:v>
                </c:pt>
                <c:pt idx="2250">
                  <c:v>1.5902688547507926</c:v>
                </c:pt>
                <c:pt idx="2251">
                  <c:v>2.3473247438545606</c:v>
                </c:pt>
                <c:pt idx="2252">
                  <c:v>2.4862344628534871</c:v>
                </c:pt>
                <c:pt idx="2253">
                  <c:v>2.6321016090471954</c:v>
                </c:pt>
                <c:pt idx="2254">
                  <c:v>1.8625942776271651</c:v>
                </c:pt>
                <c:pt idx="2255">
                  <c:v>1.8650455297890181</c:v>
                </c:pt>
                <c:pt idx="2256">
                  <c:v>3.2284654657721679</c:v>
                </c:pt>
                <c:pt idx="2257">
                  <c:v>1.9889264417384978</c:v>
                </c:pt>
                <c:pt idx="2258">
                  <c:v>2.1101305544964895</c:v>
                </c:pt>
                <c:pt idx="2259">
                  <c:v>3.0425274632423074</c:v>
                </c:pt>
                <c:pt idx="2260">
                  <c:v>3.8606901068695314</c:v>
                </c:pt>
                <c:pt idx="2261">
                  <c:v>4.1815883843016159</c:v>
                </c:pt>
                <c:pt idx="2262">
                  <c:v>4.5999241604056964</c:v>
                </c:pt>
                <c:pt idx="2263">
                  <c:v>5.2272308414941353</c:v>
                </c:pt>
                <c:pt idx="2264">
                  <c:v>4.7943648238436358</c:v>
                </c:pt>
                <c:pt idx="2265">
                  <c:v>7.0110966849398837</c:v>
                </c:pt>
                <c:pt idx="2266">
                  <c:v>6.3340651164426509</c:v>
                </c:pt>
                <c:pt idx="2267">
                  <c:v>4.0033991324473686</c:v>
                </c:pt>
                <c:pt idx="2268">
                  <c:v>3.6181200626664869</c:v>
                </c:pt>
                <c:pt idx="2269">
                  <c:v>5.0857877751698952</c:v>
                </c:pt>
                <c:pt idx="2270">
                  <c:v>6.6009552527974984</c:v>
                </c:pt>
                <c:pt idx="2271">
                  <c:v>5.8167963738428892</c:v>
                </c:pt>
                <c:pt idx="2272">
                  <c:v>5.4535887159220531</c:v>
                </c:pt>
                <c:pt idx="2273">
                  <c:v>3.4082246523286064</c:v>
                </c:pt>
                <c:pt idx="2274">
                  <c:v>4.0553750316003807</c:v>
                </c:pt>
                <c:pt idx="2275">
                  <c:v>2.5930761164843092</c:v>
                </c:pt>
                <c:pt idx="2276">
                  <c:v>2.7148814571801587</c:v>
                </c:pt>
                <c:pt idx="2277">
                  <c:v>4.0554420962068338</c:v>
                </c:pt>
                <c:pt idx="2278">
                  <c:v>4.7629533058414957</c:v>
                </c:pt>
                <c:pt idx="2279">
                  <c:v>5.0391707467772617</c:v>
                </c:pt>
                <c:pt idx="2280">
                  <c:v>7.2458277034201091</c:v>
                </c:pt>
                <c:pt idx="2281">
                  <c:v>6.5411801942345829</c:v>
                </c:pt>
                <c:pt idx="2282">
                  <c:v>4.1051745640197197</c:v>
                </c:pt>
                <c:pt idx="2283">
                  <c:v>5.163511293391573</c:v>
                </c:pt>
                <c:pt idx="2284">
                  <c:v>5.3244113557570056</c:v>
                </c:pt>
                <c:pt idx="2285">
                  <c:v>4.3975813136364268</c:v>
                </c:pt>
                <c:pt idx="2286">
                  <c:v>6.5316507769987124</c:v>
                </c:pt>
                <c:pt idx="2287">
                  <c:v>7.6691404508257346</c:v>
                </c:pt>
                <c:pt idx="2288">
                  <c:v>3.6488910847388727</c:v>
                </c:pt>
                <c:pt idx="2289">
                  <c:v>0.30588669379278677</c:v>
                </c:pt>
                <c:pt idx="2290">
                  <c:v>-0.183959905806233</c:v>
                </c:pt>
                <c:pt idx="2291">
                  <c:v>-0.19511552528451992</c:v>
                </c:pt>
                <c:pt idx="2292">
                  <c:v>-1.5833017613403153</c:v>
                </c:pt>
                <c:pt idx="2293">
                  <c:v>-1.301133760466483</c:v>
                </c:pt>
                <c:pt idx="2294">
                  <c:v>-0.84464755401313374</c:v>
                </c:pt>
                <c:pt idx="2295">
                  <c:v>-0.79792683872580428</c:v>
                </c:pt>
                <c:pt idx="2296">
                  <c:v>-0.91998249881361094</c:v>
                </c:pt>
                <c:pt idx="2297">
                  <c:v>-0.29062782167608714</c:v>
                </c:pt>
                <c:pt idx="2298">
                  <c:v>0.29877245013169018</c:v>
                </c:pt>
                <c:pt idx="2299">
                  <c:v>2.03071259112326</c:v>
                </c:pt>
                <c:pt idx="2300">
                  <c:v>1.3965476475834224</c:v>
                </c:pt>
                <c:pt idx="2301">
                  <c:v>0.25399350454831382</c:v>
                </c:pt>
                <c:pt idx="2302">
                  <c:v>7.5807765187223264E-2</c:v>
                </c:pt>
                <c:pt idx="2303">
                  <c:v>2.2887219031215988E-2</c:v>
                </c:pt>
                <c:pt idx="2304">
                  <c:v>0.51147882083194673</c:v>
                </c:pt>
                <c:pt idx="2305">
                  <c:v>1.0812622321292029</c:v>
                </c:pt>
                <c:pt idx="2306">
                  <c:v>2.4206731091393081</c:v>
                </c:pt>
                <c:pt idx="2307">
                  <c:v>3.1917900901586664</c:v>
                </c:pt>
                <c:pt idx="2308">
                  <c:v>3.6604026235734222</c:v>
                </c:pt>
                <c:pt idx="2309">
                  <c:v>2.2272999860202245</c:v>
                </c:pt>
                <c:pt idx="2310">
                  <c:v>3.2809906685522665</c:v>
                </c:pt>
                <c:pt idx="2311">
                  <c:v>3.1668916542835697</c:v>
                </c:pt>
                <c:pt idx="2312">
                  <c:v>3.5399308686611066</c:v>
                </c:pt>
                <c:pt idx="2313">
                  <c:v>2.7536330804106472</c:v>
                </c:pt>
                <c:pt idx="2314">
                  <c:v>2.7299513635352755</c:v>
                </c:pt>
                <c:pt idx="2315">
                  <c:v>3.5610810326755655</c:v>
                </c:pt>
                <c:pt idx="2316">
                  <c:v>4.6703905678442235</c:v>
                </c:pt>
                <c:pt idx="2317">
                  <c:v>6.3762109644393661</c:v>
                </c:pt>
                <c:pt idx="2318">
                  <c:v>11.470257257963862</c:v>
                </c:pt>
                <c:pt idx="2319">
                  <c:v>19.483051365633763</c:v>
                </c:pt>
                <c:pt idx="2320">
                  <c:v>15.487546774045938</c:v>
                </c:pt>
                <c:pt idx="2321">
                  <c:v>4.8343467195508918</c:v>
                </c:pt>
                <c:pt idx="2322">
                  <c:v>-1.2598785647679245</c:v>
                </c:pt>
                <c:pt idx="2323">
                  <c:v>-1.3384996724563558</c:v>
                </c:pt>
                <c:pt idx="2324">
                  <c:v>0.96908922988071522</c:v>
                </c:pt>
                <c:pt idx="2325">
                  <c:v>2.3297903322331392</c:v>
                </c:pt>
                <c:pt idx="2326">
                  <c:v>-3.9722163012981038</c:v>
                </c:pt>
                <c:pt idx="2327">
                  <c:v>-4.4600157717108067</c:v>
                </c:pt>
                <c:pt idx="2328">
                  <c:v>-2.577025471466893</c:v>
                </c:pt>
                <c:pt idx="2329">
                  <c:v>-6.6312437727225841</c:v>
                </c:pt>
                <c:pt idx="2330">
                  <c:v>-5.4556714432292157</c:v>
                </c:pt>
                <c:pt idx="2331">
                  <c:v>-7.4333497633448404</c:v>
                </c:pt>
                <c:pt idx="2332">
                  <c:v>-8.7175899780870374</c:v>
                </c:pt>
                <c:pt idx="2333">
                  <c:v>-7.5633714342159823</c:v>
                </c:pt>
                <c:pt idx="2334">
                  <c:v>-9.6555233530323026</c:v>
                </c:pt>
                <c:pt idx="2335">
                  <c:v>-11.113638915398077</c:v>
                </c:pt>
                <c:pt idx="2336">
                  <c:v>-11.251369871974806</c:v>
                </c:pt>
                <c:pt idx="2337">
                  <c:v>-9.7647707361055875</c:v>
                </c:pt>
                <c:pt idx="2338">
                  <c:v>-9.8711508262410845</c:v>
                </c:pt>
                <c:pt idx="2339">
                  <c:v>-4.0588597533937429</c:v>
                </c:pt>
                <c:pt idx="2340">
                  <c:v>-3.8183482531321813</c:v>
                </c:pt>
                <c:pt idx="2341">
                  <c:v>1.3452622331598523</c:v>
                </c:pt>
                <c:pt idx="2342">
                  <c:v>3.4276068872903407</c:v>
                </c:pt>
                <c:pt idx="2343">
                  <c:v>5.6638718410090414</c:v>
                </c:pt>
                <c:pt idx="2344">
                  <c:v>4.9264408310081889</c:v>
                </c:pt>
                <c:pt idx="2345">
                  <c:v>3.9731428075000128</c:v>
                </c:pt>
                <c:pt idx="2346">
                  <c:v>3.127250858055894</c:v>
                </c:pt>
                <c:pt idx="2347">
                  <c:v>0.81618079423677881</c:v>
                </c:pt>
                <c:pt idx="2348">
                  <c:v>-0.69259424792451341</c:v>
                </c:pt>
                <c:pt idx="2349">
                  <c:v>1.0421422456288827</c:v>
                </c:pt>
                <c:pt idx="2350">
                  <c:v>0.65831598022478011</c:v>
                </c:pt>
                <c:pt idx="2351">
                  <c:v>-0.46742258533094272</c:v>
                </c:pt>
                <c:pt idx="2352">
                  <c:v>-0.77531849900804306</c:v>
                </c:pt>
                <c:pt idx="2353">
                  <c:v>-1.5691953945978554</c:v>
                </c:pt>
                <c:pt idx="2354">
                  <c:v>0.19916662705872779</c:v>
                </c:pt>
                <c:pt idx="2355">
                  <c:v>0.72900815897457005</c:v>
                </c:pt>
                <c:pt idx="2356">
                  <c:v>-1.9893791098741538</c:v>
                </c:pt>
                <c:pt idx="2357">
                  <c:v>-1.8446862199444163</c:v>
                </c:pt>
                <c:pt idx="2358">
                  <c:v>-1.8931878031114264</c:v>
                </c:pt>
                <c:pt idx="2359">
                  <c:v>-0.34176506156654018</c:v>
                </c:pt>
                <c:pt idx="2360">
                  <c:v>0.41971779332980463</c:v>
                </c:pt>
                <c:pt idx="2361">
                  <c:v>-2.4710459340621993</c:v>
                </c:pt>
                <c:pt idx="2362">
                  <c:v>-2.6346781787806055</c:v>
                </c:pt>
                <c:pt idx="2363">
                  <c:v>2.013850563132638</c:v>
                </c:pt>
                <c:pt idx="2364">
                  <c:v>1.9523420191312424</c:v>
                </c:pt>
                <c:pt idx="2365">
                  <c:v>1.6400599405279603</c:v>
                </c:pt>
                <c:pt idx="2366">
                  <c:v>1.8335890081440154</c:v>
                </c:pt>
                <c:pt idx="2367">
                  <c:v>2.5014887765733103</c:v>
                </c:pt>
                <c:pt idx="2368">
                  <c:v>2.4052528558978117</c:v>
                </c:pt>
                <c:pt idx="2369">
                  <c:v>3.0443567609556812</c:v>
                </c:pt>
                <c:pt idx="2370">
                  <c:v>3.9264655908329642</c:v>
                </c:pt>
                <c:pt idx="2371">
                  <c:v>3.6348116113283284</c:v>
                </c:pt>
                <c:pt idx="2372">
                  <c:v>2.8913100440954338</c:v>
                </c:pt>
                <c:pt idx="2373">
                  <c:v>4.322122077120981</c:v>
                </c:pt>
                <c:pt idx="2374">
                  <c:v>3.4960491882936653</c:v>
                </c:pt>
                <c:pt idx="2375">
                  <c:v>4.366078358415626</c:v>
                </c:pt>
                <c:pt idx="2376">
                  <c:v>6.3736109957124114</c:v>
                </c:pt>
                <c:pt idx="2377">
                  <c:v>7.4854482374488107</c:v>
                </c:pt>
                <c:pt idx="2378">
                  <c:v>4.4780310019727461</c:v>
                </c:pt>
                <c:pt idx="2379">
                  <c:v>5.159507172198377</c:v>
                </c:pt>
                <c:pt idx="2380">
                  <c:v>2.3326650678879042</c:v>
                </c:pt>
                <c:pt idx="2381">
                  <c:v>3.5677498070243812</c:v>
                </c:pt>
                <c:pt idx="2382">
                  <c:v>2.5434887937323487</c:v>
                </c:pt>
                <c:pt idx="2383">
                  <c:v>2.7069394765713128</c:v>
                </c:pt>
                <c:pt idx="2384">
                  <c:v>3.0609925110038736</c:v>
                </c:pt>
                <c:pt idx="2385">
                  <c:v>3.0217720048313996</c:v>
                </c:pt>
                <c:pt idx="2386">
                  <c:v>2.9508491384075701</c:v>
                </c:pt>
                <c:pt idx="2387">
                  <c:v>3.9696606223925732</c:v>
                </c:pt>
                <c:pt idx="2388">
                  <c:v>2.6549017750923984</c:v>
                </c:pt>
                <c:pt idx="2389">
                  <c:v>3.3318646287927631</c:v>
                </c:pt>
                <c:pt idx="2390">
                  <c:v>4.6396408070041169</c:v>
                </c:pt>
                <c:pt idx="2391">
                  <c:v>-0.68848931855584605</c:v>
                </c:pt>
                <c:pt idx="2392">
                  <c:v>0.15338280559088757</c:v>
                </c:pt>
                <c:pt idx="2393">
                  <c:v>2.1350043034492785</c:v>
                </c:pt>
                <c:pt idx="2394">
                  <c:v>3.9445083402891128</c:v>
                </c:pt>
                <c:pt idx="2395">
                  <c:v>3.6653889461528615</c:v>
                </c:pt>
                <c:pt idx="2396">
                  <c:v>7.9772463098080806</c:v>
                </c:pt>
                <c:pt idx="2397">
                  <c:v>6.6884202695898782</c:v>
                </c:pt>
                <c:pt idx="2398">
                  <c:v>5.3629906800822251</c:v>
                </c:pt>
                <c:pt idx="2399">
                  <c:v>1.4401369043804153</c:v>
                </c:pt>
                <c:pt idx="2400">
                  <c:v>2.6898243476368684</c:v>
                </c:pt>
                <c:pt idx="2401">
                  <c:v>3.3714444300792374</c:v>
                </c:pt>
                <c:pt idx="2402">
                  <c:v>1.1455523869152884</c:v>
                </c:pt>
                <c:pt idx="2403">
                  <c:v>-1.3417752489851749</c:v>
                </c:pt>
                <c:pt idx="2404">
                  <c:v>-2.9906050912102855</c:v>
                </c:pt>
                <c:pt idx="2405">
                  <c:v>-2.8230167130517292</c:v>
                </c:pt>
                <c:pt idx="2406">
                  <c:v>-1.6540583290986151</c:v>
                </c:pt>
                <c:pt idx="2407">
                  <c:v>-2.8493175040012781</c:v>
                </c:pt>
                <c:pt idx="2408">
                  <c:v>-1.3636109504382516</c:v>
                </c:pt>
                <c:pt idx="2409">
                  <c:v>-0.33687583548592526</c:v>
                </c:pt>
                <c:pt idx="2410">
                  <c:v>2.0584051795813267</c:v>
                </c:pt>
                <c:pt idx="2411">
                  <c:v>2.4092319294344051</c:v>
                </c:pt>
                <c:pt idx="2412">
                  <c:v>3.2696909344300251</c:v>
                </c:pt>
                <c:pt idx="2413">
                  <c:v>6.0491527493285071</c:v>
                </c:pt>
                <c:pt idx="2414">
                  <c:v>7.9327954338064472</c:v>
                </c:pt>
                <c:pt idx="2415">
                  <c:v>5.2689569054335612</c:v>
                </c:pt>
                <c:pt idx="2416">
                  <c:v>4.0935591523239365</c:v>
                </c:pt>
                <c:pt idx="2417">
                  <c:v>5.2537775840265644</c:v>
                </c:pt>
                <c:pt idx="2418">
                  <c:v>3.3264145748994665</c:v>
                </c:pt>
                <c:pt idx="2419">
                  <c:v>6.457211576850419</c:v>
                </c:pt>
                <c:pt idx="2420">
                  <c:v>5.7750079101424241</c:v>
                </c:pt>
                <c:pt idx="2421">
                  <c:v>7.7624717608102269</c:v>
                </c:pt>
                <c:pt idx="2422">
                  <c:v>7.0403368637604409</c:v>
                </c:pt>
                <c:pt idx="2423">
                  <c:v>1.357701455486779</c:v>
                </c:pt>
                <c:pt idx="2424">
                  <c:v>3.5877497982557074</c:v>
                </c:pt>
                <c:pt idx="2425">
                  <c:v>0.8959601086543173</c:v>
                </c:pt>
                <c:pt idx="2426">
                  <c:v>1.3795551996967748</c:v>
                </c:pt>
                <c:pt idx="2427">
                  <c:v>1.0815758381438667</c:v>
                </c:pt>
                <c:pt idx="2428">
                  <c:v>-3.4695376923026711</c:v>
                </c:pt>
                <c:pt idx="2429">
                  <c:v>-3.5832905423686112</c:v>
                </c:pt>
                <c:pt idx="2430">
                  <c:v>-1.8663416011394873</c:v>
                </c:pt>
                <c:pt idx="2431">
                  <c:v>-2.2988670638192126</c:v>
                </c:pt>
                <c:pt idx="2432">
                  <c:v>-1.8171739598248193</c:v>
                </c:pt>
                <c:pt idx="2433">
                  <c:v>0.31421793877575988</c:v>
                </c:pt>
                <c:pt idx="2434">
                  <c:v>2.7258218927439071</c:v>
                </c:pt>
                <c:pt idx="2435">
                  <c:v>3.2826772862539295</c:v>
                </c:pt>
                <c:pt idx="2436">
                  <c:v>3.3013590127963925</c:v>
                </c:pt>
                <c:pt idx="2437">
                  <c:v>6.4430725849959849</c:v>
                </c:pt>
                <c:pt idx="2438">
                  <c:v>3.3747978788146451</c:v>
                </c:pt>
                <c:pt idx="2439">
                  <c:v>2.5912731008026686</c:v>
                </c:pt>
                <c:pt idx="2440">
                  <c:v>5.9070230937710577E-2</c:v>
                </c:pt>
                <c:pt idx="2441">
                  <c:v>-0.20204488823047095</c:v>
                </c:pt>
                <c:pt idx="2442">
                  <c:v>-1.2753531876328688</c:v>
                </c:pt>
                <c:pt idx="2443">
                  <c:v>-1.8578705726134237</c:v>
                </c:pt>
                <c:pt idx="2444">
                  <c:v>5.1487604827152311E-2</c:v>
                </c:pt>
                <c:pt idx="2445">
                  <c:v>0.30442146915304613</c:v>
                </c:pt>
                <c:pt idx="2446">
                  <c:v>-1.152493471835256</c:v>
                </c:pt>
                <c:pt idx="2447">
                  <c:v>-0.44222871177945211</c:v>
                </c:pt>
                <c:pt idx="2448">
                  <c:v>1.9787416453944162</c:v>
                </c:pt>
                <c:pt idx="2449">
                  <c:v>-2.6998053773136856</c:v>
                </c:pt>
                <c:pt idx="2450">
                  <c:v>-1.9179655299924658</c:v>
                </c:pt>
                <c:pt idx="2451">
                  <c:v>-2.2858705851523746</c:v>
                </c:pt>
                <c:pt idx="2452">
                  <c:v>-2.1295641121261006</c:v>
                </c:pt>
                <c:pt idx="2453">
                  <c:v>5.5450613864915788E-3</c:v>
                </c:pt>
                <c:pt idx="2454">
                  <c:v>1.6902304974991844</c:v>
                </c:pt>
                <c:pt idx="2455">
                  <c:v>1.4155041518427143</c:v>
                </c:pt>
                <c:pt idx="2456">
                  <c:v>1.1352193579797887</c:v>
                </c:pt>
                <c:pt idx="2457">
                  <c:v>0.12374334870301762</c:v>
                </c:pt>
                <c:pt idx="2458">
                  <c:v>1.3175898092828542</c:v>
                </c:pt>
                <c:pt idx="2459">
                  <c:v>1.8277584719617961</c:v>
                </c:pt>
                <c:pt idx="2460">
                  <c:v>0.77439562471912082</c:v>
                </c:pt>
                <c:pt idx="2461">
                  <c:v>0.42231988817722221</c:v>
                </c:pt>
                <c:pt idx="2462">
                  <c:v>4.5391407779593607E-2</c:v>
                </c:pt>
                <c:pt idx="2463">
                  <c:v>0.42206636514793006</c:v>
                </c:pt>
                <c:pt idx="2464">
                  <c:v>1.9690652656445164</c:v>
                </c:pt>
                <c:pt idx="2465">
                  <c:v>2.2817274905441471</c:v>
                </c:pt>
                <c:pt idx="2466">
                  <c:v>2.4599285374238526</c:v>
                </c:pt>
                <c:pt idx="2467">
                  <c:v>3.034204033208955</c:v>
                </c:pt>
                <c:pt idx="2468">
                  <c:v>2.0535713909186319</c:v>
                </c:pt>
                <c:pt idx="2469">
                  <c:v>4.5922569579071846</c:v>
                </c:pt>
                <c:pt idx="2470">
                  <c:v>4.8972256619451802</c:v>
                </c:pt>
                <c:pt idx="2471">
                  <c:v>3.9233820426105388</c:v>
                </c:pt>
                <c:pt idx="2472">
                  <c:v>4.7804418630933831</c:v>
                </c:pt>
                <c:pt idx="2473">
                  <c:v>5.1789007574195116</c:v>
                </c:pt>
                <c:pt idx="2474">
                  <c:v>4.4414318401148121</c:v>
                </c:pt>
                <c:pt idx="2475">
                  <c:v>5.3509504141212734</c:v>
                </c:pt>
                <c:pt idx="2476">
                  <c:v>4.5478094627674253</c:v>
                </c:pt>
                <c:pt idx="2477">
                  <c:v>6.8964318869981582</c:v>
                </c:pt>
                <c:pt idx="2478">
                  <c:v>4.9738498025777247</c:v>
                </c:pt>
                <c:pt idx="2479">
                  <c:v>3.5364197707657361</c:v>
                </c:pt>
                <c:pt idx="2480">
                  <c:v>3.5138254852559738</c:v>
                </c:pt>
                <c:pt idx="2481">
                  <c:v>3.5753503763223158</c:v>
                </c:pt>
                <c:pt idx="2482">
                  <c:v>3.1818609659465951</c:v>
                </c:pt>
                <c:pt idx="2483">
                  <c:v>3.0473037277970487</c:v>
                </c:pt>
                <c:pt idx="2484">
                  <c:v>3.1147283317877332</c:v>
                </c:pt>
                <c:pt idx="2485">
                  <c:v>3.8964628301405844</c:v>
                </c:pt>
                <c:pt idx="2486">
                  <c:v>3.1749100102006738</c:v>
                </c:pt>
                <c:pt idx="2487">
                  <c:v>3.9751842818719489</c:v>
                </c:pt>
                <c:pt idx="2488">
                  <c:v>4.2497292949132541</c:v>
                </c:pt>
                <c:pt idx="2489">
                  <c:v>4.1401351170138687</c:v>
                </c:pt>
                <c:pt idx="2490">
                  <c:v>4.9886687057681183</c:v>
                </c:pt>
                <c:pt idx="2491">
                  <c:v>5.5447627938014454</c:v>
                </c:pt>
                <c:pt idx="2492">
                  <c:v>4.2151890493719426</c:v>
                </c:pt>
                <c:pt idx="2493">
                  <c:v>5.3220574953519844</c:v>
                </c:pt>
                <c:pt idx="2494">
                  <c:v>6.2525547486689153</c:v>
                </c:pt>
                <c:pt idx="2495">
                  <c:v>7.1348987270048836</c:v>
                </c:pt>
                <c:pt idx="2496">
                  <c:v>5.9288130171412519</c:v>
                </c:pt>
                <c:pt idx="2497">
                  <c:v>5.8484624482324499</c:v>
                </c:pt>
              </c:numCache>
            </c:numRef>
          </c:val>
          <c:smooth val="0"/>
          <c:extLst xmlns:c16r2="http://schemas.microsoft.com/office/drawing/2015/06/chart">
            <c:ext xmlns:c16="http://schemas.microsoft.com/office/drawing/2014/chart" uri="{C3380CC4-5D6E-409C-BE32-E72D297353CC}">
              <c16:uniqueId val="{00000000-51FF-4917-A43B-FF6672126256}"/>
            </c:ext>
          </c:extLst>
        </c:ser>
        <c:ser>
          <c:idx val="3"/>
          <c:order val="1"/>
          <c:tx>
            <c:strRef>
              <c:f>Sheet1!$AN$24</c:f>
              <c:strCache>
                <c:ptCount val="1"/>
                <c:pt idx="0">
                  <c:v>Average Spread</c:v>
                </c:pt>
              </c:strCache>
            </c:strRef>
          </c:tx>
          <c:marker>
            <c:symbol val="none"/>
          </c:marker>
          <c:cat>
            <c:numRef>
              <c:f>Sheet1!$AJ$25:$AJ$2522</c:f>
              <c:numCache>
                <c:formatCode>m/d/yyyy</c:formatCode>
                <c:ptCount val="2498"/>
                <c:pt idx="0">
                  <c:v>38875</c:v>
                </c:pt>
                <c:pt idx="1">
                  <c:v>38876</c:v>
                </c:pt>
                <c:pt idx="2">
                  <c:v>38877</c:v>
                </c:pt>
                <c:pt idx="3">
                  <c:v>38880</c:v>
                </c:pt>
                <c:pt idx="4">
                  <c:v>38881</c:v>
                </c:pt>
                <c:pt idx="5">
                  <c:v>38882</c:v>
                </c:pt>
                <c:pt idx="6">
                  <c:v>38883</c:v>
                </c:pt>
                <c:pt idx="7">
                  <c:v>38884</c:v>
                </c:pt>
                <c:pt idx="8">
                  <c:v>38887</c:v>
                </c:pt>
                <c:pt idx="9">
                  <c:v>38888</c:v>
                </c:pt>
                <c:pt idx="10">
                  <c:v>38889</c:v>
                </c:pt>
                <c:pt idx="11">
                  <c:v>38890</c:v>
                </c:pt>
                <c:pt idx="12">
                  <c:v>38891</c:v>
                </c:pt>
                <c:pt idx="13">
                  <c:v>38894</c:v>
                </c:pt>
                <c:pt idx="14">
                  <c:v>38895</c:v>
                </c:pt>
                <c:pt idx="15">
                  <c:v>38896</c:v>
                </c:pt>
                <c:pt idx="16">
                  <c:v>38897</c:v>
                </c:pt>
                <c:pt idx="17">
                  <c:v>38898</c:v>
                </c:pt>
                <c:pt idx="18">
                  <c:v>38901</c:v>
                </c:pt>
                <c:pt idx="19">
                  <c:v>38903</c:v>
                </c:pt>
                <c:pt idx="20">
                  <c:v>38904</c:v>
                </c:pt>
                <c:pt idx="21">
                  <c:v>38905</c:v>
                </c:pt>
                <c:pt idx="22">
                  <c:v>38908</c:v>
                </c:pt>
                <c:pt idx="23">
                  <c:v>38909</c:v>
                </c:pt>
                <c:pt idx="24">
                  <c:v>38910</c:v>
                </c:pt>
                <c:pt idx="25">
                  <c:v>38911</c:v>
                </c:pt>
                <c:pt idx="26">
                  <c:v>38912</c:v>
                </c:pt>
                <c:pt idx="27">
                  <c:v>38915</c:v>
                </c:pt>
                <c:pt idx="28">
                  <c:v>38916</c:v>
                </c:pt>
                <c:pt idx="29">
                  <c:v>38917</c:v>
                </c:pt>
                <c:pt idx="30">
                  <c:v>38918</c:v>
                </c:pt>
                <c:pt idx="31">
                  <c:v>38919</c:v>
                </c:pt>
                <c:pt idx="32">
                  <c:v>38922</c:v>
                </c:pt>
                <c:pt idx="33">
                  <c:v>38923</c:v>
                </c:pt>
                <c:pt idx="34">
                  <c:v>38924</c:v>
                </c:pt>
                <c:pt idx="35">
                  <c:v>38925</c:v>
                </c:pt>
                <c:pt idx="36">
                  <c:v>38926</c:v>
                </c:pt>
                <c:pt idx="37">
                  <c:v>38929</c:v>
                </c:pt>
                <c:pt idx="38">
                  <c:v>38930</c:v>
                </c:pt>
                <c:pt idx="39">
                  <c:v>38931</c:v>
                </c:pt>
                <c:pt idx="40">
                  <c:v>38932</c:v>
                </c:pt>
                <c:pt idx="41">
                  <c:v>38933</c:v>
                </c:pt>
                <c:pt idx="42">
                  <c:v>38936</c:v>
                </c:pt>
                <c:pt idx="43">
                  <c:v>38937</c:v>
                </c:pt>
                <c:pt idx="44">
                  <c:v>38938</c:v>
                </c:pt>
                <c:pt idx="45">
                  <c:v>38939</c:v>
                </c:pt>
                <c:pt idx="46">
                  <c:v>38940</c:v>
                </c:pt>
                <c:pt idx="47">
                  <c:v>38943</c:v>
                </c:pt>
                <c:pt idx="48">
                  <c:v>38944</c:v>
                </c:pt>
                <c:pt idx="49">
                  <c:v>38945</c:v>
                </c:pt>
                <c:pt idx="50">
                  <c:v>38946</c:v>
                </c:pt>
                <c:pt idx="51">
                  <c:v>38947</c:v>
                </c:pt>
                <c:pt idx="52">
                  <c:v>38950</c:v>
                </c:pt>
                <c:pt idx="53">
                  <c:v>38951</c:v>
                </c:pt>
                <c:pt idx="54">
                  <c:v>38952</c:v>
                </c:pt>
                <c:pt idx="55">
                  <c:v>38953</c:v>
                </c:pt>
                <c:pt idx="56">
                  <c:v>38954</c:v>
                </c:pt>
                <c:pt idx="57">
                  <c:v>38957</c:v>
                </c:pt>
                <c:pt idx="58">
                  <c:v>38958</c:v>
                </c:pt>
                <c:pt idx="59">
                  <c:v>38959</c:v>
                </c:pt>
                <c:pt idx="60">
                  <c:v>38960</c:v>
                </c:pt>
                <c:pt idx="61">
                  <c:v>38961</c:v>
                </c:pt>
                <c:pt idx="62">
                  <c:v>38965</c:v>
                </c:pt>
                <c:pt idx="63">
                  <c:v>38966</c:v>
                </c:pt>
                <c:pt idx="64">
                  <c:v>38967</c:v>
                </c:pt>
                <c:pt idx="65">
                  <c:v>38968</c:v>
                </c:pt>
                <c:pt idx="66">
                  <c:v>38971</c:v>
                </c:pt>
                <c:pt idx="67">
                  <c:v>38972</c:v>
                </c:pt>
                <c:pt idx="68">
                  <c:v>38973</c:v>
                </c:pt>
                <c:pt idx="69">
                  <c:v>38974</c:v>
                </c:pt>
                <c:pt idx="70">
                  <c:v>38975</c:v>
                </c:pt>
                <c:pt idx="71">
                  <c:v>38978</c:v>
                </c:pt>
                <c:pt idx="72">
                  <c:v>38979</c:v>
                </c:pt>
                <c:pt idx="73">
                  <c:v>38980</c:v>
                </c:pt>
                <c:pt idx="74">
                  <c:v>38981</c:v>
                </c:pt>
                <c:pt idx="75">
                  <c:v>38982</c:v>
                </c:pt>
                <c:pt idx="76">
                  <c:v>38985</c:v>
                </c:pt>
                <c:pt idx="77">
                  <c:v>38986</c:v>
                </c:pt>
                <c:pt idx="78">
                  <c:v>38987</c:v>
                </c:pt>
                <c:pt idx="79">
                  <c:v>38988</c:v>
                </c:pt>
                <c:pt idx="80">
                  <c:v>38989</c:v>
                </c:pt>
                <c:pt idx="81">
                  <c:v>38992</c:v>
                </c:pt>
                <c:pt idx="82">
                  <c:v>38993</c:v>
                </c:pt>
                <c:pt idx="83">
                  <c:v>38994</c:v>
                </c:pt>
                <c:pt idx="84">
                  <c:v>38995</c:v>
                </c:pt>
                <c:pt idx="85">
                  <c:v>38996</c:v>
                </c:pt>
                <c:pt idx="86">
                  <c:v>38999</c:v>
                </c:pt>
                <c:pt idx="87">
                  <c:v>39000</c:v>
                </c:pt>
                <c:pt idx="88">
                  <c:v>39001</c:v>
                </c:pt>
                <c:pt idx="89">
                  <c:v>39002</c:v>
                </c:pt>
                <c:pt idx="90">
                  <c:v>39003</c:v>
                </c:pt>
                <c:pt idx="91">
                  <c:v>39006</c:v>
                </c:pt>
                <c:pt idx="92">
                  <c:v>39007</c:v>
                </c:pt>
                <c:pt idx="93">
                  <c:v>39008</c:v>
                </c:pt>
                <c:pt idx="94">
                  <c:v>39009</c:v>
                </c:pt>
                <c:pt idx="95">
                  <c:v>39010</c:v>
                </c:pt>
                <c:pt idx="96">
                  <c:v>39013</c:v>
                </c:pt>
                <c:pt idx="97">
                  <c:v>39014</c:v>
                </c:pt>
                <c:pt idx="98">
                  <c:v>39015</c:v>
                </c:pt>
                <c:pt idx="99">
                  <c:v>39016</c:v>
                </c:pt>
                <c:pt idx="100">
                  <c:v>39017</c:v>
                </c:pt>
                <c:pt idx="101">
                  <c:v>39020</c:v>
                </c:pt>
                <c:pt idx="102">
                  <c:v>39021</c:v>
                </c:pt>
                <c:pt idx="103">
                  <c:v>39022</c:v>
                </c:pt>
                <c:pt idx="104">
                  <c:v>39023</c:v>
                </c:pt>
                <c:pt idx="105">
                  <c:v>39024</c:v>
                </c:pt>
                <c:pt idx="106">
                  <c:v>39027</c:v>
                </c:pt>
                <c:pt idx="107">
                  <c:v>39028</c:v>
                </c:pt>
                <c:pt idx="108">
                  <c:v>39029</c:v>
                </c:pt>
                <c:pt idx="109">
                  <c:v>39030</c:v>
                </c:pt>
                <c:pt idx="110">
                  <c:v>39031</c:v>
                </c:pt>
                <c:pt idx="111">
                  <c:v>39034</c:v>
                </c:pt>
                <c:pt idx="112">
                  <c:v>39035</c:v>
                </c:pt>
                <c:pt idx="113">
                  <c:v>39036</c:v>
                </c:pt>
                <c:pt idx="114">
                  <c:v>39037</c:v>
                </c:pt>
                <c:pt idx="115">
                  <c:v>39038</c:v>
                </c:pt>
                <c:pt idx="116">
                  <c:v>39041</c:v>
                </c:pt>
                <c:pt idx="117">
                  <c:v>39042</c:v>
                </c:pt>
                <c:pt idx="118">
                  <c:v>39043</c:v>
                </c:pt>
                <c:pt idx="119">
                  <c:v>39045</c:v>
                </c:pt>
                <c:pt idx="120">
                  <c:v>39048</c:v>
                </c:pt>
                <c:pt idx="121">
                  <c:v>39049</c:v>
                </c:pt>
                <c:pt idx="122">
                  <c:v>39050</c:v>
                </c:pt>
                <c:pt idx="123">
                  <c:v>39051</c:v>
                </c:pt>
                <c:pt idx="124">
                  <c:v>39052</c:v>
                </c:pt>
                <c:pt idx="125">
                  <c:v>39055</c:v>
                </c:pt>
                <c:pt idx="126">
                  <c:v>39056</c:v>
                </c:pt>
                <c:pt idx="127">
                  <c:v>39057</c:v>
                </c:pt>
                <c:pt idx="128">
                  <c:v>39058</c:v>
                </c:pt>
                <c:pt idx="129">
                  <c:v>39059</c:v>
                </c:pt>
                <c:pt idx="130">
                  <c:v>39062</c:v>
                </c:pt>
                <c:pt idx="131">
                  <c:v>39063</c:v>
                </c:pt>
                <c:pt idx="132">
                  <c:v>39064</c:v>
                </c:pt>
                <c:pt idx="133">
                  <c:v>39065</c:v>
                </c:pt>
                <c:pt idx="134">
                  <c:v>39066</c:v>
                </c:pt>
                <c:pt idx="135">
                  <c:v>39069</c:v>
                </c:pt>
                <c:pt idx="136">
                  <c:v>39070</c:v>
                </c:pt>
                <c:pt idx="137">
                  <c:v>39071</c:v>
                </c:pt>
                <c:pt idx="138">
                  <c:v>39072</c:v>
                </c:pt>
                <c:pt idx="139">
                  <c:v>39073</c:v>
                </c:pt>
                <c:pt idx="140">
                  <c:v>39077</c:v>
                </c:pt>
                <c:pt idx="141">
                  <c:v>39078</c:v>
                </c:pt>
                <c:pt idx="142">
                  <c:v>39079</c:v>
                </c:pt>
                <c:pt idx="143">
                  <c:v>39080</c:v>
                </c:pt>
                <c:pt idx="144">
                  <c:v>39085</c:v>
                </c:pt>
                <c:pt idx="145">
                  <c:v>39086</c:v>
                </c:pt>
                <c:pt idx="146">
                  <c:v>39087</c:v>
                </c:pt>
                <c:pt idx="147">
                  <c:v>39090</c:v>
                </c:pt>
                <c:pt idx="148">
                  <c:v>39091</c:v>
                </c:pt>
                <c:pt idx="149">
                  <c:v>39092</c:v>
                </c:pt>
                <c:pt idx="150">
                  <c:v>39093</c:v>
                </c:pt>
                <c:pt idx="151">
                  <c:v>39094</c:v>
                </c:pt>
                <c:pt idx="152">
                  <c:v>39098</c:v>
                </c:pt>
                <c:pt idx="153">
                  <c:v>39099</c:v>
                </c:pt>
                <c:pt idx="154">
                  <c:v>39100</c:v>
                </c:pt>
                <c:pt idx="155">
                  <c:v>39101</c:v>
                </c:pt>
                <c:pt idx="156">
                  <c:v>39104</c:v>
                </c:pt>
                <c:pt idx="157">
                  <c:v>39105</c:v>
                </c:pt>
                <c:pt idx="158">
                  <c:v>39106</c:v>
                </c:pt>
                <c:pt idx="159">
                  <c:v>39107</c:v>
                </c:pt>
                <c:pt idx="160">
                  <c:v>39108</c:v>
                </c:pt>
                <c:pt idx="161">
                  <c:v>39111</c:v>
                </c:pt>
                <c:pt idx="162">
                  <c:v>39112</c:v>
                </c:pt>
                <c:pt idx="163">
                  <c:v>39113</c:v>
                </c:pt>
                <c:pt idx="164">
                  <c:v>39114</c:v>
                </c:pt>
                <c:pt idx="165">
                  <c:v>39115</c:v>
                </c:pt>
                <c:pt idx="166">
                  <c:v>39118</c:v>
                </c:pt>
                <c:pt idx="167">
                  <c:v>39119</c:v>
                </c:pt>
                <c:pt idx="168">
                  <c:v>39120</c:v>
                </c:pt>
                <c:pt idx="169">
                  <c:v>39121</c:v>
                </c:pt>
                <c:pt idx="170">
                  <c:v>39122</c:v>
                </c:pt>
                <c:pt idx="171">
                  <c:v>39125</c:v>
                </c:pt>
                <c:pt idx="172">
                  <c:v>39126</c:v>
                </c:pt>
                <c:pt idx="173">
                  <c:v>39127</c:v>
                </c:pt>
                <c:pt idx="174">
                  <c:v>39128</c:v>
                </c:pt>
                <c:pt idx="175">
                  <c:v>39129</c:v>
                </c:pt>
                <c:pt idx="176">
                  <c:v>39133</c:v>
                </c:pt>
                <c:pt idx="177">
                  <c:v>39134</c:v>
                </c:pt>
                <c:pt idx="178">
                  <c:v>39135</c:v>
                </c:pt>
                <c:pt idx="179">
                  <c:v>39136</c:v>
                </c:pt>
                <c:pt idx="180">
                  <c:v>39139</c:v>
                </c:pt>
                <c:pt idx="181">
                  <c:v>39140</c:v>
                </c:pt>
                <c:pt idx="182">
                  <c:v>39141</c:v>
                </c:pt>
                <c:pt idx="183">
                  <c:v>39142</c:v>
                </c:pt>
                <c:pt idx="184">
                  <c:v>39143</c:v>
                </c:pt>
                <c:pt idx="185">
                  <c:v>39146</c:v>
                </c:pt>
                <c:pt idx="186">
                  <c:v>39147</c:v>
                </c:pt>
                <c:pt idx="187">
                  <c:v>39148</c:v>
                </c:pt>
                <c:pt idx="188">
                  <c:v>39149</c:v>
                </c:pt>
                <c:pt idx="189">
                  <c:v>39150</c:v>
                </c:pt>
                <c:pt idx="190">
                  <c:v>39153</c:v>
                </c:pt>
                <c:pt idx="191">
                  <c:v>39154</c:v>
                </c:pt>
                <c:pt idx="192">
                  <c:v>39155</c:v>
                </c:pt>
                <c:pt idx="193">
                  <c:v>39156</c:v>
                </c:pt>
                <c:pt idx="194">
                  <c:v>39157</c:v>
                </c:pt>
                <c:pt idx="195">
                  <c:v>39160</c:v>
                </c:pt>
                <c:pt idx="196">
                  <c:v>39161</c:v>
                </c:pt>
                <c:pt idx="197">
                  <c:v>39162</c:v>
                </c:pt>
                <c:pt idx="198">
                  <c:v>39163</c:v>
                </c:pt>
                <c:pt idx="199">
                  <c:v>39164</c:v>
                </c:pt>
                <c:pt idx="200">
                  <c:v>39167</c:v>
                </c:pt>
                <c:pt idx="201">
                  <c:v>39168</c:v>
                </c:pt>
                <c:pt idx="202">
                  <c:v>39169</c:v>
                </c:pt>
                <c:pt idx="203">
                  <c:v>39170</c:v>
                </c:pt>
                <c:pt idx="204">
                  <c:v>39171</c:v>
                </c:pt>
                <c:pt idx="205">
                  <c:v>39174</c:v>
                </c:pt>
                <c:pt idx="206">
                  <c:v>39175</c:v>
                </c:pt>
                <c:pt idx="207">
                  <c:v>39176</c:v>
                </c:pt>
                <c:pt idx="208">
                  <c:v>39177</c:v>
                </c:pt>
                <c:pt idx="209">
                  <c:v>39181</c:v>
                </c:pt>
                <c:pt idx="210">
                  <c:v>39182</c:v>
                </c:pt>
                <c:pt idx="211">
                  <c:v>39183</c:v>
                </c:pt>
                <c:pt idx="212">
                  <c:v>39184</c:v>
                </c:pt>
                <c:pt idx="213">
                  <c:v>39185</c:v>
                </c:pt>
                <c:pt idx="214">
                  <c:v>39188</c:v>
                </c:pt>
                <c:pt idx="215">
                  <c:v>39189</c:v>
                </c:pt>
                <c:pt idx="216">
                  <c:v>39190</c:v>
                </c:pt>
                <c:pt idx="217">
                  <c:v>39191</c:v>
                </c:pt>
                <c:pt idx="218">
                  <c:v>39192</c:v>
                </c:pt>
                <c:pt idx="219">
                  <c:v>39195</c:v>
                </c:pt>
                <c:pt idx="220">
                  <c:v>39196</c:v>
                </c:pt>
                <c:pt idx="221">
                  <c:v>39197</c:v>
                </c:pt>
                <c:pt idx="222">
                  <c:v>39198</c:v>
                </c:pt>
                <c:pt idx="223">
                  <c:v>39199</c:v>
                </c:pt>
                <c:pt idx="224">
                  <c:v>39202</c:v>
                </c:pt>
                <c:pt idx="225">
                  <c:v>39203</c:v>
                </c:pt>
                <c:pt idx="226">
                  <c:v>39204</c:v>
                </c:pt>
                <c:pt idx="227">
                  <c:v>39205</c:v>
                </c:pt>
                <c:pt idx="228">
                  <c:v>39206</c:v>
                </c:pt>
                <c:pt idx="229">
                  <c:v>39209</c:v>
                </c:pt>
                <c:pt idx="230">
                  <c:v>39210</c:v>
                </c:pt>
                <c:pt idx="231">
                  <c:v>39211</c:v>
                </c:pt>
                <c:pt idx="232">
                  <c:v>39212</c:v>
                </c:pt>
                <c:pt idx="233">
                  <c:v>39213</c:v>
                </c:pt>
                <c:pt idx="234">
                  <c:v>39216</c:v>
                </c:pt>
                <c:pt idx="235">
                  <c:v>39217</c:v>
                </c:pt>
                <c:pt idx="236">
                  <c:v>39218</c:v>
                </c:pt>
                <c:pt idx="237">
                  <c:v>39219</c:v>
                </c:pt>
                <c:pt idx="238">
                  <c:v>39220</c:v>
                </c:pt>
                <c:pt idx="239">
                  <c:v>39223</c:v>
                </c:pt>
                <c:pt idx="240">
                  <c:v>39224</c:v>
                </c:pt>
                <c:pt idx="241">
                  <c:v>39225</c:v>
                </c:pt>
                <c:pt idx="242">
                  <c:v>39226</c:v>
                </c:pt>
                <c:pt idx="243">
                  <c:v>39227</c:v>
                </c:pt>
                <c:pt idx="244">
                  <c:v>39231</c:v>
                </c:pt>
                <c:pt idx="245">
                  <c:v>39232</c:v>
                </c:pt>
                <c:pt idx="246">
                  <c:v>39233</c:v>
                </c:pt>
                <c:pt idx="247">
                  <c:v>39234</c:v>
                </c:pt>
                <c:pt idx="248">
                  <c:v>39237</c:v>
                </c:pt>
                <c:pt idx="249">
                  <c:v>39238</c:v>
                </c:pt>
                <c:pt idx="250">
                  <c:v>39239</c:v>
                </c:pt>
                <c:pt idx="251">
                  <c:v>39240</c:v>
                </c:pt>
                <c:pt idx="252">
                  <c:v>39241</c:v>
                </c:pt>
                <c:pt idx="253">
                  <c:v>39244</c:v>
                </c:pt>
                <c:pt idx="254">
                  <c:v>39245</c:v>
                </c:pt>
                <c:pt idx="255">
                  <c:v>39246</c:v>
                </c:pt>
                <c:pt idx="256">
                  <c:v>39247</c:v>
                </c:pt>
                <c:pt idx="257">
                  <c:v>39248</c:v>
                </c:pt>
                <c:pt idx="258">
                  <c:v>39251</c:v>
                </c:pt>
                <c:pt idx="259">
                  <c:v>39252</c:v>
                </c:pt>
                <c:pt idx="260">
                  <c:v>39253</c:v>
                </c:pt>
                <c:pt idx="261">
                  <c:v>39254</c:v>
                </c:pt>
                <c:pt idx="262">
                  <c:v>39255</c:v>
                </c:pt>
                <c:pt idx="263">
                  <c:v>39258</c:v>
                </c:pt>
                <c:pt idx="264">
                  <c:v>39259</c:v>
                </c:pt>
                <c:pt idx="265">
                  <c:v>39260</c:v>
                </c:pt>
                <c:pt idx="266">
                  <c:v>39261</c:v>
                </c:pt>
                <c:pt idx="267">
                  <c:v>39262</c:v>
                </c:pt>
                <c:pt idx="268">
                  <c:v>39265</c:v>
                </c:pt>
                <c:pt idx="269">
                  <c:v>39266</c:v>
                </c:pt>
                <c:pt idx="270">
                  <c:v>39268</c:v>
                </c:pt>
                <c:pt idx="271">
                  <c:v>39269</c:v>
                </c:pt>
                <c:pt idx="272">
                  <c:v>39272</c:v>
                </c:pt>
                <c:pt idx="273">
                  <c:v>39273</c:v>
                </c:pt>
                <c:pt idx="274">
                  <c:v>39274</c:v>
                </c:pt>
                <c:pt idx="275">
                  <c:v>39275</c:v>
                </c:pt>
                <c:pt idx="276">
                  <c:v>39276</c:v>
                </c:pt>
                <c:pt idx="277">
                  <c:v>39279</c:v>
                </c:pt>
                <c:pt idx="278">
                  <c:v>39280</c:v>
                </c:pt>
                <c:pt idx="279">
                  <c:v>39281</c:v>
                </c:pt>
                <c:pt idx="280">
                  <c:v>39282</c:v>
                </c:pt>
                <c:pt idx="281">
                  <c:v>39283</c:v>
                </c:pt>
                <c:pt idx="282">
                  <c:v>39286</c:v>
                </c:pt>
                <c:pt idx="283">
                  <c:v>39287</c:v>
                </c:pt>
                <c:pt idx="284">
                  <c:v>39288</c:v>
                </c:pt>
                <c:pt idx="285">
                  <c:v>39289</c:v>
                </c:pt>
                <c:pt idx="286">
                  <c:v>39290</c:v>
                </c:pt>
                <c:pt idx="287">
                  <c:v>39293</c:v>
                </c:pt>
                <c:pt idx="288">
                  <c:v>39294</c:v>
                </c:pt>
                <c:pt idx="289">
                  <c:v>39295</c:v>
                </c:pt>
                <c:pt idx="290">
                  <c:v>39296</c:v>
                </c:pt>
                <c:pt idx="291">
                  <c:v>39297</c:v>
                </c:pt>
                <c:pt idx="292">
                  <c:v>39300</c:v>
                </c:pt>
                <c:pt idx="293">
                  <c:v>39301</c:v>
                </c:pt>
                <c:pt idx="294">
                  <c:v>39302</c:v>
                </c:pt>
                <c:pt idx="295">
                  <c:v>39303</c:v>
                </c:pt>
                <c:pt idx="296">
                  <c:v>39304</c:v>
                </c:pt>
                <c:pt idx="297">
                  <c:v>39307</c:v>
                </c:pt>
                <c:pt idx="298">
                  <c:v>39308</c:v>
                </c:pt>
                <c:pt idx="299">
                  <c:v>39309</c:v>
                </c:pt>
                <c:pt idx="300">
                  <c:v>39310</c:v>
                </c:pt>
                <c:pt idx="301">
                  <c:v>39311</c:v>
                </c:pt>
                <c:pt idx="302">
                  <c:v>39314</c:v>
                </c:pt>
                <c:pt idx="303">
                  <c:v>39315</c:v>
                </c:pt>
                <c:pt idx="304">
                  <c:v>39316</c:v>
                </c:pt>
                <c:pt idx="305">
                  <c:v>39317</c:v>
                </c:pt>
                <c:pt idx="306">
                  <c:v>39318</c:v>
                </c:pt>
                <c:pt idx="307">
                  <c:v>39321</c:v>
                </c:pt>
                <c:pt idx="308">
                  <c:v>39322</c:v>
                </c:pt>
                <c:pt idx="309">
                  <c:v>39323</c:v>
                </c:pt>
                <c:pt idx="310">
                  <c:v>39324</c:v>
                </c:pt>
                <c:pt idx="311">
                  <c:v>39325</c:v>
                </c:pt>
                <c:pt idx="312">
                  <c:v>39329</c:v>
                </c:pt>
                <c:pt idx="313">
                  <c:v>39330</c:v>
                </c:pt>
                <c:pt idx="314">
                  <c:v>39331</c:v>
                </c:pt>
                <c:pt idx="315">
                  <c:v>39332</c:v>
                </c:pt>
                <c:pt idx="316">
                  <c:v>39335</c:v>
                </c:pt>
                <c:pt idx="317">
                  <c:v>39336</c:v>
                </c:pt>
                <c:pt idx="318">
                  <c:v>39337</c:v>
                </c:pt>
                <c:pt idx="319">
                  <c:v>39338</c:v>
                </c:pt>
                <c:pt idx="320">
                  <c:v>39339</c:v>
                </c:pt>
                <c:pt idx="321">
                  <c:v>39342</c:v>
                </c:pt>
                <c:pt idx="322">
                  <c:v>39343</c:v>
                </c:pt>
                <c:pt idx="323">
                  <c:v>39344</c:v>
                </c:pt>
                <c:pt idx="324">
                  <c:v>39345</c:v>
                </c:pt>
                <c:pt idx="325">
                  <c:v>39346</c:v>
                </c:pt>
                <c:pt idx="326">
                  <c:v>39349</c:v>
                </c:pt>
                <c:pt idx="327">
                  <c:v>39350</c:v>
                </c:pt>
                <c:pt idx="328">
                  <c:v>39351</c:v>
                </c:pt>
                <c:pt idx="329">
                  <c:v>39352</c:v>
                </c:pt>
                <c:pt idx="330">
                  <c:v>39353</c:v>
                </c:pt>
                <c:pt idx="331">
                  <c:v>39356</c:v>
                </c:pt>
                <c:pt idx="332">
                  <c:v>39357</c:v>
                </c:pt>
                <c:pt idx="333">
                  <c:v>39358</c:v>
                </c:pt>
                <c:pt idx="334">
                  <c:v>39359</c:v>
                </c:pt>
                <c:pt idx="335">
                  <c:v>39360</c:v>
                </c:pt>
                <c:pt idx="336">
                  <c:v>39363</c:v>
                </c:pt>
                <c:pt idx="337">
                  <c:v>39364</c:v>
                </c:pt>
                <c:pt idx="338">
                  <c:v>39365</c:v>
                </c:pt>
                <c:pt idx="339">
                  <c:v>39366</c:v>
                </c:pt>
                <c:pt idx="340">
                  <c:v>39367</c:v>
                </c:pt>
                <c:pt idx="341">
                  <c:v>39370</c:v>
                </c:pt>
                <c:pt idx="342">
                  <c:v>39371</c:v>
                </c:pt>
                <c:pt idx="343">
                  <c:v>39372</c:v>
                </c:pt>
                <c:pt idx="344">
                  <c:v>39373</c:v>
                </c:pt>
                <c:pt idx="345">
                  <c:v>39374</c:v>
                </c:pt>
                <c:pt idx="346">
                  <c:v>39377</c:v>
                </c:pt>
                <c:pt idx="347">
                  <c:v>39378</c:v>
                </c:pt>
                <c:pt idx="348">
                  <c:v>39379</c:v>
                </c:pt>
                <c:pt idx="349">
                  <c:v>39380</c:v>
                </c:pt>
                <c:pt idx="350">
                  <c:v>39381</c:v>
                </c:pt>
                <c:pt idx="351">
                  <c:v>39384</c:v>
                </c:pt>
                <c:pt idx="352">
                  <c:v>39385</c:v>
                </c:pt>
                <c:pt idx="353">
                  <c:v>39386</c:v>
                </c:pt>
                <c:pt idx="354">
                  <c:v>39387</c:v>
                </c:pt>
                <c:pt idx="355">
                  <c:v>39388</c:v>
                </c:pt>
                <c:pt idx="356">
                  <c:v>39391</c:v>
                </c:pt>
                <c:pt idx="357">
                  <c:v>39392</c:v>
                </c:pt>
                <c:pt idx="358">
                  <c:v>39393</c:v>
                </c:pt>
                <c:pt idx="359">
                  <c:v>39394</c:v>
                </c:pt>
                <c:pt idx="360">
                  <c:v>39395</c:v>
                </c:pt>
                <c:pt idx="361">
                  <c:v>39398</c:v>
                </c:pt>
                <c:pt idx="362">
                  <c:v>39399</c:v>
                </c:pt>
                <c:pt idx="363">
                  <c:v>39400</c:v>
                </c:pt>
                <c:pt idx="364">
                  <c:v>39401</c:v>
                </c:pt>
                <c:pt idx="365">
                  <c:v>39402</c:v>
                </c:pt>
                <c:pt idx="366">
                  <c:v>39405</c:v>
                </c:pt>
                <c:pt idx="367">
                  <c:v>39406</c:v>
                </c:pt>
                <c:pt idx="368">
                  <c:v>39407</c:v>
                </c:pt>
                <c:pt idx="369">
                  <c:v>39409</c:v>
                </c:pt>
                <c:pt idx="370">
                  <c:v>39412</c:v>
                </c:pt>
                <c:pt idx="371">
                  <c:v>39413</c:v>
                </c:pt>
                <c:pt idx="372">
                  <c:v>39414</c:v>
                </c:pt>
                <c:pt idx="373">
                  <c:v>39415</c:v>
                </c:pt>
                <c:pt idx="374">
                  <c:v>39416</c:v>
                </c:pt>
                <c:pt idx="375">
                  <c:v>39419</c:v>
                </c:pt>
                <c:pt idx="376">
                  <c:v>39420</c:v>
                </c:pt>
                <c:pt idx="377">
                  <c:v>39421</c:v>
                </c:pt>
                <c:pt idx="378">
                  <c:v>39422</c:v>
                </c:pt>
                <c:pt idx="379">
                  <c:v>39423</c:v>
                </c:pt>
                <c:pt idx="380">
                  <c:v>39426</c:v>
                </c:pt>
                <c:pt idx="381">
                  <c:v>39427</c:v>
                </c:pt>
                <c:pt idx="382">
                  <c:v>39428</c:v>
                </c:pt>
                <c:pt idx="383">
                  <c:v>39429</c:v>
                </c:pt>
                <c:pt idx="384">
                  <c:v>39430</c:v>
                </c:pt>
                <c:pt idx="385">
                  <c:v>39433</c:v>
                </c:pt>
                <c:pt idx="386">
                  <c:v>39434</c:v>
                </c:pt>
                <c:pt idx="387">
                  <c:v>39435</c:v>
                </c:pt>
                <c:pt idx="388">
                  <c:v>39436</c:v>
                </c:pt>
                <c:pt idx="389">
                  <c:v>39437</c:v>
                </c:pt>
                <c:pt idx="390">
                  <c:v>39440</c:v>
                </c:pt>
                <c:pt idx="391">
                  <c:v>39442</c:v>
                </c:pt>
                <c:pt idx="392">
                  <c:v>39443</c:v>
                </c:pt>
                <c:pt idx="393">
                  <c:v>39444</c:v>
                </c:pt>
                <c:pt idx="394">
                  <c:v>39447</c:v>
                </c:pt>
                <c:pt idx="395">
                  <c:v>39449</c:v>
                </c:pt>
                <c:pt idx="396">
                  <c:v>39450</c:v>
                </c:pt>
                <c:pt idx="397">
                  <c:v>39451</c:v>
                </c:pt>
                <c:pt idx="398">
                  <c:v>39454</c:v>
                </c:pt>
                <c:pt idx="399">
                  <c:v>39455</c:v>
                </c:pt>
                <c:pt idx="400">
                  <c:v>39456</c:v>
                </c:pt>
                <c:pt idx="401">
                  <c:v>39457</c:v>
                </c:pt>
                <c:pt idx="402">
                  <c:v>39458</c:v>
                </c:pt>
                <c:pt idx="403">
                  <c:v>39461</c:v>
                </c:pt>
                <c:pt idx="404">
                  <c:v>39462</c:v>
                </c:pt>
                <c:pt idx="405">
                  <c:v>39463</c:v>
                </c:pt>
                <c:pt idx="406">
                  <c:v>39464</c:v>
                </c:pt>
                <c:pt idx="407">
                  <c:v>39465</c:v>
                </c:pt>
                <c:pt idx="408">
                  <c:v>39469</c:v>
                </c:pt>
                <c:pt idx="409">
                  <c:v>39470</c:v>
                </c:pt>
                <c:pt idx="410">
                  <c:v>39471</c:v>
                </c:pt>
                <c:pt idx="411">
                  <c:v>39472</c:v>
                </c:pt>
                <c:pt idx="412">
                  <c:v>39475</c:v>
                </c:pt>
                <c:pt idx="413">
                  <c:v>39476</c:v>
                </c:pt>
                <c:pt idx="414">
                  <c:v>39477</c:v>
                </c:pt>
                <c:pt idx="415">
                  <c:v>39478</c:v>
                </c:pt>
                <c:pt idx="416">
                  <c:v>39479</c:v>
                </c:pt>
                <c:pt idx="417">
                  <c:v>39482</c:v>
                </c:pt>
                <c:pt idx="418">
                  <c:v>39483</c:v>
                </c:pt>
                <c:pt idx="419">
                  <c:v>39484</c:v>
                </c:pt>
                <c:pt idx="420">
                  <c:v>39485</c:v>
                </c:pt>
                <c:pt idx="421">
                  <c:v>39486</c:v>
                </c:pt>
                <c:pt idx="422">
                  <c:v>39489</c:v>
                </c:pt>
                <c:pt idx="423">
                  <c:v>39490</c:v>
                </c:pt>
                <c:pt idx="424">
                  <c:v>39491</c:v>
                </c:pt>
                <c:pt idx="425">
                  <c:v>39492</c:v>
                </c:pt>
                <c:pt idx="426">
                  <c:v>39493</c:v>
                </c:pt>
                <c:pt idx="427">
                  <c:v>39497</c:v>
                </c:pt>
                <c:pt idx="428">
                  <c:v>39498</c:v>
                </c:pt>
                <c:pt idx="429">
                  <c:v>39499</c:v>
                </c:pt>
                <c:pt idx="430">
                  <c:v>39500</c:v>
                </c:pt>
                <c:pt idx="431">
                  <c:v>39503</c:v>
                </c:pt>
                <c:pt idx="432">
                  <c:v>39504</c:v>
                </c:pt>
                <c:pt idx="433">
                  <c:v>39505</c:v>
                </c:pt>
                <c:pt idx="434">
                  <c:v>39506</c:v>
                </c:pt>
                <c:pt idx="435">
                  <c:v>39507</c:v>
                </c:pt>
                <c:pt idx="436">
                  <c:v>39510</c:v>
                </c:pt>
                <c:pt idx="437">
                  <c:v>39511</c:v>
                </c:pt>
                <c:pt idx="438">
                  <c:v>39512</c:v>
                </c:pt>
                <c:pt idx="439">
                  <c:v>39513</c:v>
                </c:pt>
                <c:pt idx="440">
                  <c:v>39514</c:v>
                </c:pt>
                <c:pt idx="441">
                  <c:v>39517</c:v>
                </c:pt>
                <c:pt idx="442">
                  <c:v>39518</c:v>
                </c:pt>
                <c:pt idx="443">
                  <c:v>39519</c:v>
                </c:pt>
                <c:pt idx="444">
                  <c:v>39520</c:v>
                </c:pt>
                <c:pt idx="445">
                  <c:v>39521</c:v>
                </c:pt>
                <c:pt idx="446">
                  <c:v>39524</c:v>
                </c:pt>
                <c:pt idx="447">
                  <c:v>39525</c:v>
                </c:pt>
                <c:pt idx="448">
                  <c:v>39526</c:v>
                </c:pt>
                <c:pt idx="449">
                  <c:v>39527</c:v>
                </c:pt>
                <c:pt idx="450">
                  <c:v>39531</c:v>
                </c:pt>
                <c:pt idx="451">
                  <c:v>39532</c:v>
                </c:pt>
                <c:pt idx="452">
                  <c:v>39533</c:v>
                </c:pt>
                <c:pt idx="453">
                  <c:v>39534</c:v>
                </c:pt>
                <c:pt idx="454">
                  <c:v>39535</c:v>
                </c:pt>
                <c:pt idx="455">
                  <c:v>39538</c:v>
                </c:pt>
                <c:pt idx="456">
                  <c:v>39539</c:v>
                </c:pt>
                <c:pt idx="457">
                  <c:v>39540</c:v>
                </c:pt>
                <c:pt idx="458">
                  <c:v>39541</c:v>
                </c:pt>
                <c:pt idx="459">
                  <c:v>39542</c:v>
                </c:pt>
                <c:pt idx="460">
                  <c:v>39545</c:v>
                </c:pt>
                <c:pt idx="461">
                  <c:v>39546</c:v>
                </c:pt>
                <c:pt idx="462">
                  <c:v>39547</c:v>
                </c:pt>
                <c:pt idx="463">
                  <c:v>39548</c:v>
                </c:pt>
                <c:pt idx="464">
                  <c:v>39549</c:v>
                </c:pt>
                <c:pt idx="465">
                  <c:v>39552</c:v>
                </c:pt>
                <c:pt idx="466">
                  <c:v>39553</c:v>
                </c:pt>
                <c:pt idx="467">
                  <c:v>39554</c:v>
                </c:pt>
                <c:pt idx="468">
                  <c:v>39555</c:v>
                </c:pt>
                <c:pt idx="469">
                  <c:v>39556</c:v>
                </c:pt>
                <c:pt idx="470">
                  <c:v>39559</c:v>
                </c:pt>
                <c:pt idx="471">
                  <c:v>39560</c:v>
                </c:pt>
                <c:pt idx="472">
                  <c:v>39561</c:v>
                </c:pt>
                <c:pt idx="473">
                  <c:v>39562</c:v>
                </c:pt>
                <c:pt idx="474">
                  <c:v>39563</c:v>
                </c:pt>
                <c:pt idx="475">
                  <c:v>39566</c:v>
                </c:pt>
                <c:pt idx="476">
                  <c:v>39567</c:v>
                </c:pt>
                <c:pt idx="477">
                  <c:v>39568</c:v>
                </c:pt>
                <c:pt idx="478">
                  <c:v>39569</c:v>
                </c:pt>
                <c:pt idx="479">
                  <c:v>39570</c:v>
                </c:pt>
                <c:pt idx="480">
                  <c:v>39573</c:v>
                </c:pt>
                <c:pt idx="481">
                  <c:v>39574</c:v>
                </c:pt>
                <c:pt idx="482">
                  <c:v>39575</c:v>
                </c:pt>
                <c:pt idx="483">
                  <c:v>39576</c:v>
                </c:pt>
                <c:pt idx="484">
                  <c:v>39577</c:v>
                </c:pt>
                <c:pt idx="485">
                  <c:v>39580</c:v>
                </c:pt>
                <c:pt idx="486">
                  <c:v>39581</c:v>
                </c:pt>
                <c:pt idx="487">
                  <c:v>39582</c:v>
                </c:pt>
                <c:pt idx="488">
                  <c:v>39583</c:v>
                </c:pt>
                <c:pt idx="489">
                  <c:v>39584</c:v>
                </c:pt>
                <c:pt idx="490">
                  <c:v>39587</c:v>
                </c:pt>
                <c:pt idx="491">
                  <c:v>39588</c:v>
                </c:pt>
                <c:pt idx="492">
                  <c:v>39589</c:v>
                </c:pt>
                <c:pt idx="493">
                  <c:v>39590</c:v>
                </c:pt>
                <c:pt idx="494">
                  <c:v>39591</c:v>
                </c:pt>
                <c:pt idx="495">
                  <c:v>39595</c:v>
                </c:pt>
                <c:pt idx="496">
                  <c:v>39596</c:v>
                </c:pt>
                <c:pt idx="497">
                  <c:v>39597</c:v>
                </c:pt>
                <c:pt idx="498">
                  <c:v>39598</c:v>
                </c:pt>
                <c:pt idx="499">
                  <c:v>39601</c:v>
                </c:pt>
                <c:pt idx="500">
                  <c:v>39602</c:v>
                </c:pt>
                <c:pt idx="501">
                  <c:v>39603</c:v>
                </c:pt>
                <c:pt idx="502">
                  <c:v>39604</c:v>
                </c:pt>
                <c:pt idx="503">
                  <c:v>39605</c:v>
                </c:pt>
                <c:pt idx="504">
                  <c:v>39608</c:v>
                </c:pt>
                <c:pt idx="505">
                  <c:v>39609</c:v>
                </c:pt>
                <c:pt idx="506">
                  <c:v>39610</c:v>
                </c:pt>
                <c:pt idx="507">
                  <c:v>39611</c:v>
                </c:pt>
                <c:pt idx="508">
                  <c:v>39612</c:v>
                </c:pt>
                <c:pt idx="509">
                  <c:v>39615</c:v>
                </c:pt>
                <c:pt idx="510">
                  <c:v>39616</c:v>
                </c:pt>
                <c:pt idx="511">
                  <c:v>39617</c:v>
                </c:pt>
                <c:pt idx="512">
                  <c:v>39618</c:v>
                </c:pt>
                <c:pt idx="513">
                  <c:v>39619</c:v>
                </c:pt>
                <c:pt idx="514">
                  <c:v>39622</c:v>
                </c:pt>
                <c:pt idx="515">
                  <c:v>39623</c:v>
                </c:pt>
                <c:pt idx="516">
                  <c:v>39624</c:v>
                </c:pt>
                <c:pt idx="517">
                  <c:v>39625</c:v>
                </c:pt>
                <c:pt idx="518">
                  <c:v>39626</c:v>
                </c:pt>
                <c:pt idx="519">
                  <c:v>39629</c:v>
                </c:pt>
                <c:pt idx="520">
                  <c:v>39630</c:v>
                </c:pt>
                <c:pt idx="521">
                  <c:v>39631</c:v>
                </c:pt>
                <c:pt idx="522">
                  <c:v>39632</c:v>
                </c:pt>
                <c:pt idx="523">
                  <c:v>39636</c:v>
                </c:pt>
                <c:pt idx="524">
                  <c:v>39637</c:v>
                </c:pt>
                <c:pt idx="525">
                  <c:v>39638</c:v>
                </c:pt>
                <c:pt idx="526">
                  <c:v>39639</c:v>
                </c:pt>
                <c:pt idx="527">
                  <c:v>39640</c:v>
                </c:pt>
                <c:pt idx="528">
                  <c:v>39643</c:v>
                </c:pt>
                <c:pt idx="529">
                  <c:v>39644</c:v>
                </c:pt>
                <c:pt idx="530">
                  <c:v>39645</c:v>
                </c:pt>
                <c:pt idx="531">
                  <c:v>39646</c:v>
                </c:pt>
                <c:pt idx="532">
                  <c:v>39647</c:v>
                </c:pt>
                <c:pt idx="533">
                  <c:v>39650</c:v>
                </c:pt>
                <c:pt idx="534">
                  <c:v>39651</c:v>
                </c:pt>
                <c:pt idx="535">
                  <c:v>39652</c:v>
                </c:pt>
                <c:pt idx="536">
                  <c:v>39653</c:v>
                </c:pt>
                <c:pt idx="537">
                  <c:v>39654</c:v>
                </c:pt>
                <c:pt idx="538">
                  <c:v>39657</c:v>
                </c:pt>
                <c:pt idx="539">
                  <c:v>39658</c:v>
                </c:pt>
                <c:pt idx="540">
                  <c:v>39659</c:v>
                </c:pt>
                <c:pt idx="541">
                  <c:v>39660</c:v>
                </c:pt>
                <c:pt idx="542">
                  <c:v>39661</c:v>
                </c:pt>
                <c:pt idx="543">
                  <c:v>39664</c:v>
                </c:pt>
                <c:pt idx="544">
                  <c:v>39665</c:v>
                </c:pt>
                <c:pt idx="545">
                  <c:v>39666</c:v>
                </c:pt>
                <c:pt idx="546">
                  <c:v>39667</c:v>
                </c:pt>
                <c:pt idx="547">
                  <c:v>39668</c:v>
                </c:pt>
                <c:pt idx="548">
                  <c:v>39671</c:v>
                </c:pt>
                <c:pt idx="549">
                  <c:v>39672</c:v>
                </c:pt>
                <c:pt idx="550">
                  <c:v>39673</c:v>
                </c:pt>
                <c:pt idx="551">
                  <c:v>39674</c:v>
                </c:pt>
                <c:pt idx="552">
                  <c:v>39675</c:v>
                </c:pt>
                <c:pt idx="553">
                  <c:v>39678</c:v>
                </c:pt>
                <c:pt idx="554">
                  <c:v>39679</c:v>
                </c:pt>
                <c:pt idx="555">
                  <c:v>39680</c:v>
                </c:pt>
                <c:pt idx="556">
                  <c:v>39681</c:v>
                </c:pt>
                <c:pt idx="557">
                  <c:v>39682</c:v>
                </c:pt>
                <c:pt idx="558">
                  <c:v>39685</c:v>
                </c:pt>
                <c:pt idx="559">
                  <c:v>39686</c:v>
                </c:pt>
                <c:pt idx="560">
                  <c:v>39687</c:v>
                </c:pt>
                <c:pt idx="561">
                  <c:v>39688</c:v>
                </c:pt>
                <c:pt idx="562">
                  <c:v>39689</c:v>
                </c:pt>
                <c:pt idx="563">
                  <c:v>39693</c:v>
                </c:pt>
                <c:pt idx="564">
                  <c:v>39694</c:v>
                </c:pt>
                <c:pt idx="565">
                  <c:v>39695</c:v>
                </c:pt>
                <c:pt idx="566">
                  <c:v>39696</c:v>
                </c:pt>
                <c:pt idx="567">
                  <c:v>39699</c:v>
                </c:pt>
                <c:pt idx="568">
                  <c:v>39700</c:v>
                </c:pt>
                <c:pt idx="569">
                  <c:v>39701</c:v>
                </c:pt>
                <c:pt idx="570">
                  <c:v>39702</c:v>
                </c:pt>
                <c:pt idx="571">
                  <c:v>39703</c:v>
                </c:pt>
                <c:pt idx="572">
                  <c:v>39706</c:v>
                </c:pt>
                <c:pt idx="573">
                  <c:v>39707</c:v>
                </c:pt>
                <c:pt idx="574">
                  <c:v>39708</c:v>
                </c:pt>
                <c:pt idx="575">
                  <c:v>39709</c:v>
                </c:pt>
                <c:pt idx="576">
                  <c:v>39710</c:v>
                </c:pt>
                <c:pt idx="577">
                  <c:v>39713</c:v>
                </c:pt>
                <c:pt idx="578">
                  <c:v>39714</c:v>
                </c:pt>
                <c:pt idx="579">
                  <c:v>39715</c:v>
                </c:pt>
                <c:pt idx="580">
                  <c:v>39716</c:v>
                </c:pt>
                <c:pt idx="581">
                  <c:v>39717</c:v>
                </c:pt>
                <c:pt idx="582">
                  <c:v>39720</c:v>
                </c:pt>
                <c:pt idx="583">
                  <c:v>39721</c:v>
                </c:pt>
                <c:pt idx="584">
                  <c:v>39722</c:v>
                </c:pt>
                <c:pt idx="585">
                  <c:v>39723</c:v>
                </c:pt>
                <c:pt idx="586">
                  <c:v>39724</c:v>
                </c:pt>
                <c:pt idx="587">
                  <c:v>39727</c:v>
                </c:pt>
                <c:pt idx="588">
                  <c:v>39728</c:v>
                </c:pt>
                <c:pt idx="589">
                  <c:v>39729</c:v>
                </c:pt>
                <c:pt idx="590">
                  <c:v>39730</c:v>
                </c:pt>
                <c:pt idx="591">
                  <c:v>39731</c:v>
                </c:pt>
                <c:pt idx="592">
                  <c:v>39734</c:v>
                </c:pt>
                <c:pt idx="593">
                  <c:v>39735</c:v>
                </c:pt>
                <c:pt idx="594">
                  <c:v>39736</c:v>
                </c:pt>
                <c:pt idx="595">
                  <c:v>39737</c:v>
                </c:pt>
                <c:pt idx="596">
                  <c:v>39738</c:v>
                </c:pt>
                <c:pt idx="597">
                  <c:v>39741</c:v>
                </c:pt>
                <c:pt idx="598">
                  <c:v>39742</c:v>
                </c:pt>
                <c:pt idx="599">
                  <c:v>39743</c:v>
                </c:pt>
                <c:pt idx="600">
                  <c:v>39744</c:v>
                </c:pt>
                <c:pt idx="601">
                  <c:v>39745</c:v>
                </c:pt>
                <c:pt idx="602">
                  <c:v>39748</c:v>
                </c:pt>
                <c:pt idx="603">
                  <c:v>39749</c:v>
                </c:pt>
                <c:pt idx="604">
                  <c:v>39750</c:v>
                </c:pt>
                <c:pt idx="605">
                  <c:v>39751</c:v>
                </c:pt>
                <c:pt idx="606">
                  <c:v>39752</c:v>
                </c:pt>
                <c:pt idx="607">
                  <c:v>39755</c:v>
                </c:pt>
                <c:pt idx="608">
                  <c:v>39756</c:v>
                </c:pt>
                <c:pt idx="609">
                  <c:v>39757</c:v>
                </c:pt>
                <c:pt idx="610">
                  <c:v>39758</c:v>
                </c:pt>
                <c:pt idx="611">
                  <c:v>39759</c:v>
                </c:pt>
                <c:pt idx="612">
                  <c:v>39762</c:v>
                </c:pt>
                <c:pt idx="613">
                  <c:v>39763</c:v>
                </c:pt>
                <c:pt idx="614">
                  <c:v>39764</c:v>
                </c:pt>
                <c:pt idx="615">
                  <c:v>39765</c:v>
                </c:pt>
                <c:pt idx="616">
                  <c:v>39766</c:v>
                </c:pt>
                <c:pt idx="617">
                  <c:v>39769</c:v>
                </c:pt>
                <c:pt idx="618">
                  <c:v>39770</c:v>
                </c:pt>
                <c:pt idx="619">
                  <c:v>39771</c:v>
                </c:pt>
                <c:pt idx="620">
                  <c:v>39772</c:v>
                </c:pt>
                <c:pt idx="621">
                  <c:v>39773</c:v>
                </c:pt>
                <c:pt idx="622">
                  <c:v>39776</c:v>
                </c:pt>
                <c:pt idx="623">
                  <c:v>39777</c:v>
                </c:pt>
                <c:pt idx="624">
                  <c:v>39778</c:v>
                </c:pt>
                <c:pt idx="625">
                  <c:v>39780</c:v>
                </c:pt>
                <c:pt idx="626">
                  <c:v>39783</c:v>
                </c:pt>
                <c:pt idx="627">
                  <c:v>39784</c:v>
                </c:pt>
                <c:pt idx="628">
                  <c:v>39785</c:v>
                </c:pt>
                <c:pt idx="629">
                  <c:v>39786</c:v>
                </c:pt>
                <c:pt idx="630">
                  <c:v>39787</c:v>
                </c:pt>
                <c:pt idx="631">
                  <c:v>39790</c:v>
                </c:pt>
                <c:pt idx="632">
                  <c:v>39791</c:v>
                </c:pt>
                <c:pt idx="633">
                  <c:v>39792</c:v>
                </c:pt>
                <c:pt idx="634">
                  <c:v>39793</c:v>
                </c:pt>
                <c:pt idx="635">
                  <c:v>39794</c:v>
                </c:pt>
                <c:pt idx="636">
                  <c:v>39797</c:v>
                </c:pt>
                <c:pt idx="637">
                  <c:v>39798</c:v>
                </c:pt>
                <c:pt idx="638">
                  <c:v>39799</c:v>
                </c:pt>
                <c:pt idx="639">
                  <c:v>39800</c:v>
                </c:pt>
                <c:pt idx="640">
                  <c:v>39801</c:v>
                </c:pt>
                <c:pt idx="641">
                  <c:v>39804</c:v>
                </c:pt>
                <c:pt idx="642">
                  <c:v>39805</c:v>
                </c:pt>
                <c:pt idx="643">
                  <c:v>39806</c:v>
                </c:pt>
                <c:pt idx="644">
                  <c:v>39808</c:v>
                </c:pt>
                <c:pt idx="645">
                  <c:v>39811</c:v>
                </c:pt>
                <c:pt idx="646">
                  <c:v>39812</c:v>
                </c:pt>
                <c:pt idx="647">
                  <c:v>39813</c:v>
                </c:pt>
                <c:pt idx="648">
                  <c:v>39815</c:v>
                </c:pt>
                <c:pt idx="649">
                  <c:v>39818</c:v>
                </c:pt>
                <c:pt idx="650">
                  <c:v>39819</c:v>
                </c:pt>
                <c:pt idx="651">
                  <c:v>39820</c:v>
                </c:pt>
                <c:pt idx="652">
                  <c:v>39821</c:v>
                </c:pt>
                <c:pt idx="653">
                  <c:v>39822</c:v>
                </c:pt>
                <c:pt idx="654">
                  <c:v>39825</c:v>
                </c:pt>
                <c:pt idx="655">
                  <c:v>39826</c:v>
                </c:pt>
                <c:pt idx="656">
                  <c:v>39827</c:v>
                </c:pt>
                <c:pt idx="657">
                  <c:v>39828</c:v>
                </c:pt>
                <c:pt idx="658">
                  <c:v>39829</c:v>
                </c:pt>
                <c:pt idx="659">
                  <c:v>39833</c:v>
                </c:pt>
                <c:pt idx="660">
                  <c:v>39834</c:v>
                </c:pt>
                <c:pt idx="661">
                  <c:v>39835</c:v>
                </c:pt>
                <c:pt idx="662">
                  <c:v>39836</c:v>
                </c:pt>
                <c:pt idx="663">
                  <c:v>39839</c:v>
                </c:pt>
                <c:pt idx="664">
                  <c:v>39840</c:v>
                </c:pt>
                <c:pt idx="665">
                  <c:v>39841</c:v>
                </c:pt>
                <c:pt idx="666">
                  <c:v>39842</c:v>
                </c:pt>
                <c:pt idx="667">
                  <c:v>39843</c:v>
                </c:pt>
                <c:pt idx="668">
                  <c:v>39846</c:v>
                </c:pt>
                <c:pt idx="669">
                  <c:v>39847</c:v>
                </c:pt>
                <c:pt idx="670">
                  <c:v>39848</c:v>
                </c:pt>
                <c:pt idx="671">
                  <c:v>39849</c:v>
                </c:pt>
                <c:pt idx="672">
                  <c:v>39850</c:v>
                </c:pt>
                <c:pt idx="673">
                  <c:v>39853</c:v>
                </c:pt>
                <c:pt idx="674">
                  <c:v>39854</c:v>
                </c:pt>
                <c:pt idx="675">
                  <c:v>39855</c:v>
                </c:pt>
                <c:pt idx="676">
                  <c:v>39856</c:v>
                </c:pt>
                <c:pt idx="677">
                  <c:v>39857</c:v>
                </c:pt>
                <c:pt idx="678">
                  <c:v>39861</c:v>
                </c:pt>
                <c:pt idx="679">
                  <c:v>39862</c:v>
                </c:pt>
                <c:pt idx="680">
                  <c:v>39863</c:v>
                </c:pt>
                <c:pt idx="681">
                  <c:v>39864</c:v>
                </c:pt>
                <c:pt idx="682">
                  <c:v>39867</c:v>
                </c:pt>
                <c:pt idx="683">
                  <c:v>39868</c:v>
                </c:pt>
                <c:pt idx="684">
                  <c:v>39869</c:v>
                </c:pt>
                <c:pt idx="685">
                  <c:v>39870</c:v>
                </c:pt>
                <c:pt idx="686">
                  <c:v>39871</c:v>
                </c:pt>
                <c:pt idx="687">
                  <c:v>39874</c:v>
                </c:pt>
                <c:pt idx="688">
                  <c:v>39875</c:v>
                </c:pt>
                <c:pt idx="689">
                  <c:v>39876</c:v>
                </c:pt>
                <c:pt idx="690">
                  <c:v>39877</c:v>
                </c:pt>
                <c:pt idx="691">
                  <c:v>39878</c:v>
                </c:pt>
                <c:pt idx="692">
                  <c:v>39881</c:v>
                </c:pt>
                <c:pt idx="693">
                  <c:v>39882</c:v>
                </c:pt>
                <c:pt idx="694">
                  <c:v>39883</c:v>
                </c:pt>
                <c:pt idx="695">
                  <c:v>39884</c:v>
                </c:pt>
                <c:pt idx="696">
                  <c:v>39885</c:v>
                </c:pt>
                <c:pt idx="697">
                  <c:v>39888</c:v>
                </c:pt>
                <c:pt idx="698">
                  <c:v>39889</c:v>
                </c:pt>
                <c:pt idx="699">
                  <c:v>39890</c:v>
                </c:pt>
                <c:pt idx="700">
                  <c:v>39891</c:v>
                </c:pt>
                <c:pt idx="701">
                  <c:v>39892</c:v>
                </c:pt>
                <c:pt idx="702">
                  <c:v>39895</c:v>
                </c:pt>
                <c:pt idx="703">
                  <c:v>39896</c:v>
                </c:pt>
                <c:pt idx="704">
                  <c:v>39897</c:v>
                </c:pt>
                <c:pt idx="705">
                  <c:v>39898</c:v>
                </c:pt>
                <c:pt idx="706">
                  <c:v>39899</c:v>
                </c:pt>
                <c:pt idx="707">
                  <c:v>39902</c:v>
                </c:pt>
                <c:pt idx="708">
                  <c:v>39903</c:v>
                </c:pt>
                <c:pt idx="709">
                  <c:v>39904</c:v>
                </c:pt>
                <c:pt idx="710">
                  <c:v>39905</c:v>
                </c:pt>
                <c:pt idx="711">
                  <c:v>39906</c:v>
                </c:pt>
                <c:pt idx="712">
                  <c:v>39909</c:v>
                </c:pt>
                <c:pt idx="713">
                  <c:v>39910</c:v>
                </c:pt>
                <c:pt idx="714">
                  <c:v>39911</c:v>
                </c:pt>
                <c:pt idx="715">
                  <c:v>39912</c:v>
                </c:pt>
                <c:pt idx="716">
                  <c:v>39916</c:v>
                </c:pt>
                <c:pt idx="717">
                  <c:v>39917</c:v>
                </c:pt>
                <c:pt idx="718">
                  <c:v>39918</c:v>
                </c:pt>
                <c:pt idx="719">
                  <c:v>39919</c:v>
                </c:pt>
                <c:pt idx="720">
                  <c:v>39920</c:v>
                </c:pt>
                <c:pt idx="721">
                  <c:v>39923</c:v>
                </c:pt>
                <c:pt idx="722">
                  <c:v>39924</c:v>
                </c:pt>
                <c:pt idx="723">
                  <c:v>39925</c:v>
                </c:pt>
                <c:pt idx="724">
                  <c:v>39926</c:v>
                </c:pt>
                <c:pt idx="725">
                  <c:v>39927</c:v>
                </c:pt>
                <c:pt idx="726">
                  <c:v>39930</c:v>
                </c:pt>
                <c:pt idx="727">
                  <c:v>39931</c:v>
                </c:pt>
                <c:pt idx="728">
                  <c:v>39932</c:v>
                </c:pt>
                <c:pt idx="729">
                  <c:v>39933</c:v>
                </c:pt>
                <c:pt idx="730">
                  <c:v>39934</c:v>
                </c:pt>
                <c:pt idx="731">
                  <c:v>39937</c:v>
                </c:pt>
                <c:pt idx="732">
                  <c:v>39938</c:v>
                </c:pt>
                <c:pt idx="733">
                  <c:v>39939</c:v>
                </c:pt>
                <c:pt idx="734">
                  <c:v>39940</c:v>
                </c:pt>
                <c:pt idx="735">
                  <c:v>39941</c:v>
                </c:pt>
                <c:pt idx="736">
                  <c:v>39944</c:v>
                </c:pt>
                <c:pt idx="737">
                  <c:v>39945</c:v>
                </c:pt>
                <c:pt idx="738">
                  <c:v>39946</c:v>
                </c:pt>
                <c:pt idx="739">
                  <c:v>39947</c:v>
                </c:pt>
                <c:pt idx="740">
                  <c:v>39948</c:v>
                </c:pt>
                <c:pt idx="741">
                  <c:v>39951</c:v>
                </c:pt>
                <c:pt idx="742">
                  <c:v>39952</c:v>
                </c:pt>
                <c:pt idx="743">
                  <c:v>39953</c:v>
                </c:pt>
                <c:pt idx="744">
                  <c:v>39954</c:v>
                </c:pt>
                <c:pt idx="745">
                  <c:v>39955</c:v>
                </c:pt>
                <c:pt idx="746">
                  <c:v>39959</c:v>
                </c:pt>
                <c:pt idx="747">
                  <c:v>39960</c:v>
                </c:pt>
                <c:pt idx="748">
                  <c:v>39961</c:v>
                </c:pt>
                <c:pt idx="749">
                  <c:v>39962</c:v>
                </c:pt>
                <c:pt idx="750">
                  <c:v>39965</c:v>
                </c:pt>
                <c:pt idx="751">
                  <c:v>39966</c:v>
                </c:pt>
                <c:pt idx="752">
                  <c:v>39967</c:v>
                </c:pt>
                <c:pt idx="753">
                  <c:v>39968</c:v>
                </c:pt>
                <c:pt idx="754">
                  <c:v>39969</c:v>
                </c:pt>
                <c:pt idx="755">
                  <c:v>39972</c:v>
                </c:pt>
                <c:pt idx="756">
                  <c:v>39973</c:v>
                </c:pt>
                <c:pt idx="757">
                  <c:v>39974</c:v>
                </c:pt>
                <c:pt idx="758">
                  <c:v>39975</c:v>
                </c:pt>
                <c:pt idx="759">
                  <c:v>39976</c:v>
                </c:pt>
                <c:pt idx="760">
                  <c:v>39979</c:v>
                </c:pt>
                <c:pt idx="761">
                  <c:v>39980</c:v>
                </c:pt>
                <c:pt idx="762">
                  <c:v>39981</c:v>
                </c:pt>
                <c:pt idx="763">
                  <c:v>39982</c:v>
                </c:pt>
                <c:pt idx="764">
                  <c:v>39983</c:v>
                </c:pt>
                <c:pt idx="765">
                  <c:v>39986</c:v>
                </c:pt>
                <c:pt idx="766">
                  <c:v>39987</c:v>
                </c:pt>
                <c:pt idx="767">
                  <c:v>39988</c:v>
                </c:pt>
                <c:pt idx="768">
                  <c:v>39989</c:v>
                </c:pt>
                <c:pt idx="769">
                  <c:v>39990</c:v>
                </c:pt>
                <c:pt idx="770">
                  <c:v>39993</c:v>
                </c:pt>
                <c:pt idx="771">
                  <c:v>39994</c:v>
                </c:pt>
                <c:pt idx="772">
                  <c:v>39995</c:v>
                </c:pt>
                <c:pt idx="773">
                  <c:v>39996</c:v>
                </c:pt>
                <c:pt idx="774">
                  <c:v>40000</c:v>
                </c:pt>
                <c:pt idx="775">
                  <c:v>40001</c:v>
                </c:pt>
                <c:pt idx="776">
                  <c:v>40002</c:v>
                </c:pt>
                <c:pt idx="777">
                  <c:v>40003</c:v>
                </c:pt>
                <c:pt idx="778">
                  <c:v>40004</c:v>
                </c:pt>
                <c:pt idx="779">
                  <c:v>40007</c:v>
                </c:pt>
                <c:pt idx="780">
                  <c:v>40008</c:v>
                </c:pt>
                <c:pt idx="781">
                  <c:v>40009</c:v>
                </c:pt>
                <c:pt idx="782">
                  <c:v>40010</c:v>
                </c:pt>
                <c:pt idx="783">
                  <c:v>40011</c:v>
                </c:pt>
                <c:pt idx="784">
                  <c:v>40014</c:v>
                </c:pt>
                <c:pt idx="785">
                  <c:v>40015</c:v>
                </c:pt>
                <c:pt idx="786">
                  <c:v>40016</c:v>
                </c:pt>
                <c:pt idx="787">
                  <c:v>40017</c:v>
                </c:pt>
                <c:pt idx="788">
                  <c:v>40018</c:v>
                </c:pt>
                <c:pt idx="789">
                  <c:v>40021</c:v>
                </c:pt>
                <c:pt idx="790">
                  <c:v>40022</c:v>
                </c:pt>
                <c:pt idx="791">
                  <c:v>40023</c:v>
                </c:pt>
                <c:pt idx="792">
                  <c:v>40024</c:v>
                </c:pt>
                <c:pt idx="793">
                  <c:v>40025</c:v>
                </c:pt>
                <c:pt idx="794">
                  <c:v>40028</c:v>
                </c:pt>
                <c:pt idx="795">
                  <c:v>40029</c:v>
                </c:pt>
                <c:pt idx="796">
                  <c:v>40030</c:v>
                </c:pt>
                <c:pt idx="797">
                  <c:v>40031</c:v>
                </c:pt>
                <c:pt idx="798">
                  <c:v>40032</c:v>
                </c:pt>
                <c:pt idx="799">
                  <c:v>40035</c:v>
                </c:pt>
                <c:pt idx="800">
                  <c:v>40036</c:v>
                </c:pt>
                <c:pt idx="801">
                  <c:v>40037</c:v>
                </c:pt>
                <c:pt idx="802">
                  <c:v>40038</c:v>
                </c:pt>
                <c:pt idx="803">
                  <c:v>40039</c:v>
                </c:pt>
                <c:pt idx="804">
                  <c:v>40042</c:v>
                </c:pt>
                <c:pt idx="805">
                  <c:v>40043</c:v>
                </c:pt>
                <c:pt idx="806">
                  <c:v>40044</c:v>
                </c:pt>
                <c:pt idx="807">
                  <c:v>40045</c:v>
                </c:pt>
                <c:pt idx="808">
                  <c:v>40046</c:v>
                </c:pt>
                <c:pt idx="809">
                  <c:v>40049</c:v>
                </c:pt>
                <c:pt idx="810">
                  <c:v>40050</c:v>
                </c:pt>
                <c:pt idx="811">
                  <c:v>40051</c:v>
                </c:pt>
                <c:pt idx="812">
                  <c:v>40052</c:v>
                </c:pt>
                <c:pt idx="813">
                  <c:v>40053</c:v>
                </c:pt>
                <c:pt idx="814">
                  <c:v>40056</c:v>
                </c:pt>
                <c:pt idx="815">
                  <c:v>40057</c:v>
                </c:pt>
                <c:pt idx="816">
                  <c:v>40058</c:v>
                </c:pt>
                <c:pt idx="817">
                  <c:v>40059</c:v>
                </c:pt>
                <c:pt idx="818">
                  <c:v>40060</c:v>
                </c:pt>
                <c:pt idx="819">
                  <c:v>40064</c:v>
                </c:pt>
                <c:pt idx="820">
                  <c:v>40065</c:v>
                </c:pt>
                <c:pt idx="821">
                  <c:v>40066</c:v>
                </c:pt>
                <c:pt idx="822">
                  <c:v>40067</c:v>
                </c:pt>
                <c:pt idx="823">
                  <c:v>40070</c:v>
                </c:pt>
                <c:pt idx="824">
                  <c:v>40071</c:v>
                </c:pt>
                <c:pt idx="825">
                  <c:v>40072</c:v>
                </c:pt>
                <c:pt idx="826">
                  <c:v>40073</c:v>
                </c:pt>
                <c:pt idx="827">
                  <c:v>40074</c:v>
                </c:pt>
                <c:pt idx="828">
                  <c:v>40077</c:v>
                </c:pt>
                <c:pt idx="829">
                  <c:v>40078</c:v>
                </c:pt>
                <c:pt idx="830">
                  <c:v>40079</c:v>
                </c:pt>
                <c:pt idx="831">
                  <c:v>40080</c:v>
                </c:pt>
                <c:pt idx="832">
                  <c:v>40081</c:v>
                </c:pt>
                <c:pt idx="833">
                  <c:v>40084</c:v>
                </c:pt>
                <c:pt idx="834">
                  <c:v>40085</c:v>
                </c:pt>
                <c:pt idx="835">
                  <c:v>40086</c:v>
                </c:pt>
                <c:pt idx="836">
                  <c:v>40087</c:v>
                </c:pt>
                <c:pt idx="837">
                  <c:v>40088</c:v>
                </c:pt>
                <c:pt idx="838">
                  <c:v>40091</c:v>
                </c:pt>
                <c:pt idx="839">
                  <c:v>40092</c:v>
                </c:pt>
                <c:pt idx="840">
                  <c:v>40093</c:v>
                </c:pt>
                <c:pt idx="841">
                  <c:v>40094</c:v>
                </c:pt>
                <c:pt idx="842">
                  <c:v>40095</c:v>
                </c:pt>
                <c:pt idx="843">
                  <c:v>40098</c:v>
                </c:pt>
                <c:pt idx="844">
                  <c:v>40099</c:v>
                </c:pt>
                <c:pt idx="845">
                  <c:v>40100</c:v>
                </c:pt>
                <c:pt idx="846">
                  <c:v>40101</c:v>
                </c:pt>
                <c:pt idx="847">
                  <c:v>40102</c:v>
                </c:pt>
                <c:pt idx="848">
                  <c:v>40105</c:v>
                </c:pt>
                <c:pt idx="849">
                  <c:v>40106</c:v>
                </c:pt>
                <c:pt idx="850">
                  <c:v>40107</c:v>
                </c:pt>
                <c:pt idx="851">
                  <c:v>40108</c:v>
                </c:pt>
                <c:pt idx="852">
                  <c:v>40109</c:v>
                </c:pt>
                <c:pt idx="853">
                  <c:v>40112</c:v>
                </c:pt>
                <c:pt idx="854">
                  <c:v>40113</c:v>
                </c:pt>
                <c:pt idx="855">
                  <c:v>40114</c:v>
                </c:pt>
                <c:pt idx="856">
                  <c:v>40115</c:v>
                </c:pt>
                <c:pt idx="857">
                  <c:v>40116</c:v>
                </c:pt>
                <c:pt idx="858">
                  <c:v>40119</c:v>
                </c:pt>
                <c:pt idx="859">
                  <c:v>40120</c:v>
                </c:pt>
                <c:pt idx="860">
                  <c:v>40121</c:v>
                </c:pt>
                <c:pt idx="861">
                  <c:v>40122</c:v>
                </c:pt>
                <c:pt idx="862">
                  <c:v>40123</c:v>
                </c:pt>
                <c:pt idx="863">
                  <c:v>40126</c:v>
                </c:pt>
                <c:pt idx="864">
                  <c:v>40127</c:v>
                </c:pt>
                <c:pt idx="865">
                  <c:v>40128</c:v>
                </c:pt>
                <c:pt idx="866">
                  <c:v>40129</c:v>
                </c:pt>
                <c:pt idx="867">
                  <c:v>40130</c:v>
                </c:pt>
                <c:pt idx="868">
                  <c:v>40133</c:v>
                </c:pt>
                <c:pt idx="869">
                  <c:v>40134</c:v>
                </c:pt>
                <c:pt idx="870">
                  <c:v>40135</c:v>
                </c:pt>
                <c:pt idx="871">
                  <c:v>40136</c:v>
                </c:pt>
                <c:pt idx="872">
                  <c:v>40137</c:v>
                </c:pt>
                <c:pt idx="873">
                  <c:v>40140</c:v>
                </c:pt>
                <c:pt idx="874">
                  <c:v>40141</c:v>
                </c:pt>
                <c:pt idx="875">
                  <c:v>40142</c:v>
                </c:pt>
                <c:pt idx="876">
                  <c:v>40144</c:v>
                </c:pt>
                <c:pt idx="877">
                  <c:v>40147</c:v>
                </c:pt>
                <c:pt idx="878">
                  <c:v>40148</c:v>
                </c:pt>
                <c:pt idx="879">
                  <c:v>40149</c:v>
                </c:pt>
                <c:pt idx="880">
                  <c:v>40150</c:v>
                </c:pt>
                <c:pt idx="881">
                  <c:v>40151</c:v>
                </c:pt>
                <c:pt idx="882">
                  <c:v>40154</c:v>
                </c:pt>
                <c:pt idx="883">
                  <c:v>40155</c:v>
                </c:pt>
                <c:pt idx="884">
                  <c:v>40156</c:v>
                </c:pt>
                <c:pt idx="885">
                  <c:v>40157</c:v>
                </c:pt>
                <c:pt idx="886">
                  <c:v>40158</c:v>
                </c:pt>
                <c:pt idx="887">
                  <c:v>40161</c:v>
                </c:pt>
                <c:pt idx="888">
                  <c:v>40162</c:v>
                </c:pt>
                <c:pt idx="889">
                  <c:v>40163</c:v>
                </c:pt>
                <c:pt idx="890">
                  <c:v>40164</c:v>
                </c:pt>
                <c:pt idx="891">
                  <c:v>40165</c:v>
                </c:pt>
                <c:pt idx="892">
                  <c:v>40168</c:v>
                </c:pt>
                <c:pt idx="893">
                  <c:v>40169</c:v>
                </c:pt>
                <c:pt idx="894">
                  <c:v>40170</c:v>
                </c:pt>
                <c:pt idx="895">
                  <c:v>40171</c:v>
                </c:pt>
                <c:pt idx="896">
                  <c:v>40175</c:v>
                </c:pt>
                <c:pt idx="897">
                  <c:v>40176</c:v>
                </c:pt>
                <c:pt idx="898">
                  <c:v>40177</c:v>
                </c:pt>
                <c:pt idx="899">
                  <c:v>40178</c:v>
                </c:pt>
                <c:pt idx="900">
                  <c:v>40182</c:v>
                </c:pt>
                <c:pt idx="901">
                  <c:v>40183</c:v>
                </c:pt>
                <c:pt idx="902">
                  <c:v>40184</c:v>
                </c:pt>
                <c:pt idx="903">
                  <c:v>40185</c:v>
                </c:pt>
                <c:pt idx="904">
                  <c:v>40186</c:v>
                </c:pt>
                <c:pt idx="905">
                  <c:v>40189</c:v>
                </c:pt>
                <c:pt idx="906">
                  <c:v>40190</c:v>
                </c:pt>
                <c:pt idx="907">
                  <c:v>40191</c:v>
                </c:pt>
                <c:pt idx="908">
                  <c:v>40192</c:v>
                </c:pt>
                <c:pt idx="909">
                  <c:v>40193</c:v>
                </c:pt>
                <c:pt idx="910">
                  <c:v>40197</c:v>
                </c:pt>
                <c:pt idx="911">
                  <c:v>40198</c:v>
                </c:pt>
                <c:pt idx="912">
                  <c:v>40199</c:v>
                </c:pt>
                <c:pt idx="913">
                  <c:v>40200</c:v>
                </c:pt>
                <c:pt idx="914">
                  <c:v>40203</c:v>
                </c:pt>
                <c:pt idx="915">
                  <c:v>40204</c:v>
                </c:pt>
                <c:pt idx="916">
                  <c:v>40205</c:v>
                </c:pt>
                <c:pt idx="917">
                  <c:v>40206</c:v>
                </c:pt>
                <c:pt idx="918">
                  <c:v>40207</c:v>
                </c:pt>
                <c:pt idx="919">
                  <c:v>40210</c:v>
                </c:pt>
                <c:pt idx="920">
                  <c:v>40211</c:v>
                </c:pt>
                <c:pt idx="921">
                  <c:v>40212</c:v>
                </c:pt>
                <c:pt idx="922">
                  <c:v>40213</c:v>
                </c:pt>
                <c:pt idx="923">
                  <c:v>40214</c:v>
                </c:pt>
                <c:pt idx="924">
                  <c:v>40217</c:v>
                </c:pt>
                <c:pt idx="925">
                  <c:v>40218</c:v>
                </c:pt>
                <c:pt idx="926">
                  <c:v>40219</c:v>
                </c:pt>
                <c:pt idx="927">
                  <c:v>40220</c:v>
                </c:pt>
                <c:pt idx="928">
                  <c:v>40221</c:v>
                </c:pt>
                <c:pt idx="929">
                  <c:v>40225</c:v>
                </c:pt>
                <c:pt idx="930">
                  <c:v>40226</c:v>
                </c:pt>
                <c:pt idx="931">
                  <c:v>40227</c:v>
                </c:pt>
                <c:pt idx="932">
                  <c:v>40228</c:v>
                </c:pt>
                <c:pt idx="933">
                  <c:v>40231</c:v>
                </c:pt>
                <c:pt idx="934">
                  <c:v>40232</c:v>
                </c:pt>
                <c:pt idx="935">
                  <c:v>40233</c:v>
                </c:pt>
                <c:pt idx="936">
                  <c:v>40234</c:v>
                </c:pt>
                <c:pt idx="937">
                  <c:v>40235</c:v>
                </c:pt>
                <c:pt idx="938">
                  <c:v>40238</c:v>
                </c:pt>
                <c:pt idx="939">
                  <c:v>40239</c:v>
                </c:pt>
                <c:pt idx="940">
                  <c:v>40240</c:v>
                </c:pt>
                <c:pt idx="941">
                  <c:v>40241</c:v>
                </c:pt>
                <c:pt idx="942">
                  <c:v>40242</c:v>
                </c:pt>
                <c:pt idx="943">
                  <c:v>40245</c:v>
                </c:pt>
                <c:pt idx="944">
                  <c:v>40246</c:v>
                </c:pt>
                <c:pt idx="945">
                  <c:v>40247</c:v>
                </c:pt>
                <c:pt idx="946">
                  <c:v>40248</c:v>
                </c:pt>
                <c:pt idx="947">
                  <c:v>40249</c:v>
                </c:pt>
                <c:pt idx="948">
                  <c:v>40252</c:v>
                </c:pt>
                <c:pt idx="949">
                  <c:v>40253</c:v>
                </c:pt>
                <c:pt idx="950">
                  <c:v>40254</c:v>
                </c:pt>
                <c:pt idx="951">
                  <c:v>40255</c:v>
                </c:pt>
                <c:pt idx="952">
                  <c:v>40256</c:v>
                </c:pt>
                <c:pt idx="953">
                  <c:v>40259</c:v>
                </c:pt>
                <c:pt idx="954">
                  <c:v>40260</c:v>
                </c:pt>
                <c:pt idx="955">
                  <c:v>40261</c:v>
                </c:pt>
                <c:pt idx="956">
                  <c:v>40262</c:v>
                </c:pt>
                <c:pt idx="957">
                  <c:v>40263</c:v>
                </c:pt>
                <c:pt idx="958">
                  <c:v>40266</c:v>
                </c:pt>
                <c:pt idx="959">
                  <c:v>40267</c:v>
                </c:pt>
                <c:pt idx="960">
                  <c:v>40268</c:v>
                </c:pt>
                <c:pt idx="961">
                  <c:v>40269</c:v>
                </c:pt>
                <c:pt idx="962">
                  <c:v>40273</c:v>
                </c:pt>
                <c:pt idx="963">
                  <c:v>40274</c:v>
                </c:pt>
                <c:pt idx="964">
                  <c:v>40275</c:v>
                </c:pt>
                <c:pt idx="965">
                  <c:v>40276</c:v>
                </c:pt>
                <c:pt idx="966">
                  <c:v>40277</c:v>
                </c:pt>
                <c:pt idx="967">
                  <c:v>40280</c:v>
                </c:pt>
                <c:pt idx="968">
                  <c:v>40281</c:v>
                </c:pt>
                <c:pt idx="969">
                  <c:v>40282</c:v>
                </c:pt>
                <c:pt idx="970">
                  <c:v>40283</c:v>
                </c:pt>
                <c:pt idx="971">
                  <c:v>40284</c:v>
                </c:pt>
                <c:pt idx="972">
                  <c:v>40287</c:v>
                </c:pt>
                <c:pt idx="973">
                  <c:v>40288</c:v>
                </c:pt>
                <c:pt idx="974">
                  <c:v>40289</c:v>
                </c:pt>
                <c:pt idx="975">
                  <c:v>40290</c:v>
                </c:pt>
                <c:pt idx="976">
                  <c:v>40291</c:v>
                </c:pt>
                <c:pt idx="977">
                  <c:v>40294</c:v>
                </c:pt>
                <c:pt idx="978">
                  <c:v>40295</c:v>
                </c:pt>
                <c:pt idx="979">
                  <c:v>40296</c:v>
                </c:pt>
                <c:pt idx="980">
                  <c:v>40297</c:v>
                </c:pt>
                <c:pt idx="981">
                  <c:v>40298</c:v>
                </c:pt>
                <c:pt idx="982">
                  <c:v>40301</c:v>
                </c:pt>
                <c:pt idx="983">
                  <c:v>40302</c:v>
                </c:pt>
                <c:pt idx="984">
                  <c:v>40303</c:v>
                </c:pt>
                <c:pt idx="985">
                  <c:v>40304</c:v>
                </c:pt>
                <c:pt idx="986">
                  <c:v>40305</c:v>
                </c:pt>
                <c:pt idx="987">
                  <c:v>40308</c:v>
                </c:pt>
                <c:pt idx="988">
                  <c:v>40309</c:v>
                </c:pt>
                <c:pt idx="989">
                  <c:v>40310</c:v>
                </c:pt>
                <c:pt idx="990">
                  <c:v>40311</c:v>
                </c:pt>
                <c:pt idx="991">
                  <c:v>40312</c:v>
                </c:pt>
                <c:pt idx="992">
                  <c:v>40315</c:v>
                </c:pt>
                <c:pt idx="993">
                  <c:v>40316</c:v>
                </c:pt>
                <c:pt idx="994">
                  <c:v>40317</c:v>
                </c:pt>
                <c:pt idx="995">
                  <c:v>40318</c:v>
                </c:pt>
                <c:pt idx="996">
                  <c:v>40319</c:v>
                </c:pt>
                <c:pt idx="997">
                  <c:v>40322</c:v>
                </c:pt>
                <c:pt idx="998">
                  <c:v>40323</c:v>
                </c:pt>
                <c:pt idx="999">
                  <c:v>40324</c:v>
                </c:pt>
                <c:pt idx="1000">
                  <c:v>40325</c:v>
                </c:pt>
                <c:pt idx="1001">
                  <c:v>40326</c:v>
                </c:pt>
                <c:pt idx="1002">
                  <c:v>40330</c:v>
                </c:pt>
                <c:pt idx="1003">
                  <c:v>40331</c:v>
                </c:pt>
                <c:pt idx="1004">
                  <c:v>40332</c:v>
                </c:pt>
                <c:pt idx="1005">
                  <c:v>40333</c:v>
                </c:pt>
                <c:pt idx="1006">
                  <c:v>40336</c:v>
                </c:pt>
                <c:pt idx="1007">
                  <c:v>40337</c:v>
                </c:pt>
                <c:pt idx="1008">
                  <c:v>40338</c:v>
                </c:pt>
                <c:pt idx="1009">
                  <c:v>40339</c:v>
                </c:pt>
                <c:pt idx="1010">
                  <c:v>40340</c:v>
                </c:pt>
                <c:pt idx="1011">
                  <c:v>40343</c:v>
                </c:pt>
                <c:pt idx="1012">
                  <c:v>40344</c:v>
                </c:pt>
                <c:pt idx="1013">
                  <c:v>40345</c:v>
                </c:pt>
                <c:pt idx="1014">
                  <c:v>40346</c:v>
                </c:pt>
                <c:pt idx="1015">
                  <c:v>40347</c:v>
                </c:pt>
                <c:pt idx="1016">
                  <c:v>40350</c:v>
                </c:pt>
                <c:pt idx="1017">
                  <c:v>40351</c:v>
                </c:pt>
                <c:pt idx="1018">
                  <c:v>40352</c:v>
                </c:pt>
                <c:pt idx="1019">
                  <c:v>40353</c:v>
                </c:pt>
                <c:pt idx="1020">
                  <c:v>40354</c:v>
                </c:pt>
                <c:pt idx="1021">
                  <c:v>40357</c:v>
                </c:pt>
                <c:pt idx="1022">
                  <c:v>40358</c:v>
                </c:pt>
                <c:pt idx="1023">
                  <c:v>40359</c:v>
                </c:pt>
                <c:pt idx="1024">
                  <c:v>40360</c:v>
                </c:pt>
                <c:pt idx="1025">
                  <c:v>40361</c:v>
                </c:pt>
                <c:pt idx="1026">
                  <c:v>40365</c:v>
                </c:pt>
                <c:pt idx="1027">
                  <c:v>40366</c:v>
                </c:pt>
                <c:pt idx="1028">
                  <c:v>40367</c:v>
                </c:pt>
                <c:pt idx="1029">
                  <c:v>40368</c:v>
                </c:pt>
                <c:pt idx="1030">
                  <c:v>40371</c:v>
                </c:pt>
                <c:pt idx="1031">
                  <c:v>40372</c:v>
                </c:pt>
                <c:pt idx="1032">
                  <c:v>40373</c:v>
                </c:pt>
                <c:pt idx="1033">
                  <c:v>40374</c:v>
                </c:pt>
                <c:pt idx="1034">
                  <c:v>40375</c:v>
                </c:pt>
                <c:pt idx="1035">
                  <c:v>40378</c:v>
                </c:pt>
                <c:pt idx="1036">
                  <c:v>40379</c:v>
                </c:pt>
                <c:pt idx="1037">
                  <c:v>40380</c:v>
                </c:pt>
                <c:pt idx="1038">
                  <c:v>40381</c:v>
                </c:pt>
                <c:pt idx="1039">
                  <c:v>40382</c:v>
                </c:pt>
                <c:pt idx="1040">
                  <c:v>40385</c:v>
                </c:pt>
                <c:pt idx="1041">
                  <c:v>40386</c:v>
                </c:pt>
                <c:pt idx="1042">
                  <c:v>40387</c:v>
                </c:pt>
                <c:pt idx="1043">
                  <c:v>40388</c:v>
                </c:pt>
                <c:pt idx="1044">
                  <c:v>40389</c:v>
                </c:pt>
                <c:pt idx="1045">
                  <c:v>40392</c:v>
                </c:pt>
                <c:pt idx="1046">
                  <c:v>40393</c:v>
                </c:pt>
                <c:pt idx="1047">
                  <c:v>40394</c:v>
                </c:pt>
                <c:pt idx="1048">
                  <c:v>40395</c:v>
                </c:pt>
                <c:pt idx="1049">
                  <c:v>40396</c:v>
                </c:pt>
                <c:pt idx="1050">
                  <c:v>40399</c:v>
                </c:pt>
                <c:pt idx="1051">
                  <c:v>40400</c:v>
                </c:pt>
                <c:pt idx="1052">
                  <c:v>40401</c:v>
                </c:pt>
                <c:pt idx="1053">
                  <c:v>40402</c:v>
                </c:pt>
                <c:pt idx="1054">
                  <c:v>40403</c:v>
                </c:pt>
                <c:pt idx="1055">
                  <c:v>40406</c:v>
                </c:pt>
                <c:pt idx="1056">
                  <c:v>40407</c:v>
                </c:pt>
                <c:pt idx="1057">
                  <c:v>40408</c:v>
                </c:pt>
                <c:pt idx="1058">
                  <c:v>40409</c:v>
                </c:pt>
                <c:pt idx="1059">
                  <c:v>40410</c:v>
                </c:pt>
                <c:pt idx="1060">
                  <c:v>40413</c:v>
                </c:pt>
                <c:pt idx="1061">
                  <c:v>40414</c:v>
                </c:pt>
                <c:pt idx="1062">
                  <c:v>40415</c:v>
                </c:pt>
                <c:pt idx="1063">
                  <c:v>40416</c:v>
                </c:pt>
                <c:pt idx="1064">
                  <c:v>40417</c:v>
                </c:pt>
                <c:pt idx="1065">
                  <c:v>40420</c:v>
                </c:pt>
                <c:pt idx="1066">
                  <c:v>40421</c:v>
                </c:pt>
                <c:pt idx="1067">
                  <c:v>40422</c:v>
                </c:pt>
                <c:pt idx="1068">
                  <c:v>40423</c:v>
                </c:pt>
                <c:pt idx="1069">
                  <c:v>40424</c:v>
                </c:pt>
                <c:pt idx="1070">
                  <c:v>40428</c:v>
                </c:pt>
                <c:pt idx="1071">
                  <c:v>40429</c:v>
                </c:pt>
                <c:pt idx="1072">
                  <c:v>40430</c:v>
                </c:pt>
                <c:pt idx="1073">
                  <c:v>40431</c:v>
                </c:pt>
                <c:pt idx="1074">
                  <c:v>40434</c:v>
                </c:pt>
                <c:pt idx="1075">
                  <c:v>40435</c:v>
                </c:pt>
                <c:pt idx="1076">
                  <c:v>40436</c:v>
                </c:pt>
                <c:pt idx="1077">
                  <c:v>40437</c:v>
                </c:pt>
                <c:pt idx="1078">
                  <c:v>40438</c:v>
                </c:pt>
                <c:pt idx="1079">
                  <c:v>40441</c:v>
                </c:pt>
                <c:pt idx="1080">
                  <c:v>40442</c:v>
                </c:pt>
                <c:pt idx="1081">
                  <c:v>40443</c:v>
                </c:pt>
                <c:pt idx="1082">
                  <c:v>40444</c:v>
                </c:pt>
                <c:pt idx="1083">
                  <c:v>40445</c:v>
                </c:pt>
                <c:pt idx="1084">
                  <c:v>40448</c:v>
                </c:pt>
                <c:pt idx="1085">
                  <c:v>40449</c:v>
                </c:pt>
                <c:pt idx="1086">
                  <c:v>40450</c:v>
                </c:pt>
                <c:pt idx="1087">
                  <c:v>40451</c:v>
                </c:pt>
                <c:pt idx="1088">
                  <c:v>40452</c:v>
                </c:pt>
                <c:pt idx="1089">
                  <c:v>40455</c:v>
                </c:pt>
                <c:pt idx="1090">
                  <c:v>40456</c:v>
                </c:pt>
                <c:pt idx="1091">
                  <c:v>40457</c:v>
                </c:pt>
                <c:pt idx="1092">
                  <c:v>40458</c:v>
                </c:pt>
                <c:pt idx="1093">
                  <c:v>40459</c:v>
                </c:pt>
                <c:pt idx="1094">
                  <c:v>40462</c:v>
                </c:pt>
                <c:pt idx="1095">
                  <c:v>40463</c:v>
                </c:pt>
                <c:pt idx="1096">
                  <c:v>40464</c:v>
                </c:pt>
                <c:pt idx="1097">
                  <c:v>40465</c:v>
                </c:pt>
                <c:pt idx="1098">
                  <c:v>40466</c:v>
                </c:pt>
                <c:pt idx="1099">
                  <c:v>40469</c:v>
                </c:pt>
                <c:pt idx="1100">
                  <c:v>40470</c:v>
                </c:pt>
                <c:pt idx="1101">
                  <c:v>40471</c:v>
                </c:pt>
                <c:pt idx="1102">
                  <c:v>40472</c:v>
                </c:pt>
                <c:pt idx="1103">
                  <c:v>40473</c:v>
                </c:pt>
                <c:pt idx="1104">
                  <c:v>40476</c:v>
                </c:pt>
                <c:pt idx="1105">
                  <c:v>40477</c:v>
                </c:pt>
                <c:pt idx="1106">
                  <c:v>40478</c:v>
                </c:pt>
                <c:pt idx="1107">
                  <c:v>40479</c:v>
                </c:pt>
                <c:pt idx="1108">
                  <c:v>40480</c:v>
                </c:pt>
                <c:pt idx="1109">
                  <c:v>40483</c:v>
                </c:pt>
                <c:pt idx="1110">
                  <c:v>40484</c:v>
                </c:pt>
                <c:pt idx="1111">
                  <c:v>40485</c:v>
                </c:pt>
                <c:pt idx="1112">
                  <c:v>40486</c:v>
                </c:pt>
                <c:pt idx="1113">
                  <c:v>40487</c:v>
                </c:pt>
                <c:pt idx="1114">
                  <c:v>40490</c:v>
                </c:pt>
                <c:pt idx="1115">
                  <c:v>40491</c:v>
                </c:pt>
                <c:pt idx="1116">
                  <c:v>40492</c:v>
                </c:pt>
                <c:pt idx="1117">
                  <c:v>40493</c:v>
                </c:pt>
                <c:pt idx="1118">
                  <c:v>40494</c:v>
                </c:pt>
                <c:pt idx="1119">
                  <c:v>40497</c:v>
                </c:pt>
                <c:pt idx="1120">
                  <c:v>40498</c:v>
                </c:pt>
                <c:pt idx="1121">
                  <c:v>40499</c:v>
                </c:pt>
                <c:pt idx="1122">
                  <c:v>40500</c:v>
                </c:pt>
                <c:pt idx="1123">
                  <c:v>40501</c:v>
                </c:pt>
                <c:pt idx="1124">
                  <c:v>40504</c:v>
                </c:pt>
                <c:pt idx="1125">
                  <c:v>40505</c:v>
                </c:pt>
                <c:pt idx="1126">
                  <c:v>40506</c:v>
                </c:pt>
                <c:pt idx="1127">
                  <c:v>40508</c:v>
                </c:pt>
                <c:pt idx="1128">
                  <c:v>40511</c:v>
                </c:pt>
                <c:pt idx="1129">
                  <c:v>40512</c:v>
                </c:pt>
                <c:pt idx="1130">
                  <c:v>40513</c:v>
                </c:pt>
                <c:pt idx="1131">
                  <c:v>40514</c:v>
                </c:pt>
                <c:pt idx="1132">
                  <c:v>40515</c:v>
                </c:pt>
                <c:pt idx="1133">
                  <c:v>40518</c:v>
                </c:pt>
                <c:pt idx="1134">
                  <c:v>40519</c:v>
                </c:pt>
                <c:pt idx="1135">
                  <c:v>40520</c:v>
                </c:pt>
                <c:pt idx="1136">
                  <c:v>40521</c:v>
                </c:pt>
                <c:pt idx="1137">
                  <c:v>40522</c:v>
                </c:pt>
                <c:pt idx="1138">
                  <c:v>40525</c:v>
                </c:pt>
                <c:pt idx="1139">
                  <c:v>40526</c:v>
                </c:pt>
                <c:pt idx="1140">
                  <c:v>40527</c:v>
                </c:pt>
                <c:pt idx="1141">
                  <c:v>40528</c:v>
                </c:pt>
                <c:pt idx="1142">
                  <c:v>40529</c:v>
                </c:pt>
                <c:pt idx="1143">
                  <c:v>40532</c:v>
                </c:pt>
                <c:pt idx="1144">
                  <c:v>40533</c:v>
                </c:pt>
                <c:pt idx="1145">
                  <c:v>40534</c:v>
                </c:pt>
                <c:pt idx="1146">
                  <c:v>40535</c:v>
                </c:pt>
                <c:pt idx="1147">
                  <c:v>40539</c:v>
                </c:pt>
                <c:pt idx="1148">
                  <c:v>40540</c:v>
                </c:pt>
                <c:pt idx="1149">
                  <c:v>40541</c:v>
                </c:pt>
                <c:pt idx="1150">
                  <c:v>40542</c:v>
                </c:pt>
                <c:pt idx="1151">
                  <c:v>40543</c:v>
                </c:pt>
                <c:pt idx="1152">
                  <c:v>40546</c:v>
                </c:pt>
                <c:pt idx="1153">
                  <c:v>40547</c:v>
                </c:pt>
                <c:pt idx="1154">
                  <c:v>40548</c:v>
                </c:pt>
                <c:pt idx="1155">
                  <c:v>40549</c:v>
                </c:pt>
                <c:pt idx="1156">
                  <c:v>40550</c:v>
                </c:pt>
                <c:pt idx="1157">
                  <c:v>40553</c:v>
                </c:pt>
                <c:pt idx="1158">
                  <c:v>40554</c:v>
                </c:pt>
                <c:pt idx="1159">
                  <c:v>40555</c:v>
                </c:pt>
                <c:pt idx="1160">
                  <c:v>40556</c:v>
                </c:pt>
                <c:pt idx="1161">
                  <c:v>40557</c:v>
                </c:pt>
                <c:pt idx="1162">
                  <c:v>40561</c:v>
                </c:pt>
                <c:pt idx="1163">
                  <c:v>40562</c:v>
                </c:pt>
                <c:pt idx="1164">
                  <c:v>40563</c:v>
                </c:pt>
                <c:pt idx="1165">
                  <c:v>40564</c:v>
                </c:pt>
                <c:pt idx="1166">
                  <c:v>40567</c:v>
                </c:pt>
                <c:pt idx="1167">
                  <c:v>40568</c:v>
                </c:pt>
                <c:pt idx="1168">
                  <c:v>40569</c:v>
                </c:pt>
                <c:pt idx="1169">
                  <c:v>40570</c:v>
                </c:pt>
                <c:pt idx="1170">
                  <c:v>40571</c:v>
                </c:pt>
                <c:pt idx="1171">
                  <c:v>40574</c:v>
                </c:pt>
                <c:pt idx="1172">
                  <c:v>40575</c:v>
                </c:pt>
                <c:pt idx="1173">
                  <c:v>40576</c:v>
                </c:pt>
                <c:pt idx="1174">
                  <c:v>40577</c:v>
                </c:pt>
                <c:pt idx="1175">
                  <c:v>40578</c:v>
                </c:pt>
                <c:pt idx="1176">
                  <c:v>40581</c:v>
                </c:pt>
                <c:pt idx="1177">
                  <c:v>40582</c:v>
                </c:pt>
                <c:pt idx="1178">
                  <c:v>40583</c:v>
                </c:pt>
                <c:pt idx="1179">
                  <c:v>40584</c:v>
                </c:pt>
                <c:pt idx="1180">
                  <c:v>40585</c:v>
                </c:pt>
                <c:pt idx="1181">
                  <c:v>40588</c:v>
                </c:pt>
                <c:pt idx="1182">
                  <c:v>40589</c:v>
                </c:pt>
                <c:pt idx="1183">
                  <c:v>40590</c:v>
                </c:pt>
                <c:pt idx="1184">
                  <c:v>40591</c:v>
                </c:pt>
                <c:pt idx="1185">
                  <c:v>40592</c:v>
                </c:pt>
                <c:pt idx="1186">
                  <c:v>40596</c:v>
                </c:pt>
                <c:pt idx="1187">
                  <c:v>40597</c:v>
                </c:pt>
                <c:pt idx="1188">
                  <c:v>40598</c:v>
                </c:pt>
                <c:pt idx="1189">
                  <c:v>40599</c:v>
                </c:pt>
                <c:pt idx="1190">
                  <c:v>40602</c:v>
                </c:pt>
                <c:pt idx="1191">
                  <c:v>40603</c:v>
                </c:pt>
                <c:pt idx="1192">
                  <c:v>40604</c:v>
                </c:pt>
                <c:pt idx="1193">
                  <c:v>40605</c:v>
                </c:pt>
                <c:pt idx="1194">
                  <c:v>40606</c:v>
                </c:pt>
                <c:pt idx="1195">
                  <c:v>40609</c:v>
                </c:pt>
                <c:pt idx="1196">
                  <c:v>40610</c:v>
                </c:pt>
                <c:pt idx="1197">
                  <c:v>40611</c:v>
                </c:pt>
                <c:pt idx="1198">
                  <c:v>40612</c:v>
                </c:pt>
                <c:pt idx="1199">
                  <c:v>40613</c:v>
                </c:pt>
                <c:pt idx="1200">
                  <c:v>40616</c:v>
                </c:pt>
                <c:pt idx="1201">
                  <c:v>40617</c:v>
                </c:pt>
                <c:pt idx="1202">
                  <c:v>40618</c:v>
                </c:pt>
                <c:pt idx="1203">
                  <c:v>40619</c:v>
                </c:pt>
                <c:pt idx="1204">
                  <c:v>40620</c:v>
                </c:pt>
                <c:pt idx="1205">
                  <c:v>40623</c:v>
                </c:pt>
                <c:pt idx="1206">
                  <c:v>40624</c:v>
                </c:pt>
                <c:pt idx="1207">
                  <c:v>40625</c:v>
                </c:pt>
                <c:pt idx="1208">
                  <c:v>40626</c:v>
                </c:pt>
                <c:pt idx="1209">
                  <c:v>40627</c:v>
                </c:pt>
                <c:pt idx="1210">
                  <c:v>40630</c:v>
                </c:pt>
                <c:pt idx="1211">
                  <c:v>40631</c:v>
                </c:pt>
                <c:pt idx="1212">
                  <c:v>40632</c:v>
                </c:pt>
                <c:pt idx="1213">
                  <c:v>40633</c:v>
                </c:pt>
                <c:pt idx="1214">
                  <c:v>40634</c:v>
                </c:pt>
                <c:pt idx="1215">
                  <c:v>40637</c:v>
                </c:pt>
                <c:pt idx="1216">
                  <c:v>40638</c:v>
                </c:pt>
                <c:pt idx="1217">
                  <c:v>40639</c:v>
                </c:pt>
                <c:pt idx="1218">
                  <c:v>40640</c:v>
                </c:pt>
                <c:pt idx="1219">
                  <c:v>40641</c:v>
                </c:pt>
                <c:pt idx="1220">
                  <c:v>40644</c:v>
                </c:pt>
                <c:pt idx="1221">
                  <c:v>40645</c:v>
                </c:pt>
                <c:pt idx="1222">
                  <c:v>40646</c:v>
                </c:pt>
                <c:pt idx="1223">
                  <c:v>40647</c:v>
                </c:pt>
                <c:pt idx="1224">
                  <c:v>40648</c:v>
                </c:pt>
                <c:pt idx="1225">
                  <c:v>40651</c:v>
                </c:pt>
                <c:pt idx="1226">
                  <c:v>40652</c:v>
                </c:pt>
                <c:pt idx="1227">
                  <c:v>40653</c:v>
                </c:pt>
                <c:pt idx="1228">
                  <c:v>40654</c:v>
                </c:pt>
                <c:pt idx="1229">
                  <c:v>40658</c:v>
                </c:pt>
                <c:pt idx="1230">
                  <c:v>40659</c:v>
                </c:pt>
                <c:pt idx="1231">
                  <c:v>40660</c:v>
                </c:pt>
                <c:pt idx="1232">
                  <c:v>40661</c:v>
                </c:pt>
                <c:pt idx="1233">
                  <c:v>40662</c:v>
                </c:pt>
                <c:pt idx="1234">
                  <c:v>40665</c:v>
                </c:pt>
                <c:pt idx="1235">
                  <c:v>40666</c:v>
                </c:pt>
                <c:pt idx="1236">
                  <c:v>40667</c:v>
                </c:pt>
                <c:pt idx="1237">
                  <c:v>40668</c:v>
                </c:pt>
                <c:pt idx="1238">
                  <c:v>40669</c:v>
                </c:pt>
                <c:pt idx="1239">
                  <c:v>40672</c:v>
                </c:pt>
                <c:pt idx="1240">
                  <c:v>40673</c:v>
                </c:pt>
                <c:pt idx="1241">
                  <c:v>40674</c:v>
                </c:pt>
                <c:pt idx="1242">
                  <c:v>40675</c:v>
                </c:pt>
                <c:pt idx="1243">
                  <c:v>40676</c:v>
                </c:pt>
                <c:pt idx="1244">
                  <c:v>40679</c:v>
                </c:pt>
                <c:pt idx="1245">
                  <c:v>40680</c:v>
                </c:pt>
                <c:pt idx="1246">
                  <c:v>40681</c:v>
                </c:pt>
                <c:pt idx="1247">
                  <c:v>40682</c:v>
                </c:pt>
                <c:pt idx="1248">
                  <c:v>40683</c:v>
                </c:pt>
                <c:pt idx="1249">
                  <c:v>40686</c:v>
                </c:pt>
                <c:pt idx="1250">
                  <c:v>40687</c:v>
                </c:pt>
                <c:pt idx="1251">
                  <c:v>40688</c:v>
                </c:pt>
                <c:pt idx="1252">
                  <c:v>40689</c:v>
                </c:pt>
                <c:pt idx="1253">
                  <c:v>40690</c:v>
                </c:pt>
                <c:pt idx="1254">
                  <c:v>40694</c:v>
                </c:pt>
                <c:pt idx="1255">
                  <c:v>40695</c:v>
                </c:pt>
                <c:pt idx="1256">
                  <c:v>40696</c:v>
                </c:pt>
                <c:pt idx="1257">
                  <c:v>40697</c:v>
                </c:pt>
                <c:pt idx="1258">
                  <c:v>40700</c:v>
                </c:pt>
                <c:pt idx="1259">
                  <c:v>40701</c:v>
                </c:pt>
                <c:pt idx="1260">
                  <c:v>40702</c:v>
                </c:pt>
                <c:pt idx="1261">
                  <c:v>40703</c:v>
                </c:pt>
                <c:pt idx="1262">
                  <c:v>40704</c:v>
                </c:pt>
                <c:pt idx="1263">
                  <c:v>40707</c:v>
                </c:pt>
                <c:pt idx="1264">
                  <c:v>40708</c:v>
                </c:pt>
                <c:pt idx="1265">
                  <c:v>40709</c:v>
                </c:pt>
                <c:pt idx="1266">
                  <c:v>40710</c:v>
                </c:pt>
                <c:pt idx="1267">
                  <c:v>40711</c:v>
                </c:pt>
                <c:pt idx="1268">
                  <c:v>40714</c:v>
                </c:pt>
                <c:pt idx="1269">
                  <c:v>40715</c:v>
                </c:pt>
                <c:pt idx="1270">
                  <c:v>40716</c:v>
                </c:pt>
                <c:pt idx="1271">
                  <c:v>40717</c:v>
                </c:pt>
                <c:pt idx="1272">
                  <c:v>40718</c:v>
                </c:pt>
                <c:pt idx="1273">
                  <c:v>40721</c:v>
                </c:pt>
                <c:pt idx="1274">
                  <c:v>40722</c:v>
                </c:pt>
                <c:pt idx="1275">
                  <c:v>40723</c:v>
                </c:pt>
                <c:pt idx="1276">
                  <c:v>40724</c:v>
                </c:pt>
                <c:pt idx="1277">
                  <c:v>40725</c:v>
                </c:pt>
                <c:pt idx="1278">
                  <c:v>40729</c:v>
                </c:pt>
                <c:pt idx="1279">
                  <c:v>40730</c:v>
                </c:pt>
                <c:pt idx="1280">
                  <c:v>40731</c:v>
                </c:pt>
                <c:pt idx="1281">
                  <c:v>40732</c:v>
                </c:pt>
                <c:pt idx="1282">
                  <c:v>40735</c:v>
                </c:pt>
                <c:pt idx="1283">
                  <c:v>40736</c:v>
                </c:pt>
                <c:pt idx="1284">
                  <c:v>40737</c:v>
                </c:pt>
                <c:pt idx="1285">
                  <c:v>40738</c:v>
                </c:pt>
                <c:pt idx="1286">
                  <c:v>40739</c:v>
                </c:pt>
                <c:pt idx="1287">
                  <c:v>40742</c:v>
                </c:pt>
                <c:pt idx="1288">
                  <c:v>40743</c:v>
                </c:pt>
                <c:pt idx="1289">
                  <c:v>40744</c:v>
                </c:pt>
                <c:pt idx="1290">
                  <c:v>40745</c:v>
                </c:pt>
                <c:pt idx="1291">
                  <c:v>40746</c:v>
                </c:pt>
                <c:pt idx="1292">
                  <c:v>40749</c:v>
                </c:pt>
                <c:pt idx="1293">
                  <c:v>40750</c:v>
                </c:pt>
                <c:pt idx="1294">
                  <c:v>40751</c:v>
                </c:pt>
                <c:pt idx="1295">
                  <c:v>40752</c:v>
                </c:pt>
                <c:pt idx="1296">
                  <c:v>40753</c:v>
                </c:pt>
                <c:pt idx="1297">
                  <c:v>40756</c:v>
                </c:pt>
                <c:pt idx="1298">
                  <c:v>40757</c:v>
                </c:pt>
                <c:pt idx="1299">
                  <c:v>40758</c:v>
                </c:pt>
                <c:pt idx="1300">
                  <c:v>40759</c:v>
                </c:pt>
                <c:pt idx="1301">
                  <c:v>40760</c:v>
                </c:pt>
                <c:pt idx="1302">
                  <c:v>40763</c:v>
                </c:pt>
                <c:pt idx="1303">
                  <c:v>40764</c:v>
                </c:pt>
                <c:pt idx="1304">
                  <c:v>40765</c:v>
                </c:pt>
                <c:pt idx="1305">
                  <c:v>40766</c:v>
                </c:pt>
                <c:pt idx="1306">
                  <c:v>40767</c:v>
                </c:pt>
                <c:pt idx="1307">
                  <c:v>40770</c:v>
                </c:pt>
                <c:pt idx="1308">
                  <c:v>40771</c:v>
                </c:pt>
                <c:pt idx="1309">
                  <c:v>40772</c:v>
                </c:pt>
                <c:pt idx="1310">
                  <c:v>40773</c:v>
                </c:pt>
                <c:pt idx="1311">
                  <c:v>40774</c:v>
                </c:pt>
                <c:pt idx="1312">
                  <c:v>40777</c:v>
                </c:pt>
                <c:pt idx="1313">
                  <c:v>40778</c:v>
                </c:pt>
                <c:pt idx="1314">
                  <c:v>40779</c:v>
                </c:pt>
                <c:pt idx="1315">
                  <c:v>40780</c:v>
                </c:pt>
                <c:pt idx="1316">
                  <c:v>40781</c:v>
                </c:pt>
                <c:pt idx="1317">
                  <c:v>40784</c:v>
                </c:pt>
                <c:pt idx="1318">
                  <c:v>40785</c:v>
                </c:pt>
                <c:pt idx="1319">
                  <c:v>40786</c:v>
                </c:pt>
                <c:pt idx="1320">
                  <c:v>40787</c:v>
                </c:pt>
                <c:pt idx="1321">
                  <c:v>40788</c:v>
                </c:pt>
                <c:pt idx="1322">
                  <c:v>40792</c:v>
                </c:pt>
                <c:pt idx="1323">
                  <c:v>40793</c:v>
                </c:pt>
                <c:pt idx="1324">
                  <c:v>40794</c:v>
                </c:pt>
                <c:pt idx="1325">
                  <c:v>40795</c:v>
                </c:pt>
                <c:pt idx="1326">
                  <c:v>40798</c:v>
                </c:pt>
                <c:pt idx="1327">
                  <c:v>40799</c:v>
                </c:pt>
                <c:pt idx="1328">
                  <c:v>40800</c:v>
                </c:pt>
                <c:pt idx="1329">
                  <c:v>40801</c:v>
                </c:pt>
                <c:pt idx="1330">
                  <c:v>40802</c:v>
                </c:pt>
                <c:pt idx="1331">
                  <c:v>40805</c:v>
                </c:pt>
                <c:pt idx="1332">
                  <c:v>40806</c:v>
                </c:pt>
                <c:pt idx="1333">
                  <c:v>40807</c:v>
                </c:pt>
                <c:pt idx="1334">
                  <c:v>40808</c:v>
                </c:pt>
                <c:pt idx="1335">
                  <c:v>40809</c:v>
                </c:pt>
                <c:pt idx="1336">
                  <c:v>40812</c:v>
                </c:pt>
                <c:pt idx="1337">
                  <c:v>40813</c:v>
                </c:pt>
                <c:pt idx="1338">
                  <c:v>40814</c:v>
                </c:pt>
                <c:pt idx="1339">
                  <c:v>40815</c:v>
                </c:pt>
                <c:pt idx="1340">
                  <c:v>40816</c:v>
                </c:pt>
                <c:pt idx="1341">
                  <c:v>40819</c:v>
                </c:pt>
                <c:pt idx="1342">
                  <c:v>40820</c:v>
                </c:pt>
                <c:pt idx="1343">
                  <c:v>40821</c:v>
                </c:pt>
                <c:pt idx="1344">
                  <c:v>40822</c:v>
                </c:pt>
                <c:pt idx="1345">
                  <c:v>40823</c:v>
                </c:pt>
                <c:pt idx="1346">
                  <c:v>40826</c:v>
                </c:pt>
                <c:pt idx="1347">
                  <c:v>40827</c:v>
                </c:pt>
                <c:pt idx="1348">
                  <c:v>40828</c:v>
                </c:pt>
                <c:pt idx="1349">
                  <c:v>40829</c:v>
                </c:pt>
                <c:pt idx="1350">
                  <c:v>40830</c:v>
                </c:pt>
                <c:pt idx="1351">
                  <c:v>40833</c:v>
                </c:pt>
                <c:pt idx="1352">
                  <c:v>40834</c:v>
                </c:pt>
                <c:pt idx="1353">
                  <c:v>40835</c:v>
                </c:pt>
                <c:pt idx="1354">
                  <c:v>40836</c:v>
                </c:pt>
                <c:pt idx="1355">
                  <c:v>40837</c:v>
                </c:pt>
                <c:pt idx="1356">
                  <c:v>40840</c:v>
                </c:pt>
                <c:pt idx="1357">
                  <c:v>40841</c:v>
                </c:pt>
                <c:pt idx="1358">
                  <c:v>40842</c:v>
                </c:pt>
                <c:pt idx="1359">
                  <c:v>40843</c:v>
                </c:pt>
                <c:pt idx="1360">
                  <c:v>40844</c:v>
                </c:pt>
                <c:pt idx="1361">
                  <c:v>40847</c:v>
                </c:pt>
                <c:pt idx="1362">
                  <c:v>40848</c:v>
                </c:pt>
                <c:pt idx="1363">
                  <c:v>40849</c:v>
                </c:pt>
                <c:pt idx="1364">
                  <c:v>40850</c:v>
                </c:pt>
                <c:pt idx="1365">
                  <c:v>40851</c:v>
                </c:pt>
                <c:pt idx="1366">
                  <c:v>40854</c:v>
                </c:pt>
                <c:pt idx="1367">
                  <c:v>40855</c:v>
                </c:pt>
                <c:pt idx="1368">
                  <c:v>40856</c:v>
                </c:pt>
                <c:pt idx="1369">
                  <c:v>40857</c:v>
                </c:pt>
                <c:pt idx="1370">
                  <c:v>40858</c:v>
                </c:pt>
                <c:pt idx="1371">
                  <c:v>40861</c:v>
                </c:pt>
                <c:pt idx="1372">
                  <c:v>40862</c:v>
                </c:pt>
                <c:pt idx="1373">
                  <c:v>40863</c:v>
                </c:pt>
                <c:pt idx="1374">
                  <c:v>40864</c:v>
                </c:pt>
                <c:pt idx="1375">
                  <c:v>40865</c:v>
                </c:pt>
                <c:pt idx="1376">
                  <c:v>40868</c:v>
                </c:pt>
                <c:pt idx="1377">
                  <c:v>40869</c:v>
                </c:pt>
                <c:pt idx="1378">
                  <c:v>40870</c:v>
                </c:pt>
                <c:pt idx="1379">
                  <c:v>40872</c:v>
                </c:pt>
                <c:pt idx="1380">
                  <c:v>40875</c:v>
                </c:pt>
                <c:pt idx="1381">
                  <c:v>40876</c:v>
                </c:pt>
                <c:pt idx="1382">
                  <c:v>40877</c:v>
                </c:pt>
                <c:pt idx="1383">
                  <c:v>40878</c:v>
                </c:pt>
                <c:pt idx="1384">
                  <c:v>40879</c:v>
                </c:pt>
                <c:pt idx="1385">
                  <c:v>40882</c:v>
                </c:pt>
                <c:pt idx="1386">
                  <c:v>40883</c:v>
                </c:pt>
                <c:pt idx="1387">
                  <c:v>40884</c:v>
                </c:pt>
                <c:pt idx="1388">
                  <c:v>40885</c:v>
                </c:pt>
                <c:pt idx="1389">
                  <c:v>40886</c:v>
                </c:pt>
                <c:pt idx="1390">
                  <c:v>40889</c:v>
                </c:pt>
                <c:pt idx="1391">
                  <c:v>40890</c:v>
                </c:pt>
                <c:pt idx="1392">
                  <c:v>40891</c:v>
                </c:pt>
                <c:pt idx="1393">
                  <c:v>40892</c:v>
                </c:pt>
                <c:pt idx="1394">
                  <c:v>40893</c:v>
                </c:pt>
                <c:pt idx="1395">
                  <c:v>40896</c:v>
                </c:pt>
                <c:pt idx="1396">
                  <c:v>40897</c:v>
                </c:pt>
                <c:pt idx="1397">
                  <c:v>40898</c:v>
                </c:pt>
                <c:pt idx="1398">
                  <c:v>40899</c:v>
                </c:pt>
                <c:pt idx="1399">
                  <c:v>40900</c:v>
                </c:pt>
                <c:pt idx="1400">
                  <c:v>40904</c:v>
                </c:pt>
                <c:pt idx="1401">
                  <c:v>40905</c:v>
                </c:pt>
                <c:pt idx="1402">
                  <c:v>40906</c:v>
                </c:pt>
                <c:pt idx="1403">
                  <c:v>40907</c:v>
                </c:pt>
                <c:pt idx="1404">
                  <c:v>40911</c:v>
                </c:pt>
                <c:pt idx="1405">
                  <c:v>40912</c:v>
                </c:pt>
                <c:pt idx="1406">
                  <c:v>40913</c:v>
                </c:pt>
                <c:pt idx="1407">
                  <c:v>40914</c:v>
                </c:pt>
                <c:pt idx="1408">
                  <c:v>40917</c:v>
                </c:pt>
                <c:pt idx="1409">
                  <c:v>40918</c:v>
                </c:pt>
                <c:pt idx="1410">
                  <c:v>40919</c:v>
                </c:pt>
                <c:pt idx="1411">
                  <c:v>40920</c:v>
                </c:pt>
                <c:pt idx="1412">
                  <c:v>40921</c:v>
                </c:pt>
                <c:pt idx="1413">
                  <c:v>40925</c:v>
                </c:pt>
                <c:pt idx="1414">
                  <c:v>40926</c:v>
                </c:pt>
                <c:pt idx="1415">
                  <c:v>40927</c:v>
                </c:pt>
                <c:pt idx="1416">
                  <c:v>40928</c:v>
                </c:pt>
                <c:pt idx="1417">
                  <c:v>40931</c:v>
                </c:pt>
                <c:pt idx="1418">
                  <c:v>40932</c:v>
                </c:pt>
                <c:pt idx="1419">
                  <c:v>40933</c:v>
                </c:pt>
                <c:pt idx="1420">
                  <c:v>40934</c:v>
                </c:pt>
                <c:pt idx="1421">
                  <c:v>40935</c:v>
                </c:pt>
                <c:pt idx="1422">
                  <c:v>40938</c:v>
                </c:pt>
                <c:pt idx="1423">
                  <c:v>40939</c:v>
                </c:pt>
                <c:pt idx="1424">
                  <c:v>40940</c:v>
                </c:pt>
                <c:pt idx="1425">
                  <c:v>40941</c:v>
                </c:pt>
                <c:pt idx="1426">
                  <c:v>40942</c:v>
                </c:pt>
                <c:pt idx="1427">
                  <c:v>40945</c:v>
                </c:pt>
                <c:pt idx="1428">
                  <c:v>40946</c:v>
                </c:pt>
                <c:pt idx="1429">
                  <c:v>40947</c:v>
                </c:pt>
                <c:pt idx="1430">
                  <c:v>40948</c:v>
                </c:pt>
                <c:pt idx="1431">
                  <c:v>40949</c:v>
                </c:pt>
                <c:pt idx="1432">
                  <c:v>40952</c:v>
                </c:pt>
                <c:pt idx="1433">
                  <c:v>40953</c:v>
                </c:pt>
                <c:pt idx="1434">
                  <c:v>40954</c:v>
                </c:pt>
                <c:pt idx="1435">
                  <c:v>40955</c:v>
                </c:pt>
                <c:pt idx="1436">
                  <c:v>40956</c:v>
                </c:pt>
                <c:pt idx="1437">
                  <c:v>40960</c:v>
                </c:pt>
                <c:pt idx="1438">
                  <c:v>40961</c:v>
                </c:pt>
                <c:pt idx="1439">
                  <c:v>40962</c:v>
                </c:pt>
                <c:pt idx="1440">
                  <c:v>40963</c:v>
                </c:pt>
                <c:pt idx="1441">
                  <c:v>40966</c:v>
                </c:pt>
                <c:pt idx="1442">
                  <c:v>40967</c:v>
                </c:pt>
                <c:pt idx="1443">
                  <c:v>40968</c:v>
                </c:pt>
                <c:pt idx="1444">
                  <c:v>40969</c:v>
                </c:pt>
                <c:pt idx="1445">
                  <c:v>40970</c:v>
                </c:pt>
                <c:pt idx="1446">
                  <c:v>40973</c:v>
                </c:pt>
                <c:pt idx="1447">
                  <c:v>40974</c:v>
                </c:pt>
                <c:pt idx="1448">
                  <c:v>40975</c:v>
                </c:pt>
                <c:pt idx="1449">
                  <c:v>40976</c:v>
                </c:pt>
                <c:pt idx="1450">
                  <c:v>40977</c:v>
                </c:pt>
                <c:pt idx="1451">
                  <c:v>40980</c:v>
                </c:pt>
                <c:pt idx="1452">
                  <c:v>40981</c:v>
                </c:pt>
                <c:pt idx="1453">
                  <c:v>40982</c:v>
                </c:pt>
                <c:pt idx="1454">
                  <c:v>40983</c:v>
                </c:pt>
                <c:pt idx="1455">
                  <c:v>40984</c:v>
                </c:pt>
                <c:pt idx="1456">
                  <c:v>40987</c:v>
                </c:pt>
                <c:pt idx="1457">
                  <c:v>40988</c:v>
                </c:pt>
                <c:pt idx="1458">
                  <c:v>40989</c:v>
                </c:pt>
                <c:pt idx="1459">
                  <c:v>40990</c:v>
                </c:pt>
                <c:pt idx="1460">
                  <c:v>40991</c:v>
                </c:pt>
                <c:pt idx="1461">
                  <c:v>40994</c:v>
                </c:pt>
                <c:pt idx="1462">
                  <c:v>40995</c:v>
                </c:pt>
                <c:pt idx="1463">
                  <c:v>40996</c:v>
                </c:pt>
                <c:pt idx="1464">
                  <c:v>40997</c:v>
                </c:pt>
                <c:pt idx="1465">
                  <c:v>40998</c:v>
                </c:pt>
                <c:pt idx="1466">
                  <c:v>41001</c:v>
                </c:pt>
                <c:pt idx="1467">
                  <c:v>41002</c:v>
                </c:pt>
                <c:pt idx="1468">
                  <c:v>41003</c:v>
                </c:pt>
                <c:pt idx="1469">
                  <c:v>41004</c:v>
                </c:pt>
                <c:pt idx="1470">
                  <c:v>41008</c:v>
                </c:pt>
                <c:pt idx="1471">
                  <c:v>41009</c:v>
                </c:pt>
                <c:pt idx="1472">
                  <c:v>41010</c:v>
                </c:pt>
                <c:pt idx="1473">
                  <c:v>41011</c:v>
                </c:pt>
                <c:pt idx="1474">
                  <c:v>41012</c:v>
                </c:pt>
                <c:pt idx="1475">
                  <c:v>41015</c:v>
                </c:pt>
                <c:pt idx="1476">
                  <c:v>41016</c:v>
                </c:pt>
                <c:pt idx="1477">
                  <c:v>41017</c:v>
                </c:pt>
                <c:pt idx="1478">
                  <c:v>41018</c:v>
                </c:pt>
                <c:pt idx="1479">
                  <c:v>41019</c:v>
                </c:pt>
                <c:pt idx="1480">
                  <c:v>41022</c:v>
                </c:pt>
                <c:pt idx="1481">
                  <c:v>41023</c:v>
                </c:pt>
                <c:pt idx="1482">
                  <c:v>41024</c:v>
                </c:pt>
                <c:pt idx="1483">
                  <c:v>41025</c:v>
                </c:pt>
                <c:pt idx="1484">
                  <c:v>41026</c:v>
                </c:pt>
                <c:pt idx="1485">
                  <c:v>41029</c:v>
                </c:pt>
                <c:pt idx="1486">
                  <c:v>41030</c:v>
                </c:pt>
                <c:pt idx="1487">
                  <c:v>41031</c:v>
                </c:pt>
                <c:pt idx="1488">
                  <c:v>41032</c:v>
                </c:pt>
                <c:pt idx="1489">
                  <c:v>41033</c:v>
                </c:pt>
                <c:pt idx="1490">
                  <c:v>41036</c:v>
                </c:pt>
                <c:pt idx="1491">
                  <c:v>41037</c:v>
                </c:pt>
                <c:pt idx="1492">
                  <c:v>41038</c:v>
                </c:pt>
                <c:pt idx="1493">
                  <c:v>41039</c:v>
                </c:pt>
                <c:pt idx="1494">
                  <c:v>41040</c:v>
                </c:pt>
                <c:pt idx="1495">
                  <c:v>41043</c:v>
                </c:pt>
                <c:pt idx="1496">
                  <c:v>41044</c:v>
                </c:pt>
                <c:pt idx="1497">
                  <c:v>41045</c:v>
                </c:pt>
                <c:pt idx="1498">
                  <c:v>41046</c:v>
                </c:pt>
                <c:pt idx="1499">
                  <c:v>41047</c:v>
                </c:pt>
                <c:pt idx="1500">
                  <c:v>41050</c:v>
                </c:pt>
                <c:pt idx="1501">
                  <c:v>41051</c:v>
                </c:pt>
                <c:pt idx="1502">
                  <c:v>41052</c:v>
                </c:pt>
                <c:pt idx="1503">
                  <c:v>41053</c:v>
                </c:pt>
                <c:pt idx="1504">
                  <c:v>41054</c:v>
                </c:pt>
                <c:pt idx="1505">
                  <c:v>41058</c:v>
                </c:pt>
                <c:pt idx="1506">
                  <c:v>41059</c:v>
                </c:pt>
                <c:pt idx="1507">
                  <c:v>41060</c:v>
                </c:pt>
                <c:pt idx="1508">
                  <c:v>41061</c:v>
                </c:pt>
                <c:pt idx="1509">
                  <c:v>41064</c:v>
                </c:pt>
                <c:pt idx="1510">
                  <c:v>41065</c:v>
                </c:pt>
                <c:pt idx="1511">
                  <c:v>41066</c:v>
                </c:pt>
                <c:pt idx="1512">
                  <c:v>41067</c:v>
                </c:pt>
                <c:pt idx="1513">
                  <c:v>41068</c:v>
                </c:pt>
                <c:pt idx="1514">
                  <c:v>41071</c:v>
                </c:pt>
                <c:pt idx="1515">
                  <c:v>41072</c:v>
                </c:pt>
                <c:pt idx="1516">
                  <c:v>41073</c:v>
                </c:pt>
                <c:pt idx="1517">
                  <c:v>41074</c:v>
                </c:pt>
                <c:pt idx="1518">
                  <c:v>41075</c:v>
                </c:pt>
                <c:pt idx="1519">
                  <c:v>41078</c:v>
                </c:pt>
                <c:pt idx="1520">
                  <c:v>41079</c:v>
                </c:pt>
                <c:pt idx="1521">
                  <c:v>41080</c:v>
                </c:pt>
                <c:pt idx="1522">
                  <c:v>41081</c:v>
                </c:pt>
                <c:pt idx="1523">
                  <c:v>41082</c:v>
                </c:pt>
                <c:pt idx="1524">
                  <c:v>41085</c:v>
                </c:pt>
                <c:pt idx="1525">
                  <c:v>41086</c:v>
                </c:pt>
                <c:pt idx="1526">
                  <c:v>41087</c:v>
                </c:pt>
                <c:pt idx="1527">
                  <c:v>41088</c:v>
                </c:pt>
                <c:pt idx="1528">
                  <c:v>41089</c:v>
                </c:pt>
                <c:pt idx="1529">
                  <c:v>41092</c:v>
                </c:pt>
                <c:pt idx="1530">
                  <c:v>41093</c:v>
                </c:pt>
                <c:pt idx="1531">
                  <c:v>41095</c:v>
                </c:pt>
                <c:pt idx="1532">
                  <c:v>41096</c:v>
                </c:pt>
                <c:pt idx="1533">
                  <c:v>41099</c:v>
                </c:pt>
                <c:pt idx="1534">
                  <c:v>41100</c:v>
                </c:pt>
                <c:pt idx="1535">
                  <c:v>41101</c:v>
                </c:pt>
                <c:pt idx="1536">
                  <c:v>41102</c:v>
                </c:pt>
                <c:pt idx="1537">
                  <c:v>41103</c:v>
                </c:pt>
                <c:pt idx="1538">
                  <c:v>41106</c:v>
                </c:pt>
                <c:pt idx="1539">
                  <c:v>41107</c:v>
                </c:pt>
                <c:pt idx="1540">
                  <c:v>41108</c:v>
                </c:pt>
                <c:pt idx="1541">
                  <c:v>41109</c:v>
                </c:pt>
                <c:pt idx="1542">
                  <c:v>41110</c:v>
                </c:pt>
                <c:pt idx="1543">
                  <c:v>41113</c:v>
                </c:pt>
                <c:pt idx="1544">
                  <c:v>41114</c:v>
                </c:pt>
                <c:pt idx="1545">
                  <c:v>41115</c:v>
                </c:pt>
                <c:pt idx="1546">
                  <c:v>41116</c:v>
                </c:pt>
                <c:pt idx="1547">
                  <c:v>41117</c:v>
                </c:pt>
                <c:pt idx="1548">
                  <c:v>41120</c:v>
                </c:pt>
                <c:pt idx="1549">
                  <c:v>41121</c:v>
                </c:pt>
                <c:pt idx="1550">
                  <c:v>41122</c:v>
                </c:pt>
                <c:pt idx="1551">
                  <c:v>41123</c:v>
                </c:pt>
                <c:pt idx="1552">
                  <c:v>41124</c:v>
                </c:pt>
                <c:pt idx="1553">
                  <c:v>41127</c:v>
                </c:pt>
                <c:pt idx="1554">
                  <c:v>41128</c:v>
                </c:pt>
                <c:pt idx="1555">
                  <c:v>41129</c:v>
                </c:pt>
                <c:pt idx="1556">
                  <c:v>41130</c:v>
                </c:pt>
                <c:pt idx="1557">
                  <c:v>41131</c:v>
                </c:pt>
                <c:pt idx="1558">
                  <c:v>41134</c:v>
                </c:pt>
                <c:pt idx="1559">
                  <c:v>41135</c:v>
                </c:pt>
                <c:pt idx="1560">
                  <c:v>41136</c:v>
                </c:pt>
                <c:pt idx="1561">
                  <c:v>41137</c:v>
                </c:pt>
                <c:pt idx="1562">
                  <c:v>41138</c:v>
                </c:pt>
                <c:pt idx="1563">
                  <c:v>41141</c:v>
                </c:pt>
                <c:pt idx="1564">
                  <c:v>41142</c:v>
                </c:pt>
                <c:pt idx="1565">
                  <c:v>41143</c:v>
                </c:pt>
                <c:pt idx="1566">
                  <c:v>41144</c:v>
                </c:pt>
                <c:pt idx="1567">
                  <c:v>41145</c:v>
                </c:pt>
                <c:pt idx="1568">
                  <c:v>41148</c:v>
                </c:pt>
                <c:pt idx="1569">
                  <c:v>41149</c:v>
                </c:pt>
                <c:pt idx="1570">
                  <c:v>41150</c:v>
                </c:pt>
                <c:pt idx="1571">
                  <c:v>41151</c:v>
                </c:pt>
                <c:pt idx="1572">
                  <c:v>41152</c:v>
                </c:pt>
                <c:pt idx="1573">
                  <c:v>41156</c:v>
                </c:pt>
                <c:pt idx="1574">
                  <c:v>41157</c:v>
                </c:pt>
                <c:pt idx="1575">
                  <c:v>41158</c:v>
                </c:pt>
                <c:pt idx="1576">
                  <c:v>41159</c:v>
                </c:pt>
                <c:pt idx="1577">
                  <c:v>41162</c:v>
                </c:pt>
                <c:pt idx="1578">
                  <c:v>41163</c:v>
                </c:pt>
                <c:pt idx="1579">
                  <c:v>41164</c:v>
                </c:pt>
                <c:pt idx="1580">
                  <c:v>41165</c:v>
                </c:pt>
                <c:pt idx="1581">
                  <c:v>41166</c:v>
                </c:pt>
                <c:pt idx="1582">
                  <c:v>41169</c:v>
                </c:pt>
                <c:pt idx="1583">
                  <c:v>41170</c:v>
                </c:pt>
                <c:pt idx="1584">
                  <c:v>41171</c:v>
                </c:pt>
                <c:pt idx="1585">
                  <c:v>41172</c:v>
                </c:pt>
                <c:pt idx="1586">
                  <c:v>41173</c:v>
                </c:pt>
                <c:pt idx="1587">
                  <c:v>41176</c:v>
                </c:pt>
                <c:pt idx="1588">
                  <c:v>41177</c:v>
                </c:pt>
                <c:pt idx="1589">
                  <c:v>41178</c:v>
                </c:pt>
                <c:pt idx="1590">
                  <c:v>41179</c:v>
                </c:pt>
                <c:pt idx="1591">
                  <c:v>41180</c:v>
                </c:pt>
                <c:pt idx="1592">
                  <c:v>41183</c:v>
                </c:pt>
                <c:pt idx="1593">
                  <c:v>41184</c:v>
                </c:pt>
                <c:pt idx="1594">
                  <c:v>41185</c:v>
                </c:pt>
                <c:pt idx="1595">
                  <c:v>41186</c:v>
                </c:pt>
                <c:pt idx="1596">
                  <c:v>41187</c:v>
                </c:pt>
                <c:pt idx="1597">
                  <c:v>41190</c:v>
                </c:pt>
                <c:pt idx="1598">
                  <c:v>41191</c:v>
                </c:pt>
                <c:pt idx="1599">
                  <c:v>41192</c:v>
                </c:pt>
                <c:pt idx="1600">
                  <c:v>41193</c:v>
                </c:pt>
                <c:pt idx="1601">
                  <c:v>41194</c:v>
                </c:pt>
                <c:pt idx="1602">
                  <c:v>41197</c:v>
                </c:pt>
                <c:pt idx="1603">
                  <c:v>41198</c:v>
                </c:pt>
                <c:pt idx="1604">
                  <c:v>41199</c:v>
                </c:pt>
                <c:pt idx="1605">
                  <c:v>41200</c:v>
                </c:pt>
                <c:pt idx="1606">
                  <c:v>41201</c:v>
                </c:pt>
                <c:pt idx="1607">
                  <c:v>41204</c:v>
                </c:pt>
                <c:pt idx="1608">
                  <c:v>41205</c:v>
                </c:pt>
                <c:pt idx="1609">
                  <c:v>41206</c:v>
                </c:pt>
                <c:pt idx="1610">
                  <c:v>41207</c:v>
                </c:pt>
                <c:pt idx="1611">
                  <c:v>41208</c:v>
                </c:pt>
                <c:pt idx="1612">
                  <c:v>41213</c:v>
                </c:pt>
                <c:pt idx="1613">
                  <c:v>41214</c:v>
                </c:pt>
                <c:pt idx="1614">
                  <c:v>41215</c:v>
                </c:pt>
                <c:pt idx="1615">
                  <c:v>41218</c:v>
                </c:pt>
                <c:pt idx="1616">
                  <c:v>41219</c:v>
                </c:pt>
                <c:pt idx="1617">
                  <c:v>41220</c:v>
                </c:pt>
                <c:pt idx="1618">
                  <c:v>41221</c:v>
                </c:pt>
                <c:pt idx="1619">
                  <c:v>41222</c:v>
                </c:pt>
                <c:pt idx="1620">
                  <c:v>41225</c:v>
                </c:pt>
                <c:pt idx="1621">
                  <c:v>41226</c:v>
                </c:pt>
                <c:pt idx="1622">
                  <c:v>41227</c:v>
                </c:pt>
                <c:pt idx="1623">
                  <c:v>41228</c:v>
                </c:pt>
                <c:pt idx="1624">
                  <c:v>41229</c:v>
                </c:pt>
                <c:pt idx="1625">
                  <c:v>41232</c:v>
                </c:pt>
                <c:pt idx="1626">
                  <c:v>41233</c:v>
                </c:pt>
                <c:pt idx="1627">
                  <c:v>41234</c:v>
                </c:pt>
                <c:pt idx="1628">
                  <c:v>41236</c:v>
                </c:pt>
                <c:pt idx="1629">
                  <c:v>41239</c:v>
                </c:pt>
                <c:pt idx="1630">
                  <c:v>41240</c:v>
                </c:pt>
                <c:pt idx="1631">
                  <c:v>41241</c:v>
                </c:pt>
                <c:pt idx="1632">
                  <c:v>41242</c:v>
                </c:pt>
                <c:pt idx="1633">
                  <c:v>41243</c:v>
                </c:pt>
                <c:pt idx="1634">
                  <c:v>41246</c:v>
                </c:pt>
                <c:pt idx="1635">
                  <c:v>41247</c:v>
                </c:pt>
                <c:pt idx="1636">
                  <c:v>41248</c:v>
                </c:pt>
                <c:pt idx="1637">
                  <c:v>41249</c:v>
                </c:pt>
                <c:pt idx="1638">
                  <c:v>41250</c:v>
                </c:pt>
                <c:pt idx="1639">
                  <c:v>41253</c:v>
                </c:pt>
                <c:pt idx="1640">
                  <c:v>41254</c:v>
                </c:pt>
                <c:pt idx="1641">
                  <c:v>41255</c:v>
                </c:pt>
                <c:pt idx="1642">
                  <c:v>41256</c:v>
                </c:pt>
                <c:pt idx="1643">
                  <c:v>41257</c:v>
                </c:pt>
                <c:pt idx="1644">
                  <c:v>41260</c:v>
                </c:pt>
                <c:pt idx="1645">
                  <c:v>41261</c:v>
                </c:pt>
                <c:pt idx="1646">
                  <c:v>41262</c:v>
                </c:pt>
                <c:pt idx="1647">
                  <c:v>41263</c:v>
                </c:pt>
                <c:pt idx="1648">
                  <c:v>41264</c:v>
                </c:pt>
                <c:pt idx="1649">
                  <c:v>41267</c:v>
                </c:pt>
                <c:pt idx="1650">
                  <c:v>41269</c:v>
                </c:pt>
                <c:pt idx="1651">
                  <c:v>41270</c:v>
                </c:pt>
                <c:pt idx="1652">
                  <c:v>41271</c:v>
                </c:pt>
                <c:pt idx="1653">
                  <c:v>41274</c:v>
                </c:pt>
                <c:pt idx="1654">
                  <c:v>41276</c:v>
                </c:pt>
                <c:pt idx="1655">
                  <c:v>41277</c:v>
                </c:pt>
                <c:pt idx="1656">
                  <c:v>41278</c:v>
                </c:pt>
                <c:pt idx="1657">
                  <c:v>41281</c:v>
                </c:pt>
                <c:pt idx="1658">
                  <c:v>41282</c:v>
                </c:pt>
                <c:pt idx="1659">
                  <c:v>41283</c:v>
                </c:pt>
                <c:pt idx="1660">
                  <c:v>41284</c:v>
                </c:pt>
                <c:pt idx="1661">
                  <c:v>41285</c:v>
                </c:pt>
                <c:pt idx="1662">
                  <c:v>41288</c:v>
                </c:pt>
                <c:pt idx="1663">
                  <c:v>41289</c:v>
                </c:pt>
                <c:pt idx="1664">
                  <c:v>41290</c:v>
                </c:pt>
                <c:pt idx="1665">
                  <c:v>41291</c:v>
                </c:pt>
                <c:pt idx="1666">
                  <c:v>41292</c:v>
                </c:pt>
                <c:pt idx="1667">
                  <c:v>41296</c:v>
                </c:pt>
                <c:pt idx="1668">
                  <c:v>41297</c:v>
                </c:pt>
                <c:pt idx="1669">
                  <c:v>41298</c:v>
                </c:pt>
                <c:pt idx="1670">
                  <c:v>41299</c:v>
                </c:pt>
                <c:pt idx="1671">
                  <c:v>41302</c:v>
                </c:pt>
                <c:pt idx="1672">
                  <c:v>41303</c:v>
                </c:pt>
                <c:pt idx="1673">
                  <c:v>41304</c:v>
                </c:pt>
                <c:pt idx="1674">
                  <c:v>41305</c:v>
                </c:pt>
                <c:pt idx="1675">
                  <c:v>41306</c:v>
                </c:pt>
                <c:pt idx="1676">
                  <c:v>41309</c:v>
                </c:pt>
                <c:pt idx="1677">
                  <c:v>41310</c:v>
                </c:pt>
                <c:pt idx="1678">
                  <c:v>41311</c:v>
                </c:pt>
                <c:pt idx="1679">
                  <c:v>41312</c:v>
                </c:pt>
                <c:pt idx="1680">
                  <c:v>41313</c:v>
                </c:pt>
                <c:pt idx="1681">
                  <c:v>41316</c:v>
                </c:pt>
                <c:pt idx="1682">
                  <c:v>41317</c:v>
                </c:pt>
                <c:pt idx="1683">
                  <c:v>41318</c:v>
                </c:pt>
                <c:pt idx="1684">
                  <c:v>41319</c:v>
                </c:pt>
                <c:pt idx="1685">
                  <c:v>41320</c:v>
                </c:pt>
                <c:pt idx="1686">
                  <c:v>41324</c:v>
                </c:pt>
                <c:pt idx="1687">
                  <c:v>41325</c:v>
                </c:pt>
                <c:pt idx="1688">
                  <c:v>41326</c:v>
                </c:pt>
                <c:pt idx="1689">
                  <c:v>41327</c:v>
                </c:pt>
                <c:pt idx="1690">
                  <c:v>41330</c:v>
                </c:pt>
                <c:pt idx="1691">
                  <c:v>41331</c:v>
                </c:pt>
                <c:pt idx="1692">
                  <c:v>41332</c:v>
                </c:pt>
                <c:pt idx="1693">
                  <c:v>41333</c:v>
                </c:pt>
                <c:pt idx="1694">
                  <c:v>41334</c:v>
                </c:pt>
                <c:pt idx="1695">
                  <c:v>41337</c:v>
                </c:pt>
                <c:pt idx="1696">
                  <c:v>41338</c:v>
                </c:pt>
                <c:pt idx="1697">
                  <c:v>41339</c:v>
                </c:pt>
                <c:pt idx="1698">
                  <c:v>41340</c:v>
                </c:pt>
                <c:pt idx="1699">
                  <c:v>41341</c:v>
                </c:pt>
                <c:pt idx="1700">
                  <c:v>41344</c:v>
                </c:pt>
                <c:pt idx="1701">
                  <c:v>41345</c:v>
                </c:pt>
                <c:pt idx="1702">
                  <c:v>41346</c:v>
                </c:pt>
                <c:pt idx="1703">
                  <c:v>41347</c:v>
                </c:pt>
                <c:pt idx="1704">
                  <c:v>41348</c:v>
                </c:pt>
                <c:pt idx="1705">
                  <c:v>41351</c:v>
                </c:pt>
                <c:pt idx="1706">
                  <c:v>41352</c:v>
                </c:pt>
                <c:pt idx="1707">
                  <c:v>41353</c:v>
                </c:pt>
                <c:pt idx="1708">
                  <c:v>41354</c:v>
                </c:pt>
                <c:pt idx="1709">
                  <c:v>41355</c:v>
                </c:pt>
                <c:pt idx="1710">
                  <c:v>41358</c:v>
                </c:pt>
                <c:pt idx="1711">
                  <c:v>41359</c:v>
                </c:pt>
                <c:pt idx="1712">
                  <c:v>41360</c:v>
                </c:pt>
                <c:pt idx="1713">
                  <c:v>41361</c:v>
                </c:pt>
                <c:pt idx="1714">
                  <c:v>41365</c:v>
                </c:pt>
                <c:pt idx="1715">
                  <c:v>41366</c:v>
                </c:pt>
                <c:pt idx="1716">
                  <c:v>41367</c:v>
                </c:pt>
                <c:pt idx="1717">
                  <c:v>41368</c:v>
                </c:pt>
                <c:pt idx="1718">
                  <c:v>41369</c:v>
                </c:pt>
                <c:pt idx="1719">
                  <c:v>41372</c:v>
                </c:pt>
                <c:pt idx="1720">
                  <c:v>41373</c:v>
                </c:pt>
                <c:pt idx="1721">
                  <c:v>41374</c:v>
                </c:pt>
                <c:pt idx="1722">
                  <c:v>41375</c:v>
                </c:pt>
                <c:pt idx="1723">
                  <c:v>41376</c:v>
                </c:pt>
                <c:pt idx="1724">
                  <c:v>41379</c:v>
                </c:pt>
                <c:pt idx="1725">
                  <c:v>41380</c:v>
                </c:pt>
                <c:pt idx="1726">
                  <c:v>41381</c:v>
                </c:pt>
                <c:pt idx="1727">
                  <c:v>41382</c:v>
                </c:pt>
                <c:pt idx="1728">
                  <c:v>41383</c:v>
                </c:pt>
                <c:pt idx="1729">
                  <c:v>41386</c:v>
                </c:pt>
                <c:pt idx="1730">
                  <c:v>41387</c:v>
                </c:pt>
                <c:pt idx="1731">
                  <c:v>41388</c:v>
                </c:pt>
                <c:pt idx="1732">
                  <c:v>41389</c:v>
                </c:pt>
                <c:pt idx="1733">
                  <c:v>41390</c:v>
                </c:pt>
                <c:pt idx="1734">
                  <c:v>41393</c:v>
                </c:pt>
                <c:pt idx="1735">
                  <c:v>41394</c:v>
                </c:pt>
                <c:pt idx="1736">
                  <c:v>41395</c:v>
                </c:pt>
                <c:pt idx="1737">
                  <c:v>41396</c:v>
                </c:pt>
                <c:pt idx="1738">
                  <c:v>41397</c:v>
                </c:pt>
                <c:pt idx="1739">
                  <c:v>41400</c:v>
                </c:pt>
                <c:pt idx="1740">
                  <c:v>41401</c:v>
                </c:pt>
                <c:pt idx="1741">
                  <c:v>41402</c:v>
                </c:pt>
                <c:pt idx="1742">
                  <c:v>41403</c:v>
                </c:pt>
                <c:pt idx="1743">
                  <c:v>41404</c:v>
                </c:pt>
                <c:pt idx="1744">
                  <c:v>41407</c:v>
                </c:pt>
                <c:pt idx="1745">
                  <c:v>41408</c:v>
                </c:pt>
                <c:pt idx="1746">
                  <c:v>41409</c:v>
                </c:pt>
                <c:pt idx="1747">
                  <c:v>41410</c:v>
                </c:pt>
                <c:pt idx="1748">
                  <c:v>41411</c:v>
                </c:pt>
                <c:pt idx="1749">
                  <c:v>41414</c:v>
                </c:pt>
                <c:pt idx="1750">
                  <c:v>41415</c:v>
                </c:pt>
                <c:pt idx="1751">
                  <c:v>41416</c:v>
                </c:pt>
                <c:pt idx="1752">
                  <c:v>41417</c:v>
                </c:pt>
                <c:pt idx="1753">
                  <c:v>41418</c:v>
                </c:pt>
                <c:pt idx="1754">
                  <c:v>41422</c:v>
                </c:pt>
                <c:pt idx="1755">
                  <c:v>41423</c:v>
                </c:pt>
                <c:pt idx="1756">
                  <c:v>41424</c:v>
                </c:pt>
                <c:pt idx="1757">
                  <c:v>41425</c:v>
                </c:pt>
                <c:pt idx="1758">
                  <c:v>41428</c:v>
                </c:pt>
                <c:pt idx="1759">
                  <c:v>41429</c:v>
                </c:pt>
                <c:pt idx="1760">
                  <c:v>41430</c:v>
                </c:pt>
                <c:pt idx="1761">
                  <c:v>41431</c:v>
                </c:pt>
                <c:pt idx="1762">
                  <c:v>41432</c:v>
                </c:pt>
                <c:pt idx="1763">
                  <c:v>41435</c:v>
                </c:pt>
                <c:pt idx="1764">
                  <c:v>41436</c:v>
                </c:pt>
                <c:pt idx="1765">
                  <c:v>41437</c:v>
                </c:pt>
                <c:pt idx="1766">
                  <c:v>41438</c:v>
                </c:pt>
                <c:pt idx="1767">
                  <c:v>41439</c:v>
                </c:pt>
                <c:pt idx="1768">
                  <c:v>41442</c:v>
                </c:pt>
                <c:pt idx="1769">
                  <c:v>41443</c:v>
                </c:pt>
                <c:pt idx="1770">
                  <c:v>41444</c:v>
                </c:pt>
                <c:pt idx="1771">
                  <c:v>41445</c:v>
                </c:pt>
                <c:pt idx="1772">
                  <c:v>41446</c:v>
                </c:pt>
                <c:pt idx="1773">
                  <c:v>41449</c:v>
                </c:pt>
                <c:pt idx="1774">
                  <c:v>41450</c:v>
                </c:pt>
                <c:pt idx="1775">
                  <c:v>41451</c:v>
                </c:pt>
                <c:pt idx="1776">
                  <c:v>41452</c:v>
                </c:pt>
                <c:pt idx="1777">
                  <c:v>41453</c:v>
                </c:pt>
                <c:pt idx="1778">
                  <c:v>41456</c:v>
                </c:pt>
                <c:pt idx="1779">
                  <c:v>41457</c:v>
                </c:pt>
                <c:pt idx="1780">
                  <c:v>41458</c:v>
                </c:pt>
                <c:pt idx="1781">
                  <c:v>41460</c:v>
                </c:pt>
                <c:pt idx="1782">
                  <c:v>41463</c:v>
                </c:pt>
                <c:pt idx="1783">
                  <c:v>41464</c:v>
                </c:pt>
                <c:pt idx="1784">
                  <c:v>41465</c:v>
                </c:pt>
                <c:pt idx="1785">
                  <c:v>41466</c:v>
                </c:pt>
                <c:pt idx="1786">
                  <c:v>41467</c:v>
                </c:pt>
                <c:pt idx="1787">
                  <c:v>41470</c:v>
                </c:pt>
                <c:pt idx="1788">
                  <c:v>41471</c:v>
                </c:pt>
                <c:pt idx="1789">
                  <c:v>41472</c:v>
                </c:pt>
                <c:pt idx="1790">
                  <c:v>41473</c:v>
                </c:pt>
                <c:pt idx="1791">
                  <c:v>41474</c:v>
                </c:pt>
                <c:pt idx="1792">
                  <c:v>41477</c:v>
                </c:pt>
                <c:pt idx="1793">
                  <c:v>41478</c:v>
                </c:pt>
                <c:pt idx="1794">
                  <c:v>41479</c:v>
                </c:pt>
                <c:pt idx="1795">
                  <c:v>41480</c:v>
                </c:pt>
                <c:pt idx="1796">
                  <c:v>41481</c:v>
                </c:pt>
                <c:pt idx="1797">
                  <c:v>41484</c:v>
                </c:pt>
                <c:pt idx="1798">
                  <c:v>41485</c:v>
                </c:pt>
                <c:pt idx="1799">
                  <c:v>41486</c:v>
                </c:pt>
                <c:pt idx="1800">
                  <c:v>41487</c:v>
                </c:pt>
                <c:pt idx="1801">
                  <c:v>41488</c:v>
                </c:pt>
                <c:pt idx="1802">
                  <c:v>41491</c:v>
                </c:pt>
                <c:pt idx="1803">
                  <c:v>41492</c:v>
                </c:pt>
                <c:pt idx="1804">
                  <c:v>41493</c:v>
                </c:pt>
                <c:pt idx="1805">
                  <c:v>41494</c:v>
                </c:pt>
                <c:pt idx="1806">
                  <c:v>41495</c:v>
                </c:pt>
                <c:pt idx="1807">
                  <c:v>41498</c:v>
                </c:pt>
                <c:pt idx="1808">
                  <c:v>41499</c:v>
                </c:pt>
                <c:pt idx="1809">
                  <c:v>41500</c:v>
                </c:pt>
                <c:pt idx="1810">
                  <c:v>41501</c:v>
                </c:pt>
                <c:pt idx="1811">
                  <c:v>41502</c:v>
                </c:pt>
                <c:pt idx="1812">
                  <c:v>41505</c:v>
                </c:pt>
                <c:pt idx="1813">
                  <c:v>41506</c:v>
                </c:pt>
                <c:pt idx="1814">
                  <c:v>41507</c:v>
                </c:pt>
                <c:pt idx="1815">
                  <c:v>41508</c:v>
                </c:pt>
                <c:pt idx="1816">
                  <c:v>41509</c:v>
                </c:pt>
                <c:pt idx="1817">
                  <c:v>41512</c:v>
                </c:pt>
                <c:pt idx="1818">
                  <c:v>41513</c:v>
                </c:pt>
                <c:pt idx="1819">
                  <c:v>41514</c:v>
                </c:pt>
                <c:pt idx="1820">
                  <c:v>41515</c:v>
                </c:pt>
                <c:pt idx="1821">
                  <c:v>41516</c:v>
                </c:pt>
                <c:pt idx="1822">
                  <c:v>41520</c:v>
                </c:pt>
                <c:pt idx="1823">
                  <c:v>41521</c:v>
                </c:pt>
                <c:pt idx="1824">
                  <c:v>41522</c:v>
                </c:pt>
                <c:pt idx="1825">
                  <c:v>41523</c:v>
                </c:pt>
                <c:pt idx="1826">
                  <c:v>41526</c:v>
                </c:pt>
                <c:pt idx="1827">
                  <c:v>41527</c:v>
                </c:pt>
                <c:pt idx="1828">
                  <c:v>41528</c:v>
                </c:pt>
                <c:pt idx="1829">
                  <c:v>41529</c:v>
                </c:pt>
                <c:pt idx="1830">
                  <c:v>41530</c:v>
                </c:pt>
                <c:pt idx="1831">
                  <c:v>41533</c:v>
                </c:pt>
                <c:pt idx="1832">
                  <c:v>41534</c:v>
                </c:pt>
                <c:pt idx="1833">
                  <c:v>41535</c:v>
                </c:pt>
                <c:pt idx="1834">
                  <c:v>41536</c:v>
                </c:pt>
                <c:pt idx="1835">
                  <c:v>41537</c:v>
                </c:pt>
                <c:pt idx="1836">
                  <c:v>41540</c:v>
                </c:pt>
                <c:pt idx="1837">
                  <c:v>41541</c:v>
                </c:pt>
                <c:pt idx="1838">
                  <c:v>41542</c:v>
                </c:pt>
                <c:pt idx="1839">
                  <c:v>41543</c:v>
                </c:pt>
                <c:pt idx="1840">
                  <c:v>41544</c:v>
                </c:pt>
                <c:pt idx="1841">
                  <c:v>41547</c:v>
                </c:pt>
                <c:pt idx="1842">
                  <c:v>41548</c:v>
                </c:pt>
                <c:pt idx="1843">
                  <c:v>41549</c:v>
                </c:pt>
                <c:pt idx="1844">
                  <c:v>41550</c:v>
                </c:pt>
                <c:pt idx="1845">
                  <c:v>41551</c:v>
                </c:pt>
                <c:pt idx="1846">
                  <c:v>41554</c:v>
                </c:pt>
                <c:pt idx="1847">
                  <c:v>41555</c:v>
                </c:pt>
                <c:pt idx="1848">
                  <c:v>41556</c:v>
                </c:pt>
                <c:pt idx="1849">
                  <c:v>41557</c:v>
                </c:pt>
                <c:pt idx="1850">
                  <c:v>41558</c:v>
                </c:pt>
                <c:pt idx="1851">
                  <c:v>41561</c:v>
                </c:pt>
                <c:pt idx="1852">
                  <c:v>41562</c:v>
                </c:pt>
                <c:pt idx="1853">
                  <c:v>41563</c:v>
                </c:pt>
                <c:pt idx="1854">
                  <c:v>41564</c:v>
                </c:pt>
                <c:pt idx="1855">
                  <c:v>41565</c:v>
                </c:pt>
                <c:pt idx="1856">
                  <c:v>41568</c:v>
                </c:pt>
                <c:pt idx="1857">
                  <c:v>41569</c:v>
                </c:pt>
                <c:pt idx="1858">
                  <c:v>41570</c:v>
                </c:pt>
                <c:pt idx="1859">
                  <c:v>41571</c:v>
                </c:pt>
                <c:pt idx="1860">
                  <c:v>41572</c:v>
                </c:pt>
                <c:pt idx="1861">
                  <c:v>41575</c:v>
                </c:pt>
                <c:pt idx="1862">
                  <c:v>41576</c:v>
                </c:pt>
                <c:pt idx="1863">
                  <c:v>41577</c:v>
                </c:pt>
                <c:pt idx="1864">
                  <c:v>41578</c:v>
                </c:pt>
                <c:pt idx="1865">
                  <c:v>41579</c:v>
                </c:pt>
                <c:pt idx="1866">
                  <c:v>41582</c:v>
                </c:pt>
                <c:pt idx="1867">
                  <c:v>41583</c:v>
                </c:pt>
                <c:pt idx="1868">
                  <c:v>41584</c:v>
                </c:pt>
                <c:pt idx="1869">
                  <c:v>41585</c:v>
                </c:pt>
                <c:pt idx="1870">
                  <c:v>41586</c:v>
                </c:pt>
                <c:pt idx="1871">
                  <c:v>41589</c:v>
                </c:pt>
                <c:pt idx="1872">
                  <c:v>41590</c:v>
                </c:pt>
                <c:pt idx="1873">
                  <c:v>41591</c:v>
                </c:pt>
                <c:pt idx="1874">
                  <c:v>41592</c:v>
                </c:pt>
                <c:pt idx="1875">
                  <c:v>41593</c:v>
                </c:pt>
                <c:pt idx="1876">
                  <c:v>41596</c:v>
                </c:pt>
                <c:pt idx="1877">
                  <c:v>41597</c:v>
                </c:pt>
                <c:pt idx="1878">
                  <c:v>41598</c:v>
                </c:pt>
                <c:pt idx="1879">
                  <c:v>41599</c:v>
                </c:pt>
                <c:pt idx="1880">
                  <c:v>41600</c:v>
                </c:pt>
                <c:pt idx="1881">
                  <c:v>41603</c:v>
                </c:pt>
                <c:pt idx="1882">
                  <c:v>41604</c:v>
                </c:pt>
                <c:pt idx="1883">
                  <c:v>41605</c:v>
                </c:pt>
                <c:pt idx="1884">
                  <c:v>41607</c:v>
                </c:pt>
                <c:pt idx="1885">
                  <c:v>41610</c:v>
                </c:pt>
                <c:pt idx="1886">
                  <c:v>41611</c:v>
                </c:pt>
                <c:pt idx="1887">
                  <c:v>41612</c:v>
                </c:pt>
                <c:pt idx="1888">
                  <c:v>41613</c:v>
                </c:pt>
                <c:pt idx="1889">
                  <c:v>41614</c:v>
                </c:pt>
                <c:pt idx="1890">
                  <c:v>41617</c:v>
                </c:pt>
                <c:pt idx="1891">
                  <c:v>41618</c:v>
                </c:pt>
                <c:pt idx="1892">
                  <c:v>41619</c:v>
                </c:pt>
                <c:pt idx="1893">
                  <c:v>41620</c:v>
                </c:pt>
                <c:pt idx="1894">
                  <c:v>41621</c:v>
                </c:pt>
                <c:pt idx="1895">
                  <c:v>41624</c:v>
                </c:pt>
                <c:pt idx="1896">
                  <c:v>41625</c:v>
                </c:pt>
                <c:pt idx="1897">
                  <c:v>41626</c:v>
                </c:pt>
                <c:pt idx="1898">
                  <c:v>41627</c:v>
                </c:pt>
                <c:pt idx="1899">
                  <c:v>41628</c:v>
                </c:pt>
                <c:pt idx="1900">
                  <c:v>41631</c:v>
                </c:pt>
                <c:pt idx="1901">
                  <c:v>41632</c:v>
                </c:pt>
                <c:pt idx="1902">
                  <c:v>41634</c:v>
                </c:pt>
                <c:pt idx="1903">
                  <c:v>41635</c:v>
                </c:pt>
                <c:pt idx="1904">
                  <c:v>41638</c:v>
                </c:pt>
                <c:pt idx="1905">
                  <c:v>41639</c:v>
                </c:pt>
                <c:pt idx="1906">
                  <c:v>41641</c:v>
                </c:pt>
                <c:pt idx="1907">
                  <c:v>41642</c:v>
                </c:pt>
                <c:pt idx="1908">
                  <c:v>41645</c:v>
                </c:pt>
                <c:pt idx="1909">
                  <c:v>41646</c:v>
                </c:pt>
                <c:pt idx="1910">
                  <c:v>41647</c:v>
                </c:pt>
                <c:pt idx="1911">
                  <c:v>41648</c:v>
                </c:pt>
                <c:pt idx="1912">
                  <c:v>41649</c:v>
                </c:pt>
                <c:pt idx="1913">
                  <c:v>41652</c:v>
                </c:pt>
                <c:pt idx="1914">
                  <c:v>41653</c:v>
                </c:pt>
                <c:pt idx="1915">
                  <c:v>41654</c:v>
                </c:pt>
                <c:pt idx="1916">
                  <c:v>41655</c:v>
                </c:pt>
                <c:pt idx="1917">
                  <c:v>41656</c:v>
                </c:pt>
                <c:pt idx="1918">
                  <c:v>41660</c:v>
                </c:pt>
                <c:pt idx="1919">
                  <c:v>41661</c:v>
                </c:pt>
                <c:pt idx="1920">
                  <c:v>41662</c:v>
                </c:pt>
                <c:pt idx="1921">
                  <c:v>41663</c:v>
                </c:pt>
                <c:pt idx="1922">
                  <c:v>41666</c:v>
                </c:pt>
                <c:pt idx="1923">
                  <c:v>41667</c:v>
                </c:pt>
                <c:pt idx="1924">
                  <c:v>41668</c:v>
                </c:pt>
                <c:pt idx="1925">
                  <c:v>41669</c:v>
                </c:pt>
                <c:pt idx="1926">
                  <c:v>41670</c:v>
                </c:pt>
                <c:pt idx="1927">
                  <c:v>41673</c:v>
                </c:pt>
                <c:pt idx="1928">
                  <c:v>41674</c:v>
                </c:pt>
                <c:pt idx="1929">
                  <c:v>41675</c:v>
                </c:pt>
                <c:pt idx="1930">
                  <c:v>41676</c:v>
                </c:pt>
                <c:pt idx="1931">
                  <c:v>41677</c:v>
                </c:pt>
                <c:pt idx="1932">
                  <c:v>41680</c:v>
                </c:pt>
                <c:pt idx="1933">
                  <c:v>41681</c:v>
                </c:pt>
                <c:pt idx="1934">
                  <c:v>41682</c:v>
                </c:pt>
                <c:pt idx="1935">
                  <c:v>41683</c:v>
                </c:pt>
                <c:pt idx="1936">
                  <c:v>41684</c:v>
                </c:pt>
                <c:pt idx="1937">
                  <c:v>41688</c:v>
                </c:pt>
                <c:pt idx="1938">
                  <c:v>41689</c:v>
                </c:pt>
                <c:pt idx="1939">
                  <c:v>41690</c:v>
                </c:pt>
                <c:pt idx="1940">
                  <c:v>41691</c:v>
                </c:pt>
                <c:pt idx="1941">
                  <c:v>41694</c:v>
                </c:pt>
                <c:pt idx="1942">
                  <c:v>41695</c:v>
                </c:pt>
                <c:pt idx="1943">
                  <c:v>41696</c:v>
                </c:pt>
                <c:pt idx="1944">
                  <c:v>41697</c:v>
                </c:pt>
                <c:pt idx="1945">
                  <c:v>41698</c:v>
                </c:pt>
                <c:pt idx="1946">
                  <c:v>41701</c:v>
                </c:pt>
                <c:pt idx="1947">
                  <c:v>41702</c:v>
                </c:pt>
                <c:pt idx="1948">
                  <c:v>41703</c:v>
                </c:pt>
                <c:pt idx="1949">
                  <c:v>41704</c:v>
                </c:pt>
                <c:pt idx="1950">
                  <c:v>41705</c:v>
                </c:pt>
                <c:pt idx="1951">
                  <c:v>41708</c:v>
                </c:pt>
                <c:pt idx="1952">
                  <c:v>41709</c:v>
                </c:pt>
                <c:pt idx="1953">
                  <c:v>41710</c:v>
                </c:pt>
                <c:pt idx="1954">
                  <c:v>41711</c:v>
                </c:pt>
                <c:pt idx="1955">
                  <c:v>41712</c:v>
                </c:pt>
                <c:pt idx="1956">
                  <c:v>41715</c:v>
                </c:pt>
                <c:pt idx="1957">
                  <c:v>41716</c:v>
                </c:pt>
                <c:pt idx="1958">
                  <c:v>41717</c:v>
                </c:pt>
                <c:pt idx="1959">
                  <c:v>41718</c:v>
                </c:pt>
                <c:pt idx="1960">
                  <c:v>41719</c:v>
                </c:pt>
                <c:pt idx="1961">
                  <c:v>41722</c:v>
                </c:pt>
                <c:pt idx="1962">
                  <c:v>41723</c:v>
                </c:pt>
                <c:pt idx="1963">
                  <c:v>41724</c:v>
                </c:pt>
                <c:pt idx="1964">
                  <c:v>41725</c:v>
                </c:pt>
                <c:pt idx="1965">
                  <c:v>41726</c:v>
                </c:pt>
                <c:pt idx="1966">
                  <c:v>41729</c:v>
                </c:pt>
                <c:pt idx="1967">
                  <c:v>41730</c:v>
                </c:pt>
                <c:pt idx="1968">
                  <c:v>41731</c:v>
                </c:pt>
                <c:pt idx="1969">
                  <c:v>41732</c:v>
                </c:pt>
                <c:pt idx="1970">
                  <c:v>41733</c:v>
                </c:pt>
                <c:pt idx="1971">
                  <c:v>41736</c:v>
                </c:pt>
                <c:pt idx="1972">
                  <c:v>41737</c:v>
                </c:pt>
                <c:pt idx="1973">
                  <c:v>41738</c:v>
                </c:pt>
                <c:pt idx="1974">
                  <c:v>41739</c:v>
                </c:pt>
                <c:pt idx="1975">
                  <c:v>41740</c:v>
                </c:pt>
                <c:pt idx="1976">
                  <c:v>41743</c:v>
                </c:pt>
                <c:pt idx="1977">
                  <c:v>41744</c:v>
                </c:pt>
                <c:pt idx="1978">
                  <c:v>41745</c:v>
                </c:pt>
                <c:pt idx="1979">
                  <c:v>41746</c:v>
                </c:pt>
                <c:pt idx="1980">
                  <c:v>41750</c:v>
                </c:pt>
                <c:pt idx="1981">
                  <c:v>41751</c:v>
                </c:pt>
                <c:pt idx="1982">
                  <c:v>41752</c:v>
                </c:pt>
                <c:pt idx="1983">
                  <c:v>41753</c:v>
                </c:pt>
                <c:pt idx="1984">
                  <c:v>41754</c:v>
                </c:pt>
                <c:pt idx="1985">
                  <c:v>41757</c:v>
                </c:pt>
                <c:pt idx="1986">
                  <c:v>41758</c:v>
                </c:pt>
                <c:pt idx="1987">
                  <c:v>41759</c:v>
                </c:pt>
                <c:pt idx="1988">
                  <c:v>41760</c:v>
                </c:pt>
                <c:pt idx="1989">
                  <c:v>41761</c:v>
                </c:pt>
                <c:pt idx="1990">
                  <c:v>41764</c:v>
                </c:pt>
                <c:pt idx="1991">
                  <c:v>41765</c:v>
                </c:pt>
                <c:pt idx="1992">
                  <c:v>41766</c:v>
                </c:pt>
                <c:pt idx="1993">
                  <c:v>41767</c:v>
                </c:pt>
                <c:pt idx="1994">
                  <c:v>41768</c:v>
                </c:pt>
                <c:pt idx="1995">
                  <c:v>41771</c:v>
                </c:pt>
                <c:pt idx="1996">
                  <c:v>41772</c:v>
                </c:pt>
                <c:pt idx="1997">
                  <c:v>41773</c:v>
                </c:pt>
                <c:pt idx="1998">
                  <c:v>41774</c:v>
                </c:pt>
                <c:pt idx="1999">
                  <c:v>41775</c:v>
                </c:pt>
                <c:pt idx="2000">
                  <c:v>41778</c:v>
                </c:pt>
                <c:pt idx="2001">
                  <c:v>41779</c:v>
                </c:pt>
                <c:pt idx="2002">
                  <c:v>41780</c:v>
                </c:pt>
                <c:pt idx="2003">
                  <c:v>41781</c:v>
                </c:pt>
                <c:pt idx="2004">
                  <c:v>41782</c:v>
                </c:pt>
                <c:pt idx="2005">
                  <c:v>41786</c:v>
                </c:pt>
                <c:pt idx="2006">
                  <c:v>41787</c:v>
                </c:pt>
                <c:pt idx="2007">
                  <c:v>41788</c:v>
                </c:pt>
                <c:pt idx="2008">
                  <c:v>41789</c:v>
                </c:pt>
                <c:pt idx="2009">
                  <c:v>41792</c:v>
                </c:pt>
                <c:pt idx="2010">
                  <c:v>41793</c:v>
                </c:pt>
                <c:pt idx="2011">
                  <c:v>41794</c:v>
                </c:pt>
                <c:pt idx="2012">
                  <c:v>41795</c:v>
                </c:pt>
                <c:pt idx="2013">
                  <c:v>41796</c:v>
                </c:pt>
                <c:pt idx="2014">
                  <c:v>41799</c:v>
                </c:pt>
                <c:pt idx="2015">
                  <c:v>41800</c:v>
                </c:pt>
                <c:pt idx="2016">
                  <c:v>41801</c:v>
                </c:pt>
                <c:pt idx="2017">
                  <c:v>41802</c:v>
                </c:pt>
                <c:pt idx="2018">
                  <c:v>41803</c:v>
                </c:pt>
                <c:pt idx="2019">
                  <c:v>41806</c:v>
                </c:pt>
                <c:pt idx="2020">
                  <c:v>41807</c:v>
                </c:pt>
                <c:pt idx="2021">
                  <c:v>41808</c:v>
                </c:pt>
                <c:pt idx="2022">
                  <c:v>41809</c:v>
                </c:pt>
                <c:pt idx="2023">
                  <c:v>41810</c:v>
                </c:pt>
                <c:pt idx="2024">
                  <c:v>41813</c:v>
                </c:pt>
                <c:pt idx="2025">
                  <c:v>41814</c:v>
                </c:pt>
                <c:pt idx="2026">
                  <c:v>41815</c:v>
                </c:pt>
                <c:pt idx="2027">
                  <c:v>41816</c:v>
                </c:pt>
                <c:pt idx="2028">
                  <c:v>41817</c:v>
                </c:pt>
                <c:pt idx="2029">
                  <c:v>41820</c:v>
                </c:pt>
                <c:pt idx="2030">
                  <c:v>41821</c:v>
                </c:pt>
                <c:pt idx="2031">
                  <c:v>41822</c:v>
                </c:pt>
                <c:pt idx="2032">
                  <c:v>41823</c:v>
                </c:pt>
                <c:pt idx="2033">
                  <c:v>41827</c:v>
                </c:pt>
                <c:pt idx="2034">
                  <c:v>41828</c:v>
                </c:pt>
                <c:pt idx="2035">
                  <c:v>41829</c:v>
                </c:pt>
                <c:pt idx="2036">
                  <c:v>41830</c:v>
                </c:pt>
                <c:pt idx="2037">
                  <c:v>41831</c:v>
                </c:pt>
                <c:pt idx="2038">
                  <c:v>41834</c:v>
                </c:pt>
                <c:pt idx="2039">
                  <c:v>41835</c:v>
                </c:pt>
                <c:pt idx="2040">
                  <c:v>41836</c:v>
                </c:pt>
                <c:pt idx="2041">
                  <c:v>41837</c:v>
                </c:pt>
                <c:pt idx="2042">
                  <c:v>41838</c:v>
                </c:pt>
                <c:pt idx="2043">
                  <c:v>41841</c:v>
                </c:pt>
                <c:pt idx="2044">
                  <c:v>41842</c:v>
                </c:pt>
                <c:pt idx="2045">
                  <c:v>41843</c:v>
                </c:pt>
                <c:pt idx="2046">
                  <c:v>41844</c:v>
                </c:pt>
                <c:pt idx="2047">
                  <c:v>41845</c:v>
                </c:pt>
                <c:pt idx="2048">
                  <c:v>41848</c:v>
                </c:pt>
                <c:pt idx="2049">
                  <c:v>41849</c:v>
                </c:pt>
                <c:pt idx="2050">
                  <c:v>41850</c:v>
                </c:pt>
                <c:pt idx="2051">
                  <c:v>41851</c:v>
                </c:pt>
                <c:pt idx="2052">
                  <c:v>41852</c:v>
                </c:pt>
                <c:pt idx="2053">
                  <c:v>41855</c:v>
                </c:pt>
                <c:pt idx="2054">
                  <c:v>41856</c:v>
                </c:pt>
                <c:pt idx="2055">
                  <c:v>41857</c:v>
                </c:pt>
                <c:pt idx="2056">
                  <c:v>41858</c:v>
                </c:pt>
                <c:pt idx="2057">
                  <c:v>41859</c:v>
                </c:pt>
                <c:pt idx="2058">
                  <c:v>41862</c:v>
                </c:pt>
                <c:pt idx="2059">
                  <c:v>41863</c:v>
                </c:pt>
                <c:pt idx="2060">
                  <c:v>41864</c:v>
                </c:pt>
                <c:pt idx="2061">
                  <c:v>41865</c:v>
                </c:pt>
                <c:pt idx="2062">
                  <c:v>41866</c:v>
                </c:pt>
                <c:pt idx="2063">
                  <c:v>41869</c:v>
                </c:pt>
                <c:pt idx="2064">
                  <c:v>41870</c:v>
                </c:pt>
                <c:pt idx="2065">
                  <c:v>41871</c:v>
                </c:pt>
                <c:pt idx="2066">
                  <c:v>41872</c:v>
                </c:pt>
                <c:pt idx="2067">
                  <c:v>41873</c:v>
                </c:pt>
                <c:pt idx="2068">
                  <c:v>41876</c:v>
                </c:pt>
                <c:pt idx="2069">
                  <c:v>41877</c:v>
                </c:pt>
                <c:pt idx="2070">
                  <c:v>41878</c:v>
                </c:pt>
                <c:pt idx="2071">
                  <c:v>41879</c:v>
                </c:pt>
                <c:pt idx="2072">
                  <c:v>41880</c:v>
                </c:pt>
                <c:pt idx="2073">
                  <c:v>41884</c:v>
                </c:pt>
                <c:pt idx="2074">
                  <c:v>41885</c:v>
                </c:pt>
                <c:pt idx="2075">
                  <c:v>41886</c:v>
                </c:pt>
                <c:pt idx="2076">
                  <c:v>41887</c:v>
                </c:pt>
                <c:pt idx="2077">
                  <c:v>41890</c:v>
                </c:pt>
                <c:pt idx="2078">
                  <c:v>41891</c:v>
                </c:pt>
                <c:pt idx="2079">
                  <c:v>41892</c:v>
                </c:pt>
                <c:pt idx="2080">
                  <c:v>41893</c:v>
                </c:pt>
                <c:pt idx="2081">
                  <c:v>41894</c:v>
                </c:pt>
                <c:pt idx="2082">
                  <c:v>41897</c:v>
                </c:pt>
                <c:pt idx="2083">
                  <c:v>41898</c:v>
                </c:pt>
                <c:pt idx="2084">
                  <c:v>41899</c:v>
                </c:pt>
                <c:pt idx="2085">
                  <c:v>41900</c:v>
                </c:pt>
                <c:pt idx="2086">
                  <c:v>41901</c:v>
                </c:pt>
                <c:pt idx="2087">
                  <c:v>41904</c:v>
                </c:pt>
                <c:pt idx="2088">
                  <c:v>41905</c:v>
                </c:pt>
                <c:pt idx="2089">
                  <c:v>41906</c:v>
                </c:pt>
                <c:pt idx="2090">
                  <c:v>41907</c:v>
                </c:pt>
                <c:pt idx="2091">
                  <c:v>41908</c:v>
                </c:pt>
                <c:pt idx="2092">
                  <c:v>41911</c:v>
                </c:pt>
                <c:pt idx="2093">
                  <c:v>41912</c:v>
                </c:pt>
                <c:pt idx="2094">
                  <c:v>41913</c:v>
                </c:pt>
                <c:pt idx="2095">
                  <c:v>41914</c:v>
                </c:pt>
                <c:pt idx="2096">
                  <c:v>41915</c:v>
                </c:pt>
                <c:pt idx="2097">
                  <c:v>41918</c:v>
                </c:pt>
                <c:pt idx="2098">
                  <c:v>41919</c:v>
                </c:pt>
                <c:pt idx="2099">
                  <c:v>41920</c:v>
                </c:pt>
                <c:pt idx="2100">
                  <c:v>41921</c:v>
                </c:pt>
                <c:pt idx="2101">
                  <c:v>41922</c:v>
                </c:pt>
                <c:pt idx="2102">
                  <c:v>41925</c:v>
                </c:pt>
                <c:pt idx="2103">
                  <c:v>41926</c:v>
                </c:pt>
                <c:pt idx="2104">
                  <c:v>41927</c:v>
                </c:pt>
                <c:pt idx="2105">
                  <c:v>41928</c:v>
                </c:pt>
                <c:pt idx="2106">
                  <c:v>41929</c:v>
                </c:pt>
                <c:pt idx="2107">
                  <c:v>41932</c:v>
                </c:pt>
                <c:pt idx="2108">
                  <c:v>41933</c:v>
                </c:pt>
                <c:pt idx="2109">
                  <c:v>41934</c:v>
                </c:pt>
                <c:pt idx="2110">
                  <c:v>41935</c:v>
                </c:pt>
                <c:pt idx="2111">
                  <c:v>41936</c:v>
                </c:pt>
                <c:pt idx="2112">
                  <c:v>41939</c:v>
                </c:pt>
                <c:pt idx="2113">
                  <c:v>41940</c:v>
                </c:pt>
                <c:pt idx="2114">
                  <c:v>41941</c:v>
                </c:pt>
                <c:pt idx="2115">
                  <c:v>41942</c:v>
                </c:pt>
                <c:pt idx="2116">
                  <c:v>41943</c:v>
                </c:pt>
                <c:pt idx="2117">
                  <c:v>41946</c:v>
                </c:pt>
                <c:pt idx="2118">
                  <c:v>41947</c:v>
                </c:pt>
                <c:pt idx="2119">
                  <c:v>41948</c:v>
                </c:pt>
                <c:pt idx="2120">
                  <c:v>41949</c:v>
                </c:pt>
                <c:pt idx="2121">
                  <c:v>41950</c:v>
                </c:pt>
                <c:pt idx="2122">
                  <c:v>41953</c:v>
                </c:pt>
                <c:pt idx="2123">
                  <c:v>41954</c:v>
                </c:pt>
                <c:pt idx="2124">
                  <c:v>41955</c:v>
                </c:pt>
                <c:pt idx="2125">
                  <c:v>41956</c:v>
                </c:pt>
                <c:pt idx="2126">
                  <c:v>41957</c:v>
                </c:pt>
                <c:pt idx="2127">
                  <c:v>41960</c:v>
                </c:pt>
                <c:pt idx="2128">
                  <c:v>41961</c:v>
                </c:pt>
                <c:pt idx="2129">
                  <c:v>41962</c:v>
                </c:pt>
                <c:pt idx="2130">
                  <c:v>41963</c:v>
                </c:pt>
                <c:pt idx="2131">
                  <c:v>41964</c:v>
                </c:pt>
                <c:pt idx="2132">
                  <c:v>41967</c:v>
                </c:pt>
                <c:pt idx="2133">
                  <c:v>41968</c:v>
                </c:pt>
                <c:pt idx="2134">
                  <c:v>41969</c:v>
                </c:pt>
                <c:pt idx="2135">
                  <c:v>41971</c:v>
                </c:pt>
                <c:pt idx="2136">
                  <c:v>41974</c:v>
                </c:pt>
                <c:pt idx="2137">
                  <c:v>41975</c:v>
                </c:pt>
                <c:pt idx="2138">
                  <c:v>41976</c:v>
                </c:pt>
                <c:pt idx="2139">
                  <c:v>41977</c:v>
                </c:pt>
                <c:pt idx="2140">
                  <c:v>41978</c:v>
                </c:pt>
                <c:pt idx="2141">
                  <c:v>41981</c:v>
                </c:pt>
                <c:pt idx="2142">
                  <c:v>41982</c:v>
                </c:pt>
                <c:pt idx="2143">
                  <c:v>41983</c:v>
                </c:pt>
                <c:pt idx="2144">
                  <c:v>41984</c:v>
                </c:pt>
                <c:pt idx="2145">
                  <c:v>41985</c:v>
                </c:pt>
                <c:pt idx="2146">
                  <c:v>41988</c:v>
                </c:pt>
                <c:pt idx="2147">
                  <c:v>41989</c:v>
                </c:pt>
                <c:pt idx="2148">
                  <c:v>41990</c:v>
                </c:pt>
                <c:pt idx="2149">
                  <c:v>41991</c:v>
                </c:pt>
                <c:pt idx="2150">
                  <c:v>41992</c:v>
                </c:pt>
                <c:pt idx="2151">
                  <c:v>41995</c:v>
                </c:pt>
                <c:pt idx="2152">
                  <c:v>41996</c:v>
                </c:pt>
                <c:pt idx="2153">
                  <c:v>41997</c:v>
                </c:pt>
                <c:pt idx="2154">
                  <c:v>41999</c:v>
                </c:pt>
                <c:pt idx="2155">
                  <c:v>42002</c:v>
                </c:pt>
                <c:pt idx="2156">
                  <c:v>42003</c:v>
                </c:pt>
                <c:pt idx="2157">
                  <c:v>42004</c:v>
                </c:pt>
                <c:pt idx="2158">
                  <c:v>42006</c:v>
                </c:pt>
                <c:pt idx="2159">
                  <c:v>42009</c:v>
                </c:pt>
                <c:pt idx="2160">
                  <c:v>42010</c:v>
                </c:pt>
                <c:pt idx="2161">
                  <c:v>42011</c:v>
                </c:pt>
                <c:pt idx="2162">
                  <c:v>42012</c:v>
                </c:pt>
                <c:pt idx="2163">
                  <c:v>42013</c:v>
                </c:pt>
                <c:pt idx="2164">
                  <c:v>42016</c:v>
                </c:pt>
                <c:pt idx="2165">
                  <c:v>42017</c:v>
                </c:pt>
                <c:pt idx="2166">
                  <c:v>42018</c:v>
                </c:pt>
                <c:pt idx="2167">
                  <c:v>42019</c:v>
                </c:pt>
                <c:pt idx="2168">
                  <c:v>42020</c:v>
                </c:pt>
                <c:pt idx="2169">
                  <c:v>42024</c:v>
                </c:pt>
                <c:pt idx="2170">
                  <c:v>42025</c:v>
                </c:pt>
                <c:pt idx="2171">
                  <c:v>42026</c:v>
                </c:pt>
                <c:pt idx="2172">
                  <c:v>42027</c:v>
                </c:pt>
                <c:pt idx="2173">
                  <c:v>42030</c:v>
                </c:pt>
                <c:pt idx="2174">
                  <c:v>42031</c:v>
                </c:pt>
                <c:pt idx="2175">
                  <c:v>42032</c:v>
                </c:pt>
                <c:pt idx="2176">
                  <c:v>42033</c:v>
                </c:pt>
                <c:pt idx="2177">
                  <c:v>42034</c:v>
                </c:pt>
                <c:pt idx="2178">
                  <c:v>42037</c:v>
                </c:pt>
                <c:pt idx="2179">
                  <c:v>42038</c:v>
                </c:pt>
                <c:pt idx="2180">
                  <c:v>42039</c:v>
                </c:pt>
                <c:pt idx="2181">
                  <c:v>42040</c:v>
                </c:pt>
                <c:pt idx="2182">
                  <c:v>42041</c:v>
                </c:pt>
                <c:pt idx="2183">
                  <c:v>42044</c:v>
                </c:pt>
                <c:pt idx="2184">
                  <c:v>42045</c:v>
                </c:pt>
                <c:pt idx="2185">
                  <c:v>42046</c:v>
                </c:pt>
                <c:pt idx="2186">
                  <c:v>42047</c:v>
                </c:pt>
                <c:pt idx="2187">
                  <c:v>42048</c:v>
                </c:pt>
                <c:pt idx="2188">
                  <c:v>42052</c:v>
                </c:pt>
                <c:pt idx="2189">
                  <c:v>42053</c:v>
                </c:pt>
                <c:pt idx="2190">
                  <c:v>42054</c:v>
                </c:pt>
                <c:pt idx="2191">
                  <c:v>42055</c:v>
                </c:pt>
                <c:pt idx="2192">
                  <c:v>42058</c:v>
                </c:pt>
                <c:pt idx="2193">
                  <c:v>42059</c:v>
                </c:pt>
                <c:pt idx="2194">
                  <c:v>42060</c:v>
                </c:pt>
                <c:pt idx="2195">
                  <c:v>42061</c:v>
                </c:pt>
                <c:pt idx="2196">
                  <c:v>42062</c:v>
                </c:pt>
                <c:pt idx="2197">
                  <c:v>42065</c:v>
                </c:pt>
                <c:pt idx="2198">
                  <c:v>42066</c:v>
                </c:pt>
                <c:pt idx="2199">
                  <c:v>42067</c:v>
                </c:pt>
                <c:pt idx="2200">
                  <c:v>42068</c:v>
                </c:pt>
                <c:pt idx="2201">
                  <c:v>42069</c:v>
                </c:pt>
                <c:pt idx="2202">
                  <c:v>42072</c:v>
                </c:pt>
                <c:pt idx="2203">
                  <c:v>42073</c:v>
                </c:pt>
                <c:pt idx="2204">
                  <c:v>42074</c:v>
                </c:pt>
                <c:pt idx="2205">
                  <c:v>42075</c:v>
                </c:pt>
                <c:pt idx="2206">
                  <c:v>42076</c:v>
                </c:pt>
                <c:pt idx="2207">
                  <c:v>42079</c:v>
                </c:pt>
                <c:pt idx="2208">
                  <c:v>42080</c:v>
                </c:pt>
                <c:pt idx="2209">
                  <c:v>42081</c:v>
                </c:pt>
                <c:pt idx="2210">
                  <c:v>42082</c:v>
                </c:pt>
                <c:pt idx="2211">
                  <c:v>42083</c:v>
                </c:pt>
                <c:pt idx="2212">
                  <c:v>42086</c:v>
                </c:pt>
                <c:pt idx="2213">
                  <c:v>42087</c:v>
                </c:pt>
                <c:pt idx="2214">
                  <c:v>42088</c:v>
                </c:pt>
                <c:pt idx="2215">
                  <c:v>42089</c:v>
                </c:pt>
                <c:pt idx="2216">
                  <c:v>42090</c:v>
                </c:pt>
                <c:pt idx="2217">
                  <c:v>42093</c:v>
                </c:pt>
                <c:pt idx="2218">
                  <c:v>42094</c:v>
                </c:pt>
                <c:pt idx="2219">
                  <c:v>42095</c:v>
                </c:pt>
                <c:pt idx="2220">
                  <c:v>42096</c:v>
                </c:pt>
                <c:pt idx="2221">
                  <c:v>42100</c:v>
                </c:pt>
                <c:pt idx="2222">
                  <c:v>42101</c:v>
                </c:pt>
                <c:pt idx="2223">
                  <c:v>42102</c:v>
                </c:pt>
                <c:pt idx="2224">
                  <c:v>42103</c:v>
                </c:pt>
                <c:pt idx="2225">
                  <c:v>42104</c:v>
                </c:pt>
                <c:pt idx="2226">
                  <c:v>42107</c:v>
                </c:pt>
                <c:pt idx="2227">
                  <c:v>42108</c:v>
                </c:pt>
                <c:pt idx="2228">
                  <c:v>42109</c:v>
                </c:pt>
                <c:pt idx="2229">
                  <c:v>42110</c:v>
                </c:pt>
                <c:pt idx="2230">
                  <c:v>42111</c:v>
                </c:pt>
                <c:pt idx="2231">
                  <c:v>42114</c:v>
                </c:pt>
                <c:pt idx="2232">
                  <c:v>42115</c:v>
                </c:pt>
                <c:pt idx="2233">
                  <c:v>42116</c:v>
                </c:pt>
                <c:pt idx="2234">
                  <c:v>42117</c:v>
                </c:pt>
                <c:pt idx="2235">
                  <c:v>42118</c:v>
                </c:pt>
                <c:pt idx="2236">
                  <c:v>42121</c:v>
                </c:pt>
                <c:pt idx="2237">
                  <c:v>42122</c:v>
                </c:pt>
                <c:pt idx="2238">
                  <c:v>42123</c:v>
                </c:pt>
                <c:pt idx="2239">
                  <c:v>42124</c:v>
                </c:pt>
                <c:pt idx="2240">
                  <c:v>42125</c:v>
                </c:pt>
                <c:pt idx="2241">
                  <c:v>42128</c:v>
                </c:pt>
                <c:pt idx="2242">
                  <c:v>42129</c:v>
                </c:pt>
                <c:pt idx="2243">
                  <c:v>42130</c:v>
                </c:pt>
                <c:pt idx="2244">
                  <c:v>42131</c:v>
                </c:pt>
                <c:pt idx="2245">
                  <c:v>42132</c:v>
                </c:pt>
                <c:pt idx="2246">
                  <c:v>42135</c:v>
                </c:pt>
                <c:pt idx="2247">
                  <c:v>42136</c:v>
                </c:pt>
                <c:pt idx="2248">
                  <c:v>42137</c:v>
                </c:pt>
                <c:pt idx="2249">
                  <c:v>42138</c:v>
                </c:pt>
                <c:pt idx="2250">
                  <c:v>42139</c:v>
                </c:pt>
                <c:pt idx="2251">
                  <c:v>42142</c:v>
                </c:pt>
                <c:pt idx="2252">
                  <c:v>42143</c:v>
                </c:pt>
                <c:pt idx="2253">
                  <c:v>42144</c:v>
                </c:pt>
                <c:pt idx="2254">
                  <c:v>42145</c:v>
                </c:pt>
                <c:pt idx="2255">
                  <c:v>42146</c:v>
                </c:pt>
                <c:pt idx="2256">
                  <c:v>42150</c:v>
                </c:pt>
                <c:pt idx="2257">
                  <c:v>42151</c:v>
                </c:pt>
                <c:pt idx="2258">
                  <c:v>42152</c:v>
                </c:pt>
                <c:pt idx="2259">
                  <c:v>42153</c:v>
                </c:pt>
                <c:pt idx="2260">
                  <c:v>42156</c:v>
                </c:pt>
                <c:pt idx="2261">
                  <c:v>42157</c:v>
                </c:pt>
                <c:pt idx="2262">
                  <c:v>42158</c:v>
                </c:pt>
                <c:pt idx="2263">
                  <c:v>42159</c:v>
                </c:pt>
                <c:pt idx="2264">
                  <c:v>42160</c:v>
                </c:pt>
                <c:pt idx="2265">
                  <c:v>42163</c:v>
                </c:pt>
                <c:pt idx="2266">
                  <c:v>42164</c:v>
                </c:pt>
                <c:pt idx="2267">
                  <c:v>42165</c:v>
                </c:pt>
                <c:pt idx="2268">
                  <c:v>42166</c:v>
                </c:pt>
                <c:pt idx="2269">
                  <c:v>42167</c:v>
                </c:pt>
                <c:pt idx="2270">
                  <c:v>42170</c:v>
                </c:pt>
                <c:pt idx="2271">
                  <c:v>42171</c:v>
                </c:pt>
                <c:pt idx="2272">
                  <c:v>42172</c:v>
                </c:pt>
                <c:pt idx="2273">
                  <c:v>42173</c:v>
                </c:pt>
                <c:pt idx="2274">
                  <c:v>42174</c:v>
                </c:pt>
                <c:pt idx="2275">
                  <c:v>42177</c:v>
                </c:pt>
                <c:pt idx="2276">
                  <c:v>42178</c:v>
                </c:pt>
                <c:pt idx="2277">
                  <c:v>42179</c:v>
                </c:pt>
                <c:pt idx="2278">
                  <c:v>42180</c:v>
                </c:pt>
                <c:pt idx="2279">
                  <c:v>42181</c:v>
                </c:pt>
                <c:pt idx="2280">
                  <c:v>42184</c:v>
                </c:pt>
                <c:pt idx="2281">
                  <c:v>42185</c:v>
                </c:pt>
                <c:pt idx="2282">
                  <c:v>42186</c:v>
                </c:pt>
                <c:pt idx="2283">
                  <c:v>42187</c:v>
                </c:pt>
                <c:pt idx="2284">
                  <c:v>42191</c:v>
                </c:pt>
                <c:pt idx="2285">
                  <c:v>42192</c:v>
                </c:pt>
                <c:pt idx="2286">
                  <c:v>42193</c:v>
                </c:pt>
                <c:pt idx="2287">
                  <c:v>42194</c:v>
                </c:pt>
                <c:pt idx="2288">
                  <c:v>42195</c:v>
                </c:pt>
                <c:pt idx="2289">
                  <c:v>42198</c:v>
                </c:pt>
                <c:pt idx="2290">
                  <c:v>42199</c:v>
                </c:pt>
                <c:pt idx="2291">
                  <c:v>42200</c:v>
                </c:pt>
                <c:pt idx="2292">
                  <c:v>42201</c:v>
                </c:pt>
                <c:pt idx="2293">
                  <c:v>42202</c:v>
                </c:pt>
                <c:pt idx="2294">
                  <c:v>42205</c:v>
                </c:pt>
                <c:pt idx="2295">
                  <c:v>42206</c:v>
                </c:pt>
                <c:pt idx="2296">
                  <c:v>42207</c:v>
                </c:pt>
                <c:pt idx="2297">
                  <c:v>42208</c:v>
                </c:pt>
                <c:pt idx="2298">
                  <c:v>42209</c:v>
                </c:pt>
                <c:pt idx="2299">
                  <c:v>42212</c:v>
                </c:pt>
                <c:pt idx="2300">
                  <c:v>42213</c:v>
                </c:pt>
                <c:pt idx="2301">
                  <c:v>42214</c:v>
                </c:pt>
                <c:pt idx="2302">
                  <c:v>42215</c:v>
                </c:pt>
                <c:pt idx="2303">
                  <c:v>42216</c:v>
                </c:pt>
                <c:pt idx="2304">
                  <c:v>42219</c:v>
                </c:pt>
                <c:pt idx="2305">
                  <c:v>42220</c:v>
                </c:pt>
                <c:pt idx="2306">
                  <c:v>42221</c:v>
                </c:pt>
                <c:pt idx="2307">
                  <c:v>42222</c:v>
                </c:pt>
                <c:pt idx="2308">
                  <c:v>42223</c:v>
                </c:pt>
                <c:pt idx="2309">
                  <c:v>42226</c:v>
                </c:pt>
                <c:pt idx="2310">
                  <c:v>42227</c:v>
                </c:pt>
                <c:pt idx="2311">
                  <c:v>42228</c:v>
                </c:pt>
                <c:pt idx="2312">
                  <c:v>42229</c:v>
                </c:pt>
                <c:pt idx="2313">
                  <c:v>42230</c:v>
                </c:pt>
                <c:pt idx="2314">
                  <c:v>42233</c:v>
                </c:pt>
                <c:pt idx="2315">
                  <c:v>42234</c:v>
                </c:pt>
                <c:pt idx="2316">
                  <c:v>42235</c:v>
                </c:pt>
                <c:pt idx="2317">
                  <c:v>42236</c:v>
                </c:pt>
                <c:pt idx="2318">
                  <c:v>42237</c:v>
                </c:pt>
                <c:pt idx="2319">
                  <c:v>42240</c:v>
                </c:pt>
                <c:pt idx="2320">
                  <c:v>42241</c:v>
                </c:pt>
                <c:pt idx="2321">
                  <c:v>42242</c:v>
                </c:pt>
                <c:pt idx="2322">
                  <c:v>42243</c:v>
                </c:pt>
                <c:pt idx="2323">
                  <c:v>42244</c:v>
                </c:pt>
                <c:pt idx="2324">
                  <c:v>42247</c:v>
                </c:pt>
                <c:pt idx="2325">
                  <c:v>42248</c:v>
                </c:pt>
                <c:pt idx="2326">
                  <c:v>42249</c:v>
                </c:pt>
                <c:pt idx="2327">
                  <c:v>42250</c:v>
                </c:pt>
                <c:pt idx="2328">
                  <c:v>42251</c:v>
                </c:pt>
                <c:pt idx="2329">
                  <c:v>42255</c:v>
                </c:pt>
                <c:pt idx="2330">
                  <c:v>42256</c:v>
                </c:pt>
                <c:pt idx="2331">
                  <c:v>42257</c:v>
                </c:pt>
                <c:pt idx="2332">
                  <c:v>42258</c:v>
                </c:pt>
                <c:pt idx="2333">
                  <c:v>42261</c:v>
                </c:pt>
                <c:pt idx="2334">
                  <c:v>42262</c:v>
                </c:pt>
                <c:pt idx="2335">
                  <c:v>42263</c:v>
                </c:pt>
                <c:pt idx="2336">
                  <c:v>42264</c:v>
                </c:pt>
                <c:pt idx="2337">
                  <c:v>42265</c:v>
                </c:pt>
                <c:pt idx="2338">
                  <c:v>42268</c:v>
                </c:pt>
                <c:pt idx="2339">
                  <c:v>42269</c:v>
                </c:pt>
                <c:pt idx="2340">
                  <c:v>42270</c:v>
                </c:pt>
                <c:pt idx="2341">
                  <c:v>42271</c:v>
                </c:pt>
                <c:pt idx="2342">
                  <c:v>42272</c:v>
                </c:pt>
                <c:pt idx="2343">
                  <c:v>42275</c:v>
                </c:pt>
                <c:pt idx="2344">
                  <c:v>42276</c:v>
                </c:pt>
                <c:pt idx="2345">
                  <c:v>42277</c:v>
                </c:pt>
                <c:pt idx="2346">
                  <c:v>42278</c:v>
                </c:pt>
                <c:pt idx="2347">
                  <c:v>42279</c:v>
                </c:pt>
                <c:pt idx="2348">
                  <c:v>42282</c:v>
                </c:pt>
                <c:pt idx="2349">
                  <c:v>42283</c:v>
                </c:pt>
                <c:pt idx="2350">
                  <c:v>42284</c:v>
                </c:pt>
                <c:pt idx="2351">
                  <c:v>42285</c:v>
                </c:pt>
                <c:pt idx="2352">
                  <c:v>42286</c:v>
                </c:pt>
                <c:pt idx="2353">
                  <c:v>42289</c:v>
                </c:pt>
                <c:pt idx="2354">
                  <c:v>42290</c:v>
                </c:pt>
                <c:pt idx="2355">
                  <c:v>42291</c:v>
                </c:pt>
                <c:pt idx="2356">
                  <c:v>42292</c:v>
                </c:pt>
                <c:pt idx="2357">
                  <c:v>42293</c:v>
                </c:pt>
                <c:pt idx="2358">
                  <c:v>42296</c:v>
                </c:pt>
                <c:pt idx="2359">
                  <c:v>42297</c:v>
                </c:pt>
                <c:pt idx="2360">
                  <c:v>42298</c:v>
                </c:pt>
                <c:pt idx="2361">
                  <c:v>42299</c:v>
                </c:pt>
                <c:pt idx="2362">
                  <c:v>42300</c:v>
                </c:pt>
                <c:pt idx="2363">
                  <c:v>42303</c:v>
                </c:pt>
                <c:pt idx="2364">
                  <c:v>42304</c:v>
                </c:pt>
                <c:pt idx="2365">
                  <c:v>42305</c:v>
                </c:pt>
                <c:pt idx="2366">
                  <c:v>42306</c:v>
                </c:pt>
                <c:pt idx="2367">
                  <c:v>42307</c:v>
                </c:pt>
                <c:pt idx="2368">
                  <c:v>42310</c:v>
                </c:pt>
                <c:pt idx="2369">
                  <c:v>42311</c:v>
                </c:pt>
                <c:pt idx="2370">
                  <c:v>42312</c:v>
                </c:pt>
                <c:pt idx="2371">
                  <c:v>42313</c:v>
                </c:pt>
                <c:pt idx="2372">
                  <c:v>42314</c:v>
                </c:pt>
                <c:pt idx="2373">
                  <c:v>42317</c:v>
                </c:pt>
                <c:pt idx="2374">
                  <c:v>42318</c:v>
                </c:pt>
                <c:pt idx="2375">
                  <c:v>42319</c:v>
                </c:pt>
                <c:pt idx="2376">
                  <c:v>42320</c:v>
                </c:pt>
                <c:pt idx="2377">
                  <c:v>42321</c:v>
                </c:pt>
                <c:pt idx="2378">
                  <c:v>42324</c:v>
                </c:pt>
                <c:pt idx="2379">
                  <c:v>42325</c:v>
                </c:pt>
                <c:pt idx="2380">
                  <c:v>42326</c:v>
                </c:pt>
                <c:pt idx="2381">
                  <c:v>42327</c:v>
                </c:pt>
                <c:pt idx="2382">
                  <c:v>42328</c:v>
                </c:pt>
                <c:pt idx="2383">
                  <c:v>42331</c:v>
                </c:pt>
                <c:pt idx="2384">
                  <c:v>42332</c:v>
                </c:pt>
                <c:pt idx="2385">
                  <c:v>42333</c:v>
                </c:pt>
                <c:pt idx="2386">
                  <c:v>42335</c:v>
                </c:pt>
                <c:pt idx="2387">
                  <c:v>42338</c:v>
                </c:pt>
                <c:pt idx="2388">
                  <c:v>42339</c:v>
                </c:pt>
                <c:pt idx="2389">
                  <c:v>42340</c:v>
                </c:pt>
                <c:pt idx="2390">
                  <c:v>42341</c:v>
                </c:pt>
                <c:pt idx="2391">
                  <c:v>42342</c:v>
                </c:pt>
                <c:pt idx="2392">
                  <c:v>42345</c:v>
                </c:pt>
                <c:pt idx="2393">
                  <c:v>42346</c:v>
                </c:pt>
                <c:pt idx="2394">
                  <c:v>42347</c:v>
                </c:pt>
                <c:pt idx="2395">
                  <c:v>42348</c:v>
                </c:pt>
                <c:pt idx="2396">
                  <c:v>42349</c:v>
                </c:pt>
                <c:pt idx="2397">
                  <c:v>42352</c:v>
                </c:pt>
                <c:pt idx="2398">
                  <c:v>42353</c:v>
                </c:pt>
                <c:pt idx="2399">
                  <c:v>42354</c:v>
                </c:pt>
                <c:pt idx="2400">
                  <c:v>42355</c:v>
                </c:pt>
                <c:pt idx="2401">
                  <c:v>42356</c:v>
                </c:pt>
                <c:pt idx="2402">
                  <c:v>42359</c:v>
                </c:pt>
                <c:pt idx="2403">
                  <c:v>42360</c:v>
                </c:pt>
                <c:pt idx="2404">
                  <c:v>42361</c:v>
                </c:pt>
                <c:pt idx="2405">
                  <c:v>42362</c:v>
                </c:pt>
                <c:pt idx="2406">
                  <c:v>42366</c:v>
                </c:pt>
                <c:pt idx="2407">
                  <c:v>42367</c:v>
                </c:pt>
                <c:pt idx="2408">
                  <c:v>42368</c:v>
                </c:pt>
                <c:pt idx="2409">
                  <c:v>42369</c:v>
                </c:pt>
                <c:pt idx="2410">
                  <c:v>42373</c:v>
                </c:pt>
                <c:pt idx="2411">
                  <c:v>42374</c:v>
                </c:pt>
                <c:pt idx="2412">
                  <c:v>42375</c:v>
                </c:pt>
                <c:pt idx="2413">
                  <c:v>42376</c:v>
                </c:pt>
                <c:pt idx="2414">
                  <c:v>42377</c:v>
                </c:pt>
                <c:pt idx="2415">
                  <c:v>42380</c:v>
                </c:pt>
                <c:pt idx="2416">
                  <c:v>42381</c:v>
                </c:pt>
                <c:pt idx="2417">
                  <c:v>42382</c:v>
                </c:pt>
                <c:pt idx="2418">
                  <c:v>42383</c:v>
                </c:pt>
                <c:pt idx="2419">
                  <c:v>42384</c:v>
                </c:pt>
                <c:pt idx="2420">
                  <c:v>42388</c:v>
                </c:pt>
                <c:pt idx="2421">
                  <c:v>42389</c:v>
                </c:pt>
                <c:pt idx="2422">
                  <c:v>42390</c:v>
                </c:pt>
                <c:pt idx="2423">
                  <c:v>42391</c:v>
                </c:pt>
                <c:pt idx="2424">
                  <c:v>42394</c:v>
                </c:pt>
                <c:pt idx="2425">
                  <c:v>42395</c:v>
                </c:pt>
                <c:pt idx="2426">
                  <c:v>42396</c:v>
                </c:pt>
                <c:pt idx="2427">
                  <c:v>42397</c:v>
                </c:pt>
                <c:pt idx="2428">
                  <c:v>42398</c:v>
                </c:pt>
                <c:pt idx="2429">
                  <c:v>42401</c:v>
                </c:pt>
                <c:pt idx="2430">
                  <c:v>42402</c:v>
                </c:pt>
                <c:pt idx="2431">
                  <c:v>42403</c:v>
                </c:pt>
                <c:pt idx="2432">
                  <c:v>42404</c:v>
                </c:pt>
                <c:pt idx="2433">
                  <c:v>42405</c:v>
                </c:pt>
                <c:pt idx="2434">
                  <c:v>42408</c:v>
                </c:pt>
                <c:pt idx="2435">
                  <c:v>42409</c:v>
                </c:pt>
                <c:pt idx="2436">
                  <c:v>42410</c:v>
                </c:pt>
                <c:pt idx="2437">
                  <c:v>42411</c:v>
                </c:pt>
                <c:pt idx="2438">
                  <c:v>42412</c:v>
                </c:pt>
                <c:pt idx="2439">
                  <c:v>42416</c:v>
                </c:pt>
                <c:pt idx="2440">
                  <c:v>42417</c:v>
                </c:pt>
                <c:pt idx="2441">
                  <c:v>42418</c:v>
                </c:pt>
                <c:pt idx="2442">
                  <c:v>42419</c:v>
                </c:pt>
                <c:pt idx="2443">
                  <c:v>42422</c:v>
                </c:pt>
                <c:pt idx="2444">
                  <c:v>42423</c:v>
                </c:pt>
                <c:pt idx="2445">
                  <c:v>42424</c:v>
                </c:pt>
                <c:pt idx="2446">
                  <c:v>42425</c:v>
                </c:pt>
                <c:pt idx="2447">
                  <c:v>42426</c:v>
                </c:pt>
                <c:pt idx="2448">
                  <c:v>42429</c:v>
                </c:pt>
                <c:pt idx="2449">
                  <c:v>42430</c:v>
                </c:pt>
                <c:pt idx="2450">
                  <c:v>42431</c:v>
                </c:pt>
                <c:pt idx="2451">
                  <c:v>42432</c:v>
                </c:pt>
                <c:pt idx="2452">
                  <c:v>42433</c:v>
                </c:pt>
                <c:pt idx="2453">
                  <c:v>42436</c:v>
                </c:pt>
                <c:pt idx="2454">
                  <c:v>42437</c:v>
                </c:pt>
                <c:pt idx="2455">
                  <c:v>42438</c:v>
                </c:pt>
                <c:pt idx="2456">
                  <c:v>42439</c:v>
                </c:pt>
                <c:pt idx="2457">
                  <c:v>42440</c:v>
                </c:pt>
                <c:pt idx="2458">
                  <c:v>42443</c:v>
                </c:pt>
                <c:pt idx="2459">
                  <c:v>42444</c:v>
                </c:pt>
                <c:pt idx="2460">
                  <c:v>42445</c:v>
                </c:pt>
                <c:pt idx="2461">
                  <c:v>42446</c:v>
                </c:pt>
                <c:pt idx="2462">
                  <c:v>42447</c:v>
                </c:pt>
                <c:pt idx="2463">
                  <c:v>42450</c:v>
                </c:pt>
                <c:pt idx="2464">
                  <c:v>42451</c:v>
                </c:pt>
                <c:pt idx="2465">
                  <c:v>42452</c:v>
                </c:pt>
                <c:pt idx="2466">
                  <c:v>42453</c:v>
                </c:pt>
                <c:pt idx="2467">
                  <c:v>42457</c:v>
                </c:pt>
                <c:pt idx="2468">
                  <c:v>42458</c:v>
                </c:pt>
                <c:pt idx="2469">
                  <c:v>42459</c:v>
                </c:pt>
                <c:pt idx="2470">
                  <c:v>42460</c:v>
                </c:pt>
                <c:pt idx="2471">
                  <c:v>42461</c:v>
                </c:pt>
                <c:pt idx="2472">
                  <c:v>42464</c:v>
                </c:pt>
                <c:pt idx="2473">
                  <c:v>42465</c:v>
                </c:pt>
                <c:pt idx="2474">
                  <c:v>42466</c:v>
                </c:pt>
                <c:pt idx="2475">
                  <c:v>42467</c:v>
                </c:pt>
                <c:pt idx="2476">
                  <c:v>42468</c:v>
                </c:pt>
                <c:pt idx="2477">
                  <c:v>42471</c:v>
                </c:pt>
                <c:pt idx="2478">
                  <c:v>42472</c:v>
                </c:pt>
                <c:pt idx="2479">
                  <c:v>42473</c:v>
                </c:pt>
                <c:pt idx="2480">
                  <c:v>42474</c:v>
                </c:pt>
                <c:pt idx="2481">
                  <c:v>42475</c:v>
                </c:pt>
                <c:pt idx="2482">
                  <c:v>42478</c:v>
                </c:pt>
                <c:pt idx="2483">
                  <c:v>42479</c:v>
                </c:pt>
                <c:pt idx="2484">
                  <c:v>42480</c:v>
                </c:pt>
                <c:pt idx="2485">
                  <c:v>42481</c:v>
                </c:pt>
                <c:pt idx="2486">
                  <c:v>42482</c:v>
                </c:pt>
                <c:pt idx="2487">
                  <c:v>42485</c:v>
                </c:pt>
                <c:pt idx="2488">
                  <c:v>42486</c:v>
                </c:pt>
                <c:pt idx="2489">
                  <c:v>42487</c:v>
                </c:pt>
                <c:pt idx="2490">
                  <c:v>42488</c:v>
                </c:pt>
                <c:pt idx="2491">
                  <c:v>42489</c:v>
                </c:pt>
                <c:pt idx="2492">
                  <c:v>42492</c:v>
                </c:pt>
                <c:pt idx="2493">
                  <c:v>42493</c:v>
                </c:pt>
                <c:pt idx="2494">
                  <c:v>42494</c:v>
                </c:pt>
                <c:pt idx="2495">
                  <c:v>42495</c:v>
                </c:pt>
                <c:pt idx="2496">
                  <c:v>42496</c:v>
                </c:pt>
                <c:pt idx="2497">
                  <c:v>42499</c:v>
                </c:pt>
              </c:numCache>
            </c:numRef>
          </c:cat>
          <c:val>
            <c:numRef>
              <c:f>Sheet1!$AN$25:$AN$2522</c:f>
              <c:numCache>
                <c:formatCode>_(* #,##0.00_);_(* \(#,##0.00\);_(* "-"??_);_(@_)</c:formatCode>
                <c:ptCount val="2498"/>
                <c:pt idx="0">
                  <c:v>3.2853312457895099</c:v>
                </c:pt>
                <c:pt idx="1">
                  <c:v>3.2853312457895099</c:v>
                </c:pt>
                <c:pt idx="2">
                  <c:v>3.2853312457895099</c:v>
                </c:pt>
                <c:pt idx="3">
                  <c:v>3.2853312457895099</c:v>
                </c:pt>
                <c:pt idx="4">
                  <c:v>3.2853312457895099</c:v>
                </c:pt>
                <c:pt idx="5">
                  <c:v>3.2853312457895099</c:v>
                </c:pt>
                <c:pt idx="6">
                  <c:v>3.2853312457895099</c:v>
                </c:pt>
                <c:pt idx="7">
                  <c:v>3.2853312457895099</c:v>
                </c:pt>
                <c:pt idx="8">
                  <c:v>3.2853312457895099</c:v>
                </c:pt>
                <c:pt idx="9">
                  <c:v>3.2853312457895099</c:v>
                </c:pt>
                <c:pt idx="10">
                  <c:v>3.2853312457895099</c:v>
                </c:pt>
                <c:pt idx="11">
                  <c:v>3.2853312457895099</c:v>
                </c:pt>
                <c:pt idx="12">
                  <c:v>3.2853312457895099</c:v>
                </c:pt>
                <c:pt idx="13">
                  <c:v>3.2853312457895099</c:v>
                </c:pt>
                <c:pt idx="14">
                  <c:v>3.2853312457895099</c:v>
                </c:pt>
                <c:pt idx="15">
                  <c:v>3.2853312457895099</c:v>
                </c:pt>
                <c:pt idx="16">
                  <c:v>3.2853312457895099</c:v>
                </c:pt>
                <c:pt idx="17">
                  <c:v>3.2853312457895099</c:v>
                </c:pt>
                <c:pt idx="18">
                  <c:v>3.2853312457895099</c:v>
                </c:pt>
                <c:pt idx="19">
                  <c:v>3.2853312457895099</c:v>
                </c:pt>
                <c:pt idx="20">
                  <c:v>3.2853312457895099</c:v>
                </c:pt>
                <c:pt idx="21">
                  <c:v>3.2853312457895099</c:v>
                </c:pt>
                <c:pt idx="22">
                  <c:v>3.2853312457895099</c:v>
                </c:pt>
                <c:pt idx="23">
                  <c:v>3.2853312457895099</c:v>
                </c:pt>
                <c:pt idx="24">
                  <c:v>3.2853312457895099</c:v>
                </c:pt>
                <c:pt idx="25">
                  <c:v>3.2853312457895099</c:v>
                </c:pt>
                <c:pt idx="26">
                  <c:v>3.2853312457895099</c:v>
                </c:pt>
                <c:pt idx="27">
                  <c:v>3.2853312457895099</c:v>
                </c:pt>
                <c:pt idx="28">
                  <c:v>3.2853312457895099</c:v>
                </c:pt>
                <c:pt idx="29">
                  <c:v>3.2853312457895099</c:v>
                </c:pt>
                <c:pt idx="30">
                  <c:v>3.2853312457895099</c:v>
                </c:pt>
                <c:pt idx="31">
                  <c:v>3.2853312457895099</c:v>
                </c:pt>
                <c:pt idx="32">
                  <c:v>3.2853312457895099</c:v>
                </c:pt>
                <c:pt idx="33">
                  <c:v>3.2853312457895099</c:v>
                </c:pt>
                <c:pt idx="34">
                  <c:v>3.2853312457895099</c:v>
                </c:pt>
                <c:pt idx="35">
                  <c:v>3.2853312457895099</c:v>
                </c:pt>
                <c:pt idx="36">
                  <c:v>3.2853312457895099</c:v>
                </c:pt>
                <c:pt idx="37">
                  <c:v>3.2853312457895099</c:v>
                </c:pt>
                <c:pt idx="38">
                  <c:v>3.2853312457895099</c:v>
                </c:pt>
                <c:pt idx="39">
                  <c:v>3.2853312457895099</c:v>
                </c:pt>
                <c:pt idx="40">
                  <c:v>3.2853312457895099</c:v>
                </c:pt>
                <c:pt idx="41">
                  <c:v>3.2853312457895099</c:v>
                </c:pt>
                <c:pt idx="42">
                  <c:v>3.2853312457895099</c:v>
                </c:pt>
                <c:pt idx="43">
                  <c:v>3.2853312457895099</c:v>
                </c:pt>
                <c:pt idx="44">
                  <c:v>3.2853312457895099</c:v>
                </c:pt>
                <c:pt idx="45">
                  <c:v>3.2853312457895099</c:v>
                </c:pt>
                <c:pt idx="46">
                  <c:v>3.2853312457895099</c:v>
                </c:pt>
                <c:pt idx="47">
                  <c:v>3.2853312457895099</c:v>
                </c:pt>
                <c:pt idx="48">
                  <c:v>3.2853312457895099</c:v>
                </c:pt>
                <c:pt idx="49">
                  <c:v>3.2853312457895099</c:v>
                </c:pt>
                <c:pt idx="50">
                  <c:v>3.2853312457895099</c:v>
                </c:pt>
                <c:pt idx="51">
                  <c:v>3.2853312457895099</c:v>
                </c:pt>
                <c:pt idx="52">
                  <c:v>3.2853312457895099</c:v>
                </c:pt>
                <c:pt idx="53">
                  <c:v>3.2853312457895099</c:v>
                </c:pt>
                <c:pt idx="54">
                  <c:v>3.2853312457895099</c:v>
                </c:pt>
                <c:pt idx="55">
                  <c:v>3.2853312457895099</c:v>
                </c:pt>
                <c:pt idx="56">
                  <c:v>3.2853312457895099</c:v>
                </c:pt>
                <c:pt idx="57">
                  <c:v>3.2853312457895099</c:v>
                </c:pt>
                <c:pt idx="58">
                  <c:v>3.2853312457895099</c:v>
                </c:pt>
                <c:pt idx="59">
                  <c:v>3.2853312457895099</c:v>
                </c:pt>
                <c:pt idx="60">
                  <c:v>3.2853312457895099</c:v>
                </c:pt>
                <c:pt idx="61">
                  <c:v>3.2853312457895099</c:v>
                </c:pt>
                <c:pt idx="62">
                  <c:v>3.2853312457895099</c:v>
                </c:pt>
                <c:pt idx="63">
                  <c:v>3.2853312457895099</c:v>
                </c:pt>
                <c:pt idx="64">
                  <c:v>3.2853312457895099</c:v>
                </c:pt>
                <c:pt idx="65">
                  <c:v>3.2853312457895099</c:v>
                </c:pt>
                <c:pt idx="66">
                  <c:v>3.2853312457895099</c:v>
                </c:pt>
                <c:pt idx="67">
                  <c:v>3.2853312457895099</c:v>
                </c:pt>
                <c:pt idx="68">
                  <c:v>3.2853312457895099</c:v>
                </c:pt>
                <c:pt idx="69">
                  <c:v>3.2853312457895099</c:v>
                </c:pt>
                <c:pt idx="70">
                  <c:v>3.2853312457895099</c:v>
                </c:pt>
                <c:pt idx="71">
                  <c:v>3.2853312457895099</c:v>
                </c:pt>
                <c:pt idx="72">
                  <c:v>3.2853312457895099</c:v>
                </c:pt>
                <c:pt idx="73">
                  <c:v>3.2853312457895099</c:v>
                </c:pt>
                <c:pt idx="74">
                  <c:v>3.2853312457895099</c:v>
                </c:pt>
                <c:pt idx="75">
                  <c:v>3.2853312457895099</c:v>
                </c:pt>
                <c:pt idx="76">
                  <c:v>3.2853312457895099</c:v>
                </c:pt>
                <c:pt idx="77">
                  <c:v>3.2853312457895099</c:v>
                </c:pt>
                <c:pt idx="78">
                  <c:v>3.2853312457895099</c:v>
                </c:pt>
                <c:pt idx="79">
                  <c:v>3.2853312457895099</c:v>
                </c:pt>
                <c:pt idx="80">
                  <c:v>3.2853312457895099</c:v>
                </c:pt>
                <c:pt idx="81">
                  <c:v>3.2853312457895099</c:v>
                </c:pt>
                <c:pt idx="82">
                  <c:v>3.2853312457895099</c:v>
                </c:pt>
                <c:pt idx="83">
                  <c:v>3.2853312457895099</c:v>
                </c:pt>
                <c:pt idx="84">
                  <c:v>3.2853312457895099</c:v>
                </c:pt>
                <c:pt idx="85">
                  <c:v>3.2853312457895099</c:v>
                </c:pt>
                <c:pt idx="86">
                  <c:v>3.2853312457895099</c:v>
                </c:pt>
                <c:pt idx="87">
                  <c:v>3.2853312457895099</c:v>
                </c:pt>
                <c:pt idx="88">
                  <c:v>3.2853312457895099</c:v>
                </c:pt>
                <c:pt idx="89">
                  <c:v>3.2853312457895099</c:v>
                </c:pt>
                <c:pt idx="90">
                  <c:v>3.2853312457895099</c:v>
                </c:pt>
                <c:pt idx="91">
                  <c:v>3.2853312457895099</c:v>
                </c:pt>
                <c:pt idx="92">
                  <c:v>3.2853312457895099</c:v>
                </c:pt>
                <c:pt idx="93">
                  <c:v>3.2853312457895099</c:v>
                </c:pt>
                <c:pt idx="94">
                  <c:v>3.2853312457895099</c:v>
                </c:pt>
                <c:pt idx="95">
                  <c:v>3.2853312457895099</c:v>
                </c:pt>
                <c:pt idx="96">
                  <c:v>3.2853312457895099</c:v>
                </c:pt>
                <c:pt idx="97">
                  <c:v>3.2853312457895099</c:v>
                </c:pt>
                <c:pt idx="98">
                  <c:v>3.2853312457895099</c:v>
                </c:pt>
                <c:pt idx="99">
                  <c:v>3.2853312457895099</c:v>
                </c:pt>
                <c:pt idx="100">
                  <c:v>3.2853312457895099</c:v>
                </c:pt>
                <c:pt idx="101">
                  <c:v>3.2853312457895099</c:v>
                </c:pt>
                <c:pt idx="102">
                  <c:v>3.2853312457895099</c:v>
                </c:pt>
                <c:pt idx="103">
                  <c:v>3.2853312457895099</c:v>
                </c:pt>
                <c:pt idx="104">
                  <c:v>3.2853312457895099</c:v>
                </c:pt>
                <c:pt idx="105">
                  <c:v>3.2853312457895099</c:v>
                </c:pt>
                <c:pt idx="106">
                  <c:v>3.2853312457895099</c:v>
                </c:pt>
                <c:pt idx="107">
                  <c:v>3.2853312457895099</c:v>
                </c:pt>
                <c:pt idx="108">
                  <c:v>3.2853312457895099</c:v>
                </c:pt>
                <c:pt idx="109">
                  <c:v>3.2853312457895099</c:v>
                </c:pt>
                <c:pt idx="110">
                  <c:v>3.2853312457895099</c:v>
                </c:pt>
                <c:pt idx="111">
                  <c:v>3.2853312457895099</c:v>
                </c:pt>
                <c:pt idx="112">
                  <c:v>3.2853312457895099</c:v>
                </c:pt>
                <c:pt idx="113">
                  <c:v>3.2853312457895099</c:v>
                </c:pt>
                <c:pt idx="114">
                  <c:v>3.2853312457895099</c:v>
                </c:pt>
                <c:pt idx="115">
                  <c:v>3.2853312457895099</c:v>
                </c:pt>
                <c:pt idx="116">
                  <c:v>3.2853312457895099</c:v>
                </c:pt>
                <c:pt idx="117">
                  <c:v>3.2853312457895099</c:v>
                </c:pt>
                <c:pt idx="118">
                  <c:v>3.2853312457895099</c:v>
                </c:pt>
                <c:pt idx="119">
                  <c:v>3.2853312457895099</c:v>
                </c:pt>
                <c:pt idx="120">
                  <c:v>3.2853312457895099</c:v>
                </c:pt>
                <c:pt idx="121">
                  <c:v>3.2853312457895099</c:v>
                </c:pt>
                <c:pt idx="122">
                  <c:v>3.2853312457895099</c:v>
                </c:pt>
                <c:pt idx="123">
                  <c:v>3.2853312457895099</c:v>
                </c:pt>
                <c:pt idx="124">
                  <c:v>3.2853312457895099</c:v>
                </c:pt>
                <c:pt idx="125">
                  <c:v>3.2853312457895099</c:v>
                </c:pt>
                <c:pt idx="126">
                  <c:v>3.2853312457895099</c:v>
                </c:pt>
                <c:pt idx="127">
                  <c:v>3.2853312457895099</c:v>
                </c:pt>
                <c:pt idx="128">
                  <c:v>3.2853312457895099</c:v>
                </c:pt>
                <c:pt idx="129">
                  <c:v>3.2853312457895099</c:v>
                </c:pt>
                <c:pt idx="130">
                  <c:v>3.2853312457895099</c:v>
                </c:pt>
                <c:pt idx="131">
                  <c:v>3.2853312457895099</c:v>
                </c:pt>
                <c:pt idx="132">
                  <c:v>3.2853312457895099</c:v>
                </c:pt>
                <c:pt idx="133">
                  <c:v>3.2853312457895099</c:v>
                </c:pt>
                <c:pt idx="134">
                  <c:v>3.2853312457895099</c:v>
                </c:pt>
                <c:pt idx="135">
                  <c:v>3.2853312457895099</c:v>
                </c:pt>
                <c:pt idx="136">
                  <c:v>3.2853312457895099</c:v>
                </c:pt>
                <c:pt idx="137">
                  <c:v>3.2853312457895099</c:v>
                </c:pt>
                <c:pt idx="138">
                  <c:v>3.2853312457895099</c:v>
                </c:pt>
                <c:pt idx="139">
                  <c:v>3.2853312457895099</c:v>
                </c:pt>
                <c:pt idx="140">
                  <c:v>3.2853312457895099</c:v>
                </c:pt>
                <c:pt idx="141">
                  <c:v>3.2853312457895099</c:v>
                </c:pt>
                <c:pt idx="142">
                  <c:v>3.2853312457895099</c:v>
                </c:pt>
                <c:pt idx="143">
                  <c:v>3.2853312457895099</c:v>
                </c:pt>
                <c:pt idx="144">
                  <c:v>3.2853312457895099</c:v>
                </c:pt>
                <c:pt idx="145">
                  <c:v>3.2853312457895099</c:v>
                </c:pt>
                <c:pt idx="146">
                  <c:v>3.2853312457895099</c:v>
                </c:pt>
                <c:pt idx="147">
                  <c:v>3.2853312457895099</c:v>
                </c:pt>
                <c:pt idx="148">
                  <c:v>3.2853312457895099</c:v>
                </c:pt>
                <c:pt idx="149">
                  <c:v>3.2853312457895099</c:v>
                </c:pt>
                <c:pt idx="150">
                  <c:v>3.2853312457895099</c:v>
                </c:pt>
                <c:pt idx="151">
                  <c:v>3.2853312457895099</c:v>
                </c:pt>
                <c:pt idx="152">
                  <c:v>3.2853312457895099</c:v>
                </c:pt>
                <c:pt idx="153">
                  <c:v>3.2853312457895099</c:v>
                </c:pt>
                <c:pt idx="154">
                  <c:v>3.2853312457895099</c:v>
                </c:pt>
                <c:pt idx="155">
                  <c:v>3.2853312457895099</c:v>
                </c:pt>
                <c:pt idx="156">
                  <c:v>3.2853312457895099</c:v>
                </c:pt>
                <c:pt idx="157">
                  <c:v>3.2853312457895099</c:v>
                </c:pt>
                <c:pt idx="158">
                  <c:v>3.2853312457895099</c:v>
                </c:pt>
                <c:pt idx="159">
                  <c:v>3.2853312457895099</c:v>
                </c:pt>
                <c:pt idx="160">
                  <c:v>3.2853312457895099</c:v>
                </c:pt>
                <c:pt idx="161">
                  <c:v>3.2853312457895099</c:v>
                </c:pt>
                <c:pt idx="162">
                  <c:v>3.2853312457895099</c:v>
                </c:pt>
                <c:pt idx="163">
                  <c:v>3.2853312457895099</c:v>
                </c:pt>
                <c:pt idx="164">
                  <c:v>3.2853312457895099</c:v>
                </c:pt>
                <c:pt idx="165">
                  <c:v>3.2853312457895099</c:v>
                </c:pt>
                <c:pt idx="166">
                  <c:v>3.2853312457895099</c:v>
                </c:pt>
                <c:pt idx="167">
                  <c:v>3.2853312457895099</c:v>
                </c:pt>
                <c:pt idx="168">
                  <c:v>3.2853312457895099</c:v>
                </c:pt>
                <c:pt idx="169">
                  <c:v>3.2853312457895099</c:v>
                </c:pt>
                <c:pt idx="170">
                  <c:v>3.2853312457895099</c:v>
                </c:pt>
                <c:pt idx="171">
                  <c:v>3.2853312457895099</c:v>
                </c:pt>
                <c:pt idx="172">
                  <c:v>3.2853312457895099</c:v>
                </c:pt>
                <c:pt idx="173">
                  <c:v>3.2853312457895099</c:v>
                </c:pt>
                <c:pt idx="174">
                  <c:v>3.2853312457895099</c:v>
                </c:pt>
                <c:pt idx="175">
                  <c:v>3.2853312457895099</c:v>
                </c:pt>
                <c:pt idx="176">
                  <c:v>3.2853312457895099</c:v>
                </c:pt>
                <c:pt idx="177">
                  <c:v>3.2853312457895099</c:v>
                </c:pt>
                <c:pt idx="178">
                  <c:v>3.2853312457895099</c:v>
                </c:pt>
                <c:pt idx="179">
                  <c:v>3.2853312457895099</c:v>
                </c:pt>
                <c:pt idx="180">
                  <c:v>3.2853312457895099</c:v>
                </c:pt>
                <c:pt idx="181">
                  <c:v>3.2853312457895099</c:v>
                </c:pt>
                <c:pt idx="182">
                  <c:v>3.2853312457895099</c:v>
                </c:pt>
                <c:pt idx="183">
                  <c:v>3.2853312457895099</c:v>
                </c:pt>
                <c:pt idx="184">
                  <c:v>3.2853312457895099</c:v>
                </c:pt>
                <c:pt idx="185">
                  <c:v>3.2853312457895099</c:v>
                </c:pt>
                <c:pt idx="186">
                  <c:v>3.2853312457895099</c:v>
                </c:pt>
                <c:pt idx="187">
                  <c:v>3.2853312457895099</c:v>
                </c:pt>
                <c:pt idx="188">
                  <c:v>3.2853312457895099</c:v>
                </c:pt>
                <c:pt idx="189">
                  <c:v>3.2853312457895099</c:v>
                </c:pt>
                <c:pt idx="190">
                  <c:v>3.2853312457895099</c:v>
                </c:pt>
                <c:pt idx="191">
                  <c:v>3.2853312457895099</c:v>
                </c:pt>
                <c:pt idx="192">
                  <c:v>3.2853312457895099</c:v>
                </c:pt>
                <c:pt idx="193">
                  <c:v>3.2853312457895099</c:v>
                </c:pt>
                <c:pt idx="194">
                  <c:v>3.2853312457895099</c:v>
                </c:pt>
                <c:pt idx="195">
                  <c:v>3.2853312457895099</c:v>
                </c:pt>
                <c:pt idx="196">
                  <c:v>3.2853312457895099</c:v>
                </c:pt>
                <c:pt idx="197">
                  <c:v>3.2853312457895099</c:v>
                </c:pt>
                <c:pt idx="198">
                  <c:v>3.2853312457895099</c:v>
                </c:pt>
                <c:pt idx="199">
                  <c:v>3.2853312457895099</c:v>
                </c:pt>
                <c:pt idx="200">
                  <c:v>3.2853312457895099</c:v>
                </c:pt>
                <c:pt idx="201">
                  <c:v>3.2853312457895099</c:v>
                </c:pt>
                <c:pt idx="202">
                  <c:v>3.2853312457895099</c:v>
                </c:pt>
                <c:pt idx="203">
                  <c:v>3.2853312457895099</c:v>
                </c:pt>
                <c:pt idx="204">
                  <c:v>3.2853312457895099</c:v>
                </c:pt>
                <c:pt idx="205">
                  <c:v>3.2853312457895099</c:v>
                </c:pt>
                <c:pt idx="206">
                  <c:v>3.2853312457895099</c:v>
                </c:pt>
                <c:pt idx="207">
                  <c:v>3.2853312457895099</c:v>
                </c:pt>
                <c:pt idx="208">
                  <c:v>3.2853312457895099</c:v>
                </c:pt>
                <c:pt idx="209">
                  <c:v>3.2853312457895099</c:v>
                </c:pt>
                <c:pt idx="210">
                  <c:v>3.2853312457895099</c:v>
                </c:pt>
                <c:pt idx="211">
                  <c:v>3.2853312457895099</c:v>
                </c:pt>
                <c:pt idx="212">
                  <c:v>3.2853312457895099</c:v>
                </c:pt>
                <c:pt idx="213">
                  <c:v>3.2853312457895099</c:v>
                </c:pt>
                <c:pt idx="214">
                  <c:v>3.2853312457895099</c:v>
                </c:pt>
                <c:pt idx="215">
                  <c:v>3.2853312457895099</c:v>
                </c:pt>
                <c:pt idx="216">
                  <c:v>3.2853312457895099</c:v>
                </c:pt>
                <c:pt idx="217">
                  <c:v>3.2853312457895099</c:v>
                </c:pt>
                <c:pt idx="218">
                  <c:v>3.2853312457895099</c:v>
                </c:pt>
                <c:pt idx="219">
                  <c:v>3.2853312457895099</c:v>
                </c:pt>
                <c:pt idx="220">
                  <c:v>3.2853312457895099</c:v>
                </c:pt>
                <c:pt idx="221">
                  <c:v>3.2853312457895099</c:v>
                </c:pt>
                <c:pt idx="222">
                  <c:v>3.2853312457895099</c:v>
                </c:pt>
                <c:pt idx="223">
                  <c:v>3.2853312457895099</c:v>
                </c:pt>
                <c:pt idx="224">
                  <c:v>3.2853312457895099</c:v>
                </c:pt>
                <c:pt idx="225">
                  <c:v>3.2853312457895099</c:v>
                </c:pt>
                <c:pt idx="226">
                  <c:v>3.2853312457895099</c:v>
                </c:pt>
                <c:pt idx="227">
                  <c:v>3.2853312457895099</c:v>
                </c:pt>
                <c:pt idx="228">
                  <c:v>3.2853312457895099</c:v>
                </c:pt>
                <c:pt idx="229">
                  <c:v>3.2853312457895099</c:v>
                </c:pt>
                <c:pt idx="230">
                  <c:v>3.2853312457895099</c:v>
                </c:pt>
                <c:pt idx="231">
                  <c:v>3.2853312457895099</c:v>
                </c:pt>
                <c:pt idx="232">
                  <c:v>3.2853312457895099</c:v>
                </c:pt>
                <c:pt idx="233">
                  <c:v>3.2853312457895099</c:v>
                </c:pt>
                <c:pt idx="234">
                  <c:v>3.2853312457895099</c:v>
                </c:pt>
                <c:pt idx="235">
                  <c:v>3.2853312457895099</c:v>
                </c:pt>
                <c:pt idx="236">
                  <c:v>3.2853312457895099</c:v>
                </c:pt>
                <c:pt idx="237">
                  <c:v>3.2853312457895099</c:v>
                </c:pt>
                <c:pt idx="238">
                  <c:v>3.2853312457895099</c:v>
                </c:pt>
                <c:pt idx="239">
                  <c:v>3.2853312457895099</c:v>
                </c:pt>
                <c:pt idx="240">
                  <c:v>3.2853312457895099</c:v>
                </c:pt>
                <c:pt idx="241">
                  <c:v>3.2853312457895099</c:v>
                </c:pt>
                <c:pt idx="242">
                  <c:v>3.2853312457895099</c:v>
                </c:pt>
                <c:pt idx="243">
                  <c:v>3.2853312457895099</c:v>
                </c:pt>
                <c:pt idx="244">
                  <c:v>3.2853312457895099</c:v>
                </c:pt>
                <c:pt idx="245">
                  <c:v>3.2853312457895099</c:v>
                </c:pt>
                <c:pt idx="246">
                  <c:v>3.2853312457895099</c:v>
                </c:pt>
                <c:pt idx="247">
                  <c:v>3.2853312457895099</c:v>
                </c:pt>
                <c:pt idx="248">
                  <c:v>3.2853312457895099</c:v>
                </c:pt>
                <c:pt idx="249">
                  <c:v>3.2853312457895099</c:v>
                </c:pt>
                <c:pt idx="250">
                  <c:v>3.2853312457895099</c:v>
                </c:pt>
                <c:pt idx="251">
                  <c:v>3.2853312457895099</c:v>
                </c:pt>
                <c:pt idx="252">
                  <c:v>3.2853312457895099</c:v>
                </c:pt>
                <c:pt idx="253">
                  <c:v>3.2853312457895099</c:v>
                </c:pt>
                <c:pt idx="254">
                  <c:v>3.2853312457895099</c:v>
                </c:pt>
                <c:pt idx="255">
                  <c:v>3.2853312457895099</c:v>
                </c:pt>
                <c:pt idx="256">
                  <c:v>3.2853312457895099</c:v>
                </c:pt>
                <c:pt idx="257">
                  <c:v>3.2853312457895099</c:v>
                </c:pt>
                <c:pt idx="258">
                  <c:v>3.2853312457895099</c:v>
                </c:pt>
                <c:pt idx="259">
                  <c:v>3.2853312457895099</c:v>
                </c:pt>
                <c:pt idx="260">
                  <c:v>3.2853312457895099</c:v>
                </c:pt>
                <c:pt idx="261">
                  <c:v>3.2853312457895099</c:v>
                </c:pt>
                <c:pt idx="262">
                  <c:v>3.2853312457895099</c:v>
                </c:pt>
                <c:pt idx="263">
                  <c:v>3.2853312457895099</c:v>
                </c:pt>
                <c:pt idx="264">
                  <c:v>3.2853312457895099</c:v>
                </c:pt>
                <c:pt idx="265">
                  <c:v>3.2853312457895099</c:v>
                </c:pt>
                <c:pt idx="266">
                  <c:v>3.2853312457895099</c:v>
                </c:pt>
                <c:pt idx="267">
                  <c:v>3.2853312457895099</c:v>
                </c:pt>
                <c:pt idx="268">
                  <c:v>3.2853312457895099</c:v>
                </c:pt>
                <c:pt idx="269">
                  <c:v>3.2853312457895099</c:v>
                </c:pt>
                <c:pt idx="270">
                  <c:v>3.2853312457895099</c:v>
                </c:pt>
                <c:pt idx="271">
                  <c:v>3.2853312457895099</c:v>
                </c:pt>
                <c:pt idx="272">
                  <c:v>3.2853312457895099</c:v>
                </c:pt>
                <c:pt idx="273">
                  <c:v>3.2853312457895099</c:v>
                </c:pt>
                <c:pt idx="274">
                  <c:v>3.2853312457895099</c:v>
                </c:pt>
                <c:pt idx="275">
                  <c:v>3.2853312457895099</c:v>
                </c:pt>
                <c:pt idx="276">
                  <c:v>3.2853312457895099</c:v>
                </c:pt>
                <c:pt idx="277">
                  <c:v>3.2853312457895099</c:v>
                </c:pt>
                <c:pt idx="278">
                  <c:v>3.2853312457895099</c:v>
                </c:pt>
                <c:pt idx="279">
                  <c:v>3.2853312457895099</c:v>
                </c:pt>
                <c:pt idx="280">
                  <c:v>3.2853312457895099</c:v>
                </c:pt>
                <c:pt idx="281">
                  <c:v>3.2853312457895099</c:v>
                </c:pt>
                <c:pt idx="282">
                  <c:v>3.2853312457895099</c:v>
                </c:pt>
                <c:pt idx="283">
                  <c:v>3.2853312457895099</c:v>
                </c:pt>
                <c:pt idx="284">
                  <c:v>3.2853312457895099</c:v>
                </c:pt>
                <c:pt idx="285">
                  <c:v>3.2853312457895099</c:v>
                </c:pt>
                <c:pt idx="286">
                  <c:v>3.2853312457895099</c:v>
                </c:pt>
                <c:pt idx="287">
                  <c:v>3.2853312457895099</c:v>
                </c:pt>
                <c:pt idx="288">
                  <c:v>3.2853312457895099</c:v>
                </c:pt>
                <c:pt idx="289">
                  <c:v>3.2853312457895099</c:v>
                </c:pt>
                <c:pt idx="290">
                  <c:v>3.2853312457895099</c:v>
                </c:pt>
                <c:pt idx="291">
                  <c:v>3.2853312457895099</c:v>
                </c:pt>
                <c:pt idx="292">
                  <c:v>3.2853312457895099</c:v>
                </c:pt>
                <c:pt idx="293">
                  <c:v>3.2853312457895099</c:v>
                </c:pt>
                <c:pt idx="294">
                  <c:v>3.2853312457895099</c:v>
                </c:pt>
                <c:pt idx="295">
                  <c:v>3.2853312457895099</c:v>
                </c:pt>
                <c:pt idx="296">
                  <c:v>3.2853312457895099</c:v>
                </c:pt>
                <c:pt idx="297">
                  <c:v>3.2853312457895099</c:v>
                </c:pt>
                <c:pt idx="298">
                  <c:v>3.2853312457895099</c:v>
                </c:pt>
                <c:pt idx="299">
                  <c:v>3.2853312457895099</c:v>
                </c:pt>
                <c:pt idx="300">
                  <c:v>3.2853312457895099</c:v>
                </c:pt>
                <c:pt idx="301">
                  <c:v>3.2853312457895099</c:v>
                </c:pt>
                <c:pt idx="302">
                  <c:v>3.2853312457895099</c:v>
                </c:pt>
                <c:pt idx="303">
                  <c:v>3.2853312457895099</c:v>
                </c:pt>
                <c:pt idx="304">
                  <c:v>3.2853312457895099</c:v>
                </c:pt>
                <c:pt idx="305">
                  <c:v>3.2853312457895099</c:v>
                </c:pt>
                <c:pt idx="306">
                  <c:v>3.2853312457895099</c:v>
                </c:pt>
                <c:pt idx="307">
                  <c:v>3.2853312457895099</c:v>
                </c:pt>
                <c:pt idx="308">
                  <c:v>3.2853312457895099</c:v>
                </c:pt>
                <c:pt idx="309">
                  <c:v>3.2853312457895099</c:v>
                </c:pt>
                <c:pt idx="310">
                  <c:v>3.2853312457895099</c:v>
                </c:pt>
                <c:pt idx="311">
                  <c:v>3.2853312457895099</c:v>
                </c:pt>
                <c:pt idx="312">
                  <c:v>3.2853312457895099</c:v>
                </c:pt>
                <c:pt idx="313">
                  <c:v>3.2853312457895099</c:v>
                </c:pt>
                <c:pt idx="314">
                  <c:v>3.2853312457895099</c:v>
                </c:pt>
                <c:pt idx="315">
                  <c:v>3.2853312457895099</c:v>
                </c:pt>
                <c:pt idx="316">
                  <c:v>3.2853312457895099</c:v>
                </c:pt>
                <c:pt idx="317">
                  <c:v>3.2853312457895099</c:v>
                </c:pt>
                <c:pt idx="318">
                  <c:v>3.2853312457895099</c:v>
                </c:pt>
                <c:pt idx="319">
                  <c:v>3.2853312457895099</c:v>
                </c:pt>
                <c:pt idx="320">
                  <c:v>3.2853312457895099</c:v>
                </c:pt>
                <c:pt idx="321">
                  <c:v>3.2853312457895099</c:v>
                </c:pt>
                <c:pt idx="322">
                  <c:v>3.2853312457895099</c:v>
                </c:pt>
                <c:pt idx="323">
                  <c:v>3.2853312457895099</c:v>
                </c:pt>
                <c:pt idx="324">
                  <c:v>3.2853312457895099</c:v>
                </c:pt>
                <c:pt idx="325">
                  <c:v>3.2853312457895099</c:v>
                </c:pt>
                <c:pt idx="326">
                  <c:v>3.2853312457895099</c:v>
                </c:pt>
                <c:pt idx="327">
                  <c:v>3.2853312457895099</c:v>
                </c:pt>
                <c:pt idx="328">
                  <c:v>3.2853312457895099</c:v>
                </c:pt>
                <c:pt idx="329">
                  <c:v>3.2853312457895099</c:v>
                </c:pt>
                <c:pt idx="330">
                  <c:v>3.2853312457895099</c:v>
                </c:pt>
                <c:pt idx="331">
                  <c:v>3.2853312457895099</c:v>
                </c:pt>
                <c:pt idx="332">
                  <c:v>3.2853312457895099</c:v>
                </c:pt>
                <c:pt idx="333">
                  <c:v>3.2853312457895099</c:v>
                </c:pt>
                <c:pt idx="334">
                  <c:v>3.2853312457895099</c:v>
                </c:pt>
                <c:pt idx="335">
                  <c:v>3.2853312457895099</c:v>
                </c:pt>
                <c:pt idx="336">
                  <c:v>3.2853312457895099</c:v>
                </c:pt>
                <c:pt idx="337">
                  <c:v>3.2853312457895099</c:v>
                </c:pt>
                <c:pt idx="338">
                  <c:v>3.2853312457895099</c:v>
                </c:pt>
                <c:pt idx="339">
                  <c:v>3.2853312457895099</c:v>
                </c:pt>
                <c:pt idx="340">
                  <c:v>3.2853312457895099</c:v>
                </c:pt>
                <c:pt idx="341">
                  <c:v>3.2853312457895099</c:v>
                </c:pt>
                <c:pt idx="342">
                  <c:v>3.2853312457895099</c:v>
                </c:pt>
                <c:pt idx="343">
                  <c:v>3.2853312457895099</c:v>
                </c:pt>
                <c:pt idx="344">
                  <c:v>3.2853312457895099</c:v>
                </c:pt>
                <c:pt idx="345">
                  <c:v>3.2853312457895099</c:v>
                </c:pt>
                <c:pt idx="346">
                  <c:v>3.2853312457895099</c:v>
                </c:pt>
                <c:pt idx="347">
                  <c:v>3.2853312457895099</c:v>
                </c:pt>
                <c:pt idx="348">
                  <c:v>3.2853312457895099</c:v>
                </c:pt>
                <c:pt idx="349">
                  <c:v>3.2853312457895099</c:v>
                </c:pt>
                <c:pt idx="350">
                  <c:v>3.2853312457895099</c:v>
                </c:pt>
                <c:pt idx="351">
                  <c:v>3.2853312457895099</c:v>
                </c:pt>
                <c:pt idx="352">
                  <c:v>3.2853312457895099</c:v>
                </c:pt>
                <c:pt idx="353">
                  <c:v>3.2853312457895099</c:v>
                </c:pt>
                <c:pt idx="354">
                  <c:v>3.2853312457895099</c:v>
                </c:pt>
                <c:pt idx="355">
                  <c:v>3.2853312457895099</c:v>
                </c:pt>
                <c:pt idx="356">
                  <c:v>3.2853312457895099</c:v>
                </c:pt>
                <c:pt idx="357">
                  <c:v>3.2853312457895099</c:v>
                </c:pt>
                <c:pt idx="358">
                  <c:v>3.2853312457895099</c:v>
                </c:pt>
                <c:pt idx="359">
                  <c:v>3.2853312457895099</c:v>
                </c:pt>
                <c:pt idx="360">
                  <c:v>3.2853312457895099</c:v>
                </c:pt>
                <c:pt idx="361">
                  <c:v>3.2853312457895099</c:v>
                </c:pt>
                <c:pt idx="362">
                  <c:v>3.2853312457895099</c:v>
                </c:pt>
                <c:pt idx="363">
                  <c:v>3.2853312457895099</c:v>
                </c:pt>
                <c:pt idx="364">
                  <c:v>3.2853312457895099</c:v>
                </c:pt>
                <c:pt idx="365">
                  <c:v>3.2853312457895099</c:v>
                </c:pt>
                <c:pt idx="366">
                  <c:v>3.2853312457895099</c:v>
                </c:pt>
                <c:pt idx="367">
                  <c:v>3.2853312457895099</c:v>
                </c:pt>
                <c:pt idx="368">
                  <c:v>3.2853312457895099</c:v>
                </c:pt>
                <c:pt idx="369">
                  <c:v>3.2853312457895099</c:v>
                </c:pt>
                <c:pt idx="370">
                  <c:v>3.2853312457895099</c:v>
                </c:pt>
                <c:pt idx="371">
                  <c:v>3.2853312457895099</c:v>
                </c:pt>
                <c:pt idx="372">
                  <c:v>3.2853312457895099</c:v>
                </c:pt>
                <c:pt idx="373">
                  <c:v>3.2853312457895099</c:v>
                </c:pt>
                <c:pt idx="374">
                  <c:v>3.2853312457895099</c:v>
                </c:pt>
                <c:pt idx="375">
                  <c:v>3.2853312457895099</c:v>
                </c:pt>
                <c:pt idx="376">
                  <c:v>3.2853312457895099</c:v>
                </c:pt>
                <c:pt idx="377">
                  <c:v>3.2853312457895099</c:v>
                </c:pt>
                <c:pt idx="378">
                  <c:v>3.2853312457895099</c:v>
                </c:pt>
                <c:pt idx="379">
                  <c:v>3.2853312457895099</c:v>
                </c:pt>
                <c:pt idx="380">
                  <c:v>3.2853312457895099</c:v>
                </c:pt>
                <c:pt idx="381">
                  <c:v>3.2853312457895099</c:v>
                </c:pt>
                <c:pt idx="382">
                  <c:v>3.2853312457895099</c:v>
                </c:pt>
                <c:pt idx="383">
                  <c:v>3.2853312457895099</c:v>
                </c:pt>
                <c:pt idx="384">
                  <c:v>3.2853312457895099</c:v>
                </c:pt>
                <c:pt idx="385">
                  <c:v>3.2853312457895099</c:v>
                </c:pt>
                <c:pt idx="386">
                  <c:v>3.2853312457895099</c:v>
                </c:pt>
                <c:pt idx="387">
                  <c:v>3.2853312457895099</c:v>
                </c:pt>
                <c:pt idx="388">
                  <c:v>3.2853312457895099</c:v>
                </c:pt>
                <c:pt idx="389">
                  <c:v>3.2853312457895099</c:v>
                </c:pt>
                <c:pt idx="390">
                  <c:v>3.2853312457895099</c:v>
                </c:pt>
                <c:pt idx="391">
                  <c:v>3.2853312457895099</c:v>
                </c:pt>
                <c:pt idx="392">
                  <c:v>3.2853312457895099</c:v>
                </c:pt>
                <c:pt idx="393">
                  <c:v>3.2853312457895099</c:v>
                </c:pt>
                <c:pt idx="394">
                  <c:v>3.2853312457895099</c:v>
                </c:pt>
                <c:pt idx="395">
                  <c:v>3.2853312457895099</c:v>
                </c:pt>
                <c:pt idx="396">
                  <c:v>3.2853312457895099</c:v>
                </c:pt>
                <c:pt idx="397">
                  <c:v>3.2853312457895099</c:v>
                </c:pt>
                <c:pt idx="398">
                  <c:v>3.2853312457895099</c:v>
                </c:pt>
                <c:pt idx="399">
                  <c:v>3.2853312457895099</c:v>
                </c:pt>
                <c:pt idx="400">
                  <c:v>3.2853312457895099</c:v>
                </c:pt>
                <c:pt idx="401">
                  <c:v>3.2853312457895099</c:v>
                </c:pt>
                <c:pt idx="402">
                  <c:v>3.2853312457895099</c:v>
                </c:pt>
                <c:pt idx="403">
                  <c:v>3.2853312457895099</c:v>
                </c:pt>
                <c:pt idx="404">
                  <c:v>3.2853312457895099</c:v>
                </c:pt>
                <c:pt idx="405">
                  <c:v>3.2853312457895099</c:v>
                </c:pt>
                <c:pt idx="406">
                  <c:v>3.2853312457895099</c:v>
                </c:pt>
                <c:pt idx="407">
                  <c:v>3.2853312457895099</c:v>
                </c:pt>
                <c:pt idx="408">
                  <c:v>3.2853312457895099</c:v>
                </c:pt>
                <c:pt idx="409">
                  <c:v>3.2853312457895099</c:v>
                </c:pt>
                <c:pt idx="410">
                  <c:v>3.2853312457895099</c:v>
                </c:pt>
                <c:pt idx="411">
                  <c:v>3.2853312457895099</c:v>
                </c:pt>
                <c:pt idx="412">
                  <c:v>3.2853312457895099</c:v>
                </c:pt>
                <c:pt idx="413">
                  <c:v>3.2853312457895099</c:v>
                </c:pt>
                <c:pt idx="414">
                  <c:v>3.2853312457895099</c:v>
                </c:pt>
                <c:pt idx="415">
                  <c:v>3.2853312457895099</c:v>
                </c:pt>
                <c:pt idx="416">
                  <c:v>3.2853312457895099</c:v>
                </c:pt>
                <c:pt idx="417">
                  <c:v>3.2853312457895099</c:v>
                </c:pt>
                <c:pt idx="418">
                  <c:v>3.2853312457895099</c:v>
                </c:pt>
                <c:pt idx="419">
                  <c:v>3.2853312457895099</c:v>
                </c:pt>
                <c:pt idx="420">
                  <c:v>3.2853312457895099</c:v>
                </c:pt>
                <c:pt idx="421">
                  <c:v>3.2853312457895099</c:v>
                </c:pt>
                <c:pt idx="422">
                  <c:v>3.2853312457895099</c:v>
                </c:pt>
                <c:pt idx="423">
                  <c:v>3.2853312457895099</c:v>
                </c:pt>
                <c:pt idx="424">
                  <c:v>3.2853312457895099</c:v>
                </c:pt>
                <c:pt idx="425">
                  <c:v>3.2853312457895099</c:v>
                </c:pt>
                <c:pt idx="426">
                  <c:v>3.2853312457895099</c:v>
                </c:pt>
                <c:pt idx="427">
                  <c:v>3.2853312457895099</c:v>
                </c:pt>
                <c:pt idx="428">
                  <c:v>3.2853312457895099</c:v>
                </c:pt>
                <c:pt idx="429">
                  <c:v>3.2853312457895099</c:v>
                </c:pt>
                <c:pt idx="430">
                  <c:v>3.2853312457895099</c:v>
                </c:pt>
                <c:pt idx="431">
                  <c:v>3.2853312457895099</c:v>
                </c:pt>
                <c:pt idx="432">
                  <c:v>3.2853312457895099</c:v>
                </c:pt>
                <c:pt idx="433">
                  <c:v>3.2853312457895099</c:v>
                </c:pt>
                <c:pt idx="434">
                  <c:v>3.2853312457895099</c:v>
                </c:pt>
                <c:pt idx="435">
                  <c:v>3.2853312457895099</c:v>
                </c:pt>
                <c:pt idx="436">
                  <c:v>3.2853312457895099</c:v>
                </c:pt>
                <c:pt idx="437">
                  <c:v>3.2853312457895099</c:v>
                </c:pt>
                <c:pt idx="438">
                  <c:v>3.2853312457895099</c:v>
                </c:pt>
                <c:pt idx="439">
                  <c:v>3.2853312457895099</c:v>
                </c:pt>
                <c:pt idx="440">
                  <c:v>3.2853312457895099</c:v>
                </c:pt>
                <c:pt idx="441">
                  <c:v>3.2853312457895099</c:v>
                </c:pt>
                <c:pt idx="442">
                  <c:v>3.2853312457895099</c:v>
                </c:pt>
                <c:pt idx="443">
                  <c:v>3.2853312457895099</c:v>
                </c:pt>
                <c:pt idx="444">
                  <c:v>3.2853312457895099</c:v>
                </c:pt>
                <c:pt idx="445">
                  <c:v>3.2853312457895099</c:v>
                </c:pt>
                <c:pt idx="446">
                  <c:v>3.2853312457895099</c:v>
                </c:pt>
                <c:pt idx="447">
                  <c:v>3.2853312457895099</c:v>
                </c:pt>
                <c:pt idx="448">
                  <c:v>3.2853312457895099</c:v>
                </c:pt>
                <c:pt idx="449">
                  <c:v>3.2853312457895099</c:v>
                </c:pt>
                <c:pt idx="450">
                  <c:v>3.2853312457895099</c:v>
                </c:pt>
                <c:pt idx="451">
                  <c:v>3.2853312457895099</c:v>
                </c:pt>
                <c:pt idx="452">
                  <c:v>3.2853312457895099</c:v>
                </c:pt>
                <c:pt idx="453">
                  <c:v>3.2853312457895099</c:v>
                </c:pt>
                <c:pt idx="454">
                  <c:v>3.2853312457895099</c:v>
                </c:pt>
                <c:pt idx="455">
                  <c:v>3.2853312457895099</c:v>
                </c:pt>
                <c:pt idx="456">
                  <c:v>3.2853312457895099</c:v>
                </c:pt>
                <c:pt idx="457">
                  <c:v>3.2853312457895099</c:v>
                </c:pt>
                <c:pt idx="458">
                  <c:v>3.2853312457895099</c:v>
                </c:pt>
                <c:pt idx="459">
                  <c:v>3.2853312457895099</c:v>
                </c:pt>
                <c:pt idx="460">
                  <c:v>3.2853312457895099</c:v>
                </c:pt>
                <c:pt idx="461">
                  <c:v>3.2853312457895099</c:v>
                </c:pt>
                <c:pt idx="462">
                  <c:v>3.2853312457895099</c:v>
                </c:pt>
                <c:pt idx="463">
                  <c:v>3.2853312457895099</c:v>
                </c:pt>
                <c:pt idx="464">
                  <c:v>3.2853312457895099</c:v>
                </c:pt>
                <c:pt idx="465">
                  <c:v>3.2853312457895099</c:v>
                </c:pt>
                <c:pt idx="466">
                  <c:v>3.2853312457895099</c:v>
                </c:pt>
                <c:pt idx="467">
                  <c:v>3.2853312457895099</c:v>
                </c:pt>
                <c:pt idx="468">
                  <c:v>3.2853312457895099</c:v>
                </c:pt>
                <c:pt idx="469">
                  <c:v>3.2853312457895099</c:v>
                </c:pt>
                <c:pt idx="470">
                  <c:v>3.2853312457895099</c:v>
                </c:pt>
                <c:pt idx="471">
                  <c:v>3.2853312457895099</c:v>
                </c:pt>
                <c:pt idx="472">
                  <c:v>3.2853312457895099</c:v>
                </c:pt>
                <c:pt idx="473">
                  <c:v>3.2853312457895099</c:v>
                </c:pt>
                <c:pt idx="474">
                  <c:v>3.2853312457895099</c:v>
                </c:pt>
                <c:pt idx="475">
                  <c:v>3.2853312457895099</c:v>
                </c:pt>
                <c:pt idx="476">
                  <c:v>3.2853312457895099</c:v>
                </c:pt>
                <c:pt idx="477">
                  <c:v>3.2853312457895099</c:v>
                </c:pt>
                <c:pt idx="478">
                  <c:v>3.2853312457895099</c:v>
                </c:pt>
                <c:pt idx="479">
                  <c:v>3.2853312457895099</c:v>
                </c:pt>
                <c:pt idx="480">
                  <c:v>3.2853312457895099</c:v>
                </c:pt>
                <c:pt idx="481">
                  <c:v>3.2853312457895099</c:v>
                </c:pt>
                <c:pt idx="482">
                  <c:v>3.2853312457895099</c:v>
                </c:pt>
                <c:pt idx="483">
                  <c:v>3.2853312457895099</c:v>
                </c:pt>
                <c:pt idx="484">
                  <c:v>3.2853312457895099</c:v>
                </c:pt>
                <c:pt idx="485">
                  <c:v>3.2853312457895099</c:v>
                </c:pt>
                <c:pt idx="486">
                  <c:v>3.2853312457895099</c:v>
                </c:pt>
                <c:pt idx="487">
                  <c:v>3.2853312457895099</c:v>
                </c:pt>
                <c:pt idx="488">
                  <c:v>3.2853312457895099</c:v>
                </c:pt>
                <c:pt idx="489">
                  <c:v>3.2853312457895099</c:v>
                </c:pt>
                <c:pt idx="490">
                  <c:v>3.2853312457895099</c:v>
                </c:pt>
                <c:pt idx="491">
                  <c:v>3.2853312457895099</c:v>
                </c:pt>
                <c:pt idx="492">
                  <c:v>3.2853312457895099</c:v>
                </c:pt>
                <c:pt idx="493">
                  <c:v>3.2853312457895099</c:v>
                </c:pt>
                <c:pt idx="494">
                  <c:v>3.2853312457895099</c:v>
                </c:pt>
                <c:pt idx="495">
                  <c:v>3.2853312457895099</c:v>
                </c:pt>
                <c:pt idx="496">
                  <c:v>3.2853312457895099</c:v>
                </c:pt>
                <c:pt idx="497">
                  <c:v>3.2853312457895099</c:v>
                </c:pt>
                <c:pt idx="498">
                  <c:v>3.2853312457895099</c:v>
                </c:pt>
                <c:pt idx="499">
                  <c:v>3.2853312457895099</c:v>
                </c:pt>
                <c:pt idx="500">
                  <c:v>3.2853312457895099</c:v>
                </c:pt>
                <c:pt idx="501">
                  <c:v>3.2853312457895099</c:v>
                </c:pt>
                <c:pt idx="502">
                  <c:v>3.2853312457895099</c:v>
                </c:pt>
                <c:pt idx="503">
                  <c:v>3.2853312457895099</c:v>
                </c:pt>
                <c:pt idx="504">
                  <c:v>3.2853312457895099</c:v>
                </c:pt>
                <c:pt idx="505">
                  <c:v>3.2853312457895099</c:v>
                </c:pt>
                <c:pt idx="506">
                  <c:v>3.2853312457895099</c:v>
                </c:pt>
                <c:pt idx="507">
                  <c:v>3.2853312457895099</c:v>
                </c:pt>
                <c:pt idx="508">
                  <c:v>3.2853312457895099</c:v>
                </c:pt>
                <c:pt idx="509">
                  <c:v>3.2853312457895099</c:v>
                </c:pt>
                <c:pt idx="510">
                  <c:v>3.2853312457895099</c:v>
                </c:pt>
                <c:pt idx="511">
                  <c:v>3.2853312457895099</c:v>
                </c:pt>
                <c:pt idx="512">
                  <c:v>3.2853312457895099</c:v>
                </c:pt>
                <c:pt idx="513">
                  <c:v>3.2853312457895099</c:v>
                </c:pt>
                <c:pt idx="514">
                  <c:v>3.2853312457895099</c:v>
                </c:pt>
                <c:pt idx="515">
                  <c:v>3.2853312457895099</c:v>
                </c:pt>
                <c:pt idx="516">
                  <c:v>3.2853312457895099</c:v>
                </c:pt>
                <c:pt idx="517">
                  <c:v>3.2853312457895099</c:v>
                </c:pt>
                <c:pt idx="518">
                  <c:v>3.2853312457895099</c:v>
                </c:pt>
                <c:pt idx="519">
                  <c:v>3.2853312457895099</c:v>
                </c:pt>
                <c:pt idx="520">
                  <c:v>3.2853312457895099</c:v>
                </c:pt>
                <c:pt idx="521">
                  <c:v>3.2853312457895099</c:v>
                </c:pt>
                <c:pt idx="522">
                  <c:v>3.2853312457895099</c:v>
                </c:pt>
                <c:pt idx="523">
                  <c:v>3.2853312457895099</c:v>
                </c:pt>
                <c:pt idx="524">
                  <c:v>3.2853312457895099</c:v>
                </c:pt>
                <c:pt idx="525">
                  <c:v>3.2853312457895099</c:v>
                </c:pt>
                <c:pt idx="526">
                  <c:v>3.2853312457895099</c:v>
                </c:pt>
                <c:pt idx="527">
                  <c:v>3.2853312457895099</c:v>
                </c:pt>
                <c:pt idx="528">
                  <c:v>3.2853312457895099</c:v>
                </c:pt>
                <c:pt idx="529">
                  <c:v>3.2853312457895099</c:v>
                </c:pt>
                <c:pt idx="530">
                  <c:v>3.2853312457895099</c:v>
                </c:pt>
                <c:pt idx="531">
                  <c:v>3.2853312457895099</c:v>
                </c:pt>
                <c:pt idx="532">
                  <c:v>3.2853312457895099</c:v>
                </c:pt>
                <c:pt idx="533">
                  <c:v>3.2853312457895099</c:v>
                </c:pt>
                <c:pt idx="534">
                  <c:v>3.2853312457895099</c:v>
                </c:pt>
                <c:pt idx="535">
                  <c:v>3.2853312457895099</c:v>
                </c:pt>
                <c:pt idx="536">
                  <c:v>3.2853312457895099</c:v>
                </c:pt>
                <c:pt idx="537">
                  <c:v>3.2853312457895099</c:v>
                </c:pt>
                <c:pt idx="538">
                  <c:v>3.2853312457895099</c:v>
                </c:pt>
                <c:pt idx="539">
                  <c:v>3.2853312457895099</c:v>
                </c:pt>
                <c:pt idx="540">
                  <c:v>3.2853312457895099</c:v>
                </c:pt>
                <c:pt idx="541">
                  <c:v>3.2853312457895099</c:v>
                </c:pt>
                <c:pt idx="542">
                  <c:v>3.2853312457895099</c:v>
                </c:pt>
                <c:pt idx="543">
                  <c:v>3.2853312457895099</c:v>
                </c:pt>
                <c:pt idx="544">
                  <c:v>3.2853312457895099</c:v>
                </c:pt>
                <c:pt idx="545">
                  <c:v>3.2853312457895099</c:v>
                </c:pt>
                <c:pt idx="546">
                  <c:v>3.2853312457895099</c:v>
                </c:pt>
                <c:pt idx="547">
                  <c:v>3.2853312457895099</c:v>
                </c:pt>
                <c:pt idx="548">
                  <c:v>3.2853312457895099</c:v>
                </c:pt>
                <c:pt idx="549">
                  <c:v>3.2853312457895099</c:v>
                </c:pt>
                <c:pt idx="550">
                  <c:v>3.2853312457895099</c:v>
                </c:pt>
                <c:pt idx="551">
                  <c:v>3.2853312457895099</c:v>
                </c:pt>
                <c:pt idx="552">
                  <c:v>3.2853312457895099</c:v>
                </c:pt>
                <c:pt idx="553">
                  <c:v>3.2853312457895099</c:v>
                </c:pt>
                <c:pt idx="554">
                  <c:v>3.2853312457895099</c:v>
                </c:pt>
                <c:pt idx="555">
                  <c:v>3.2853312457895099</c:v>
                </c:pt>
                <c:pt idx="556">
                  <c:v>3.2853312457895099</c:v>
                </c:pt>
                <c:pt idx="557">
                  <c:v>3.2853312457895099</c:v>
                </c:pt>
                <c:pt idx="558">
                  <c:v>3.2853312457895099</c:v>
                </c:pt>
                <c:pt idx="559">
                  <c:v>3.2853312457895099</c:v>
                </c:pt>
                <c:pt idx="560">
                  <c:v>3.2853312457895099</c:v>
                </c:pt>
                <c:pt idx="561">
                  <c:v>3.2853312457895099</c:v>
                </c:pt>
                <c:pt idx="562">
                  <c:v>3.2853312457895099</c:v>
                </c:pt>
                <c:pt idx="563">
                  <c:v>3.2853312457895099</c:v>
                </c:pt>
                <c:pt idx="564">
                  <c:v>3.2853312457895099</c:v>
                </c:pt>
                <c:pt idx="565">
                  <c:v>3.2853312457895099</c:v>
                </c:pt>
                <c:pt idx="566">
                  <c:v>3.2853312457895099</c:v>
                </c:pt>
                <c:pt idx="567">
                  <c:v>3.2853312457895099</c:v>
                </c:pt>
                <c:pt idx="568">
                  <c:v>3.2853312457895099</c:v>
                </c:pt>
                <c:pt idx="569">
                  <c:v>3.2853312457895099</c:v>
                </c:pt>
                <c:pt idx="570">
                  <c:v>3.2853312457895099</c:v>
                </c:pt>
                <c:pt idx="571">
                  <c:v>3.2853312457895099</c:v>
                </c:pt>
                <c:pt idx="572">
                  <c:v>3.2853312457895099</c:v>
                </c:pt>
                <c:pt idx="573">
                  <c:v>3.2853312457895099</c:v>
                </c:pt>
                <c:pt idx="574">
                  <c:v>3.2853312457895099</c:v>
                </c:pt>
                <c:pt idx="575">
                  <c:v>3.2853312457895099</c:v>
                </c:pt>
                <c:pt idx="576">
                  <c:v>3.2853312457895099</c:v>
                </c:pt>
                <c:pt idx="577">
                  <c:v>3.2853312457895099</c:v>
                </c:pt>
                <c:pt idx="578">
                  <c:v>3.2853312457895099</c:v>
                </c:pt>
                <c:pt idx="579">
                  <c:v>3.2853312457895099</c:v>
                </c:pt>
                <c:pt idx="580">
                  <c:v>3.2853312457895099</c:v>
                </c:pt>
                <c:pt idx="581">
                  <c:v>3.2853312457895099</c:v>
                </c:pt>
                <c:pt idx="582">
                  <c:v>3.2853312457895099</c:v>
                </c:pt>
                <c:pt idx="583">
                  <c:v>3.2853312457895099</c:v>
                </c:pt>
                <c:pt idx="584">
                  <c:v>3.2853312457895099</c:v>
                </c:pt>
                <c:pt idx="585">
                  <c:v>3.2853312457895099</c:v>
                </c:pt>
                <c:pt idx="586">
                  <c:v>3.2853312457895099</c:v>
                </c:pt>
                <c:pt idx="587">
                  <c:v>3.2853312457895099</c:v>
                </c:pt>
                <c:pt idx="588">
                  <c:v>3.2853312457895099</c:v>
                </c:pt>
                <c:pt idx="589">
                  <c:v>3.2853312457895099</c:v>
                </c:pt>
                <c:pt idx="590">
                  <c:v>3.2853312457895099</c:v>
                </c:pt>
                <c:pt idx="591">
                  <c:v>3.2853312457895099</c:v>
                </c:pt>
                <c:pt idx="592">
                  <c:v>3.2853312457895099</c:v>
                </c:pt>
                <c:pt idx="593">
                  <c:v>3.2853312457895099</c:v>
                </c:pt>
                <c:pt idx="594">
                  <c:v>3.2853312457895099</c:v>
                </c:pt>
                <c:pt idx="595">
                  <c:v>3.2853312457895099</c:v>
                </c:pt>
                <c:pt idx="596">
                  <c:v>3.2853312457895099</c:v>
                </c:pt>
                <c:pt idx="597">
                  <c:v>3.2853312457895099</c:v>
                </c:pt>
                <c:pt idx="598">
                  <c:v>3.2853312457895099</c:v>
                </c:pt>
                <c:pt idx="599">
                  <c:v>3.2853312457895099</c:v>
                </c:pt>
                <c:pt idx="600">
                  <c:v>3.2853312457895099</c:v>
                </c:pt>
                <c:pt idx="601">
                  <c:v>3.2853312457895099</c:v>
                </c:pt>
                <c:pt idx="602">
                  <c:v>3.2853312457895099</c:v>
                </c:pt>
                <c:pt idx="603">
                  <c:v>3.2853312457895099</c:v>
                </c:pt>
                <c:pt idx="604">
                  <c:v>3.2853312457895099</c:v>
                </c:pt>
                <c:pt idx="605">
                  <c:v>3.2853312457895099</c:v>
                </c:pt>
                <c:pt idx="606">
                  <c:v>3.2853312457895099</c:v>
                </c:pt>
                <c:pt idx="607">
                  <c:v>3.2853312457895099</c:v>
                </c:pt>
                <c:pt idx="608">
                  <c:v>3.2853312457895099</c:v>
                </c:pt>
                <c:pt idx="609">
                  <c:v>3.2853312457895099</c:v>
                </c:pt>
                <c:pt idx="610">
                  <c:v>3.2853312457895099</c:v>
                </c:pt>
                <c:pt idx="611">
                  <c:v>3.2853312457895099</c:v>
                </c:pt>
                <c:pt idx="612">
                  <c:v>3.2853312457895099</c:v>
                </c:pt>
                <c:pt idx="613">
                  <c:v>3.2853312457895099</c:v>
                </c:pt>
                <c:pt idx="614">
                  <c:v>3.2853312457895099</c:v>
                </c:pt>
                <c:pt idx="615">
                  <c:v>3.2853312457895099</c:v>
                </c:pt>
                <c:pt idx="616">
                  <c:v>3.2853312457895099</c:v>
                </c:pt>
                <c:pt idx="617">
                  <c:v>3.2853312457895099</c:v>
                </c:pt>
                <c:pt idx="618">
                  <c:v>3.2853312457895099</c:v>
                </c:pt>
                <c:pt idx="619">
                  <c:v>3.2853312457895099</c:v>
                </c:pt>
                <c:pt idx="620">
                  <c:v>3.2853312457895099</c:v>
                </c:pt>
                <c:pt idx="621">
                  <c:v>3.2853312457895099</c:v>
                </c:pt>
                <c:pt idx="622">
                  <c:v>3.2853312457895099</c:v>
                </c:pt>
                <c:pt idx="623">
                  <c:v>3.2853312457895099</c:v>
                </c:pt>
                <c:pt idx="624">
                  <c:v>3.2853312457895099</c:v>
                </c:pt>
                <c:pt idx="625">
                  <c:v>3.2853312457895099</c:v>
                </c:pt>
                <c:pt idx="626">
                  <c:v>3.2853312457895099</c:v>
                </c:pt>
                <c:pt idx="627">
                  <c:v>3.2853312457895099</c:v>
                </c:pt>
                <c:pt idx="628">
                  <c:v>3.2853312457895099</c:v>
                </c:pt>
                <c:pt idx="629">
                  <c:v>3.2853312457895099</c:v>
                </c:pt>
                <c:pt idx="630">
                  <c:v>3.2853312457895099</c:v>
                </c:pt>
                <c:pt idx="631">
                  <c:v>3.2853312457895099</c:v>
                </c:pt>
                <c:pt idx="632">
                  <c:v>3.2853312457895099</c:v>
                </c:pt>
                <c:pt idx="633">
                  <c:v>3.2853312457895099</c:v>
                </c:pt>
                <c:pt idx="634">
                  <c:v>3.2853312457895099</c:v>
                </c:pt>
                <c:pt idx="635">
                  <c:v>3.2853312457895099</c:v>
                </c:pt>
                <c:pt idx="636">
                  <c:v>3.2853312457895099</c:v>
                </c:pt>
                <c:pt idx="637">
                  <c:v>3.2853312457895099</c:v>
                </c:pt>
                <c:pt idx="638">
                  <c:v>3.2853312457895099</c:v>
                </c:pt>
                <c:pt idx="639">
                  <c:v>3.2853312457895099</c:v>
                </c:pt>
                <c:pt idx="640">
                  <c:v>3.2853312457895099</c:v>
                </c:pt>
                <c:pt idx="641">
                  <c:v>3.2853312457895099</c:v>
                </c:pt>
                <c:pt idx="642">
                  <c:v>3.2853312457895099</c:v>
                </c:pt>
                <c:pt idx="643">
                  <c:v>3.2853312457895099</c:v>
                </c:pt>
                <c:pt idx="644">
                  <c:v>3.2853312457895099</c:v>
                </c:pt>
                <c:pt idx="645">
                  <c:v>3.2853312457895099</c:v>
                </c:pt>
                <c:pt idx="646">
                  <c:v>3.2853312457895099</c:v>
                </c:pt>
                <c:pt idx="647">
                  <c:v>3.2853312457895099</c:v>
                </c:pt>
                <c:pt idx="648">
                  <c:v>3.2853312457895099</c:v>
                </c:pt>
                <c:pt idx="649">
                  <c:v>3.2853312457895099</c:v>
                </c:pt>
                <c:pt idx="650">
                  <c:v>3.2853312457895099</c:v>
                </c:pt>
                <c:pt idx="651">
                  <c:v>3.2853312457895099</c:v>
                </c:pt>
                <c:pt idx="652">
                  <c:v>3.2853312457895099</c:v>
                </c:pt>
                <c:pt idx="653">
                  <c:v>3.2853312457895099</c:v>
                </c:pt>
                <c:pt idx="654">
                  <c:v>3.2853312457895099</c:v>
                </c:pt>
                <c:pt idx="655">
                  <c:v>3.2853312457895099</c:v>
                </c:pt>
                <c:pt idx="656">
                  <c:v>3.2853312457895099</c:v>
                </c:pt>
                <c:pt idx="657">
                  <c:v>3.2853312457895099</c:v>
                </c:pt>
                <c:pt idx="658">
                  <c:v>3.2853312457895099</c:v>
                </c:pt>
                <c:pt idx="659">
                  <c:v>3.2853312457895099</c:v>
                </c:pt>
                <c:pt idx="660">
                  <c:v>3.2853312457895099</c:v>
                </c:pt>
                <c:pt idx="661">
                  <c:v>3.2853312457895099</c:v>
                </c:pt>
                <c:pt idx="662">
                  <c:v>3.2853312457895099</c:v>
                </c:pt>
                <c:pt idx="663">
                  <c:v>3.2853312457895099</c:v>
                </c:pt>
                <c:pt idx="664">
                  <c:v>3.2853312457895099</c:v>
                </c:pt>
                <c:pt idx="665">
                  <c:v>3.2853312457895099</c:v>
                </c:pt>
                <c:pt idx="666">
                  <c:v>3.2853312457895099</c:v>
                </c:pt>
                <c:pt idx="667">
                  <c:v>3.2853312457895099</c:v>
                </c:pt>
                <c:pt idx="668">
                  <c:v>3.2853312457895099</c:v>
                </c:pt>
                <c:pt idx="669">
                  <c:v>3.2853312457895099</c:v>
                </c:pt>
                <c:pt idx="670">
                  <c:v>3.2853312457895099</c:v>
                </c:pt>
                <c:pt idx="671">
                  <c:v>3.2853312457895099</c:v>
                </c:pt>
                <c:pt idx="672">
                  <c:v>3.2853312457895099</c:v>
                </c:pt>
                <c:pt idx="673">
                  <c:v>3.2853312457895099</c:v>
                </c:pt>
                <c:pt idx="674">
                  <c:v>3.2853312457895099</c:v>
                </c:pt>
                <c:pt idx="675">
                  <c:v>3.2853312457895099</c:v>
                </c:pt>
                <c:pt idx="676">
                  <c:v>3.2853312457895099</c:v>
                </c:pt>
                <c:pt idx="677">
                  <c:v>3.2853312457895099</c:v>
                </c:pt>
                <c:pt idx="678">
                  <c:v>3.2853312457895099</c:v>
                </c:pt>
                <c:pt idx="679">
                  <c:v>3.2853312457895099</c:v>
                </c:pt>
                <c:pt idx="680">
                  <c:v>3.2853312457895099</c:v>
                </c:pt>
                <c:pt idx="681">
                  <c:v>3.2853312457895099</c:v>
                </c:pt>
                <c:pt idx="682">
                  <c:v>3.2853312457895099</c:v>
                </c:pt>
                <c:pt idx="683">
                  <c:v>3.2853312457895099</c:v>
                </c:pt>
                <c:pt idx="684">
                  <c:v>3.2853312457895099</c:v>
                </c:pt>
                <c:pt idx="685">
                  <c:v>3.2853312457895099</c:v>
                </c:pt>
                <c:pt idx="686">
                  <c:v>3.2853312457895099</c:v>
                </c:pt>
                <c:pt idx="687">
                  <c:v>3.2853312457895099</c:v>
                </c:pt>
                <c:pt idx="688">
                  <c:v>3.2853312457895099</c:v>
                </c:pt>
                <c:pt idx="689">
                  <c:v>3.2853312457895099</c:v>
                </c:pt>
                <c:pt idx="690">
                  <c:v>3.2853312457895099</c:v>
                </c:pt>
                <c:pt idx="691">
                  <c:v>3.2853312457895099</c:v>
                </c:pt>
                <c:pt idx="692">
                  <c:v>3.2853312457895099</c:v>
                </c:pt>
                <c:pt idx="693">
                  <c:v>3.2853312457895099</c:v>
                </c:pt>
                <c:pt idx="694">
                  <c:v>3.2853312457895099</c:v>
                </c:pt>
                <c:pt idx="695">
                  <c:v>3.2853312457895099</c:v>
                </c:pt>
                <c:pt idx="696">
                  <c:v>3.2853312457895099</c:v>
                </c:pt>
                <c:pt idx="697">
                  <c:v>3.2853312457895099</c:v>
                </c:pt>
                <c:pt idx="698">
                  <c:v>3.2853312457895099</c:v>
                </c:pt>
                <c:pt idx="699">
                  <c:v>3.2853312457895099</c:v>
                </c:pt>
                <c:pt idx="700">
                  <c:v>3.2853312457895099</c:v>
                </c:pt>
                <c:pt idx="701">
                  <c:v>3.2853312457895099</c:v>
                </c:pt>
                <c:pt idx="702">
                  <c:v>3.2853312457895099</c:v>
                </c:pt>
                <c:pt idx="703">
                  <c:v>3.2853312457895099</c:v>
                </c:pt>
                <c:pt idx="704">
                  <c:v>3.2853312457895099</c:v>
                </c:pt>
                <c:pt idx="705">
                  <c:v>3.2853312457895099</c:v>
                </c:pt>
                <c:pt idx="706">
                  <c:v>3.2853312457895099</c:v>
                </c:pt>
                <c:pt idx="707">
                  <c:v>3.2853312457895099</c:v>
                </c:pt>
                <c:pt idx="708">
                  <c:v>3.2853312457895099</c:v>
                </c:pt>
                <c:pt idx="709">
                  <c:v>3.2853312457895099</c:v>
                </c:pt>
                <c:pt idx="710">
                  <c:v>3.2853312457895099</c:v>
                </c:pt>
                <c:pt idx="711">
                  <c:v>3.2853312457895099</c:v>
                </c:pt>
                <c:pt idx="712">
                  <c:v>3.2853312457895099</c:v>
                </c:pt>
                <c:pt idx="713">
                  <c:v>3.2853312457895099</c:v>
                </c:pt>
                <c:pt idx="714">
                  <c:v>3.2853312457895099</c:v>
                </c:pt>
                <c:pt idx="715">
                  <c:v>3.2853312457895099</c:v>
                </c:pt>
                <c:pt idx="716">
                  <c:v>3.2853312457895099</c:v>
                </c:pt>
                <c:pt idx="717">
                  <c:v>3.2853312457895099</c:v>
                </c:pt>
                <c:pt idx="718">
                  <c:v>3.2853312457895099</c:v>
                </c:pt>
                <c:pt idx="719">
                  <c:v>3.2853312457895099</c:v>
                </c:pt>
                <c:pt idx="720">
                  <c:v>3.2853312457895099</c:v>
                </c:pt>
                <c:pt idx="721">
                  <c:v>3.2853312457895099</c:v>
                </c:pt>
                <c:pt idx="722">
                  <c:v>3.2853312457895099</c:v>
                </c:pt>
                <c:pt idx="723">
                  <c:v>3.2853312457895099</c:v>
                </c:pt>
                <c:pt idx="724">
                  <c:v>3.2853312457895099</c:v>
                </c:pt>
                <c:pt idx="725">
                  <c:v>3.2853312457895099</c:v>
                </c:pt>
                <c:pt idx="726">
                  <c:v>3.2853312457895099</c:v>
                </c:pt>
                <c:pt idx="727">
                  <c:v>3.2853312457895099</c:v>
                </c:pt>
                <c:pt idx="728">
                  <c:v>3.2853312457895099</c:v>
                </c:pt>
                <c:pt idx="729">
                  <c:v>3.2853312457895099</c:v>
                </c:pt>
                <c:pt idx="730">
                  <c:v>3.2853312457895099</c:v>
                </c:pt>
                <c:pt idx="731">
                  <c:v>3.2853312457895099</c:v>
                </c:pt>
                <c:pt idx="732">
                  <c:v>3.2853312457895099</c:v>
                </c:pt>
                <c:pt idx="733">
                  <c:v>3.2853312457895099</c:v>
                </c:pt>
                <c:pt idx="734">
                  <c:v>3.2853312457895099</c:v>
                </c:pt>
                <c:pt idx="735">
                  <c:v>3.2853312457895099</c:v>
                </c:pt>
                <c:pt idx="736">
                  <c:v>3.2853312457895099</c:v>
                </c:pt>
                <c:pt idx="737">
                  <c:v>3.2853312457895099</c:v>
                </c:pt>
                <c:pt idx="738">
                  <c:v>3.2853312457895099</c:v>
                </c:pt>
                <c:pt idx="739">
                  <c:v>3.2853312457895099</c:v>
                </c:pt>
                <c:pt idx="740">
                  <c:v>3.2853312457895099</c:v>
                </c:pt>
                <c:pt idx="741">
                  <c:v>3.2853312457895099</c:v>
                </c:pt>
                <c:pt idx="742">
                  <c:v>3.2853312457895099</c:v>
                </c:pt>
                <c:pt idx="743">
                  <c:v>3.2853312457895099</c:v>
                </c:pt>
                <c:pt idx="744">
                  <c:v>3.2853312457895099</c:v>
                </c:pt>
                <c:pt idx="745">
                  <c:v>3.2853312457895099</c:v>
                </c:pt>
                <c:pt idx="746">
                  <c:v>3.2853312457895099</c:v>
                </c:pt>
                <c:pt idx="747">
                  <c:v>3.2853312457895099</c:v>
                </c:pt>
                <c:pt idx="748">
                  <c:v>3.2853312457895099</c:v>
                </c:pt>
                <c:pt idx="749">
                  <c:v>3.2853312457895099</c:v>
                </c:pt>
                <c:pt idx="750">
                  <c:v>3.2853312457895099</c:v>
                </c:pt>
                <c:pt idx="751">
                  <c:v>3.2853312457895099</c:v>
                </c:pt>
                <c:pt idx="752">
                  <c:v>3.2853312457895099</c:v>
                </c:pt>
                <c:pt idx="753">
                  <c:v>3.2853312457895099</c:v>
                </c:pt>
                <c:pt idx="754">
                  <c:v>3.2853312457895099</c:v>
                </c:pt>
                <c:pt idx="755">
                  <c:v>3.2853312457895099</c:v>
                </c:pt>
                <c:pt idx="756">
                  <c:v>3.2853312457895099</c:v>
                </c:pt>
                <c:pt idx="757">
                  <c:v>3.2853312457895099</c:v>
                </c:pt>
                <c:pt idx="758">
                  <c:v>3.2853312457895099</c:v>
                </c:pt>
                <c:pt idx="759">
                  <c:v>3.2853312457895099</c:v>
                </c:pt>
                <c:pt idx="760">
                  <c:v>3.2853312457895099</c:v>
                </c:pt>
                <c:pt idx="761">
                  <c:v>3.2853312457895099</c:v>
                </c:pt>
                <c:pt idx="762">
                  <c:v>3.2853312457895099</c:v>
                </c:pt>
                <c:pt idx="763">
                  <c:v>3.2853312457895099</c:v>
                </c:pt>
                <c:pt idx="764">
                  <c:v>3.2853312457895099</c:v>
                </c:pt>
                <c:pt idx="765">
                  <c:v>3.2853312457895099</c:v>
                </c:pt>
                <c:pt idx="766">
                  <c:v>3.2853312457895099</c:v>
                </c:pt>
                <c:pt idx="767">
                  <c:v>3.2853312457895099</c:v>
                </c:pt>
                <c:pt idx="768">
                  <c:v>3.2853312457895099</c:v>
                </c:pt>
                <c:pt idx="769">
                  <c:v>3.2853312457895099</c:v>
                </c:pt>
                <c:pt idx="770">
                  <c:v>3.2853312457895099</c:v>
                </c:pt>
                <c:pt idx="771">
                  <c:v>3.2853312457895099</c:v>
                </c:pt>
                <c:pt idx="772">
                  <c:v>3.2853312457895099</c:v>
                </c:pt>
                <c:pt idx="773">
                  <c:v>3.2853312457895099</c:v>
                </c:pt>
                <c:pt idx="774">
                  <c:v>3.2853312457895099</c:v>
                </c:pt>
                <c:pt idx="775">
                  <c:v>3.2853312457895099</c:v>
                </c:pt>
                <c:pt idx="776">
                  <c:v>3.2853312457895099</c:v>
                </c:pt>
                <c:pt idx="777">
                  <c:v>3.2853312457895099</c:v>
                </c:pt>
                <c:pt idx="778">
                  <c:v>3.2853312457895099</c:v>
                </c:pt>
                <c:pt idx="779">
                  <c:v>3.2853312457895099</c:v>
                </c:pt>
                <c:pt idx="780">
                  <c:v>3.2853312457895099</c:v>
                </c:pt>
                <c:pt idx="781">
                  <c:v>3.2853312457895099</c:v>
                </c:pt>
                <c:pt idx="782">
                  <c:v>3.2853312457895099</c:v>
                </c:pt>
                <c:pt idx="783">
                  <c:v>3.2853312457895099</c:v>
                </c:pt>
                <c:pt idx="784">
                  <c:v>3.2853312457895099</c:v>
                </c:pt>
                <c:pt idx="785">
                  <c:v>3.2853312457895099</c:v>
                </c:pt>
                <c:pt idx="786">
                  <c:v>3.2853312457895099</c:v>
                </c:pt>
                <c:pt idx="787">
                  <c:v>3.2853312457895099</c:v>
                </c:pt>
                <c:pt idx="788">
                  <c:v>3.2853312457895099</c:v>
                </c:pt>
                <c:pt idx="789">
                  <c:v>3.2853312457895099</c:v>
                </c:pt>
                <c:pt idx="790">
                  <c:v>3.2853312457895099</c:v>
                </c:pt>
                <c:pt idx="791">
                  <c:v>3.2853312457895099</c:v>
                </c:pt>
                <c:pt idx="792">
                  <c:v>3.2853312457895099</c:v>
                </c:pt>
                <c:pt idx="793">
                  <c:v>3.2853312457895099</c:v>
                </c:pt>
                <c:pt idx="794">
                  <c:v>3.2853312457895099</c:v>
                </c:pt>
                <c:pt idx="795">
                  <c:v>3.2853312457895099</c:v>
                </c:pt>
                <c:pt idx="796">
                  <c:v>3.2853312457895099</c:v>
                </c:pt>
                <c:pt idx="797">
                  <c:v>3.2853312457895099</c:v>
                </c:pt>
                <c:pt idx="798">
                  <c:v>3.2853312457895099</c:v>
                </c:pt>
                <c:pt idx="799">
                  <c:v>3.2853312457895099</c:v>
                </c:pt>
                <c:pt idx="800">
                  <c:v>3.2853312457895099</c:v>
                </c:pt>
                <c:pt idx="801">
                  <c:v>3.2853312457895099</c:v>
                </c:pt>
                <c:pt idx="802">
                  <c:v>3.2853312457895099</c:v>
                </c:pt>
                <c:pt idx="803">
                  <c:v>3.2853312457895099</c:v>
                </c:pt>
                <c:pt idx="804">
                  <c:v>3.2853312457895099</c:v>
                </c:pt>
                <c:pt idx="805">
                  <c:v>3.2853312457895099</c:v>
                </c:pt>
                <c:pt idx="806">
                  <c:v>3.2853312457895099</c:v>
                </c:pt>
                <c:pt idx="807">
                  <c:v>3.2853312457895099</c:v>
                </c:pt>
                <c:pt idx="808">
                  <c:v>3.2853312457895099</c:v>
                </c:pt>
                <c:pt idx="809">
                  <c:v>3.2853312457895099</c:v>
                </c:pt>
                <c:pt idx="810">
                  <c:v>3.2853312457895099</c:v>
                </c:pt>
                <c:pt idx="811">
                  <c:v>3.2853312457895099</c:v>
                </c:pt>
                <c:pt idx="812">
                  <c:v>3.2853312457895099</c:v>
                </c:pt>
                <c:pt idx="813">
                  <c:v>3.2853312457895099</c:v>
                </c:pt>
                <c:pt idx="814">
                  <c:v>3.2853312457895099</c:v>
                </c:pt>
                <c:pt idx="815">
                  <c:v>3.2853312457895099</c:v>
                </c:pt>
                <c:pt idx="816">
                  <c:v>3.2853312457895099</c:v>
                </c:pt>
                <c:pt idx="817">
                  <c:v>3.2853312457895099</c:v>
                </c:pt>
                <c:pt idx="818">
                  <c:v>3.2853312457895099</c:v>
                </c:pt>
                <c:pt idx="819">
                  <c:v>3.2853312457895099</c:v>
                </c:pt>
                <c:pt idx="820">
                  <c:v>3.2853312457895099</c:v>
                </c:pt>
                <c:pt idx="821">
                  <c:v>3.2853312457895099</c:v>
                </c:pt>
                <c:pt idx="822">
                  <c:v>3.2853312457895099</c:v>
                </c:pt>
                <c:pt idx="823">
                  <c:v>3.2853312457895099</c:v>
                </c:pt>
                <c:pt idx="824">
                  <c:v>3.2853312457895099</c:v>
                </c:pt>
                <c:pt idx="825">
                  <c:v>3.2853312457895099</c:v>
                </c:pt>
                <c:pt idx="826">
                  <c:v>3.2853312457895099</c:v>
                </c:pt>
                <c:pt idx="827">
                  <c:v>3.2853312457895099</c:v>
                </c:pt>
                <c:pt idx="828">
                  <c:v>3.2853312457895099</c:v>
                </c:pt>
                <c:pt idx="829">
                  <c:v>3.2853312457895099</c:v>
                </c:pt>
                <c:pt idx="830">
                  <c:v>3.2853312457895099</c:v>
                </c:pt>
                <c:pt idx="831">
                  <c:v>3.2853312457895099</c:v>
                </c:pt>
                <c:pt idx="832">
                  <c:v>3.2853312457895099</c:v>
                </c:pt>
                <c:pt idx="833">
                  <c:v>3.2853312457895099</c:v>
                </c:pt>
                <c:pt idx="834">
                  <c:v>3.2853312457895099</c:v>
                </c:pt>
                <c:pt idx="835">
                  <c:v>3.2853312457895099</c:v>
                </c:pt>
                <c:pt idx="836">
                  <c:v>3.2853312457895099</c:v>
                </c:pt>
                <c:pt idx="837">
                  <c:v>3.2853312457895099</c:v>
                </c:pt>
                <c:pt idx="838">
                  <c:v>3.2853312457895099</c:v>
                </c:pt>
                <c:pt idx="839">
                  <c:v>3.2853312457895099</c:v>
                </c:pt>
                <c:pt idx="840">
                  <c:v>3.2853312457895099</c:v>
                </c:pt>
                <c:pt idx="841">
                  <c:v>3.2853312457895099</c:v>
                </c:pt>
                <c:pt idx="842">
                  <c:v>3.2853312457895099</c:v>
                </c:pt>
                <c:pt idx="843">
                  <c:v>3.2853312457895099</c:v>
                </c:pt>
                <c:pt idx="844">
                  <c:v>3.2853312457895099</c:v>
                </c:pt>
                <c:pt idx="845">
                  <c:v>3.2853312457895099</c:v>
                </c:pt>
                <c:pt idx="846">
                  <c:v>3.2853312457895099</c:v>
                </c:pt>
                <c:pt idx="847">
                  <c:v>3.2853312457895099</c:v>
                </c:pt>
                <c:pt idx="848">
                  <c:v>3.2853312457895099</c:v>
                </c:pt>
                <c:pt idx="849">
                  <c:v>3.2853312457895099</c:v>
                </c:pt>
                <c:pt idx="850">
                  <c:v>3.2853312457895099</c:v>
                </c:pt>
                <c:pt idx="851">
                  <c:v>3.2853312457895099</c:v>
                </c:pt>
                <c:pt idx="852">
                  <c:v>3.2853312457895099</c:v>
                </c:pt>
                <c:pt idx="853">
                  <c:v>3.2853312457895099</c:v>
                </c:pt>
                <c:pt idx="854">
                  <c:v>3.2853312457895099</c:v>
                </c:pt>
                <c:pt idx="855">
                  <c:v>3.2853312457895099</c:v>
                </c:pt>
                <c:pt idx="856">
                  <c:v>3.2853312457895099</c:v>
                </c:pt>
                <c:pt idx="857">
                  <c:v>3.2853312457895099</c:v>
                </c:pt>
                <c:pt idx="858">
                  <c:v>3.2853312457895099</c:v>
                </c:pt>
                <c:pt idx="859">
                  <c:v>3.2853312457895099</c:v>
                </c:pt>
                <c:pt idx="860">
                  <c:v>3.2853312457895099</c:v>
                </c:pt>
                <c:pt idx="861">
                  <c:v>3.2853312457895099</c:v>
                </c:pt>
                <c:pt idx="862">
                  <c:v>3.2853312457895099</c:v>
                </c:pt>
                <c:pt idx="863">
                  <c:v>3.2853312457895099</c:v>
                </c:pt>
                <c:pt idx="864">
                  <c:v>3.2853312457895099</c:v>
                </c:pt>
                <c:pt idx="865">
                  <c:v>3.2853312457895099</c:v>
                </c:pt>
                <c:pt idx="866">
                  <c:v>3.2853312457895099</c:v>
                </c:pt>
                <c:pt idx="867">
                  <c:v>3.2853312457895099</c:v>
                </c:pt>
                <c:pt idx="868">
                  <c:v>3.2853312457895099</c:v>
                </c:pt>
                <c:pt idx="869">
                  <c:v>3.2853312457895099</c:v>
                </c:pt>
                <c:pt idx="870">
                  <c:v>3.2853312457895099</c:v>
                </c:pt>
                <c:pt idx="871">
                  <c:v>3.2853312457895099</c:v>
                </c:pt>
                <c:pt idx="872">
                  <c:v>3.2853312457895099</c:v>
                </c:pt>
                <c:pt idx="873">
                  <c:v>3.2853312457895099</c:v>
                </c:pt>
                <c:pt idx="874">
                  <c:v>3.2853312457895099</c:v>
                </c:pt>
                <c:pt idx="875">
                  <c:v>3.2853312457895099</c:v>
                </c:pt>
                <c:pt idx="876">
                  <c:v>3.2853312457895099</c:v>
                </c:pt>
                <c:pt idx="877">
                  <c:v>3.2853312457895099</c:v>
                </c:pt>
                <c:pt idx="878">
                  <c:v>3.2853312457895099</c:v>
                </c:pt>
                <c:pt idx="879">
                  <c:v>3.2853312457895099</c:v>
                </c:pt>
                <c:pt idx="880">
                  <c:v>3.2853312457895099</c:v>
                </c:pt>
                <c:pt idx="881">
                  <c:v>3.2853312457895099</c:v>
                </c:pt>
                <c:pt idx="882">
                  <c:v>3.2853312457895099</c:v>
                </c:pt>
                <c:pt idx="883">
                  <c:v>3.2853312457895099</c:v>
                </c:pt>
                <c:pt idx="884">
                  <c:v>3.2853312457895099</c:v>
                </c:pt>
                <c:pt idx="885">
                  <c:v>3.2853312457895099</c:v>
                </c:pt>
                <c:pt idx="886">
                  <c:v>3.2853312457895099</c:v>
                </c:pt>
                <c:pt idx="887">
                  <c:v>3.2853312457895099</c:v>
                </c:pt>
                <c:pt idx="888">
                  <c:v>3.2853312457895099</c:v>
                </c:pt>
                <c:pt idx="889">
                  <c:v>3.2853312457895099</c:v>
                </c:pt>
                <c:pt idx="890">
                  <c:v>3.2853312457895099</c:v>
                </c:pt>
                <c:pt idx="891">
                  <c:v>3.2853312457895099</c:v>
                </c:pt>
                <c:pt idx="892">
                  <c:v>3.2853312457895099</c:v>
                </c:pt>
                <c:pt idx="893">
                  <c:v>3.2853312457895099</c:v>
                </c:pt>
                <c:pt idx="894">
                  <c:v>3.2853312457895099</c:v>
                </c:pt>
                <c:pt idx="895">
                  <c:v>3.2853312457895099</c:v>
                </c:pt>
                <c:pt idx="896">
                  <c:v>3.2853312457895099</c:v>
                </c:pt>
                <c:pt idx="897">
                  <c:v>3.2853312457895099</c:v>
                </c:pt>
                <c:pt idx="898">
                  <c:v>3.2853312457895099</c:v>
                </c:pt>
                <c:pt idx="899">
                  <c:v>3.2853312457895099</c:v>
                </c:pt>
                <c:pt idx="900">
                  <c:v>3.2853312457895099</c:v>
                </c:pt>
                <c:pt idx="901">
                  <c:v>3.2853312457895099</c:v>
                </c:pt>
                <c:pt idx="902">
                  <c:v>3.2853312457895099</c:v>
                </c:pt>
                <c:pt idx="903">
                  <c:v>3.2853312457895099</c:v>
                </c:pt>
                <c:pt idx="904">
                  <c:v>3.2853312457895099</c:v>
                </c:pt>
                <c:pt idx="905">
                  <c:v>3.2853312457895099</c:v>
                </c:pt>
                <c:pt idx="906">
                  <c:v>3.2853312457895099</c:v>
                </c:pt>
                <c:pt idx="907">
                  <c:v>3.2853312457895099</c:v>
                </c:pt>
                <c:pt idx="908">
                  <c:v>3.2853312457895099</c:v>
                </c:pt>
                <c:pt idx="909">
                  <c:v>3.2853312457895099</c:v>
                </c:pt>
                <c:pt idx="910">
                  <c:v>3.2853312457895099</c:v>
                </c:pt>
                <c:pt idx="911">
                  <c:v>3.2853312457895099</c:v>
                </c:pt>
                <c:pt idx="912">
                  <c:v>3.2853312457895099</c:v>
                </c:pt>
                <c:pt idx="913">
                  <c:v>3.2853312457895099</c:v>
                </c:pt>
                <c:pt idx="914">
                  <c:v>3.2853312457895099</c:v>
                </c:pt>
                <c:pt idx="915">
                  <c:v>3.2853312457895099</c:v>
                </c:pt>
                <c:pt idx="916">
                  <c:v>3.2853312457895099</c:v>
                </c:pt>
                <c:pt idx="917">
                  <c:v>3.2853312457895099</c:v>
                </c:pt>
                <c:pt idx="918">
                  <c:v>3.2853312457895099</c:v>
                </c:pt>
                <c:pt idx="919">
                  <c:v>3.2853312457895099</c:v>
                </c:pt>
                <c:pt idx="920">
                  <c:v>3.2853312457895099</c:v>
                </c:pt>
                <c:pt idx="921">
                  <c:v>3.2853312457895099</c:v>
                </c:pt>
                <c:pt idx="922">
                  <c:v>3.2853312457895099</c:v>
                </c:pt>
                <c:pt idx="923">
                  <c:v>3.2853312457895099</c:v>
                </c:pt>
                <c:pt idx="924">
                  <c:v>3.2853312457895099</c:v>
                </c:pt>
                <c:pt idx="925">
                  <c:v>3.2853312457895099</c:v>
                </c:pt>
                <c:pt idx="926">
                  <c:v>3.2853312457895099</c:v>
                </c:pt>
                <c:pt idx="927">
                  <c:v>3.2853312457895099</c:v>
                </c:pt>
                <c:pt idx="928">
                  <c:v>3.2853312457895099</c:v>
                </c:pt>
                <c:pt idx="929">
                  <c:v>3.2853312457895099</c:v>
                </c:pt>
                <c:pt idx="930">
                  <c:v>3.2853312457895099</c:v>
                </c:pt>
                <c:pt idx="931">
                  <c:v>3.2853312457895099</c:v>
                </c:pt>
                <c:pt idx="932">
                  <c:v>3.2853312457895099</c:v>
                </c:pt>
                <c:pt idx="933">
                  <c:v>3.2853312457895099</c:v>
                </c:pt>
                <c:pt idx="934">
                  <c:v>3.2853312457895099</c:v>
                </c:pt>
                <c:pt idx="935">
                  <c:v>3.2853312457895099</c:v>
                </c:pt>
                <c:pt idx="936">
                  <c:v>3.2853312457895099</c:v>
                </c:pt>
                <c:pt idx="937">
                  <c:v>3.2853312457895099</c:v>
                </c:pt>
                <c:pt idx="938">
                  <c:v>3.2853312457895099</c:v>
                </c:pt>
                <c:pt idx="939">
                  <c:v>3.2853312457895099</c:v>
                </c:pt>
                <c:pt idx="940">
                  <c:v>3.2853312457895099</c:v>
                </c:pt>
                <c:pt idx="941">
                  <c:v>3.2853312457895099</c:v>
                </c:pt>
                <c:pt idx="942">
                  <c:v>3.2853312457895099</c:v>
                </c:pt>
                <c:pt idx="943">
                  <c:v>3.2853312457895099</c:v>
                </c:pt>
                <c:pt idx="944">
                  <c:v>3.2853312457895099</c:v>
                </c:pt>
                <c:pt idx="945">
                  <c:v>3.2853312457895099</c:v>
                </c:pt>
                <c:pt idx="946">
                  <c:v>3.2853312457895099</c:v>
                </c:pt>
                <c:pt idx="947">
                  <c:v>3.2853312457895099</c:v>
                </c:pt>
                <c:pt idx="948">
                  <c:v>3.2853312457895099</c:v>
                </c:pt>
                <c:pt idx="949">
                  <c:v>3.2853312457895099</c:v>
                </c:pt>
                <c:pt idx="950">
                  <c:v>3.2853312457895099</c:v>
                </c:pt>
                <c:pt idx="951">
                  <c:v>3.2853312457895099</c:v>
                </c:pt>
                <c:pt idx="952">
                  <c:v>3.2853312457895099</c:v>
                </c:pt>
                <c:pt idx="953">
                  <c:v>3.2853312457895099</c:v>
                </c:pt>
                <c:pt idx="954">
                  <c:v>3.2853312457895099</c:v>
                </c:pt>
                <c:pt idx="955">
                  <c:v>3.2853312457895099</c:v>
                </c:pt>
                <c:pt idx="956">
                  <c:v>3.2853312457895099</c:v>
                </c:pt>
                <c:pt idx="957">
                  <c:v>3.2853312457895099</c:v>
                </c:pt>
                <c:pt idx="958">
                  <c:v>3.2853312457895099</c:v>
                </c:pt>
                <c:pt idx="959">
                  <c:v>3.2853312457895099</c:v>
                </c:pt>
                <c:pt idx="960">
                  <c:v>3.2853312457895099</c:v>
                </c:pt>
                <c:pt idx="961">
                  <c:v>3.2853312457895099</c:v>
                </c:pt>
                <c:pt idx="962">
                  <c:v>3.2853312457895099</c:v>
                </c:pt>
                <c:pt idx="963">
                  <c:v>3.2853312457895099</c:v>
                </c:pt>
                <c:pt idx="964">
                  <c:v>3.2853312457895099</c:v>
                </c:pt>
                <c:pt idx="965">
                  <c:v>3.2853312457895099</c:v>
                </c:pt>
                <c:pt idx="966">
                  <c:v>3.2853312457895099</c:v>
                </c:pt>
                <c:pt idx="967">
                  <c:v>3.2853312457895099</c:v>
                </c:pt>
                <c:pt idx="968">
                  <c:v>3.2853312457895099</c:v>
                </c:pt>
                <c:pt idx="969">
                  <c:v>3.2853312457895099</c:v>
                </c:pt>
                <c:pt idx="970">
                  <c:v>3.2853312457895099</c:v>
                </c:pt>
                <c:pt idx="971">
                  <c:v>3.2853312457895099</c:v>
                </c:pt>
                <c:pt idx="972">
                  <c:v>3.2853312457895099</c:v>
                </c:pt>
                <c:pt idx="973">
                  <c:v>3.2853312457895099</c:v>
                </c:pt>
                <c:pt idx="974">
                  <c:v>3.2853312457895099</c:v>
                </c:pt>
                <c:pt idx="975">
                  <c:v>3.2853312457895099</c:v>
                </c:pt>
                <c:pt idx="976">
                  <c:v>3.2853312457895099</c:v>
                </c:pt>
                <c:pt idx="977">
                  <c:v>3.2853312457895099</c:v>
                </c:pt>
                <c:pt idx="978">
                  <c:v>3.2853312457895099</c:v>
                </c:pt>
                <c:pt idx="979">
                  <c:v>3.2853312457895099</c:v>
                </c:pt>
                <c:pt idx="980">
                  <c:v>3.2853312457895099</c:v>
                </c:pt>
                <c:pt idx="981">
                  <c:v>3.2853312457895099</c:v>
                </c:pt>
                <c:pt idx="982">
                  <c:v>3.2853312457895099</c:v>
                </c:pt>
                <c:pt idx="983">
                  <c:v>3.2853312457895099</c:v>
                </c:pt>
                <c:pt idx="984">
                  <c:v>3.2853312457895099</c:v>
                </c:pt>
                <c:pt idx="985">
                  <c:v>3.2853312457895099</c:v>
                </c:pt>
                <c:pt idx="986">
                  <c:v>3.2853312457895099</c:v>
                </c:pt>
                <c:pt idx="987">
                  <c:v>3.2853312457895099</c:v>
                </c:pt>
                <c:pt idx="988">
                  <c:v>3.2853312457895099</c:v>
                </c:pt>
                <c:pt idx="989">
                  <c:v>3.2853312457895099</c:v>
                </c:pt>
                <c:pt idx="990">
                  <c:v>3.2853312457895099</c:v>
                </c:pt>
                <c:pt idx="991">
                  <c:v>3.2853312457895099</c:v>
                </c:pt>
                <c:pt idx="992">
                  <c:v>3.2853312457895099</c:v>
                </c:pt>
                <c:pt idx="993">
                  <c:v>3.2853312457895099</c:v>
                </c:pt>
                <c:pt idx="994">
                  <c:v>3.2853312457895099</c:v>
                </c:pt>
                <c:pt idx="995">
                  <c:v>3.2853312457895099</c:v>
                </c:pt>
                <c:pt idx="996">
                  <c:v>3.2853312457895099</c:v>
                </c:pt>
                <c:pt idx="997">
                  <c:v>3.2853312457895099</c:v>
                </c:pt>
                <c:pt idx="998">
                  <c:v>3.2853312457895099</c:v>
                </c:pt>
                <c:pt idx="999">
                  <c:v>3.2853312457895099</c:v>
                </c:pt>
                <c:pt idx="1000">
                  <c:v>3.2853312457895099</c:v>
                </c:pt>
                <c:pt idx="1001">
                  <c:v>3.2853312457895099</c:v>
                </c:pt>
                <c:pt idx="1002">
                  <c:v>3.2853312457895099</c:v>
                </c:pt>
                <c:pt idx="1003">
                  <c:v>3.2853312457895099</c:v>
                </c:pt>
                <c:pt idx="1004">
                  <c:v>3.2853312457895099</c:v>
                </c:pt>
                <c:pt idx="1005">
                  <c:v>3.2853312457895099</c:v>
                </c:pt>
                <c:pt idx="1006">
                  <c:v>3.2853312457895099</c:v>
                </c:pt>
                <c:pt idx="1007">
                  <c:v>3.2853312457895099</c:v>
                </c:pt>
                <c:pt idx="1008">
                  <c:v>3.2853312457895099</c:v>
                </c:pt>
                <c:pt idx="1009">
                  <c:v>3.2853312457895099</c:v>
                </c:pt>
                <c:pt idx="1010">
                  <c:v>3.2853312457895099</c:v>
                </c:pt>
                <c:pt idx="1011">
                  <c:v>3.2853312457895099</c:v>
                </c:pt>
                <c:pt idx="1012">
                  <c:v>3.2853312457895099</c:v>
                </c:pt>
                <c:pt idx="1013">
                  <c:v>3.2853312457895099</c:v>
                </c:pt>
                <c:pt idx="1014">
                  <c:v>3.2853312457895099</c:v>
                </c:pt>
                <c:pt idx="1015">
                  <c:v>3.2853312457895099</c:v>
                </c:pt>
                <c:pt idx="1016">
                  <c:v>3.2853312457895099</c:v>
                </c:pt>
                <c:pt idx="1017">
                  <c:v>3.2853312457895099</c:v>
                </c:pt>
                <c:pt idx="1018">
                  <c:v>3.2853312457895099</c:v>
                </c:pt>
                <c:pt idx="1019">
                  <c:v>3.2853312457895099</c:v>
                </c:pt>
                <c:pt idx="1020">
                  <c:v>3.2853312457895099</c:v>
                </c:pt>
                <c:pt idx="1021">
                  <c:v>3.2853312457895099</c:v>
                </c:pt>
                <c:pt idx="1022">
                  <c:v>3.2853312457895099</c:v>
                </c:pt>
                <c:pt idx="1023">
                  <c:v>3.2853312457895099</c:v>
                </c:pt>
                <c:pt idx="1024">
                  <c:v>3.2853312457895099</c:v>
                </c:pt>
                <c:pt idx="1025">
                  <c:v>3.2853312457895099</c:v>
                </c:pt>
                <c:pt idx="1026">
                  <c:v>3.2853312457895099</c:v>
                </c:pt>
                <c:pt idx="1027">
                  <c:v>3.2853312457895099</c:v>
                </c:pt>
                <c:pt idx="1028">
                  <c:v>3.2853312457895099</c:v>
                </c:pt>
                <c:pt idx="1029">
                  <c:v>3.2853312457895099</c:v>
                </c:pt>
                <c:pt idx="1030">
                  <c:v>3.2853312457895099</c:v>
                </c:pt>
                <c:pt idx="1031">
                  <c:v>3.2853312457895099</c:v>
                </c:pt>
                <c:pt idx="1032">
                  <c:v>3.2853312457895099</c:v>
                </c:pt>
                <c:pt idx="1033">
                  <c:v>3.2853312457895099</c:v>
                </c:pt>
                <c:pt idx="1034">
                  <c:v>3.2853312457895099</c:v>
                </c:pt>
                <c:pt idx="1035">
                  <c:v>3.2853312457895099</c:v>
                </c:pt>
                <c:pt idx="1036">
                  <c:v>3.2853312457895099</c:v>
                </c:pt>
                <c:pt idx="1037">
                  <c:v>3.2853312457895099</c:v>
                </c:pt>
                <c:pt idx="1038">
                  <c:v>3.2853312457895099</c:v>
                </c:pt>
                <c:pt idx="1039">
                  <c:v>3.2853312457895099</c:v>
                </c:pt>
                <c:pt idx="1040">
                  <c:v>3.2853312457895099</c:v>
                </c:pt>
                <c:pt idx="1041">
                  <c:v>3.2853312457895099</c:v>
                </c:pt>
                <c:pt idx="1042">
                  <c:v>3.2853312457895099</c:v>
                </c:pt>
                <c:pt idx="1043">
                  <c:v>3.2853312457895099</c:v>
                </c:pt>
                <c:pt idx="1044">
                  <c:v>3.2853312457895099</c:v>
                </c:pt>
                <c:pt idx="1045">
                  <c:v>3.2853312457895099</c:v>
                </c:pt>
                <c:pt idx="1046">
                  <c:v>3.2853312457895099</c:v>
                </c:pt>
                <c:pt idx="1047">
                  <c:v>3.2853312457895099</c:v>
                </c:pt>
                <c:pt idx="1048">
                  <c:v>3.2853312457895099</c:v>
                </c:pt>
                <c:pt idx="1049">
                  <c:v>3.2853312457895099</c:v>
                </c:pt>
                <c:pt idx="1050">
                  <c:v>3.2853312457895099</c:v>
                </c:pt>
                <c:pt idx="1051">
                  <c:v>3.2853312457895099</c:v>
                </c:pt>
                <c:pt idx="1052">
                  <c:v>3.2853312457895099</c:v>
                </c:pt>
                <c:pt idx="1053">
                  <c:v>3.2853312457895099</c:v>
                </c:pt>
                <c:pt idx="1054">
                  <c:v>3.2853312457895099</c:v>
                </c:pt>
                <c:pt idx="1055">
                  <c:v>3.2853312457895099</c:v>
                </c:pt>
                <c:pt idx="1056">
                  <c:v>3.2853312457895099</c:v>
                </c:pt>
                <c:pt idx="1057">
                  <c:v>3.2853312457895099</c:v>
                </c:pt>
                <c:pt idx="1058">
                  <c:v>3.2853312457895099</c:v>
                </c:pt>
                <c:pt idx="1059">
                  <c:v>3.2853312457895099</c:v>
                </c:pt>
                <c:pt idx="1060">
                  <c:v>3.2853312457895099</c:v>
                </c:pt>
                <c:pt idx="1061">
                  <c:v>3.2853312457895099</c:v>
                </c:pt>
                <c:pt idx="1062">
                  <c:v>3.2853312457895099</c:v>
                </c:pt>
                <c:pt idx="1063">
                  <c:v>3.2853312457895099</c:v>
                </c:pt>
                <c:pt idx="1064">
                  <c:v>3.2853312457895099</c:v>
                </c:pt>
                <c:pt idx="1065">
                  <c:v>3.2853312457895099</c:v>
                </c:pt>
                <c:pt idx="1066">
                  <c:v>3.2853312457895099</c:v>
                </c:pt>
                <c:pt idx="1067">
                  <c:v>3.2853312457895099</c:v>
                </c:pt>
                <c:pt idx="1068">
                  <c:v>3.2853312457895099</c:v>
                </c:pt>
                <c:pt idx="1069">
                  <c:v>3.2853312457895099</c:v>
                </c:pt>
                <c:pt idx="1070">
                  <c:v>3.2853312457895099</c:v>
                </c:pt>
                <c:pt idx="1071">
                  <c:v>3.2853312457895099</c:v>
                </c:pt>
                <c:pt idx="1072">
                  <c:v>3.2853312457895099</c:v>
                </c:pt>
                <c:pt idx="1073">
                  <c:v>3.2853312457895099</c:v>
                </c:pt>
                <c:pt idx="1074">
                  <c:v>3.2853312457895099</c:v>
                </c:pt>
                <c:pt idx="1075">
                  <c:v>3.2853312457895099</c:v>
                </c:pt>
                <c:pt idx="1076">
                  <c:v>3.2853312457895099</c:v>
                </c:pt>
                <c:pt idx="1077">
                  <c:v>3.2853312457895099</c:v>
                </c:pt>
                <c:pt idx="1078">
                  <c:v>3.2853312457895099</c:v>
                </c:pt>
                <c:pt idx="1079">
                  <c:v>3.2853312457895099</c:v>
                </c:pt>
                <c:pt idx="1080">
                  <c:v>3.2853312457895099</c:v>
                </c:pt>
                <c:pt idx="1081">
                  <c:v>3.2853312457895099</c:v>
                </c:pt>
                <c:pt idx="1082">
                  <c:v>3.2853312457895099</c:v>
                </c:pt>
                <c:pt idx="1083">
                  <c:v>3.2853312457895099</c:v>
                </c:pt>
                <c:pt idx="1084">
                  <c:v>3.2853312457895099</c:v>
                </c:pt>
                <c:pt idx="1085">
                  <c:v>3.2853312457895099</c:v>
                </c:pt>
                <c:pt idx="1086">
                  <c:v>3.2853312457895099</c:v>
                </c:pt>
                <c:pt idx="1087">
                  <c:v>3.2853312457895099</c:v>
                </c:pt>
                <c:pt idx="1088">
                  <c:v>3.2853312457895099</c:v>
                </c:pt>
                <c:pt idx="1089">
                  <c:v>3.2853312457895099</c:v>
                </c:pt>
                <c:pt idx="1090">
                  <c:v>3.2853312457895099</c:v>
                </c:pt>
                <c:pt idx="1091">
                  <c:v>3.2853312457895099</c:v>
                </c:pt>
                <c:pt idx="1092">
                  <c:v>3.2853312457895099</c:v>
                </c:pt>
                <c:pt idx="1093">
                  <c:v>3.2853312457895099</c:v>
                </c:pt>
                <c:pt idx="1094">
                  <c:v>3.2853312457895099</c:v>
                </c:pt>
                <c:pt idx="1095">
                  <c:v>3.2853312457895099</c:v>
                </c:pt>
                <c:pt idx="1096">
                  <c:v>3.2853312457895099</c:v>
                </c:pt>
                <c:pt idx="1097">
                  <c:v>3.2853312457895099</c:v>
                </c:pt>
                <c:pt idx="1098">
                  <c:v>3.2853312457895099</c:v>
                </c:pt>
                <c:pt idx="1099">
                  <c:v>3.2853312457895099</c:v>
                </c:pt>
                <c:pt idx="1100">
                  <c:v>3.2853312457895099</c:v>
                </c:pt>
                <c:pt idx="1101">
                  <c:v>3.2853312457895099</c:v>
                </c:pt>
                <c:pt idx="1102">
                  <c:v>3.2853312457895099</c:v>
                </c:pt>
                <c:pt idx="1103">
                  <c:v>3.2853312457895099</c:v>
                </c:pt>
                <c:pt idx="1104">
                  <c:v>3.2853312457895099</c:v>
                </c:pt>
                <c:pt idx="1105">
                  <c:v>3.2853312457895099</c:v>
                </c:pt>
                <c:pt idx="1106">
                  <c:v>3.2853312457895099</c:v>
                </c:pt>
                <c:pt idx="1107">
                  <c:v>3.2853312457895099</c:v>
                </c:pt>
                <c:pt idx="1108">
                  <c:v>3.2853312457895099</c:v>
                </c:pt>
                <c:pt idx="1109">
                  <c:v>3.2853312457895099</c:v>
                </c:pt>
                <c:pt idx="1110">
                  <c:v>3.2853312457895099</c:v>
                </c:pt>
                <c:pt idx="1111">
                  <c:v>3.2853312457895099</c:v>
                </c:pt>
                <c:pt idx="1112">
                  <c:v>3.2853312457895099</c:v>
                </c:pt>
                <c:pt idx="1113">
                  <c:v>3.2853312457895099</c:v>
                </c:pt>
                <c:pt idx="1114">
                  <c:v>3.2853312457895099</c:v>
                </c:pt>
                <c:pt idx="1115">
                  <c:v>3.2853312457895099</c:v>
                </c:pt>
                <c:pt idx="1116">
                  <c:v>3.2853312457895099</c:v>
                </c:pt>
                <c:pt idx="1117">
                  <c:v>3.2853312457895099</c:v>
                </c:pt>
                <c:pt idx="1118">
                  <c:v>3.2853312457895099</c:v>
                </c:pt>
                <c:pt idx="1119">
                  <c:v>3.2853312457895099</c:v>
                </c:pt>
                <c:pt idx="1120">
                  <c:v>3.2853312457895099</c:v>
                </c:pt>
                <c:pt idx="1121">
                  <c:v>3.2853312457895099</c:v>
                </c:pt>
                <c:pt idx="1122">
                  <c:v>3.2853312457895099</c:v>
                </c:pt>
                <c:pt idx="1123">
                  <c:v>3.2853312457895099</c:v>
                </c:pt>
                <c:pt idx="1124">
                  <c:v>3.2853312457895099</c:v>
                </c:pt>
                <c:pt idx="1125">
                  <c:v>3.2853312457895099</c:v>
                </c:pt>
                <c:pt idx="1126">
                  <c:v>3.2853312457895099</c:v>
                </c:pt>
                <c:pt idx="1127">
                  <c:v>3.2853312457895099</c:v>
                </c:pt>
                <c:pt idx="1128">
                  <c:v>3.2853312457895099</c:v>
                </c:pt>
                <c:pt idx="1129">
                  <c:v>3.2853312457895099</c:v>
                </c:pt>
                <c:pt idx="1130">
                  <c:v>3.2853312457895099</c:v>
                </c:pt>
                <c:pt idx="1131">
                  <c:v>3.2853312457895099</c:v>
                </c:pt>
                <c:pt idx="1132">
                  <c:v>3.2853312457895099</c:v>
                </c:pt>
                <c:pt idx="1133">
                  <c:v>3.2853312457895099</c:v>
                </c:pt>
                <c:pt idx="1134">
                  <c:v>3.2853312457895099</c:v>
                </c:pt>
                <c:pt idx="1135">
                  <c:v>3.2853312457895099</c:v>
                </c:pt>
                <c:pt idx="1136">
                  <c:v>3.2853312457895099</c:v>
                </c:pt>
                <c:pt idx="1137">
                  <c:v>3.2853312457895099</c:v>
                </c:pt>
                <c:pt idx="1138">
                  <c:v>3.2853312457895099</c:v>
                </c:pt>
                <c:pt idx="1139">
                  <c:v>3.2853312457895099</c:v>
                </c:pt>
                <c:pt idx="1140">
                  <c:v>3.2853312457895099</c:v>
                </c:pt>
                <c:pt idx="1141">
                  <c:v>3.2853312457895099</c:v>
                </c:pt>
                <c:pt idx="1142">
                  <c:v>3.2853312457895099</c:v>
                </c:pt>
                <c:pt idx="1143">
                  <c:v>3.2853312457895099</c:v>
                </c:pt>
                <c:pt idx="1144">
                  <c:v>3.2853312457895099</c:v>
                </c:pt>
                <c:pt idx="1145">
                  <c:v>3.2853312457895099</c:v>
                </c:pt>
                <c:pt idx="1146">
                  <c:v>3.2853312457895099</c:v>
                </c:pt>
                <c:pt idx="1147">
                  <c:v>3.2853312457895099</c:v>
                </c:pt>
                <c:pt idx="1148">
                  <c:v>3.2853312457895099</c:v>
                </c:pt>
                <c:pt idx="1149">
                  <c:v>3.2853312457895099</c:v>
                </c:pt>
                <c:pt idx="1150">
                  <c:v>3.2853312457895099</c:v>
                </c:pt>
                <c:pt idx="1151">
                  <c:v>3.2853312457895099</c:v>
                </c:pt>
                <c:pt idx="1152">
                  <c:v>3.2853312457895099</c:v>
                </c:pt>
                <c:pt idx="1153">
                  <c:v>3.2853312457895099</c:v>
                </c:pt>
                <c:pt idx="1154">
                  <c:v>3.2853312457895099</c:v>
                </c:pt>
                <c:pt idx="1155">
                  <c:v>3.2853312457895099</c:v>
                </c:pt>
                <c:pt idx="1156">
                  <c:v>3.2853312457895099</c:v>
                </c:pt>
                <c:pt idx="1157">
                  <c:v>3.2853312457895099</c:v>
                </c:pt>
                <c:pt idx="1158">
                  <c:v>3.2853312457895099</c:v>
                </c:pt>
                <c:pt idx="1159">
                  <c:v>3.2853312457895099</c:v>
                </c:pt>
                <c:pt idx="1160">
                  <c:v>3.2853312457895099</c:v>
                </c:pt>
                <c:pt idx="1161">
                  <c:v>3.2853312457895099</c:v>
                </c:pt>
                <c:pt idx="1162">
                  <c:v>3.2853312457895099</c:v>
                </c:pt>
                <c:pt idx="1163">
                  <c:v>3.2853312457895099</c:v>
                </c:pt>
                <c:pt idx="1164">
                  <c:v>3.2853312457895099</c:v>
                </c:pt>
                <c:pt idx="1165">
                  <c:v>3.2853312457895099</c:v>
                </c:pt>
                <c:pt idx="1166">
                  <c:v>3.2853312457895099</c:v>
                </c:pt>
                <c:pt idx="1167">
                  <c:v>3.2853312457895099</c:v>
                </c:pt>
                <c:pt idx="1168">
                  <c:v>3.2853312457895099</c:v>
                </c:pt>
                <c:pt idx="1169">
                  <c:v>3.2853312457895099</c:v>
                </c:pt>
                <c:pt idx="1170">
                  <c:v>3.2853312457895099</c:v>
                </c:pt>
                <c:pt idx="1171">
                  <c:v>3.2853312457895099</c:v>
                </c:pt>
                <c:pt idx="1172">
                  <c:v>3.2853312457895099</c:v>
                </c:pt>
                <c:pt idx="1173">
                  <c:v>3.2853312457895099</c:v>
                </c:pt>
                <c:pt idx="1174">
                  <c:v>3.2853312457895099</c:v>
                </c:pt>
                <c:pt idx="1175">
                  <c:v>3.2853312457895099</c:v>
                </c:pt>
                <c:pt idx="1176">
                  <c:v>3.2853312457895099</c:v>
                </c:pt>
                <c:pt idx="1177">
                  <c:v>3.2853312457895099</c:v>
                </c:pt>
                <c:pt idx="1178">
                  <c:v>3.2853312457895099</c:v>
                </c:pt>
                <c:pt idx="1179">
                  <c:v>3.2853312457895099</c:v>
                </c:pt>
                <c:pt idx="1180">
                  <c:v>3.2853312457895099</c:v>
                </c:pt>
                <c:pt idx="1181">
                  <c:v>3.2853312457895099</c:v>
                </c:pt>
                <c:pt idx="1182">
                  <c:v>3.2853312457895099</c:v>
                </c:pt>
                <c:pt idx="1183">
                  <c:v>3.2853312457895099</c:v>
                </c:pt>
                <c:pt idx="1184">
                  <c:v>3.2853312457895099</c:v>
                </c:pt>
                <c:pt idx="1185">
                  <c:v>3.2853312457895099</c:v>
                </c:pt>
                <c:pt idx="1186">
                  <c:v>3.2853312457895099</c:v>
                </c:pt>
                <c:pt idx="1187">
                  <c:v>3.2853312457895099</c:v>
                </c:pt>
                <c:pt idx="1188">
                  <c:v>3.2853312457895099</c:v>
                </c:pt>
                <c:pt idx="1189">
                  <c:v>3.2853312457895099</c:v>
                </c:pt>
                <c:pt idx="1190">
                  <c:v>3.2853312457895099</c:v>
                </c:pt>
                <c:pt idx="1191">
                  <c:v>3.2853312457895099</c:v>
                </c:pt>
                <c:pt idx="1192">
                  <c:v>3.2853312457895099</c:v>
                </c:pt>
                <c:pt idx="1193">
                  <c:v>3.2853312457895099</c:v>
                </c:pt>
                <c:pt idx="1194">
                  <c:v>3.2853312457895099</c:v>
                </c:pt>
                <c:pt idx="1195">
                  <c:v>3.2853312457895099</c:v>
                </c:pt>
                <c:pt idx="1196">
                  <c:v>3.2853312457895099</c:v>
                </c:pt>
                <c:pt idx="1197">
                  <c:v>3.2853312457895099</c:v>
                </c:pt>
                <c:pt idx="1198">
                  <c:v>3.2853312457895099</c:v>
                </c:pt>
                <c:pt idx="1199">
                  <c:v>3.2853312457895099</c:v>
                </c:pt>
                <c:pt idx="1200">
                  <c:v>3.2853312457895099</c:v>
                </c:pt>
                <c:pt idx="1201">
                  <c:v>3.2853312457895099</c:v>
                </c:pt>
                <c:pt idx="1202">
                  <c:v>3.2853312457895099</c:v>
                </c:pt>
                <c:pt idx="1203">
                  <c:v>3.2853312457895099</c:v>
                </c:pt>
                <c:pt idx="1204">
                  <c:v>3.2853312457895099</c:v>
                </c:pt>
                <c:pt idx="1205">
                  <c:v>3.2853312457895099</c:v>
                </c:pt>
                <c:pt idx="1206">
                  <c:v>3.2853312457895099</c:v>
                </c:pt>
                <c:pt idx="1207">
                  <c:v>3.2853312457895099</c:v>
                </c:pt>
                <c:pt idx="1208">
                  <c:v>3.2853312457895099</c:v>
                </c:pt>
                <c:pt idx="1209">
                  <c:v>3.2853312457895099</c:v>
                </c:pt>
                <c:pt idx="1210">
                  <c:v>3.2853312457895099</c:v>
                </c:pt>
                <c:pt idx="1211">
                  <c:v>3.2853312457895099</c:v>
                </c:pt>
                <c:pt idx="1212">
                  <c:v>3.2853312457895099</c:v>
                </c:pt>
                <c:pt idx="1213">
                  <c:v>3.2853312457895099</c:v>
                </c:pt>
                <c:pt idx="1214">
                  <c:v>3.2853312457895099</c:v>
                </c:pt>
                <c:pt idx="1215">
                  <c:v>3.2853312457895099</c:v>
                </c:pt>
                <c:pt idx="1216">
                  <c:v>3.2853312457895099</c:v>
                </c:pt>
                <c:pt idx="1217">
                  <c:v>3.2853312457895099</c:v>
                </c:pt>
                <c:pt idx="1218">
                  <c:v>3.2853312457895099</c:v>
                </c:pt>
                <c:pt idx="1219">
                  <c:v>3.2853312457895099</c:v>
                </c:pt>
                <c:pt idx="1220">
                  <c:v>3.2853312457895099</c:v>
                </c:pt>
                <c:pt idx="1221">
                  <c:v>3.2853312457895099</c:v>
                </c:pt>
                <c:pt idx="1222">
                  <c:v>3.2853312457895099</c:v>
                </c:pt>
                <c:pt idx="1223">
                  <c:v>3.2853312457895099</c:v>
                </c:pt>
                <c:pt idx="1224">
                  <c:v>3.2853312457895099</c:v>
                </c:pt>
                <c:pt idx="1225">
                  <c:v>3.2853312457895099</c:v>
                </c:pt>
                <c:pt idx="1226">
                  <c:v>3.2853312457895099</c:v>
                </c:pt>
                <c:pt idx="1227">
                  <c:v>3.2853312457895099</c:v>
                </c:pt>
                <c:pt idx="1228">
                  <c:v>3.2853312457895099</c:v>
                </c:pt>
                <c:pt idx="1229">
                  <c:v>3.2853312457895099</c:v>
                </c:pt>
                <c:pt idx="1230">
                  <c:v>3.2853312457895099</c:v>
                </c:pt>
                <c:pt idx="1231">
                  <c:v>3.2853312457895099</c:v>
                </c:pt>
                <c:pt idx="1232">
                  <c:v>3.2853312457895099</c:v>
                </c:pt>
                <c:pt idx="1233">
                  <c:v>3.2853312457895099</c:v>
                </c:pt>
                <c:pt idx="1234">
                  <c:v>3.2853312457895099</c:v>
                </c:pt>
                <c:pt idx="1235">
                  <c:v>3.2853312457895099</c:v>
                </c:pt>
                <c:pt idx="1236">
                  <c:v>3.2853312457895099</c:v>
                </c:pt>
                <c:pt idx="1237">
                  <c:v>3.2853312457895099</c:v>
                </c:pt>
                <c:pt idx="1238">
                  <c:v>3.2853312457895099</c:v>
                </c:pt>
                <c:pt idx="1239">
                  <c:v>3.2853312457895099</c:v>
                </c:pt>
                <c:pt idx="1240">
                  <c:v>3.2853312457895099</c:v>
                </c:pt>
                <c:pt idx="1241">
                  <c:v>3.2853312457895099</c:v>
                </c:pt>
                <c:pt idx="1242">
                  <c:v>3.2853312457895099</c:v>
                </c:pt>
                <c:pt idx="1243">
                  <c:v>3.2853312457895099</c:v>
                </c:pt>
                <c:pt idx="1244">
                  <c:v>3.2853312457895099</c:v>
                </c:pt>
                <c:pt idx="1245">
                  <c:v>3.2853312457895099</c:v>
                </c:pt>
                <c:pt idx="1246">
                  <c:v>3.2853312457895099</c:v>
                </c:pt>
                <c:pt idx="1247">
                  <c:v>3.2853312457895099</c:v>
                </c:pt>
                <c:pt idx="1248">
                  <c:v>3.2853312457895099</c:v>
                </c:pt>
                <c:pt idx="1249">
                  <c:v>3.2853312457895099</c:v>
                </c:pt>
                <c:pt idx="1250">
                  <c:v>3.2853312457895099</c:v>
                </c:pt>
                <c:pt idx="1251">
                  <c:v>3.2853312457895099</c:v>
                </c:pt>
                <c:pt idx="1252">
                  <c:v>3.2853312457895099</c:v>
                </c:pt>
                <c:pt idx="1253">
                  <c:v>3.2853312457895099</c:v>
                </c:pt>
                <c:pt idx="1254">
                  <c:v>3.2853312457895099</c:v>
                </c:pt>
                <c:pt idx="1255">
                  <c:v>3.2853312457895099</c:v>
                </c:pt>
                <c:pt idx="1256">
                  <c:v>3.2853312457895099</c:v>
                </c:pt>
                <c:pt idx="1257">
                  <c:v>3.2853312457895099</c:v>
                </c:pt>
                <c:pt idx="1258">
                  <c:v>3.2853312457895099</c:v>
                </c:pt>
                <c:pt idx="1259">
                  <c:v>3.2853312457895099</c:v>
                </c:pt>
                <c:pt idx="1260">
                  <c:v>3.2853312457895099</c:v>
                </c:pt>
                <c:pt idx="1261">
                  <c:v>3.2853312457895099</c:v>
                </c:pt>
                <c:pt idx="1262">
                  <c:v>3.2853312457895099</c:v>
                </c:pt>
                <c:pt idx="1263">
                  <c:v>3.2853312457895099</c:v>
                </c:pt>
                <c:pt idx="1264">
                  <c:v>3.2853312457895099</c:v>
                </c:pt>
                <c:pt idx="1265">
                  <c:v>3.2853312457895099</c:v>
                </c:pt>
                <c:pt idx="1266">
                  <c:v>3.2853312457895099</c:v>
                </c:pt>
                <c:pt idx="1267">
                  <c:v>3.2853312457895099</c:v>
                </c:pt>
                <c:pt idx="1268">
                  <c:v>3.2853312457895099</c:v>
                </c:pt>
                <c:pt idx="1269">
                  <c:v>3.2853312457895099</c:v>
                </c:pt>
                <c:pt idx="1270">
                  <c:v>3.2853312457895099</c:v>
                </c:pt>
                <c:pt idx="1271">
                  <c:v>3.2853312457895099</c:v>
                </c:pt>
                <c:pt idx="1272">
                  <c:v>3.2853312457895099</c:v>
                </c:pt>
                <c:pt idx="1273">
                  <c:v>3.2853312457895099</c:v>
                </c:pt>
                <c:pt idx="1274">
                  <c:v>3.2853312457895099</c:v>
                </c:pt>
                <c:pt idx="1275">
                  <c:v>3.2853312457895099</c:v>
                </c:pt>
                <c:pt idx="1276">
                  <c:v>3.2853312457895099</c:v>
                </c:pt>
                <c:pt idx="1277">
                  <c:v>3.2853312457895099</c:v>
                </c:pt>
                <c:pt idx="1278">
                  <c:v>3.2853312457895099</c:v>
                </c:pt>
                <c:pt idx="1279">
                  <c:v>3.2853312457895099</c:v>
                </c:pt>
                <c:pt idx="1280">
                  <c:v>3.2853312457895099</c:v>
                </c:pt>
                <c:pt idx="1281">
                  <c:v>3.2853312457895099</c:v>
                </c:pt>
                <c:pt idx="1282">
                  <c:v>3.2853312457895099</c:v>
                </c:pt>
                <c:pt idx="1283">
                  <c:v>3.2853312457895099</c:v>
                </c:pt>
                <c:pt idx="1284">
                  <c:v>3.2853312457895099</c:v>
                </c:pt>
                <c:pt idx="1285">
                  <c:v>3.2853312457895099</c:v>
                </c:pt>
                <c:pt idx="1286">
                  <c:v>3.2853312457895099</c:v>
                </c:pt>
                <c:pt idx="1287">
                  <c:v>3.2853312457895099</c:v>
                </c:pt>
                <c:pt idx="1288">
                  <c:v>3.2853312457895099</c:v>
                </c:pt>
                <c:pt idx="1289">
                  <c:v>3.2853312457895099</c:v>
                </c:pt>
                <c:pt idx="1290">
                  <c:v>3.2853312457895099</c:v>
                </c:pt>
                <c:pt idx="1291">
                  <c:v>3.2853312457895099</c:v>
                </c:pt>
                <c:pt idx="1292">
                  <c:v>3.2853312457895099</c:v>
                </c:pt>
                <c:pt idx="1293">
                  <c:v>3.2853312457895099</c:v>
                </c:pt>
                <c:pt idx="1294">
                  <c:v>3.2853312457895099</c:v>
                </c:pt>
                <c:pt idx="1295">
                  <c:v>3.2853312457895099</c:v>
                </c:pt>
                <c:pt idx="1296">
                  <c:v>3.2853312457895099</c:v>
                </c:pt>
                <c:pt idx="1297">
                  <c:v>3.2853312457895099</c:v>
                </c:pt>
                <c:pt idx="1298">
                  <c:v>3.2853312457895099</c:v>
                </c:pt>
                <c:pt idx="1299">
                  <c:v>3.2853312457895099</c:v>
                </c:pt>
                <c:pt idx="1300">
                  <c:v>3.2853312457895099</c:v>
                </c:pt>
                <c:pt idx="1301">
                  <c:v>3.2853312457895099</c:v>
                </c:pt>
                <c:pt idx="1302">
                  <c:v>3.2853312457895099</c:v>
                </c:pt>
                <c:pt idx="1303">
                  <c:v>3.2853312457895099</c:v>
                </c:pt>
                <c:pt idx="1304">
                  <c:v>3.2853312457895099</c:v>
                </c:pt>
                <c:pt idx="1305">
                  <c:v>3.2853312457895099</c:v>
                </c:pt>
                <c:pt idx="1306">
                  <c:v>3.2853312457895099</c:v>
                </c:pt>
                <c:pt idx="1307">
                  <c:v>3.2853312457895099</c:v>
                </c:pt>
                <c:pt idx="1308">
                  <c:v>3.2853312457895099</c:v>
                </c:pt>
                <c:pt idx="1309">
                  <c:v>3.2853312457895099</c:v>
                </c:pt>
                <c:pt idx="1310">
                  <c:v>3.2853312457895099</c:v>
                </c:pt>
                <c:pt idx="1311">
                  <c:v>3.2853312457895099</c:v>
                </c:pt>
                <c:pt idx="1312">
                  <c:v>3.2853312457895099</c:v>
                </c:pt>
                <c:pt idx="1313">
                  <c:v>3.2853312457895099</c:v>
                </c:pt>
                <c:pt idx="1314">
                  <c:v>3.2853312457895099</c:v>
                </c:pt>
                <c:pt idx="1315">
                  <c:v>3.2853312457895099</c:v>
                </c:pt>
                <c:pt idx="1316">
                  <c:v>3.2853312457895099</c:v>
                </c:pt>
                <c:pt idx="1317">
                  <c:v>3.2853312457895099</c:v>
                </c:pt>
                <c:pt idx="1318">
                  <c:v>3.2853312457895099</c:v>
                </c:pt>
                <c:pt idx="1319">
                  <c:v>3.2853312457895099</c:v>
                </c:pt>
                <c:pt idx="1320">
                  <c:v>3.2853312457895099</c:v>
                </c:pt>
                <c:pt idx="1321">
                  <c:v>3.2853312457895099</c:v>
                </c:pt>
                <c:pt idx="1322">
                  <c:v>3.2853312457895099</c:v>
                </c:pt>
                <c:pt idx="1323">
                  <c:v>3.2853312457895099</c:v>
                </c:pt>
                <c:pt idx="1324">
                  <c:v>3.2853312457895099</c:v>
                </c:pt>
                <c:pt idx="1325">
                  <c:v>3.2853312457895099</c:v>
                </c:pt>
                <c:pt idx="1326">
                  <c:v>3.2853312457895099</c:v>
                </c:pt>
                <c:pt idx="1327">
                  <c:v>3.2853312457895099</c:v>
                </c:pt>
                <c:pt idx="1328">
                  <c:v>3.2853312457895099</c:v>
                </c:pt>
                <c:pt idx="1329">
                  <c:v>3.2853312457895099</c:v>
                </c:pt>
                <c:pt idx="1330">
                  <c:v>3.2853312457895099</c:v>
                </c:pt>
                <c:pt idx="1331">
                  <c:v>3.2853312457895099</c:v>
                </c:pt>
                <c:pt idx="1332">
                  <c:v>3.2853312457895099</c:v>
                </c:pt>
                <c:pt idx="1333">
                  <c:v>3.2853312457895099</c:v>
                </c:pt>
                <c:pt idx="1334">
                  <c:v>3.2853312457895099</c:v>
                </c:pt>
                <c:pt idx="1335">
                  <c:v>3.2853312457895099</c:v>
                </c:pt>
                <c:pt idx="1336">
                  <c:v>3.2853312457895099</c:v>
                </c:pt>
                <c:pt idx="1337">
                  <c:v>3.2853312457895099</c:v>
                </c:pt>
                <c:pt idx="1338">
                  <c:v>3.2853312457895099</c:v>
                </c:pt>
                <c:pt idx="1339">
                  <c:v>3.2853312457895099</c:v>
                </c:pt>
                <c:pt idx="1340">
                  <c:v>3.2853312457895099</c:v>
                </c:pt>
                <c:pt idx="1341">
                  <c:v>3.2853312457895099</c:v>
                </c:pt>
                <c:pt idx="1342">
                  <c:v>3.2853312457895099</c:v>
                </c:pt>
                <c:pt idx="1343">
                  <c:v>3.2853312457895099</c:v>
                </c:pt>
                <c:pt idx="1344">
                  <c:v>3.2853312457895099</c:v>
                </c:pt>
                <c:pt idx="1345">
                  <c:v>3.2853312457895099</c:v>
                </c:pt>
                <c:pt idx="1346">
                  <c:v>3.2853312457895099</c:v>
                </c:pt>
                <c:pt idx="1347">
                  <c:v>3.2853312457895099</c:v>
                </c:pt>
                <c:pt idx="1348">
                  <c:v>3.2853312457895099</c:v>
                </c:pt>
                <c:pt idx="1349">
                  <c:v>3.2853312457895099</c:v>
                </c:pt>
                <c:pt idx="1350">
                  <c:v>3.2853312457895099</c:v>
                </c:pt>
                <c:pt idx="1351">
                  <c:v>3.2853312457895099</c:v>
                </c:pt>
                <c:pt idx="1352">
                  <c:v>3.2853312457895099</c:v>
                </c:pt>
                <c:pt idx="1353">
                  <c:v>3.2853312457895099</c:v>
                </c:pt>
                <c:pt idx="1354">
                  <c:v>3.2853312457895099</c:v>
                </c:pt>
                <c:pt idx="1355">
                  <c:v>3.2853312457895099</c:v>
                </c:pt>
                <c:pt idx="1356">
                  <c:v>3.2853312457895099</c:v>
                </c:pt>
                <c:pt idx="1357">
                  <c:v>3.2853312457895099</c:v>
                </c:pt>
                <c:pt idx="1358">
                  <c:v>3.2853312457895099</c:v>
                </c:pt>
                <c:pt idx="1359">
                  <c:v>3.2853312457895099</c:v>
                </c:pt>
                <c:pt idx="1360">
                  <c:v>3.2853312457895099</c:v>
                </c:pt>
                <c:pt idx="1361">
                  <c:v>3.2853312457895099</c:v>
                </c:pt>
                <c:pt idx="1362">
                  <c:v>3.2853312457895099</c:v>
                </c:pt>
                <c:pt idx="1363">
                  <c:v>3.2853312457895099</c:v>
                </c:pt>
                <c:pt idx="1364">
                  <c:v>3.2853312457895099</c:v>
                </c:pt>
                <c:pt idx="1365">
                  <c:v>3.2853312457895099</c:v>
                </c:pt>
                <c:pt idx="1366">
                  <c:v>3.2853312457895099</c:v>
                </c:pt>
                <c:pt idx="1367">
                  <c:v>3.2853312457895099</c:v>
                </c:pt>
                <c:pt idx="1368">
                  <c:v>3.2853312457895099</c:v>
                </c:pt>
                <c:pt idx="1369">
                  <c:v>3.2853312457895099</c:v>
                </c:pt>
                <c:pt idx="1370">
                  <c:v>3.2853312457895099</c:v>
                </c:pt>
                <c:pt idx="1371">
                  <c:v>3.2853312457895099</c:v>
                </c:pt>
                <c:pt idx="1372">
                  <c:v>3.2853312457895099</c:v>
                </c:pt>
                <c:pt idx="1373">
                  <c:v>3.2853312457895099</c:v>
                </c:pt>
                <c:pt idx="1374">
                  <c:v>3.2853312457895099</c:v>
                </c:pt>
                <c:pt idx="1375">
                  <c:v>3.2853312457895099</c:v>
                </c:pt>
                <c:pt idx="1376">
                  <c:v>3.2853312457895099</c:v>
                </c:pt>
                <c:pt idx="1377">
                  <c:v>3.2853312457895099</c:v>
                </c:pt>
                <c:pt idx="1378">
                  <c:v>3.2853312457895099</c:v>
                </c:pt>
                <c:pt idx="1379">
                  <c:v>3.2853312457895099</c:v>
                </c:pt>
                <c:pt idx="1380">
                  <c:v>3.2853312457895099</c:v>
                </c:pt>
                <c:pt idx="1381">
                  <c:v>3.2853312457895099</c:v>
                </c:pt>
                <c:pt idx="1382">
                  <c:v>3.2853312457895099</c:v>
                </c:pt>
                <c:pt idx="1383">
                  <c:v>3.2853312457895099</c:v>
                </c:pt>
                <c:pt idx="1384">
                  <c:v>3.2853312457895099</c:v>
                </c:pt>
                <c:pt idx="1385">
                  <c:v>3.2853312457895099</c:v>
                </c:pt>
                <c:pt idx="1386">
                  <c:v>3.2853312457895099</c:v>
                </c:pt>
                <c:pt idx="1387">
                  <c:v>3.2853312457895099</c:v>
                </c:pt>
                <c:pt idx="1388">
                  <c:v>3.2853312457895099</c:v>
                </c:pt>
                <c:pt idx="1389">
                  <c:v>3.2853312457895099</c:v>
                </c:pt>
                <c:pt idx="1390">
                  <c:v>3.2853312457895099</c:v>
                </c:pt>
                <c:pt idx="1391">
                  <c:v>3.2853312457895099</c:v>
                </c:pt>
                <c:pt idx="1392">
                  <c:v>3.2853312457895099</c:v>
                </c:pt>
                <c:pt idx="1393">
                  <c:v>3.2853312457895099</c:v>
                </c:pt>
                <c:pt idx="1394">
                  <c:v>3.2853312457895099</c:v>
                </c:pt>
                <c:pt idx="1395">
                  <c:v>3.2853312457895099</c:v>
                </c:pt>
                <c:pt idx="1396">
                  <c:v>3.2853312457895099</c:v>
                </c:pt>
                <c:pt idx="1397">
                  <c:v>3.2853312457895099</c:v>
                </c:pt>
                <c:pt idx="1398">
                  <c:v>3.2853312457895099</c:v>
                </c:pt>
                <c:pt idx="1399">
                  <c:v>3.2853312457895099</c:v>
                </c:pt>
                <c:pt idx="1400">
                  <c:v>3.2853312457895099</c:v>
                </c:pt>
                <c:pt idx="1401">
                  <c:v>3.2853312457895099</c:v>
                </c:pt>
                <c:pt idx="1402">
                  <c:v>3.2853312457895099</c:v>
                </c:pt>
                <c:pt idx="1403">
                  <c:v>3.2853312457895099</c:v>
                </c:pt>
                <c:pt idx="1404">
                  <c:v>3.2853312457895099</c:v>
                </c:pt>
                <c:pt idx="1405">
                  <c:v>3.2853312457895099</c:v>
                </c:pt>
                <c:pt idx="1406">
                  <c:v>3.2853312457895099</c:v>
                </c:pt>
                <c:pt idx="1407">
                  <c:v>3.2853312457895099</c:v>
                </c:pt>
                <c:pt idx="1408">
                  <c:v>3.2853312457895099</c:v>
                </c:pt>
                <c:pt idx="1409">
                  <c:v>3.2853312457895099</c:v>
                </c:pt>
                <c:pt idx="1410">
                  <c:v>3.2853312457895099</c:v>
                </c:pt>
                <c:pt idx="1411">
                  <c:v>3.2853312457895099</c:v>
                </c:pt>
                <c:pt idx="1412">
                  <c:v>3.2853312457895099</c:v>
                </c:pt>
                <c:pt idx="1413">
                  <c:v>3.2853312457895099</c:v>
                </c:pt>
                <c:pt idx="1414">
                  <c:v>3.2853312457895099</c:v>
                </c:pt>
                <c:pt idx="1415">
                  <c:v>3.2853312457895099</c:v>
                </c:pt>
                <c:pt idx="1416">
                  <c:v>3.2853312457895099</c:v>
                </c:pt>
                <c:pt idx="1417">
                  <c:v>3.2853312457895099</c:v>
                </c:pt>
                <c:pt idx="1418">
                  <c:v>3.2853312457895099</c:v>
                </c:pt>
                <c:pt idx="1419">
                  <c:v>3.2853312457895099</c:v>
                </c:pt>
                <c:pt idx="1420">
                  <c:v>3.2853312457895099</c:v>
                </c:pt>
                <c:pt idx="1421">
                  <c:v>3.2853312457895099</c:v>
                </c:pt>
                <c:pt idx="1422">
                  <c:v>3.2853312457895099</c:v>
                </c:pt>
                <c:pt idx="1423">
                  <c:v>3.2853312457895099</c:v>
                </c:pt>
                <c:pt idx="1424">
                  <c:v>3.2853312457895099</c:v>
                </c:pt>
                <c:pt idx="1425">
                  <c:v>3.2853312457895099</c:v>
                </c:pt>
                <c:pt idx="1426">
                  <c:v>3.2853312457895099</c:v>
                </c:pt>
                <c:pt idx="1427">
                  <c:v>3.2853312457895099</c:v>
                </c:pt>
                <c:pt idx="1428">
                  <c:v>3.2853312457895099</c:v>
                </c:pt>
                <c:pt idx="1429">
                  <c:v>3.2853312457895099</c:v>
                </c:pt>
                <c:pt idx="1430">
                  <c:v>3.2853312457895099</c:v>
                </c:pt>
                <c:pt idx="1431">
                  <c:v>3.2853312457895099</c:v>
                </c:pt>
                <c:pt idx="1432">
                  <c:v>3.2853312457895099</c:v>
                </c:pt>
                <c:pt idx="1433">
                  <c:v>3.2853312457895099</c:v>
                </c:pt>
                <c:pt idx="1434">
                  <c:v>3.2853312457895099</c:v>
                </c:pt>
                <c:pt idx="1435">
                  <c:v>3.2853312457895099</c:v>
                </c:pt>
                <c:pt idx="1436">
                  <c:v>3.2853312457895099</c:v>
                </c:pt>
                <c:pt idx="1437">
                  <c:v>3.2853312457895099</c:v>
                </c:pt>
                <c:pt idx="1438">
                  <c:v>3.2853312457895099</c:v>
                </c:pt>
                <c:pt idx="1439">
                  <c:v>3.2853312457895099</c:v>
                </c:pt>
                <c:pt idx="1440">
                  <c:v>3.2853312457895099</c:v>
                </c:pt>
                <c:pt idx="1441">
                  <c:v>3.2853312457895099</c:v>
                </c:pt>
                <c:pt idx="1442">
                  <c:v>3.2853312457895099</c:v>
                </c:pt>
                <c:pt idx="1443">
                  <c:v>3.2853312457895099</c:v>
                </c:pt>
                <c:pt idx="1444">
                  <c:v>3.2853312457895099</c:v>
                </c:pt>
                <c:pt idx="1445">
                  <c:v>3.2853312457895099</c:v>
                </c:pt>
                <c:pt idx="1446">
                  <c:v>3.2853312457895099</c:v>
                </c:pt>
                <c:pt idx="1447">
                  <c:v>3.2853312457895099</c:v>
                </c:pt>
                <c:pt idx="1448">
                  <c:v>3.2853312457895099</c:v>
                </c:pt>
                <c:pt idx="1449">
                  <c:v>3.2853312457895099</c:v>
                </c:pt>
                <c:pt idx="1450">
                  <c:v>3.2853312457895099</c:v>
                </c:pt>
                <c:pt idx="1451">
                  <c:v>3.2853312457895099</c:v>
                </c:pt>
                <c:pt idx="1452">
                  <c:v>3.2853312457895099</c:v>
                </c:pt>
                <c:pt idx="1453">
                  <c:v>3.2853312457895099</c:v>
                </c:pt>
                <c:pt idx="1454">
                  <c:v>3.2853312457895099</c:v>
                </c:pt>
                <c:pt idx="1455">
                  <c:v>3.2853312457895099</c:v>
                </c:pt>
                <c:pt idx="1456">
                  <c:v>3.2853312457895099</c:v>
                </c:pt>
                <c:pt idx="1457">
                  <c:v>3.2853312457895099</c:v>
                </c:pt>
                <c:pt idx="1458">
                  <c:v>3.2853312457895099</c:v>
                </c:pt>
                <c:pt idx="1459">
                  <c:v>3.2853312457895099</c:v>
                </c:pt>
                <c:pt idx="1460">
                  <c:v>3.2853312457895099</c:v>
                </c:pt>
                <c:pt idx="1461">
                  <c:v>3.2853312457895099</c:v>
                </c:pt>
                <c:pt idx="1462">
                  <c:v>3.2853312457895099</c:v>
                </c:pt>
                <c:pt idx="1463">
                  <c:v>3.2853312457895099</c:v>
                </c:pt>
                <c:pt idx="1464">
                  <c:v>3.2853312457895099</c:v>
                </c:pt>
                <c:pt idx="1465">
                  <c:v>3.2853312457895099</c:v>
                </c:pt>
                <c:pt idx="1466">
                  <c:v>3.2853312457895099</c:v>
                </c:pt>
                <c:pt idx="1467">
                  <c:v>3.2853312457895099</c:v>
                </c:pt>
                <c:pt idx="1468">
                  <c:v>3.2853312457895099</c:v>
                </c:pt>
                <c:pt idx="1469">
                  <c:v>3.2853312457895099</c:v>
                </c:pt>
                <c:pt idx="1470">
                  <c:v>3.2853312457895099</c:v>
                </c:pt>
                <c:pt idx="1471">
                  <c:v>3.2853312457895099</c:v>
                </c:pt>
                <c:pt idx="1472">
                  <c:v>3.2853312457895099</c:v>
                </c:pt>
                <c:pt idx="1473">
                  <c:v>3.2853312457895099</c:v>
                </c:pt>
                <c:pt idx="1474">
                  <c:v>3.2853312457895099</c:v>
                </c:pt>
                <c:pt idx="1475">
                  <c:v>3.2853312457895099</c:v>
                </c:pt>
                <c:pt idx="1476">
                  <c:v>3.2853312457895099</c:v>
                </c:pt>
                <c:pt idx="1477">
                  <c:v>3.2853312457895099</c:v>
                </c:pt>
                <c:pt idx="1478">
                  <c:v>3.2853312457895099</c:v>
                </c:pt>
                <c:pt idx="1479">
                  <c:v>3.2853312457895099</c:v>
                </c:pt>
                <c:pt idx="1480">
                  <c:v>3.2853312457895099</c:v>
                </c:pt>
                <c:pt idx="1481">
                  <c:v>3.2853312457895099</c:v>
                </c:pt>
                <c:pt idx="1482">
                  <c:v>3.2853312457895099</c:v>
                </c:pt>
                <c:pt idx="1483">
                  <c:v>3.2853312457895099</c:v>
                </c:pt>
                <c:pt idx="1484">
                  <c:v>3.2853312457895099</c:v>
                </c:pt>
                <c:pt idx="1485">
                  <c:v>3.2853312457895099</c:v>
                </c:pt>
                <c:pt idx="1486">
                  <c:v>3.2853312457895099</c:v>
                </c:pt>
                <c:pt idx="1487">
                  <c:v>3.2853312457895099</c:v>
                </c:pt>
                <c:pt idx="1488">
                  <c:v>3.2853312457895099</c:v>
                </c:pt>
                <c:pt idx="1489">
                  <c:v>3.2853312457895099</c:v>
                </c:pt>
                <c:pt idx="1490">
                  <c:v>3.2853312457895099</c:v>
                </c:pt>
                <c:pt idx="1491">
                  <c:v>3.2853312457895099</c:v>
                </c:pt>
                <c:pt idx="1492">
                  <c:v>3.2853312457895099</c:v>
                </c:pt>
                <c:pt idx="1493">
                  <c:v>3.2853312457895099</c:v>
                </c:pt>
                <c:pt idx="1494">
                  <c:v>3.2853312457895099</c:v>
                </c:pt>
                <c:pt idx="1495">
                  <c:v>3.2853312457895099</c:v>
                </c:pt>
                <c:pt idx="1496">
                  <c:v>3.2853312457895099</c:v>
                </c:pt>
                <c:pt idx="1497">
                  <c:v>3.2853312457895099</c:v>
                </c:pt>
                <c:pt idx="1498">
                  <c:v>3.2853312457895099</c:v>
                </c:pt>
                <c:pt idx="1499">
                  <c:v>3.2853312457895099</c:v>
                </c:pt>
                <c:pt idx="1500">
                  <c:v>3.2853312457895099</c:v>
                </c:pt>
                <c:pt idx="1501">
                  <c:v>3.2853312457895099</c:v>
                </c:pt>
                <c:pt idx="1502">
                  <c:v>3.2853312457895099</c:v>
                </c:pt>
                <c:pt idx="1503">
                  <c:v>3.2853312457895099</c:v>
                </c:pt>
                <c:pt idx="1504">
                  <c:v>3.2853312457895099</c:v>
                </c:pt>
                <c:pt idx="1505">
                  <c:v>3.2853312457895099</c:v>
                </c:pt>
                <c:pt idx="1506">
                  <c:v>3.2853312457895099</c:v>
                </c:pt>
                <c:pt idx="1507">
                  <c:v>3.2853312457895099</c:v>
                </c:pt>
                <c:pt idx="1508">
                  <c:v>3.2853312457895099</c:v>
                </c:pt>
                <c:pt idx="1509">
                  <c:v>3.2853312457895099</c:v>
                </c:pt>
                <c:pt idx="1510">
                  <c:v>3.2853312457895099</c:v>
                </c:pt>
                <c:pt idx="1511">
                  <c:v>3.2853312457895099</c:v>
                </c:pt>
                <c:pt idx="1512">
                  <c:v>3.2853312457895099</c:v>
                </c:pt>
                <c:pt idx="1513">
                  <c:v>3.2853312457895099</c:v>
                </c:pt>
                <c:pt idx="1514">
                  <c:v>3.2853312457895099</c:v>
                </c:pt>
                <c:pt idx="1515">
                  <c:v>3.2853312457895099</c:v>
                </c:pt>
                <c:pt idx="1516">
                  <c:v>3.2853312457895099</c:v>
                </c:pt>
                <c:pt idx="1517">
                  <c:v>3.2853312457895099</c:v>
                </c:pt>
                <c:pt idx="1518">
                  <c:v>3.2853312457895099</c:v>
                </c:pt>
                <c:pt idx="1519">
                  <c:v>3.2853312457895099</c:v>
                </c:pt>
                <c:pt idx="1520">
                  <c:v>3.2853312457895099</c:v>
                </c:pt>
                <c:pt idx="1521">
                  <c:v>3.2853312457895099</c:v>
                </c:pt>
                <c:pt idx="1522">
                  <c:v>3.2853312457895099</c:v>
                </c:pt>
                <c:pt idx="1523">
                  <c:v>3.2853312457895099</c:v>
                </c:pt>
                <c:pt idx="1524">
                  <c:v>3.2853312457895099</c:v>
                </c:pt>
                <c:pt idx="1525">
                  <c:v>3.2853312457895099</c:v>
                </c:pt>
                <c:pt idx="1526">
                  <c:v>3.2853312457895099</c:v>
                </c:pt>
                <c:pt idx="1527">
                  <c:v>3.2853312457895099</c:v>
                </c:pt>
                <c:pt idx="1528">
                  <c:v>3.2853312457895099</c:v>
                </c:pt>
                <c:pt idx="1529">
                  <c:v>3.2853312457895099</c:v>
                </c:pt>
                <c:pt idx="1530">
                  <c:v>3.2853312457895099</c:v>
                </c:pt>
                <c:pt idx="1531">
                  <c:v>3.2853312457895099</c:v>
                </c:pt>
                <c:pt idx="1532">
                  <c:v>3.2853312457895099</c:v>
                </c:pt>
                <c:pt idx="1533">
                  <c:v>3.2853312457895099</c:v>
                </c:pt>
                <c:pt idx="1534">
                  <c:v>3.2853312457895099</c:v>
                </c:pt>
                <c:pt idx="1535">
                  <c:v>3.2853312457895099</c:v>
                </c:pt>
                <c:pt idx="1536">
                  <c:v>3.2853312457895099</c:v>
                </c:pt>
                <c:pt idx="1537">
                  <c:v>3.2853312457895099</c:v>
                </c:pt>
                <c:pt idx="1538">
                  <c:v>3.2853312457895099</c:v>
                </c:pt>
                <c:pt idx="1539">
                  <c:v>3.2853312457895099</c:v>
                </c:pt>
                <c:pt idx="1540">
                  <c:v>3.2853312457895099</c:v>
                </c:pt>
                <c:pt idx="1541">
                  <c:v>3.2853312457895099</c:v>
                </c:pt>
                <c:pt idx="1542">
                  <c:v>3.2853312457895099</c:v>
                </c:pt>
                <c:pt idx="1543">
                  <c:v>3.2853312457895099</c:v>
                </c:pt>
                <c:pt idx="1544">
                  <c:v>3.2853312457895099</c:v>
                </c:pt>
                <c:pt idx="1545">
                  <c:v>3.2853312457895099</c:v>
                </c:pt>
                <c:pt idx="1546">
                  <c:v>3.2853312457895099</c:v>
                </c:pt>
                <c:pt idx="1547">
                  <c:v>3.2853312457895099</c:v>
                </c:pt>
                <c:pt idx="1548">
                  <c:v>3.2853312457895099</c:v>
                </c:pt>
                <c:pt idx="1549">
                  <c:v>3.2853312457895099</c:v>
                </c:pt>
                <c:pt idx="1550">
                  <c:v>3.2853312457895099</c:v>
                </c:pt>
                <c:pt idx="1551">
                  <c:v>3.2853312457895099</c:v>
                </c:pt>
                <c:pt idx="1552">
                  <c:v>3.2853312457895099</c:v>
                </c:pt>
                <c:pt idx="1553">
                  <c:v>3.2853312457895099</c:v>
                </c:pt>
                <c:pt idx="1554">
                  <c:v>3.2853312457895099</c:v>
                </c:pt>
                <c:pt idx="1555">
                  <c:v>3.2853312457895099</c:v>
                </c:pt>
                <c:pt idx="1556">
                  <c:v>3.2853312457895099</c:v>
                </c:pt>
                <c:pt idx="1557">
                  <c:v>3.2853312457895099</c:v>
                </c:pt>
                <c:pt idx="1558">
                  <c:v>3.2853312457895099</c:v>
                </c:pt>
                <c:pt idx="1559">
                  <c:v>3.2853312457895099</c:v>
                </c:pt>
                <c:pt idx="1560">
                  <c:v>3.2853312457895099</c:v>
                </c:pt>
                <c:pt idx="1561">
                  <c:v>3.2853312457895099</c:v>
                </c:pt>
                <c:pt idx="1562">
                  <c:v>3.2853312457895099</c:v>
                </c:pt>
                <c:pt idx="1563">
                  <c:v>3.2853312457895099</c:v>
                </c:pt>
                <c:pt idx="1564">
                  <c:v>3.2853312457895099</c:v>
                </c:pt>
                <c:pt idx="1565">
                  <c:v>3.2853312457895099</c:v>
                </c:pt>
                <c:pt idx="1566">
                  <c:v>3.2853312457895099</c:v>
                </c:pt>
                <c:pt idx="1567">
                  <c:v>3.2853312457895099</c:v>
                </c:pt>
                <c:pt idx="1568">
                  <c:v>3.2853312457895099</c:v>
                </c:pt>
                <c:pt idx="1569">
                  <c:v>3.2853312457895099</c:v>
                </c:pt>
                <c:pt idx="1570">
                  <c:v>3.2853312457895099</c:v>
                </c:pt>
                <c:pt idx="1571">
                  <c:v>3.2853312457895099</c:v>
                </c:pt>
                <c:pt idx="1572">
                  <c:v>3.2853312457895099</c:v>
                </c:pt>
                <c:pt idx="1573">
                  <c:v>3.2853312457895099</c:v>
                </c:pt>
                <c:pt idx="1574">
                  <c:v>3.2853312457895099</c:v>
                </c:pt>
                <c:pt idx="1575">
                  <c:v>3.2853312457895099</c:v>
                </c:pt>
                <c:pt idx="1576">
                  <c:v>3.2853312457895099</c:v>
                </c:pt>
                <c:pt idx="1577">
                  <c:v>3.2853312457895099</c:v>
                </c:pt>
                <c:pt idx="1578">
                  <c:v>3.2853312457895099</c:v>
                </c:pt>
                <c:pt idx="1579">
                  <c:v>3.2853312457895099</c:v>
                </c:pt>
                <c:pt idx="1580">
                  <c:v>3.2853312457895099</c:v>
                </c:pt>
                <c:pt idx="1581">
                  <c:v>3.2853312457895099</c:v>
                </c:pt>
                <c:pt idx="1582">
                  <c:v>3.2853312457895099</c:v>
                </c:pt>
                <c:pt idx="1583">
                  <c:v>3.2853312457895099</c:v>
                </c:pt>
                <c:pt idx="1584">
                  <c:v>3.2853312457895099</c:v>
                </c:pt>
                <c:pt idx="1585">
                  <c:v>3.2853312457895099</c:v>
                </c:pt>
                <c:pt idx="1586">
                  <c:v>3.2853312457895099</c:v>
                </c:pt>
                <c:pt idx="1587">
                  <c:v>3.2853312457895099</c:v>
                </c:pt>
                <c:pt idx="1588">
                  <c:v>3.2853312457895099</c:v>
                </c:pt>
                <c:pt idx="1589">
                  <c:v>3.2853312457895099</c:v>
                </c:pt>
                <c:pt idx="1590">
                  <c:v>3.2853312457895099</c:v>
                </c:pt>
                <c:pt idx="1591">
                  <c:v>3.2853312457895099</c:v>
                </c:pt>
                <c:pt idx="1592">
                  <c:v>3.2853312457895099</c:v>
                </c:pt>
                <c:pt idx="1593">
                  <c:v>3.2853312457895099</c:v>
                </c:pt>
                <c:pt idx="1594">
                  <c:v>3.2853312457895099</c:v>
                </c:pt>
                <c:pt idx="1595">
                  <c:v>3.2853312457895099</c:v>
                </c:pt>
                <c:pt idx="1596">
                  <c:v>3.2853312457895099</c:v>
                </c:pt>
                <c:pt idx="1597">
                  <c:v>3.2853312457895099</c:v>
                </c:pt>
                <c:pt idx="1598">
                  <c:v>3.2853312457895099</c:v>
                </c:pt>
                <c:pt idx="1599">
                  <c:v>3.2853312457895099</c:v>
                </c:pt>
                <c:pt idx="1600">
                  <c:v>3.2853312457895099</c:v>
                </c:pt>
                <c:pt idx="1601">
                  <c:v>3.2853312457895099</c:v>
                </c:pt>
                <c:pt idx="1602">
                  <c:v>3.2853312457895099</c:v>
                </c:pt>
                <c:pt idx="1603">
                  <c:v>3.2853312457895099</c:v>
                </c:pt>
                <c:pt idx="1604">
                  <c:v>3.2853312457895099</c:v>
                </c:pt>
                <c:pt idx="1605">
                  <c:v>3.2853312457895099</c:v>
                </c:pt>
                <c:pt idx="1606">
                  <c:v>3.2853312457895099</c:v>
                </c:pt>
                <c:pt idx="1607">
                  <c:v>3.2853312457895099</c:v>
                </c:pt>
                <c:pt idx="1608">
                  <c:v>3.2853312457895099</c:v>
                </c:pt>
                <c:pt idx="1609">
                  <c:v>3.2853312457895099</c:v>
                </c:pt>
                <c:pt idx="1610">
                  <c:v>3.2853312457895099</c:v>
                </c:pt>
                <c:pt idx="1611">
                  <c:v>3.2853312457895099</c:v>
                </c:pt>
                <c:pt idx="1612">
                  <c:v>3.2853312457895099</c:v>
                </c:pt>
                <c:pt idx="1613">
                  <c:v>3.2853312457895099</c:v>
                </c:pt>
                <c:pt idx="1614">
                  <c:v>3.2853312457895099</c:v>
                </c:pt>
                <c:pt idx="1615">
                  <c:v>3.2853312457895099</c:v>
                </c:pt>
                <c:pt idx="1616">
                  <c:v>3.2853312457895099</c:v>
                </c:pt>
                <c:pt idx="1617">
                  <c:v>3.2853312457895099</c:v>
                </c:pt>
                <c:pt idx="1618">
                  <c:v>3.2853312457895099</c:v>
                </c:pt>
                <c:pt idx="1619">
                  <c:v>3.2853312457895099</c:v>
                </c:pt>
                <c:pt idx="1620">
                  <c:v>3.2853312457895099</c:v>
                </c:pt>
                <c:pt idx="1621">
                  <c:v>3.2853312457895099</c:v>
                </c:pt>
                <c:pt idx="1622">
                  <c:v>3.2853312457895099</c:v>
                </c:pt>
                <c:pt idx="1623">
                  <c:v>3.2853312457895099</c:v>
                </c:pt>
                <c:pt idx="1624">
                  <c:v>3.2853312457895099</c:v>
                </c:pt>
                <c:pt idx="1625">
                  <c:v>3.2853312457895099</c:v>
                </c:pt>
                <c:pt idx="1626">
                  <c:v>3.2853312457895099</c:v>
                </c:pt>
                <c:pt idx="1627">
                  <c:v>3.2853312457895099</c:v>
                </c:pt>
                <c:pt idx="1628">
                  <c:v>3.2853312457895099</c:v>
                </c:pt>
                <c:pt idx="1629">
                  <c:v>3.2853312457895099</c:v>
                </c:pt>
                <c:pt idx="1630">
                  <c:v>3.2853312457895099</c:v>
                </c:pt>
                <c:pt idx="1631">
                  <c:v>3.2853312457895099</c:v>
                </c:pt>
                <c:pt idx="1632">
                  <c:v>3.2853312457895099</c:v>
                </c:pt>
                <c:pt idx="1633">
                  <c:v>3.2853312457895099</c:v>
                </c:pt>
                <c:pt idx="1634">
                  <c:v>3.2853312457895099</c:v>
                </c:pt>
                <c:pt idx="1635">
                  <c:v>3.2853312457895099</c:v>
                </c:pt>
                <c:pt idx="1636">
                  <c:v>3.2853312457895099</c:v>
                </c:pt>
                <c:pt idx="1637">
                  <c:v>3.2853312457895099</c:v>
                </c:pt>
                <c:pt idx="1638">
                  <c:v>3.2853312457895099</c:v>
                </c:pt>
                <c:pt idx="1639">
                  <c:v>3.2853312457895099</c:v>
                </c:pt>
                <c:pt idx="1640">
                  <c:v>3.2853312457895099</c:v>
                </c:pt>
                <c:pt idx="1641">
                  <c:v>3.2853312457895099</c:v>
                </c:pt>
                <c:pt idx="1642">
                  <c:v>3.2853312457895099</c:v>
                </c:pt>
                <c:pt idx="1643">
                  <c:v>3.2853312457895099</c:v>
                </c:pt>
                <c:pt idx="1644">
                  <c:v>3.2853312457895099</c:v>
                </c:pt>
                <c:pt idx="1645">
                  <c:v>3.2853312457895099</c:v>
                </c:pt>
                <c:pt idx="1646">
                  <c:v>3.2853312457895099</c:v>
                </c:pt>
                <c:pt idx="1647">
                  <c:v>3.2853312457895099</c:v>
                </c:pt>
                <c:pt idx="1648">
                  <c:v>3.2853312457895099</c:v>
                </c:pt>
                <c:pt idx="1649">
                  <c:v>3.2853312457895099</c:v>
                </c:pt>
                <c:pt idx="1650">
                  <c:v>3.2853312457895099</c:v>
                </c:pt>
                <c:pt idx="1651">
                  <c:v>3.2853312457895099</c:v>
                </c:pt>
                <c:pt idx="1652">
                  <c:v>3.2853312457895099</c:v>
                </c:pt>
                <c:pt idx="1653">
                  <c:v>3.2853312457895099</c:v>
                </c:pt>
                <c:pt idx="1654">
                  <c:v>3.2853312457895099</c:v>
                </c:pt>
                <c:pt idx="1655">
                  <c:v>3.2853312457895099</c:v>
                </c:pt>
                <c:pt idx="1656">
                  <c:v>3.2853312457895099</c:v>
                </c:pt>
                <c:pt idx="1657">
                  <c:v>3.2853312457895099</c:v>
                </c:pt>
                <c:pt idx="1658">
                  <c:v>3.2853312457895099</c:v>
                </c:pt>
                <c:pt idx="1659">
                  <c:v>3.2853312457895099</c:v>
                </c:pt>
                <c:pt idx="1660">
                  <c:v>3.2853312457895099</c:v>
                </c:pt>
                <c:pt idx="1661">
                  <c:v>3.2853312457895099</c:v>
                </c:pt>
                <c:pt idx="1662">
                  <c:v>3.2853312457895099</c:v>
                </c:pt>
                <c:pt idx="1663">
                  <c:v>3.2853312457895099</c:v>
                </c:pt>
                <c:pt idx="1664">
                  <c:v>3.2853312457895099</c:v>
                </c:pt>
                <c:pt idx="1665">
                  <c:v>3.2853312457895099</c:v>
                </c:pt>
                <c:pt idx="1666">
                  <c:v>3.2853312457895099</c:v>
                </c:pt>
                <c:pt idx="1667">
                  <c:v>3.2853312457895099</c:v>
                </c:pt>
                <c:pt idx="1668">
                  <c:v>3.2853312457895099</c:v>
                </c:pt>
                <c:pt idx="1669">
                  <c:v>3.2853312457895099</c:v>
                </c:pt>
                <c:pt idx="1670">
                  <c:v>3.2853312457895099</c:v>
                </c:pt>
                <c:pt idx="1671">
                  <c:v>3.2853312457895099</c:v>
                </c:pt>
                <c:pt idx="1672">
                  <c:v>3.2853312457895099</c:v>
                </c:pt>
                <c:pt idx="1673">
                  <c:v>3.2853312457895099</c:v>
                </c:pt>
                <c:pt idx="1674">
                  <c:v>3.2853312457895099</c:v>
                </c:pt>
                <c:pt idx="1675">
                  <c:v>3.2853312457895099</c:v>
                </c:pt>
                <c:pt idx="1676">
                  <c:v>3.2853312457895099</c:v>
                </c:pt>
                <c:pt idx="1677">
                  <c:v>3.2853312457895099</c:v>
                </c:pt>
                <c:pt idx="1678">
                  <c:v>3.2853312457895099</c:v>
                </c:pt>
                <c:pt idx="1679">
                  <c:v>3.2853312457895099</c:v>
                </c:pt>
                <c:pt idx="1680">
                  <c:v>3.2853312457895099</c:v>
                </c:pt>
                <c:pt idx="1681">
                  <c:v>3.2853312457895099</c:v>
                </c:pt>
                <c:pt idx="1682">
                  <c:v>3.2853312457895099</c:v>
                </c:pt>
                <c:pt idx="1683">
                  <c:v>3.2853312457895099</c:v>
                </c:pt>
                <c:pt idx="1684">
                  <c:v>3.2853312457895099</c:v>
                </c:pt>
                <c:pt idx="1685">
                  <c:v>3.2853312457895099</c:v>
                </c:pt>
                <c:pt idx="1686">
                  <c:v>3.2853312457895099</c:v>
                </c:pt>
                <c:pt idx="1687">
                  <c:v>3.2853312457895099</c:v>
                </c:pt>
                <c:pt idx="1688">
                  <c:v>3.2853312457895099</c:v>
                </c:pt>
                <c:pt idx="1689">
                  <c:v>3.2853312457895099</c:v>
                </c:pt>
                <c:pt idx="1690">
                  <c:v>3.2853312457895099</c:v>
                </c:pt>
                <c:pt idx="1691">
                  <c:v>3.2853312457895099</c:v>
                </c:pt>
                <c:pt idx="1692">
                  <c:v>3.2853312457895099</c:v>
                </c:pt>
                <c:pt idx="1693">
                  <c:v>3.2853312457895099</c:v>
                </c:pt>
                <c:pt idx="1694">
                  <c:v>3.2853312457895099</c:v>
                </c:pt>
                <c:pt idx="1695">
                  <c:v>3.2853312457895099</c:v>
                </c:pt>
                <c:pt idx="1696">
                  <c:v>3.2853312457895099</c:v>
                </c:pt>
                <c:pt idx="1697">
                  <c:v>3.2853312457895099</c:v>
                </c:pt>
                <c:pt idx="1698">
                  <c:v>3.2853312457895099</c:v>
                </c:pt>
                <c:pt idx="1699">
                  <c:v>3.2853312457895099</c:v>
                </c:pt>
                <c:pt idx="1700">
                  <c:v>3.2853312457895099</c:v>
                </c:pt>
                <c:pt idx="1701">
                  <c:v>3.2853312457895099</c:v>
                </c:pt>
                <c:pt idx="1702">
                  <c:v>3.2853312457895099</c:v>
                </c:pt>
                <c:pt idx="1703">
                  <c:v>3.2853312457895099</c:v>
                </c:pt>
                <c:pt idx="1704">
                  <c:v>3.2853312457895099</c:v>
                </c:pt>
                <c:pt idx="1705">
                  <c:v>3.2853312457895099</c:v>
                </c:pt>
                <c:pt idx="1706">
                  <c:v>3.2853312457895099</c:v>
                </c:pt>
                <c:pt idx="1707">
                  <c:v>3.2853312457895099</c:v>
                </c:pt>
                <c:pt idx="1708">
                  <c:v>3.2853312457895099</c:v>
                </c:pt>
                <c:pt idx="1709">
                  <c:v>3.2853312457895099</c:v>
                </c:pt>
                <c:pt idx="1710">
                  <c:v>3.2853312457895099</c:v>
                </c:pt>
                <c:pt idx="1711">
                  <c:v>3.2853312457895099</c:v>
                </c:pt>
                <c:pt idx="1712">
                  <c:v>3.2853312457895099</c:v>
                </c:pt>
                <c:pt idx="1713">
                  <c:v>3.2853312457895099</c:v>
                </c:pt>
                <c:pt idx="1714">
                  <c:v>3.2853312457895099</c:v>
                </c:pt>
                <c:pt idx="1715">
                  <c:v>3.2853312457895099</c:v>
                </c:pt>
                <c:pt idx="1716">
                  <c:v>3.2853312457895099</c:v>
                </c:pt>
                <c:pt idx="1717">
                  <c:v>3.2853312457895099</c:v>
                </c:pt>
                <c:pt idx="1718">
                  <c:v>3.2853312457895099</c:v>
                </c:pt>
                <c:pt idx="1719">
                  <c:v>3.2853312457895099</c:v>
                </c:pt>
                <c:pt idx="1720">
                  <c:v>3.2853312457895099</c:v>
                </c:pt>
                <c:pt idx="1721">
                  <c:v>3.2853312457895099</c:v>
                </c:pt>
                <c:pt idx="1722">
                  <c:v>3.2853312457895099</c:v>
                </c:pt>
                <c:pt idx="1723">
                  <c:v>3.2853312457895099</c:v>
                </c:pt>
                <c:pt idx="1724">
                  <c:v>3.2853312457895099</c:v>
                </c:pt>
                <c:pt idx="1725">
                  <c:v>3.2853312457895099</c:v>
                </c:pt>
                <c:pt idx="1726">
                  <c:v>3.2853312457895099</c:v>
                </c:pt>
                <c:pt idx="1727">
                  <c:v>3.2853312457895099</c:v>
                </c:pt>
                <c:pt idx="1728">
                  <c:v>3.2853312457895099</c:v>
                </c:pt>
                <c:pt idx="1729">
                  <c:v>3.2853312457895099</c:v>
                </c:pt>
                <c:pt idx="1730">
                  <c:v>3.2853312457895099</c:v>
                </c:pt>
                <c:pt idx="1731">
                  <c:v>3.2853312457895099</c:v>
                </c:pt>
                <c:pt idx="1732">
                  <c:v>3.2853312457895099</c:v>
                </c:pt>
                <c:pt idx="1733">
                  <c:v>3.2853312457895099</c:v>
                </c:pt>
                <c:pt idx="1734">
                  <c:v>3.2853312457895099</c:v>
                </c:pt>
                <c:pt idx="1735">
                  <c:v>3.2853312457895099</c:v>
                </c:pt>
                <c:pt idx="1736">
                  <c:v>3.2853312457895099</c:v>
                </c:pt>
                <c:pt idx="1737">
                  <c:v>3.2853312457895099</c:v>
                </c:pt>
                <c:pt idx="1738">
                  <c:v>3.2853312457895099</c:v>
                </c:pt>
                <c:pt idx="1739">
                  <c:v>3.2853312457895099</c:v>
                </c:pt>
                <c:pt idx="1740">
                  <c:v>3.2853312457895099</c:v>
                </c:pt>
                <c:pt idx="1741">
                  <c:v>3.2853312457895099</c:v>
                </c:pt>
                <c:pt idx="1742">
                  <c:v>3.2853312457895099</c:v>
                </c:pt>
                <c:pt idx="1743">
                  <c:v>3.2853312457895099</c:v>
                </c:pt>
                <c:pt idx="1744">
                  <c:v>3.2853312457895099</c:v>
                </c:pt>
                <c:pt idx="1745">
                  <c:v>3.2853312457895099</c:v>
                </c:pt>
                <c:pt idx="1746">
                  <c:v>3.2853312457895099</c:v>
                </c:pt>
                <c:pt idx="1747">
                  <c:v>3.2853312457895099</c:v>
                </c:pt>
                <c:pt idx="1748">
                  <c:v>3.2853312457895099</c:v>
                </c:pt>
                <c:pt idx="1749">
                  <c:v>3.2853312457895099</c:v>
                </c:pt>
                <c:pt idx="1750">
                  <c:v>3.2853312457895099</c:v>
                </c:pt>
                <c:pt idx="1751">
                  <c:v>3.2853312457895099</c:v>
                </c:pt>
                <c:pt idx="1752">
                  <c:v>3.2853312457895099</c:v>
                </c:pt>
                <c:pt idx="1753">
                  <c:v>3.2853312457895099</c:v>
                </c:pt>
                <c:pt idx="1754">
                  <c:v>3.2853312457895099</c:v>
                </c:pt>
                <c:pt idx="1755">
                  <c:v>3.2853312457895099</c:v>
                </c:pt>
                <c:pt idx="1756">
                  <c:v>3.2853312457895099</c:v>
                </c:pt>
                <c:pt idx="1757">
                  <c:v>3.2853312457895099</c:v>
                </c:pt>
                <c:pt idx="1758">
                  <c:v>3.2853312457895099</c:v>
                </c:pt>
                <c:pt idx="1759">
                  <c:v>3.2853312457895099</c:v>
                </c:pt>
                <c:pt idx="1760">
                  <c:v>3.2853312457895099</c:v>
                </c:pt>
                <c:pt idx="1761">
                  <c:v>3.2853312457895099</c:v>
                </c:pt>
                <c:pt idx="1762">
                  <c:v>3.2853312457895099</c:v>
                </c:pt>
                <c:pt idx="1763">
                  <c:v>3.2853312457895099</c:v>
                </c:pt>
                <c:pt idx="1764">
                  <c:v>3.2853312457895099</c:v>
                </c:pt>
                <c:pt idx="1765">
                  <c:v>3.2853312457895099</c:v>
                </c:pt>
                <c:pt idx="1766">
                  <c:v>3.2853312457895099</c:v>
                </c:pt>
                <c:pt idx="1767">
                  <c:v>3.2853312457895099</c:v>
                </c:pt>
                <c:pt idx="1768">
                  <c:v>3.2853312457895099</c:v>
                </c:pt>
                <c:pt idx="1769">
                  <c:v>3.2853312457895099</c:v>
                </c:pt>
                <c:pt idx="1770">
                  <c:v>3.2853312457895099</c:v>
                </c:pt>
                <c:pt idx="1771">
                  <c:v>3.2853312457895099</c:v>
                </c:pt>
                <c:pt idx="1772">
                  <c:v>3.2853312457895099</c:v>
                </c:pt>
                <c:pt idx="1773">
                  <c:v>3.2853312457895099</c:v>
                </c:pt>
                <c:pt idx="1774">
                  <c:v>3.2853312457895099</c:v>
                </c:pt>
                <c:pt idx="1775">
                  <c:v>3.2853312457895099</c:v>
                </c:pt>
                <c:pt idx="1776">
                  <c:v>3.2853312457895099</c:v>
                </c:pt>
                <c:pt idx="1777">
                  <c:v>3.2853312457895099</c:v>
                </c:pt>
                <c:pt idx="1778">
                  <c:v>3.2853312457895099</c:v>
                </c:pt>
                <c:pt idx="1779">
                  <c:v>3.2853312457895099</c:v>
                </c:pt>
                <c:pt idx="1780">
                  <c:v>3.2853312457895099</c:v>
                </c:pt>
                <c:pt idx="1781">
                  <c:v>3.2853312457895099</c:v>
                </c:pt>
                <c:pt idx="1782">
                  <c:v>3.2853312457895099</c:v>
                </c:pt>
                <c:pt idx="1783">
                  <c:v>3.2853312457895099</c:v>
                </c:pt>
                <c:pt idx="1784">
                  <c:v>3.2853312457895099</c:v>
                </c:pt>
                <c:pt idx="1785">
                  <c:v>3.2853312457895099</c:v>
                </c:pt>
                <c:pt idx="1786">
                  <c:v>3.2853312457895099</c:v>
                </c:pt>
                <c:pt idx="1787">
                  <c:v>3.2853312457895099</c:v>
                </c:pt>
                <c:pt idx="1788">
                  <c:v>3.2853312457895099</c:v>
                </c:pt>
                <c:pt idx="1789">
                  <c:v>3.2853312457895099</c:v>
                </c:pt>
                <c:pt idx="1790">
                  <c:v>3.2853312457895099</c:v>
                </c:pt>
                <c:pt idx="1791">
                  <c:v>3.2853312457895099</c:v>
                </c:pt>
                <c:pt idx="1792">
                  <c:v>3.2853312457895099</c:v>
                </c:pt>
                <c:pt idx="1793">
                  <c:v>3.2853312457895099</c:v>
                </c:pt>
                <c:pt idx="1794">
                  <c:v>3.2853312457895099</c:v>
                </c:pt>
                <c:pt idx="1795">
                  <c:v>3.2853312457895099</c:v>
                </c:pt>
                <c:pt idx="1796">
                  <c:v>3.2853312457895099</c:v>
                </c:pt>
                <c:pt idx="1797">
                  <c:v>3.2853312457895099</c:v>
                </c:pt>
                <c:pt idx="1798">
                  <c:v>3.2853312457895099</c:v>
                </c:pt>
                <c:pt idx="1799">
                  <c:v>3.2853312457895099</c:v>
                </c:pt>
                <c:pt idx="1800">
                  <c:v>3.2853312457895099</c:v>
                </c:pt>
                <c:pt idx="1801">
                  <c:v>3.2853312457895099</c:v>
                </c:pt>
                <c:pt idx="1802">
                  <c:v>3.2853312457895099</c:v>
                </c:pt>
                <c:pt idx="1803">
                  <c:v>3.2853312457895099</c:v>
                </c:pt>
                <c:pt idx="1804">
                  <c:v>3.2853312457895099</c:v>
                </c:pt>
                <c:pt idx="1805">
                  <c:v>3.2853312457895099</c:v>
                </c:pt>
                <c:pt idx="1806">
                  <c:v>3.2853312457895099</c:v>
                </c:pt>
                <c:pt idx="1807">
                  <c:v>3.2853312457895099</c:v>
                </c:pt>
                <c:pt idx="1808">
                  <c:v>3.2853312457895099</c:v>
                </c:pt>
                <c:pt idx="1809">
                  <c:v>3.2853312457895099</c:v>
                </c:pt>
                <c:pt idx="1810">
                  <c:v>3.2853312457895099</c:v>
                </c:pt>
                <c:pt idx="1811">
                  <c:v>3.2853312457895099</c:v>
                </c:pt>
                <c:pt idx="1812">
                  <c:v>3.2853312457895099</c:v>
                </c:pt>
                <c:pt idx="1813">
                  <c:v>3.2853312457895099</c:v>
                </c:pt>
                <c:pt idx="1814">
                  <c:v>3.2853312457895099</c:v>
                </c:pt>
                <c:pt idx="1815">
                  <c:v>3.2853312457895099</c:v>
                </c:pt>
                <c:pt idx="1816">
                  <c:v>3.2853312457895099</c:v>
                </c:pt>
                <c:pt idx="1817">
                  <c:v>3.2853312457895099</c:v>
                </c:pt>
                <c:pt idx="1818">
                  <c:v>3.2853312457895099</c:v>
                </c:pt>
                <c:pt idx="1819">
                  <c:v>3.2853312457895099</c:v>
                </c:pt>
                <c:pt idx="1820">
                  <c:v>3.2853312457895099</c:v>
                </c:pt>
                <c:pt idx="1821">
                  <c:v>3.2853312457895099</c:v>
                </c:pt>
                <c:pt idx="1822">
                  <c:v>3.2853312457895099</c:v>
                </c:pt>
                <c:pt idx="1823">
                  <c:v>3.2853312457895099</c:v>
                </c:pt>
                <c:pt idx="1824">
                  <c:v>3.2853312457895099</c:v>
                </c:pt>
                <c:pt idx="1825">
                  <c:v>3.2853312457895099</c:v>
                </c:pt>
                <c:pt idx="1826">
                  <c:v>3.2853312457895099</c:v>
                </c:pt>
                <c:pt idx="1827">
                  <c:v>3.2853312457895099</c:v>
                </c:pt>
                <c:pt idx="1828">
                  <c:v>3.2853312457895099</c:v>
                </c:pt>
                <c:pt idx="1829">
                  <c:v>3.2853312457895099</c:v>
                </c:pt>
                <c:pt idx="1830">
                  <c:v>3.2853312457895099</c:v>
                </c:pt>
                <c:pt idx="1831">
                  <c:v>3.2853312457895099</c:v>
                </c:pt>
                <c:pt idx="1832">
                  <c:v>3.2853312457895099</c:v>
                </c:pt>
                <c:pt idx="1833">
                  <c:v>3.2853312457895099</c:v>
                </c:pt>
                <c:pt idx="1834">
                  <c:v>3.2853312457895099</c:v>
                </c:pt>
                <c:pt idx="1835">
                  <c:v>3.2853312457895099</c:v>
                </c:pt>
                <c:pt idx="1836">
                  <c:v>3.2853312457895099</c:v>
                </c:pt>
                <c:pt idx="1837">
                  <c:v>3.2853312457895099</c:v>
                </c:pt>
                <c:pt idx="1838">
                  <c:v>3.2853312457895099</c:v>
                </c:pt>
                <c:pt idx="1839">
                  <c:v>3.2853312457895099</c:v>
                </c:pt>
                <c:pt idx="1840">
                  <c:v>3.2853312457895099</c:v>
                </c:pt>
                <c:pt idx="1841">
                  <c:v>3.2853312457895099</c:v>
                </c:pt>
                <c:pt idx="1842">
                  <c:v>3.2853312457895099</c:v>
                </c:pt>
                <c:pt idx="1843">
                  <c:v>3.2853312457895099</c:v>
                </c:pt>
                <c:pt idx="1844">
                  <c:v>3.2853312457895099</c:v>
                </c:pt>
                <c:pt idx="1845">
                  <c:v>3.2853312457895099</c:v>
                </c:pt>
                <c:pt idx="1846">
                  <c:v>3.2853312457895099</c:v>
                </c:pt>
                <c:pt idx="1847">
                  <c:v>3.2853312457895099</c:v>
                </c:pt>
                <c:pt idx="1848">
                  <c:v>3.2853312457895099</c:v>
                </c:pt>
                <c:pt idx="1849">
                  <c:v>3.2853312457895099</c:v>
                </c:pt>
                <c:pt idx="1850">
                  <c:v>3.2853312457895099</c:v>
                </c:pt>
                <c:pt idx="1851">
                  <c:v>3.2853312457895099</c:v>
                </c:pt>
                <c:pt idx="1852">
                  <c:v>3.2853312457895099</c:v>
                </c:pt>
                <c:pt idx="1853">
                  <c:v>3.2853312457895099</c:v>
                </c:pt>
                <c:pt idx="1854">
                  <c:v>3.2853312457895099</c:v>
                </c:pt>
                <c:pt idx="1855">
                  <c:v>3.2853312457895099</c:v>
                </c:pt>
                <c:pt idx="1856">
                  <c:v>3.2853312457895099</c:v>
                </c:pt>
                <c:pt idx="1857">
                  <c:v>3.2853312457895099</c:v>
                </c:pt>
                <c:pt idx="1858">
                  <c:v>3.2853312457895099</c:v>
                </c:pt>
                <c:pt idx="1859">
                  <c:v>3.2853312457895099</c:v>
                </c:pt>
                <c:pt idx="1860">
                  <c:v>3.2853312457895099</c:v>
                </c:pt>
                <c:pt idx="1861">
                  <c:v>3.2853312457895099</c:v>
                </c:pt>
                <c:pt idx="1862">
                  <c:v>3.2853312457895099</c:v>
                </c:pt>
                <c:pt idx="1863">
                  <c:v>3.2853312457895099</c:v>
                </c:pt>
                <c:pt idx="1864">
                  <c:v>3.2853312457895099</c:v>
                </c:pt>
                <c:pt idx="1865">
                  <c:v>3.2853312457895099</c:v>
                </c:pt>
                <c:pt idx="1866">
                  <c:v>3.2853312457895099</c:v>
                </c:pt>
                <c:pt idx="1867">
                  <c:v>3.2853312457895099</c:v>
                </c:pt>
                <c:pt idx="1868">
                  <c:v>3.2853312457895099</c:v>
                </c:pt>
                <c:pt idx="1869">
                  <c:v>3.2853312457895099</c:v>
                </c:pt>
                <c:pt idx="1870">
                  <c:v>3.2853312457895099</c:v>
                </c:pt>
                <c:pt idx="1871">
                  <c:v>3.2853312457895099</c:v>
                </c:pt>
                <c:pt idx="1872">
                  <c:v>3.2853312457895099</c:v>
                </c:pt>
                <c:pt idx="1873">
                  <c:v>3.2853312457895099</c:v>
                </c:pt>
                <c:pt idx="1874">
                  <c:v>3.2853312457895099</c:v>
                </c:pt>
                <c:pt idx="1875">
                  <c:v>3.2853312457895099</c:v>
                </c:pt>
                <c:pt idx="1876">
                  <c:v>3.2853312457895099</c:v>
                </c:pt>
                <c:pt idx="1877">
                  <c:v>3.2853312457895099</c:v>
                </c:pt>
                <c:pt idx="1878">
                  <c:v>3.2853312457895099</c:v>
                </c:pt>
                <c:pt idx="1879">
                  <c:v>3.2853312457895099</c:v>
                </c:pt>
                <c:pt idx="1880">
                  <c:v>3.2853312457895099</c:v>
                </c:pt>
                <c:pt idx="1881">
                  <c:v>3.2853312457895099</c:v>
                </c:pt>
                <c:pt idx="1882">
                  <c:v>3.2853312457895099</c:v>
                </c:pt>
                <c:pt idx="1883">
                  <c:v>3.2853312457895099</c:v>
                </c:pt>
                <c:pt idx="1884">
                  <c:v>3.2853312457895099</c:v>
                </c:pt>
                <c:pt idx="1885">
                  <c:v>3.2853312457895099</c:v>
                </c:pt>
                <c:pt idx="1886">
                  <c:v>3.2853312457895099</c:v>
                </c:pt>
                <c:pt idx="1887">
                  <c:v>3.2853312457895099</c:v>
                </c:pt>
                <c:pt idx="1888">
                  <c:v>3.2853312457895099</c:v>
                </c:pt>
                <c:pt idx="1889">
                  <c:v>3.2853312457895099</c:v>
                </c:pt>
                <c:pt idx="1890">
                  <c:v>3.2853312457895099</c:v>
                </c:pt>
                <c:pt idx="1891">
                  <c:v>3.2853312457895099</c:v>
                </c:pt>
                <c:pt idx="1892">
                  <c:v>3.2853312457895099</c:v>
                </c:pt>
                <c:pt idx="1893">
                  <c:v>3.2853312457895099</c:v>
                </c:pt>
                <c:pt idx="1894">
                  <c:v>3.2853312457895099</c:v>
                </c:pt>
                <c:pt idx="1895">
                  <c:v>3.2853312457895099</c:v>
                </c:pt>
                <c:pt idx="1896">
                  <c:v>3.2853312457895099</c:v>
                </c:pt>
                <c:pt idx="1897">
                  <c:v>3.2853312457895099</c:v>
                </c:pt>
                <c:pt idx="1898">
                  <c:v>3.2853312457895099</c:v>
                </c:pt>
                <c:pt idx="1899">
                  <c:v>3.2853312457895099</c:v>
                </c:pt>
                <c:pt idx="1900">
                  <c:v>3.2853312457895099</c:v>
                </c:pt>
                <c:pt idx="1901">
                  <c:v>3.2853312457895099</c:v>
                </c:pt>
                <c:pt idx="1902">
                  <c:v>3.2853312457895099</c:v>
                </c:pt>
                <c:pt idx="1903">
                  <c:v>3.2853312457895099</c:v>
                </c:pt>
                <c:pt idx="1904">
                  <c:v>3.2853312457895099</c:v>
                </c:pt>
                <c:pt idx="1905">
                  <c:v>3.2853312457895099</c:v>
                </c:pt>
                <c:pt idx="1906">
                  <c:v>3.2853312457895099</c:v>
                </c:pt>
                <c:pt idx="1907">
                  <c:v>3.2853312457895099</c:v>
                </c:pt>
                <c:pt idx="1908">
                  <c:v>3.2853312457895099</c:v>
                </c:pt>
                <c:pt idx="1909">
                  <c:v>3.2853312457895099</c:v>
                </c:pt>
                <c:pt idx="1910">
                  <c:v>3.2853312457895099</c:v>
                </c:pt>
                <c:pt idx="1911">
                  <c:v>3.2853312457895099</c:v>
                </c:pt>
                <c:pt idx="1912">
                  <c:v>3.2853312457895099</c:v>
                </c:pt>
                <c:pt idx="1913">
                  <c:v>3.2853312457895099</c:v>
                </c:pt>
                <c:pt idx="1914">
                  <c:v>3.2853312457895099</c:v>
                </c:pt>
                <c:pt idx="1915">
                  <c:v>3.2853312457895099</c:v>
                </c:pt>
                <c:pt idx="1916">
                  <c:v>3.2853312457895099</c:v>
                </c:pt>
                <c:pt idx="1917">
                  <c:v>3.2853312457895099</c:v>
                </c:pt>
                <c:pt idx="1918">
                  <c:v>3.2853312457895099</c:v>
                </c:pt>
                <c:pt idx="1919">
                  <c:v>3.2853312457895099</c:v>
                </c:pt>
                <c:pt idx="1920">
                  <c:v>3.2853312457895099</c:v>
                </c:pt>
                <c:pt idx="1921">
                  <c:v>3.2853312457895099</c:v>
                </c:pt>
                <c:pt idx="1922">
                  <c:v>3.2853312457895099</c:v>
                </c:pt>
                <c:pt idx="1923">
                  <c:v>3.2853312457895099</c:v>
                </c:pt>
                <c:pt idx="1924">
                  <c:v>3.2853312457895099</c:v>
                </c:pt>
                <c:pt idx="1925">
                  <c:v>3.2853312457895099</c:v>
                </c:pt>
                <c:pt idx="1926">
                  <c:v>3.2853312457895099</c:v>
                </c:pt>
                <c:pt idx="1927">
                  <c:v>3.2853312457895099</c:v>
                </c:pt>
                <c:pt idx="1928">
                  <c:v>3.2853312457895099</c:v>
                </c:pt>
                <c:pt idx="1929">
                  <c:v>3.2853312457895099</c:v>
                </c:pt>
                <c:pt idx="1930">
                  <c:v>3.2853312457895099</c:v>
                </c:pt>
                <c:pt idx="1931">
                  <c:v>3.2853312457895099</c:v>
                </c:pt>
                <c:pt idx="1932">
                  <c:v>3.2853312457895099</c:v>
                </c:pt>
                <c:pt idx="1933">
                  <c:v>3.2853312457895099</c:v>
                </c:pt>
                <c:pt idx="1934">
                  <c:v>3.2853312457895099</c:v>
                </c:pt>
                <c:pt idx="1935">
                  <c:v>3.2853312457895099</c:v>
                </c:pt>
                <c:pt idx="1936">
                  <c:v>3.2853312457895099</c:v>
                </c:pt>
                <c:pt idx="1937">
                  <c:v>3.2853312457895099</c:v>
                </c:pt>
                <c:pt idx="1938">
                  <c:v>3.2853312457895099</c:v>
                </c:pt>
                <c:pt idx="1939">
                  <c:v>3.2853312457895099</c:v>
                </c:pt>
                <c:pt idx="1940">
                  <c:v>3.2853312457895099</c:v>
                </c:pt>
                <c:pt idx="1941">
                  <c:v>3.2853312457895099</c:v>
                </c:pt>
                <c:pt idx="1942">
                  <c:v>3.2853312457895099</c:v>
                </c:pt>
                <c:pt idx="1943">
                  <c:v>3.2853312457895099</c:v>
                </c:pt>
                <c:pt idx="1944">
                  <c:v>3.2853312457895099</c:v>
                </c:pt>
                <c:pt idx="1945">
                  <c:v>3.2853312457895099</c:v>
                </c:pt>
                <c:pt idx="1946">
                  <c:v>3.2853312457895099</c:v>
                </c:pt>
                <c:pt idx="1947">
                  <c:v>3.2853312457895099</c:v>
                </c:pt>
                <c:pt idx="1948">
                  <c:v>3.2853312457895099</c:v>
                </c:pt>
                <c:pt idx="1949">
                  <c:v>3.2853312457895099</c:v>
                </c:pt>
                <c:pt idx="1950">
                  <c:v>3.2853312457895099</c:v>
                </c:pt>
                <c:pt idx="1951">
                  <c:v>3.2853312457895099</c:v>
                </c:pt>
                <c:pt idx="1952">
                  <c:v>3.2853312457895099</c:v>
                </c:pt>
                <c:pt idx="1953">
                  <c:v>3.2853312457895099</c:v>
                </c:pt>
                <c:pt idx="1954">
                  <c:v>3.2853312457895099</c:v>
                </c:pt>
                <c:pt idx="1955">
                  <c:v>3.2853312457895099</c:v>
                </c:pt>
                <c:pt idx="1956">
                  <c:v>3.2853312457895099</c:v>
                </c:pt>
                <c:pt idx="1957">
                  <c:v>3.2853312457895099</c:v>
                </c:pt>
                <c:pt idx="1958">
                  <c:v>3.2853312457895099</c:v>
                </c:pt>
                <c:pt idx="1959">
                  <c:v>3.2853312457895099</c:v>
                </c:pt>
                <c:pt idx="1960">
                  <c:v>3.2853312457895099</c:v>
                </c:pt>
                <c:pt idx="1961">
                  <c:v>3.2853312457895099</c:v>
                </c:pt>
                <c:pt idx="1962">
                  <c:v>3.2853312457895099</c:v>
                </c:pt>
                <c:pt idx="1963">
                  <c:v>3.2853312457895099</c:v>
                </c:pt>
                <c:pt idx="1964">
                  <c:v>3.2853312457895099</c:v>
                </c:pt>
                <c:pt idx="1965">
                  <c:v>3.2853312457895099</c:v>
                </c:pt>
                <c:pt idx="1966">
                  <c:v>3.2853312457895099</c:v>
                </c:pt>
                <c:pt idx="1967">
                  <c:v>3.2853312457895099</c:v>
                </c:pt>
                <c:pt idx="1968">
                  <c:v>3.2853312457895099</c:v>
                </c:pt>
                <c:pt idx="1969">
                  <c:v>3.2853312457895099</c:v>
                </c:pt>
                <c:pt idx="1970">
                  <c:v>3.2853312457895099</c:v>
                </c:pt>
                <c:pt idx="1971">
                  <c:v>3.2853312457895099</c:v>
                </c:pt>
                <c:pt idx="1972">
                  <c:v>3.2853312457895099</c:v>
                </c:pt>
                <c:pt idx="1973">
                  <c:v>3.2853312457895099</c:v>
                </c:pt>
                <c:pt idx="1974">
                  <c:v>3.2853312457895099</c:v>
                </c:pt>
                <c:pt idx="1975">
                  <c:v>3.2853312457895099</c:v>
                </c:pt>
                <c:pt idx="1976">
                  <c:v>3.2853312457895099</c:v>
                </c:pt>
                <c:pt idx="1977">
                  <c:v>3.2853312457895099</c:v>
                </c:pt>
                <c:pt idx="1978">
                  <c:v>3.2853312457895099</c:v>
                </c:pt>
                <c:pt idx="1979">
                  <c:v>3.2853312457895099</c:v>
                </c:pt>
                <c:pt idx="1980">
                  <c:v>3.2853312457895099</c:v>
                </c:pt>
                <c:pt idx="1981">
                  <c:v>3.2853312457895099</c:v>
                </c:pt>
                <c:pt idx="1982">
                  <c:v>3.2853312457895099</c:v>
                </c:pt>
                <c:pt idx="1983">
                  <c:v>3.2853312457895099</c:v>
                </c:pt>
                <c:pt idx="1984">
                  <c:v>3.2853312457895099</c:v>
                </c:pt>
                <c:pt idx="1985">
                  <c:v>3.2853312457895099</c:v>
                </c:pt>
                <c:pt idx="1986">
                  <c:v>3.2853312457895099</c:v>
                </c:pt>
                <c:pt idx="1987">
                  <c:v>3.2853312457895099</c:v>
                </c:pt>
                <c:pt idx="1988">
                  <c:v>3.2853312457895099</c:v>
                </c:pt>
                <c:pt idx="1989">
                  <c:v>3.2853312457895099</c:v>
                </c:pt>
                <c:pt idx="1990">
                  <c:v>3.2853312457895099</c:v>
                </c:pt>
                <c:pt idx="1991">
                  <c:v>3.2853312457895099</c:v>
                </c:pt>
                <c:pt idx="1992">
                  <c:v>3.2853312457895099</c:v>
                </c:pt>
                <c:pt idx="1993">
                  <c:v>3.2853312457895099</c:v>
                </c:pt>
                <c:pt idx="1994">
                  <c:v>3.2853312457895099</c:v>
                </c:pt>
                <c:pt idx="1995">
                  <c:v>3.2853312457895099</c:v>
                </c:pt>
                <c:pt idx="1996">
                  <c:v>3.2853312457895099</c:v>
                </c:pt>
                <c:pt idx="1997">
                  <c:v>3.2853312457895099</c:v>
                </c:pt>
                <c:pt idx="1998">
                  <c:v>3.2853312457895099</c:v>
                </c:pt>
                <c:pt idx="1999">
                  <c:v>3.2853312457895099</c:v>
                </c:pt>
                <c:pt idx="2000">
                  <c:v>3.2853312457895099</c:v>
                </c:pt>
                <c:pt idx="2001">
                  <c:v>3.2853312457895099</c:v>
                </c:pt>
                <c:pt idx="2002">
                  <c:v>3.2853312457895099</c:v>
                </c:pt>
                <c:pt idx="2003">
                  <c:v>3.2853312457895099</c:v>
                </c:pt>
                <c:pt idx="2004">
                  <c:v>3.2853312457895099</c:v>
                </c:pt>
                <c:pt idx="2005">
                  <c:v>3.2853312457895099</c:v>
                </c:pt>
                <c:pt idx="2006">
                  <c:v>3.2853312457895099</c:v>
                </c:pt>
                <c:pt idx="2007">
                  <c:v>3.2853312457895099</c:v>
                </c:pt>
                <c:pt idx="2008">
                  <c:v>3.2853312457895099</c:v>
                </c:pt>
                <c:pt idx="2009">
                  <c:v>3.2853312457895099</c:v>
                </c:pt>
                <c:pt idx="2010">
                  <c:v>3.2853312457895099</c:v>
                </c:pt>
                <c:pt idx="2011">
                  <c:v>3.2853312457895099</c:v>
                </c:pt>
                <c:pt idx="2012">
                  <c:v>3.2853312457895099</c:v>
                </c:pt>
                <c:pt idx="2013">
                  <c:v>3.2853312457895099</c:v>
                </c:pt>
                <c:pt idx="2014">
                  <c:v>3.2853312457895099</c:v>
                </c:pt>
                <c:pt idx="2015">
                  <c:v>3.2853312457895099</c:v>
                </c:pt>
                <c:pt idx="2016">
                  <c:v>3.2853312457895099</c:v>
                </c:pt>
                <c:pt idx="2017">
                  <c:v>3.2853312457895099</c:v>
                </c:pt>
                <c:pt idx="2018">
                  <c:v>3.2853312457895099</c:v>
                </c:pt>
                <c:pt idx="2019">
                  <c:v>3.2853312457895099</c:v>
                </c:pt>
                <c:pt idx="2020">
                  <c:v>3.2853312457895099</c:v>
                </c:pt>
                <c:pt idx="2021">
                  <c:v>3.2853312457895099</c:v>
                </c:pt>
                <c:pt idx="2022">
                  <c:v>3.2853312457895099</c:v>
                </c:pt>
                <c:pt idx="2023">
                  <c:v>3.2853312457895099</c:v>
                </c:pt>
                <c:pt idx="2024">
                  <c:v>3.2853312457895099</c:v>
                </c:pt>
                <c:pt idx="2025">
                  <c:v>3.2853312457895099</c:v>
                </c:pt>
                <c:pt idx="2026">
                  <c:v>3.2853312457895099</c:v>
                </c:pt>
                <c:pt idx="2027">
                  <c:v>3.2853312457895099</c:v>
                </c:pt>
                <c:pt idx="2028">
                  <c:v>3.2853312457895099</c:v>
                </c:pt>
                <c:pt idx="2029">
                  <c:v>3.2853312457895099</c:v>
                </c:pt>
                <c:pt idx="2030">
                  <c:v>3.2853312457895099</c:v>
                </c:pt>
                <c:pt idx="2031">
                  <c:v>3.2853312457895099</c:v>
                </c:pt>
                <c:pt idx="2032">
                  <c:v>3.2853312457895099</c:v>
                </c:pt>
                <c:pt idx="2033">
                  <c:v>3.2853312457895099</c:v>
                </c:pt>
                <c:pt idx="2034">
                  <c:v>3.2853312457895099</c:v>
                </c:pt>
                <c:pt idx="2035">
                  <c:v>3.2853312457895099</c:v>
                </c:pt>
                <c:pt idx="2036">
                  <c:v>3.2853312457895099</c:v>
                </c:pt>
                <c:pt idx="2037">
                  <c:v>3.2853312457895099</c:v>
                </c:pt>
                <c:pt idx="2038">
                  <c:v>3.2853312457895099</c:v>
                </c:pt>
                <c:pt idx="2039">
                  <c:v>3.2853312457895099</c:v>
                </c:pt>
                <c:pt idx="2040">
                  <c:v>3.2853312457895099</c:v>
                </c:pt>
                <c:pt idx="2041">
                  <c:v>3.2853312457895099</c:v>
                </c:pt>
                <c:pt idx="2042">
                  <c:v>3.2853312457895099</c:v>
                </c:pt>
                <c:pt idx="2043">
                  <c:v>3.2853312457895099</c:v>
                </c:pt>
                <c:pt idx="2044">
                  <c:v>3.2853312457895099</c:v>
                </c:pt>
                <c:pt idx="2045">
                  <c:v>3.2853312457895099</c:v>
                </c:pt>
                <c:pt idx="2046">
                  <c:v>3.2853312457895099</c:v>
                </c:pt>
                <c:pt idx="2047">
                  <c:v>3.2853312457895099</c:v>
                </c:pt>
                <c:pt idx="2048">
                  <c:v>3.2853312457895099</c:v>
                </c:pt>
                <c:pt idx="2049">
                  <c:v>3.2853312457895099</c:v>
                </c:pt>
                <c:pt idx="2050">
                  <c:v>3.2853312457895099</c:v>
                </c:pt>
                <c:pt idx="2051">
                  <c:v>3.2853312457895099</c:v>
                </c:pt>
                <c:pt idx="2052">
                  <c:v>3.2853312457895099</c:v>
                </c:pt>
                <c:pt idx="2053">
                  <c:v>3.2853312457895099</c:v>
                </c:pt>
                <c:pt idx="2054">
                  <c:v>3.2853312457895099</c:v>
                </c:pt>
                <c:pt idx="2055">
                  <c:v>3.2853312457895099</c:v>
                </c:pt>
                <c:pt idx="2056">
                  <c:v>3.2853312457895099</c:v>
                </c:pt>
                <c:pt idx="2057">
                  <c:v>3.2853312457895099</c:v>
                </c:pt>
                <c:pt idx="2058">
                  <c:v>3.2853312457895099</c:v>
                </c:pt>
                <c:pt idx="2059">
                  <c:v>3.2853312457895099</c:v>
                </c:pt>
                <c:pt idx="2060">
                  <c:v>3.2853312457895099</c:v>
                </c:pt>
                <c:pt idx="2061">
                  <c:v>3.2853312457895099</c:v>
                </c:pt>
                <c:pt idx="2062">
                  <c:v>3.2853312457895099</c:v>
                </c:pt>
                <c:pt idx="2063">
                  <c:v>3.2853312457895099</c:v>
                </c:pt>
                <c:pt idx="2064">
                  <c:v>3.2853312457895099</c:v>
                </c:pt>
                <c:pt idx="2065">
                  <c:v>3.2853312457895099</c:v>
                </c:pt>
                <c:pt idx="2066">
                  <c:v>3.2853312457895099</c:v>
                </c:pt>
                <c:pt idx="2067">
                  <c:v>3.2853312457895099</c:v>
                </c:pt>
                <c:pt idx="2068">
                  <c:v>3.2853312457895099</c:v>
                </c:pt>
                <c:pt idx="2069">
                  <c:v>3.2853312457895099</c:v>
                </c:pt>
                <c:pt idx="2070">
                  <c:v>3.2853312457895099</c:v>
                </c:pt>
                <c:pt idx="2071">
                  <c:v>3.2853312457895099</c:v>
                </c:pt>
                <c:pt idx="2072">
                  <c:v>3.2853312457895099</c:v>
                </c:pt>
                <c:pt idx="2073">
                  <c:v>3.2853312457895099</c:v>
                </c:pt>
                <c:pt idx="2074">
                  <c:v>3.2853312457895099</c:v>
                </c:pt>
                <c:pt idx="2075">
                  <c:v>3.2853312457895099</c:v>
                </c:pt>
                <c:pt idx="2076">
                  <c:v>3.2853312457895099</c:v>
                </c:pt>
                <c:pt idx="2077">
                  <c:v>3.2853312457895099</c:v>
                </c:pt>
                <c:pt idx="2078">
                  <c:v>3.2853312457895099</c:v>
                </c:pt>
                <c:pt idx="2079">
                  <c:v>3.2853312457895099</c:v>
                </c:pt>
                <c:pt idx="2080">
                  <c:v>3.2853312457895099</c:v>
                </c:pt>
                <c:pt idx="2081">
                  <c:v>3.2853312457895099</c:v>
                </c:pt>
                <c:pt idx="2082">
                  <c:v>3.2853312457895099</c:v>
                </c:pt>
                <c:pt idx="2083">
                  <c:v>3.2853312457895099</c:v>
                </c:pt>
                <c:pt idx="2084">
                  <c:v>3.2853312457895099</c:v>
                </c:pt>
                <c:pt idx="2085">
                  <c:v>3.2853312457895099</c:v>
                </c:pt>
                <c:pt idx="2086">
                  <c:v>3.2853312457895099</c:v>
                </c:pt>
                <c:pt idx="2087">
                  <c:v>3.2853312457895099</c:v>
                </c:pt>
                <c:pt idx="2088">
                  <c:v>3.2853312457895099</c:v>
                </c:pt>
                <c:pt idx="2089">
                  <c:v>3.2853312457895099</c:v>
                </c:pt>
                <c:pt idx="2090">
                  <c:v>3.2853312457895099</c:v>
                </c:pt>
                <c:pt idx="2091">
                  <c:v>3.2853312457895099</c:v>
                </c:pt>
                <c:pt idx="2092">
                  <c:v>3.2853312457895099</c:v>
                </c:pt>
                <c:pt idx="2093">
                  <c:v>3.2853312457895099</c:v>
                </c:pt>
                <c:pt idx="2094">
                  <c:v>3.2853312457895099</c:v>
                </c:pt>
                <c:pt idx="2095">
                  <c:v>3.2853312457895099</c:v>
                </c:pt>
                <c:pt idx="2096">
                  <c:v>3.2853312457895099</c:v>
                </c:pt>
                <c:pt idx="2097">
                  <c:v>3.2853312457895099</c:v>
                </c:pt>
                <c:pt idx="2098">
                  <c:v>3.2853312457895099</c:v>
                </c:pt>
                <c:pt idx="2099">
                  <c:v>3.2853312457895099</c:v>
                </c:pt>
                <c:pt idx="2100">
                  <c:v>3.2853312457895099</c:v>
                </c:pt>
                <c:pt idx="2101">
                  <c:v>3.2853312457895099</c:v>
                </c:pt>
                <c:pt idx="2102">
                  <c:v>3.2853312457895099</c:v>
                </c:pt>
                <c:pt idx="2103">
                  <c:v>3.2853312457895099</c:v>
                </c:pt>
                <c:pt idx="2104">
                  <c:v>3.2853312457895099</c:v>
                </c:pt>
                <c:pt idx="2105">
                  <c:v>3.2853312457895099</c:v>
                </c:pt>
                <c:pt idx="2106">
                  <c:v>3.2853312457895099</c:v>
                </c:pt>
                <c:pt idx="2107">
                  <c:v>3.2853312457895099</c:v>
                </c:pt>
                <c:pt idx="2108">
                  <c:v>3.2853312457895099</c:v>
                </c:pt>
                <c:pt idx="2109">
                  <c:v>3.2853312457895099</c:v>
                </c:pt>
                <c:pt idx="2110">
                  <c:v>3.2853312457895099</c:v>
                </c:pt>
                <c:pt idx="2111">
                  <c:v>3.2853312457895099</c:v>
                </c:pt>
                <c:pt idx="2112">
                  <c:v>3.2853312457895099</c:v>
                </c:pt>
                <c:pt idx="2113">
                  <c:v>3.2853312457895099</c:v>
                </c:pt>
                <c:pt idx="2114">
                  <c:v>3.2853312457895099</c:v>
                </c:pt>
                <c:pt idx="2115">
                  <c:v>3.2853312457895099</c:v>
                </c:pt>
                <c:pt idx="2116">
                  <c:v>3.2853312457895099</c:v>
                </c:pt>
                <c:pt idx="2117">
                  <c:v>3.2853312457895099</c:v>
                </c:pt>
                <c:pt idx="2118">
                  <c:v>3.2853312457895099</c:v>
                </c:pt>
                <c:pt idx="2119">
                  <c:v>3.2853312457895099</c:v>
                </c:pt>
                <c:pt idx="2120">
                  <c:v>3.2853312457895099</c:v>
                </c:pt>
                <c:pt idx="2121">
                  <c:v>3.2853312457895099</c:v>
                </c:pt>
                <c:pt idx="2122">
                  <c:v>3.2853312457895099</c:v>
                </c:pt>
                <c:pt idx="2123">
                  <c:v>3.2853312457895099</c:v>
                </c:pt>
                <c:pt idx="2124">
                  <c:v>3.2853312457895099</c:v>
                </c:pt>
                <c:pt idx="2125">
                  <c:v>3.2853312457895099</c:v>
                </c:pt>
                <c:pt idx="2126">
                  <c:v>3.2853312457895099</c:v>
                </c:pt>
                <c:pt idx="2127">
                  <c:v>3.2853312457895099</c:v>
                </c:pt>
                <c:pt idx="2128">
                  <c:v>3.2853312457895099</c:v>
                </c:pt>
                <c:pt idx="2129">
                  <c:v>3.2853312457895099</c:v>
                </c:pt>
                <c:pt idx="2130">
                  <c:v>3.2853312457895099</c:v>
                </c:pt>
                <c:pt idx="2131">
                  <c:v>3.2853312457895099</c:v>
                </c:pt>
                <c:pt idx="2132">
                  <c:v>3.2853312457895099</c:v>
                </c:pt>
                <c:pt idx="2133">
                  <c:v>3.2853312457895099</c:v>
                </c:pt>
                <c:pt idx="2134">
                  <c:v>3.2853312457895099</c:v>
                </c:pt>
                <c:pt idx="2135">
                  <c:v>3.2853312457895099</c:v>
                </c:pt>
                <c:pt idx="2136">
                  <c:v>3.2853312457895099</c:v>
                </c:pt>
                <c:pt idx="2137">
                  <c:v>3.2853312457895099</c:v>
                </c:pt>
                <c:pt idx="2138">
                  <c:v>3.2853312457895099</c:v>
                </c:pt>
                <c:pt idx="2139">
                  <c:v>3.2853312457895099</c:v>
                </c:pt>
                <c:pt idx="2140">
                  <c:v>3.2853312457895099</c:v>
                </c:pt>
                <c:pt idx="2141">
                  <c:v>3.2853312457895099</c:v>
                </c:pt>
                <c:pt idx="2142">
                  <c:v>3.2853312457895099</c:v>
                </c:pt>
                <c:pt idx="2143">
                  <c:v>3.2853312457895099</c:v>
                </c:pt>
                <c:pt idx="2144">
                  <c:v>3.2853312457895099</c:v>
                </c:pt>
                <c:pt idx="2145">
                  <c:v>3.2853312457895099</c:v>
                </c:pt>
                <c:pt idx="2146">
                  <c:v>3.2853312457895099</c:v>
                </c:pt>
                <c:pt idx="2147">
                  <c:v>3.2853312457895099</c:v>
                </c:pt>
                <c:pt idx="2148">
                  <c:v>3.2853312457895099</c:v>
                </c:pt>
                <c:pt idx="2149">
                  <c:v>3.2853312457895099</c:v>
                </c:pt>
                <c:pt idx="2150">
                  <c:v>3.2853312457895099</c:v>
                </c:pt>
                <c:pt idx="2151">
                  <c:v>3.2853312457895099</c:v>
                </c:pt>
                <c:pt idx="2152">
                  <c:v>3.2853312457895099</c:v>
                </c:pt>
                <c:pt idx="2153">
                  <c:v>3.2853312457895099</c:v>
                </c:pt>
                <c:pt idx="2154">
                  <c:v>3.2853312457895099</c:v>
                </c:pt>
                <c:pt idx="2155">
                  <c:v>3.2853312457895099</c:v>
                </c:pt>
                <c:pt idx="2156">
                  <c:v>3.2853312457895099</c:v>
                </c:pt>
                <c:pt idx="2157">
                  <c:v>3.2853312457895099</c:v>
                </c:pt>
                <c:pt idx="2158">
                  <c:v>3.2853312457895099</c:v>
                </c:pt>
                <c:pt idx="2159">
                  <c:v>3.2853312457895099</c:v>
                </c:pt>
                <c:pt idx="2160">
                  <c:v>3.2853312457895099</c:v>
                </c:pt>
                <c:pt idx="2161">
                  <c:v>3.2853312457895099</c:v>
                </c:pt>
                <c:pt idx="2162">
                  <c:v>3.2853312457895099</c:v>
                </c:pt>
                <c:pt idx="2163">
                  <c:v>3.2853312457895099</c:v>
                </c:pt>
                <c:pt idx="2164">
                  <c:v>3.2853312457895099</c:v>
                </c:pt>
                <c:pt idx="2165">
                  <c:v>3.2853312457895099</c:v>
                </c:pt>
                <c:pt idx="2166">
                  <c:v>3.2853312457895099</c:v>
                </c:pt>
                <c:pt idx="2167">
                  <c:v>3.2853312457895099</c:v>
                </c:pt>
                <c:pt idx="2168">
                  <c:v>3.2853312457895099</c:v>
                </c:pt>
                <c:pt idx="2169">
                  <c:v>3.2853312457895099</c:v>
                </c:pt>
                <c:pt idx="2170">
                  <c:v>3.2853312457895099</c:v>
                </c:pt>
                <c:pt idx="2171">
                  <c:v>3.2853312457895099</c:v>
                </c:pt>
                <c:pt idx="2172">
                  <c:v>3.2853312457895099</c:v>
                </c:pt>
                <c:pt idx="2173">
                  <c:v>3.2853312457895099</c:v>
                </c:pt>
                <c:pt idx="2174">
                  <c:v>3.2853312457895099</c:v>
                </c:pt>
                <c:pt idx="2175">
                  <c:v>3.2853312457895099</c:v>
                </c:pt>
                <c:pt idx="2176">
                  <c:v>3.2853312457895099</c:v>
                </c:pt>
                <c:pt idx="2177">
                  <c:v>3.2853312457895099</c:v>
                </c:pt>
                <c:pt idx="2178">
                  <c:v>3.2853312457895099</c:v>
                </c:pt>
                <c:pt idx="2179">
                  <c:v>3.2853312457895099</c:v>
                </c:pt>
                <c:pt idx="2180">
                  <c:v>3.2853312457895099</c:v>
                </c:pt>
                <c:pt idx="2181">
                  <c:v>3.2853312457895099</c:v>
                </c:pt>
                <c:pt idx="2182">
                  <c:v>3.2853312457895099</c:v>
                </c:pt>
                <c:pt idx="2183">
                  <c:v>3.2853312457895099</c:v>
                </c:pt>
                <c:pt idx="2184">
                  <c:v>3.2853312457895099</c:v>
                </c:pt>
                <c:pt idx="2185">
                  <c:v>3.2853312457895099</c:v>
                </c:pt>
                <c:pt idx="2186">
                  <c:v>3.2853312457895099</c:v>
                </c:pt>
                <c:pt idx="2187">
                  <c:v>3.2853312457895099</c:v>
                </c:pt>
                <c:pt idx="2188">
                  <c:v>3.2853312457895099</c:v>
                </c:pt>
                <c:pt idx="2189">
                  <c:v>3.2853312457895099</c:v>
                </c:pt>
                <c:pt idx="2190">
                  <c:v>3.2853312457895099</c:v>
                </c:pt>
                <c:pt idx="2191">
                  <c:v>3.2853312457895099</c:v>
                </c:pt>
                <c:pt idx="2192">
                  <c:v>3.2853312457895099</c:v>
                </c:pt>
                <c:pt idx="2193">
                  <c:v>3.2853312457895099</c:v>
                </c:pt>
                <c:pt idx="2194">
                  <c:v>3.2853312457895099</c:v>
                </c:pt>
                <c:pt idx="2195">
                  <c:v>3.2853312457895099</c:v>
                </c:pt>
                <c:pt idx="2196">
                  <c:v>3.2853312457895099</c:v>
                </c:pt>
                <c:pt idx="2197">
                  <c:v>3.2853312457895099</c:v>
                </c:pt>
                <c:pt idx="2198">
                  <c:v>3.2853312457895099</c:v>
                </c:pt>
                <c:pt idx="2199">
                  <c:v>3.2853312457895099</c:v>
                </c:pt>
                <c:pt idx="2200">
                  <c:v>3.2853312457895099</c:v>
                </c:pt>
                <c:pt idx="2201">
                  <c:v>3.2853312457895099</c:v>
                </c:pt>
                <c:pt idx="2202">
                  <c:v>3.2853312457895099</c:v>
                </c:pt>
                <c:pt idx="2203">
                  <c:v>3.2853312457895099</c:v>
                </c:pt>
                <c:pt idx="2204">
                  <c:v>3.2853312457895099</c:v>
                </c:pt>
                <c:pt idx="2205">
                  <c:v>3.2853312457895099</c:v>
                </c:pt>
                <c:pt idx="2206">
                  <c:v>3.2853312457895099</c:v>
                </c:pt>
                <c:pt idx="2207">
                  <c:v>3.2853312457895099</c:v>
                </c:pt>
                <c:pt idx="2208">
                  <c:v>3.2853312457895099</c:v>
                </c:pt>
                <c:pt idx="2209">
                  <c:v>3.2853312457895099</c:v>
                </c:pt>
                <c:pt idx="2210">
                  <c:v>3.2853312457895099</c:v>
                </c:pt>
                <c:pt idx="2211">
                  <c:v>3.2853312457895099</c:v>
                </c:pt>
                <c:pt idx="2212">
                  <c:v>3.2853312457895099</c:v>
                </c:pt>
                <c:pt idx="2213">
                  <c:v>3.2853312457895099</c:v>
                </c:pt>
                <c:pt idx="2214">
                  <c:v>3.2853312457895099</c:v>
                </c:pt>
                <c:pt idx="2215">
                  <c:v>3.2853312457895099</c:v>
                </c:pt>
                <c:pt idx="2216">
                  <c:v>3.2853312457895099</c:v>
                </c:pt>
                <c:pt idx="2217">
                  <c:v>3.2853312457895099</c:v>
                </c:pt>
                <c:pt idx="2218">
                  <c:v>3.2853312457895099</c:v>
                </c:pt>
                <c:pt idx="2219">
                  <c:v>3.2853312457895099</c:v>
                </c:pt>
                <c:pt idx="2220">
                  <c:v>3.2853312457895099</c:v>
                </c:pt>
                <c:pt idx="2221">
                  <c:v>3.2853312457895099</c:v>
                </c:pt>
                <c:pt idx="2222">
                  <c:v>3.2853312457895099</c:v>
                </c:pt>
                <c:pt idx="2223">
                  <c:v>3.2853312457895099</c:v>
                </c:pt>
                <c:pt idx="2224">
                  <c:v>3.2853312457895099</c:v>
                </c:pt>
                <c:pt idx="2225">
                  <c:v>3.2853312457895099</c:v>
                </c:pt>
                <c:pt idx="2226">
                  <c:v>3.2853312457895099</c:v>
                </c:pt>
                <c:pt idx="2227">
                  <c:v>3.2853312457895099</c:v>
                </c:pt>
                <c:pt idx="2228">
                  <c:v>3.2853312457895099</c:v>
                </c:pt>
                <c:pt idx="2229">
                  <c:v>3.2853312457895099</c:v>
                </c:pt>
                <c:pt idx="2230">
                  <c:v>3.2853312457895099</c:v>
                </c:pt>
                <c:pt idx="2231">
                  <c:v>3.2853312457895099</c:v>
                </c:pt>
                <c:pt idx="2232">
                  <c:v>3.2853312457895099</c:v>
                </c:pt>
                <c:pt idx="2233">
                  <c:v>3.2853312457895099</c:v>
                </c:pt>
                <c:pt idx="2234">
                  <c:v>3.2853312457895099</c:v>
                </c:pt>
                <c:pt idx="2235">
                  <c:v>3.2853312457895099</c:v>
                </c:pt>
                <c:pt idx="2236">
                  <c:v>3.2853312457895099</c:v>
                </c:pt>
                <c:pt idx="2237">
                  <c:v>3.2853312457895099</c:v>
                </c:pt>
                <c:pt idx="2238">
                  <c:v>3.2853312457895099</c:v>
                </c:pt>
                <c:pt idx="2239">
                  <c:v>3.2853312457895099</c:v>
                </c:pt>
                <c:pt idx="2240">
                  <c:v>3.2853312457895099</c:v>
                </c:pt>
                <c:pt idx="2241">
                  <c:v>3.2853312457895099</c:v>
                </c:pt>
                <c:pt idx="2242">
                  <c:v>3.2853312457895099</c:v>
                </c:pt>
                <c:pt idx="2243">
                  <c:v>3.2853312457895099</c:v>
                </c:pt>
                <c:pt idx="2244">
                  <c:v>3.2853312457895099</c:v>
                </c:pt>
                <c:pt idx="2245">
                  <c:v>3.2853312457895099</c:v>
                </c:pt>
                <c:pt idx="2246">
                  <c:v>3.2853312457895099</c:v>
                </c:pt>
                <c:pt idx="2247">
                  <c:v>3.2853312457895099</c:v>
                </c:pt>
                <c:pt idx="2248">
                  <c:v>3.2853312457895099</c:v>
                </c:pt>
                <c:pt idx="2249">
                  <c:v>3.2853312457895099</c:v>
                </c:pt>
                <c:pt idx="2250">
                  <c:v>3.2853312457895099</c:v>
                </c:pt>
                <c:pt idx="2251">
                  <c:v>3.2853312457895099</c:v>
                </c:pt>
                <c:pt idx="2252">
                  <c:v>3.2853312457895099</c:v>
                </c:pt>
                <c:pt idx="2253">
                  <c:v>3.2853312457895099</c:v>
                </c:pt>
                <c:pt idx="2254">
                  <c:v>3.2853312457895099</c:v>
                </c:pt>
                <c:pt idx="2255">
                  <c:v>3.2853312457895099</c:v>
                </c:pt>
                <c:pt idx="2256">
                  <c:v>3.2853312457895099</c:v>
                </c:pt>
                <c:pt idx="2257">
                  <c:v>3.2853312457895099</c:v>
                </c:pt>
                <c:pt idx="2258">
                  <c:v>3.2853312457895099</c:v>
                </c:pt>
                <c:pt idx="2259">
                  <c:v>3.2853312457895099</c:v>
                </c:pt>
                <c:pt idx="2260">
                  <c:v>3.2853312457895099</c:v>
                </c:pt>
                <c:pt idx="2261">
                  <c:v>3.2853312457895099</c:v>
                </c:pt>
                <c:pt idx="2262">
                  <c:v>3.2853312457895099</c:v>
                </c:pt>
                <c:pt idx="2263">
                  <c:v>3.2853312457895099</c:v>
                </c:pt>
                <c:pt idx="2264">
                  <c:v>3.2853312457895099</c:v>
                </c:pt>
                <c:pt idx="2265">
                  <c:v>3.2853312457895099</c:v>
                </c:pt>
                <c:pt idx="2266">
                  <c:v>3.2853312457895099</c:v>
                </c:pt>
                <c:pt idx="2267">
                  <c:v>3.2853312457895099</c:v>
                </c:pt>
                <c:pt idx="2268">
                  <c:v>3.2853312457895099</c:v>
                </c:pt>
                <c:pt idx="2269">
                  <c:v>3.2853312457895099</c:v>
                </c:pt>
                <c:pt idx="2270">
                  <c:v>3.2853312457895099</c:v>
                </c:pt>
                <c:pt idx="2271">
                  <c:v>3.2853312457895099</c:v>
                </c:pt>
                <c:pt idx="2272">
                  <c:v>3.2853312457895099</c:v>
                </c:pt>
                <c:pt idx="2273">
                  <c:v>3.2853312457895099</c:v>
                </c:pt>
                <c:pt idx="2274">
                  <c:v>3.2853312457895099</c:v>
                </c:pt>
                <c:pt idx="2275">
                  <c:v>3.2853312457895099</c:v>
                </c:pt>
                <c:pt idx="2276">
                  <c:v>3.2853312457895099</c:v>
                </c:pt>
                <c:pt idx="2277">
                  <c:v>3.2853312457895099</c:v>
                </c:pt>
                <c:pt idx="2278">
                  <c:v>3.2853312457895099</c:v>
                </c:pt>
                <c:pt idx="2279">
                  <c:v>3.2853312457895099</c:v>
                </c:pt>
                <c:pt idx="2280">
                  <c:v>3.2853312457895099</c:v>
                </c:pt>
                <c:pt idx="2281">
                  <c:v>3.2853312457895099</c:v>
                </c:pt>
                <c:pt idx="2282">
                  <c:v>3.2853312457895099</c:v>
                </c:pt>
                <c:pt idx="2283">
                  <c:v>3.2853312457895099</c:v>
                </c:pt>
                <c:pt idx="2284">
                  <c:v>3.2853312457895099</c:v>
                </c:pt>
                <c:pt idx="2285">
                  <c:v>3.2853312457895099</c:v>
                </c:pt>
                <c:pt idx="2286">
                  <c:v>3.2853312457895099</c:v>
                </c:pt>
                <c:pt idx="2287">
                  <c:v>3.2853312457895099</c:v>
                </c:pt>
                <c:pt idx="2288">
                  <c:v>3.2853312457895099</c:v>
                </c:pt>
                <c:pt idx="2289">
                  <c:v>3.2853312457895099</c:v>
                </c:pt>
                <c:pt idx="2290">
                  <c:v>3.2853312457895099</c:v>
                </c:pt>
                <c:pt idx="2291">
                  <c:v>3.2853312457895099</c:v>
                </c:pt>
                <c:pt idx="2292">
                  <c:v>3.2853312457895099</c:v>
                </c:pt>
                <c:pt idx="2293">
                  <c:v>3.2853312457895099</c:v>
                </c:pt>
                <c:pt idx="2294">
                  <c:v>3.2853312457895099</c:v>
                </c:pt>
                <c:pt idx="2295">
                  <c:v>3.2853312457895099</c:v>
                </c:pt>
                <c:pt idx="2296">
                  <c:v>3.2853312457895099</c:v>
                </c:pt>
                <c:pt idx="2297">
                  <c:v>3.2853312457895099</c:v>
                </c:pt>
                <c:pt idx="2298">
                  <c:v>3.2853312457895099</c:v>
                </c:pt>
                <c:pt idx="2299">
                  <c:v>3.2853312457895099</c:v>
                </c:pt>
                <c:pt idx="2300">
                  <c:v>3.2853312457895099</c:v>
                </c:pt>
                <c:pt idx="2301">
                  <c:v>3.2853312457895099</c:v>
                </c:pt>
                <c:pt idx="2302">
                  <c:v>3.2853312457895099</c:v>
                </c:pt>
                <c:pt idx="2303">
                  <c:v>3.2853312457895099</c:v>
                </c:pt>
                <c:pt idx="2304">
                  <c:v>3.2853312457895099</c:v>
                </c:pt>
                <c:pt idx="2305">
                  <c:v>3.2853312457895099</c:v>
                </c:pt>
                <c:pt idx="2306">
                  <c:v>3.2853312457895099</c:v>
                </c:pt>
                <c:pt idx="2307">
                  <c:v>3.2853312457895099</c:v>
                </c:pt>
                <c:pt idx="2308">
                  <c:v>3.2853312457895099</c:v>
                </c:pt>
                <c:pt idx="2309">
                  <c:v>3.2853312457895099</c:v>
                </c:pt>
                <c:pt idx="2310">
                  <c:v>3.2853312457895099</c:v>
                </c:pt>
                <c:pt idx="2311">
                  <c:v>3.2853312457895099</c:v>
                </c:pt>
                <c:pt idx="2312">
                  <c:v>3.2853312457895099</c:v>
                </c:pt>
                <c:pt idx="2313">
                  <c:v>3.2853312457895099</c:v>
                </c:pt>
                <c:pt idx="2314">
                  <c:v>3.2853312457895099</c:v>
                </c:pt>
                <c:pt idx="2315">
                  <c:v>3.2853312457895099</c:v>
                </c:pt>
                <c:pt idx="2316">
                  <c:v>3.2853312457895099</c:v>
                </c:pt>
                <c:pt idx="2317">
                  <c:v>3.2853312457895099</c:v>
                </c:pt>
                <c:pt idx="2318">
                  <c:v>3.2853312457895099</c:v>
                </c:pt>
                <c:pt idx="2319">
                  <c:v>3.2853312457895099</c:v>
                </c:pt>
                <c:pt idx="2320">
                  <c:v>3.2853312457895099</c:v>
                </c:pt>
                <c:pt idx="2321">
                  <c:v>3.2853312457895099</c:v>
                </c:pt>
                <c:pt idx="2322">
                  <c:v>3.2853312457895099</c:v>
                </c:pt>
                <c:pt idx="2323">
                  <c:v>3.2853312457895099</c:v>
                </c:pt>
                <c:pt idx="2324">
                  <c:v>3.2853312457895099</c:v>
                </c:pt>
                <c:pt idx="2325">
                  <c:v>3.2853312457895099</c:v>
                </c:pt>
                <c:pt idx="2326">
                  <c:v>3.2853312457895099</c:v>
                </c:pt>
                <c:pt idx="2327">
                  <c:v>3.2853312457895099</c:v>
                </c:pt>
                <c:pt idx="2328">
                  <c:v>3.2853312457895099</c:v>
                </c:pt>
                <c:pt idx="2329">
                  <c:v>3.2853312457895099</c:v>
                </c:pt>
                <c:pt idx="2330">
                  <c:v>3.2853312457895099</c:v>
                </c:pt>
                <c:pt idx="2331">
                  <c:v>3.2853312457895099</c:v>
                </c:pt>
                <c:pt idx="2332">
                  <c:v>3.2853312457895099</c:v>
                </c:pt>
                <c:pt idx="2333">
                  <c:v>3.2853312457895099</c:v>
                </c:pt>
                <c:pt idx="2334">
                  <c:v>3.2853312457895099</c:v>
                </c:pt>
                <c:pt idx="2335">
                  <c:v>3.2853312457895099</c:v>
                </c:pt>
                <c:pt idx="2336">
                  <c:v>3.2853312457895099</c:v>
                </c:pt>
                <c:pt idx="2337">
                  <c:v>3.2853312457895099</c:v>
                </c:pt>
                <c:pt idx="2338">
                  <c:v>3.2853312457895099</c:v>
                </c:pt>
                <c:pt idx="2339">
                  <c:v>3.2853312457895099</c:v>
                </c:pt>
                <c:pt idx="2340">
                  <c:v>3.2853312457895099</c:v>
                </c:pt>
                <c:pt idx="2341">
                  <c:v>3.2853312457895099</c:v>
                </c:pt>
                <c:pt idx="2342">
                  <c:v>3.2853312457895099</c:v>
                </c:pt>
                <c:pt idx="2343">
                  <c:v>3.2853312457895099</c:v>
                </c:pt>
                <c:pt idx="2344">
                  <c:v>3.2853312457895099</c:v>
                </c:pt>
                <c:pt idx="2345">
                  <c:v>3.2853312457895099</c:v>
                </c:pt>
                <c:pt idx="2346">
                  <c:v>3.2853312457895099</c:v>
                </c:pt>
                <c:pt idx="2347">
                  <c:v>3.2853312457895099</c:v>
                </c:pt>
                <c:pt idx="2348">
                  <c:v>3.2853312457895099</c:v>
                </c:pt>
                <c:pt idx="2349">
                  <c:v>3.2853312457895099</c:v>
                </c:pt>
                <c:pt idx="2350">
                  <c:v>3.2853312457895099</c:v>
                </c:pt>
                <c:pt idx="2351">
                  <c:v>3.2853312457895099</c:v>
                </c:pt>
                <c:pt idx="2352">
                  <c:v>3.2853312457895099</c:v>
                </c:pt>
                <c:pt idx="2353">
                  <c:v>3.2853312457895099</c:v>
                </c:pt>
                <c:pt idx="2354">
                  <c:v>3.2853312457895099</c:v>
                </c:pt>
                <c:pt idx="2355">
                  <c:v>3.2853312457895099</c:v>
                </c:pt>
                <c:pt idx="2356">
                  <c:v>3.2853312457895099</c:v>
                </c:pt>
                <c:pt idx="2357">
                  <c:v>3.2853312457895099</c:v>
                </c:pt>
                <c:pt idx="2358">
                  <c:v>3.2853312457895099</c:v>
                </c:pt>
                <c:pt idx="2359">
                  <c:v>3.2853312457895099</c:v>
                </c:pt>
                <c:pt idx="2360">
                  <c:v>3.2853312457895099</c:v>
                </c:pt>
                <c:pt idx="2361">
                  <c:v>3.2853312457895099</c:v>
                </c:pt>
                <c:pt idx="2362">
                  <c:v>3.2853312457895099</c:v>
                </c:pt>
                <c:pt idx="2363">
                  <c:v>3.2853312457895099</c:v>
                </c:pt>
                <c:pt idx="2364">
                  <c:v>3.2853312457895099</c:v>
                </c:pt>
                <c:pt idx="2365">
                  <c:v>3.2853312457895099</c:v>
                </c:pt>
                <c:pt idx="2366">
                  <c:v>3.2853312457895099</c:v>
                </c:pt>
                <c:pt idx="2367">
                  <c:v>3.2853312457895099</c:v>
                </c:pt>
                <c:pt idx="2368">
                  <c:v>3.2853312457895099</c:v>
                </c:pt>
                <c:pt idx="2369">
                  <c:v>3.2853312457895099</c:v>
                </c:pt>
                <c:pt idx="2370">
                  <c:v>3.2853312457895099</c:v>
                </c:pt>
                <c:pt idx="2371">
                  <c:v>3.2853312457895099</c:v>
                </c:pt>
                <c:pt idx="2372">
                  <c:v>3.2853312457895099</c:v>
                </c:pt>
                <c:pt idx="2373">
                  <c:v>3.2853312457895099</c:v>
                </c:pt>
                <c:pt idx="2374">
                  <c:v>3.2853312457895099</c:v>
                </c:pt>
                <c:pt idx="2375">
                  <c:v>3.2853312457895099</c:v>
                </c:pt>
                <c:pt idx="2376">
                  <c:v>3.2853312457895099</c:v>
                </c:pt>
                <c:pt idx="2377">
                  <c:v>3.2853312457895099</c:v>
                </c:pt>
                <c:pt idx="2378">
                  <c:v>3.2853312457895099</c:v>
                </c:pt>
                <c:pt idx="2379">
                  <c:v>3.2853312457895099</c:v>
                </c:pt>
                <c:pt idx="2380">
                  <c:v>3.2853312457895099</c:v>
                </c:pt>
                <c:pt idx="2381">
                  <c:v>3.2853312457895099</c:v>
                </c:pt>
                <c:pt idx="2382">
                  <c:v>3.2853312457895099</c:v>
                </c:pt>
                <c:pt idx="2383">
                  <c:v>3.2853312457895099</c:v>
                </c:pt>
                <c:pt idx="2384">
                  <c:v>3.2853312457895099</c:v>
                </c:pt>
                <c:pt idx="2385">
                  <c:v>3.2853312457895099</c:v>
                </c:pt>
                <c:pt idx="2386">
                  <c:v>3.2853312457895099</c:v>
                </c:pt>
                <c:pt idx="2387">
                  <c:v>3.2853312457895099</c:v>
                </c:pt>
                <c:pt idx="2388">
                  <c:v>3.2853312457895099</c:v>
                </c:pt>
                <c:pt idx="2389">
                  <c:v>3.2853312457895099</c:v>
                </c:pt>
                <c:pt idx="2390">
                  <c:v>3.2853312457895099</c:v>
                </c:pt>
                <c:pt idx="2391">
                  <c:v>3.2853312457895099</c:v>
                </c:pt>
                <c:pt idx="2392">
                  <c:v>3.2853312457895099</c:v>
                </c:pt>
                <c:pt idx="2393">
                  <c:v>3.2853312457895099</c:v>
                </c:pt>
                <c:pt idx="2394">
                  <c:v>3.2853312457895099</c:v>
                </c:pt>
                <c:pt idx="2395">
                  <c:v>3.2853312457895099</c:v>
                </c:pt>
                <c:pt idx="2396">
                  <c:v>3.2853312457895099</c:v>
                </c:pt>
                <c:pt idx="2397">
                  <c:v>3.2853312457895099</c:v>
                </c:pt>
                <c:pt idx="2398">
                  <c:v>3.2853312457895099</c:v>
                </c:pt>
                <c:pt idx="2399">
                  <c:v>3.2853312457895099</c:v>
                </c:pt>
                <c:pt idx="2400">
                  <c:v>3.2853312457895099</c:v>
                </c:pt>
                <c:pt idx="2401">
                  <c:v>3.2853312457895099</c:v>
                </c:pt>
                <c:pt idx="2402">
                  <c:v>3.2853312457895099</c:v>
                </c:pt>
                <c:pt idx="2403">
                  <c:v>3.2853312457895099</c:v>
                </c:pt>
                <c:pt idx="2404">
                  <c:v>3.2853312457895099</c:v>
                </c:pt>
                <c:pt idx="2405">
                  <c:v>3.2853312457895099</c:v>
                </c:pt>
                <c:pt idx="2406">
                  <c:v>3.2853312457895099</c:v>
                </c:pt>
                <c:pt idx="2407">
                  <c:v>3.2853312457895099</c:v>
                </c:pt>
                <c:pt idx="2408">
                  <c:v>3.2853312457895099</c:v>
                </c:pt>
                <c:pt idx="2409">
                  <c:v>3.2853312457895099</c:v>
                </c:pt>
                <c:pt idx="2410">
                  <c:v>3.2853312457895099</c:v>
                </c:pt>
                <c:pt idx="2411">
                  <c:v>3.2853312457895099</c:v>
                </c:pt>
                <c:pt idx="2412">
                  <c:v>3.2853312457895099</c:v>
                </c:pt>
                <c:pt idx="2413">
                  <c:v>3.2853312457895099</c:v>
                </c:pt>
                <c:pt idx="2414">
                  <c:v>3.2853312457895099</c:v>
                </c:pt>
                <c:pt idx="2415">
                  <c:v>3.2853312457895099</c:v>
                </c:pt>
                <c:pt idx="2416">
                  <c:v>3.2853312457895099</c:v>
                </c:pt>
                <c:pt idx="2417">
                  <c:v>3.2853312457895099</c:v>
                </c:pt>
                <c:pt idx="2418">
                  <c:v>3.2853312457895099</c:v>
                </c:pt>
                <c:pt idx="2419">
                  <c:v>3.2853312457895099</c:v>
                </c:pt>
                <c:pt idx="2420">
                  <c:v>3.2853312457895099</c:v>
                </c:pt>
                <c:pt idx="2421">
                  <c:v>3.2853312457895099</c:v>
                </c:pt>
                <c:pt idx="2422">
                  <c:v>3.2853312457895099</c:v>
                </c:pt>
                <c:pt idx="2423">
                  <c:v>3.2853312457895099</c:v>
                </c:pt>
                <c:pt idx="2424">
                  <c:v>3.2853312457895099</c:v>
                </c:pt>
                <c:pt idx="2425">
                  <c:v>3.2853312457895099</c:v>
                </c:pt>
                <c:pt idx="2426">
                  <c:v>3.2853312457895099</c:v>
                </c:pt>
                <c:pt idx="2427">
                  <c:v>3.2853312457895099</c:v>
                </c:pt>
                <c:pt idx="2428">
                  <c:v>3.2853312457895099</c:v>
                </c:pt>
                <c:pt idx="2429">
                  <c:v>3.2853312457895099</c:v>
                </c:pt>
                <c:pt idx="2430">
                  <c:v>3.2853312457895099</c:v>
                </c:pt>
                <c:pt idx="2431">
                  <c:v>3.2853312457895099</c:v>
                </c:pt>
                <c:pt idx="2432">
                  <c:v>3.2853312457895099</c:v>
                </c:pt>
                <c:pt idx="2433">
                  <c:v>3.2853312457895099</c:v>
                </c:pt>
                <c:pt idx="2434">
                  <c:v>3.2853312457895099</c:v>
                </c:pt>
                <c:pt idx="2435">
                  <c:v>3.2853312457895099</c:v>
                </c:pt>
                <c:pt idx="2436">
                  <c:v>3.2853312457895099</c:v>
                </c:pt>
                <c:pt idx="2437">
                  <c:v>3.2853312457895099</c:v>
                </c:pt>
                <c:pt idx="2438">
                  <c:v>3.2853312457895099</c:v>
                </c:pt>
                <c:pt idx="2439">
                  <c:v>3.2853312457895099</c:v>
                </c:pt>
                <c:pt idx="2440">
                  <c:v>3.2853312457895099</c:v>
                </c:pt>
                <c:pt idx="2441">
                  <c:v>3.2853312457895099</c:v>
                </c:pt>
                <c:pt idx="2442">
                  <c:v>3.2853312457895099</c:v>
                </c:pt>
                <c:pt idx="2443">
                  <c:v>3.2853312457895099</c:v>
                </c:pt>
                <c:pt idx="2444">
                  <c:v>3.2853312457895099</c:v>
                </c:pt>
                <c:pt idx="2445">
                  <c:v>3.2853312457895099</c:v>
                </c:pt>
                <c:pt idx="2446">
                  <c:v>3.2853312457895099</c:v>
                </c:pt>
                <c:pt idx="2447">
                  <c:v>3.2853312457895099</c:v>
                </c:pt>
                <c:pt idx="2448">
                  <c:v>3.2853312457895099</c:v>
                </c:pt>
                <c:pt idx="2449">
                  <c:v>3.2853312457895099</c:v>
                </c:pt>
                <c:pt idx="2450">
                  <c:v>3.2853312457895099</c:v>
                </c:pt>
                <c:pt idx="2451">
                  <c:v>3.2853312457895099</c:v>
                </c:pt>
                <c:pt idx="2452">
                  <c:v>3.2853312457895099</c:v>
                </c:pt>
                <c:pt idx="2453">
                  <c:v>3.2853312457895099</c:v>
                </c:pt>
                <c:pt idx="2454">
                  <c:v>3.2853312457895099</c:v>
                </c:pt>
                <c:pt idx="2455">
                  <c:v>3.2853312457895099</c:v>
                </c:pt>
                <c:pt idx="2456">
                  <c:v>3.2853312457895099</c:v>
                </c:pt>
                <c:pt idx="2457">
                  <c:v>3.2853312457895099</c:v>
                </c:pt>
                <c:pt idx="2458">
                  <c:v>3.2853312457895099</c:v>
                </c:pt>
                <c:pt idx="2459">
                  <c:v>3.2853312457895099</c:v>
                </c:pt>
                <c:pt idx="2460">
                  <c:v>3.2853312457895099</c:v>
                </c:pt>
                <c:pt idx="2461">
                  <c:v>3.2853312457895099</c:v>
                </c:pt>
                <c:pt idx="2462">
                  <c:v>3.2853312457895099</c:v>
                </c:pt>
                <c:pt idx="2463">
                  <c:v>3.2853312457895099</c:v>
                </c:pt>
                <c:pt idx="2464">
                  <c:v>3.2853312457895099</c:v>
                </c:pt>
                <c:pt idx="2465">
                  <c:v>3.2853312457895099</c:v>
                </c:pt>
                <c:pt idx="2466">
                  <c:v>3.2853312457895099</c:v>
                </c:pt>
                <c:pt idx="2467">
                  <c:v>3.2853312457895099</c:v>
                </c:pt>
                <c:pt idx="2468">
                  <c:v>3.2853312457895099</c:v>
                </c:pt>
                <c:pt idx="2469">
                  <c:v>3.2853312457895099</c:v>
                </c:pt>
                <c:pt idx="2470">
                  <c:v>3.2853312457895099</c:v>
                </c:pt>
                <c:pt idx="2471">
                  <c:v>3.2853312457895099</c:v>
                </c:pt>
                <c:pt idx="2472">
                  <c:v>3.2853312457895099</c:v>
                </c:pt>
                <c:pt idx="2473">
                  <c:v>3.2853312457895099</c:v>
                </c:pt>
                <c:pt idx="2474">
                  <c:v>3.2853312457895099</c:v>
                </c:pt>
                <c:pt idx="2475">
                  <c:v>3.2853312457895099</c:v>
                </c:pt>
                <c:pt idx="2476">
                  <c:v>3.2853312457895099</c:v>
                </c:pt>
                <c:pt idx="2477">
                  <c:v>3.2853312457895099</c:v>
                </c:pt>
                <c:pt idx="2478">
                  <c:v>3.2853312457895099</c:v>
                </c:pt>
                <c:pt idx="2479">
                  <c:v>3.2853312457895099</c:v>
                </c:pt>
                <c:pt idx="2480">
                  <c:v>3.2853312457895099</c:v>
                </c:pt>
                <c:pt idx="2481">
                  <c:v>3.2853312457895099</c:v>
                </c:pt>
                <c:pt idx="2482">
                  <c:v>3.2853312457895099</c:v>
                </c:pt>
                <c:pt idx="2483">
                  <c:v>3.2853312457895099</c:v>
                </c:pt>
                <c:pt idx="2484">
                  <c:v>3.2853312457895099</c:v>
                </c:pt>
                <c:pt idx="2485">
                  <c:v>3.2853312457895099</c:v>
                </c:pt>
                <c:pt idx="2486">
                  <c:v>3.2853312457895099</c:v>
                </c:pt>
                <c:pt idx="2487">
                  <c:v>3.2853312457895099</c:v>
                </c:pt>
                <c:pt idx="2488">
                  <c:v>3.2853312457895099</c:v>
                </c:pt>
                <c:pt idx="2489">
                  <c:v>3.2853312457895099</c:v>
                </c:pt>
                <c:pt idx="2490">
                  <c:v>3.2853312457895099</c:v>
                </c:pt>
                <c:pt idx="2491">
                  <c:v>3.2853312457895099</c:v>
                </c:pt>
                <c:pt idx="2492">
                  <c:v>3.2853312457895099</c:v>
                </c:pt>
                <c:pt idx="2493">
                  <c:v>3.2853312457895099</c:v>
                </c:pt>
                <c:pt idx="2494">
                  <c:v>3.2853312457895099</c:v>
                </c:pt>
                <c:pt idx="2495">
                  <c:v>3.2853312457895099</c:v>
                </c:pt>
                <c:pt idx="2496">
                  <c:v>3.2853312457895099</c:v>
                </c:pt>
                <c:pt idx="2497">
                  <c:v>3.2853312457895099</c:v>
                </c:pt>
              </c:numCache>
            </c:numRef>
          </c:val>
          <c:smooth val="0"/>
          <c:extLst xmlns:c16r2="http://schemas.microsoft.com/office/drawing/2015/06/chart">
            <c:ext xmlns:c16="http://schemas.microsoft.com/office/drawing/2014/chart" uri="{C3380CC4-5D6E-409C-BE32-E72D297353CC}">
              <c16:uniqueId val="{00000001-51FF-4917-A43B-FF6672126256}"/>
            </c:ext>
          </c:extLst>
        </c:ser>
        <c:dLbls>
          <c:showLegendKey val="0"/>
          <c:showVal val="0"/>
          <c:showCatName val="0"/>
          <c:showSerName val="0"/>
          <c:showPercent val="0"/>
          <c:showBubbleSize val="0"/>
        </c:dLbls>
        <c:marker val="1"/>
        <c:smooth val="0"/>
        <c:axId val="551993728"/>
        <c:axId val="551995264"/>
      </c:lineChart>
      <c:dateAx>
        <c:axId val="551993728"/>
        <c:scaling>
          <c:orientation val="minMax"/>
        </c:scaling>
        <c:delete val="0"/>
        <c:axPos val="b"/>
        <c:numFmt formatCode="m/d/yyyy" sourceLinked="1"/>
        <c:majorTickMark val="none"/>
        <c:minorTickMark val="none"/>
        <c:tickLblPos val="nextTo"/>
        <c:crossAx val="551995264"/>
        <c:crosses val="autoZero"/>
        <c:auto val="1"/>
        <c:lblOffset val="100"/>
        <c:baseTimeUnit val="days"/>
      </c:dateAx>
      <c:valAx>
        <c:axId val="551995264"/>
        <c:scaling>
          <c:orientation val="minMax"/>
        </c:scaling>
        <c:delete val="0"/>
        <c:axPos val="l"/>
        <c:majorGridlines/>
        <c:numFmt formatCode="_(* #,##0.00_);_(* \(#,##0.00\);_(* &quot;-&quot;??_);_(@_)" sourceLinked="1"/>
        <c:majorTickMark val="none"/>
        <c:minorTickMark val="none"/>
        <c:tickLblPos val="nextTo"/>
        <c:spPr>
          <a:ln w="9525">
            <a:noFill/>
          </a:ln>
        </c:spPr>
        <c:crossAx val="55199372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dirty="0"/>
              <a:t>1</a:t>
            </a:r>
            <a:r>
              <a:rPr lang="en-US" sz="1200" baseline="0" dirty="0"/>
              <a:t> month realized s</a:t>
            </a:r>
            <a:r>
              <a:rPr lang="en-US" sz="1200" dirty="0"/>
              <a:t>pread</a:t>
            </a:r>
            <a:r>
              <a:rPr lang="en-US" sz="1200" baseline="0" dirty="0"/>
              <a:t> Variance swap long DAX &amp; Short SX5E</a:t>
            </a:r>
            <a:endParaRPr lang="en-US" sz="1200" dirty="0"/>
          </a:p>
        </c:rich>
      </c:tx>
      <c:layout/>
      <c:overlay val="0"/>
    </c:title>
    <c:autoTitleDeleted val="0"/>
    <c:plotArea>
      <c:layout/>
      <c:lineChart>
        <c:grouping val="standard"/>
        <c:varyColors val="0"/>
        <c:ser>
          <c:idx val="2"/>
          <c:order val="0"/>
          <c:tx>
            <c:strRef>
              <c:f>Sheet1!$BM$66</c:f>
              <c:strCache>
                <c:ptCount val="1"/>
                <c:pt idx="0">
                  <c:v>Spread 60bd RV DAX - SX5E</c:v>
                </c:pt>
              </c:strCache>
            </c:strRef>
          </c:tx>
          <c:marker>
            <c:symbol val="none"/>
          </c:marker>
          <c:cat>
            <c:numRef>
              <c:f>Sheet1!$BJ$67:$BJ$2547</c:f>
              <c:numCache>
                <c:formatCode>m/d/yyyy</c:formatCode>
                <c:ptCount val="2481"/>
                <c:pt idx="0">
                  <c:v>38930</c:v>
                </c:pt>
                <c:pt idx="1">
                  <c:v>38931</c:v>
                </c:pt>
                <c:pt idx="2">
                  <c:v>38932</c:v>
                </c:pt>
                <c:pt idx="3">
                  <c:v>38933</c:v>
                </c:pt>
                <c:pt idx="4">
                  <c:v>38936</c:v>
                </c:pt>
                <c:pt idx="5">
                  <c:v>38937</c:v>
                </c:pt>
                <c:pt idx="6">
                  <c:v>38938</c:v>
                </c:pt>
                <c:pt idx="7">
                  <c:v>38939</c:v>
                </c:pt>
                <c:pt idx="8">
                  <c:v>38940</c:v>
                </c:pt>
                <c:pt idx="9">
                  <c:v>38943</c:v>
                </c:pt>
                <c:pt idx="10">
                  <c:v>38944</c:v>
                </c:pt>
                <c:pt idx="11">
                  <c:v>38945</c:v>
                </c:pt>
                <c:pt idx="12">
                  <c:v>38946</c:v>
                </c:pt>
                <c:pt idx="13">
                  <c:v>38947</c:v>
                </c:pt>
                <c:pt idx="14">
                  <c:v>38950</c:v>
                </c:pt>
                <c:pt idx="15">
                  <c:v>38951</c:v>
                </c:pt>
                <c:pt idx="16">
                  <c:v>38952</c:v>
                </c:pt>
                <c:pt idx="17">
                  <c:v>38953</c:v>
                </c:pt>
                <c:pt idx="18">
                  <c:v>38954</c:v>
                </c:pt>
                <c:pt idx="19">
                  <c:v>38957</c:v>
                </c:pt>
                <c:pt idx="20">
                  <c:v>38958</c:v>
                </c:pt>
                <c:pt idx="21">
                  <c:v>38959</c:v>
                </c:pt>
                <c:pt idx="22">
                  <c:v>38960</c:v>
                </c:pt>
                <c:pt idx="23">
                  <c:v>38961</c:v>
                </c:pt>
                <c:pt idx="24">
                  <c:v>38964</c:v>
                </c:pt>
                <c:pt idx="25">
                  <c:v>38965</c:v>
                </c:pt>
                <c:pt idx="26">
                  <c:v>38966</c:v>
                </c:pt>
                <c:pt idx="27">
                  <c:v>38967</c:v>
                </c:pt>
                <c:pt idx="28">
                  <c:v>38968</c:v>
                </c:pt>
                <c:pt idx="29">
                  <c:v>38971</c:v>
                </c:pt>
                <c:pt idx="30">
                  <c:v>38972</c:v>
                </c:pt>
                <c:pt idx="31">
                  <c:v>38973</c:v>
                </c:pt>
                <c:pt idx="32">
                  <c:v>38974</c:v>
                </c:pt>
                <c:pt idx="33">
                  <c:v>38975</c:v>
                </c:pt>
                <c:pt idx="34">
                  <c:v>38978</c:v>
                </c:pt>
                <c:pt idx="35">
                  <c:v>38979</c:v>
                </c:pt>
                <c:pt idx="36">
                  <c:v>38980</c:v>
                </c:pt>
                <c:pt idx="37">
                  <c:v>38981</c:v>
                </c:pt>
                <c:pt idx="38">
                  <c:v>38982</c:v>
                </c:pt>
                <c:pt idx="39">
                  <c:v>38985</c:v>
                </c:pt>
                <c:pt idx="40">
                  <c:v>38986</c:v>
                </c:pt>
                <c:pt idx="41">
                  <c:v>38987</c:v>
                </c:pt>
                <c:pt idx="42">
                  <c:v>38988</c:v>
                </c:pt>
                <c:pt idx="43">
                  <c:v>38989</c:v>
                </c:pt>
                <c:pt idx="44">
                  <c:v>38992</c:v>
                </c:pt>
                <c:pt idx="45">
                  <c:v>38993</c:v>
                </c:pt>
                <c:pt idx="46">
                  <c:v>38994</c:v>
                </c:pt>
                <c:pt idx="47">
                  <c:v>38995</c:v>
                </c:pt>
                <c:pt idx="48">
                  <c:v>38996</c:v>
                </c:pt>
                <c:pt idx="49">
                  <c:v>38999</c:v>
                </c:pt>
                <c:pt idx="50">
                  <c:v>39000</c:v>
                </c:pt>
                <c:pt idx="51">
                  <c:v>39001</c:v>
                </c:pt>
                <c:pt idx="52">
                  <c:v>39002</c:v>
                </c:pt>
                <c:pt idx="53">
                  <c:v>39003</c:v>
                </c:pt>
                <c:pt idx="54">
                  <c:v>39006</c:v>
                </c:pt>
                <c:pt idx="55">
                  <c:v>39007</c:v>
                </c:pt>
                <c:pt idx="56">
                  <c:v>39008</c:v>
                </c:pt>
                <c:pt idx="57">
                  <c:v>39009</c:v>
                </c:pt>
                <c:pt idx="58">
                  <c:v>39010</c:v>
                </c:pt>
                <c:pt idx="59">
                  <c:v>39013</c:v>
                </c:pt>
                <c:pt idx="60">
                  <c:v>39014</c:v>
                </c:pt>
                <c:pt idx="61">
                  <c:v>39015</c:v>
                </c:pt>
                <c:pt idx="62">
                  <c:v>39016</c:v>
                </c:pt>
                <c:pt idx="63">
                  <c:v>39017</c:v>
                </c:pt>
                <c:pt idx="64">
                  <c:v>39020</c:v>
                </c:pt>
                <c:pt idx="65">
                  <c:v>39021</c:v>
                </c:pt>
                <c:pt idx="66">
                  <c:v>39022</c:v>
                </c:pt>
                <c:pt idx="67">
                  <c:v>39023</c:v>
                </c:pt>
                <c:pt idx="68">
                  <c:v>39024</c:v>
                </c:pt>
                <c:pt idx="69">
                  <c:v>39027</c:v>
                </c:pt>
                <c:pt idx="70">
                  <c:v>39028</c:v>
                </c:pt>
                <c:pt idx="71">
                  <c:v>39029</c:v>
                </c:pt>
                <c:pt idx="72">
                  <c:v>39030</c:v>
                </c:pt>
                <c:pt idx="73">
                  <c:v>39031</c:v>
                </c:pt>
                <c:pt idx="74">
                  <c:v>39034</c:v>
                </c:pt>
                <c:pt idx="75">
                  <c:v>39035</c:v>
                </c:pt>
                <c:pt idx="76">
                  <c:v>39036</c:v>
                </c:pt>
                <c:pt idx="77">
                  <c:v>39037</c:v>
                </c:pt>
                <c:pt idx="78">
                  <c:v>39038</c:v>
                </c:pt>
                <c:pt idx="79">
                  <c:v>39041</c:v>
                </c:pt>
                <c:pt idx="80">
                  <c:v>39042</c:v>
                </c:pt>
                <c:pt idx="81">
                  <c:v>39043</c:v>
                </c:pt>
                <c:pt idx="82">
                  <c:v>39044</c:v>
                </c:pt>
                <c:pt idx="83">
                  <c:v>39045</c:v>
                </c:pt>
                <c:pt idx="84">
                  <c:v>39048</c:v>
                </c:pt>
                <c:pt idx="85">
                  <c:v>39049</c:v>
                </c:pt>
                <c:pt idx="86">
                  <c:v>39050</c:v>
                </c:pt>
                <c:pt idx="87">
                  <c:v>39051</c:v>
                </c:pt>
                <c:pt idx="88">
                  <c:v>39052</c:v>
                </c:pt>
                <c:pt idx="89">
                  <c:v>39055</c:v>
                </c:pt>
                <c:pt idx="90">
                  <c:v>39056</c:v>
                </c:pt>
                <c:pt idx="91">
                  <c:v>39057</c:v>
                </c:pt>
                <c:pt idx="92">
                  <c:v>39058</c:v>
                </c:pt>
                <c:pt idx="93">
                  <c:v>39059</c:v>
                </c:pt>
                <c:pt idx="94">
                  <c:v>39062</c:v>
                </c:pt>
                <c:pt idx="95">
                  <c:v>39063</c:v>
                </c:pt>
                <c:pt idx="96">
                  <c:v>39064</c:v>
                </c:pt>
                <c:pt idx="97">
                  <c:v>39065</c:v>
                </c:pt>
                <c:pt idx="98">
                  <c:v>39066</c:v>
                </c:pt>
                <c:pt idx="99">
                  <c:v>39069</c:v>
                </c:pt>
                <c:pt idx="100">
                  <c:v>39070</c:v>
                </c:pt>
                <c:pt idx="101">
                  <c:v>39071</c:v>
                </c:pt>
                <c:pt idx="102">
                  <c:v>39072</c:v>
                </c:pt>
                <c:pt idx="103">
                  <c:v>39073</c:v>
                </c:pt>
                <c:pt idx="104">
                  <c:v>39078</c:v>
                </c:pt>
                <c:pt idx="105">
                  <c:v>39079</c:v>
                </c:pt>
                <c:pt idx="106">
                  <c:v>39080</c:v>
                </c:pt>
                <c:pt idx="107">
                  <c:v>39084</c:v>
                </c:pt>
                <c:pt idx="108">
                  <c:v>39085</c:v>
                </c:pt>
                <c:pt idx="109">
                  <c:v>39086</c:v>
                </c:pt>
                <c:pt idx="110">
                  <c:v>39087</c:v>
                </c:pt>
                <c:pt idx="111">
                  <c:v>39090</c:v>
                </c:pt>
                <c:pt idx="112">
                  <c:v>39091</c:v>
                </c:pt>
                <c:pt idx="113">
                  <c:v>39092</c:v>
                </c:pt>
                <c:pt idx="114">
                  <c:v>39093</c:v>
                </c:pt>
                <c:pt idx="115">
                  <c:v>39094</c:v>
                </c:pt>
                <c:pt idx="116">
                  <c:v>39097</c:v>
                </c:pt>
                <c:pt idx="117">
                  <c:v>39098</c:v>
                </c:pt>
                <c:pt idx="118">
                  <c:v>39099</c:v>
                </c:pt>
                <c:pt idx="119">
                  <c:v>39100</c:v>
                </c:pt>
                <c:pt idx="120">
                  <c:v>39101</c:v>
                </c:pt>
                <c:pt idx="121">
                  <c:v>39104</c:v>
                </c:pt>
                <c:pt idx="122">
                  <c:v>39105</c:v>
                </c:pt>
                <c:pt idx="123">
                  <c:v>39106</c:v>
                </c:pt>
                <c:pt idx="124">
                  <c:v>39107</c:v>
                </c:pt>
                <c:pt idx="125">
                  <c:v>39108</c:v>
                </c:pt>
                <c:pt idx="126">
                  <c:v>39111</c:v>
                </c:pt>
                <c:pt idx="127">
                  <c:v>39112</c:v>
                </c:pt>
                <c:pt idx="128">
                  <c:v>39113</c:v>
                </c:pt>
                <c:pt idx="129">
                  <c:v>39114</c:v>
                </c:pt>
                <c:pt idx="130">
                  <c:v>39115</c:v>
                </c:pt>
                <c:pt idx="131">
                  <c:v>39118</c:v>
                </c:pt>
                <c:pt idx="132">
                  <c:v>39119</c:v>
                </c:pt>
                <c:pt idx="133">
                  <c:v>39120</c:v>
                </c:pt>
                <c:pt idx="134">
                  <c:v>39121</c:v>
                </c:pt>
                <c:pt idx="135">
                  <c:v>39122</c:v>
                </c:pt>
                <c:pt idx="136">
                  <c:v>39125</c:v>
                </c:pt>
                <c:pt idx="137">
                  <c:v>39126</c:v>
                </c:pt>
                <c:pt idx="138">
                  <c:v>39127</c:v>
                </c:pt>
                <c:pt idx="139">
                  <c:v>39128</c:v>
                </c:pt>
                <c:pt idx="140">
                  <c:v>39129</c:v>
                </c:pt>
                <c:pt idx="141">
                  <c:v>39132</c:v>
                </c:pt>
                <c:pt idx="142">
                  <c:v>39133</c:v>
                </c:pt>
                <c:pt idx="143">
                  <c:v>39134</c:v>
                </c:pt>
                <c:pt idx="144">
                  <c:v>39135</c:v>
                </c:pt>
                <c:pt idx="145">
                  <c:v>39136</c:v>
                </c:pt>
                <c:pt idx="146">
                  <c:v>39139</c:v>
                </c:pt>
                <c:pt idx="147">
                  <c:v>39140</c:v>
                </c:pt>
                <c:pt idx="148">
                  <c:v>39141</c:v>
                </c:pt>
                <c:pt idx="149">
                  <c:v>39142</c:v>
                </c:pt>
                <c:pt idx="150">
                  <c:v>39143</c:v>
                </c:pt>
                <c:pt idx="151">
                  <c:v>39146</c:v>
                </c:pt>
                <c:pt idx="152">
                  <c:v>39147</c:v>
                </c:pt>
                <c:pt idx="153">
                  <c:v>39148</c:v>
                </c:pt>
                <c:pt idx="154">
                  <c:v>39149</c:v>
                </c:pt>
                <c:pt idx="155">
                  <c:v>39150</c:v>
                </c:pt>
                <c:pt idx="156">
                  <c:v>39153</c:v>
                </c:pt>
                <c:pt idx="157">
                  <c:v>39154</c:v>
                </c:pt>
                <c:pt idx="158">
                  <c:v>39155</c:v>
                </c:pt>
                <c:pt idx="159">
                  <c:v>39156</c:v>
                </c:pt>
                <c:pt idx="160">
                  <c:v>39157</c:v>
                </c:pt>
                <c:pt idx="161">
                  <c:v>39160</c:v>
                </c:pt>
                <c:pt idx="162">
                  <c:v>39161</c:v>
                </c:pt>
                <c:pt idx="163">
                  <c:v>39162</c:v>
                </c:pt>
                <c:pt idx="164">
                  <c:v>39163</c:v>
                </c:pt>
                <c:pt idx="165">
                  <c:v>39164</c:v>
                </c:pt>
                <c:pt idx="166">
                  <c:v>39167</c:v>
                </c:pt>
                <c:pt idx="167">
                  <c:v>39168</c:v>
                </c:pt>
                <c:pt idx="168">
                  <c:v>39169</c:v>
                </c:pt>
                <c:pt idx="169">
                  <c:v>39170</c:v>
                </c:pt>
                <c:pt idx="170">
                  <c:v>39171</c:v>
                </c:pt>
                <c:pt idx="171">
                  <c:v>39174</c:v>
                </c:pt>
                <c:pt idx="172">
                  <c:v>39175</c:v>
                </c:pt>
                <c:pt idx="173">
                  <c:v>39176</c:v>
                </c:pt>
                <c:pt idx="174">
                  <c:v>39177</c:v>
                </c:pt>
                <c:pt idx="175">
                  <c:v>39182</c:v>
                </c:pt>
                <c:pt idx="176">
                  <c:v>39183</c:v>
                </c:pt>
                <c:pt idx="177">
                  <c:v>39184</c:v>
                </c:pt>
                <c:pt idx="178">
                  <c:v>39185</c:v>
                </c:pt>
                <c:pt idx="179">
                  <c:v>39188</c:v>
                </c:pt>
                <c:pt idx="180">
                  <c:v>39189</c:v>
                </c:pt>
                <c:pt idx="181">
                  <c:v>39190</c:v>
                </c:pt>
                <c:pt idx="182">
                  <c:v>39191</c:v>
                </c:pt>
                <c:pt idx="183">
                  <c:v>39192</c:v>
                </c:pt>
                <c:pt idx="184">
                  <c:v>39195</c:v>
                </c:pt>
                <c:pt idx="185">
                  <c:v>39196</c:v>
                </c:pt>
                <c:pt idx="186">
                  <c:v>39197</c:v>
                </c:pt>
                <c:pt idx="187">
                  <c:v>39198</c:v>
                </c:pt>
                <c:pt idx="188">
                  <c:v>39199</c:v>
                </c:pt>
                <c:pt idx="189">
                  <c:v>39202</c:v>
                </c:pt>
                <c:pt idx="190">
                  <c:v>39204</c:v>
                </c:pt>
                <c:pt idx="191">
                  <c:v>39205</c:v>
                </c:pt>
                <c:pt idx="192">
                  <c:v>39206</c:v>
                </c:pt>
                <c:pt idx="193">
                  <c:v>39209</c:v>
                </c:pt>
                <c:pt idx="194">
                  <c:v>39210</c:v>
                </c:pt>
                <c:pt idx="195">
                  <c:v>39211</c:v>
                </c:pt>
                <c:pt idx="196">
                  <c:v>39212</c:v>
                </c:pt>
                <c:pt idx="197">
                  <c:v>39213</c:v>
                </c:pt>
                <c:pt idx="198">
                  <c:v>39216</c:v>
                </c:pt>
                <c:pt idx="199">
                  <c:v>39217</c:v>
                </c:pt>
                <c:pt idx="200">
                  <c:v>39218</c:v>
                </c:pt>
                <c:pt idx="201">
                  <c:v>39219</c:v>
                </c:pt>
                <c:pt idx="202">
                  <c:v>39220</c:v>
                </c:pt>
                <c:pt idx="203">
                  <c:v>39223</c:v>
                </c:pt>
                <c:pt idx="204">
                  <c:v>39224</c:v>
                </c:pt>
                <c:pt idx="205">
                  <c:v>39225</c:v>
                </c:pt>
                <c:pt idx="206">
                  <c:v>39226</c:v>
                </c:pt>
                <c:pt idx="207">
                  <c:v>39227</c:v>
                </c:pt>
                <c:pt idx="208">
                  <c:v>39231</c:v>
                </c:pt>
                <c:pt idx="209">
                  <c:v>39232</c:v>
                </c:pt>
                <c:pt idx="210">
                  <c:v>39233</c:v>
                </c:pt>
                <c:pt idx="211">
                  <c:v>39234</c:v>
                </c:pt>
                <c:pt idx="212">
                  <c:v>39237</c:v>
                </c:pt>
                <c:pt idx="213">
                  <c:v>39238</c:v>
                </c:pt>
                <c:pt idx="214">
                  <c:v>39239</c:v>
                </c:pt>
                <c:pt idx="215">
                  <c:v>39240</c:v>
                </c:pt>
                <c:pt idx="216">
                  <c:v>39241</c:v>
                </c:pt>
                <c:pt idx="217">
                  <c:v>39244</c:v>
                </c:pt>
                <c:pt idx="218">
                  <c:v>39245</c:v>
                </c:pt>
                <c:pt idx="219">
                  <c:v>39246</c:v>
                </c:pt>
                <c:pt idx="220">
                  <c:v>39247</c:v>
                </c:pt>
                <c:pt idx="221">
                  <c:v>39248</c:v>
                </c:pt>
                <c:pt idx="222">
                  <c:v>39251</c:v>
                </c:pt>
                <c:pt idx="223">
                  <c:v>39252</c:v>
                </c:pt>
                <c:pt idx="224">
                  <c:v>39253</c:v>
                </c:pt>
                <c:pt idx="225">
                  <c:v>39254</c:v>
                </c:pt>
                <c:pt idx="226">
                  <c:v>39255</c:v>
                </c:pt>
                <c:pt idx="227">
                  <c:v>39258</c:v>
                </c:pt>
                <c:pt idx="228">
                  <c:v>39259</c:v>
                </c:pt>
                <c:pt idx="229">
                  <c:v>39260</c:v>
                </c:pt>
                <c:pt idx="230">
                  <c:v>39261</c:v>
                </c:pt>
                <c:pt idx="231">
                  <c:v>39262</c:v>
                </c:pt>
                <c:pt idx="232">
                  <c:v>39265</c:v>
                </c:pt>
                <c:pt idx="233">
                  <c:v>39266</c:v>
                </c:pt>
                <c:pt idx="234">
                  <c:v>39267</c:v>
                </c:pt>
                <c:pt idx="235">
                  <c:v>39268</c:v>
                </c:pt>
                <c:pt idx="236">
                  <c:v>39269</c:v>
                </c:pt>
                <c:pt idx="237">
                  <c:v>39272</c:v>
                </c:pt>
                <c:pt idx="238">
                  <c:v>39273</c:v>
                </c:pt>
                <c:pt idx="239">
                  <c:v>39274</c:v>
                </c:pt>
                <c:pt idx="240">
                  <c:v>39275</c:v>
                </c:pt>
                <c:pt idx="241">
                  <c:v>39276</c:v>
                </c:pt>
                <c:pt idx="242">
                  <c:v>39279</c:v>
                </c:pt>
                <c:pt idx="243">
                  <c:v>39280</c:v>
                </c:pt>
                <c:pt idx="244">
                  <c:v>39281</c:v>
                </c:pt>
                <c:pt idx="245">
                  <c:v>39282</c:v>
                </c:pt>
                <c:pt idx="246">
                  <c:v>39283</c:v>
                </c:pt>
                <c:pt idx="247">
                  <c:v>39286</c:v>
                </c:pt>
                <c:pt idx="248">
                  <c:v>39287</c:v>
                </c:pt>
                <c:pt idx="249">
                  <c:v>39288</c:v>
                </c:pt>
                <c:pt idx="250">
                  <c:v>39289</c:v>
                </c:pt>
                <c:pt idx="251">
                  <c:v>39290</c:v>
                </c:pt>
                <c:pt idx="252">
                  <c:v>39293</c:v>
                </c:pt>
                <c:pt idx="253">
                  <c:v>39294</c:v>
                </c:pt>
                <c:pt idx="254">
                  <c:v>39295</c:v>
                </c:pt>
                <c:pt idx="255">
                  <c:v>39296</c:v>
                </c:pt>
                <c:pt idx="256">
                  <c:v>39297</c:v>
                </c:pt>
                <c:pt idx="257">
                  <c:v>39300</c:v>
                </c:pt>
                <c:pt idx="258">
                  <c:v>39301</c:v>
                </c:pt>
                <c:pt idx="259">
                  <c:v>39302</c:v>
                </c:pt>
                <c:pt idx="260">
                  <c:v>39303</c:v>
                </c:pt>
                <c:pt idx="261">
                  <c:v>39304</c:v>
                </c:pt>
                <c:pt idx="262">
                  <c:v>39307</c:v>
                </c:pt>
                <c:pt idx="263">
                  <c:v>39308</c:v>
                </c:pt>
                <c:pt idx="264">
                  <c:v>39309</c:v>
                </c:pt>
                <c:pt idx="265">
                  <c:v>39310</c:v>
                </c:pt>
                <c:pt idx="266">
                  <c:v>39311</c:v>
                </c:pt>
                <c:pt idx="267">
                  <c:v>39314</c:v>
                </c:pt>
                <c:pt idx="268">
                  <c:v>39315</c:v>
                </c:pt>
                <c:pt idx="269">
                  <c:v>39316</c:v>
                </c:pt>
                <c:pt idx="270">
                  <c:v>39317</c:v>
                </c:pt>
                <c:pt idx="271">
                  <c:v>39318</c:v>
                </c:pt>
                <c:pt idx="272">
                  <c:v>39321</c:v>
                </c:pt>
                <c:pt idx="273">
                  <c:v>39322</c:v>
                </c:pt>
                <c:pt idx="274">
                  <c:v>39323</c:v>
                </c:pt>
                <c:pt idx="275">
                  <c:v>39324</c:v>
                </c:pt>
                <c:pt idx="276">
                  <c:v>39325</c:v>
                </c:pt>
                <c:pt idx="277">
                  <c:v>39328</c:v>
                </c:pt>
                <c:pt idx="278">
                  <c:v>39329</c:v>
                </c:pt>
                <c:pt idx="279">
                  <c:v>39330</c:v>
                </c:pt>
                <c:pt idx="280">
                  <c:v>39331</c:v>
                </c:pt>
                <c:pt idx="281">
                  <c:v>39332</c:v>
                </c:pt>
                <c:pt idx="282">
                  <c:v>39335</c:v>
                </c:pt>
                <c:pt idx="283">
                  <c:v>39336</c:v>
                </c:pt>
                <c:pt idx="284">
                  <c:v>39337</c:v>
                </c:pt>
                <c:pt idx="285">
                  <c:v>39338</c:v>
                </c:pt>
                <c:pt idx="286">
                  <c:v>39339</c:v>
                </c:pt>
                <c:pt idx="287">
                  <c:v>39342</c:v>
                </c:pt>
                <c:pt idx="288">
                  <c:v>39343</c:v>
                </c:pt>
                <c:pt idx="289">
                  <c:v>39344</c:v>
                </c:pt>
                <c:pt idx="290">
                  <c:v>39345</c:v>
                </c:pt>
                <c:pt idx="291">
                  <c:v>39346</c:v>
                </c:pt>
                <c:pt idx="292">
                  <c:v>39349</c:v>
                </c:pt>
                <c:pt idx="293">
                  <c:v>39350</c:v>
                </c:pt>
                <c:pt idx="294">
                  <c:v>39351</c:v>
                </c:pt>
                <c:pt idx="295">
                  <c:v>39352</c:v>
                </c:pt>
                <c:pt idx="296">
                  <c:v>39353</c:v>
                </c:pt>
                <c:pt idx="297">
                  <c:v>39356</c:v>
                </c:pt>
                <c:pt idx="298">
                  <c:v>39357</c:v>
                </c:pt>
                <c:pt idx="299">
                  <c:v>39358</c:v>
                </c:pt>
                <c:pt idx="300">
                  <c:v>39359</c:v>
                </c:pt>
                <c:pt idx="301">
                  <c:v>39360</c:v>
                </c:pt>
                <c:pt idx="302">
                  <c:v>39363</c:v>
                </c:pt>
                <c:pt idx="303">
                  <c:v>39364</c:v>
                </c:pt>
                <c:pt idx="304">
                  <c:v>39365</c:v>
                </c:pt>
                <c:pt idx="305">
                  <c:v>39366</c:v>
                </c:pt>
                <c:pt idx="306">
                  <c:v>39367</c:v>
                </c:pt>
                <c:pt idx="307">
                  <c:v>39370</c:v>
                </c:pt>
                <c:pt idx="308">
                  <c:v>39371</c:v>
                </c:pt>
                <c:pt idx="309">
                  <c:v>39372</c:v>
                </c:pt>
                <c:pt idx="310">
                  <c:v>39373</c:v>
                </c:pt>
                <c:pt idx="311">
                  <c:v>39374</c:v>
                </c:pt>
                <c:pt idx="312">
                  <c:v>39377</c:v>
                </c:pt>
                <c:pt idx="313">
                  <c:v>39378</c:v>
                </c:pt>
                <c:pt idx="314">
                  <c:v>39379</c:v>
                </c:pt>
                <c:pt idx="315">
                  <c:v>39380</c:v>
                </c:pt>
                <c:pt idx="316">
                  <c:v>39381</c:v>
                </c:pt>
                <c:pt idx="317">
                  <c:v>39384</c:v>
                </c:pt>
                <c:pt idx="318">
                  <c:v>39385</c:v>
                </c:pt>
                <c:pt idx="319">
                  <c:v>39386</c:v>
                </c:pt>
                <c:pt idx="320">
                  <c:v>39387</c:v>
                </c:pt>
                <c:pt idx="321">
                  <c:v>39388</c:v>
                </c:pt>
                <c:pt idx="322">
                  <c:v>39391</c:v>
                </c:pt>
                <c:pt idx="323">
                  <c:v>39392</c:v>
                </c:pt>
                <c:pt idx="324">
                  <c:v>39393</c:v>
                </c:pt>
                <c:pt idx="325">
                  <c:v>39394</c:v>
                </c:pt>
                <c:pt idx="326">
                  <c:v>39395</c:v>
                </c:pt>
                <c:pt idx="327">
                  <c:v>39398</c:v>
                </c:pt>
                <c:pt idx="328">
                  <c:v>39399</c:v>
                </c:pt>
                <c:pt idx="329">
                  <c:v>39400</c:v>
                </c:pt>
                <c:pt idx="330">
                  <c:v>39401</c:v>
                </c:pt>
                <c:pt idx="331">
                  <c:v>39402</c:v>
                </c:pt>
                <c:pt idx="332">
                  <c:v>39405</c:v>
                </c:pt>
                <c:pt idx="333">
                  <c:v>39406</c:v>
                </c:pt>
                <c:pt idx="334">
                  <c:v>39407</c:v>
                </c:pt>
                <c:pt idx="335">
                  <c:v>39408</c:v>
                </c:pt>
                <c:pt idx="336">
                  <c:v>39409</c:v>
                </c:pt>
                <c:pt idx="337">
                  <c:v>39412</c:v>
                </c:pt>
                <c:pt idx="338">
                  <c:v>39413</c:v>
                </c:pt>
                <c:pt idx="339">
                  <c:v>39414</c:v>
                </c:pt>
                <c:pt idx="340">
                  <c:v>39415</c:v>
                </c:pt>
                <c:pt idx="341">
                  <c:v>39416</c:v>
                </c:pt>
                <c:pt idx="342">
                  <c:v>39419</c:v>
                </c:pt>
                <c:pt idx="343">
                  <c:v>39420</c:v>
                </c:pt>
                <c:pt idx="344">
                  <c:v>39421</c:v>
                </c:pt>
                <c:pt idx="345">
                  <c:v>39422</c:v>
                </c:pt>
                <c:pt idx="346">
                  <c:v>39423</c:v>
                </c:pt>
                <c:pt idx="347">
                  <c:v>39426</c:v>
                </c:pt>
                <c:pt idx="348">
                  <c:v>39427</c:v>
                </c:pt>
                <c:pt idx="349">
                  <c:v>39428</c:v>
                </c:pt>
                <c:pt idx="350">
                  <c:v>39429</c:v>
                </c:pt>
                <c:pt idx="351">
                  <c:v>39430</c:v>
                </c:pt>
                <c:pt idx="352">
                  <c:v>39433</c:v>
                </c:pt>
                <c:pt idx="353">
                  <c:v>39434</c:v>
                </c:pt>
                <c:pt idx="354">
                  <c:v>39435</c:v>
                </c:pt>
                <c:pt idx="355">
                  <c:v>39436</c:v>
                </c:pt>
                <c:pt idx="356">
                  <c:v>39437</c:v>
                </c:pt>
                <c:pt idx="357">
                  <c:v>39443</c:v>
                </c:pt>
                <c:pt idx="358">
                  <c:v>39444</c:v>
                </c:pt>
                <c:pt idx="359">
                  <c:v>39449</c:v>
                </c:pt>
                <c:pt idx="360">
                  <c:v>39450</c:v>
                </c:pt>
                <c:pt idx="361">
                  <c:v>39451</c:v>
                </c:pt>
                <c:pt idx="362">
                  <c:v>39454</c:v>
                </c:pt>
                <c:pt idx="363">
                  <c:v>39455</c:v>
                </c:pt>
                <c:pt idx="364">
                  <c:v>39456</c:v>
                </c:pt>
                <c:pt idx="365">
                  <c:v>39457</c:v>
                </c:pt>
                <c:pt idx="366">
                  <c:v>39458</c:v>
                </c:pt>
                <c:pt idx="367">
                  <c:v>39461</c:v>
                </c:pt>
                <c:pt idx="368">
                  <c:v>39462</c:v>
                </c:pt>
                <c:pt idx="369">
                  <c:v>39463</c:v>
                </c:pt>
                <c:pt idx="370">
                  <c:v>39464</c:v>
                </c:pt>
                <c:pt idx="371">
                  <c:v>39465</c:v>
                </c:pt>
                <c:pt idx="372">
                  <c:v>39468</c:v>
                </c:pt>
                <c:pt idx="373">
                  <c:v>39469</c:v>
                </c:pt>
                <c:pt idx="374">
                  <c:v>39470</c:v>
                </c:pt>
                <c:pt idx="375">
                  <c:v>39471</c:v>
                </c:pt>
                <c:pt idx="376">
                  <c:v>39472</c:v>
                </c:pt>
                <c:pt idx="377">
                  <c:v>39475</c:v>
                </c:pt>
                <c:pt idx="378">
                  <c:v>39476</c:v>
                </c:pt>
                <c:pt idx="379">
                  <c:v>39477</c:v>
                </c:pt>
                <c:pt idx="380">
                  <c:v>39478</c:v>
                </c:pt>
                <c:pt idx="381">
                  <c:v>39479</c:v>
                </c:pt>
                <c:pt idx="382">
                  <c:v>39482</c:v>
                </c:pt>
                <c:pt idx="383">
                  <c:v>39483</c:v>
                </c:pt>
                <c:pt idx="384">
                  <c:v>39484</c:v>
                </c:pt>
                <c:pt idx="385">
                  <c:v>39485</c:v>
                </c:pt>
                <c:pt idx="386">
                  <c:v>39486</c:v>
                </c:pt>
                <c:pt idx="387">
                  <c:v>39489</c:v>
                </c:pt>
                <c:pt idx="388">
                  <c:v>39490</c:v>
                </c:pt>
                <c:pt idx="389">
                  <c:v>39491</c:v>
                </c:pt>
                <c:pt idx="390">
                  <c:v>39492</c:v>
                </c:pt>
                <c:pt idx="391">
                  <c:v>39493</c:v>
                </c:pt>
                <c:pt idx="392">
                  <c:v>39496</c:v>
                </c:pt>
                <c:pt idx="393">
                  <c:v>39497</c:v>
                </c:pt>
                <c:pt idx="394">
                  <c:v>39498</c:v>
                </c:pt>
                <c:pt idx="395">
                  <c:v>39499</c:v>
                </c:pt>
                <c:pt idx="396">
                  <c:v>39500</c:v>
                </c:pt>
                <c:pt idx="397">
                  <c:v>39503</c:v>
                </c:pt>
                <c:pt idx="398">
                  <c:v>39504</c:v>
                </c:pt>
                <c:pt idx="399">
                  <c:v>39505</c:v>
                </c:pt>
                <c:pt idx="400">
                  <c:v>39506</c:v>
                </c:pt>
                <c:pt idx="401">
                  <c:v>39507</c:v>
                </c:pt>
                <c:pt idx="402">
                  <c:v>39510</c:v>
                </c:pt>
                <c:pt idx="403">
                  <c:v>39511</c:v>
                </c:pt>
                <c:pt idx="404">
                  <c:v>39512</c:v>
                </c:pt>
                <c:pt idx="405">
                  <c:v>39513</c:v>
                </c:pt>
                <c:pt idx="406">
                  <c:v>39514</c:v>
                </c:pt>
                <c:pt idx="407">
                  <c:v>39517</c:v>
                </c:pt>
                <c:pt idx="408">
                  <c:v>39518</c:v>
                </c:pt>
                <c:pt idx="409">
                  <c:v>39519</c:v>
                </c:pt>
                <c:pt idx="410">
                  <c:v>39520</c:v>
                </c:pt>
                <c:pt idx="411">
                  <c:v>39521</c:v>
                </c:pt>
                <c:pt idx="412">
                  <c:v>39524</c:v>
                </c:pt>
                <c:pt idx="413">
                  <c:v>39525</c:v>
                </c:pt>
                <c:pt idx="414">
                  <c:v>39526</c:v>
                </c:pt>
                <c:pt idx="415">
                  <c:v>39527</c:v>
                </c:pt>
                <c:pt idx="416">
                  <c:v>39532</c:v>
                </c:pt>
                <c:pt idx="417">
                  <c:v>39533</c:v>
                </c:pt>
                <c:pt idx="418">
                  <c:v>39534</c:v>
                </c:pt>
                <c:pt idx="419">
                  <c:v>39535</c:v>
                </c:pt>
                <c:pt idx="420">
                  <c:v>39538</c:v>
                </c:pt>
                <c:pt idx="421">
                  <c:v>39539</c:v>
                </c:pt>
                <c:pt idx="422">
                  <c:v>39540</c:v>
                </c:pt>
                <c:pt idx="423">
                  <c:v>39541</c:v>
                </c:pt>
                <c:pt idx="424">
                  <c:v>39542</c:v>
                </c:pt>
                <c:pt idx="425">
                  <c:v>39545</c:v>
                </c:pt>
                <c:pt idx="426">
                  <c:v>39546</c:v>
                </c:pt>
                <c:pt idx="427">
                  <c:v>39547</c:v>
                </c:pt>
                <c:pt idx="428">
                  <c:v>39548</c:v>
                </c:pt>
                <c:pt idx="429">
                  <c:v>39549</c:v>
                </c:pt>
                <c:pt idx="430">
                  <c:v>39552</c:v>
                </c:pt>
                <c:pt idx="431">
                  <c:v>39553</c:v>
                </c:pt>
                <c:pt idx="432">
                  <c:v>39554</c:v>
                </c:pt>
                <c:pt idx="433">
                  <c:v>39555</c:v>
                </c:pt>
                <c:pt idx="434">
                  <c:v>39556</c:v>
                </c:pt>
                <c:pt idx="435">
                  <c:v>39559</c:v>
                </c:pt>
                <c:pt idx="436">
                  <c:v>39560</c:v>
                </c:pt>
                <c:pt idx="437">
                  <c:v>39561</c:v>
                </c:pt>
                <c:pt idx="438">
                  <c:v>39562</c:v>
                </c:pt>
                <c:pt idx="439">
                  <c:v>39563</c:v>
                </c:pt>
                <c:pt idx="440">
                  <c:v>39566</c:v>
                </c:pt>
                <c:pt idx="441">
                  <c:v>39567</c:v>
                </c:pt>
                <c:pt idx="442">
                  <c:v>39568</c:v>
                </c:pt>
                <c:pt idx="443">
                  <c:v>39570</c:v>
                </c:pt>
                <c:pt idx="444">
                  <c:v>39573</c:v>
                </c:pt>
                <c:pt idx="445">
                  <c:v>39574</c:v>
                </c:pt>
                <c:pt idx="446">
                  <c:v>39575</c:v>
                </c:pt>
                <c:pt idx="447">
                  <c:v>39576</c:v>
                </c:pt>
                <c:pt idx="448">
                  <c:v>39577</c:v>
                </c:pt>
                <c:pt idx="449">
                  <c:v>39580</c:v>
                </c:pt>
                <c:pt idx="450">
                  <c:v>39581</c:v>
                </c:pt>
                <c:pt idx="451">
                  <c:v>39582</c:v>
                </c:pt>
                <c:pt idx="452">
                  <c:v>39583</c:v>
                </c:pt>
                <c:pt idx="453">
                  <c:v>39584</c:v>
                </c:pt>
                <c:pt idx="454">
                  <c:v>39587</c:v>
                </c:pt>
                <c:pt idx="455">
                  <c:v>39588</c:v>
                </c:pt>
                <c:pt idx="456">
                  <c:v>39589</c:v>
                </c:pt>
                <c:pt idx="457">
                  <c:v>39590</c:v>
                </c:pt>
                <c:pt idx="458">
                  <c:v>39591</c:v>
                </c:pt>
                <c:pt idx="459">
                  <c:v>39594</c:v>
                </c:pt>
                <c:pt idx="460">
                  <c:v>39595</c:v>
                </c:pt>
                <c:pt idx="461">
                  <c:v>39596</c:v>
                </c:pt>
                <c:pt idx="462">
                  <c:v>39597</c:v>
                </c:pt>
                <c:pt idx="463">
                  <c:v>39598</c:v>
                </c:pt>
                <c:pt idx="464">
                  <c:v>39601</c:v>
                </c:pt>
                <c:pt idx="465">
                  <c:v>39602</c:v>
                </c:pt>
                <c:pt idx="466">
                  <c:v>39603</c:v>
                </c:pt>
                <c:pt idx="467">
                  <c:v>39604</c:v>
                </c:pt>
                <c:pt idx="468">
                  <c:v>39605</c:v>
                </c:pt>
                <c:pt idx="469">
                  <c:v>39608</c:v>
                </c:pt>
                <c:pt idx="470">
                  <c:v>39609</c:v>
                </c:pt>
                <c:pt idx="471">
                  <c:v>39610</c:v>
                </c:pt>
                <c:pt idx="472">
                  <c:v>39611</c:v>
                </c:pt>
                <c:pt idx="473">
                  <c:v>39612</c:v>
                </c:pt>
                <c:pt idx="474">
                  <c:v>39615</c:v>
                </c:pt>
                <c:pt idx="475">
                  <c:v>39616</c:v>
                </c:pt>
                <c:pt idx="476">
                  <c:v>39617</c:v>
                </c:pt>
                <c:pt idx="477">
                  <c:v>39618</c:v>
                </c:pt>
                <c:pt idx="478">
                  <c:v>39619</c:v>
                </c:pt>
                <c:pt idx="479">
                  <c:v>39622</c:v>
                </c:pt>
                <c:pt idx="480">
                  <c:v>39623</c:v>
                </c:pt>
                <c:pt idx="481">
                  <c:v>39624</c:v>
                </c:pt>
                <c:pt idx="482">
                  <c:v>39625</c:v>
                </c:pt>
                <c:pt idx="483">
                  <c:v>39626</c:v>
                </c:pt>
                <c:pt idx="484">
                  <c:v>39629</c:v>
                </c:pt>
                <c:pt idx="485">
                  <c:v>39630</c:v>
                </c:pt>
                <c:pt idx="486">
                  <c:v>39631</c:v>
                </c:pt>
                <c:pt idx="487">
                  <c:v>39632</c:v>
                </c:pt>
                <c:pt idx="488">
                  <c:v>39633</c:v>
                </c:pt>
                <c:pt idx="489">
                  <c:v>39636</c:v>
                </c:pt>
                <c:pt idx="490">
                  <c:v>39637</c:v>
                </c:pt>
                <c:pt idx="491">
                  <c:v>39638</c:v>
                </c:pt>
                <c:pt idx="492">
                  <c:v>39639</c:v>
                </c:pt>
                <c:pt idx="493">
                  <c:v>39640</c:v>
                </c:pt>
                <c:pt idx="494">
                  <c:v>39643</c:v>
                </c:pt>
                <c:pt idx="495">
                  <c:v>39644</c:v>
                </c:pt>
                <c:pt idx="496">
                  <c:v>39645</c:v>
                </c:pt>
                <c:pt idx="497">
                  <c:v>39646</c:v>
                </c:pt>
                <c:pt idx="498">
                  <c:v>39647</c:v>
                </c:pt>
                <c:pt idx="499">
                  <c:v>39650</c:v>
                </c:pt>
                <c:pt idx="500">
                  <c:v>39651</c:v>
                </c:pt>
                <c:pt idx="501">
                  <c:v>39652</c:v>
                </c:pt>
                <c:pt idx="502">
                  <c:v>39653</c:v>
                </c:pt>
                <c:pt idx="503">
                  <c:v>39654</c:v>
                </c:pt>
                <c:pt idx="504">
                  <c:v>39657</c:v>
                </c:pt>
                <c:pt idx="505">
                  <c:v>39658</c:v>
                </c:pt>
                <c:pt idx="506">
                  <c:v>39659</c:v>
                </c:pt>
                <c:pt idx="507">
                  <c:v>39660</c:v>
                </c:pt>
                <c:pt idx="508">
                  <c:v>39661</c:v>
                </c:pt>
                <c:pt idx="509">
                  <c:v>39664</c:v>
                </c:pt>
                <c:pt idx="510">
                  <c:v>39665</c:v>
                </c:pt>
                <c:pt idx="511">
                  <c:v>39666</c:v>
                </c:pt>
                <c:pt idx="512">
                  <c:v>39667</c:v>
                </c:pt>
                <c:pt idx="513">
                  <c:v>39668</c:v>
                </c:pt>
                <c:pt idx="514">
                  <c:v>39671</c:v>
                </c:pt>
                <c:pt idx="515">
                  <c:v>39672</c:v>
                </c:pt>
                <c:pt idx="516">
                  <c:v>39673</c:v>
                </c:pt>
                <c:pt idx="517">
                  <c:v>39674</c:v>
                </c:pt>
                <c:pt idx="518">
                  <c:v>39675</c:v>
                </c:pt>
                <c:pt idx="519">
                  <c:v>39678</c:v>
                </c:pt>
                <c:pt idx="520">
                  <c:v>39679</c:v>
                </c:pt>
                <c:pt idx="521">
                  <c:v>39680</c:v>
                </c:pt>
                <c:pt idx="522">
                  <c:v>39681</c:v>
                </c:pt>
                <c:pt idx="523">
                  <c:v>39682</c:v>
                </c:pt>
                <c:pt idx="524">
                  <c:v>39685</c:v>
                </c:pt>
                <c:pt idx="525">
                  <c:v>39686</c:v>
                </c:pt>
                <c:pt idx="526">
                  <c:v>39687</c:v>
                </c:pt>
                <c:pt idx="527">
                  <c:v>39688</c:v>
                </c:pt>
                <c:pt idx="528">
                  <c:v>39689</c:v>
                </c:pt>
                <c:pt idx="529">
                  <c:v>39692</c:v>
                </c:pt>
                <c:pt idx="530">
                  <c:v>39693</c:v>
                </c:pt>
                <c:pt idx="531">
                  <c:v>39694</c:v>
                </c:pt>
                <c:pt idx="532">
                  <c:v>39695</c:v>
                </c:pt>
                <c:pt idx="533">
                  <c:v>39696</c:v>
                </c:pt>
                <c:pt idx="534">
                  <c:v>39699</c:v>
                </c:pt>
                <c:pt idx="535">
                  <c:v>39700</c:v>
                </c:pt>
                <c:pt idx="536">
                  <c:v>39701</c:v>
                </c:pt>
                <c:pt idx="537">
                  <c:v>39702</c:v>
                </c:pt>
                <c:pt idx="538">
                  <c:v>39703</c:v>
                </c:pt>
                <c:pt idx="539">
                  <c:v>39706</c:v>
                </c:pt>
                <c:pt idx="540">
                  <c:v>39707</c:v>
                </c:pt>
                <c:pt idx="541">
                  <c:v>39708</c:v>
                </c:pt>
                <c:pt idx="542">
                  <c:v>39709</c:v>
                </c:pt>
                <c:pt idx="543">
                  <c:v>39710</c:v>
                </c:pt>
                <c:pt idx="544">
                  <c:v>39713</c:v>
                </c:pt>
                <c:pt idx="545">
                  <c:v>39714</c:v>
                </c:pt>
                <c:pt idx="546">
                  <c:v>39715</c:v>
                </c:pt>
                <c:pt idx="547">
                  <c:v>39716</c:v>
                </c:pt>
                <c:pt idx="548">
                  <c:v>39717</c:v>
                </c:pt>
                <c:pt idx="549">
                  <c:v>39720</c:v>
                </c:pt>
                <c:pt idx="550">
                  <c:v>39721</c:v>
                </c:pt>
                <c:pt idx="551">
                  <c:v>39722</c:v>
                </c:pt>
                <c:pt idx="552">
                  <c:v>39723</c:v>
                </c:pt>
                <c:pt idx="553">
                  <c:v>39724</c:v>
                </c:pt>
                <c:pt idx="554">
                  <c:v>39727</c:v>
                </c:pt>
                <c:pt idx="555">
                  <c:v>39728</c:v>
                </c:pt>
                <c:pt idx="556">
                  <c:v>39729</c:v>
                </c:pt>
                <c:pt idx="557">
                  <c:v>39730</c:v>
                </c:pt>
                <c:pt idx="558">
                  <c:v>39731</c:v>
                </c:pt>
                <c:pt idx="559">
                  <c:v>39734</c:v>
                </c:pt>
                <c:pt idx="560">
                  <c:v>39735</c:v>
                </c:pt>
                <c:pt idx="561">
                  <c:v>39736</c:v>
                </c:pt>
                <c:pt idx="562">
                  <c:v>39737</c:v>
                </c:pt>
                <c:pt idx="563">
                  <c:v>39738</c:v>
                </c:pt>
                <c:pt idx="564">
                  <c:v>39741</c:v>
                </c:pt>
                <c:pt idx="565">
                  <c:v>39742</c:v>
                </c:pt>
                <c:pt idx="566">
                  <c:v>39743</c:v>
                </c:pt>
                <c:pt idx="567">
                  <c:v>39744</c:v>
                </c:pt>
                <c:pt idx="568">
                  <c:v>39745</c:v>
                </c:pt>
                <c:pt idx="569">
                  <c:v>39748</c:v>
                </c:pt>
                <c:pt idx="570">
                  <c:v>39749</c:v>
                </c:pt>
                <c:pt idx="571">
                  <c:v>39750</c:v>
                </c:pt>
                <c:pt idx="572">
                  <c:v>39751</c:v>
                </c:pt>
                <c:pt idx="573">
                  <c:v>39752</c:v>
                </c:pt>
                <c:pt idx="574">
                  <c:v>39755</c:v>
                </c:pt>
                <c:pt idx="575">
                  <c:v>39756</c:v>
                </c:pt>
                <c:pt idx="576">
                  <c:v>39757</c:v>
                </c:pt>
                <c:pt idx="577">
                  <c:v>39758</c:v>
                </c:pt>
                <c:pt idx="578">
                  <c:v>39759</c:v>
                </c:pt>
                <c:pt idx="579">
                  <c:v>39762</c:v>
                </c:pt>
                <c:pt idx="580">
                  <c:v>39763</c:v>
                </c:pt>
                <c:pt idx="581">
                  <c:v>39764</c:v>
                </c:pt>
                <c:pt idx="582">
                  <c:v>39765</c:v>
                </c:pt>
                <c:pt idx="583">
                  <c:v>39766</c:v>
                </c:pt>
                <c:pt idx="584">
                  <c:v>39769</c:v>
                </c:pt>
                <c:pt idx="585">
                  <c:v>39770</c:v>
                </c:pt>
                <c:pt idx="586">
                  <c:v>39771</c:v>
                </c:pt>
                <c:pt idx="587">
                  <c:v>39772</c:v>
                </c:pt>
                <c:pt idx="588">
                  <c:v>39773</c:v>
                </c:pt>
                <c:pt idx="589">
                  <c:v>39776</c:v>
                </c:pt>
                <c:pt idx="590">
                  <c:v>39777</c:v>
                </c:pt>
                <c:pt idx="591">
                  <c:v>39778</c:v>
                </c:pt>
                <c:pt idx="592">
                  <c:v>39779</c:v>
                </c:pt>
                <c:pt idx="593">
                  <c:v>39780</c:v>
                </c:pt>
                <c:pt idx="594">
                  <c:v>39783</c:v>
                </c:pt>
                <c:pt idx="595">
                  <c:v>39784</c:v>
                </c:pt>
                <c:pt idx="596">
                  <c:v>39785</c:v>
                </c:pt>
                <c:pt idx="597">
                  <c:v>39786</c:v>
                </c:pt>
                <c:pt idx="598">
                  <c:v>39787</c:v>
                </c:pt>
                <c:pt idx="599">
                  <c:v>39790</c:v>
                </c:pt>
                <c:pt idx="600">
                  <c:v>39791</c:v>
                </c:pt>
                <c:pt idx="601">
                  <c:v>39792</c:v>
                </c:pt>
                <c:pt idx="602">
                  <c:v>39793</c:v>
                </c:pt>
                <c:pt idx="603">
                  <c:v>39794</c:v>
                </c:pt>
                <c:pt idx="604">
                  <c:v>39797</c:v>
                </c:pt>
                <c:pt idx="605">
                  <c:v>39798</c:v>
                </c:pt>
                <c:pt idx="606">
                  <c:v>39799</c:v>
                </c:pt>
                <c:pt idx="607">
                  <c:v>39800</c:v>
                </c:pt>
                <c:pt idx="608">
                  <c:v>39801</c:v>
                </c:pt>
                <c:pt idx="609">
                  <c:v>39804</c:v>
                </c:pt>
                <c:pt idx="610">
                  <c:v>39805</c:v>
                </c:pt>
                <c:pt idx="611">
                  <c:v>39811</c:v>
                </c:pt>
                <c:pt idx="612">
                  <c:v>39812</c:v>
                </c:pt>
                <c:pt idx="613">
                  <c:v>39815</c:v>
                </c:pt>
                <c:pt idx="614">
                  <c:v>39818</c:v>
                </c:pt>
                <c:pt idx="615">
                  <c:v>39819</c:v>
                </c:pt>
                <c:pt idx="616">
                  <c:v>39820</c:v>
                </c:pt>
                <c:pt idx="617">
                  <c:v>39821</c:v>
                </c:pt>
                <c:pt idx="618">
                  <c:v>39822</c:v>
                </c:pt>
                <c:pt idx="619">
                  <c:v>39825</c:v>
                </c:pt>
                <c:pt idx="620">
                  <c:v>39826</c:v>
                </c:pt>
                <c:pt idx="621">
                  <c:v>39827</c:v>
                </c:pt>
                <c:pt idx="622">
                  <c:v>39828</c:v>
                </c:pt>
                <c:pt idx="623">
                  <c:v>39829</c:v>
                </c:pt>
                <c:pt idx="624">
                  <c:v>39832</c:v>
                </c:pt>
                <c:pt idx="625">
                  <c:v>39833</c:v>
                </c:pt>
                <c:pt idx="626">
                  <c:v>39834</c:v>
                </c:pt>
                <c:pt idx="627">
                  <c:v>39835</c:v>
                </c:pt>
                <c:pt idx="628">
                  <c:v>39836</c:v>
                </c:pt>
                <c:pt idx="629">
                  <c:v>39839</c:v>
                </c:pt>
                <c:pt idx="630">
                  <c:v>39840</c:v>
                </c:pt>
                <c:pt idx="631">
                  <c:v>39841</c:v>
                </c:pt>
                <c:pt idx="632">
                  <c:v>39842</c:v>
                </c:pt>
                <c:pt idx="633">
                  <c:v>39843</c:v>
                </c:pt>
                <c:pt idx="634">
                  <c:v>39846</c:v>
                </c:pt>
                <c:pt idx="635">
                  <c:v>39847</c:v>
                </c:pt>
                <c:pt idx="636">
                  <c:v>39848</c:v>
                </c:pt>
                <c:pt idx="637">
                  <c:v>39849</c:v>
                </c:pt>
                <c:pt idx="638">
                  <c:v>39850</c:v>
                </c:pt>
                <c:pt idx="639">
                  <c:v>39853</c:v>
                </c:pt>
                <c:pt idx="640">
                  <c:v>39854</c:v>
                </c:pt>
                <c:pt idx="641">
                  <c:v>39855</c:v>
                </c:pt>
                <c:pt idx="642">
                  <c:v>39856</c:v>
                </c:pt>
                <c:pt idx="643">
                  <c:v>39857</c:v>
                </c:pt>
                <c:pt idx="644">
                  <c:v>39860</c:v>
                </c:pt>
                <c:pt idx="645">
                  <c:v>39861</c:v>
                </c:pt>
                <c:pt idx="646">
                  <c:v>39862</c:v>
                </c:pt>
                <c:pt idx="647">
                  <c:v>39863</c:v>
                </c:pt>
                <c:pt idx="648">
                  <c:v>39864</c:v>
                </c:pt>
                <c:pt idx="649">
                  <c:v>39867</c:v>
                </c:pt>
                <c:pt idx="650">
                  <c:v>39868</c:v>
                </c:pt>
                <c:pt idx="651">
                  <c:v>39869</c:v>
                </c:pt>
                <c:pt idx="652">
                  <c:v>39870</c:v>
                </c:pt>
                <c:pt idx="653">
                  <c:v>39871</c:v>
                </c:pt>
                <c:pt idx="654">
                  <c:v>39874</c:v>
                </c:pt>
                <c:pt idx="655">
                  <c:v>39875</c:v>
                </c:pt>
                <c:pt idx="656">
                  <c:v>39876</c:v>
                </c:pt>
                <c:pt idx="657">
                  <c:v>39877</c:v>
                </c:pt>
                <c:pt idx="658">
                  <c:v>39878</c:v>
                </c:pt>
                <c:pt idx="659">
                  <c:v>39881</c:v>
                </c:pt>
                <c:pt idx="660">
                  <c:v>39882</c:v>
                </c:pt>
                <c:pt idx="661">
                  <c:v>39883</c:v>
                </c:pt>
                <c:pt idx="662">
                  <c:v>39884</c:v>
                </c:pt>
                <c:pt idx="663">
                  <c:v>39885</c:v>
                </c:pt>
                <c:pt idx="664">
                  <c:v>39888</c:v>
                </c:pt>
                <c:pt idx="665">
                  <c:v>39889</c:v>
                </c:pt>
                <c:pt idx="666">
                  <c:v>39890</c:v>
                </c:pt>
                <c:pt idx="667">
                  <c:v>39891</c:v>
                </c:pt>
                <c:pt idx="668">
                  <c:v>39892</c:v>
                </c:pt>
                <c:pt idx="669">
                  <c:v>39895</c:v>
                </c:pt>
                <c:pt idx="670">
                  <c:v>39896</c:v>
                </c:pt>
                <c:pt idx="671">
                  <c:v>39897</c:v>
                </c:pt>
                <c:pt idx="672">
                  <c:v>39898</c:v>
                </c:pt>
                <c:pt idx="673">
                  <c:v>39899</c:v>
                </c:pt>
                <c:pt idx="674">
                  <c:v>39902</c:v>
                </c:pt>
                <c:pt idx="675">
                  <c:v>39903</c:v>
                </c:pt>
                <c:pt idx="676">
                  <c:v>39904</c:v>
                </c:pt>
                <c:pt idx="677">
                  <c:v>39905</c:v>
                </c:pt>
                <c:pt idx="678">
                  <c:v>39906</c:v>
                </c:pt>
                <c:pt idx="679">
                  <c:v>39909</c:v>
                </c:pt>
                <c:pt idx="680">
                  <c:v>39910</c:v>
                </c:pt>
                <c:pt idx="681">
                  <c:v>39911</c:v>
                </c:pt>
                <c:pt idx="682">
                  <c:v>39912</c:v>
                </c:pt>
                <c:pt idx="683">
                  <c:v>39917</c:v>
                </c:pt>
                <c:pt idx="684">
                  <c:v>39918</c:v>
                </c:pt>
                <c:pt idx="685">
                  <c:v>39919</c:v>
                </c:pt>
                <c:pt idx="686">
                  <c:v>39920</c:v>
                </c:pt>
                <c:pt idx="687">
                  <c:v>39923</c:v>
                </c:pt>
                <c:pt idx="688">
                  <c:v>39924</c:v>
                </c:pt>
                <c:pt idx="689">
                  <c:v>39925</c:v>
                </c:pt>
                <c:pt idx="690">
                  <c:v>39926</c:v>
                </c:pt>
                <c:pt idx="691">
                  <c:v>39927</c:v>
                </c:pt>
                <c:pt idx="692">
                  <c:v>39930</c:v>
                </c:pt>
                <c:pt idx="693">
                  <c:v>39931</c:v>
                </c:pt>
                <c:pt idx="694">
                  <c:v>39932</c:v>
                </c:pt>
                <c:pt idx="695">
                  <c:v>39933</c:v>
                </c:pt>
                <c:pt idx="696">
                  <c:v>39937</c:v>
                </c:pt>
                <c:pt idx="697">
                  <c:v>39938</c:v>
                </c:pt>
                <c:pt idx="698">
                  <c:v>39939</c:v>
                </c:pt>
                <c:pt idx="699">
                  <c:v>39940</c:v>
                </c:pt>
                <c:pt idx="700">
                  <c:v>39941</c:v>
                </c:pt>
                <c:pt idx="701">
                  <c:v>39944</c:v>
                </c:pt>
                <c:pt idx="702">
                  <c:v>39945</c:v>
                </c:pt>
                <c:pt idx="703">
                  <c:v>39946</c:v>
                </c:pt>
                <c:pt idx="704">
                  <c:v>39947</c:v>
                </c:pt>
                <c:pt idx="705">
                  <c:v>39948</c:v>
                </c:pt>
                <c:pt idx="706">
                  <c:v>39951</c:v>
                </c:pt>
                <c:pt idx="707">
                  <c:v>39952</c:v>
                </c:pt>
                <c:pt idx="708">
                  <c:v>39953</c:v>
                </c:pt>
                <c:pt idx="709">
                  <c:v>39954</c:v>
                </c:pt>
                <c:pt idx="710">
                  <c:v>39955</c:v>
                </c:pt>
                <c:pt idx="711">
                  <c:v>39958</c:v>
                </c:pt>
                <c:pt idx="712">
                  <c:v>39959</c:v>
                </c:pt>
                <c:pt idx="713">
                  <c:v>39960</c:v>
                </c:pt>
                <c:pt idx="714">
                  <c:v>39961</c:v>
                </c:pt>
                <c:pt idx="715">
                  <c:v>39962</c:v>
                </c:pt>
                <c:pt idx="716">
                  <c:v>39965</c:v>
                </c:pt>
                <c:pt idx="717">
                  <c:v>39966</c:v>
                </c:pt>
                <c:pt idx="718">
                  <c:v>39967</c:v>
                </c:pt>
                <c:pt idx="719">
                  <c:v>39968</c:v>
                </c:pt>
                <c:pt idx="720">
                  <c:v>39969</c:v>
                </c:pt>
                <c:pt idx="721">
                  <c:v>39972</c:v>
                </c:pt>
                <c:pt idx="722">
                  <c:v>39973</c:v>
                </c:pt>
                <c:pt idx="723">
                  <c:v>39974</c:v>
                </c:pt>
                <c:pt idx="724">
                  <c:v>39975</c:v>
                </c:pt>
                <c:pt idx="725">
                  <c:v>39976</c:v>
                </c:pt>
                <c:pt idx="726">
                  <c:v>39979</c:v>
                </c:pt>
                <c:pt idx="727">
                  <c:v>39980</c:v>
                </c:pt>
                <c:pt idx="728">
                  <c:v>39981</c:v>
                </c:pt>
                <c:pt idx="729">
                  <c:v>39982</c:v>
                </c:pt>
                <c:pt idx="730">
                  <c:v>39983</c:v>
                </c:pt>
                <c:pt idx="731">
                  <c:v>39986</c:v>
                </c:pt>
                <c:pt idx="732">
                  <c:v>39987</c:v>
                </c:pt>
                <c:pt idx="733">
                  <c:v>39988</c:v>
                </c:pt>
                <c:pt idx="734">
                  <c:v>39989</c:v>
                </c:pt>
                <c:pt idx="735">
                  <c:v>39990</c:v>
                </c:pt>
                <c:pt idx="736">
                  <c:v>39993</c:v>
                </c:pt>
                <c:pt idx="737">
                  <c:v>39994</c:v>
                </c:pt>
                <c:pt idx="738">
                  <c:v>39995</c:v>
                </c:pt>
                <c:pt idx="739">
                  <c:v>39996</c:v>
                </c:pt>
                <c:pt idx="740">
                  <c:v>39997</c:v>
                </c:pt>
                <c:pt idx="741">
                  <c:v>40000</c:v>
                </c:pt>
                <c:pt idx="742">
                  <c:v>40001</c:v>
                </c:pt>
                <c:pt idx="743">
                  <c:v>40002</c:v>
                </c:pt>
                <c:pt idx="744">
                  <c:v>40003</c:v>
                </c:pt>
                <c:pt idx="745">
                  <c:v>40004</c:v>
                </c:pt>
                <c:pt idx="746">
                  <c:v>40007</c:v>
                </c:pt>
                <c:pt idx="747">
                  <c:v>40008</c:v>
                </c:pt>
                <c:pt idx="748">
                  <c:v>40009</c:v>
                </c:pt>
                <c:pt idx="749">
                  <c:v>40010</c:v>
                </c:pt>
                <c:pt idx="750">
                  <c:v>40011</c:v>
                </c:pt>
                <c:pt idx="751">
                  <c:v>40014</c:v>
                </c:pt>
                <c:pt idx="752">
                  <c:v>40015</c:v>
                </c:pt>
                <c:pt idx="753">
                  <c:v>40016</c:v>
                </c:pt>
                <c:pt idx="754">
                  <c:v>40017</c:v>
                </c:pt>
                <c:pt idx="755">
                  <c:v>40018</c:v>
                </c:pt>
                <c:pt idx="756">
                  <c:v>40021</c:v>
                </c:pt>
                <c:pt idx="757">
                  <c:v>40022</c:v>
                </c:pt>
                <c:pt idx="758">
                  <c:v>40023</c:v>
                </c:pt>
                <c:pt idx="759">
                  <c:v>40024</c:v>
                </c:pt>
                <c:pt idx="760">
                  <c:v>40025</c:v>
                </c:pt>
                <c:pt idx="761">
                  <c:v>40028</c:v>
                </c:pt>
                <c:pt idx="762">
                  <c:v>40029</c:v>
                </c:pt>
                <c:pt idx="763">
                  <c:v>40030</c:v>
                </c:pt>
                <c:pt idx="764">
                  <c:v>40031</c:v>
                </c:pt>
                <c:pt idx="765">
                  <c:v>40032</c:v>
                </c:pt>
                <c:pt idx="766">
                  <c:v>40035</c:v>
                </c:pt>
                <c:pt idx="767">
                  <c:v>40036</c:v>
                </c:pt>
                <c:pt idx="768">
                  <c:v>40037</c:v>
                </c:pt>
                <c:pt idx="769">
                  <c:v>40038</c:v>
                </c:pt>
                <c:pt idx="770">
                  <c:v>40039</c:v>
                </c:pt>
                <c:pt idx="771">
                  <c:v>40042</c:v>
                </c:pt>
                <c:pt idx="772">
                  <c:v>40043</c:v>
                </c:pt>
                <c:pt idx="773">
                  <c:v>40044</c:v>
                </c:pt>
                <c:pt idx="774">
                  <c:v>40045</c:v>
                </c:pt>
                <c:pt idx="775">
                  <c:v>40046</c:v>
                </c:pt>
                <c:pt idx="776">
                  <c:v>40049</c:v>
                </c:pt>
                <c:pt idx="777">
                  <c:v>40050</c:v>
                </c:pt>
                <c:pt idx="778">
                  <c:v>40051</c:v>
                </c:pt>
                <c:pt idx="779">
                  <c:v>40052</c:v>
                </c:pt>
                <c:pt idx="780">
                  <c:v>40053</c:v>
                </c:pt>
                <c:pt idx="781">
                  <c:v>40056</c:v>
                </c:pt>
                <c:pt idx="782">
                  <c:v>40057</c:v>
                </c:pt>
                <c:pt idx="783">
                  <c:v>40058</c:v>
                </c:pt>
                <c:pt idx="784">
                  <c:v>40059</c:v>
                </c:pt>
                <c:pt idx="785">
                  <c:v>40060</c:v>
                </c:pt>
                <c:pt idx="786">
                  <c:v>40063</c:v>
                </c:pt>
                <c:pt idx="787">
                  <c:v>40064</c:v>
                </c:pt>
                <c:pt idx="788">
                  <c:v>40065</c:v>
                </c:pt>
                <c:pt idx="789">
                  <c:v>40066</c:v>
                </c:pt>
                <c:pt idx="790">
                  <c:v>40067</c:v>
                </c:pt>
                <c:pt idx="791">
                  <c:v>40070</c:v>
                </c:pt>
                <c:pt idx="792">
                  <c:v>40071</c:v>
                </c:pt>
                <c:pt idx="793">
                  <c:v>40072</c:v>
                </c:pt>
                <c:pt idx="794">
                  <c:v>40073</c:v>
                </c:pt>
                <c:pt idx="795">
                  <c:v>40074</c:v>
                </c:pt>
                <c:pt idx="796">
                  <c:v>40077</c:v>
                </c:pt>
                <c:pt idx="797">
                  <c:v>40078</c:v>
                </c:pt>
                <c:pt idx="798">
                  <c:v>40079</c:v>
                </c:pt>
                <c:pt idx="799">
                  <c:v>40080</c:v>
                </c:pt>
                <c:pt idx="800">
                  <c:v>40081</c:v>
                </c:pt>
                <c:pt idx="801">
                  <c:v>40084</c:v>
                </c:pt>
                <c:pt idx="802">
                  <c:v>40085</c:v>
                </c:pt>
                <c:pt idx="803">
                  <c:v>40086</c:v>
                </c:pt>
                <c:pt idx="804">
                  <c:v>40087</c:v>
                </c:pt>
                <c:pt idx="805">
                  <c:v>40088</c:v>
                </c:pt>
                <c:pt idx="806">
                  <c:v>40091</c:v>
                </c:pt>
                <c:pt idx="807">
                  <c:v>40092</c:v>
                </c:pt>
                <c:pt idx="808">
                  <c:v>40093</c:v>
                </c:pt>
                <c:pt idx="809">
                  <c:v>40094</c:v>
                </c:pt>
                <c:pt idx="810">
                  <c:v>40095</c:v>
                </c:pt>
                <c:pt idx="811">
                  <c:v>40098</c:v>
                </c:pt>
                <c:pt idx="812">
                  <c:v>40099</c:v>
                </c:pt>
                <c:pt idx="813">
                  <c:v>40100</c:v>
                </c:pt>
                <c:pt idx="814">
                  <c:v>40101</c:v>
                </c:pt>
                <c:pt idx="815">
                  <c:v>40102</c:v>
                </c:pt>
                <c:pt idx="816">
                  <c:v>40105</c:v>
                </c:pt>
                <c:pt idx="817">
                  <c:v>40106</c:v>
                </c:pt>
                <c:pt idx="818">
                  <c:v>40107</c:v>
                </c:pt>
                <c:pt idx="819">
                  <c:v>40108</c:v>
                </c:pt>
                <c:pt idx="820">
                  <c:v>40109</c:v>
                </c:pt>
                <c:pt idx="821">
                  <c:v>40112</c:v>
                </c:pt>
                <c:pt idx="822">
                  <c:v>40113</c:v>
                </c:pt>
                <c:pt idx="823">
                  <c:v>40114</c:v>
                </c:pt>
                <c:pt idx="824">
                  <c:v>40115</c:v>
                </c:pt>
                <c:pt idx="825">
                  <c:v>40116</c:v>
                </c:pt>
                <c:pt idx="826">
                  <c:v>40119</c:v>
                </c:pt>
                <c:pt idx="827">
                  <c:v>40120</c:v>
                </c:pt>
                <c:pt idx="828">
                  <c:v>40121</c:v>
                </c:pt>
                <c:pt idx="829">
                  <c:v>40122</c:v>
                </c:pt>
                <c:pt idx="830">
                  <c:v>40123</c:v>
                </c:pt>
                <c:pt idx="831">
                  <c:v>40126</c:v>
                </c:pt>
                <c:pt idx="832">
                  <c:v>40127</c:v>
                </c:pt>
                <c:pt idx="833">
                  <c:v>40128</c:v>
                </c:pt>
                <c:pt idx="834">
                  <c:v>40129</c:v>
                </c:pt>
                <c:pt idx="835">
                  <c:v>40130</c:v>
                </c:pt>
                <c:pt idx="836">
                  <c:v>40133</c:v>
                </c:pt>
                <c:pt idx="837">
                  <c:v>40134</c:v>
                </c:pt>
                <c:pt idx="838">
                  <c:v>40135</c:v>
                </c:pt>
                <c:pt idx="839">
                  <c:v>40136</c:v>
                </c:pt>
                <c:pt idx="840">
                  <c:v>40137</c:v>
                </c:pt>
                <c:pt idx="841">
                  <c:v>40140</c:v>
                </c:pt>
                <c:pt idx="842">
                  <c:v>40141</c:v>
                </c:pt>
                <c:pt idx="843">
                  <c:v>40142</c:v>
                </c:pt>
                <c:pt idx="844">
                  <c:v>40143</c:v>
                </c:pt>
                <c:pt idx="845">
                  <c:v>40144</c:v>
                </c:pt>
                <c:pt idx="846">
                  <c:v>40147</c:v>
                </c:pt>
                <c:pt idx="847">
                  <c:v>40148</c:v>
                </c:pt>
                <c:pt idx="848">
                  <c:v>40149</c:v>
                </c:pt>
                <c:pt idx="849">
                  <c:v>40150</c:v>
                </c:pt>
                <c:pt idx="850">
                  <c:v>40151</c:v>
                </c:pt>
                <c:pt idx="851">
                  <c:v>40154</c:v>
                </c:pt>
                <c:pt idx="852">
                  <c:v>40155</c:v>
                </c:pt>
                <c:pt idx="853">
                  <c:v>40156</c:v>
                </c:pt>
                <c:pt idx="854">
                  <c:v>40157</c:v>
                </c:pt>
                <c:pt idx="855">
                  <c:v>40158</c:v>
                </c:pt>
                <c:pt idx="856">
                  <c:v>40161</c:v>
                </c:pt>
                <c:pt idx="857">
                  <c:v>40162</c:v>
                </c:pt>
                <c:pt idx="858">
                  <c:v>40163</c:v>
                </c:pt>
                <c:pt idx="859">
                  <c:v>40164</c:v>
                </c:pt>
                <c:pt idx="860">
                  <c:v>40165</c:v>
                </c:pt>
                <c:pt idx="861">
                  <c:v>40168</c:v>
                </c:pt>
                <c:pt idx="862">
                  <c:v>40169</c:v>
                </c:pt>
                <c:pt idx="863">
                  <c:v>40170</c:v>
                </c:pt>
                <c:pt idx="864">
                  <c:v>40175</c:v>
                </c:pt>
                <c:pt idx="865">
                  <c:v>40176</c:v>
                </c:pt>
                <c:pt idx="866">
                  <c:v>40177</c:v>
                </c:pt>
                <c:pt idx="867">
                  <c:v>40182</c:v>
                </c:pt>
                <c:pt idx="868">
                  <c:v>40183</c:v>
                </c:pt>
                <c:pt idx="869">
                  <c:v>40184</c:v>
                </c:pt>
                <c:pt idx="870">
                  <c:v>40185</c:v>
                </c:pt>
                <c:pt idx="871">
                  <c:v>40186</c:v>
                </c:pt>
                <c:pt idx="872">
                  <c:v>40189</c:v>
                </c:pt>
                <c:pt idx="873">
                  <c:v>40190</c:v>
                </c:pt>
                <c:pt idx="874">
                  <c:v>40191</c:v>
                </c:pt>
                <c:pt idx="875">
                  <c:v>40192</c:v>
                </c:pt>
                <c:pt idx="876">
                  <c:v>40193</c:v>
                </c:pt>
                <c:pt idx="877">
                  <c:v>40196</c:v>
                </c:pt>
                <c:pt idx="878">
                  <c:v>40197</c:v>
                </c:pt>
                <c:pt idx="879">
                  <c:v>40198</c:v>
                </c:pt>
                <c:pt idx="880">
                  <c:v>40199</c:v>
                </c:pt>
                <c:pt idx="881">
                  <c:v>40200</c:v>
                </c:pt>
                <c:pt idx="882">
                  <c:v>40203</c:v>
                </c:pt>
                <c:pt idx="883">
                  <c:v>40204</c:v>
                </c:pt>
                <c:pt idx="884">
                  <c:v>40205</c:v>
                </c:pt>
                <c:pt idx="885">
                  <c:v>40206</c:v>
                </c:pt>
                <c:pt idx="886">
                  <c:v>40207</c:v>
                </c:pt>
                <c:pt idx="887">
                  <c:v>40210</c:v>
                </c:pt>
                <c:pt idx="888">
                  <c:v>40211</c:v>
                </c:pt>
                <c:pt idx="889">
                  <c:v>40212</c:v>
                </c:pt>
                <c:pt idx="890">
                  <c:v>40213</c:v>
                </c:pt>
                <c:pt idx="891">
                  <c:v>40214</c:v>
                </c:pt>
                <c:pt idx="892">
                  <c:v>40217</c:v>
                </c:pt>
                <c:pt idx="893">
                  <c:v>40218</c:v>
                </c:pt>
                <c:pt idx="894">
                  <c:v>40219</c:v>
                </c:pt>
                <c:pt idx="895">
                  <c:v>40220</c:v>
                </c:pt>
                <c:pt idx="896">
                  <c:v>40221</c:v>
                </c:pt>
                <c:pt idx="897">
                  <c:v>40224</c:v>
                </c:pt>
                <c:pt idx="898">
                  <c:v>40225</c:v>
                </c:pt>
                <c:pt idx="899">
                  <c:v>40226</c:v>
                </c:pt>
                <c:pt idx="900">
                  <c:v>40227</c:v>
                </c:pt>
                <c:pt idx="901">
                  <c:v>40228</c:v>
                </c:pt>
                <c:pt idx="902">
                  <c:v>40231</c:v>
                </c:pt>
                <c:pt idx="903">
                  <c:v>40232</c:v>
                </c:pt>
                <c:pt idx="904">
                  <c:v>40233</c:v>
                </c:pt>
                <c:pt idx="905">
                  <c:v>40234</c:v>
                </c:pt>
                <c:pt idx="906">
                  <c:v>40235</c:v>
                </c:pt>
                <c:pt idx="907">
                  <c:v>40238</c:v>
                </c:pt>
                <c:pt idx="908">
                  <c:v>40239</c:v>
                </c:pt>
                <c:pt idx="909">
                  <c:v>40240</c:v>
                </c:pt>
                <c:pt idx="910">
                  <c:v>40241</c:v>
                </c:pt>
                <c:pt idx="911">
                  <c:v>40242</c:v>
                </c:pt>
                <c:pt idx="912">
                  <c:v>40245</c:v>
                </c:pt>
                <c:pt idx="913">
                  <c:v>40246</c:v>
                </c:pt>
                <c:pt idx="914">
                  <c:v>40247</c:v>
                </c:pt>
                <c:pt idx="915">
                  <c:v>40248</c:v>
                </c:pt>
                <c:pt idx="916">
                  <c:v>40249</c:v>
                </c:pt>
                <c:pt idx="917">
                  <c:v>40252</c:v>
                </c:pt>
                <c:pt idx="918">
                  <c:v>40253</c:v>
                </c:pt>
                <c:pt idx="919">
                  <c:v>40254</c:v>
                </c:pt>
                <c:pt idx="920">
                  <c:v>40255</c:v>
                </c:pt>
                <c:pt idx="921">
                  <c:v>40256</c:v>
                </c:pt>
                <c:pt idx="922">
                  <c:v>40259</c:v>
                </c:pt>
                <c:pt idx="923">
                  <c:v>40260</c:v>
                </c:pt>
                <c:pt idx="924">
                  <c:v>40261</c:v>
                </c:pt>
                <c:pt idx="925">
                  <c:v>40262</c:v>
                </c:pt>
                <c:pt idx="926">
                  <c:v>40263</c:v>
                </c:pt>
                <c:pt idx="927">
                  <c:v>40266</c:v>
                </c:pt>
                <c:pt idx="928">
                  <c:v>40267</c:v>
                </c:pt>
                <c:pt idx="929">
                  <c:v>40268</c:v>
                </c:pt>
                <c:pt idx="930">
                  <c:v>40269</c:v>
                </c:pt>
                <c:pt idx="931">
                  <c:v>40274</c:v>
                </c:pt>
                <c:pt idx="932">
                  <c:v>40275</c:v>
                </c:pt>
                <c:pt idx="933">
                  <c:v>40276</c:v>
                </c:pt>
                <c:pt idx="934">
                  <c:v>40277</c:v>
                </c:pt>
                <c:pt idx="935">
                  <c:v>40280</c:v>
                </c:pt>
                <c:pt idx="936">
                  <c:v>40281</c:v>
                </c:pt>
                <c:pt idx="937">
                  <c:v>40282</c:v>
                </c:pt>
                <c:pt idx="938">
                  <c:v>40283</c:v>
                </c:pt>
                <c:pt idx="939">
                  <c:v>40284</c:v>
                </c:pt>
                <c:pt idx="940">
                  <c:v>40287</c:v>
                </c:pt>
                <c:pt idx="941">
                  <c:v>40288</c:v>
                </c:pt>
                <c:pt idx="942">
                  <c:v>40289</c:v>
                </c:pt>
                <c:pt idx="943">
                  <c:v>40290</c:v>
                </c:pt>
                <c:pt idx="944">
                  <c:v>40291</c:v>
                </c:pt>
                <c:pt idx="945">
                  <c:v>40294</c:v>
                </c:pt>
                <c:pt idx="946">
                  <c:v>40295</c:v>
                </c:pt>
                <c:pt idx="947">
                  <c:v>40296</c:v>
                </c:pt>
                <c:pt idx="948">
                  <c:v>40297</c:v>
                </c:pt>
                <c:pt idx="949">
                  <c:v>40298</c:v>
                </c:pt>
                <c:pt idx="950">
                  <c:v>40301</c:v>
                </c:pt>
                <c:pt idx="951">
                  <c:v>40302</c:v>
                </c:pt>
                <c:pt idx="952">
                  <c:v>40303</c:v>
                </c:pt>
                <c:pt idx="953">
                  <c:v>40304</c:v>
                </c:pt>
                <c:pt idx="954">
                  <c:v>40305</c:v>
                </c:pt>
                <c:pt idx="955">
                  <c:v>40308</c:v>
                </c:pt>
                <c:pt idx="956">
                  <c:v>40309</c:v>
                </c:pt>
                <c:pt idx="957">
                  <c:v>40310</c:v>
                </c:pt>
                <c:pt idx="958">
                  <c:v>40311</c:v>
                </c:pt>
                <c:pt idx="959">
                  <c:v>40312</c:v>
                </c:pt>
                <c:pt idx="960">
                  <c:v>40315</c:v>
                </c:pt>
                <c:pt idx="961">
                  <c:v>40316</c:v>
                </c:pt>
                <c:pt idx="962">
                  <c:v>40317</c:v>
                </c:pt>
                <c:pt idx="963">
                  <c:v>40318</c:v>
                </c:pt>
                <c:pt idx="964">
                  <c:v>40319</c:v>
                </c:pt>
                <c:pt idx="965">
                  <c:v>40322</c:v>
                </c:pt>
                <c:pt idx="966">
                  <c:v>40323</c:v>
                </c:pt>
                <c:pt idx="967">
                  <c:v>40324</c:v>
                </c:pt>
                <c:pt idx="968">
                  <c:v>40325</c:v>
                </c:pt>
                <c:pt idx="969">
                  <c:v>40326</c:v>
                </c:pt>
                <c:pt idx="970">
                  <c:v>40329</c:v>
                </c:pt>
                <c:pt idx="971">
                  <c:v>40330</c:v>
                </c:pt>
                <c:pt idx="972">
                  <c:v>40331</c:v>
                </c:pt>
                <c:pt idx="973">
                  <c:v>40332</c:v>
                </c:pt>
                <c:pt idx="974">
                  <c:v>40333</c:v>
                </c:pt>
                <c:pt idx="975">
                  <c:v>40336</c:v>
                </c:pt>
                <c:pt idx="976">
                  <c:v>40337</c:v>
                </c:pt>
                <c:pt idx="977">
                  <c:v>40338</c:v>
                </c:pt>
                <c:pt idx="978">
                  <c:v>40339</c:v>
                </c:pt>
                <c:pt idx="979">
                  <c:v>40340</c:v>
                </c:pt>
                <c:pt idx="980">
                  <c:v>40343</c:v>
                </c:pt>
                <c:pt idx="981">
                  <c:v>40344</c:v>
                </c:pt>
                <c:pt idx="982">
                  <c:v>40345</c:v>
                </c:pt>
                <c:pt idx="983">
                  <c:v>40346</c:v>
                </c:pt>
                <c:pt idx="984">
                  <c:v>40347</c:v>
                </c:pt>
                <c:pt idx="985">
                  <c:v>40350</c:v>
                </c:pt>
                <c:pt idx="986">
                  <c:v>40351</c:v>
                </c:pt>
                <c:pt idx="987">
                  <c:v>40352</c:v>
                </c:pt>
                <c:pt idx="988">
                  <c:v>40353</c:v>
                </c:pt>
                <c:pt idx="989">
                  <c:v>40354</c:v>
                </c:pt>
                <c:pt idx="990">
                  <c:v>40357</c:v>
                </c:pt>
                <c:pt idx="991">
                  <c:v>40358</c:v>
                </c:pt>
                <c:pt idx="992">
                  <c:v>40359</c:v>
                </c:pt>
                <c:pt idx="993">
                  <c:v>40360</c:v>
                </c:pt>
                <c:pt idx="994">
                  <c:v>40361</c:v>
                </c:pt>
                <c:pt idx="995">
                  <c:v>40364</c:v>
                </c:pt>
                <c:pt idx="996">
                  <c:v>40365</c:v>
                </c:pt>
                <c:pt idx="997">
                  <c:v>40366</c:v>
                </c:pt>
                <c:pt idx="998">
                  <c:v>40367</c:v>
                </c:pt>
                <c:pt idx="999">
                  <c:v>40368</c:v>
                </c:pt>
                <c:pt idx="1000">
                  <c:v>40371</c:v>
                </c:pt>
                <c:pt idx="1001">
                  <c:v>40372</c:v>
                </c:pt>
                <c:pt idx="1002">
                  <c:v>40373</c:v>
                </c:pt>
                <c:pt idx="1003">
                  <c:v>40374</c:v>
                </c:pt>
                <c:pt idx="1004">
                  <c:v>40375</c:v>
                </c:pt>
                <c:pt idx="1005">
                  <c:v>40378</c:v>
                </c:pt>
                <c:pt idx="1006">
                  <c:v>40379</c:v>
                </c:pt>
                <c:pt idx="1007">
                  <c:v>40380</c:v>
                </c:pt>
                <c:pt idx="1008">
                  <c:v>40381</c:v>
                </c:pt>
                <c:pt idx="1009">
                  <c:v>40382</c:v>
                </c:pt>
                <c:pt idx="1010">
                  <c:v>40385</c:v>
                </c:pt>
                <c:pt idx="1011">
                  <c:v>40386</c:v>
                </c:pt>
                <c:pt idx="1012">
                  <c:v>40387</c:v>
                </c:pt>
                <c:pt idx="1013">
                  <c:v>40388</c:v>
                </c:pt>
                <c:pt idx="1014">
                  <c:v>40389</c:v>
                </c:pt>
                <c:pt idx="1015">
                  <c:v>40392</c:v>
                </c:pt>
                <c:pt idx="1016">
                  <c:v>40393</c:v>
                </c:pt>
                <c:pt idx="1017">
                  <c:v>40394</c:v>
                </c:pt>
                <c:pt idx="1018">
                  <c:v>40395</c:v>
                </c:pt>
                <c:pt idx="1019">
                  <c:v>40396</c:v>
                </c:pt>
                <c:pt idx="1020">
                  <c:v>40399</c:v>
                </c:pt>
                <c:pt idx="1021">
                  <c:v>40400</c:v>
                </c:pt>
                <c:pt idx="1022">
                  <c:v>40401</c:v>
                </c:pt>
                <c:pt idx="1023">
                  <c:v>40402</c:v>
                </c:pt>
                <c:pt idx="1024">
                  <c:v>40403</c:v>
                </c:pt>
                <c:pt idx="1025">
                  <c:v>40406</c:v>
                </c:pt>
                <c:pt idx="1026">
                  <c:v>40407</c:v>
                </c:pt>
                <c:pt idx="1027">
                  <c:v>40408</c:v>
                </c:pt>
                <c:pt idx="1028">
                  <c:v>40409</c:v>
                </c:pt>
                <c:pt idx="1029">
                  <c:v>40410</c:v>
                </c:pt>
                <c:pt idx="1030">
                  <c:v>40413</c:v>
                </c:pt>
                <c:pt idx="1031">
                  <c:v>40414</c:v>
                </c:pt>
                <c:pt idx="1032">
                  <c:v>40415</c:v>
                </c:pt>
                <c:pt idx="1033">
                  <c:v>40416</c:v>
                </c:pt>
                <c:pt idx="1034">
                  <c:v>40417</c:v>
                </c:pt>
                <c:pt idx="1035">
                  <c:v>40420</c:v>
                </c:pt>
                <c:pt idx="1036">
                  <c:v>40421</c:v>
                </c:pt>
                <c:pt idx="1037">
                  <c:v>40422</c:v>
                </c:pt>
                <c:pt idx="1038">
                  <c:v>40423</c:v>
                </c:pt>
                <c:pt idx="1039">
                  <c:v>40424</c:v>
                </c:pt>
                <c:pt idx="1040">
                  <c:v>40427</c:v>
                </c:pt>
                <c:pt idx="1041">
                  <c:v>40428</c:v>
                </c:pt>
                <c:pt idx="1042">
                  <c:v>40429</c:v>
                </c:pt>
                <c:pt idx="1043">
                  <c:v>40430</c:v>
                </c:pt>
                <c:pt idx="1044">
                  <c:v>40431</c:v>
                </c:pt>
                <c:pt idx="1045">
                  <c:v>40434</c:v>
                </c:pt>
                <c:pt idx="1046">
                  <c:v>40435</c:v>
                </c:pt>
                <c:pt idx="1047">
                  <c:v>40436</c:v>
                </c:pt>
                <c:pt idx="1048">
                  <c:v>40437</c:v>
                </c:pt>
                <c:pt idx="1049">
                  <c:v>40438</c:v>
                </c:pt>
                <c:pt idx="1050">
                  <c:v>40441</c:v>
                </c:pt>
                <c:pt idx="1051">
                  <c:v>40442</c:v>
                </c:pt>
                <c:pt idx="1052">
                  <c:v>40443</c:v>
                </c:pt>
                <c:pt idx="1053">
                  <c:v>40444</c:v>
                </c:pt>
                <c:pt idx="1054">
                  <c:v>40445</c:v>
                </c:pt>
                <c:pt idx="1055">
                  <c:v>40448</c:v>
                </c:pt>
                <c:pt idx="1056">
                  <c:v>40449</c:v>
                </c:pt>
                <c:pt idx="1057">
                  <c:v>40450</c:v>
                </c:pt>
                <c:pt idx="1058">
                  <c:v>40451</c:v>
                </c:pt>
                <c:pt idx="1059">
                  <c:v>40452</c:v>
                </c:pt>
                <c:pt idx="1060">
                  <c:v>40455</c:v>
                </c:pt>
                <c:pt idx="1061">
                  <c:v>40456</c:v>
                </c:pt>
                <c:pt idx="1062">
                  <c:v>40457</c:v>
                </c:pt>
                <c:pt idx="1063">
                  <c:v>40458</c:v>
                </c:pt>
                <c:pt idx="1064">
                  <c:v>40459</c:v>
                </c:pt>
                <c:pt idx="1065">
                  <c:v>40462</c:v>
                </c:pt>
                <c:pt idx="1066">
                  <c:v>40463</c:v>
                </c:pt>
                <c:pt idx="1067">
                  <c:v>40464</c:v>
                </c:pt>
                <c:pt idx="1068">
                  <c:v>40465</c:v>
                </c:pt>
                <c:pt idx="1069">
                  <c:v>40466</c:v>
                </c:pt>
                <c:pt idx="1070">
                  <c:v>40469</c:v>
                </c:pt>
                <c:pt idx="1071">
                  <c:v>40470</c:v>
                </c:pt>
                <c:pt idx="1072">
                  <c:v>40471</c:v>
                </c:pt>
                <c:pt idx="1073">
                  <c:v>40472</c:v>
                </c:pt>
                <c:pt idx="1074">
                  <c:v>40473</c:v>
                </c:pt>
                <c:pt idx="1075">
                  <c:v>40476</c:v>
                </c:pt>
                <c:pt idx="1076">
                  <c:v>40477</c:v>
                </c:pt>
                <c:pt idx="1077">
                  <c:v>40478</c:v>
                </c:pt>
                <c:pt idx="1078">
                  <c:v>40479</c:v>
                </c:pt>
                <c:pt idx="1079">
                  <c:v>40480</c:v>
                </c:pt>
                <c:pt idx="1080">
                  <c:v>40483</c:v>
                </c:pt>
                <c:pt idx="1081">
                  <c:v>40484</c:v>
                </c:pt>
                <c:pt idx="1082">
                  <c:v>40485</c:v>
                </c:pt>
                <c:pt idx="1083">
                  <c:v>40486</c:v>
                </c:pt>
                <c:pt idx="1084">
                  <c:v>40487</c:v>
                </c:pt>
                <c:pt idx="1085">
                  <c:v>40490</c:v>
                </c:pt>
                <c:pt idx="1086">
                  <c:v>40491</c:v>
                </c:pt>
                <c:pt idx="1087">
                  <c:v>40492</c:v>
                </c:pt>
                <c:pt idx="1088">
                  <c:v>40493</c:v>
                </c:pt>
                <c:pt idx="1089">
                  <c:v>40494</c:v>
                </c:pt>
                <c:pt idx="1090">
                  <c:v>40497</c:v>
                </c:pt>
                <c:pt idx="1091">
                  <c:v>40498</c:v>
                </c:pt>
                <c:pt idx="1092">
                  <c:v>40499</c:v>
                </c:pt>
                <c:pt idx="1093">
                  <c:v>40500</c:v>
                </c:pt>
                <c:pt idx="1094">
                  <c:v>40501</c:v>
                </c:pt>
                <c:pt idx="1095">
                  <c:v>40504</c:v>
                </c:pt>
                <c:pt idx="1096">
                  <c:v>40505</c:v>
                </c:pt>
                <c:pt idx="1097">
                  <c:v>40506</c:v>
                </c:pt>
                <c:pt idx="1098">
                  <c:v>40507</c:v>
                </c:pt>
                <c:pt idx="1099">
                  <c:v>40508</c:v>
                </c:pt>
                <c:pt idx="1100">
                  <c:v>40511</c:v>
                </c:pt>
                <c:pt idx="1101">
                  <c:v>40512</c:v>
                </c:pt>
                <c:pt idx="1102">
                  <c:v>40513</c:v>
                </c:pt>
                <c:pt idx="1103">
                  <c:v>40514</c:v>
                </c:pt>
                <c:pt idx="1104">
                  <c:v>40515</c:v>
                </c:pt>
                <c:pt idx="1105">
                  <c:v>40518</c:v>
                </c:pt>
                <c:pt idx="1106">
                  <c:v>40519</c:v>
                </c:pt>
                <c:pt idx="1107">
                  <c:v>40520</c:v>
                </c:pt>
                <c:pt idx="1108">
                  <c:v>40521</c:v>
                </c:pt>
                <c:pt idx="1109">
                  <c:v>40522</c:v>
                </c:pt>
                <c:pt idx="1110">
                  <c:v>40525</c:v>
                </c:pt>
                <c:pt idx="1111">
                  <c:v>40526</c:v>
                </c:pt>
                <c:pt idx="1112">
                  <c:v>40527</c:v>
                </c:pt>
                <c:pt idx="1113">
                  <c:v>40528</c:v>
                </c:pt>
                <c:pt idx="1114">
                  <c:v>40529</c:v>
                </c:pt>
                <c:pt idx="1115">
                  <c:v>40532</c:v>
                </c:pt>
                <c:pt idx="1116">
                  <c:v>40533</c:v>
                </c:pt>
                <c:pt idx="1117">
                  <c:v>40534</c:v>
                </c:pt>
                <c:pt idx="1118">
                  <c:v>40535</c:v>
                </c:pt>
                <c:pt idx="1119">
                  <c:v>40539</c:v>
                </c:pt>
                <c:pt idx="1120">
                  <c:v>40540</c:v>
                </c:pt>
                <c:pt idx="1121">
                  <c:v>40541</c:v>
                </c:pt>
                <c:pt idx="1122">
                  <c:v>40542</c:v>
                </c:pt>
                <c:pt idx="1123">
                  <c:v>40546</c:v>
                </c:pt>
                <c:pt idx="1124">
                  <c:v>40547</c:v>
                </c:pt>
                <c:pt idx="1125">
                  <c:v>40548</c:v>
                </c:pt>
                <c:pt idx="1126">
                  <c:v>40549</c:v>
                </c:pt>
                <c:pt idx="1127">
                  <c:v>40550</c:v>
                </c:pt>
                <c:pt idx="1128">
                  <c:v>40553</c:v>
                </c:pt>
                <c:pt idx="1129">
                  <c:v>40554</c:v>
                </c:pt>
                <c:pt idx="1130">
                  <c:v>40555</c:v>
                </c:pt>
                <c:pt idx="1131">
                  <c:v>40556</c:v>
                </c:pt>
                <c:pt idx="1132">
                  <c:v>40557</c:v>
                </c:pt>
                <c:pt idx="1133">
                  <c:v>40560</c:v>
                </c:pt>
                <c:pt idx="1134">
                  <c:v>40561</c:v>
                </c:pt>
                <c:pt idx="1135">
                  <c:v>40562</c:v>
                </c:pt>
                <c:pt idx="1136">
                  <c:v>40563</c:v>
                </c:pt>
                <c:pt idx="1137">
                  <c:v>40564</c:v>
                </c:pt>
                <c:pt idx="1138">
                  <c:v>40567</c:v>
                </c:pt>
                <c:pt idx="1139">
                  <c:v>40568</c:v>
                </c:pt>
                <c:pt idx="1140">
                  <c:v>40569</c:v>
                </c:pt>
                <c:pt idx="1141">
                  <c:v>40570</c:v>
                </c:pt>
                <c:pt idx="1142">
                  <c:v>40571</c:v>
                </c:pt>
                <c:pt idx="1143">
                  <c:v>40574</c:v>
                </c:pt>
                <c:pt idx="1144">
                  <c:v>40575</c:v>
                </c:pt>
                <c:pt idx="1145">
                  <c:v>40576</c:v>
                </c:pt>
                <c:pt idx="1146">
                  <c:v>40577</c:v>
                </c:pt>
                <c:pt idx="1147">
                  <c:v>40578</c:v>
                </c:pt>
                <c:pt idx="1148">
                  <c:v>40581</c:v>
                </c:pt>
                <c:pt idx="1149">
                  <c:v>40582</c:v>
                </c:pt>
                <c:pt idx="1150">
                  <c:v>40583</c:v>
                </c:pt>
                <c:pt idx="1151">
                  <c:v>40584</c:v>
                </c:pt>
                <c:pt idx="1152">
                  <c:v>40585</c:v>
                </c:pt>
                <c:pt idx="1153">
                  <c:v>40588</c:v>
                </c:pt>
                <c:pt idx="1154">
                  <c:v>40589</c:v>
                </c:pt>
                <c:pt idx="1155">
                  <c:v>40590</c:v>
                </c:pt>
                <c:pt idx="1156">
                  <c:v>40591</c:v>
                </c:pt>
                <c:pt idx="1157">
                  <c:v>40592</c:v>
                </c:pt>
                <c:pt idx="1158">
                  <c:v>40595</c:v>
                </c:pt>
                <c:pt idx="1159">
                  <c:v>40596</c:v>
                </c:pt>
                <c:pt idx="1160">
                  <c:v>40597</c:v>
                </c:pt>
                <c:pt idx="1161">
                  <c:v>40598</c:v>
                </c:pt>
                <c:pt idx="1162">
                  <c:v>40599</c:v>
                </c:pt>
                <c:pt idx="1163">
                  <c:v>40602</c:v>
                </c:pt>
                <c:pt idx="1164">
                  <c:v>40603</c:v>
                </c:pt>
                <c:pt idx="1165">
                  <c:v>40604</c:v>
                </c:pt>
                <c:pt idx="1166">
                  <c:v>40605</c:v>
                </c:pt>
                <c:pt idx="1167">
                  <c:v>40606</c:v>
                </c:pt>
                <c:pt idx="1168">
                  <c:v>40609</c:v>
                </c:pt>
                <c:pt idx="1169">
                  <c:v>40610</c:v>
                </c:pt>
                <c:pt idx="1170">
                  <c:v>40611</c:v>
                </c:pt>
                <c:pt idx="1171">
                  <c:v>40612</c:v>
                </c:pt>
                <c:pt idx="1172">
                  <c:v>40613</c:v>
                </c:pt>
                <c:pt idx="1173">
                  <c:v>40616</c:v>
                </c:pt>
                <c:pt idx="1174">
                  <c:v>40617</c:v>
                </c:pt>
                <c:pt idx="1175">
                  <c:v>40618</c:v>
                </c:pt>
                <c:pt idx="1176">
                  <c:v>40619</c:v>
                </c:pt>
                <c:pt idx="1177">
                  <c:v>40620</c:v>
                </c:pt>
                <c:pt idx="1178">
                  <c:v>40623</c:v>
                </c:pt>
                <c:pt idx="1179">
                  <c:v>40624</c:v>
                </c:pt>
                <c:pt idx="1180">
                  <c:v>40625</c:v>
                </c:pt>
                <c:pt idx="1181">
                  <c:v>40626</c:v>
                </c:pt>
                <c:pt idx="1182">
                  <c:v>40627</c:v>
                </c:pt>
                <c:pt idx="1183">
                  <c:v>40630</c:v>
                </c:pt>
                <c:pt idx="1184">
                  <c:v>40631</c:v>
                </c:pt>
                <c:pt idx="1185">
                  <c:v>40632</c:v>
                </c:pt>
                <c:pt idx="1186">
                  <c:v>40633</c:v>
                </c:pt>
                <c:pt idx="1187">
                  <c:v>40634</c:v>
                </c:pt>
                <c:pt idx="1188">
                  <c:v>40637</c:v>
                </c:pt>
                <c:pt idx="1189">
                  <c:v>40638</c:v>
                </c:pt>
                <c:pt idx="1190">
                  <c:v>40639</c:v>
                </c:pt>
                <c:pt idx="1191">
                  <c:v>40640</c:v>
                </c:pt>
                <c:pt idx="1192">
                  <c:v>40641</c:v>
                </c:pt>
                <c:pt idx="1193">
                  <c:v>40644</c:v>
                </c:pt>
                <c:pt idx="1194">
                  <c:v>40645</c:v>
                </c:pt>
                <c:pt idx="1195">
                  <c:v>40646</c:v>
                </c:pt>
                <c:pt idx="1196">
                  <c:v>40647</c:v>
                </c:pt>
                <c:pt idx="1197">
                  <c:v>40648</c:v>
                </c:pt>
                <c:pt idx="1198">
                  <c:v>40651</c:v>
                </c:pt>
                <c:pt idx="1199">
                  <c:v>40652</c:v>
                </c:pt>
                <c:pt idx="1200">
                  <c:v>40653</c:v>
                </c:pt>
                <c:pt idx="1201">
                  <c:v>40654</c:v>
                </c:pt>
                <c:pt idx="1202">
                  <c:v>40659</c:v>
                </c:pt>
                <c:pt idx="1203">
                  <c:v>40660</c:v>
                </c:pt>
                <c:pt idx="1204">
                  <c:v>40661</c:v>
                </c:pt>
                <c:pt idx="1205">
                  <c:v>40662</c:v>
                </c:pt>
                <c:pt idx="1206">
                  <c:v>40665</c:v>
                </c:pt>
                <c:pt idx="1207">
                  <c:v>40666</c:v>
                </c:pt>
                <c:pt idx="1208">
                  <c:v>40667</c:v>
                </c:pt>
                <c:pt idx="1209">
                  <c:v>40668</c:v>
                </c:pt>
                <c:pt idx="1210">
                  <c:v>40669</c:v>
                </c:pt>
                <c:pt idx="1211">
                  <c:v>40672</c:v>
                </c:pt>
                <c:pt idx="1212">
                  <c:v>40673</c:v>
                </c:pt>
                <c:pt idx="1213">
                  <c:v>40674</c:v>
                </c:pt>
                <c:pt idx="1214">
                  <c:v>40675</c:v>
                </c:pt>
                <c:pt idx="1215">
                  <c:v>40676</c:v>
                </c:pt>
                <c:pt idx="1216">
                  <c:v>40679</c:v>
                </c:pt>
                <c:pt idx="1217">
                  <c:v>40680</c:v>
                </c:pt>
                <c:pt idx="1218">
                  <c:v>40681</c:v>
                </c:pt>
                <c:pt idx="1219">
                  <c:v>40682</c:v>
                </c:pt>
                <c:pt idx="1220">
                  <c:v>40683</c:v>
                </c:pt>
                <c:pt idx="1221">
                  <c:v>40686</c:v>
                </c:pt>
                <c:pt idx="1222">
                  <c:v>40687</c:v>
                </c:pt>
                <c:pt idx="1223">
                  <c:v>40688</c:v>
                </c:pt>
                <c:pt idx="1224">
                  <c:v>40689</c:v>
                </c:pt>
                <c:pt idx="1225">
                  <c:v>40690</c:v>
                </c:pt>
                <c:pt idx="1226">
                  <c:v>40693</c:v>
                </c:pt>
                <c:pt idx="1227">
                  <c:v>40694</c:v>
                </c:pt>
                <c:pt idx="1228">
                  <c:v>40695</c:v>
                </c:pt>
                <c:pt idx="1229">
                  <c:v>40696</c:v>
                </c:pt>
                <c:pt idx="1230">
                  <c:v>40697</c:v>
                </c:pt>
                <c:pt idx="1231">
                  <c:v>40700</c:v>
                </c:pt>
                <c:pt idx="1232">
                  <c:v>40701</c:v>
                </c:pt>
                <c:pt idx="1233">
                  <c:v>40702</c:v>
                </c:pt>
                <c:pt idx="1234">
                  <c:v>40703</c:v>
                </c:pt>
                <c:pt idx="1235">
                  <c:v>40704</c:v>
                </c:pt>
                <c:pt idx="1236">
                  <c:v>40707</c:v>
                </c:pt>
                <c:pt idx="1237">
                  <c:v>40708</c:v>
                </c:pt>
                <c:pt idx="1238">
                  <c:v>40709</c:v>
                </c:pt>
                <c:pt idx="1239">
                  <c:v>40710</c:v>
                </c:pt>
                <c:pt idx="1240">
                  <c:v>40711</c:v>
                </c:pt>
                <c:pt idx="1241">
                  <c:v>40714</c:v>
                </c:pt>
                <c:pt idx="1242">
                  <c:v>40715</c:v>
                </c:pt>
                <c:pt idx="1243">
                  <c:v>40716</c:v>
                </c:pt>
                <c:pt idx="1244">
                  <c:v>40717</c:v>
                </c:pt>
                <c:pt idx="1245">
                  <c:v>40718</c:v>
                </c:pt>
                <c:pt idx="1246">
                  <c:v>40721</c:v>
                </c:pt>
                <c:pt idx="1247">
                  <c:v>40722</c:v>
                </c:pt>
                <c:pt idx="1248">
                  <c:v>40723</c:v>
                </c:pt>
                <c:pt idx="1249">
                  <c:v>40724</c:v>
                </c:pt>
                <c:pt idx="1250">
                  <c:v>40725</c:v>
                </c:pt>
                <c:pt idx="1251">
                  <c:v>40728</c:v>
                </c:pt>
                <c:pt idx="1252">
                  <c:v>40729</c:v>
                </c:pt>
                <c:pt idx="1253">
                  <c:v>40730</c:v>
                </c:pt>
                <c:pt idx="1254">
                  <c:v>40731</c:v>
                </c:pt>
                <c:pt idx="1255">
                  <c:v>40732</c:v>
                </c:pt>
                <c:pt idx="1256">
                  <c:v>40735</c:v>
                </c:pt>
                <c:pt idx="1257">
                  <c:v>40736</c:v>
                </c:pt>
                <c:pt idx="1258">
                  <c:v>40737</c:v>
                </c:pt>
                <c:pt idx="1259">
                  <c:v>40738</c:v>
                </c:pt>
                <c:pt idx="1260">
                  <c:v>40739</c:v>
                </c:pt>
                <c:pt idx="1261">
                  <c:v>40742</c:v>
                </c:pt>
                <c:pt idx="1262">
                  <c:v>40743</c:v>
                </c:pt>
                <c:pt idx="1263">
                  <c:v>40744</c:v>
                </c:pt>
                <c:pt idx="1264">
                  <c:v>40745</c:v>
                </c:pt>
                <c:pt idx="1265">
                  <c:v>40746</c:v>
                </c:pt>
                <c:pt idx="1266">
                  <c:v>40749</c:v>
                </c:pt>
                <c:pt idx="1267">
                  <c:v>40750</c:v>
                </c:pt>
                <c:pt idx="1268">
                  <c:v>40751</c:v>
                </c:pt>
                <c:pt idx="1269">
                  <c:v>40752</c:v>
                </c:pt>
                <c:pt idx="1270">
                  <c:v>40753</c:v>
                </c:pt>
                <c:pt idx="1271">
                  <c:v>40756</c:v>
                </c:pt>
                <c:pt idx="1272">
                  <c:v>40757</c:v>
                </c:pt>
                <c:pt idx="1273">
                  <c:v>40758</c:v>
                </c:pt>
                <c:pt idx="1274">
                  <c:v>40759</c:v>
                </c:pt>
                <c:pt idx="1275">
                  <c:v>40760</c:v>
                </c:pt>
                <c:pt idx="1276">
                  <c:v>40763</c:v>
                </c:pt>
                <c:pt idx="1277">
                  <c:v>40764</c:v>
                </c:pt>
                <c:pt idx="1278">
                  <c:v>40765</c:v>
                </c:pt>
                <c:pt idx="1279">
                  <c:v>40766</c:v>
                </c:pt>
                <c:pt idx="1280">
                  <c:v>40767</c:v>
                </c:pt>
                <c:pt idx="1281">
                  <c:v>40770</c:v>
                </c:pt>
                <c:pt idx="1282">
                  <c:v>40771</c:v>
                </c:pt>
                <c:pt idx="1283">
                  <c:v>40772</c:v>
                </c:pt>
                <c:pt idx="1284">
                  <c:v>40773</c:v>
                </c:pt>
                <c:pt idx="1285">
                  <c:v>40774</c:v>
                </c:pt>
                <c:pt idx="1286">
                  <c:v>40777</c:v>
                </c:pt>
                <c:pt idx="1287">
                  <c:v>40778</c:v>
                </c:pt>
                <c:pt idx="1288">
                  <c:v>40779</c:v>
                </c:pt>
                <c:pt idx="1289">
                  <c:v>40780</c:v>
                </c:pt>
                <c:pt idx="1290">
                  <c:v>40781</c:v>
                </c:pt>
                <c:pt idx="1291">
                  <c:v>40784</c:v>
                </c:pt>
                <c:pt idx="1292">
                  <c:v>40785</c:v>
                </c:pt>
                <c:pt idx="1293">
                  <c:v>40786</c:v>
                </c:pt>
                <c:pt idx="1294">
                  <c:v>40787</c:v>
                </c:pt>
                <c:pt idx="1295">
                  <c:v>40788</c:v>
                </c:pt>
                <c:pt idx="1296">
                  <c:v>40791</c:v>
                </c:pt>
                <c:pt idx="1297">
                  <c:v>40792</c:v>
                </c:pt>
                <c:pt idx="1298">
                  <c:v>40793</c:v>
                </c:pt>
                <c:pt idx="1299">
                  <c:v>40794</c:v>
                </c:pt>
                <c:pt idx="1300">
                  <c:v>40795</c:v>
                </c:pt>
                <c:pt idx="1301">
                  <c:v>40798</c:v>
                </c:pt>
                <c:pt idx="1302">
                  <c:v>40799</c:v>
                </c:pt>
                <c:pt idx="1303">
                  <c:v>40800</c:v>
                </c:pt>
                <c:pt idx="1304">
                  <c:v>40801</c:v>
                </c:pt>
                <c:pt idx="1305">
                  <c:v>40802</c:v>
                </c:pt>
                <c:pt idx="1306">
                  <c:v>40805</c:v>
                </c:pt>
                <c:pt idx="1307">
                  <c:v>40806</c:v>
                </c:pt>
                <c:pt idx="1308">
                  <c:v>40807</c:v>
                </c:pt>
                <c:pt idx="1309">
                  <c:v>40808</c:v>
                </c:pt>
                <c:pt idx="1310">
                  <c:v>40809</c:v>
                </c:pt>
                <c:pt idx="1311">
                  <c:v>40812</c:v>
                </c:pt>
                <c:pt idx="1312">
                  <c:v>40813</c:v>
                </c:pt>
                <c:pt idx="1313">
                  <c:v>40814</c:v>
                </c:pt>
                <c:pt idx="1314">
                  <c:v>40815</c:v>
                </c:pt>
                <c:pt idx="1315">
                  <c:v>40816</c:v>
                </c:pt>
                <c:pt idx="1316">
                  <c:v>40819</c:v>
                </c:pt>
                <c:pt idx="1317">
                  <c:v>40820</c:v>
                </c:pt>
                <c:pt idx="1318">
                  <c:v>40821</c:v>
                </c:pt>
                <c:pt idx="1319">
                  <c:v>40822</c:v>
                </c:pt>
                <c:pt idx="1320">
                  <c:v>40823</c:v>
                </c:pt>
                <c:pt idx="1321">
                  <c:v>40826</c:v>
                </c:pt>
                <c:pt idx="1322">
                  <c:v>40827</c:v>
                </c:pt>
                <c:pt idx="1323">
                  <c:v>40828</c:v>
                </c:pt>
                <c:pt idx="1324">
                  <c:v>40829</c:v>
                </c:pt>
                <c:pt idx="1325">
                  <c:v>40830</c:v>
                </c:pt>
                <c:pt idx="1326">
                  <c:v>40833</c:v>
                </c:pt>
                <c:pt idx="1327">
                  <c:v>40834</c:v>
                </c:pt>
                <c:pt idx="1328">
                  <c:v>40835</c:v>
                </c:pt>
                <c:pt idx="1329">
                  <c:v>40836</c:v>
                </c:pt>
                <c:pt idx="1330">
                  <c:v>40837</c:v>
                </c:pt>
                <c:pt idx="1331">
                  <c:v>40840</c:v>
                </c:pt>
                <c:pt idx="1332">
                  <c:v>40841</c:v>
                </c:pt>
                <c:pt idx="1333">
                  <c:v>40842</c:v>
                </c:pt>
                <c:pt idx="1334">
                  <c:v>40843</c:v>
                </c:pt>
                <c:pt idx="1335">
                  <c:v>40844</c:v>
                </c:pt>
                <c:pt idx="1336">
                  <c:v>40847</c:v>
                </c:pt>
                <c:pt idx="1337">
                  <c:v>40848</c:v>
                </c:pt>
                <c:pt idx="1338">
                  <c:v>40849</c:v>
                </c:pt>
                <c:pt idx="1339">
                  <c:v>40850</c:v>
                </c:pt>
                <c:pt idx="1340">
                  <c:v>40851</c:v>
                </c:pt>
                <c:pt idx="1341">
                  <c:v>40854</c:v>
                </c:pt>
                <c:pt idx="1342">
                  <c:v>40855</c:v>
                </c:pt>
                <c:pt idx="1343">
                  <c:v>40856</c:v>
                </c:pt>
                <c:pt idx="1344">
                  <c:v>40857</c:v>
                </c:pt>
                <c:pt idx="1345">
                  <c:v>40858</c:v>
                </c:pt>
                <c:pt idx="1346">
                  <c:v>40861</c:v>
                </c:pt>
                <c:pt idx="1347">
                  <c:v>40862</c:v>
                </c:pt>
                <c:pt idx="1348">
                  <c:v>40863</c:v>
                </c:pt>
                <c:pt idx="1349">
                  <c:v>40864</c:v>
                </c:pt>
                <c:pt idx="1350">
                  <c:v>40865</c:v>
                </c:pt>
                <c:pt idx="1351">
                  <c:v>40868</c:v>
                </c:pt>
                <c:pt idx="1352">
                  <c:v>40869</c:v>
                </c:pt>
                <c:pt idx="1353">
                  <c:v>40870</c:v>
                </c:pt>
                <c:pt idx="1354">
                  <c:v>40871</c:v>
                </c:pt>
                <c:pt idx="1355">
                  <c:v>40872</c:v>
                </c:pt>
                <c:pt idx="1356">
                  <c:v>40875</c:v>
                </c:pt>
                <c:pt idx="1357">
                  <c:v>40876</c:v>
                </c:pt>
                <c:pt idx="1358">
                  <c:v>40877</c:v>
                </c:pt>
                <c:pt idx="1359">
                  <c:v>40878</c:v>
                </c:pt>
                <c:pt idx="1360">
                  <c:v>40879</c:v>
                </c:pt>
                <c:pt idx="1361">
                  <c:v>40882</c:v>
                </c:pt>
                <c:pt idx="1362">
                  <c:v>40883</c:v>
                </c:pt>
                <c:pt idx="1363">
                  <c:v>40884</c:v>
                </c:pt>
                <c:pt idx="1364">
                  <c:v>40885</c:v>
                </c:pt>
                <c:pt idx="1365">
                  <c:v>40886</c:v>
                </c:pt>
                <c:pt idx="1366">
                  <c:v>40889</c:v>
                </c:pt>
                <c:pt idx="1367">
                  <c:v>40890</c:v>
                </c:pt>
                <c:pt idx="1368">
                  <c:v>40891</c:v>
                </c:pt>
                <c:pt idx="1369">
                  <c:v>40892</c:v>
                </c:pt>
                <c:pt idx="1370">
                  <c:v>40893</c:v>
                </c:pt>
                <c:pt idx="1371">
                  <c:v>40896</c:v>
                </c:pt>
                <c:pt idx="1372">
                  <c:v>40897</c:v>
                </c:pt>
                <c:pt idx="1373">
                  <c:v>40898</c:v>
                </c:pt>
                <c:pt idx="1374">
                  <c:v>40899</c:v>
                </c:pt>
                <c:pt idx="1375">
                  <c:v>40900</c:v>
                </c:pt>
                <c:pt idx="1376">
                  <c:v>40904</c:v>
                </c:pt>
                <c:pt idx="1377">
                  <c:v>40905</c:v>
                </c:pt>
                <c:pt idx="1378">
                  <c:v>40906</c:v>
                </c:pt>
                <c:pt idx="1379">
                  <c:v>40907</c:v>
                </c:pt>
                <c:pt idx="1380">
                  <c:v>40910</c:v>
                </c:pt>
                <c:pt idx="1381">
                  <c:v>40911</c:v>
                </c:pt>
                <c:pt idx="1382">
                  <c:v>40912</c:v>
                </c:pt>
                <c:pt idx="1383">
                  <c:v>40913</c:v>
                </c:pt>
                <c:pt idx="1384">
                  <c:v>40914</c:v>
                </c:pt>
                <c:pt idx="1385">
                  <c:v>40917</c:v>
                </c:pt>
                <c:pt idx="1386">
                  <c:v>40918</c:v>
                </c:pt>
                <c:pt idx="1387">
                  <c:v>40919</c:v>
                </c:pt>
                <c:pt idx="1388">
                  <c:v>40920</c:v>
                </c:pt>
                <c:pt idx="1389">
                  <c:v>40921</c:v>
                </c:pt>
                <c:pt idx="1390">
                  <c:v>40924</c:v>
                </c:pt>
                <c:pt idx="1391">
                  <c:v>40925</c:v>
                </c:pt>
                <c:pt idx="1392">
                  <c:v>40926</c:v>
                </c:pt>
                <c:pt idx="1393">
                  <c:v>40927</c:v>
                </c:pt>
                <c:pt idx="1394">
                  <c:v>40928</c:v>
                </c:pt>
                <c:pt idx="1395">
                  <c:v>40931</c:v>
                </c:pt>
                <c:pt idx="1396">
                  <c:v>40932</c:v>
                </c:pt>
                <c:pt idx="1397">
                  <c:v>40933</c:v>
                </c:pt>
                <c:pt idx="1398">
                  <c:v>40934</c:v>
                </c:pt>
                <c:pt idx="1399">
                  <c:v>40935</c:v>
                </c:pt>
                <c:pt idx="1400">
                  <c:v>40938</c:v>
                </c:pt>
                <c:pt idx="1401">
                  <c:v>40939</c:v>
                </c:pt>
                <c:pt idx="1402">
                  <c:v>40940</c:v>
                </c:pt>
                <c:pt idx="1403">
                  <c:v>40941</c:v>
                </c:pt>
                <c:pt idx="1404">
                  <c:v>40942</c:v>
                </c:pt>
                <c:pt idx="1405">
                  <c:v>40945</c:v>
                </c:pt>
                <c:pt idx="1406">
                  <c:v>40946</c:v>
                </c:pt>
                <c:pt idx="1407">
                  <c:v>40947</c:v>
                </c:pt>
                <c:pt idx="1408">
                  <c:v>40948</c:v>
                </c:pt>
                <c:pt idx="1409">
                  <c:v>40949</c:v>
                </c:pt>
                <c:pt idx="1410">
                  <c:v>40952</c:v>
                </c:pt>
                <c:pt idx="1411">
                  <c:v>40953</c:v>
                </c:pt>
                <c:pt idx="1412">
                  <c:v>40954</c:v>
                </c:pt>
                <c:pt idx="1413">
                  <c:v>40955</c:v>
                </c:pt>
                <c:pt idx="1414">
                  <c:v>40956</c:v>
                </c:pt>
                <c:pt idx="1415">
                  <c:v>40959</c:v>
                </c:pt>
                <c:pt idx="1416">
                  <c:v>40960</c:v>
                </c:pt>
                <c:pt idx="1417">
                  <c:v>40961</c:v>
                </c:pt>
                <c:pt idx="1418">
                  <c:v>40962</c:v>
                </c:pt>
                <c:pt idx="1419">
                  <c:v>40963</c:v>
                </c:pt>
                <c:pt idx="1420">
                  <c:v>40966</c:v>
                </c:pt>
                <c:pt idx="1421">
                  <c:v>40967</c:v>
                </c:pt>
                <c:pt idx="1422">
                  <c:v>40968</c:v>
                </c:pt>
                <c:pt idx="1423">
                  <c:v>40969</c:v>
                </c:pt>
                <c:pt idx="1424">
                  <c:v>40970</c:v>
                </c:pt>
                <c:pt idx="1425">
                  <c:v>40973</c:v>
                </c:pt>
                <c:pt idx="1426">
                  <c:v>40974</c:v>
                </c:pt>
                <c:pt idx="1427">
                  <c:v>40975</c:v>
                </c:pt>
                <c:pt idx="1428">
                  <c:v>40976</c:v>
                </c:pt>
                <c:pt idx="1429">
                  <c:v>40977</c:v>
                </c:pt>
                <c:pt idx="1430">
                  <c:v>40980</c:v>
                </c:pt>
                <c:pt idx="1431">
                  <c:v>40981</c:v>
                </c:pt>
                <c:pt idx="1432">
                  <c:v>40982</c:v>
                </c:pt>
                <c:pt idx="1433">
                  <c:v>40983</c:v>
                </c:pt>
                <c:pt idx="1434">
                  <c:v>40984</c:v>
                </c:pt>
                <c:pt idx="1435">
                  <c:v>40987</c:v>
                </c:pt>
                <c:pt idx="1436">
                  <c:v>40988</c:v>
                </c:pt>
                <c:pt idx="1437">
                  <c:v>40989</c:v>
                </c:pt>
                <c:pt idx="1438">
                  <c:v>40990</c:v>
                </c:pt>
                <c:pt idx="1439">
                  <c:v>40991</c:v>
                </c:pt>
                <c:pt idx="1440">
                  <c:v>40994</c:v>
                </c:pt>
                <c:pt idx="1441">
                  <c:v>40995</c:v>
                </c:pt>
                <c:pt idx="1442">
                  <c:v>40996</c:v>
                </c:pt>
                <c:pt idx="1443">
                  <c:v>40997</c:v>
                </c:pt>
                <c:pt idx="1444">
                  <c:v>40998</c:v>
                </c:pt>
                <c:pt idx="1445">
                  <c:v>41001</c:v>
                </c:pt>
                <c:pt idx="1446">
                  <c:v>41002</c:v>
                </c:pt>
                <c:pt idx="1447">
                  <c:v>41003</c:v>
                </c:pt>
                <c:pt idx="1448">
                  <c:v>41004</c:v>
                </c:pt>
                <c:pt idx="1449">
                  <c:v>41009</c:v>
                </c:pt>
                <c:pt idx="1450">
                  <c:v>41010</c:v>
                </c:pt>
                <c:pt idx="1451">
                  <c:v>41011</c:v>
                </c:pt>
                <c:pt idx="1452">
                  <c:v>41012</c:v>
                </c:pt>
                <c:pt idx="1453">
                  <c:v>41015</c:v>
                </c:pt>
                <c:pt idx="1454">
                  <c:v>41016</c:v>
                </c:pt>
                <c:pt idx="1455">
                  <c:v>41017</c:v>
                </c:pt>
                <c:pt idx="1456">
                  <c:v>41018</c:v>
                </c:pt>
                <c:pt idx="1457">
                  <c:v>41019</c:v>
                </c:pt>
                <c:pt idx="1458">
                  <c:v>41022</c:v>
                </c:pt>
                <c:pt idx="1459">
                  <c:v>41023</c:v>
                </c:pt>
                <c:pt idx="1460">
                  <c:v>41024</c:v>
                </c:pt>
                <c:pt idx="1461">
                  <c:v>41025</c:v>
                </c:pt>
                <c:pt idx="1462">
                  <c:v>41026</c:v>
                </c:pt>
                <c:pt idx="1463">
                  <c:v>41029</c:v>
                </c:pt>
                <c:pt idx="1464">
                  <c:v>41031</c:v>
                </c:pt>
                <c:pt idx="1465">
                  <c:v>41032</c:v>
                </c:pt>
                <c:pt idx="1466">
                  <c:v>41033</c:v>
                </c:pt>
                <c:pt idx="1467">
                  <c:v>41036</c:v>
                </c:pt>
                <c:pt idx="1468">
                  <c:v>41037</c:v>
                </c:pt>
                <c:pt idx="1469">
                  <c:v>41038</c:v>
                </c:pt>
                <c:pt idx="1470">
                  <c:v>41039</c:v>
                </c:pt>
                <c:pt idx="1471">
                  <c:v>41040</c:v>
                </c:pt>
                <c:pt idx="1472">
                  <c:v>41043</c:v>
                </c:pt>
                <c:pt idx="1473">
                  <c:v>41044</c:v>
                </c:pt>
                <c:pt idx="1474">
                  <c:v>41045</c:v>
                </c:pt>
                <c:pt idx="1475">
                  <c:v>41046</c:v>
                </c:pt>
                <c:pt idx="1476">
                  <c:v>41047</c:v>
                </c:pt>
                <c:pt idx="1477">
                  <c:v>41050</c:v>
                </c:pt>
                <c:pt idx="1478">
                  <c:v>41051</c:v>
                </c:pt>
                <c:pt idx="1479">
                  <c:v>41052</c:v>
                </c:pt>
                <c:pt idx="1480">
                  <c:v>41053</c:v>
                </c:pt>
                <c:pt idx="1481">
                  <c:v>41054</c:v>
                </c:pt>
                <c:pt idx="1482">
                  <c:v>41057</c:v>
                </c:pt>
                <c:pt idx="1483">
                  <c:v>41058</c:v>
                </c:pt>
                <c:pt idx="1484">
                  <c:v>41059</c:v>
                </c:pt>
                <c:pt idx="1485">
                  <c:v>41060</c:v>
                </c:pt>
                <c:pt idx="1486">
                  <c:v>41061</c:v>
                </c:pt>
                <c:pt idx="1487">
                  <c:v>41064</c:v>
                </c:pt>
                <c:pt idx="1488">
                  <c:v>41065</c:v>
                </c:pt>
                <c:pt idx="1489">
                  <c:v>41066</c:v>
                </c:pt>
                <c:pt idx="1490">
                  <c:v>41067</c:v>
                </c:pt>
                <c:pt idx="1491">
                  <c:v>41068</c:v>
                </c:pt>
                <c:pt idx="1492">
                  <c:v>41071</c:v>
                </c:pt>
                <c:pt idx="1493">
                  <c:v>41072</c:v>
                </c:pt>
                <c:pt idx="1494">
                  <c:v>41073</c:v>
                </c:pt>
                <c:pt idx="1495">
                  <c:v>41074</c:v>
                </c:pt>
                <c:pt idx="1496">
                  <c:v>41075</c:v>
                </c:pt>
                <c:pt idx="1497">
                  <c:v>41078</c:v>
                </c:pt>
                <c:pt idx="1498">
                  <c:v>41079</c:v>
                </c:pt>
                <c:pt idx="1499">
                  <c:v>41080</c:v>
                </c:pt>
                <c:pt idx="1500">
                  <c:v>41081</c:v>
                </c:pt>
                <c:pt idx="1501">
                  <c:v>41082</c:v>
                </c:pt>
                <c:pt idx="1502">
                  <c:v>41085</c:v>
                </c:pt>
                <c:pt idx="1503">
                  <c:v>41086</c:v>
                </c:pt>
                <c:pt idx="1504">
                  <c:v>41087</c:v>
                </c:pt>
                <c:pt idx="1505">
                  <c:v>41088</c:v>
                </c:pt>
                <c:pt idx="1506">
                  <c:v>41089</c:v>
                </c:pt>
                <c:pt idx="1507">
                  <c:v>41092</c:v>
                </c:pt>
                <c:pt idx="1508">
                  <c:v>41093</c:v>
                </c:pt>
                <c:pt idx="1509">
                  <c:v>41094</c:v>
                </c:pt>
                <c:pt idx="1510">
                  <c:v>41095</c:v>
                </c:pt>
                <c:pt idx="1511">
                  <c:v>41096</c:v>
                </c:pt>
                <c:pt idx="1512">
                  <c:v>41099</c:v>
                </c:pt>
                <c:pt idx="1513">
                  <c:v>41100</c:v>
                </c:pt>
                <c:pt idx="1514">
                  <c:v>41101</c:v>
                </c:pt>
                <c:pt idx="1515">
                  <c:v>41102</c:v>
                </c:pt>
                <c:pt idx="1516">
                  <c:v>41103</c:v>
                </c:pt>
                <c:pt idx="1517">
                  <c:v>41106</c:v>
                </c:pt>
                <c:pt idx="1518">
                  <c:v>41107</c:v>
                </c:pt>
                <c:pt idx="1519">
                  <c:v>41108</c:v>
                </c:pt>
                <c:pt idx="1520">
                  <c:v>41109</c:v>
                </c:pt>
                <c:pt idx="1521">
                  <c:v>41110</c:v>
                </c:pt>
                <c:pt idx="1522">
                  <c:v>41113</c:v>
                </c:pt>
                <c:pt idx="1523">
                  <c:v>41114</c:v>
                </c:pt>
                <c:pt idx="1524">
                  <c:v>41115</c:v>
                </c:pt>
                <c:pt idx="1525">
                  <c:v>41116</c:v>
                </c:pt>
                <c:pt idx="1526">
                  <c:v>41117</c:v>
                </c:pt>
                <c:pt idx="1527">
                  <c:v>41120</c:v>
                </c:pt>
                <c:pt idx="1528">
                  <c:v>41121</c:v>
                </c:pt>
                <c:pt idx="1529">
                  <c:v>41122</c:v>
                </c:pt>
                <c:pt idx="1530">
                  <c:v>41123</c:v>
                </c:pt>
                <c:pt idx="1531">
                  <c:v>41124</c:v>
                </c:pt>
                <c:pt idx="1532">
                  <c:v>41127</c:v>
                </c:pt>
                <c:pt idx="1533">
                  <c:v>41128</c:v>
                </c:pt>
                <c:pt idx="1534">
                  <c:v>41129</c:v>
                </c:pt>
                <c:pt idx="1535">
                  <c:v>41130</c:v>
                </c:pt>
                <c:pt idx="1536">
                  <c:v>41131</c:v>
                </c:pt>
                <c:pt idx="1537">
                  <c:v>41134</c:v>
                </c:pt>
                <c:pt idx="1538">
                  <c:v>41135</c:v>
                </c:pt>
                <c:pt idx="1539">
                  <c:v>41136</c:v>
                </c:pt>
                <c:pt idx="1540">
                  <c:v>41137</c:v>
                </c:pt>
                <c:pt idx="1541">
                  <c:v>41138</c:v>
                </c:pt>
                <c:pt idx="1542">
                  <c:v>41141</c:v>
                </c:pt>
                <c:pt idx="1543">
                  <c:v>41142</c:v>
                </c:pt>
                <c:pt idx="1544">
                  <c:v>41143</c:v>
                </c:pt>
                <c:pt idx="1545">
                  <c:v>41144</c:v>
                </c:pt>
                <c:pt idx="1546">
                  <c:v>41145</c:v>
                </c:pt>
                <c:pt idx="1547">
                  <c:v>41148</c:v>
                </c:pt>
                <c:pt idx="1548">
                  <c:v>41149</c:v>
                </c:pt>
                <c:pt idx="1549">
                  <c:v>41150</c:v>
                </c:pt>
                <c:pt idx="1550">
                  <c:v>41151</c:v>
                </c:pt>
                <c:pt idx="1551">
                  <c:v>41152</c:v>
                </c:pt>
                <c:pt idx="1552">
                  <c:v>41155</c:v>
                </c:pt>
                <c:pt idx="1553">
                  <c:v>41156</c:v>
                </c:pt>
                <c:pt idx="1554">
                  <c:v>41157</c:v>
                </c:pt>
                <c:pt idx="1555">
                  <c:v>41158</c:v>
                </c:pt>
                <c:pt idx="1556">
                  <c:v>41159</c:v>
                </c:pt>
                <c:pt idx="1557">
                  <c:v>41162</c:v>
                </c:pt>
                <c:pt idx="1558">
                  <c:v>41163</c:v>
                </c:pt>
                <c:pt idx="1559">
                  <c:v>41164</c:v>
                </c:pt>
                <c:pt idx="1560">
                  <c:v>41165</c:v>
                </c:pt>
                <c:pt idx="1561">
                  <c:v>41166</c:v>
                </c:pt>
                <c:pt idx="1562">
                  <c:v>41169</c:v>
                </c:pt>
                <c:pt idx="1563">
                  <c:v>41170</c:v>
                </c:pt>
                <c:pt idx="1564">
                  <c:v>41171</c:v>
                </c:pt>
                <c:pt idx="1565">
                  <c:v>41172</c:v>
                </c:pt>
                <c:pt idx="1566">
                  <c:v>41173</c:v>
                </c:pt>
                <c:pt idx="1567">
                  <c:v>41176</c:v>
                </c:pt>
                <c:pt idx="1568">
                  <c:v>41177</c:v>
                </c:pt>
                <c:pt idx="1569">
                  <c:v>41178</c:v>
                </c:pt>
                <c:pt idx="1570">
                  <c:v>41179</c:v>
                </c:pt>
                <c:pt idx="1571">
                  <c:v>41180</c:v>
                </c:pt>
                <c:pt idx="1572">
                  <c:v>41183</c:v>
                </c:pt>
                <c:pt idx="1573">
                  <c:v>41184</c:v>
                </c:pt>
                <c:pt idx="1574">
                  <c:v>41185</c:v>
                </c:pt>
                <c:pt idx="1575">
                  <c:v>41186</c:v>
                </c:pt>
                <c:pt idx="1576">
                  <c:v>41187</c:v>
                </c:pt>
                <c:pt idx="1577">
                  <c:v>41190</c:v>
                </c:pt>
                <c:pt idx="1578">
                  <c:v>41191</c:v>
                </c:pt>
                <c:pt idx="1579">
                  <c:v>41192</c:v>
                </c:pt>
                <c:pt idx="1580">
                  <c:v>41193</c:v>
                </c:pt>
                <c:pt idx="1581">
                  <c:v>41194</c:v>
                </c:pt>
                <c:pt idx="1582">
                  <c:v>41197</c:v>
                </c:pt>
                <c:pt idx="1583">
                  <c:v>41198</c:v>
                </c:pt>
                <c:pt idx="1584">
                  <c:v>41199</c:v>
                </c:pt>
                <c:pt idx="1585">
                  <c:v>41200</c:v>
                </c:pt>
                <c:pt idx="1586">
                  <c:v>41201</c:v>
                </c:pt>
                <c:pt idx="1587">
                  <c:v>41204</c:v>
                </c:pt>
                <c:pt idx="1588">
                  <c:v>41205</c:v>
                </c:pt>
                <c:pt idx="1589">
                  <c:v>41206</c:v>
                </c:pt>
                <c:pt idx="1590">
                  <c:v>41207</c:v>
                </c:pt>
                <c:pt idx="1591">
                  <c:v>41208</c:v>
                </c:pt>
                <c:pt idx="1592">
                  <c:v>41211</c:v>
                </c:pt>
                <c:pt idx="1593">
                  <c:v>41212</c:v>
                </c:pt>
                <c:pt idx="1594">
                  <c:v>41213</c:v>
                </c:pt>
                <c:pt idx="1595">
                  <c:v>41214</c:v>
                </c:pt>
                <c:pt idx="1596">
                  <c:v>41215</c:v>
                </c:pt>
                <c:pt idx="1597">
                  <c:v>41218</c:v>
                </c:pt>
                <c:pt idx="1598">
                  <c:v>41219</c:v>
                </c:pt>
                <c:pt idx="1599">
                  <c:v>41220</c:v>
                </c:pt>
                <c:pt idx="1600">
                  <c:v>41221</c:v>
                </c:pt>
                <c:pt idx="1601">
                  <c:v>41222</c:v>
                </c:pt>
                <c:pt idx="1602">
                  <c:v>41225</c:v>
                </c:pt>
                <c:pt idx="1603">
                  <c:v>41226</c:v>
                </c:pt>
                <c:pt idx="1604">
                  <c:v>41227</c:v>
                </c:pt>
                <c:pt idx="1605">
                  <c:v>41228</c:v>
                </c:pt>
                <c:pt idx="1606">
                  <c:v>41229</c:v>
                </c:pt>
                <c:pt idx="1607">
                  <c:v>41232</c:v>
                </c:pt>
                <c:pt idx="1608">
                  <c:v>41233</c:v>
                </c:pt>
                <c:pt idx="1609">
                  <c:v>41234</c:v>
                </c:pt>
                <c:pt idx="1610">
                  <c:v>41235</c:v>
                </c:pt>
                <c:pt idx="1611">
                  <c:v>41236</c:v>
                </c:pt>
                <c:pt idx="1612">
                  <c:v>41239</c:v>
                </c:pt>
                <c:pt idx="1613">
                  <c:v>41240</c:v>
                </c:pt>
                <c:pt idx="1614">
                  <c:v>41241</c:v>
                </c:pt>
                <c:pt idx="1615">
                  <c:v>41242</c:v>
                </c:pt>
                <c:pt idx="1616">
                  <c:v>41243</c:v>
                </c:pt>
                <c:pt idx="1617">
                  <c:v>41246</c:v>
                </c:pt>
                <c:pt idx="1618">
                  <c:v>41247</c:v>
                </c:pt>
                <c:pt idx="1619">
                  <c:v>41248</c:v>
                </c:pt>
                <c:pt idx="1620">
                  <c:v>41249</c:v>
                </c:pt>
                <c:pt idx="1621">
                  <c:v>41250</c:v>
                </c:pt>
                <c:pt idx="1622">
                  <c:v>41253</c:v>
                </c:pt>
                <c:pt idx="1623">
                  <c:v>41254</c:v>
                </c:pt>
                <c:pt idx="1624">
                  <c:v>41255</c:v>
                </c:pt>
                <c:pt idx="1625">
                  <c:v>41256</c:v>
                </c:pt>
                <c:pt idx="1626">
                  <c:v>41257</c:v>
                </c:pt>
                <c:pt idx="1627">
                  <c:v>41260</c:v>
                </c:pt>
                <c:pt idx="1628">
                  <c:v>41261</c:v>
                </c:pt>
                <c:pt idx="1629">
                  <c:v>41262</c:v>
                </c:pt>
                <c:pt idx="1630">
                  <c:v>41263</c:v>
                </c:pt>
                <c:pt idx="1631">
                  <c:v>41264</c:v>
                </c:pt>
                <c:pt idx="1632">
                  <c:v>41270</c:v>
                </c:pt>
                <c:pt idx="1633">
                  <c:v>41271</c:v>
                </c:pt>
                <c:pt idx="1634">
                  <c:v>41276</c:v>
                </c:pt>
                <c:pt idx="1635">
                  <c:v>41277</c:v>
                </c:pt>
                <c:pt idx="1636">
                  <c:v>41278</c:v>
                </c:pt>
                <c:pt idx="1637">
                  <c:v>41281</c:v>
                </c:pt>
                <c:pt idx="1638">
                  <c:v>41282</c:v>
                </c:pt>
                <c:pt idx="1639">
                  <c:v>41283</c:v>
                </c:pt>
                <c:pt idx="1640">
                  <c:v>41284</c:v>
                </c:pt>
                <c:pt idx="1641">
                  <c:v>41285</c:v>
                </c:pt>
                <c:pt idx="1642">
                  <c:v>41288</c:v>
                </c:pt>
                <c:pt idx="1643">
                  <c:v>41289</c:v>
                </c:pt>
                <c:pt idx="1644">
                  <c:v>41290</c:v>
                </c:pt>
                <c:pt idx="1645">
                  <c:v>41291</c:v>
                </c:pt>
                <c:pt idx="1646">
                  <c:v>41292</c:v>
                </c:pt>
                <c:pt idx="1647">
                  <c:v>41295</c:v>
                </c:pt>
                <c:pt idx="1648">
                  <c:v>41296</c:v>
                </c:pt>
                <c:pt idx="1649">
                  <c:v>41297</c:v>
                </c:pt>
                <c:pt idx="1650">
                  <c:v>41298</c:v>
                </c:pt>
                <c:pt idx="1651">
                  <c:v>41299</c:v>
                </c:pt>
                <c:pt idx="1652">
                  <c:v>41302</c:v>
                </c:pt>
                <c:pt idx="1653">
                  <c:v>41303</c:v>
                </c:pt>
                <c:pt idx="1654">
                  <c:v>41304</c:v>
                </c:pt>
                <c:pt idx="1655">
                  <c:v>41305</c:v>
                </c:pt>
                <c:pt idx="1656">
                  <c:v>41306</c:v>
                </c:pt>
                <c:pt idx="1657">
                  <c:v>41309</c:v>
                </c:pt>
                <c:pt idx="1658">
                  <c:v>41310</c:v>
                </c:pt>
                <c:pt idx="1659">
                  <c:v>41311</c:v>
                </c:pt>
                <c:pt idx="1660">
                  <c:v>41312</c:v>
                </c:pt>
                <c:pt idx="1661">
                  <c:v>41313</c:v>
                </c:pt>
                <c:pt idx="1662">
                  <c:v>41316</c:v>
                </c:pt>
                <c:pt idx="1663">
                  <c:v>41317</c:v>
                </c:pt>
                <c:pt idx="1664">
                  <c:v>41318</c:v>
                </c:pt>
                <c:pt idx="1665">
                  <c:v>41319</c:v>
                </c:pt>
                <c:pt idx="1666">
                  <c:v>41320</c:v>
                </c:pt>
                <c:pt idx="1667">
                  <c:v>41323</c:v>
                </c:pt>
                <c:pt idx="1668">
                  <c:v>41324</c:v>
                </c:pt>
                <c:pt idx="1669">
                  <c:v>41325</c:v>
                </c:pt>
                <c:pt idx="1670">
                  <c:v>41326</c:v>
                </c:pt>
                <c:pt idx="1671">
                  <c:v>41327</c:v>
                </c:pt>
                <c:pt idx="1672">
                  <c:v>41330</c:v>
                </c:pt>
                <c:pt idx="1673">
                  <c:v>41331</c:v>
                </c:pt>
                <c:pt idx="1674">
                  <c:v>41332</c:v>
                </c:pt>
                <c:pt idx="1675">
                  <c:v>41333</c:v>
                </c:pt>
                <c:pt idx="1676">
                  <c:v>41334</c:v>
                </c:pt>
                <c:pt idx="1677">
                  <c:v>41337</c:v>
                </c:pt>
                <c:pt idx="1678">
                  <c:v>41338</c:v>
                </c:pt>
                <c:pt idx="1679">
                  <c:v>41339</c:v>
                </c:pt>
                <c:pt idx="1680">
                  <c:v>41340</c:v>
                </c:pt>
                <c:pt idx="1681">
                  <c:v>41341</c:v>
                </c:pt>
                <c:pt idx="1682">
                  <c:v>41344</c:v>
                </c:pt>
                <c:pt idx="1683">
                  <c:v>41345</c:v>
                </c:pt>
                <c:pt idx="1684">
                  <c:v>41346</c:v>
                </c:pt>
                <c:pt idx="1685">
                  <c:v>41347</c:v>
                </c:pt>
                <c:pt idx="1686">
                  <c:v>41348</c:v>
                </c:pt>
                <c:pt idx="1687">
                  <c:v>41351</c:v>
                </c:pt>
                <c:pt idx="1688">
                  <c:v>41352</c:v>
                </c:pt>
                <c:pt idx="1689">
                  <c:v>41353</c:v>
                </c:pt>
                <c:pt idx="1690">
                  <c:v>41354</c:v>
                </c:pt>
                <c:pt idx="1691">
                  <c:v>41355</c:v>
                </c:pt>
                <c:pt idx="1692">
                  <c:v>41358</c:v>
                </c:pt>
                <c:pt idx="1693">
                  <c:v>41359</c:v>
                </c:pt>
                <c:pt idx="1694">
                  <c:v>41360</c:v>
                </c:pt>
                <c:pt idx="1695">
                  <c:v>41361</c:v>
                </c:pt>
                <c:pt idx="1696">
                  <c:v>41366</c:v>
                </c:pt>
                <c:pt idx="1697">
                  <c:v>41367</c:v>
                </c:pt>
                <c:pt idx="1698">
                  <c:v>41368</c:v>
                </c:pt>
                <c:pt idx="1699">
                  <c:v>41369</c:v>
                </c:pt>
                <c:pt idx="1700">
                  <c:v>41372</c:v>
                </c:pt>
                <c:pt idx="1701">
                  <c:v>41373</c:v>
                </c:pt>
                <c:pt idx="1702">
                  <c:v>41374</c:v>
                </c:pt>
                <c:pt idx="1703">
                  <c:v>41375</c:v>
                </c:pt>
                <c:pt idx="1704">
                  <c:v>41376</c:v>
                </c:pt>
                <c:pt idx="1705">
                  <c:v>41379</c:v>
                </c:pt>
                <c:pt idx="1706">
                  <c:v>41380</c:v>
                </c:pt>
                <c:pt idx="1707">
                  <c:v>41381</c:v>
                </c:pt>
                <c:pt idx="1708">
                  <c:v>41382</c:v>
                </c:pt>
                <c:pt idx="1709">
                  <c:v>41383</c:v>
                </c:pt>
                <c:pt idx="1710">
                  <c:v>41386</c:v>
                </c:pt>
                <c:pt idx="1711">
                  <c:v>41387</c:v>
                </c:pt>
                <c:pt idx="1712">
                  <c:v>41388</c:v>
                </c:pt>
                <c:pt idx="1713">
                  <c:v>41389</c:v>
                </c:pt>
                <c:pt idx="1714">
                  <c:v>41390</c:v>
                </c:pt>
                <c:pt idx="1715">
                  <c:v>41393</c:v>
                </c:pt>
                <c:pt idx="1716">
                  <c:v>41394</c:v>
                </c:pt>
                <c:pt idx="1717">
                  <c:v>41396</c:v>
                </c:pt>
                <c:pt idx="1718">
                  <c:v>41397</c:v>
                </c:pt>
                <c:pt idx="1719">
                  <c:v>41400</c:v>
                </c:pt>
                <c:pt idx="1720">
                  <c:v>41401</c:v>
                </c:pt>
                <c:pt idx="1721">
                  <c:v>41402</c:v>
                </c:pt>
                <c:pt idx="1722">
                  <c:v>41403</c:v>
                </c:pt>
                <c:pt idx="1723">
                  <c:v>41404</c:v>
                </c:pt>
                <c:pt idx="1724">
                  <c:v>41407</c:v>
                </c:pt>
                <c:pt idx="1725">
                  <c:v>41408</c:v>
                </c:pt>
                <c:pt idx="1726">
                  <c:v>41409</c:v>
                </c:pt>
                <c:pt idx="1727">
                  <c:v>41410</c:v>
                </c:pt>
                <c:pt idx="1728">
                  <c:v>41411</c:v>
                </c:pt>
                <c:pt idx="1729">
                  <c:v>41414</c:v>
                </c:pt>
                <c:pt idx="1730">
                  <c:v>41415</c:v>
                </c:pt>
                <c:pt idx="1731">
                  <c:v>41416</c:v>
                </c:pt>
                <c:pt idx="1732">
                  <c:v>41417</c:v>
                </c:pt>
                <c:pt idx="1733">
                  <c:v>41418</c:v>
                </c:pt>
                <c:pt idx="1734">
                  <c:v>41421</c:v>
                </c:pt>
                <c:pt idx="1735">
                  <c:v>41422</c:v>
                </c:pt>
                <c:pt idx="1736">
                  <c:v>41423</c:v>
                </c:pt>
                <c:pt idx="1737">
                  <c:v>41424</c:v>
                </c:pt>
                <c:pt idx="1738">
                  <c:v>41425</c:v>
                </c:pt>
                <c:pt idx="1739">
                  <c:v>41428</c:v>
                </c:pt>
                <c:pt idx="1740">
                  <c:v>41429</c:v>
                </c:pt>
                <c:pt idx="1741">
                  <c:v>41430</c:v>
                </c:pt>
                <c:pt idx="1742">
                  <c:v>41431</c:v>
                </c:pt>
                <c:pt idx="1743">
                  <c:v>41432</c:v>
                </c:pt>
                <c:pt idx="1744">
                  <c:v>41435</c:v>
                </c:pt>
                <c:pt idx="1745">
                  <c:v>41436</c:v>
                </c:pt>
                <c:pt idx="1746">
                  <c:v>41437</c:v>
                </c:pt>
                <c:pt idx="1747">
                  <c:v>41438</c:v>
                </c:pt>
                <c:pt idx="1748">
                  <c:v>41439</c:v>
                </c:pt>
                <c:pt idx="1749">
                  <c:v>41442</c:v>
                </c:pt>
                <c:pt idx="1750">
                  <c:v>41443</c:v>
                </c:pt>
                <c:pt idx="1751">
                  <c:v>41444</c:v>
                </c:pt>
                <c:pt idx="1752">
                  <c:v>41445</c:v>
                </c:pt>
                <c:pt idx="1753">
                  <c:v>41446</c:v>
                </c:pt>
                <c:pt idx="1754">
                  <c:v>41449</c:v>
                </c:pt>
                <c:pt idx="1755">
                  <c:v>41450</c:v>
                </c:pt>
                <c:pt idx="1756">
                  <c:v>41451</c:v>
                </c:pt>
                <c:pt idx="1757">
                  <c:v>41452</c:v>
                </c:pt>
                <c:pt idx="1758">
                  <c:v>41453</c:v>
                </c:pt>
                <c:pt idx="1759">
                  <c:v>41456</c:v>
                </c:pt>
                <c:pt idx="1760">
                  <c:v>41457</c:v>
                </c:pt>
                <c:pt idx="1761">
                  <c:v>41458</c:v>
                </c:pt>
                <c:pt idx="1762">
                  <c:v>41459</c:v>
                </c:pt>
                <c:pt idx="1763">
                  <c:v>41460</c:v>
                </c:pt>
                <c:pt idx="1764">
                  <c:v>41463</c:v>
                </c:pt>
                <c:pt idx="1765">
                  <c:v>41464</c:v>
                </c:pt>
                <c:pt idx="1766">
                  <c:v>41465</c:v>
                </c:pt>
                <c:pt idx="1767">
                  <c:v>41466</c:v>
                </c:pt>
                <c:pt idx="1768">
                  <c:v>41467</c:v>
                </c:pt>
                <c:pt idx="1769">
                  <c:v>41470</c:v>
                </c:pt>
                <c:pt idx="1770">
                  <c:v>41471</c:v>
                </c:pt>
                <c:pt idx="1771">
                  <c:v>41472</c:v>
                </c:pt>
                <c:pt idx="1772">
                  <c:v>41473</c:v>
                </c:pt>
                <c:pt idx="1773">
                  <c:v>41474</c:v>
                </c:pt>
                <c:pt idx="1774">
                  <c:v>41477</c:v>
                </c:pt>
                <c:pt idx="1775">
                  <c:v>41478</c:v>
                </c:pt>
                <c:pt idx="1776">
                  <c:v>41479</c:v>
                </c:pt>
                <c:pt idx="1777">
                  <c:v>41480</c:v>
                </c:pt>
                <c:pt idx="1778">
                  <c:v>41481</c:v>
                </c:pt>
                <c:pt idx="1779">
                  <c:v>41484</c:v>
                </c:pt>
                <c:pt idx="1780">
                  <c:v>41485</c:v>
                </c:pt>
                <c:pt idx="1781">
                  <c:v>41486</c:v>
                </c:pt>
                <c:pt idx="1782">
                  <c:v>41487</c:v>
                </c:pt>
                <c:pt idx="1783">
                  <c:v>41488</c:v>
                </c:pt>
                <c:pt idx="1784">
                  <c:v>41491</c:v>
                </c:pt>
                <c:pt idx="1785">
                  <c:v>41492</c:v>
                </c:pt>
                <c:pt idx="1786">
                  <c:v>41493</c:v>
                </c:pt>
                <c:pt idx="1787">
                  <c:v>41494</c:v>
                </c:pt>
                <c:pt idx="1788">
                  <c:v>41495</c:v>
                </c:pt>
                <c:pt idx="1789">
                  <c:v>41498</c:v>
                </c:pt>
                <c:pt idx="1790">
                  <c:v>41499</c:v>
                </c:pt>
                <c:pt idx="1791">
                  <c:v>41500</c:v>
                </c:pt>
                <c:pt idx="1792">
                  <c:v>41501</c:v>
                </c:pt>
                <c:pt idx="1793">
                  <c:v>41502</c:v>
                </c:pt>
                <c:pt idx="1794">
                  <c:v>41505</c:v>
                </c:pt>
                <c:pt idx="1795">
                  <c:v>41506</c:v>
                </c:pt>
                <c:pt idx="1796">
                  <c:v>41507</c:v>
                </c:pt>
                <c:pt idx="1797">
                  <c:v>41508</c:v>
                </c:pt>
                <c:pt idx="1798">
                  <c:v>41509</c:v>
                </c:pt>
                <c:pt idx="1799">
                  <c:v>41512</c:v>
                </c:pt>
                <c:pt idx="1800">
                  <c:v>41513</c:v>
                </c:pt>
                <c:pt idx="1801">
                  <c:v>41514</c:v>
                </c:pt>
                <c:pt idx="1802">
                  <c:v>41515</c:v>
                </c:pt>
                <c:pt idx="1803">
                  <c:v>41516</c:v>
                </c:pt>
                <c:pt idx="1804">
                  <c:v>41519</c:v>
                </c:pt>
                <c:pt idx="1805">
                  <c:v>41520</c:v>
                </c:pt>
                <c:pt idx="1806">
                  <c:v>41521</c:v>
                </c:pt>
                <c:pt idx="1807">
                  <c:v>41522</c:v>
                </c:pt>
                <c:pt idx="1808">
                  <c:v>41523</c:v>
                </c:pt>
                <c:pt idx="1809">
                  <c:v>41526</c:v>
                </c:pt>
                <c:pt idx="1810">
                  <c:v>41527</c:v>
                </c:pt>
                <c:pt idx="1811">
                  <c:v>41528</c:v>
                </c:pt>
                <c:pt idx="1812">
                  <c:v>41529</c:v>
                </c:pt>
                <c:pt idx="1813">
                  <c:v>41530</c:v>
                </c:pt>
                <c:pt idx="1814">
                  <c:v>41533</c:v>
                </c:pt>
                <c:pt idx="1815">
                  <c:v>41534</c:v>
                </c:pt>
                <c:pt idx="1816">
                  <c:v>41535</c:v>
                </c:pt>
                <c:pt idx="1817">
                  <c:v>41536</c:v>
                </c:pt>
                <c:pt idx="1818">
                  <c:v>41537</c:v>
                </c:pt>
                <c:pt idx="1819">
                  <c:v>41540</c:v>
                </c:pt>
                <c:pt idx="1820">
                  <c:v>41541</c:v>
                </c:pt>
                <c:pt idx="1821">
                  <c:v>41542</c:v>
                </c:pt>
                <c:pt idx="1822">
                  <c:v>41543</c:v>
                </c:pt>
                <c:pt idx="1823">
                  <c:v>41544</c:v>
                </c:pt>
                <c:pt idx="1824">
                  <c:v>41547</c:v>
                </c:pt>
                <c:pt idx="1825">
                  <c:v>41548</c:v>
                </c:pt>
                <c:pt idx="1826">
                  <c:v>41549</c:v>
                </c:pt>
                <c:pt idx="1827">
                  <c:v>41550</c:v>
                </c:pt>
                <c:pt idx="1828">
                  <c:v>41551</c:v>
                </c:pt>
                <c:pt idx="1829">
                  <c:v>41554</c:v>
                </c:pt>
                <c:pt idx="1830">
                  <c:v>41555</c:v>
                </c:pt>
                <c:pt idx="1831">
                  <c:v>41556</c:v>
                </c:pt>
                <c:pt idx="1832">
                  <c:v>41557</c:v>
                </c:pt>
                <c:pt idx="1833">
                  <c:v>41558</c:v>
                </c:pt>
                <c:pt idx="1834">
                  <c:v>41561</c:v>
                </c:pt>
                <c:pt idx="1835">
                  <c:v>41562</c:v>
                </c:pt>
                <c:pt idx="1836">
                  <c:v>41563</c:v>
                </c:pt>
                <c:pt idx="1837">
                  <c:v>41564</c:v>
                </c:pt>
                <c:pt idx="1838">
                  <c:v>41565</c:v>
                </c:pt>
                <c:pt idx="1839">
                  <c:v>41568</c:v>
                </c:pt>
                <c:pt idx="1840">
                  <c:v>41569</c:v>
                </c:pt>
                <c:pt idx="1841">
                  <c:v>41570</c:v>
                </c:pt>
                <c:pt idx="1842">
                  <c:v>41571</c:v>
                </c:pt>
                <c:pt idx="1843">
                  <c:v>41572</c:v>
                </c:pt>
                <c:pt idx="1844">
                  <c:v>41575</c:v>
                </c:pt>
                <c:pt idx="1845">
                  <c:v>41576</c:v>
                </c:pt>
                <c:pt idx="1846">
                  <c:v>41577</c:v>
                </c:pt>
                <c:pt idx="1847">
                  <c:v>41578</c:v>
                </c:pt>
                <c:pt idx="1848">
                  <c:v>41579</c:v>
                </c:pt>
                <c:pt idx="1849">
                  <c:v>41582</c:v>
                </c:pt>
                <c:pt idx="1850">
                  <c:v>41583</c:v>
                </c:pt>
                <c:pt idx="1851">
                  <c:v>41584</c:v>
                </c:pt>
                <c:pt idx="1852">
                  <c:v>41585</c:v>
                </c:pt>
                <c:pt idx="1853">
                  <c:v>41586</c:v>
                </c:pt>
                <c:pt idx="1854">
                  <c:v>41589</c:v>
                </c:pt>
                <c:pt idx="1855">
                  <c:v>41590</c:v>
                </c:pt>
                <c:pt idx="1856">
                  <c:v>41591</c:v>
                </c:pt>
                <c:pt idx="1857">
                  <c:v>41592</c:v>
                </c:pt>
                <c:pt idx="1858">
                  <c:v>41593</c:v>
                </c:pt>
                <c:pt idx="1859">
                  <c:v>41596</c:v>
                </c:pt>
                <c:pt idx="1860">
                  <c:v>41597</c:v>
                </c:pt>
                <c:pt idx="1861">
                  <c:v>41598</c:v>
                </c:pt>
                <c:pt idx="1862">
                  <c:v>41599</c:v>
                </c:pt>
                <c:pt idx="1863">
                  <c:v>41600</c:v>
                </c:pt>
                <c:pt idx="1864">
                  <c:v>41603</c:v>
                </c:pt>
                <c:pt idx="1865">
                  <c:v>41604</c:v>
                </c:pt>
                <c:pt idx="1866">
                  <c:v>41605</c:v>
                </c:pt>
                <c:pt idx="1867">
                  <c:v>41606</c:v>
                </c:pt>
                <c:pt idx="1868">
                  <c:v>41607</c:v>
                </c:pt>
                <c:pt idx="1869">
                  <c:v>41610</c:v>
                </c:pt>
                <c:pt idx="1870">
                  <c:v>41611</c:v>
                </c:pt>
                <c:pt idx="1871">
                  <c:v>41612</c:v>
                </c:pt>
                <c:pt idx="1872">
                  <c:v>41613</c:v>
                </c:pt>
                <c:pt idx="1873">
                  <c:v>41614</c:v>
                </c:pt>
                <c:pt idx="1874">
                  <c:v>41617</c:v>
                </c:pt>
                <c:pt idx="1875">
                  <c:v>41618</c:v>
                </c:pt>
                <c:pt idx="1876">
                  <c:v>41619</c:v>
                </c:pt>
                <c:pt idx="1877">
                  <c:v>41620</c:v>
                </c:pt>
                <c:pt idx="1878">
                  <c:v>41621</c:v>
                </c:pt>
                <c:pt idx="1879">
                  <c:v>41624</c:v>
                </c:pt>
                <c:pt idx="1880">
                  <c:v>41625</c:v>
                </c:pt>
                <c:pt idx="1881">
                  <c:v>41626</c:v>
                </c:pt>
                <c:pt idx="1882">
                  <c:v>41627</c:v>
                </c:pt>
                <c:pt idx="1883">
                  <c:v>41628</c:v>
                </c:pt>
                <c:pt idx="1884">
                  <c:v>41631</c:v>
                </c:pt>
                <c:pt idx="1885">
                  <c:v>41635</c:v>
                </c:pt>
                <c:pt idx="1886">
                  <c:v>41638</c:v>
                </c:pt>
                <c:pt idx="1887">
                  <c:v>41641</c:v>
                </c:pt>
                <c:pt idx="1888">
                  <c:v>41642</c:v>
                </c:pt>
                <c:pt idx="1889">
                  <c:v>41645</c:v>
                </c:pt>
                <c:pt idx="1890">
                  <c:v>41646</c:v>
                </c:pt>
                <c:pt idx="1891">
                  <c:v>41647</c:v>
                </c:pt>
                <c:pt idx="1892">
                  <c:v>41648</c:v>
                </c:pt>
                <c:pt idx="1893">
                  <c:v>41649</c:v>
                </c:pt>
                <c:pt idx="1894">
                  <c:v>41652</c:v>
                </c:pt>
                <c:pt idx="1895">
                  <c:v>41653</c:v>
                </c:pt>
                <c:pt idx="1896">
                  <c:v>41654</c:v>
                </c:pt>
                <c:pt idx="1897">
                  <c:v>41655</c:v>
                </c:pt>
                <c:pt idx="1898">
                  <c:v>41656</c:v>
                </c:pt>
                <c:pt idx="1899">
                  <c:v>41659</c:v>
                </c:pt>
                <c:pt idx="1900">
                  <c:v>41660</c:v>
                </c:pt>
                <c:pt idx="1901">
                  <c:v>41661</c:v>
                </c:pt>
                <c:pt idx="1902">
                  <c:v>41662</c:v>
                </c:pt>
                <c:pt idx="1903">
                  <c:v>41663</c:v>
                </c:pt>
                <c:pt idx="1904">
                  <c:v>41666</c:v>
                </c:pt>
                <c:pt idx="1905">
                  <c:v>41667</c:v>
                </c:pt>
                <c:pt idx="1906">
                  <c:v>41668</c:v>
                </c:pt>
                <c:pt idx="1907">
                  <c:v>41669</c:v>
                </c:pt>
                <c:pt idx="1908">
                  <c:v>41670</c:v>
                </c:pt>
                <c:pt idx="1909">
                  <c:v>41673</c:v>
                </c:pt>
                <c:pt idx="1910">
                  <c:v>41674</c:v>
                </c:pt>
                <c:pt idx="1911">
                  <c:v>41675</c:v>
                </c:pt>
                <c:pt idx="1912">
                  <c:v>41676</c:v>
                </c:pt>
                <c:pt idx="1913">
                  <c:v>41677</c:v>
                </c:pt>
                <c:pt idx="1914">
                  <c:v>41680</c:v>
                </c:pt>
                <c:pt idx="1915">
                  <c:v>41681</c:v>
                </c:pt>
                <c:pt idx="1916">
                  <c:v>41682</c:v>
                </c:pt>
                <c:pt idx="1917">
                  <c:v>41683</c:v>
                </c:pt>
                <c:pt idx="1918">
                  <c:v>41684</c:v>
                </c:pt>
                <c:pt idx="1919">
                  <c:v>41687</c:v>
                </c:pt>
                <c:pt idx="1920">
                  <c:v>41688</c:v>
                </c:pt>
                <c:pt idx="1921">
                  <c:v>41689</c:v>
                </c:pt>
                <c:pt idx="1922">
                  <c:v>41690</c:v>
                </c:pt>
                <c:pt idx="1923">
                  <c:v>41691</c:v>
                </c:pt>
                <c:pt idx="1924">
                  <c:v>41694</c:v>
                </c:pt>
                <c:pt idx="1925">
                  <c:v>41695</c:v>
                </c:pt>
                <c:pt idx="1926">
                  <c:v>41696</c:v>
                </c:pt>
                <c:pt idx="1927">
                  <c:v>41697</c:v>
                </c:pt>
                <c:pt idx="1928">
                  <c:v>41698</c:v>
                </c:pt>
                <c:pt idx="1929">
                  <c:v>41701</c:v>
                </c:pt>
                <c:pt idx="1930">
                  <c:v>41702</c:v>
                </c:pt>
                <c:pt idx="1931">
                  <c:v>41703</c:v>
                </c:pt>
                <c:pt idx="1932">
                  <c:v>41704</c:v>
                </c:pt>
                <c:pt idx="1933">
                  <c:v>41705</c:v>
                </c:pt>
                <c:pt idx="1934">
                  <c:v>41708</c:v>
                </c:pt>
                <c:pt idx="1935">
                  <c:v>41709</c:v>
                </c:pt>
                <c:pt idx="1936">
                  <c:v>41710</c:v>
                </c:pt>
                <c:pt idx="1937">
                  <c:v>41711</c:v>
                </c:pt>
                <c:pt idx="1938">
                  <c:v>41712</c:v>
                </c:pt>
                <c:pt idx="1939">
                  <c:v>41715</c:v>
                </c:pt>
                <c:pt idx="1940">
                  <c:v>41716</c:v>
                </c:pt>
                <c:pt idx="1941">
                  <c:v>41717</c:v>
                </c:pt>
                <c:pt idx="1942">
                  <c:v>41718</c:v>
                </c:pt>
                <c:pt idx="1943">
                  <c:v>41719</c:v>
                </c:pt>
                <c:pt idx="1944">
                  <c:v>41722</c:v>
                </c:pt>
                <c:pt idx="1945">
                  <c:v>41723</c:v>
                </c:pt>
                <c:pt idx="1946">
                  <c:v>41724</c:v>
                </c:pt>
                <c:pt idx="1947">
                  <c:v>41725</c:v>
                </c:pt>
                <c:pt idx="1948">
                  <c:v>41726</c:v>
                </c:pt>
                <c:pt idx="1949">
                  <c:v>41729</c:v>
                </c:pt>
                <c:pt idx="1950">
                  <c:v>41730</c:v>
                </c:pt>
                <c:pt idx="1951">
                  <c:v>41731</c:v>
                </c:pt>
                <c:pt idx="1952">
                  <c:v>41732</c:v>
                </c:pt>
                <c:pt idx="1953">
                  <c:v>41733</c:v>
                </c:pt>
                <c:pt idx="1954">
                  <c:v>41736</c:v>
                </c:pt>
                <c:pt idx="1955">
                  <c:v>41737</c:v>
                </c:pt>
                <c:pt idx="1956">
                  <c:v>41738</c:v>
                </c:pt>
                <c:pt idx="1957">
                  <c:v>41739</c:v>
                </c:pt>
                <c:pt idx="1958">
                  <c:v>41740</c:v>
                </c:pt>
                <c:pt idx="1959">
                  <c:v>41743</c:v>
                </c:pt>
                <c:pt idx="1960">
                  <c:v>41744</c:v>
                </c:pt>
                <c:pt idx="1961">
                  <c:v>41745</c:v>
                </c:pt>
                <c:pt idx="1962">
                  <c:v>41746</c:v>
                </c:pt>
                <c:pt idx="1963">
                  <c:v>41751</c:v>
                </c:pt>
                <c:pt idx="1964">
                  <c:v>41752</c:v>
                </c:pt>
                <c:pt idx="1965">
                  <c:v>41753</c:v>
                </c:pt>
                <c:pt idx="1966">
                  <c:v>41754</c:v>
                </c:pt>
                <c:pt idx="1967">
                  <c:v>41757</c:v>
                </c:pt>
                <c:pt idx="1968">
                  <c:v>41758</c:v>
                </c:pt>
                <c:pt idx="1969">
                  <c:v>41759</c:v>
                </c:pt>
                <c:pt idx="1970">
                  <c:v>41761</c:v>
                </c:pt>
                <c:pt idx="1971">
                  <c:v>41764</c:v>
                </c:pt>
                <c:pt idx="1972">
                  <c:v>41765</c:v>
                </c:pt>
                <c:pt idx="1973">
                  <c:v>41766</c:v>
                </c:pt>
                <c:pt idx="1974">
                  <c:v>41767</c:v>
                </c:pt>
                <c:pt idx="1975">
                  <c:v>41768</c:v>
                </c:pt>
                <c:pt idx="1976">
                  <c:v>41771</c:v>
                </c:pt>
                <c:pt idx="1977">
                  <c:v>41772</c:v>
                </c:pt>
                <c:pt idx="1978">
                  <c:v>41773</c:v>
                </c:pt>
                <c:pt idx="1979">
                  <c:v>41774</c:v>
                </c:pt>
                <c:pt idx="1980">
                  <c:v>41775</c:v>
                </c:pt>
                <c:pt idx="1981">
                  <c:v>41778</c:v>
                </c:pt>
                <c:pt idx="1982">
                  <c:v>41779</c:v>
                </c:pt>
                <c:pt idx="1983">
                  <c:v>41780</c:v>
                </c:pt>
                <c:pt idx="1984">
                  <c:v>41781</c:v>
                </c:pt>
                <c:pt idx="1985">
                  <c:v>41782</c:v>
                </c:pt>
                <c:pt idx="1986">
                  <c:v>41785</c:v>
                </c:pt>
                <c:pt idx="1987">
                  <c:v>41786</c:v>
                </c:pt>
                <c:pt idx="1988">
                  <c:v>41787</c:v>
                </c:pt>
                <c:pt idx="1989">
                  <c:v>41788</c:v>
                </c:pt>
                <c:pt idx="1990">
                  <c:v>41789</c:v>
                </c:pt>
                <c:pt idx="1991">
                  <c:v>41792</c:v>
                </c:pt>
                <c:pt idx="1992">
                  <c:v>41793</c:v>
                </c:pt>
                <c:pt idx="1993">
                  <c:v>41794</c:v>
                </c:pt>
                <c:pt idx="1994">
                  <c:v>41795</c:v>
                </c:pt>
                <c:pt idx="1995">
                  <c:v>41796</c:v>
                </c:pt>
                <c:pt idx="1996">
                  <c:v>41799</c:v>
                </c:pt>
                <c:pt idx="1997">
                  <c:v>41800</c:v>
                </c:pt>
                <c:pt idx="1998">
                  <c:v>41801</c:v>
                </c:pt>
                <c:pt idx="1999">
                  <c:v>41802</c:v>
                </c:pt>
                <c:pt idx="2000">
                  <c:v>41803</c:v>
                </c:pt>
                <c:pt idx="2001">
                  <c:v>41806</c:v>
                </c:pt>
                <c:pt idx="2002">
                  <c:v>41807</c:v>
                </c:pt>
                <c:pt idx="2003">
                  <c:v>41808</c:v>
                </c:pt>
                <c:pt idx="2004">
                  <c:v>41809</c:v>
                </c:pt>
                <c:pt idx="2005">
                  <c:v>41810</c:v>
                </c:pt>
                <c:pt idx="2006">
                  <c:v>41813</c:v>
                </c:pt>
                <c:pt idx="2007">
                  <c:v>41814</c:v>
                </c:pt>
                <c:pt idx="2008">
                  <c:v>41815</c:v>
                </c:pt>
                <c:pt idx="2009">
                  <c:v>41816</c:v>
                </c:pt>
                <c:pt idx="2010">
                  <c:v>41817</c:v>
                </c:pt>
                <c:pt idx="2011">
                  <c:v>41820</c:v>
                </c:pt>
                <c:pt idx="2012">
                  <c:v>41821</c:v>
                </c:pt>
                <c:pt idx="2013">
                  <c:v>41822</c:v>
                </c:pt>
                <c:pt idx="2014">
                  <c:v>41823</c:v>
                </c:pt>
                <c:pt idx="2015">
                  <c:v>41824</c:v>
                </c:pt>
                <c:pt idx="2016">
                  <c:v>41827</c:v>
                </c:pt>
                <c:pt idx="2017">
                  <c:v>41828</c:v>
                </c:pt>
                <c:pt idx="2018">
                  <c:v>41829</c:v>
                </c:pt>
                <c:pt idx="2019">
                  <c:v>41830</c:v>
                </c:pt>
                <c:pt idx="2020">
                  <c:v>41831</c:v>
                </c:pt>
                <c:pt idx="2021">
                  <c:v>41834</c:v>
                </c:pt>
                <c:pt idx="2022">
                  <c:v>41835</c:v>
                </c:pt>
                <c:pt idx="2023">
                  <c:v>41836</c:v>
                </c:pt>
                <c:pt idx="2024">
                  <c:v>41837</c:v>
                </c:pt>
                <c:pt idx="2025">
                  <c:v>41838</c:v>
                </c:pt>
                <c:pt idx="2026">
                  <c:v>41841</c:v>
                </c:pt>
                <c:pt idx="2027">
                  <c:v>41842</c:v>
                </c:pt>
                <c:pt idx="2028">
                  <c:v>41843</c:v>
                </c:pt>
                <c:pt idx="2029">
                  <c:v>41844</c:v>
                </c:pt>
                <c:pt idx="2030">
                  <c:v>41845</c:v>
                </c:pt>
                <c:pt idx="2031">
                  <c:v>41848</c:v>
                </c:pt>
                <c:pt idx="2032">
                  <c:v>41849</c:v>
                </c:pt>
                <c:pt idx="2033">
                  <c:v>41850</c:v>
                </c:pt>
                <c:pt idx="2034">
                  <c:v>41851</c:v>
                </c:pt>
                <c:pt idx="2035">
                  <c:v>41852</c:v>
                </c:pt>
                <c:pt idx="2036">
                  <c:v>41855</c:v>
                </c:pt>
                <c:pt idx="2037">
                  <c:v>41856</c:v>
                </c:pt>
                <c:pt idx="2038">
                  <c:v>41857</c:v>
                </c:pt>
                <c:pt idx="2039">
                  <c:v>41858</c:v>
                </c:pt>
                <c:pt idx="2040">
                  <c:v>41859</c:v>
                </c:pt>
                <c:pt idx="2041">
                  <c:v>41862</c:v>
                </c:pt>
                <c:pt idx="2042">
                  <c:v>41863</c:v>
                </c:pt>
                <c:pt idx="2043">
                  <c:v>41864</c:v>
                </c:pt>
                <c:pt idx="2044">
                  <c:v>41865</c:v>
                </c:pt>
                <c:pt idx="2045">
                  <c:v>41866</c:v>
                </c:pt>
                <c:pt idx="2046">
                  <c:v>41869</c:v>
                </c:pt>
                <c:pt idx="2047">
                  <c:v>41870</c:v>
                </c:pt>
                <c:pt idx="2048">
                  <c:v>41871</c:v>
                </c:pt>
                <c:pt idx="2049">
                  <c:v>41872</c:v>
                </c:pt>
                <c:pt idx="2050">
                  <c:v>41873</c:v>
                </c:pt>
                <c:pt idx="2051">
                  <c:v>41876</c:v>
                </c:pt>
                <c:pt idx="2052">
                  <c:v>41877</c:v>
                </c:pt>
                <c:pt idx="2053">
                  <c:v>41878</c:v>
                </c:pt>
                <c:pt idx="2054">
                  <c:v>41879</c:v>
                </c:pt>
                <c:pt idx="2055">
                  <c:v>41880</c:v>
                </c:pt>
                <c:pt idx="2056">
                  <c:v>41883</c:v>
                </c:pt>
                <c:pt idx="2057">
                  <c:v>41884</c:v>
                </c:pt>
                <c:pt idx="2058">
                  <c:v>41885</c:v>
                </c:pt>
                <c:pt idx="2059">
                  <c:v>41886</c:v>
                </c:pt>
                <c:pt idx="2060">
                  <c:v>41887</c:v>
                </c:pt>
                <c:pt idx="2061">
                  <c:v>41890</c:v>
                </c:pt>
                <c:pt idx="2062">
                  <c:v>41891</c:v>
                </c:pt>
                <c:pt idx="2063">
                  <c:v>41892</c:v>
                </c:pt>
                <c:pt idx="2064">
                  <c:v>41893</c:v>
                </c:pt>
                <c:pt idx="2065">
                  <c:v>41894</c:v>
                </c:pt>
                <c:pt idx="2066">
                  <c:v>41897</c:v>
                </c:pt>
                <c:pt idx="2067">
                  <c:v>41898</c:v>
                </c:pt>
                <c:pt idx="2068">
                  <c:v>41899</c:v>
                </c:pt>
                <c:pt idx="2069">
                  <c:v>41900</c:v>
                </c:pt>
                <c:pt idx="2070">
                  <c:v>41901</c:v>
                </c:pt>
                <c:pt idx="2071">
                  <c:v>41904</c:v>
                </c:pt>
                <c:pt idx="2072">
                  <c:v>41905</c:v>
                </c:pt>
                <c:pt idx="2073">
                  <c:v>41906</c:v>
                </c:pt>
                <c:pt idx="2074">
                  <c:v>41907</c:v>
                </c:pt>
                <c:pt idx="2075">
                  <c:v>41908</c:v>
                </c:pt>
                <c:pt idx="2076">
                  <c:v>41911</c:v>
                </c:pt>
                <c:pt idx="2077">
                  <c:v>41912</c:v>
                </c:pt>
                <c:pt idx="2078">
                  <c:v>41913</c:v>
                </c:pt>
                <c:pt idx="2079">
                  <c:v>41914</c:v>
                </c:pt>
                <c:pt idx="2080">
                  <c:v>41918</c:v>
                </c:pt>
                <c:pt idx="2081">
                  <c:v>41919</c:v>
                </c:pt>
                <c:pt idx="2082">
                  <c:v>41920</c:v>
                </c:pt>
                <c:pt idx="2083">
                  <c:v>41921</c:v>
                </c:pt>
                <c:pt idx="2084">
                  <c:v>41922</c:v>
                </c:pt>
                <c:pt idx="2085">
                  <c:v>41925</c:v>
                </c:pt>
                <c:pt idx="2086">
                  <c:v>41926</c:v>
                </c:pt>
                <c:pt idx="2087">
                  <c:v>41927</c:v>
                </c:pt>
                <c:pt idx="2088">
                  <c:v>41928</c:v>
                </c:pt>
                <c:pt idx="2089">
                  <c:v>41929</c:v>
                </c:pt>
                <c:pt idx="2090">
                  <c:v>41932</c:v>
                </c:pt>
                <c:pt idx="2091">
                  <c:v>41933</c:v>
                </c:pt>
                <c:pt idx="2092">
                  <c:v>41934</c:v>
                </c:pt>
                <c:pt idx="2093">
                  <c:v>41935</c:v>
                </c:pt>
                <c:pt idx="2094">
                  <c:v>41936</c:v>
                </c:pt>
                <c:pt idx="2095">
                  <c:v>41939</c:v>
                </c:pt>
                <c:pt idx="2096">
                  <c:v>41940</c:v>
                </c:pt>
                <c:pt idx="2097">
                  <c:v>41941</c:v>
                </c:pt>
                <c:pt idx="2098">
                  <c:v>41942</c:v>
                </c:pt>
                <c:pt idx="2099">
                  <c:v>41943</c:v>
                </c:pt>
                <c:pt idx="2100">
                  <c:v>41946</c:v>
                </c:pt>
                <c:pt idx="2101">
                  <c:v>41947</c:v>
                </c:pt>
                <c:pt idx="2102">
                  <c:v>41948</c:v>
                </c:pt>
                <c:pt idx="2103">
                  <c:v>41949</c:v>
                </c:pt>
                <c:pt idx="2104">
                  <c:v>41950</c:v>
                </c:pt>
                <c:pt idx="2105">
                  <c:v>41953</c:v>
                </c:pt>
                <c:pt idx="2106">
                  <c:v>41954</c:v>
                </c:pt>
                <c:pt idx="2107">
                  <c:v>41955</c:v>
                </c:pt>
                <c:pt idx="2108">
                  <c:v>41956</c:v>
                </c:pt>
                <c:pt idx="2109">
                  <c:v>41957</c:v>
                </c:pt>
                <c:pt idx="2110">
                  <c:v>41960</c:v>
                </c:pt>
                <c:pt idx="2111">
                  <c:v>41961</c:v>
                </c:pt>
                <c:pt idx="2112">
                  <c:v>41962</c:v>
                </c:pt>
                <c:pt idx="2113">
                  <c:v>41963</c:v>
                </c:pt>
                <c:pt idx="2114">
                  <c:v>41964</c:v>
                </c:pt>
                <c:pt idx="2115">
                  <c:v>41967</c:v>
                </c:pt>
                <c:pt idx="2116">
                  <c:v>41968</c:v>
                </c:pt>
                <c:pt idx="2117">
                  <c:v>41969</c:v>
                </c:pt>
                <c:pt idx="2118">
                  <c:v>41970</c:v>
                </c:pt>
                <c:pt idx="2119">
                  <c:v>41971</c:v>
                </c:pt>
                <c:pt idx="2120">
                  <c:v>41974</c:v>
                </c:pt>
                <c:pt idx="2121">
                  <c:v>41975</c:v>
                </c:pt>
                <c:pt idx="2122">
                  <c:v>41976</c:v>
                </c:pt>
                <c:pt idx="2123">
                  <c:v>41977</c:v>
                </c:pt>
                <c:pt idx="2124">
                  <c:v>41978</c:v>
                </c:pt>
                <c:pt idx="2125">
                  <c:v>41981</c:v>
                </c:pt>
                <c:pt idx="2126">
                  <c:v>41982</c:v>
                </c:pt>
                <c:pt idx="2127">
                  <c:v>41983</c:v>
                </c:pt>
                <c:pt idx="2128">
                  <c:v>41984</c:v>
                </c:pt>
                <c:pt idx="2129">
                  <c:v>41985</c:v>
                </c:pt>
                <c:pt idx="2130">
                  <c:v>41988</c:v>
                </c:pt>
                <c:pt idx="2131">
                  <c:v>41989</c:v>
                </c:pt>
                <c:pt idx="2132">
                  <c:v>41990</c:v>
                </c:pt>
                <c:pt idx="2133">
                  <c:v>41991</c:v>
                </c:pt>
                <c:pt idx="2134">
                  <c:v>41992</c:v>
                </c:pt>
                <c:pt idx="2135">
                  <c:v>41995</c:v>
                </c:pt>
                <c:pt idx="2136">
                  <c:v>41996</c:v>
                </c:pt>
                <c:pt idx="2137">
                  <c:v>42002</c:v>
                </c:pt>
                <c:pt idx="2138">
                  <c:v>42003</c:v>
                </c:pt>
                <c:pt idx="2139">
                  <c:v>42006</c:v>
                </c:pt>
                <c:pt idx="2140">
                  <c:v>42009</c:v>
                </c:pt>
                <c:pt idx="2141">
                  <c:v>42010</c:v>
                </c:pt>
                <c:pt idx="2142">
                  <c:v>42011</c:v>
                </c:pt>
                <c:pt idx="2143">
                  <c:v>42012</c:v>
                </c:pt>
                <c:pt idx="2144">
                  <c:v>42013</c:v>
                </c:pt>
                <c:pt idx="2145">
                  <c:v>42016</c:v>
                </c:pt>
                <c:pt idx="2146">
                  <c:v>42017</c:v>
                </c:pt>
                <c:pt idx="2147">
                  <c:v>42018</c:v>
                </c:pt>
                <c:pt idx="2148">
                  <c:v>42019</c:v>
                </c:pt>
                <c:pt idx="2149">
                  <c:v>42020</c:v>
                </c:pt>
                <c:pt idx="2150">
                  <c:v>42023</c:v>
                </c:pt>
                <c:pt idx="2151">
                  <c:v>42024</c:v>
                </c:pt>
                <c:pt idx="2152">
                  <c:v>42025</c:v>
                </c:pt>
                <c:pt idx="2153">
                  <c:v>42026</c:v>
                </c:pt>
                <c:pt idx="2154">
                  <c:v>42027</c:v>
                </c:pt>
                <c:pt idx="2155">
                  <c:v>42030</c:v>
                </c:pt>
                <c:pt idx="2156">
                  <c:v>42031</c:v>
                </c:pt>
                <c:pt idx="2157">
                  <c:v>42032</c:v>
                </c:pt>
                <c:pt idx="2158">
                  <c:v>42033</c:v>
                </c:pt>
                <c:pt idx="2159">
                  <c:v>42034</c:v>
                </c:pt>
                <c:pt idx="2160">
                  <c:v>42037</c:v>
                </c:pt>
                <c:pt idx="2161">
                  <c:v>42038</c:v>
                </c:pt>
                <c:pt idx="2162">
                  <c:v>42039</c:v>
                </c:pt>
                <c:pt idx="2163">
                  <c:v>42040</c:v>
                </c:pt>
                <c:pt idx="2164">
                  <c:v>42041</c:v>
                </c:pt>
                <c:pt idx="2165">
                  <c:v>42044</c:v>
                </c:pt>
                <c:pt idx="2166">
                  <c:v>42045</c:v>
                </c:pt>
                <c:pt idx="2167">
                  <c:v>42046</c:v>
                </c:pt>
                <c:pt idx="2168">
                  <c:v>42047</c:v>
                </c:pt>
                <c:pt idx="2169">
                  <c:v>42048</c:v>
                </c:pt>
                <c:pt idx="2170">
                  <c:v>42051</c:v>
                </c:pt>
                <c:pt idx="2171">
                  <c:v>42052</c:v>
                </c:pt>
                <c:pt idx="2172">
                  <c:v>42053</c:v>
                </c:pt>
                <c:pt idx="2173">
                  <c:v>42054</c:v>
                </c:pt>
                <c:pt idx="2174">
                  <c:v>42055</c:v>
                </c:pt>
                <c:pt idx="2175">
                  <c:v>42058</c:v>
                </c:pt>
                <c:pt idx="2176">
                  <c:v>42059</c:v>
                </c:pt>
                <c:pt idx="2177">
                  <c:v>42060</c:v>
                </c:pt>
                <c:pt idx="2178">
                  <c:v>42061</c:v>
                </c:pt>
                <c:pt idx="2179">
                  <c:v>42062</c:v>
                </c:pt>
                <c:pt idx="2180">
                  <c:v>42065</c:v>
                </c:pt>
                <c:pt idx="2181">
                  <c:v>42066</c:v>
                </c:pt>
                <c:pt idx="2182">
                  <c:v>42067</c:v>
                </c:pt>
                <c:pt idx="2183">
                  <c:v>42068</c:v>
                </c:pt>
                <c:pt idx="2184">
                  <c:v>42069</c:v>
                </c:pt>
                <c:pt idx="2185">
                  <c:v>42072</c:v>
                </c:pt>
                <c:pt idx="2186">
                  <c:v>42073</c:v>
                </c:pt>
                <c:pt idx="2187">
                  <c:v>42074</c:v>
                </c:pt>
                <c:pt idx="2188">
                  <c:v>42075</c:v>
                </c:pt>
                <c:pt idx="2189">
                  <c:v>42076</c:v>
                </c:pt>
                <c:pt idx="2190">
                  <c:v>42079</c:v>
                </c:pt>
                <c:pt idx="2191">
                  <c:v>42080</c:v>
                </c:pt>
                <c:pt idx="2192">
                  <c:v>42081</c:v>
                </c:pt>
                <c:pt idx="2193">
                  <c:v>42082</c:v>
                </c:pt>
                <c:pt idx="2194">
                  <c:v>42083</c:v>
                </c:pt>
                <c:pt idx="2195">
                  <c:v>42086</c:v>
                </c:pt>
                <c:pt idx="2196">
                  <c:v>42087</c:v>
                </c:pt>
                <c:pt idx="2197">
                  <c:v>42088</c:v>
                </c:pt>
                <c:pt idx="2198">
                  <c:v>42089</c:v>
                </c:pt>
                <c:pt idx="2199">
                  <c:v>42090</c:v>
                </c:pt>
                <c:pt idx="2200">
                  <c:v>42093</c:v>
                </c:pt>
                <c:pt idx="2201">
                  <c:v>42094</c:v>
                </c:pt>
                <c:pt idx="2202">
                  <c:v>42095</c:v>
                </c:pt>
                <c:pt idx="2203">
                  <c:v>42096</c:v>
                </c:pt>
                <c:pt idx="2204">
                  <c:v>42101</c:v>
                </c:pt>
                <c:pt idx="2205">
                  <c:v>42102</c:v>
                </c:pt>
                <c:pt idx="2206">
                  <c:v>42103</c:v>
                </c:pt>
                <c:pt idx="2207">
                  <c:v>42104</c:v>
                </c:pt>
                <c:pt idx="2208">
                  <c:v>42107</c:v>
                </c:pt>
                <c:pt idx="2209">
                  <c:v>42108</c:v>
                </c:pt>
                <c:pt idx="2210">
                  <c:v>42109</c:v>
                </c:pt>
                <c:pt idx="2211">
                  <c:v>42110</c:v>
                </c:pt>
                <c:pt idx="2212">
                  <c:v>42111</c:v>
                </c:pt>
                <c:pt idx="2213">
                  <c:v>42114</c:v>
                </c:pt>
                <c:pt idx="2214">
                  <c:v>42115</c:v>
                </c:pt>
                <c:pt idx="2215">
                  <c:v>42116</c:v>
                </c:pt>
                <c:pt idx="2216">
                  <c:v>42117</c:v>
                </c:pt>
                <c:pt idx="2217">
                  <c:v>42118</c:v>
                </c:pt>
                <c:pt idx="2218">
                  <c:v>42121</c:v>
                </c:pt>
                <c:pt idx="2219">
                  <c:v>42122</c:v>
                </c:pt>
                <c:pt idx="2220">
                  <c:v>42123</c:v>
                </c:pt>
                <c:pt idx="2221">
                  <c:v>42124</c:v>
                </c:pt>
                <c:pt idx="2222">
                  <c:v>42128</c:v>
                </c:pt>
                <c:pt idx="2223">
                  <c:v>42129</c:v>
                </c:pt>
                <c:pt idx="2224">
                  <c:v>42130</c:v>
                </c:pt>
                <c:pt idx="2225">
                  <c:v>42131</c:v>
                </c:pt>
                <c:pt idx="2226">
                  <c:v>42132</c:v>
                </c:pt>
                <c:pt idx="2227">
                  <c:v>42135</c:v>
                </c:pt>
                <c:pt idx="2228">
                  <c:v>42136</c:v>
                </c:pt>
                <c:pt idx="2229">
                  <c:v>42137</c:v>
                </c:pt>
                <c:pt idx="2230">
                  <c:v>42138</c:v>
                </c:pt>
                <c:pt idx="2231">
                  <c:v>42139</c:v>
                </c:pt>
                <c:pt idx="2232">
                  <c:v>42142</c:v>
                </c:pt>
                <c:pt idx="2233">
                  <c:v>42143</c:v>
                </c:pt>
                <c:pt idx="2234">
                  <c:v>42144</c:v>
                </c:pt>
                <c:pt idx="2235">
                  <c:v>42145</c:v>
                </c:pt>
                <c:pt idx="2236">
                  <c:v>42146</c:v>
                </c:pt>
                <c:pt idx="2237">
                  <c:v>42150</c:v>
                </c:pt>
                <c:pt idx="2238">
                  <c:v>42151</c:v>
                </c:pt>
                <c:pt idx="2239">
                  <c:v>42152</c:v>
                </c:pt>
                <c:pt idx="2240">
                  <c:v>42153</c:v>
                </c:pt>
                <c:pt idx="2241">
                  <c:v>42156</c:v>
                </c:pt>
                <c:pt idx="2242">
                  <c:v>42157</c:v>
                </c:pt>
                <c:pt idx="2243">
                  <c:v>42158</c:v>
                </c:pt>
                <c:pt idx="2244">
                  <c:v>42159</c:v>
                </c:pt>
                <c:pt idx="2245">
                  <c:v>42160</c:v>
                </c:pt>
                <c:pt idx="2246">
                  <c:v>42163</c:v>
                </c:pt>
                <c:pt idx="2247">
                  <c:v>42164</c:v>
                </c:pt>
                <c:pt idx="2248">
                  <c:v>42165</c:v>
                </c:pt>
                <c:pt idx="2249">
                  <c:v>42166</c:v>
                </c:pt>
                <c:pt idx="2250">
                  <c:v>42167</c:v>
                </c:pt>
                <c:pt idx="2251">
                  <c:v>42170</c:v>
                </c:pt>
                <c:pt idx="2252">
                  <c:v>42171</c:v>
                </c:pt>
                <c:pt idx="2253">
                  <c:v>42172</c:v>
                </c:pt>
                <c:pt idx="2254">
                  <c:v>42173</c:v>
                </c:pt>
                <c:pt idx="2255">
                  <c:v>42174</c:v>
                </c:pt>
                <c:pt idx="2256">
                  <c:v>42177</c:v>
                </c:pt>
                <c:pt idx="2257">
                  <c:v>42178</c:v>
                </c:pt>
                <c:pt idx="2258">
                  <c:v>42179</c:v>
                </c:pt>
                <c:pt idx="2259">
                  <c:v>42180</c:v>
                </c:pt>
                <c:pt idx="2260">
                  <c:v>42181</c:v>
                </c:pt>
                <c:pt idx="2261">
                  <c:v>42184</c:v>
                </c:pt>
                <c:pt idx="2262">
                  <c:v>42185</c:v>
                </c:pt>
                <c:pt idx="2263">
                  <c:v>42186</c:v>
                </c:pt>
                <c:pt idx="2264">
                  <c:v>42187</c:v>
                </c:pt>
                <c:pt idx="2265">
                  <c:v>42188</c:v>
                </c:pt>
                <c:pt idx="2266">
                  <c:v>42191</c:v>
                </c:pt>
                <c:pt idx="2267">
                  <c:v>42192</c:v>
                </c:pt>
                <c:pt idx="2268">
                  <c:v>42193</c:v>
                </c:pt>
                <c:pt idx="2269">
                  <c:v>42194</c:v>
                </c:pt>
                <c:pt idx="2270">
                  <c:v>42195</c:v>
                </c:pt>
                <c:pt idx="2271">
                  <c:v>42198</c:v>
                </c:pt>
                <c:pt idx="2272">
                  <c:v>42199</c:v>
                </c:pt>
                <c:pt idx="2273">
                  <c:v>42200</c:v>
                </c:pt>
                <c:pt idx="2274">
                  <c:v>42201</c:v>
                </c:pt>
                <c:pt idx="2275">
                  <c:v>42202</c:v>
                </c:pt>
                <c:pt idx="2276">
                  <c:v>42205</c:v>
                </c:pt>
                <c:pt idx="2277">
                  <c:v>42206</c:v>
                </c:pt>
                <c:pt idx="2278">
                  <c:v>42207</c:v>
                </c:pt>
                <c:pt idx="2279">
                  <c:v>42208</c:v>
                </c:pt>
                <c:pt idx="2280">
                  <c:v>42209</c:v>
                </c:pt>
                <c:pt idx="2281">
                  <c:v>42212</c:v>
                </c:pt>
                <c:pt idx="2282">
                  <c:v>42213</c:v>
                </c:pt>
                <c:pt idx="2283">
                  <c:v>42214</c:v>
                </c:pt>
                <c:pt idx="2284">
                  <c:v>42215</c:v>
                </c:pt>
                <c:pt idx="2285">
                  <c:v>42216</c:v>
                </c:pt>
                <c:pt idx="2286">
                  <c:v>42219</c:v>
                </c:pt>
                <c:pt idx="2287">
                  <c:v>42220</c:v>
                </c:pt>
                <c:pt idx="2288">
                  <c:v>42221</c:v>
                </c:pt>
                <c:pt idx="2289">
                  <c:v>42222</c:v>
                </c:pt>
                <c:pt idx="2290">
                  <c:v>42223</c:v>
                </c:pt>
                <c:pt idx="2291">
                  <c:v>42226</c:v>
                </c:pt>
                <c:pt idx="2292">
                  <c:v>42227</c:v>
                </c:pt>
                <c:pt idx="2293">
                  <c:v>42228</c:v>
                </c:pt>
                <c:pt idx="2294">
                  <c:v>42229</c:v>
                </c:pt>
                <c:pt idx="2295">
                  <c:v>42230</c:v>
                </c:pt>
                <c:pt idx="2296">
                  <c:v>42233</c:v>
                </c:pt>
                <c:pt idx="2297">
                  <c:v>42234</c:v>
                </c:pt>
                <c:pt idx="2298">
                  <c:v>42235</c:v>
                </c:pt>
                <c:pt idx="2299">
                  <c:v>42236</c:v>
                </c:pt>
                <c:pt idx="2300">
                  <c:v>42237</c:v>
                </c:pt>
                <c:pt idx="2301">
                  <c:v>42240</c:v>
                </c:pt>
                <c:pt idx="2302">
                  <c:v>42241</c:v>
                </c:pt>
                <c:pt idx="2303">
                  <c:v>42242</c:v>
                </c:pt>
                <c:pt idx="2304">
                  <c:v>42243</c:v>
                </c:pt>
                <c:pt idx="2305">
                  <c:v>42244</c:v>
                </c:pt>
                <c:pt idx="2306">
                  <c:v>42247</c:v>
                </c:pt>
                <c:pt idx="2307">
                  <c:v>42248</c:v>
                </c:pt>
                <c:pt idx="2308">
                  <c:v>42249</c:v>
                </c:pt>
                <c:pt idx="2309">
                  <c:v>42250</c:v>
                </c:pt>
                <c:pt idx="2310">
                  <c:v>42251</c:v>
                </c:pt>
                <c:pt idx="2311">
                  <c:v>42254</c:v>
                </c:pt>
                <c:pt idx="2312">
                  <c:v>42255</c:v>
                </c:pt>
                <c:pt idx="2313">
                  <c:v>42256</c:v>
                </c:pt>
                <c:pt idx="2314">
                  <c:v>42257</c:v>
                </c:pt>
                <c:pt idx="2315">
                  <c:v>42258</c:v>
                </c:pt>
                <c:pt idx="2316">
                  <c:v>42261</c:v>
                </c:pt>
                <c:pt idx="2317">
                  <c:v>42262</c:v>
                </c:pt>
                <c:pt idx="2318">
                  <c:v>42263</c:v>
                </c:pt>
                <c:pt idx="2319">
                  <c:v>42264</c:v>
                </c:pt>
                <c:pt idx="2320">
                  <c:v>42265</c:v>
                </c:pt>
                <c:pt idx="2321">
                  <c:v>42268</c:v>
                </c:pt>
                <c:pt idx="2322">
                  <c:v>42269</c:v>
                </c:pt>
                <c:pt idx="2323">
                  <c:v>42270</c:v>
                </c:pt>
                <c:pt idx="2324">
                  <c:v>42271</c:v>
                </c:pt>
                <c:pt idx="2325">
                  <c:v>42272</c:v>
                </c:pt>
                <c:pt idx="2326">
                  <c:v>42275</c:v>
                </c:pt>
                <c:pt idx="2327">
                  <c:v>42276</c:v>
                </c:pt>
                <c:pt idx="2328">
                  <c:v>42277</c:v>
                </c:pt>
                <c:pt idx="2329">
                  <c:v>42278</c:v>
                </c:pt>
                <c:pt idx="2330">
                  <c:v>42279</c:v>
                </c:pt>
                <c:pt idx="2331">
                  <c:v>42282</c:v>
                </c:pt>
                <c:pt idx="2332">
                  <c:v>42283</c:v>
                </c:pt>
                <c:pt idx="2333">
                  <c:v>42284</c:v>
                </c:pt>
                <c:pt idx="2334">
                  <c:v>42285</c:v>
                </c:pt>
                <c:pt idx="2335">
                  <c:v>42286</c:v>
                </c:pt>
                <c:pt idx="2336">
                  <c:v>42289</c:v>
                </c:pt>
                <c:pt idx="2337">
                  <c:v>42290</c:v>
                </c:pt>
                <c:pt idx="2338">
                  <c:v>42291</c:v>
                </c:pt>
                <c:pt idx="2339">
                  <c:v>42292</c:v>
                </c:pt>
                <c:pt idx="2340">
                  <c:v>42293</c:v>
                </c:pt>
                <c:pt idx="2341">
                  <c:v>42296</c:v>
                </c:pt>
                <c:pt idx="2342">
                  <c:v>42297</c:v>
                </c:pt>
                <c:pt idx="2343">
                  <c:v>42298</c:v>
                </c:pt>
                <c:pt idx="2344">
                  <c:v>42299</c:v>
                </c:pt>
                <c:pt idx="2345">
                  <c:v>42300</c:v>
                </c:pt>
                <c:pt idx="2346">
                  <c:v>42303</c:v>
                </c:pt>
                <c:pt idx="2347">
                  <c:v>42304</c:v>
                </c:pt>
                <c:pt idx="2348">
                  <c:v>42305</c:v>
                </c:pt>
                <c:pt idx="2349">
                  <c:v>42306</c:v>
                </c:pt>
                <c:pt idx="2350">
                  <c:v>42307</c:v>
                </c:pt>
                <c:pt idx="2351">
                  <c:v>42310</c:v>
                </c:pt>
                <c:pt idx="2352">
                  <c:v>42311</c:v>
                </c:pt>
                <c:pt idx="2353">
                  <c:v>42312</c:v>
                </c:pt>
                <c:pt idx="2354">
                  <c:v>42313</c:v>
                </c:pt>
                <c:pt idx="2355">
                  <c:v>42314</c:v>
                </c:pt>
                <c:pt idx="2356">
                  <c:v>42317</c:v>
                </c:pt>
                <c:pt idx="2357">
                  <c:v>42318</c:v>
                </c:pt>
                <c:pt idx="2358">
                  <c:v>42319</c:v>
                </c:pt>
                <c:pt idx="2359">
                  <c:v>42320</c:v>
                </c:pt>
                <c:pt idx="2360">
                  <c:v>42321</c:v>
                </c:pt>
                <c:pt idx="2361">
                  <c:v>42324</c:v>
                </c:pt>
                <c:pt idx="2362">
                  <c:v>42325</c:v>
                </c:pt>
                <c:pt idx="2363">
                  <c:v>42326</c:v>
                </c:pt>
                <c:pt idx="2364">
                  <c:v>42327</c:v>
                </c:pt>
                <c:pt idx="2365">
                  <c:v>42328</c:v>
                </c:pt>
                <c:pt idx="2366">
                  <c:v>42331</c:v>
                </c:pt>
                <c:pt idx="2367">
                  <c:v>42332</c:v>
                </c:pt>
                <c:pt idx="2368">
                  <c:v>42333</c:v>
                </c:pt>
                <c:pt idx="2369">
                  <c:v>42334</c:v>
                </c:pt>
                <c:pt idx="2370">
                  <c:v>42335</c:v>
                </c:pt>
                <c:pt idx="2371">
                  <c:v>42338</c:v>
                </c:pt>
                <c:pt idx="2372">
                  <c:v>42339</c:v>
                </c:pt>
                <c:pt idx="2373">
                  <c:v>42340</c:v>
                </c:pt>
                <c:pt idx="2374">
                  <c:v>42341</c:v>
                </c:pt>
                <c:pt idx="2375">
                  <c:v>42342</c:v>
                </c:pt>
                <c:pt idx="2376">
                  <c:v>42345</c:v>
                </c:pt>
                <c:pt idx="2377">
                  <c:v>42346</c:v>
                </c:pt>
                <c:pt idx="2378">
                  <c:v>42347</c:v>
                </c:pt>
                <c:pt idx="2379">
                  <c:v>42348</c:v>
                </c:pt>
                <c:pt idx="2380">
                  <c:v>42349</c:v>
                </c:pt>
                <c:pt idx="2381">
                  <c:v>42352</c:v>
                </c:pt>
                <c:pt idx="2382">
                  <c:v>42353</c:v>
                </c:pt>
                <c:pt idx="2383">
                  <c:v>42354</c:v>
                </c:pt>
                <c:pt idx="2384">
                  <c:v>42355</c:v>
                </c:pt>
                <c:pt idx="2385">
                  <c:v>42356</c:v>
                </c:pt>
                <c:pt idx="2386">
                  <c:v>42359</c:v>
                </c:pt>
                <c:pt idx="2387">
                  <c:v>42360</c:v>
                </c:pt>
                <c:pt idx="2388">
                  <c:v>42361</c:v>
                </c:pt>
                <c:pt idx="2389">
                  <c:v>42366</c:v>
                </c:pt>
                <c:pt idx="2390">
                  <c:v>42367</c:v>
                </c:pt>
                <c:pt idx="2391">
                  <c:v>42368</c:v>
                </c:pt>
                <c:pt idx="2392">
                  <c:v>42373</c:v>
                </c:pt>
                <c:pt idx="2393">
                  <c:v>42374</c:v>
                </c:pt>
                <c:pt idx="2394">
                  <c:v>42375</c:v>
                </c:pt>
                <c:pt idx="2395">
                  <c:v>42376</c:v>
                </c:pt>
                <c:pt idx="2396">
                  <c:v>42377</c:v>
                </c:pt>
                <c:pt idx="2397">
                  <c:v>42380</c:v>
                </c:pt>
                <c:pt idx="2398">
                  <c:v>42381</c:v>
                </c:pt>
                <c:pt idx="2399">
                  <c:v>42382</c:v>
                </c:pt>
                <c:pt idx="2400">
                  <c:v>42383</c:v>
                </c:pt>
                <c:pt idx="2401">
                  <c:v>42384</c:v>
                </c:pt>
                <c:pt idx="2402">
                  <c:v>42387</c:v>
                </c:pt>
                <c:pt idx="2403">
                  <c:v>42388</c:v>
                </c:pt>
                <c:pt idx="2404">
                  <c:v>42389</c:v>
                </c:pt>
                <c:pt idx="2405">
                  <c:v>42390</c:v>
                </c:pt>
                <c:pt idx="2406">
                  <c:v>42391</c:v>
                </c:pt>
                <c:pt idx="2407">
                  <c:v>42394</c:v>
                </c:pt>
                <c:pt idx="2408">
                  <c:v>42395</c:v>
                </c:pt>
                <c:pt idx="2409">
                  <c:v>42396</c:v>
                </c:pt>
                <c:pt idx="2410">
                  <c:v>42397</c:v>
                </c:pt>
                <c:pt idx="2411">
                  <c:v>42398</c:v>
                </c:pt>
                <c:pt idx="2412">
                  <c:v>42401</c:v>
                </c:pt>
                <c:pt idx="2413">
                  <c:v>42402</c:v>
                </c:pt>
                <c:pt idx="2414">
                  <c:v>42403</c:v>
                </c:pt>
                <c:pt idx="2415">
                  <c:v>42404</c:v>
                </c:pt>
                <c:pt idx="2416">
                  <c:v>42405</c:v>
                </c:pt>
                <c:pt idx="2417">
                  <c:v>42408</c:v>
                </c:pt>
                <c:pt idx="2418">
                  <c:v>42409</c:v>
                </c:pt>
                <c:pt idx="2419">
                  <c:v>42410</c:v>
                </c:pt>
                <c:pt idx="2420">
                  <c:v>42411</c:v>
                </c:pt>
                <c:pt idx="2421">
                  <c:v>42412</c:v>
                </c:pt>
                <c:pt idx="2422">
                  <c:v>42415</c:v>
                </c:pt>
                <c:pt idx="2423">
                  <c:v>42416</c:v>
                </c:pt>
                <c:pt idx="2424">
                  <c:v>42417</c:v>
                </c:pt>
                <c:pt idx="2425">
                  <c:v>42418</c:v>
                </c:pt>
                <c:pt idx="2426">
                  <c:v>42419</c:v>
                </c:pt>
                <c:pt idx="2427">
                  <c:v>42422</c:v>
                </c:pt>
                <c:pt idx="2428">
                  <c:v>42423</c:v>
                </c:pt>
                <c:pt idx="2429">
                  <c:v>42424</c:v>
                </c:pt>
                <c:pt idx="2430">
                  <c:v>42425</c:v>
                </c:pt>
                <c:pt idx="2431">
                  <c:v>42426</c:v>
                </c:pt>
                <c:pt idx="2432">
                  <c:v>42429</c:v>
                </c:pt>
                <c:pt idx="2433">
                  <c:v>42430</c:v>
                </c:pt>
                <c:pt idx="2434">
                  <c:v>42431</c:v>
                </c:pt>
                <c:pt idx="2435">
                  <c:v>42432</c:v>
                </c:pt>
                <c:pt idx="2436">
                  <c:v>42433</c:v>
                </c:pt>
                <c:pt idx="2437">
                  <c:v>42436</c:v>
                </c:pt>
                <c:pt idx="2438">
                  <c:v>42437</c:v>
                </c:pt>
                <c:pt idx="2439">
                  <c:v>42438</c:v>
                </c:pt>
                <c:pt idx="2440">
                  <c:v>42439</c:v>
                </c:pt>
                <c:pt idx="2441">
                  <c:v>42440</c:v>
                </c:pt>
                <c:pt idx="2442">
                  <c:v>42443</c:v>
                </c:pt>
                <c:pt idx="2443">
                  <c:v>42444</c:v>
                </c:pt>
                <c:pt idx="2444">
                  <c:v>42445</c:v>
                </c:pt>
                <c:pt idx="2445">
                  <c:v>42446</c:v>
                </c:pt>
                <c:pt idx="2446">
                  <c:v>42447</c:v>
                </c:pt>
                <c:pt idx="2447">
                  <c:v>42450</c:v>
                </c:pt>
                <c:pt idx="2448">
                  <c:v>42451</c:v>
                </c:pt>
                <c:pt idx="2449">
                  <c:v>42452</c:v>
                </c:pt>
                <c:pt idx="2450">
                  <c:v>42453</c:v>
                </c:pt>
                <c:pt idx="2451">
                  <c:v>42458</c:v>
                </c:pt>
                <c:pt idx="2452">
                  <c:v>42459</c:v>
                </c:pt>
                <c:pt idx="2453">
                  <c:v>42460</c:v>
                </c:pt>
                <c:pt idx="2454">
                  <c:v>42461</c:v>
                </c:pt>
                <c:pt idx="2455">
                  <c:v>42464</c:v>
                </c:pt>
                <c:pt idx="2456">
                  <c:v>42465</c:v>
                </c:pt>
                <c:pt idx="2457">
                  <c:v>42466</c:v>
                </c:pt>
                <c:pt idx="2458">
                  <c:v>42467</c:v>
                </c:pt>
                <c:pt idx="2459">
                  <c:v>42468</c:v>
                </c:pt>
                <c:pt idx="2460">
                  <c:v>42471</c:v>
                </c:pt>
                <c:pt idx="2461">
                  <c:v>42472</c:v>
                </c:pt>
                <c:pt idx="2462">
                  <c:v>42473</c:v>
                </c:pt>
                <c:pt idx="2463">
                  <c:v>42474</c:v>
                </c:pt>
                <c:pt idx="2464">
                  <c:v>42475</c:v>
                </c:pt>
                <c:pt idx="2465">
                  <c:v>42478</c:v>
                </c:pt>
                <c:pt idx="2466">
                  <c:v>42479</c:v>
                </c:pt>
                <c:pt idx="2467">
                  <c:v>42480</c:v>
                </c:pt>
                <c:pt idx="2468">
                  <c:v>42481</c:v>
                </c:pt>
                <c:pt idx="2469">
                  <c:v>42482</c:v>
                </c:pt>
                <c:pt idx="2470">
                  <c:v>42485</c:v>
                </c:pt>
                <c:pt idx="2471">
                  <c:v>42486</c:v>
                </c:pt>
                <c:pt idx="2472">
                  <c:v>42487</c:v>
                </c:pt>
                <c:pt idx="2473">
                  <c:v>42488</c:v>
                </c:pt>
                <c:pt idx="2474">
                  <c:v>42489</c:v>
                </c:pt>
                <c:pt idx="2475">
                  <c:v>42492</c:v>
                </c:pt>
                <c:pt idx="2476">
                  <c:v>42493</c:v>
                </c:pt>
                <c:pt idx="2477">
                  <c:v>42494</c:v>
                </c:pt>
                <c:pt idx="2478">
                  <c:v>42495</c:v>
                </c:pt>
                <c:pt idx="2479">
                  <c:v>42496</c:v>
                </c:pt>
                <c:pt idx="2480">
                  <c:v>42499</c:v>
                </c:pt>
              </c:numCache>
            </c:numRef>
          </c:cat>
          <c:val>
            <c:numRef>
              <c:f>Sheet1!$BM$67:$BM$2547</c:f>
              <c:numCache>
                <c:formatCode>_(* #,##0.00_);_(* \(#,##0.00\);_(* "-"??_);_(@_)</c:formatCode>
                <c:ptCount val="2481"/>
                <c:pt idx="0">
                  <c:v>0.87420163458830635</c:v>
                </c:pt>
                <c:pt idx="1">
                  <c:v>0.90174437072048641</c:v>
                </c:pt>
                <c:pt idx="2">
                  <c:v>0.84268957555987123</c:v>
                </c:pt>
                <c:pt idx="3">
                  <c:v>0.90776553820103856</c:v>
                </c:pt>
                <c:pt idx="4">
                  <c:v>0.92839577408769247</c:v>
                </c:pt>
                <c:pt idx="5">
                  <c:v>0.9726459735936499</c:v>
                </c:pt>
                <c:pt idx="6">
                  <c:v>0.98103949163858284</c:v>
                </c:pt>
                <c:pt idx="7">
                  <c:v>1.0500880623370485</c:v>
                </c:pt>
                <c:pt idx="8">
                  <c:v>1.0736652586581907</c:v>
                </c:pt>
                <c:pt idx="9">
                  <c:v>1.1726972454210505</c:v>
                </c:pt>
                <c:pt idx="10">
                  <c:v>1.1931652261310406</c:v>
                </c:pt>
                <c:pt idx="11">
                  <c:v>1.1042752359181063</c:v>
                </c:pt>
                <c:pt idx="12">
                  <c:v>0.94943982290434104</c:v>
                </c:pt>
                <c:pt idx="13">
                  <c:v>1.0628460763600605</c:v>
                </c:pt>
                <c:pt idx="14">
                  <c:v>1.0621868028012682</c:v>
                </c:pt>
                <c:pt idx="15">
                  <c:v>1.1759510775008919</c:v>
                </c:pt>
                <c:pt idx="16">
                  <c:v>1.146095743806355</c:v>
                </c:pt>
                <c:pt idx="17">
                  <c:v>1.1566842022374151</c:v>
                </c:pt>
                <c:pt idx="18">
                  <c:v>1.156073166286492</c:v>
                </c:pt>
                <c:pt idx="19">
                  <c:v>1.1102584401610964</c:v>
                </c:pt>
                <c:pt idx="20">
                  <c:v>1.1487408696104651</c:v>
                </c:pt>
                <c:pt idx="21">
                  <c:v>1.1850986468215086</c:v>
                </c:pt>
                <c:pt idx="22">
                  <c:v>1.1932377078429286</c:v>
                </c:pt>
                <c:pt idx="23">
                  <c:v>1.2723219149910259</c:v>
                </c:pt>
                <c:pt idx="24">
                  <c:v>1.2666944710008261</c:v>
                </c:pt>
                <c:pt idx="25">
                  <c:v>1.4015002502662133</c:v>
                </c:pt>
                <c:pt idx="26">
                  <c:v>1.3799627954515392</c:v>
                </c:pt>
                <c:pt idx="27">
                  <c:v>1.4327705757165854</c:v>
                </c:pt>
                <c:pt idx="28">
                  <c:v>1.4505455731495447</c:v>
                </c:pt>
                <c:pt idx="29">
                  <c:v>1.3512764319562249</c:v>
                </c:pt>
                <c:pt idx="30">
                  <c:v>1.3011430245196631</c:v>
                </c:pt>
                <c:pt idx="31">
                  <c:v>1.3175912854032328</c:v>
                </c:pt>
                <c:pt idx="32">
                  <c:v>1.2983803576959829</c:v>
                </c:pt>
                <c:pt idx="33">
                  <c:v>1.3031487063002749</c:v>
                </c:pt>
                <c:pt idx="34">
                  <c:v>1.3318519619002323</c:v>
                </c:pt>
                <c:pt idx="35">
                  <c:v>1.3120115584447201</c:v>
                </c:pt>
                <c:pt idx="36">
                  <c:v>1.2107514657050262</c:v>
                </c:pt>
                <c:pt idx="37">
                  <c:v>1.1822806133086976</c:v>
                </c:pt>
                <c:pt idx="38">
                  <c:v>1.2590837366589225</c:v>
                </c:pt>
                <c:pt idx="39">
                  <c:v>1.2493206091430649</c:v>
                </c:pt>
                <c:pt idx="40">
                  <c:v>1.1417789577503112</c:v>
                </c:pt>
                <c:pt idx="41">
                  <c:v>0.98165339566534393</c:v>
                </c:pt>
                <c:pt idx="42">
                  <c:v>0.97541359660621718</c:v>
                </c:pt>
                <c:pt idx="43">
                  <c:v>0.98877507353151428</c:v>
                </c:pt>
                <c:pt idx="44">
                  <c:v>0.97911417831520742</c:v>
                </c:pt>
                <c:pt idx="45">
                  <c:v>0.87150889125908737</c:v>
                </c:pt>
                <c:pt idx="46">
                  <c:v>0.86839189903970271</c:v>
                </c:pt>
                <c:pt idx="47">
                  <c:v>0.83561153190847004</c:v>
                </c:pt>
                <c:pt idx="48">
                  <c:v>0.64153913507949689</c:v>
                </c:pt>
                <c:pt idx="49">
                  <c:v>0.66362739277870675</c:v>
                </c:pt>
                <c:pt idx="50">
                  <c:v>0.63836698935219593</c:v>
                </c:pt>
                <c:pt idx="51">
                  <c:v>0.72009380378269672</c:v>
                </c:pt>
                <c:pt idx="52">
                  <c:v>0.68944133088591486</c:v>
                </c:pt>
                <c:pt idx="53">
                  <c:v>0.28100125593838177</c:v>
                </c:pt>
                <c:pt idx="54">
                  <c:v>0.16188322743326405</c:v>
                </c:pt>
                <c:pt idx="55">
                  <c:v>6.6746298691328088E-2</c:v>
                </c:pt>
                <c:pt idx="56">
                  <c:v>7.411370758544783E-2</c:v>
                </c:pt>
                <c:pt idx="57">
                  <c:v>-1.1513226863109349E-2</c:v>
                </c:pt>
                <c:pt idx="58">
                  <c:v>-6.8384747851035765E-3</c:v>
                </c:pt>
                <c:pt idx="59">
                  <c:v>2.7560231177496675E-2</c:v>
                </c:pt>
                <c:pt idx="60">
                  <c:v>-6.3151042466151608E-2</c:v>
                </c:pt>
                <c:pt idx="61">
                  <c:v>-3.6794031167354524E-2</c:v>
                </c:pt>
                <c:pt idx="62">
                  <c:v>-2.4477427230326643E-2</c:v>
                </c:pt>
                <c:pt idx="63">
                  <c:v>-4.3588764277496805E-2</c:v>
                </c:pt>
                <c:pt idx="64">
                  <c:v>-0.15477876971579513</c:v>
                </c:pt>
                <c:pt idx="65">
                  <c:v>-0.17264968440104389</c:v>
                </c:pt>
                <c:pt idx="66">
                  <c:v>-9.9845560491483576E-2</c:v>
                </c:pt>
                <c:pt idx="67">
                  <c:v>-0.26293846553471084</c:v>
                </c:pt>
                <c:pt idx="68">
                  <c:v>-0.28069058974952849</c:v>
                </c:pt>
                <c:pt idx="69">
                  <c:v>-0.21969638950819215</c:v>
                </c:pt>
                <c:pt idx="70">
                  <c:v>-0.36713484942557523</c:v>
                </c:pt>
                <c:pt idx="71">
                  <c:v>-0.32994505998475421</c:v>
                </c:pt>
                <c:pt idx="72">
                  <c:v>-0.34075342935807051</c:v>
                </c:pt>
                <c:pt idx="73">
                  <c:v>-0.37609863104179214</c:v>
                </c:pt>
                <c:pt idx="74">
                  <c:v>-0.38939033333551254</c:v>
                </c:pt>
                <c:pt idx="75">
                  <c:v>-0.37756652125604667</c:v>
                </c:pt>
                <c:pt idx="76">
                  <c:v>-0.32103295526575842</c:v>
                </c:pt>
                <c:pt idx="77">
                  <c:v>-0.33171864807074042</c:v>
                </c:pt>
                <c:pt idx="78">
                  <c:v>-0.40554393722497251</c:v>
                </c:pt>
                <c:pt idx="79">
                  <c:v>-0.37131483212509836</c:v>
                </c:pt>
                <c:pt idx="80">
                  <c:v>-0.3884681091824535</c:v>
                </c:pt>
                <c:pt idx="81">
                  <c:v>-0.39325956967972697</c:v>
                </c:pt>
                <c:pt idx="82">
                  <c:v>-0.40454087826997387</c:v>
                </c:pt>
                <c:pt idx="83">
                  <c:v>-0.33629972475419517</c:v>
                </c:pt>
                <c:pt idx="84">
                  <c:v>-0.25213046193970218</c:v>
                </c:pt>
                <c:pt idx="85">
                  <c:v>-0.21999147515316536</c:v>
                </c:pt>
                <c:pt idx="86">
                  <c:v>-0.22607496719968673</c:v>
                </c:pt>
                <c:pt idx="87">
                  <c:v>-0.16746081194777412</c:v>
                </c:pt>
                <c:pt idx="88">
                  <c:v>-0.31019062982640677</c:v>
                </c:pt>
                <c:pt idx="89">
                  <c:v>-0.27952229979201354</c:v>
                </c:pt>
                <c:pt idx="90">
                  <c:v>-0.25993352706016465</c:v>
                </c:pt>
                <c:pt idx="91">
                  <c:v>-0.27487040510070226</c:v>
                </c:pt>
                <c:pt idx="92">
                  <c:v>-0.21547009361718994</c:v>
                </c:pt>
                <c:pt idx="93">
                  <c:v>-0.2240485346720486</c:v>
                </c:pt>
                <c:pt idx="94">
                  <c:v>-0.28890484404233835</c:v>
                </c:pt>
                <c:pt idx="95">
                  <c:v>-0.36891115132735713</c:v>
                </c:pt>
                <c:pt idx="96">
                  <c:v>-0.27611622913375072</c:v>
                </c:pt>
                <c:pt idx="97">
                  <c:v>-0.28316256474208712</c:v>
                </c:pt>
                <c:pt idx="98">
                  <c:v>-0.43091597912561924</c:v>
                </c:pt>
                <c:pt idx="99">
                  <c:v>-0.46285418961616864</c:v>
                </c:pt>
                <c:pt idx="100">
                  <c:v>-0.29425145124476609</c:v>
                </c:pt>
                <c:pt idx="101">
                  <c:v>-0.2619802173685376</c:v>
                </c:pt>
                <c:pt idx="102">
                  <c:v>-0.25049973470063491</c:v>
                </c:pt>
                <c:pt idx="103">
                  <c:v>-0.14961819558085288</c:v>
                </c:pt>
                <c:pt idx="104">
                  <c:v>-0.10668534088138781</c:v>
                </c:pt>
                <c:pt idx="105">
                  <c:v>-9.2995516154401048E-2</c:v>
                </c:pt>
                <c:pt idx="106">
                  <c:v>-7.4910901289729215E-2</c:v>
                </c:pt>
                <c:pt idx="107">
                  <c:v>-0.17971900236399968</c:v>
                </c:pt>
                <c:pt idx="108">
                  <c:v>-0.17859679045046928</c:v>
                </c:pt>
                <c:pt idx="109">
                  <c:v>-0.17276927876117149</c:v>
                </c:pt>
                <c:pt idx="110">
                  <c:v>-0.10160376962363576</c:v>
                </c:pt>
                <c:pt idx="111">
                  <c:v>-0.10846957515357331</c:v>
                </c:pt>
                <c:pt idx="112">
                  <c:v>-5.6214763075086716E-2</c:v>
                </c:pt>
                <c:pt idx="113">
                  <c:v>-0.10885566440316241</c:v>
                </c:pt>
                <c:pt idx="114">
                  <c:v>-0.14338436298444723</c:v>
                </c:pt>
                <c:pt idx="115">
                  <c:v>-9.984703652293897E-2</c:v>
                </c:pt>
                <c:pt idx="116">
                  <c:v>-9.3271779641933283E-2</c:v>
                </c:pt>
                <c:pt idx="117">
                  <c:v>-0.12089343468733166</c:v>
                </c:pt>
                <c:pt idx="118">
                  <c:v>-0.17165849640792818</c:v>
                </c:pt>
                <c:pt idx="119">
                  <c:v>-0.1805938413178762</c:v>
                </c:pt>
                <c:pt idx="120">
                  <c:v>-0.19317464586047217</c:v>
                </c:pt>
                <c:pt idx="121">
                  <c:v>-0.13529221506726335</c:v>
                </c:pt>
                <c:pt idx="122">
                  <c:v>-0.1291692991831378</c:v>
                </c:pt>
                <c:pt idx="123">
                  <c:v>-0.20694873612137621</c:v>
                </c:pt>
                <c:pt idx="124">
                  <c:v>-0.15467693037379548</c:v>
                </c:pt>
                <c:pt idx="125">
                  <c:v>-0.18916393813360882</c:v>
                </c:pt>
                <c:pt idx="126">
                  <c:v>-0.18730776410505745</c:v>
                </c:pt>
                <c:pt idx="127">
                  <c:v>-0.20574487448094536</c:v>
                </c:pt>
                <c:pt idx="128">
                  <c:v>-0.23077002836986715</c:v>
                </c:pt>
                <c:pt idx="129">
                  <c:v>-0.21502282282875318</c:v>
                </c:pt>
                <c:pt idx="130">
                  <c:v>-0.16465662996700686</c:v>
                </c:pt>
                <c:pt idx="131">
                  <c:v>-0.16925838162399065</c:v>
                </c:pt>
                <c:pt idx="132">
                  <c:v>-0.16700137605629856</c:v>
                </c:pt>
                <c:pt idx="133">
                  <c:v>-0.1401419740569454</c:v>
                </c:pt>
                <c:pt idx="134">
                  <c:v>-0.12242353011532314</c:v>
                </c:pt>
                <c:pt idx="135">
                  <c:v>-0.14418546769262158</c:v>
                </c:pt>
                <c:pt idx="136">
                  <c:v>-0.1452503166316968</c:v>
                </c:pt>
                <c:pt idx="137">
                  <c:v>-0.17005924006772005</c:v>
                </c:pt>
                <c:pt idx="138">
                  <c:v>-6.1403167740989306E-2</c:v>
                </c:pt>
                <c:pt idx="139">
                  <c:v>-9.6612345771431019E-2</c:v>
                </c:pt>
                <c:pt idx="140">
                  <c:v>-0.11026851470811727</c:v>
                </c:pt>
                <c:pt idx="141">
                  <c:v>-0.12026018404774907</c:v>
                </c:pt>
                <c:pt idx="142">
                  <c:v>-0.13746383594917116</c:v>
                </c:pt>
                <c:pt idx="143">
                  <c:v>-0.1324861612868336</c:v>
                </c:pt>
                <c:pt idx="144">
                  <c:v>-0.20602112444239873</c:v>
                </c:pt>
                <c:pt idx="145">
                  <c:v>-0.23538956925524546</c:v>
                </c:pt>
                <c:pt idx="146">
                  <c:v>-0.28597445496719859</c:v>
                </c:pt>
                <c:pt idx="147">
                  <c:v>8.1284722305172141E-2</c:v>
                </c:pt>
                <c:pt idx="148">
                  <c:v>0.14206864897868821</c:v>
                </c:pt>
                <c:pt idx="149">
                  <c:v>4.763421051586364E-2</c:v>
                </c:pt>
                <c:pt idx="150">
                  <c:v>5.9137606166100032E-2</c:v>
                </c:pt>
                <c:pt idx="151">
                  <c:v>0.16019522450741591</c:v>
                </c:pt>
                <c:pt idx="152">
                  <c:v>0.15055052324492862</c:v>
                </c:pt>
                <c:pt idx="153">
                  <c:v>0.14599115178196703</c:v>
                </c:pt>
                <c:pt idx="154">
                  <c:v>0.13992764585205597</c:v>
                </c:pt>
                <c:pt idx="155">
                  <c:v>0.13636148409347237</c:v>
                </c:pt>
                <c:pt idx="156">
                  <c:v>0.12883347555953384</c:v>
                </c:pt>
                <c:pt idx="157">
                  <c:v>0.24983137072132622</c:v>
                </c:pt>
                <c:pt idx="158">
                  <c:v>0.18801875285344716</c:v>
                </c:pt>
                <c:pt idx="159">
                  <c:v>0.2072032669411833</c:v>
                </c:pt>
                <c:pt idx="160">
                  <c:v>0.20872988576622897</c:v>
                </c:pt>
                <c:pt idx="161">
                  <c:v>6.048614653611506E-3</c:v>
                </c:pt>
                <c:pt idx="162">
                  <c:v>-2.7873435185460371E-2</c:v>
                </c:pt>
                <c:pt idx="163">
                  <c:v>-8.126425236729129E-2</c:v>
                </c:pt>
                <c:pt idx="164">
                  <c:v>-0.19249126179030907</c:v>
                </c:pt>
                <c:pt idx="165">
                  <c:v>-0.18262667989157877</c:v>
                </c:pt>
                <c:pt idx="166">
                  <c:v>-0.21849962645528742</c:v>
                </c:pt>
                <c:pt idx="167">
                  <c:v>-0.10510891959001067</c:v>
                </c:pt>
                <c:pt idx="168">
                  <c:v>-9.4581807315569089E-2</c:v>
                </c:pt>
                <c:pt idx="169">
                  <c:v>-0.14175822966761009</c:v>
                </c:pt>
                <c:pt idx="170">
                  <c:v>-0.17725809089679245</c:v>
                </c:pt>
                <c:pt idx="171">
                  <c:v>-0.17426323208642736</c:v>
                </c:pt>
                <c:pt idx="172">
                  <c:v>-0.11302338233419584</c:v>
                </c:pt>
                <c:pt idx="173">
                  <c:v>-7.5584509326459548E-2</c:v>
                </c:pt>
                <c:pt idx="174">
                  <c:v>-4.6238847020349527E-2</c:v>
                </c:pt>
                <c:pt idx="175">
                  <c:v>-8.3019867533562497E-3</c:v>
                </c:pt>
                <c:pt idx="176">
                  <c:v>-6.3195483806594011E-3</c:v>
                </c:pt>
                <c:pt idx="177">
                  <c:v>1.9853922568285887E-3</c:v>
                </c:pt>
                <c:pt idx="178">
                  <c:v>4.4827357817417424E-2</c:v>
                </c:pt>
                <c:pt idx="179">
                  <c:v>0.14532876829350949</c:v>
                </c:pt>
                <c:pt idx="180">
                  <c:v>0.15910150721380745</c:v>
                </c:pt>
                <c:pt idx="181">
                  <c:v>0.20701988078957456</c:v>
                </c:pt>
                <c:pt idx="182">
                  <c:v>0.22545336188319332</c:v>
                </c:pt>
                <c:pt idx="183">
                  <c:v>8.9009714975907261E-2</c:v>
                </c:pt>
                <c:pt idx="184">
                  <c:v>4.1010118425027775E-2</c:v>
                </c:pt>
                <c:pt idx="185">
                  <c:v>0.12210871845701465</c:v>
                </c:pt>
                <c:pt idx="186">
                  <c:v>0.14015072094129277</c:v>
                </c:pt>
                <c:pt idx="187">
                  <c:v>0.1312838357030971</c:v>
                </c:pt>
                <c:pt idx="188">
                  <c:v>8.4568830578446441E-2</c:v>
                </c:pt>
                <c:pt idx="189">
                  <c:v>7.8943348608026542E-2</c:v>
                </c:pt>
                <c:pt idx="190">
                  <c:v>8.1501003520767501E-2</c:v>
                </c:pt>
                <c:pt idx="191">
                  <c:v>6.7531167956649818E-2</c:v>
                </c:pt>
                <c:pt idx="192">
                  <c:v>7.1717185555308927E-2</c:v>
                </c:pt>
                <c:pt idx="193">
                  <c:v>5.7607348980992512E-2</c:v>
                </c:pt>
                <c:pt idx="194">
                  <c:v>0.1882964346865218</c:v>
                </c:pt>
                <c:pt idx="195">
                  <c:v>0.20479045890341996</c:v>
                </c:pt>
                <c:pt idx="196">
                  <c:v>0.23496347062362533</c:v>
                </c:pt>
                <c:pt idx="197">
                  <c:v>0.26805297123567995</c:v>
                </c:pt>
                <c:pt idx="198">
                  <c:v>0.23462364145006576</c:v>
                </c:pt>
                <c:pt idx="199">
                  <c:v>0.23188010873522735</c:v>
                </c:pt>
                <c:pt idx="200">
                  <c:v>0.23779076060459481</c:v>
                </c:pt>
                <c:pt idx="201">
                  <c:v>0.24572598313465921</c:v>
                </c:pt>
                <c:pt idx="202">
                  <c:v>0.33083220832751115</c:v>
                </c:pt>
                <c:pt idx="203">
                  <c:v>0.2671540425516733</c:v>
                </c:pt>
                <c:pt idx="204">
                  <c:v>0.27497872242245591</c:v>
                </c:pt>
                <c:pt idx="205">
                  <c:v>0.32123484963273441</c:v>
                </c:pt>
                <c:pt idx="206">
                  <c:v>0.22867816277614694</c:v>
                </c:pt>
                <c:pt idx="207">
                  <c:v>-4.1185386710923533E-2</c:v>
                </c:pt>
                <c:pt idx="208">
                  <c:v>-3.2758251999887023E-5</c:v>
                </c:pt>
                <c:pt idx="209">
                  <c:v>8.9293200396348138E-2</c:v>
                </c:pt>
                <c:pt idx="210">
                  <c:v>0.18649320426059601</c:v>
                </c:pt>
                <c:pt idx="211">
                  <c:v>0.1219893468856148</c:v>
                </c:pt>
                <c:pt idx="212">
                  <c:v>8.3766478661953525E-2</c:v>
                </c:pt>
                <c:pt idx="213">
                  <c:v>0.15998813857437955</c:v>
                </c:pt>
                <c:pt idx="214">
                  <c:v>0.76932079814308052</c:v>
                </c:pt>
                <c:pt idx="215">
                  <c:v>0.87267071785563921</c:v>
                </c:pt>
                <c:pt idx="216">
                  <c:v>0.98249513469006733</c:v>
                </c:pt>
                <c:pt idx="217">
                  <c:v>1.0446888391711235</c:v>
                </c:pt>
                <c:pt idx="218">
                  <c:v>1.0943452135769998</c:v>
                </c:pt>
                <c:pt idx="219">
                  <c:v>1.135489952669648</c:v>
                </c:pt>
                <c:pt idx="220">
                  <c:v>1.1921631044883307</c:v>
                </c:pt>
                <c:pt idx="221">
                  <c:v>1.7518438420013522</c:v>
                </c:pt>
                <c:pt idx="222">
                  <c:v>1.7167531318148828</c:v>
                </c:pt>
                <c:pt idx="223">
                  <c:v>1.7281528841583431</c:v>
                </c:pt>
                <c:pt idx="224">
                  <c:v>1.9680193638586294</c:v>
                </c:pt>
                <c:pt idx="225">
                  <c:v>2.1360229628477305</c:v>
                </c:pt>
                <c:pt idx="226">
                  <c:v>2.2058730270591589</c:v>
                </c:pt>
                <c:pt idx="227">
                  <c:v>2.2232846836266642</c:v>
                </c:pt>
                <c:pt idx="228">
                  <c:v>2.2330459108720655</c:v>
                </c:pt>
                <c:pt idx="229">
                  <c:v>2.414599613533011</c:v>
                </c:pt>
                <c:pt idx="230">
                  <c:v>2.5131135739927202</c:v>
                </c:pt>
                <c:pt idx="231">
                  <c:v>2.5552832502097043</c:v>
                </c:pt>
                <c:pt idx="232">
                  <c:v>2.6230093164738442</c:v>
                </c:pt>
                <c:pt idx="233">
                  <c:v>2.6296020946795964</c:v>
                </c:pt>
                <c:pt idx="234">
                  <c:v>2.6263715118067563</c:v>
                </c:pt>
                <c:pt idx="235">
                  <c:v>2.7428747572664545</c:v>
                </c:pt>
                <c:pt idx="236">
                  <c:v>2.7097390089912063</c:v>
                </c:pt>
                <c:pt idx="237">
                  <c:v>2.7247425885063237</c:v>
                </c:pt>
                <c:pt idx="238">
                  <c:v>2.8170121525558991</c:v>
                </c:pt>
                <c:pt idx="239">
                  <c:v>2.8572113317068397</c:v>
                </c:pt>
                <c:pt idx="240">
                  <c:v>2.9108954575767827</c:v>
                </c:pt>
                <c:pt idx="241">
                  <c:v>2.7942573011133245</c:v>
                </c:pt>
                <c:pt idx="242">
                  <c:v>2.7540685627051684</c:v>
                </c:pt>
                <c:pt idx="243">
                  <c:v>3.1537353956936145</c:v>
                </c:pt>
                <c:pt idx="244">
                  <c:v>3.3083337058925828</c:v>
                </c:pt>
                <c:pt idx="245">
                  <c:v>3.2282821360979512</c:v>
                </c:pt>
                <c:pt idx="246">
                  <c:v>3.058795726320243</c:v>
                </c:pt>
                <c:pt idx="247">
                  <c:v>3.0005890920858787</c:v>
                </c:pt>
                <c:pt idx="248">
                  <c:v>3.111594134906301</c:v>
                </c:pt>
                <c:pt idx="249">
                  <c:v>3.1983081356307257</c:v>
                </c:pt>
                <c:pt idx="250">
                  <c:v>3.021100193085041</c:v>
                </c:pt>
                <c:pt idx="251">
                  <c:v>3.0983509655157753</c:v>
                </c:pt>
                <c:pt idx="252">
                  <c:v>3.097576604949273</c:v>
                </c:pt>
                <c:pt idx="253">
                  <c:v>2.9442028384331795</c:v>
                </c:pt>
                <c:pt idx="254">
                  <c:v>2.6562961476920304</c:v>
                </c:pt>
                <c:pt idx="255">
                  <c:v>2.5019938836288809</c:v>
                </c:pt>
                <c:pt idx="256">
                  <c:v>2.4493855718674853</c:v>
                </c:pt>
                <c:pt idx="257">
                  <c:v>2.4051463326830502</c:v>
                </c:pt>
                <c:pt idx="258">
                  <c:v>2.0551983895043895</c:v>
                </c:pt>
                <c:pt idx="259">
                  <c:v>1.6815519246555222</c:v>
                </c:pt>
                <c:pt idx="260">
                  <c:v>1.6458338760474922</c:v>
                </c:pt>
                <c:pt idx="261">
                  <c:v>1.0486976358463906</c:v>
                </c:pt>
                <c:pt idx="262">
                  <c:v>0.71609899104833064</c:v>
                </c:pt>
                <c:pt idx="263">
                  <c:v>0.55781521532604905</c:v>
                </c:pt>
                <c:pt idx="264">
                  <c:v>0.53385071680430995</c:v>
                </c:pt>
                <c:pt idx="265">
                  <c:v>0.19603221155718442</c:v>
                </c:pt>
                <c:pt idx="266">
                  <c:v>-0.12108375740636779</c:v>
                </c:pt>
                <c:pt idx="267">
                  <c:v>-0.1513796764996217</c:v>
                </c:pt>
                <c:pt idx="268">
                  <c:v>-0.17024852069204566</c:v>
                </c:pt>
                <c:pt idx="269">
                  <c:v>-0.23443809162229379</c:v>
                </c:pt>
                <c:pt idx="270">
                  <c:v>-0.3754954835747476</c:v>
                </c:pt>
                <c:pt idx="271">
                  <c:v>-0.48487721864290401</c:v>
                </c:pt>
                <c:pt idx="272">
                  <c:v>-0.47463243391833443</c:v>
                </c:pt>
                <c:pt idx="273">
                  <c:v>-0.70807038507402775</c:v>
                </c:pt>
                <c:pt idx="274">
                  <c:v>-1.0957426779365758</c:v>
                </c:pt>
                <c:pt idx="275">
                  <c:v>-1.2124065209914576</c:v>
                </c:pt>
                <c:pt idx="276">
                  <c:v>-1.0964925075655718</c:v>
                </c:pt>
                <c:pt idx="277">
                  <c:v>-1.2627987677257091</c:v>
                </c:pt>
                <c:pt idx="278">
                  <c:v>-1.1719771869955569</c:v>
                </c:pt>
                <c:pt idx="279">
                  <c:v>-1.2457349574954257</c:v>
                </c:pt>
                <c:pt idx="280">
                  <c:v>-1.4003380969889538</c:v>
                </c:pt>
                <c:pt idx="281">
                  <c:v>-1.6105479958095525</c:v>
                </c:pt>
                <c:pt idx="282">
                  <c:v>-1.5744761275330061</c:v>
                </c:pt>
                <c:pt idx="283">
                  <c:v>-1.6671049422378126</c:v>
                </c:pt>
                <c:pt idx="284">
                  <c:v>-1.7250138214635224</c:v>
                </c:pt>
                <c:pt idx="285">
                  <c:v>-1.8327734613648978</c:v>
                </c:pt>
                <c:pt idx="286">
                  <c:v>-1.8453846718508582</c:v>
                </c:pt>
                <c:pt idx="287">
                  <c:v>-1.90642957389566</c:v>
                </c:pt>
                <c:pt idx="288">
                  <c:v>-2.1162649320313727</c:v>
                </c:pt>
                <c:pt idx="289">
                  <c:v>-2.4046665902496072</c:v>
                </c:pt>
                <c:pt idx="290">
                  <c:v>-2.5854867535977681</c:v>
                </c:pt>
                <c:pt idx="291">
                  <c:v>-2.5999418489681041</c:v>
                </c:pt>
                <c:pt idx="292">
                  <c:v>-2.6248601478371048</c:v>
                </c:pt>
                <c:pt idx="293">
                  <c:v>-2.7292079141519485</c:v>
                </c:pt>
                <c:pt idx="294">
                  <c:v>-2.7826848784066245</c:v>
                </c:pt>
                <c:pt idx="295">
                  <c:v>-2.8499826586062675</c:v>
                </c:pt>
                <c:pt idx="296">
                  <c:v>-2.8634125330147224</c:v>
                </c:pt>
                <c:pt idx="297">
                  <c:v>-2.8512052662511223</c:v>
                </c:pt>
                <c:pt idx="298">
                  <c:v>-2.9387655463861102</c:v>
                </c:pt>
                <c:pt idx="299">
                  <c:v>-2.9862854254274458</c:v>
                </c:pt>
                <c:pt idx="300">
                  <c:v>-3.1764058138230107</c:v>
                </c:pt>
                <c:pt idx="301">
                  <c:v>-3.176101583142152</c:v>
                </c:pt>
                <c:pt idx="302">
                  <c:v>-3.1698453501836226</c:v>
                </c:pt>
                <c:pt idx="303">
                  <c:v>-3.2423671720484131</c:v>
                </c:pt>
                <c:pt idx="304">
                  <c:v>-3.4295877256938723</c:v>
                </c:pt>
                <c:pt idx="305">
                  <c:v>-3.4894151394496227</c:v>
                </c:pt>
                <c:pt idx="306">
                  <c:v>-3.4575066877968492</c:v>
                </c:pt>
                <c:pt idx="307">
                  <c:v>-3.457806679106437</c:v>
                </c:pt>
                <c:pt idx="308">
                  <c:v>-3.5976898297597923</c:v>
                </c:pt>
                <c:pt idx="309">
                  <c:v>-3.7627485872808424</c:v>
                </c:pt>
                <c:pt idx="310">
                  <c:v>-3.8127237757355434</c:v>
                </c:pt>
                <c:pt idx="311">
                  <c:v>-3.8701544593669315</c:v>
                </c:pt>
                <c:pt idx="312">
                  <c:v>-3.8511747942243741</c:v>
                </c:pt>
                <c:pt idx="313">
                  <c:v>-3.8625097696358024</c:v>
                </c:pt>
                <c:pt idx="314">
                  <c:v>-3.8195374700686484</c:v>
                </c:pt>
                <c:pt idx="315">
                  <c:v>-3.691806258917385</c:v>
                </c:pt>
                <c:pt idx="316">
                  <c:v>-3.7668384877773242</c:v>
                </c:pt>
                <c:pt idx="317">
                  <c:v>-3.6921506545544713</c:v>
                </c:pt>
                <c:pt idx="318">
                  <c:v>-3.4437706974472211</c:v>
                </c:pt>
                <c:pt idx="319">
                  <c:v>-3.1833865687278222</c:v>
                </c:pt>
                <c:pt idx="320">
                  <c:v>-3.1676723482835953</c:v>
                </c:pt>
                <c:pt idx="321">
                  <c:v>-2.5652901569404252</c:v>
                </c:pt>
                <c:pt idx="322">
                  <c:v>-2.3536106824490757</c:v>
                </c:pt>
                <c:pt idx="323">
                  <c:v>-2.1501072277774451</c:v>
                </c:pt>
                <c:pt idx="324">
                  <c:v>-2.1155418906938643</c:v>
                </c:pt>
                <c:pt idx="325">
                  <c:v>-1.9508576848722092</c:v>
                </c:pt>
                <c:pt idx="326">
                  <c:v>-1.9157623660988081</c:v>
                </c:pt>
                <c:pt idx="327">
                  <c:v>-1.9112663910290151</c:v>
                </c:pt>
                <c:pt idx="328">
                  <c:v>-1.8835190981084882</c:v>
                </c:pt>
                <c:pt idx="329">
                  <c:v>-1.8770165041662819</c:v>
                </c:pt>
                <c:pt idx="330">
                  <c:v>-1.5938489576892394</c:v>
                </c:pt>
                <c:pt idx="331">
                  <c:v>-1.5248872866559489</c:v>
                </c:pt>
                <c:pt idx="332">
                  <c:v>-1.499280593196159</c:v>
                </c:pt>
                <c:pt idx="333">
                  <c:v>-1.0053841872219778</c:v>
                </c:pt>
                <c:pt idx="334">
                  <c:v>-1.1597227537159109</c:v>
                </c:pt>
                <c:pt idx="335">
                  <c:v>-1.0774864408446994</c:v>
                </c:pt>
                <c:pt idx="336">
                  <c:v>-1.495701699015481</c:v>
                </c:pt>
                <c:pt idx="337">
                  <c:v>-1.5232317815535412</c:v>
                </c:pt>
                <c:pt idx="338">
                  <c:v>-1.5885276607537828</c:v>
                </c:pt>
                <c:pt idx="339">
                  <c:v>-1.1925455949970687</c:v>
                </c:pt>
                <c:pt idx="340">
                  <c:v>-1.1928559157661085</c:v>
                </c:pt>
                <c:pt idx="341">
                  <c:v>-1.331991202147023</c:v>
                </c:pt>
                <c:pt idx="342">
                  <c:v>-1.407360058048293</c:v>
                </c:pt>
                <c:pt idx="343">
                  <c:v>-1.3603782923662378</c:v>
                </c:pt>
                <c:pt idx="344">
                  <c:v>-1.2766460921917577</c:v>
                </c:pt>
                <c:pt idx="345">
                  <c:v>-1.2601167012044305</c:v>
                </c:pt>
                <c:pt idx="346">
                  <c:v>-1.2483155753122477</c:v>
                </c:pt>
                <c:pt idx="347">
                  <c:v>-1.1233548539087701</c:v>
                </c:pt>
                <c:pt idx="348">
                  <c:v>-0.85823450331857509</c:v>
                </c:pt>
                <c:pt idx="349">
                  <c:v>-0.32287399092266744</c:v>
                </c:pt>
                <c:pt idx="350">
                  <c:v>-0.50042741145957803</c:v>
                </c:pt>
                <c:pt idx="351">
                  <c:v>-0.59361405732606398</c:v>
                </c:pt>
                <c:pt idx="352">
                  <c:v>-0.60783662550519535</c:v>
                </c:pt>
                <c:pt idx="353">
                  <c:v>-0.52440718829061816</c:v>
                </c:pt>
                <c:pt idx="354">
                  <c:v>-0.44646044488709513</c:v>
                </c:pt>
                <c:pt idx="355">
                  <c:v>-0.44806256018764257</c:v>
                </c:pt>
                <c:pt idx="356">
                  <c:v>-0.40915037622729633</c:v>
                </c:pt>
                <c:pt idx="357">
                  <c:v>-0.43829242117072453</c:v>
                </c:pt>
                <c:pt idx="358">
                  <c:v>-0.40963591081681627</c:v>
                </c:pt>
                <c:pt idx="359">
                  <c:v>-0.39466295072068946</c:v>
                </c:pt>
                <c:pt idx="360">
                  <c:v>-0.35929554942698561</c:v>
                </c:pt>
                <c:pt idx="361">
                  <c:v>-0.39724898261647157</c:v>
                </c:pt>
                <c:pt idx="362">
                  <c:v>-0.40771073253357826</c:v>
                </c:pt>
                <c:pt idx="363">
                  <c:v>-0.38039079791414576</c:v>
                </c:pt>
                <c:pt idx="364">
                  <c:v>-0.37300475561110047</c:v>
                </c:pt>
                <c:pt idx="365">
                  <c:v>-0.26584607696110985</c:v>
                </c:pt>
                <c:pt idx="366">
                  <c:v>-0.26970686686461631</c:v>
                </c:pt>
                <c:pt idx="367">
                  <c:v>-0.28196120958032533</c:v>
                </c:pt>
                <c:pt idx="368">
                  <c:v>-0.32027318858154907</c:v>
                </c:pt>
                <c:pt idx="369">
                  <c:v>-0.16319160670526245</c:v>
                </c:pt>
                <c:pt idx="370">
                  <c:v>-0.26564015248557449</c:v>
                </c:pt>
                <c:pt idx="371">
                  <c:v>-0.42093784802186007</c:v>
                </c:pt>
                <c:pt idx="372">
                  <c:v>-0.46015488073905542</c:v>
                </c:pt>
                <c:pt idx="373">
                  <c:v>-0.73041488397958265</c:v>
                </c:pt>
                <c:pt idx="374">
                  <c:v>-0.48702799329525814</c:v>
                </c:pt>
                <c:pt idx="375">
                  <c:v>-0.94235401570418875</c:v>
                </c:pt>
                <c:pt idx="376">
                  <c:v>-0.92148486136524599</c:v>
                </c:pt>
                <c:pt idx="377">
                  <c:v>-0.92396452092816106</c:v>
                </c:pt>
                <c:pt idx="378">
                  <c:v>-0.94532532280487414</c:v>
                </c:pt>
                <c:pt idx="379">
                  <c:v>-0.93906651066786306</c:v>
                </c:pt>
                <c:pt idx="380">
                  <c:v>-0.97536432095557402</c:v>
                </c:pt>
                <c:pt idx="381">
                  <c:v>-1.0549412044246531</c:v>
                </c:pt>
                <c:pt idx="382">
                  <c:v>-1.0318371733100795</c:v>
                </c:pt>
                <c:pt idx="383">
                  <c:v>-1.2560329220889732</c:v>
                </c:pt>
                <c:pt idx="384">
                  <c:v>-1.2460956516729738</c:v>
                </c:pt>
                <c:pt idx="385">
                  <c:v>-1.2167156088477349</c:v>
                </c:pt>
                <c:pt idx="386">
                  <c:v>-1.0658921812311428</c:v>
                </c:pt>
                <c:pt idx="387">
                  <c:v>-1.0669693262966962</c:v>
                </c:pt>
                <c:pt idx="388">
                  <c:v>-1.0760391231705413</c:v>
                </c:pt>
                <c:pt idx="389">
                  <c:v>-1.0296225442145424</c:v>
                </c:pt>
                <c:pt idx="390">
                  <c:v>-1.1333523360243736</c:v>
                </c:pt>
                <c:pt idx="391">
                  <c:v>-1.1843755443253834</c:v>
                </c:pt>
                <c:pt idx="392">
                  <c:v>-1.2223095143314822</c:v>
                </c:pt>
                <c:pt idx="393">
                  <c:v>-1.2866913853270545</c:v>
                </c:pt>
                <c:pt idx="394">
                  <c:v>-1.1493068367888715</c:v>
                </c:pt>
                <c:pt idx="395">
                  <c:v>-1.2028434274889865</c:v>
                </c:pt>
                <c:pt idx="396">
                  <c:v>-1.0006605904619548</c:v>
                </c:pt>
                <c:pt idx="397">
                  <c:v>-1.1129592987733972</c:v>
                </c:pt>
                <c:pt idx="398">
                  <c:v>-1.1119967566417366</c:v>
                </c:pt>
                <c:pt idx="399">
                  <c:v>-1.2081480657721133</c:v>
                </c:pt>
                <c:pt idx="400">
                  <c:v>-1.1721302373316422</c:v>
                </c:pt>
                <c:pt idx="401">
                  <c:v>-1.1989233190658366</c:v>
                </c:pt>
                <c:pt idx="402">
                  <c:v>-1.246727228014094</c:v>
                </c:pt>
                <c:pt idx="403">
                  <c:v>-1.1211686481317096</c:v>
                </c:pt>
                <c:pt idx="404">
                  <c:v>-1.1267371406883497</c:v>
                </c:pt>
                <c:pt idx="405">
                  <c:v>-1.1931726338933635</c:v>
                </c:pt>
                <c:pt idx="406">
                  <c:v>-1.1773158717780285</c:v>
                </c:pt>
                <c:pt idx="407">
                  <c:v>-1.1683388184723142</c:v>
                </c:pt>
                <c:pt idx="408">
                  <c:v>-1.2941449306022312</c:v>
                </c:pt>
                <c:pt idx="409">
                  <c:v>-1.343562605865084</c:v>
                </c:pt>
                <c:pt idx="410">
                  <c:v>-1.2263304217673798</c:v>
                </c:pt>
                <c:pt idx="411">
                  <c:v>-1.2339363303601691</c:v>
                </c:pt>
                <c:pt idx="412">
                  <c:v>-0.97058116458641486</c:v>
                </c:pt>
                <c:pt idx="413">
                  <c:v>-1.0990768139481688</c:v>
                </c:pt>
                <c:pt idx="414">
                  <c:v>-1.1144299169085881</c:v>
                </c:pt>
                <c:pt idx="415">
                  <c:v>-1.1279887694963076</c:v>
                </c:pt>
                <c:pt idx="416">
                  <c:v>-1.2971892454731793</c:v>
                </c:pt>
                <c:pt idx="417">
                  <c:v>-1.3025254554283716</c:v>
                </c:pt>
                <c:pt idx="418">
                  <c:v>-1.2673612151973712</c:v>
                </c:pt>
                <c:pt idx="419">
                  <c:v>-1.2633112431327198</c:v>
                </c:pt>
                <c:pt idx="420">
                  <c:v>-1.264191573696094</c:v>
                </c:pt>
                <c:pt idx="421">
                  <c:v>-1.4578564072743772</c:v>
                </c:pt>
                <c:pt idx="422">
                  <c:v>-1.491978565176072</c:v>
                </c:pt>
                <c:pt idx="423">
                  <c:v>-1.5110942660313487</c:v>
                </c:pt>
                <c:pt idx="424">
                  <c:v>-1.5221665307621868</c:v>
                </c:pt>
                <c:pt idx="425">
                  <c:v>-1.5412851078417888</c:v>
                </c:pt>
                <c:pt idx="426">
                  <c:v>-1.5338042975623467</c:v>
                </c:pt>
                <c:pt idx="427">
                  <c:v>-1.5473357915229191</c:v>
                </c:pt>
                <c:pt idx="428">
                  <c:v>-1.5230186228560982</c:v>
                </c:pt>
                <c:pt idx="429">
                  <c:v>-1.5808684740729662</c:v>
                </c:pt>
                <c:pt idx="430">
                  <c:v>-1.5588211245975869</c:v>
                </c:pt>
                <c:pt idx="431">
                  <c:v>-1.4864566442096439</c:v>
                </c:pt>
                <c:pt idx="432">
                  <c:v>-1.3834070245803909</c:v>
                </c:pt>
                <c:pt idx="433">
                  <c:v>-1.280304176437691</c:v>
                </c:pt>
                <c:pt idx="434">
                  <c:v>-1.4391158497670808</c:v>
                </c:pt>
                <c:pt idx="435">
                  <c:v>-1.1216102379820985</c:v>
                </c:pt>
                <c:pt idx="436">
                  <c:v>-1.0671307406501129</c:v>
                </c:pt>
                <c:pt idx="437">
                  <c:v>-1.018461547646901</c:v>
                </c:pt>
                <c:pt idx="438">
                  <c:v>-0.99054693334822141</c:v>
                </c:pt>
                <c:pt idx="439">
                  <c:v>-0.92903871429452223</c:v>
                </c:pt>
                <c:pt idx="440">
                  <c:v>-0.94863657043958716</c:v>
                </c:pt>
                <c:pt idx="441">
                  <c:v>-0.87103858607670559</c:v>
                </c:pt>
                <c:pt idx="442">
                  <c:v>-0.8750953767210301</c:v>
                </c:pt>
                <c:pt idx="443">
                  <c:v>-0.55816276586035662</c:v>
                </c:pt>
                <c:pt idx="444">
                  <c:v>-0.57582229194671763</c:v>
                </c:pt>
                <c:pt idx="445">
                  <c:v>-0.62018616642471602</c:v>
                </c:pt>
                <c:pt idx="446">
                  <c:v>-0.61726056899406856</c:v>
                </c:pt>
                <c:pt idx="447">
                  <c:v>-0.60980067299893359</c:v>
                </c:pt>
                <c:pt idx="448">
                  <c:v>-0.67849455663939462</c:v>
                </c:pt>
                <c:pt idx="449">
                  <c:v>-0.66692011909973981</c:v>
                </c:pt>
                <c:pt idx="450">
                  <c:v>-0.65910954989394921</c:v>
                </c:pt>
                <c:pt idx="451">
                  <c:v>-0.68232145154291379</c:v>
                </c:pt>
                <c:pt idx="452">
                  <c:v>-0.67145399596647282</c:v>
                </c:pt>
                <c:pt idx="453">
                  <c:v>-0.58598833377317416</c:v>
                </c:pt>
                <c:pt idx="454">
                  <c:v>-0.60022714386160358</c:v>
                </c:pt>
                <c:pt idx="455">
                  <c:v>-0.58061178695343607</c:v>
                </c:pt>
                <c:pt idx="456">
                  <c:v>-0.60547744969395023</c:v>
                </c:pt>
                <c:pt idx="457">
                  <c:v>-0.44764152672981394</c:v>
                </c:pt>
                <c:pt idx="458">
                  <c:v>-0.41835323134677138</c:v>
                </c:pt>
                <c:pt idx="459">
                  <c:v>-0.41842896546668562</c:v>
                </c:pt>
                <c:pt idx="460">
                  <c:v>-0.47657779697533875</c:v>
                </c:pt>
                <c:pt idx="461">
                  <c:v>-0.50003514084504819</c:v>
                </c:pt>
                <c:pt idx="462">
                  <c:v>-0.41075318169965236</c:v>
                </c:pt>
                <c:pt idx="463">
                  <c:v>-0.62851735443500978</c:v>
                </c:pt>
                <c:pt idx="464">
                  <c:v>-0.69992571390028735</c:v>
                </c:pt>
                <c:pt idx="465">
                  <c:v>-0.59320884002356244</c:v>
                </c:pt>
                <c:pt idx="466">
                  <c:v>-0.66243135337979153</c:v>
                </c:pt>
                <c:pt idx="467">
                  <c:v>-0.71648415607966365</c:v>
                </c:pt>
                <c:pt idx="468">
                  <c:v>-0.67589189492115731</c:v>
                </c:pt>
                <c:pt idx="469">
                  <c:v>-0.66322770751905402</c:v>
                </c:pt>
                <c:pt idx="470">
                  <c:v>-0.73367465734598958</c:v>
                </c:pt>
                <c:pt idx="471">
                  <c:v>-0.69393555953236041</c:v>
                </c:pt>
                <c:pt idx="472">
                  <c:v>-1.2382333490735449</c:v>
                </c:pt>
                <c:pt idx="473">
                  <c:v>-1.0166414668184576</c:v>
                </c:pt>
                <c:pt idx="474">
                  <c:v>-1.0173066071025749</c:v>
                </c:pt>
                <c:pt idx="475">
                  <c:v>-0.98502307334470962</c:v>
                </c:pt>
                <c:pt idx="476">
                  <c:v>-0.72974879650080371</c:v>
                </c:pt>
                <c:pt idx="477">
                  <c:v>-0.77783517934779389</c:v>
                </c:pt>
                <c:pt idx="478">
                  <c:v>-0.5483797932746004</c:v>
                </c:pt>
                <c:pt idx="479">
                  <c:v>-0.55213096809627327</c:v>
                </c:pt>
                <c:pt idx="480">
                  <c:v>-0.5159232903329064</c:v>
                </c:pt>
                <c:pt idx="481">
                  <c:v>-0.13264032473331022</c:v>
                </c:pt>
                <c:pt idx="482">
                  <c:v>-0.13976201853411474</c:v>
                </c:pt>
                <c:pt idx="483">
                  <c:v>-0.15470957970187271</c:v>
                </c:pt>
                <c:pt idx="484">
                  <c:v>-0.14848228645719386</c:v>
                </c:pt>
                <c:pt idx="485">
                  <c:v>-0.13805990634908338</c:v>
                </c:pt>
                <c:pt idx="486">
                  <c:v>-0.18041514510409862</c:v>
                </c:pt>
                <c:pt idx="487">
                  <c:v>-0.36970022689358784</c:v>
                </c:pt>
                <c:pt idx="488">
                  <c:v>-0.45430433897521993</c:v>
                </c:pt>
                <c:pt idx="489">
                  <c:v>-0.42830675217775116</c:v>
                </c:pt>
                <c:pt idx="490">
                  <c:v>-0.37503981506818718</c:v>
                </c:pt>
                <c:pt idx="491">
                  <c:v>-0.53006482155737167</c:v>
                </c:pt>
                <c:pt idx="492">
                  <c:v>-0.7189176500574268</c:v>
                </c:pt>
                <c:pt idx="493">
                  <c:v>-0.72203573483194672</c:v>
                </c:pt>
                <c:pt idx="494">
                  <c:v>-0.77000423118547545</c:v>
                </c:pt>
                <c:pt idx="495">
                  <c:v>-0.86193281649055153</c:v>
                </c:pt>
                <c:pt idx="496">
                  <c:v>-0.84513929183535896</c:v>
                </c:pt>
                <c:pt idx="497">
                  <c:v>-1.291463247076613</c:v>
                </c:pt>
                <c:pt idx="498">
                  <c:v>-1.439977977704382</c:v>
                </c:pt>
                <c:pt idx="499">
                  <c:v>-1.4550496806854967</c:v>
                </c:pt>
                <c:pt idx="500">
                  <c:v>-1.4068584444505401</c:v>
                </c:pt>
                <c:pt idx="501">
                  <c:v>-1.5916613021521671</c:v>
                </c:pt>
                <c:pt idx="502">
                  <c:v>-1.4466289258007943</c:v>
                </c:pt>
                <c:pt idx="503">
                  <c:v>-1.4313362701722898</c:v>
                </c:pt>
                <c:pt idx="504">
                  <c:v>-1.3611796187662339</c:v>
                </c:pt>
                <c:pt idx="505">
                  <c:v>-1.2931349600322579</c:v>
                </c:pt>
                <c:pt idx="506">
                  <c:v>-1.4185456857432528</c:v>
                </c:pt>
                <c:pt idx="507">
                  <c:v>-1.3986059936775985</c:v>
                </c:pt>
                <c:pt idx="508">
                  <c:v>-1.3574002136526349</c:v>
                </c:pt>
                <c:pt idx="509">
                  <c:v>-1.3730258954917614</c:v>
                </c:pt>
                <c:pt idx="510">
                  <c:v>-1.4316740914010639</c:v>
                </c:pt>
                <c:pt idx="511">
                  <c:v>-1.3384378114335682</c:v>
                </c:pt>
                <c:pt idx="512">
                  <c:v>-1.337130362717931</c:v>
                </c:pt>
                <c:pt idx="513">
                  <c:v>-1.4903758748249869</c:v>
                </c:pt>
                <c:pt idx="514">
                  <c:v>-1.6637910295249276</c:v>
                </c:pt>
                <c:pt idx="515">
                  <c:v>-1.6728858385165939</c:v>
                </c:pt>
                <c:pt idx="516">
                  <c:v>-1.6233436730162309</c:v>
                </c:pt>
                <c:pt idx="517">
                  <c:v>-1.6397079978562712</c:v>
                </c:pt>
                <c:pt idx="518">
                  <c:v>-1.7066970254066032</c:v>
                </c:pt>
                <c:pt idx="519">
                  <c:v>-1.7135124111126943</c:v>
                </c:pt>
                <c:pt idx="520">
                  <c:v>-1.7618696209402318</c:v>
                </c:pt>
                <c:pt idx="521">
                  <c:v>-1.8048145400103244</c:v>
                </c:pt>
                <c:pt idx="522">
                  <c:v>-1.8200673625887509</c:v>
                </c:pt>
                <c:pt idx="523">
                  <c:v>-1.8891487805615976</c:v>
                </c:pt>
                <c:pt idx="524">
                  <c:v>-1.8663989849010909</c:v>
                </c:pt>
                <c:pt idx="525">
                  <c:v>-1.806111478346764</c:v>
                </c:pt>
                <c:pt idx="526">
                  <c:v>-1.7812192347971323</c:v>
                </c:pt>
                <c:pt idx="527">
                  <c:v>-1.8514693148312</c:v>
                </c:pt>
                <c:pt idx="528">
                  <c:v>-1.75333198115373</c:v>
                </c:pt>
                <c:pt idx="529">
                  <c:v>-1.7593264944646552</c:v>
                </c:pt>
                <c:pt idx="530">
                  <c:v>-1.7614314294858657</c:v>
                </c:pt>
                <c:pt idx="531">
                  <c:v>-1.8966410418960051</c:v>
                </c:pt>
                <c:pt idx="532">
                  <c:v>-1.7592506953310467</c:v>
                </c:pt>
                <c:pt idx="533">
                  <c:v>-1.8785590033309401</c:v>
                </c:pt>
                <c:pt idx="534">
                  <c:v>-2.2335425921875847</c:v>
                </c:pt>
                <c:pt idx="535">
                  <c:v>-2.3197918813631038</c:v>
                </c:pt>
                <c:pt idx="536">
                  <c:v>-2.2733808997619009</c:v>
                </c:pt>
                <c:pt idx="537">
                  <c:v>-2.2604009065078285</c:v>
                </c:pt>
                <c:pt idx="538">
                  <c:v>-2.6316036618396517</c:v>
                </c:pt>
                <c:pt idx="539">
                  <c:v>-3.2263500329735435</c:v>
                </c:pt>
                <c:pt idx="540">
                  <c:v>-3.3215620070963152</c:v>
                </c:pt>
                <c:pt idx="541">
                  <c:v>-3.3606772376445466</c:v>
                </c:pt>
                <c:pt idx="542">
                  <c:v>-3.308646481227334</c:v>
                </c:pt>
                <c:pt idx="543">
                  <c:v>-5.6983925900555015</c:v>
                </c:pt>
                <c:pt idx="544">
                  <c:v>-5.8780292209023841</c:v>
                </c:pt>
                <c:pt idx="545">
                  <c:v>-5.9561755774463325</c:v>
                </c:pt>
                <c:pt idx="546">
                  <c:v>-5.9755031153463225</c:v>
                </c:pt>
                <c:pt idx="547">
                  <c:v>-6.1108559500840931</c:v>
                </c:pt>
                <c:pt idx="548">
                  <c:v>-5.960989838632635</c:v>
                </c:pt>
                <c:pt idx="549">
                  <c:v>-6.088945619560632</c:v>
                </c:pt>
                <c:pt idx="550">
                  <c:v>-6.1915100492831057</c:v>
                </c:pt>
                <c:pt idx="551">
                  <c:v>-6.2216706420081476</c:v>
                </c:pt>
                <c:pt idx="552">
                  <c:v>-5.8979264143679604</c:v>
                </c:pt>
                <c:pt idx="553">
                  <c:v>-6.230243200821767</c:v>
                </c:pt>
                <c:pt idx="554">
                  <c:v>-6.399433777918401</c:v>
                </c:pt>
                <c:pt idx="555">
                  <c:v>-6.2943463209214396</c:v>
                </c:pt>
                <c:pt idx="556">
                  <c:v>-6.4229091182832319</c:v>
                </c:pt>
                <c:pt idx="557">
                  <c:v>-6.2472322326057039</c:v>
                </c:pt>
                <c:pt idx="558">
                  <c:v>-6.5506812943787631</c:v>
                </c:pt>
                <c:pt idx="559">
                  <c:v>-5.2030116826612289</c:v>
                </c:pt>
                <c:pt idx="560">
                  <c:v>-5.1205663759739561</c:v>
                </c:pt>
                <c:pt idx="561">
                  <c:v>-4.8866747986096417</c:v>
                </c:pt>
                <c:pt idx="562">
                  <c:v>-5.3285043400529979</c:v>
                </c:pt>
                <c:pt idx="563">
                  <c:v>-5.6182277892015522</c:v>
                </c:pt>
                <c:pt idx="564">
                  <c:v>-6.0531310528513513</c:v>
                </c:pt>
                <c:pt idx="565">
                  <c:v>-6.0846559949059023</c:v>
                </c:pt>
                <c:pt idx="566">
                  <c:v>-6.3778725786040491</c:v>
                </c:pt>
                <c:pt idx="567">
                  <c:v>-6.3922572156437765</c:v>
                </c:pt>
                <c:pt idx="568">
                  <c:v>-6.2488212641211351</c:v>
                </c:pt>
                <c:pt idx="569">
                  <c:v>-6.1900303564332182</c:v>
                </c:pt>
                <c:pt idx="570">
                  <c:v>-1.5041158058116566</c:v>
                </c:pt>
                <c:pt idx="571">
                  <c:v>-2.8981497226174602</c:v>
                </c:pt>
                <c:pt idx="572">
                  <c:v>-2.8122280440199265</c:v>
                </c:pt>
                <c:pt idx="573">
                  <c:v>-2.8113187371967663</c:v>
                </c:pt>
                <c:pt idx="574">
                  <c:v>-2.7666677107481052</c:v>
                </c:pt>
                <c:pt idx="575">
                  <c:v>-2.9360779224043454</c:v>
                </c:pt>
                <c:pt idx="576">
                  <c:v>-2.8973566826756336</c:v>
                </c:pt>
                <c:pt idx="577">
                  <c:v>-2.5217702696663569</c:v>
                </c:pt>
                <c:pt idx="578">
                  <c:v>-2.4466218407621199</c:v>
                </c:pt>
                <c:pt idx="579">
                  <c:v>-2.3252823426296199</c:v>
                </c:pt>
                <c:pt idx="580">
                  <c:v>-2.3226850231228169</c:v>
                </c:pt>
                <c:pt idx="581">
                  <c:v>-2.3970582534311058</c:v>
                </c:pt>
                <c:pt idx="582">
                  <c:v>-2.4486162624247965</c:v>
                </c:pt>
                <c:pt idx="583">
                  <c:v>-2.3822247020830023</c:v>
                </c:pt>
                <c:pt idx="584">
                  <c:v>-2.4724759316025136</c:v>
                </c:pt>
                <c:pt idx="585">
                  <c:v>-2.5417787149175641</c:v>
                </c:pt>
                <c:pt idx="586">
                  <c:v>-2.2201152770487065</c:v>
                </c:pt>
                <c:pt idx="587">
                  <c:v>-2.1728640767663121</c:v>
                </c:pt>
                <c:pt idx="588">
                  <c:v>-2.2272297182987177</c:v>
                </c:pt>
                <c:pt idx="589">
                  <c:v>-1.8136539014175224</c:v>
                </c:pt>
                <c:pt idx="590">
                  <c:v>-1.8165001873185371</c:v>
                </c:pt>
                <c:pt idx="591">
                  <c:v>-1.7839749894257295</c:v>
                </c:pt>
                <c:pt idx="592">
                  <c:v>-1.7978301117765216</c:v>
                </c:pt>
                <c:pt idx="593">
                  <c:v>-1.7583774575921751</c:v>
                </c:pt>
                <c:pt idx="594">
                  <c:v>-1.5413149180581565</c:v>
                </c:pt>
                <c:pt idx="595">
                  <c:v>-1.4774713704242881</c:v>
                </c:pt>
                <c:pt idx="596">
                  <c:v>-1.4672257175160963</c:v>
                </c:pt>
                <c:pt idx="597">
                  <c:v>-1.4680211008495481</c:v>
                </c:pt>
                <c:pt idx="598">
                  <c:v>-1.6046983234539791</c:v>
                </c:pt>
                <c:pt idx="599">
                  <c:v>-1.91654379494266</c:v>
                </c:pt>
                <c:pt idx="600">
                  <c:v>-1.8757236475679728</c:v>
                </c:pt>
                <c:pt idx="601">
                  <c:v>-1.8231529204937647</c:v>
                </c:pt>
                <c:pt idx="602">
                  <c:v>-1.8190356091350224</c:v>
                </c:pt>
                <c:pt idx="603">
                  <c:v>-0.66941873051111767</c:v>
                </c:pt>
                <c:pt idx="604">
                  <c:v>-0.5908727550896109</c:v>
                </c:pt>
                <c:pt idx="605">
                  <c:v>-0.5889272594715611</c:v>
                </c:pt>
                <c:pt idx="606">
                  <c:v>-0.58892233935015081</c:v>
                </c:pt>
                <c:pt idx="607">
                  <c:v>-0.39380704683723566</c:v>
                </c:pt>
                <c:pt idx="608">
                  <c:v>-0.38845958797046887</c:v>
                </c:pt>
                <c:pt idx="609">
                  <c:v>-0.30933033159268319</c:v>
                </c:pt>
                <c:pt idx="610">
                  <c:v>-0.26749906023838532</c:v>
                </c:pt>
                <c:pt idx="611">
                  <c:v>-8.8027645783128605E-2</c:v>
                </c:pt>
                <c:pt idx="612">
                  <c:v>-0.25509674176334984</c:v>
                </c:pt>
                <c:pt idx="613">
                  <c:v>-4.0681720277568889E-2</c:v>
                </c:pt>
                <c:pt idx="614">
                  <c:v>0.33742069391379248</c:v>
                </c:pt>
                <c:pt idx="615">
                  <c:v>0.29751845923128295</c:v>
                </c:pt>
                <c:pt idx="616">
                  <c:v>0.55664959088684851</c:v>
                </c:pt>
                <c:pt idx="617">
                  <c:v>0.55467081893121328</c:v>
                </c:pt>
                <c:pt idx="618">
                  <c:v>1.1713355450207463</c:v>
                </c:pt>
                <c:pt idx="619">
                  <c:v>0.99241492713465496</c:v>
                </c:pt>
                <c:pt idx="620">
                  <c:v>0.98677437798357914</c:v>
                </c:pt>
                <c:pt idx="621">
                  <c:v>0.9717535009269529</c:v>
                </c:pt>
                <c:pt idx="622">
                  <c:v>1.5146477175068562</c:v>
                </c:pt>
                <c:pt idx="623">
                  <c:v>1.8398201769347255</c:v>
                </c:pt>
                <c:pt idx="624">
                  <c:v>2.2467733096193765</c:v>
                </c:pt>
                <c:pt idx="625">
                  <c:v>2.1441830993456867</c:v>
                </c:pt>
                <c:pt idx="626">
                  <c:v>2.5881299760466545</c:v>
                </c:pt>
                <c:pt idx="627">
                  <c:v>2.5241539272828852</c:v>
                </c:pt>
                <c:pt idx="628">
                  <c:v>2.5120041016113372</c:v>
                </c:pt>
                <c:pt idx="629">
                  <c:v>2.5058938203598782</c:v>
                </c:pt>
                <c:pt idx="630">
                  <c:v>-1.9283095783085291</c:v>
                </c:pt>
                <c:pt idx="631">
                  <c:v>-0.46652959429611673</c:v>
                </c:pt>
                <c:pt idx="632">
                  <c:v>-0.58165520385465297</c:v>
                </c:pt>
                <c:pt idx="633">
                  <c:v>-0.47339073090832962</c:v>
                </c:pt>
                <c:pt idx="634">
                  <c:v>-0.49677212712346264</c:v>
                </c:pt>
                <c:pt idx="635">
                  <c:v>-0.15728880344266227</c:v>
                </c:pt>
                <c:pt idx="636">
                  <c:v>-0.15922650827923102</c:v>
                </c:pt>
                <c:pt idx="637">
                  <c:v>-0.60076050682209003</c:v>
                </c:pt>
                <c:pt idx="638">
                  <c:v>-0.45787095639541753</c:v>
                </c:pt>
                <c:pt idx="639">
                  <c:v>-0.56144186828388509</c:v>
                </c:pt>
                <c:pt idx="640">
                  <c:v>-0.4874422931168132</c:v>
                </c:pt>
                <c:pt idx="641">
                  <c:v>-0.37293768043635267</c:v>
                </c:pt>
                <c:pt idx="642">
                  <c:v>-0.1985002471902142</c:v>
                </c:pt>
                <c:pt idx="643">
                  <c:v>-0.24464704354800748</c:v>
                </c:pt>
                <c:pt idx="644">
                  <c:v>-0.14865414909087105</c:v>
                </c:pt>
                <c:pt idx="645">
                  <c:v>-4.4311331669760756E-2</c:v>
                </c:pt>
                <c:pt idx="646">
                  <c:v>-0.52213561119709984</c:v>
                </c:pt>
                <c:pt idx="647">
                  <c:v>-0.56576124832947716</c:v>
                </c:pt>
                <c:pt idx="648">
                  <c:v>-0.47165364575390556</c:v>
                </c:pt>
                <c:pt idx="649">
                  <c:v>-0.75877726784237542</c:v>
                </c:pt>
                <c:pt idx="650">
                  <c:v>-0.72483370517688606</c:v>
                </c:pt>
                <c:pt idx="651">
                  <c:v>-0.67439559178292252</c:v>
                </c:pt>
                <c:pt idx="652">
                  <c:v>-0.78680491578460576</c:v>
                </c:pt>
                <c:pt idx="653">
                  <c:v>-0.70689095459818274</c:v>
                </c:pt>
                <c:pt idx="654">
                  <c:v>-1.3439921246297115</c:v>
                </c:pt>
                <c:pt idx="655">
                  <c:v>-1.4599778879732905</c:v>
                </c:pt>
                <c:pt idx="656">
                  <c:v>-0.79254461344743787</c:v>
                </c:pt>
                <c:pt idx="657">
                  <c:v>-0.55861121502240318</c:v>
                </c:pt>
                <c:pt idx="658">
                  <c:v>-0.26391342359918246</c:v>
                </c:pt>
                <c:pt idx="659">
                  <c:v>0.92952131271429872</c:v>
                </c:pt>
                <c:pt idx="660">
                  <c:v>0.31001261119569801</c:v>
                </c:pt>
                <c:pt idx="661">
                  <c:v>0.31588780065940347</c:v>
                </c:pt>
                <c:pt idx="662">
                  <c:v>0.19465179522950016</c:v>
                </c:pt>
                <c:pt idx="663">
                  <c:v>0.27796794019003812</c:v>
                </c:pt>
                <c:pt idx="664">
                  <c:v>-7.4971056176897921E-2</c:v>
                </c:pt>
                <c:pt idx="665">
                  <c:v>1.7919050350972965E-2</c:v>
                </c:pt>
                <c:pt idx="666">
                  <c:v>4.5709708696495266E-3</c:v>
                </c:pt>
                <c:pt idx="667">
                  <c:v>-4.800928907066071E-2</c:v>
                </c:pt>
                <c:pt idx="668">
                  <c:v>-0.10517248548702063</c:v>
                </c:pt>
                <c:pt idx="669">
                  <c:v>-0.30982711427814946</c:v>
                </c:pt>
                <c:pt idx="670">
                  <c:v>-0.2994721541410561</c:v>
                </c:pt>
                <c:pt idx="671">
                  <c:v>-0.49624198313550916</c:v>
                </c:pt>
                <c:pt idx="672">
                  <c:v>-0.3341706859474769</c:v>
                </c:pt>
                <c:pt idx="673">
                  <c:v>-0.37041621935235969</c:v>
                </c:pt>
                <c:pt idx="674">
                  <c:v>-0.30522551025017886</c:v>
                </c:pt>
                <c:pt idx="675">
                  <c:v>-0.49346116857704181</c:v>
                </c:pt>
                <c:pt idx="676">
                  <c:v>-0.55803783640786531</c:v>
                </c:pt>
                <c:pt idx="677">
                  <c:v>-0.33133182116354964</c:v>
                </c:pt>
                <c:pt idx="678">
                  <c:v>-0.47526518805238727</c:v>
                </c:pt>
                <c:pt idx="679">
                  <c:v>-0.47700386637519188</c:v>
                </c:pt>
                <c:pt idx="680">
                  <c:v>-0.50334749921691069</c:v>
                </c:pt>
                <c:pt idx="681">
                  <c:v>-0.54636150184010912</c:v>
                </c:pt>
                <c:pt idx="682">
                  <c:v>-0.52717275166311306</c:v>
                </c:pt>
                <c:pt idx="683">
                  <c:v>-0.48164683606167213</c:v>
                </c:pt>
                <c:pt idx="684">
                  <c:v>-0.4990792299664315</c:v>
                </c:pt>
                <c:pt idx="685">
                  <c:v>-0.45642122471902247</c:v>
                </c:pt>
                <c:pt idx="686">
                  <c:v>-0.49632807872281304</c:v>
                </c:pt>
                <c:pt idx="687">
                  <c:v>-0.35524902590640117</c:v>
                </c:pt>
                <c:pt idx="688">
                  <c:v>-0.39962739997088104</c:v>
                </c:pt>
                <c:pt idx="689">
                  <c:v>-0.30851250520987916</c:v>
                </c:pt>
                <c:pt idx="690">
                  <c:v>-0.28979342090478255</c:v>
                </c:pt>
                <c:pt idx="691">
                  <c:v>-0.23489863255847232</c:v>
                </c:pt>
                <c:pt idx="692">
                  <c:v>-0.17124287230904645</c:v>
                </c:pt>
                <c:pt idx="693">
                  <c:v>-0.24238529642768292</c:v>
                </c:pt>
                <c:pt idx="694">
                  <c:v>-0.29936111155827727</c:v>
                </c:pt>
                <c:pt idx="695">
                  <c:v>-0.43157905409551556</c:v>
                </c:pt>
                <c:pt idx="696">
                  <c:v>-0.29689577253950161</c:v>
                </c:pt>
                <c:pt idx="697">
                  <c:v>-0.24094896530487131</c:v>
                </c:pt>
                <c:pt idx="698">
                  <c:v>-0.50878218876952985</c:v>
                </c:pt>
                <c:pt idx="699">
                  <c:v>-0.46321404275953548</c:v>
                </c:pt>
                <c:pt idx="700">
                  <c:v>-0.49450381467132654</c:v>
                </c:pt>
                <c:pt idx="701">
                  <c:v>-0.53086247061219782</c:v>
                </c:pt>
                <c:pt idx="702">
                  <c:v>-0.66221364744191158</c:v>
                </c:pt>
                <c:pt idx="703">
                  <c:v>-0.68918073728457818</c:v>
                </c:pt>
                <c:pt idx="704">
                  <c:v>-0.61584463420328861</c:v>
                </c:pt>
                <c:pt idx="705">
                  <c:v>-0.67236641418773058</c:v>
                </c:pt>
                <c:pt idx="706">
                  <c:v>-0.69664800317436049</c:v>
                </c:pt>
                <c:pt idx="707">
                  <c:v>-0.56051075330748046</c:v>
                </c:pt>
                <c:pt idx="708">
                  <c:v>-0.46331256304449342</c:v>
                </c:pt>
                <c:pt idx="709">
                  <c:v>-0.59454683721676949</c:v>
                </c:pt>
                <c:pt idx="710">
                  <c:v>-0.65050297952357616</c:v>
                </c:pt>
                <c:pt idx="711">
                  <c:v>-0.75508375354972901</c:v>
                </c:pt>
                <c:pt idx="712">
                  <c:v>-0.64009533992172019</c:v>
                </c:pt>
                <c:pt idx="713">
                  <c:v>-0.76824774937336859</c:v>
                </c:pt>
                <c:pt idx="714">
                  <c:v>1.3747497794441843E-2</c:v>
                </c:pt>
                <c:pt idx="715">
                  <c:v>6.54003710369222E-2</c:v>
                </c:pt>
                <c:pt idx="716">
                  <c:v>-0.32731404533037356</c:v>
                </c:pt>
                <c:pt idx="717">
                  <c:v>-0.63653137230040291</c:v>
                </c:pt>
                <c:pt idx="718">
                  <c:v>-0.43373768991267769</c:v>
                </c:pt>
                <c:pt idx="719">
                  <c:v>-0.37978143032327272</c:v>
                </c:pt>
                <c:pt idx="720">
                  <c:v>0.13143615171736789</c:v>
                </c:pt>
                <c:pt idx="721">
                  <c:v>0.13995960815210151</c:v>
                </c:pt>
                <c:pt idx="722">
                  <c:v>0.22090194578532896</c:v>
                </c:pt>
                <c:pt idx="723">
                  <c:v>0.2208825060336872</c:v>
                </c:pt>
                <c:pt idx="724">
                  <c:v>0.57061591116615573</c:v>
                </c:pt>
                <c:pt idx="725">
                  <c:v>0.52038876515970167</c:v>
                </c:pt>
                <c:pt idx="726">
                  <c:v>0.75460396359257609</c:v>
                </c:pt>
                <c:pt idx="727">
                  <c:v>0.72738330633366211</c:v>
                </c:pt>
                <c:pt idx="728">
                  <c:v>0.76010906834266811</c:v>
                </c:pt>
                <c:pt idx="729">
                  <c:v>1.0309623554834557</c:v>
                </c:pt>
                <c:pt idx="730">
                  <c:v>1.0062458385549145</c:v>
                </c:pt>
                <c:pt idx="731">
                  <c:v>0.97055484939095327</c:v>
                </c:pt>
                <c:pt idx="732">
                  <c:v>0.93200703827716613</c:v>
                </c:pt>
                <c:pt idx="733">
                  <c:v>1.0199291003855693</c:v>
                </c:pt>
                <c:pt idx="734">
                  <c:v>1.1001759041464221</c:v>
                </c:pt>
                <c:pt idx="735">
                  <c:v>1.3365753532644187</c:v>
                </c:pt>
                <c:pt idx="736">
                  <c:v>1.4181426419857646</c:v>
                </c:pt>
                <c:pt idx="737">
                  <c:v>1.2477819676984969</c:v>
                </c:pt>
                <c:pt idx="738">
                  <c:v>1.30954634242757</c:v>
                </c:pt>
                <c:pt idx="739">
                  <c:v>1.5963754761305571</c:v>
                </c:pt>
                <c:pt idx="740">
                  <c:v>1.610743165685885</c:v>
                </c:pt>
                <c:pt idx="741">
                  <c:v>1.5813021147693729</c:v>
                </c:pt>
                <c:pt idx="742">
                  <c:v>1.5237992378495324</c:v>
                </c:pt>
                <c:pt idx="743">
                  <c:v>1.3958705614059819</c:v>
                </c:pt>
                <c:pt idx="744">
                  <c:v>1.4764234931155251</c:v>
                </c:pt>
                <c:pt idx="745">
                  <c:v>1.5063652695497309</c:v>
                </c:pt>
                <c:pt idx="746">
                  <c:v>1.7276581701621885</c:v>
                </c:pt>
                <c:pt idx="747">
                  <c:v>1.7165888221945813</c:v>
                </c:pt>
                <c:pt idx="748">
                  <c:v>1.5248824297771468</c:v>
                </c:pt>
                <c:pt idx="749">
                  <c:v>1.5004345369293126</c:v>
                </c:pt>
                <c:pt idx="750">
                  <c:v>1.4900226889981993</c:v>
                </c:pt>
                <c:pt idx="751">
                  <c:v>1.3423797546508298</c:v>
                </c:pt>
                <c:pt idx="752">
                  <c:v>1.4076449582186401</c:v>
                </c:pt>
                <c:pt idx="753">
                  <c:v>1.3513718115239992</c:v>
                </c:pt>
                <c:pt idx="754">
                  <c:v>1.5041534321309391</c:v>
                </c:pt>
                <c:pt idx="755">
                  <c:v>1.6127760862179985</c:v>
                </c:pt>
                <c:pt idx="756">
                  <c:v>1.2899723274352626</c:v>
                </c:pt>
                <c:pt idx="757">
                  <c:v>1.2979697219086428</c:v>
                </c:pt>
                <c:pt idx="758">
                  <c:v>1.5478779671531218</c:v>
                </c:pt>
                <c:pt idx="759">
                  <c:v>1.3513793726363355</c:v>
                </c:pt>
                <c:pt idx="760">
                  <c:v>1.3862125381924133</c:v>
                </c:pt>
                <c:pt idx="761">
                  <c:v>1.5131653584369131</c:v>
                </c:pt>
                <c:pt idx="762">
                  <c:v>1.5263045303837015</c:v>
                </c:pt>
                <c:pt idx="763">
                  <c:v>1.6683296373936591</c:v>
                </c:pt>
                <c:pt idx="764">
                  <c:v>1.6573110976518728</c:v>
                </c:pt>
                <c:pt idx="765">
                  <c:v>1.6432605342956235</c:v>
                </c:pt>
                <c:pt idx="766">
                  <c:v>1.7353682107830477</c:v>
                </c:pt>
                <c:pt idx="767">
                  <c:v>1.847012208883797</c:v>
                </c:pt>
                <c:pt idx="768">
                  <c:v>1.7103710826968155</c:v>
                </c:pt>
                <c:pt idx="769">
                  <c:v>1.7078917513188658</c:v>
                </c:pt>
                <c:pt idx="770">
                  <c:v>1.791620986497211</c:v>
                </c:pt>
                <c:pt idx="771">
                  <c:v>1.5684552245815691</c:v>
                </c:pt>
                <c:pt idx="772">
                  <c:v>1.5173818205093448</c:v>
                </c:pt>
                <c:pt idx="773">
                  <c:v>1.5260756259761226</c:v>
                </c:pt>
                <c:pt idx="774">
                  <c:v>1.4546301550245526</c:v>
                </c:pt>
                <c:pt idx="775">
                  <c:v>1.3328794625153573</c:v>
                </c:pt>
                <c:pt idx="776">
                  <c:v>1.0119182010962013</c:v>
                </c:pt>
                <c:pt idx="777">
                  <c:v>1.0058012893981254</c:v>
                </c:pt>
                <c:pt idx="778">
                  <c:v>1.1489952982966374</c:v>
                </c:pt>
                <c:pt idx="779">
                  <c:v>1.2161048492713378</c:v>
                </c:pt>
                <c:pt idx="780">
                  <c:v>1.2284786411689703</c:v>
                </c:pt>
                <c:pt idx="781">
                  <c:v>1.2154764356817256</c:v>
                </c:pt>
                <c:pt idx="782">
                  <c:v>1.3323781721115868</c:v>
                </c:pt>
                <c:pt idx="783">
                  <c:v>1.2757503262231769</c:v>
                </c:pt>
                <c:pt idx="784">
                  <c:v>1.2414276679730663</c:v>
                </c:pt>
                <c:pt idx="785">
                  <c:v>1.2075403999018408</c:v>
                </c:pt>
                <c:pt idx="786">
                  <c:v>1.0083986821914137</c:v>
                </c:pt>
                <c:pt idx="787">
                  <c:v>1.0243518480022806</c:v>
                </c:pt>
                <c:pt idx="788">
                  <c:v>1.1107890921915637</c:v>
                </c:pt>
                <c:pt idx="789">
                  <c:v>1.168229211944674</c:v>
                </c:pt>
                <c:pt idx="790">
                  <c:v>1.19742132696167</c:v>
                </c:pt>
                <c:pt idx="791">
                  <c:v>1.3068432502171849</c:v>
                </c:pt>
                <c:pt idx="792">
                  <c:v>1.3355446330817144</c:v>
                </c:pt>
                <c:pt idx="793">
                  <c:v>1.3464877554962174</c:v>
                </c:pt>
                <c:pt idx="794">
                  <c:v>1.346624037271718</c:v>
                </c:pt>
                <c:pt idx="795">
                  <c:v>1.3761078445094306</c:v>
                </c:pt>
                <c:pt idx="796">
                  <c:v>1.3025076849749295</c:v>
                </c:pt>
                <c:pt idx="797">
                  <c:v>1.317309998538635</c:v>
                </c:pt>
                <c:pt idx="798">
                  <c:v>1.3384839506024733</c:v>
                </c:pt>
                <c:pt idx="799">
                  <c:v>0.95979579905922097</c:v>
                </c:pt>
                <c:pt idx="800">
                  <c:v>0.9567870906111442</c:v>
                </c:pt>
                <c:pt idx="801">
                  <c:v>1.1929314396109532</c:v>
                </c:pt>
                <c:pt idx="802">
                  <c:v>1.174736974654031</c:v>
                </c:pt>
                <c:pt idx="803">
                  <c:v>1.3741091630544322</c:v>
                </c:pt>
                <c:pt idx="804">
                  <c:v>1.2589246709872799</c:v>
                </c:pt>
                <c:pt idx="805">
                  <c:v>1.2391528744784552</c:v>
                </c:pt>
                <c:pt idx="806">
                  <c:v>1.0085507447939013</c:v>
                </c:pt>
                <c:pt idx="807">
                  <c:v>0.97193228293165346</c:v>
                </c:pt>
                <c:pt idx="808">
                  <c:v>1.1574351247740366</c:v>
                </c:pt>
                <c:pt idx="809">
                  <c:v>1.1670055119555074</c:v>
                </c:pt>
                <c:pt idx="810">
                  <c:v>1.153588589530713</c:v>
                </c:pt>
                <c:pt idx="811">
                  <c:v>1.2248057596658202</c:v>
                </c:pt>
                <c:pt idx="812">
                  <c:v>1.1151929564104379</c:v>
                </c:pt>
                <c:pt idx="813">
                  <c:v>1.0721386389271059</c:v>
                </c:pt>
                <c:pt idx="814">
                  <c:v>0.98584917307082687</c:v>
                </c:pt>
                <c:pt idx="815">
                  <c:v>0.92416094974202834</c:v>
                </c:pt>
                <c:pt idx="816">
                  <c:v>0.95670538312988274</c:v>
                </c:pt>
                <c:pt idx="817">
                  <c:v>0.83818381491979344</c:v>
                </c:pt>
                <c:pt idx="818">
                  <c:v>0.63622994368045249</c:v>
                </c:pt>
                <c:pt idx="819">
                  <c:v>0.76332513788098799</c:v>
                </c:pt>
                <c:pt idx="820">
                  <c:v>0.75779902538322397</c:v>
                </c:pt>
                <c:pt idx="821">
                  <c:v>0.58254707577411746</c:v>
                </c:pt>
                <c:pt idx="822">
                  <c:v>0.58417532996059562</c:v>
                </c:pt>
                <c:pt idx="823">
                  <c:v>0.75454366830602637</c:v>
                </c:pt>
                <c:pt idx="824">
                  <c:v>0.78727655602266466</c:v>
                </c:pt>
                <c:pt idx="825">
                  <c:v>0.8621572895895907</c:v>
                </c:pt>
                <c:pt idx="826">
                  <c:v>0.79677926773313867</c:v>
                </c:pt>
                <c:pt idx="827">
                  <c:v>0.31267459507187401</c:v>
                </c:pt>
                <c:pt idx="828">
                  <c:v>0.29777951566780647</c:v>
                </c:pt>
                <c:pt idx="829">
                  <c:v>0.18532439748606688</c:v>
                </c:pt>
                <c:pt idx="830">
                  <c:v>8.0889109872273046E-2</c:v>
                </c:pt>
                <c:pt idx="831">
                  <c:v>0.32897681816807245</c:v>
                </c:pt>
                <c:pt idx="832">
                  <c:v>0.3377047121067539</c:v>
                </c:pt>
                <c:pt idx="833">
                  <c:v>0.35612365544277214</c:v>
                </c:pt>
                <c:pt idx="834">
                  <c:v>0.36091710193642546</c:v>
                </c:pt>
                <c:pt idx="835">
                  <c:v>0.50034600882557512</c:v>
                </c:pt>
                <c:pt idx="836">
                  <c:v>0.72681131494736761</c:v>
                </c:pt>
                <c:pt idx="837">
                  <c:v>0.72035115467702637</c:v>
                </c:pt>
                <c:pt idx="838">
                  <c:v>0.69717904834268318</c:v>
                </c:pt>
                <c:pt idx="839">
                  <c:v>0.54911361286099081</c:v>
                </c:pt>
                <c:pt idx="840">
                  <c:v>0.52265317272652545</c:v>
                </c:pt>
                <c:pt idx="841">
                  <c:v>0.5716491469809265</c:v>
                </c:pt>
                <c:pt idx="842">
                  <c:v>0.35931678431059821</c:v>
                </c:pt>
                <c:pt idx="843">
                  <c:v>0.36969782296960296</c:v>
                </c:pt>
                <c:pt idx="844">
                  <c:v>0.27962957595715487</c:v>
                </c:pt>
                <c:pt idx="845">
                  <c:v>0.33416989270209918</c:v>
                </c:pt>
                <c:pt idx="846">
                  <c:v>0.32265021411132244</c:v>
                </c:pt>
                <c:pt idx="847">
                  <c:v>0.29482158296231242</c:v>
                </c:pt>
                <c:pt idx="848">
                  <c:v>0.18278861154693848</c:v>
                </c:pt>
                <c:pt idx="849">
                  <c:v>0.18070009143459353</c:v>
                </c:pt>
                <c:pt idx="850">
                  <c:v>0.10942362860919264</c:v>
                </c:pt>
                <c:pt idx="851">
                  <c:v>0.11925863013367566</c:v>
                </c:pt>
                <c:pt idx="852">
                  <c:v>0.15267134310667507</c:v>
                </c:pt>
                <c:pt idx="853">
                  <c:v>0.12491483670080683</c:v>
                </c:pt>
                <c:pt idx="854">
                  <c:v>9.3373431575588528E-2</c:v>
                </c:pt>
                <c:pt idx="855">
                  <c:v>0.12587726794217324</c:v>
                </c:pt>
                <c:pt idx="856">
                  <c:v>0.10711501525279554</c:v>
                </c:pt>
                <c:pt idx="857">
                  <c:v>7.2490786434886711E-2</c:v>
                </c:pt>
                <c:pt idx="858">
                  <c:v>0.13487709249098978</c:v>
                </c:pt>
                <c:pt idx="859">
                  <c:v>8.940628724679045E-2</c:v>
                </c:pt>
                <c:pt idx="860">
                  <c:v>2.906847358571385E-2</c:v>
                </c:pt>
                <c:pt idx="861">
                  <c:v>-0.21992418510362322</c:v>
                </c:pt>
                <c:pt idx="862">
                  <c:v>-0.27022090584556679</c:v>
                </c:pt>
                <c:pt idx="863">
                  <c:v>-0.28457688814895188</c:v>
                </c:pt>
                <c:pt idx="864">
                  <c:v>-0.30200401339117722</c:v>
                </c:pt>
                <c:pt idx="865">
                  <c:v>-0.24223620590377859</c:v>
                </c:pt>
                <c:pt idx="866">
                  <c:v>-0.17186264313205357</c:v>
                </c:pt>
                <c:pt idx="867">
                  <c:v>-0.24179316160050923</c:v>
                </c:pt>
                <c:pt idx="868">
                  <c:v>-0.21950148183502161</c:v>
                </c:pt>
                <c:pt idx="869">
                  <c:v>-0.24273138329289901</c:v>
                </c:pt>
                <c:pt idx="870">
                  <c:v>-0.22951050150704921</c:v>
                </c:pt>
                <c:pt idx="871">
                  <c:v>-0.26027389577283622</c:v>
                </c:pt>
                <c:pt idx="872">
                  <c:v>-0.27176332190008978</c:v>
                </c:pt>
                <c:pt idx="873">
                  <c:v>-8.9667061809262094E-2</c:v>
                </c:pt>
                <c:pt idx="874">
                  <c:v>-8.122632685539366E-2</c:v>
                </c:pt>
                <c:pt idx="875">
                  <c:v>-6.6947868462005622E-2</c:v>
                </c:pt>
                <c:pt idx="876">
                  <c:v>1.9302336182472346E-2</c:v>
                </c:pt>
                <c:pt idx="877">
                  <c:v>4.2826181568547672E-2</c:v>
                </c:pt>
                <c:pt idx="878">
                  <c:v>5.6276656601778052E-2</c:v>
                </c:pt>
                <c:pt idx="879">
                  <c:v>-7.5836544154420094E-2</c:v>
                </c:pt>
                <c:pt idx="880">
                  <c:v>-4.4777087162425899E-2</c:v>
                </c:pt>
                <c:pt idx="881">
                  <c:v>-2.7678569880235093E-2</c:v>
                </c:pt>
                <c:pt idx="882">
                  <c:v>-7.1720861783419743E-3</c:v>
                </c:pt>
                <c:pt idx="883">
                  <c:v>-0.25482502537991225</c:v>
                </c:pt>
                <c:pt idx="884">
                  <c:v>-0.43903053612323328</c:v>
                </c:pt>
                <c:pt idx="885">
                  <c:v>-0.59748650998258379</c:v>
                </c:pt>
                <c:pt idx="886">
                  <c:v>-0.61596285171141019</c:v>
                </c:pt>
                <c:pt idx="887">
                  <c:v>-0.46058719166897355</c:v>
                </c:pt>
                <c:pt idx="888">
                  <c:v>-0.47144833680019815</c:v>
                </c:pt>
                <c:pt idx="889">
                  <c:v>-0.42249483996661952</c:v>
                </c:pt>
                <c:pt idx="890">
                  <c:v>-1.0341241860901933</c:v>
                </c:pt>
                <c:pt idx="891">
                  <c:v>-1.4817347139214427</c:v>
                </c:pt>
                <c:pt idx="892">
                  <c:v>-1.5672049925579219</c:v>
                </c:pt>
                <c:pt idx="893">
                  <c:v>-1.5834895547437222</c:v>
                </c:pt>
                <c:pt idx="894">
                  <c:v>-1.6956924669992379</c:v>
                </c:pt>
                <c:pt idx="895">
                  <c:v>-1.7146558922767841</c:v>
                </c:pt>
                <c:pt idx="896">
                  <c:v>-1.9524687475398679</c:v>
                </c:pt>
                <c:pt idx="897">
                  <c:v>-1.9565130267399866</c:v>
                </c:pt>
                <c:pt idx="898">
                  <c:v>-1.9229671711918306</c:v>
                </c:pt>
                <c:pt idx="899">
                  <c:v>-2.0414413201561898</c:v>
                </c:pt>
                <c:pt idx="900">
                  <c:v>-2.0122230434647612</c:v>
                </c:pt>
                <c:pt idx="901">
                  <c:v>-2.1017955349729807</c:v>
                </c:pt>
                <c:pt idx="902">
                  <c:v>-2.0777930419108332</c:v>
                </c:pt>
                <c:pt idx="903">
                  <c:v>-2.1024331527007831</c:v>
                </c:pt>
                <c:pt idx="904">
                  <c:v>-2.1860107884207611</c:v>
                </c:pt>
                <c:pt idx="905">
                  <c:v>-2.3232039096997421</c:v>
                </c:pt>
                <c:pt idx="906">
                  <c:v>-2.4409120398817845</c:v>
                </c:pt>
                <c:pt idx="907">
                  <c:v>-2.3137686530957353</c:v>
                </c:pt>
                <c:pt idx="908">
                  <c:v>-2.243726330139642</c:v>
                </c:pt>
                <c:pt idx="909">
                  <c:v>-2.2907800912175564</c:v>
                </c:pt>
                <c:pt idx="910">
                  <c:v>-2.1929892169331886</c:v>
                </c:pt>
                <c:pt idx="911">
                  <c:v>-2.4914410410424885</c:v>
                </c:pt>
                <c:pt idx="912">
                  <c:v>-2.5652927044722635</c:v>
                </c:pt>
                <c:pt idx="913">
                  <c:v>-2.5023619953451619</c:v>
                </c:pt>
                <c:pt idx="914">
                  <c:v>-2.5104933110543377</c:v>
                </c:pt>
                <c:pt idx="915">
                  <c:v>-2.5931370061027388</c:v>
                </c:pt>
                <c:pt idx="916">
                  <c:v>-2.5922396610368854</c:v>
                </c:pt>
                <c:pt idx="917">
                  <c:v>-2.6257667019147419</c:v>
                </c:pt>
                <c:pt idx="918">
                  <c:v>-2.7512660948941892</c:v>
                </c:pt>
                <c:pt idx="919">
                  <c:v>-2.7189083863398245</c:v>
                </c:pt>
                <c:pt idx="920">
                  <c:v>-2.7045954188896215</c:v>
                </c:pt>
                <c:pt idx="921">
                  <c:v>-2.6598885896934128</c:v>
                </c:pt>
                <c:pt idx="922">
                  <c:v>-2.6184948327717255</c:v>
                </c:pt>
                <c:pt idx="923">
                  <c:v>-2.6287969355198006</c:v>
                </c:pt>
                <c:pt idx="924">
                  <c:v>-2.6037977526356446</c:v>
                </c:pt>
                <c:pt idx="925">
                  <c:v>-2.5579671537254765</c:v>
                </c:pt>
                <c:pt idx="926">
                  <c:v>-2.5900556637658556</c:v>
                </c:pt>
                <c:pt idx="927">
                  <c:v>-2.4944340493466415</c:v>
                </c:pt>
                <c:pt idx="928">
                  <c:v>-2.5007979327196228</c:v>
                </c:pt>
                <c:pt idx="929">
                  <c:v>-2.5046288704376223</c:v>
                </c:pt>
                <c:pt idx="930">
                  <c:v>-2.6032003215464119</c:v>
                </c:pt>
                <c:pt idx="931">
                  <c:v>-2.6069472724195739</c:v>
                </c:pt>
                <c:pt idx="932">
                  <c:v>-2.5900449030816119</c:v>
                </c:pt>
                <c:pt idx="933">
                  <c:v>-2.8553251620205415</c:v>
                </c:pt>
                <c:pt idx="934">
                  <c:v>-3.0138003431249394</c:v>
                </c:pt>
                <c:pt idx="935">
                  <c:v>-3.0234739179587242</c:v>
                </c:pt>
                <c:pt idx="936">
                  <c:v>-3.2362416672464311</c:v>
                </c:pt>
                <c:pt idx="937">
                  <c:v>-3.2379851081075826</c:v>
                </c:pt>
                <c:pt idx="938">
                  <c:v>-3.2553367660350441</c:v>
                </c:pt>
                <c:pt idx="939">
                  <c:v>-3.3070820376903982</c:v>
                </c:pt>
                <c:pt idx="940">
                  <c:v>-3.4309525246037973</c:v>
                </c:pt>
                <c:pt idx="941">
                  <c:v>-3.3822915493736865</c:v>
                </c:pt>
                <c:pt idx="942">
                  <c:v>-3.5966471703036129</c:v>
                </c:pt>
                <c:pt idx="943">
                  <c:v>-3.7536467267702296</c:v>
                </c:pt>
                <c:pt idx="944">
                  <c:v>-3.3637728947648076</c:v>
                </c:pt>
                <c:pt idx="945">
                  <c:v>-3.4894948309326548</c:v>
                </c:pt>
                <c:pt idx="946">
                  <c:v>-3.8603014603498966</c:v>
                </c:pt>
                <c:pt idx="947">
                  <c:v>-3.9836495549831903</c:v>
                </c:pt>
                <c:pt idx="948">
                  <c:v>-4.0089353826561371</c:v>
                </c:pt>
                <c:pt idx="949">
                  <c:v>-4.0110649005063443</c:v>
                </c:pt>
                <c:pt idx="950">
                  <c:v>-3.5471861111167597</c:v>
                </c:pt>
                <c:pt idx="951">
                  <c:v>-3.8325883704500714</c:v>
                </c:pt>
                <c:pt idx="952">
                  <c:v>-3.7616939583077933</c:v>
                </c:pt>
                <c:pt idx="953">
                  <c:v>-4.3310532438611276</c:v>
                </c:pt>
                <c:pt idx="954">
                  <c:v>-4.5701671221044711</c:v>
                </c:pt>
                <c:pt idx="955">
                  <c:v>-9.7156255777594129</c:v>
                </c:pt>
                <c:pt idx="956">
                  <c:v>-9.7950409410899475</c:v>
                </c:pt>
                <c:pt idx="957">
                  <c:v>-9.37900490387484</c:v>
                </c:pt>
                <c:pt idx="958">
                  <c:v>-9.3342676598579004</c:v>
                </c:pt>
                <c:pt idx="959">
                  <c:v>-9.7274767198837235</c:v>
                </c:pt>
                <c:pt idx="960">
                  <c:v>-9.7187919598960413</c:v>
                </c:pt>
                <c:pt idx="961">
                  <c:v>-9.9532418403731082</c:v>
                </c:pt>
                <c:pt idx="962">
                  <c:v>-9.7527735514848253</c:v>
                </c:pt>
                <c:pt idx="963">
                  <c:v>-9.6085544063595432</c:v>
                </c:pt>
                <c:pt idx="964">
                  <c:v>-9.560977092689205</c:v>
                </c:pt>
                <c:pt idx="965">
                  <c:v>-9.5798341906809998</c:v>
                </c:pt>
                <c:pt idx="966">
                  <c:v>-9.4175048905230518</c:v>
                </c:pt>
                <c:pt idx="967">
                  <c:v>-9.5943672319981133</c:v>
                </c:pt>
                <c:pt idx="968">
                  <c:v>-9.6279657295125975</c:v>
                </c:pt>
                <c:pt idx="969">
                  <c:v>-9.5968118876507198</c:v>
                </c:pt>
                <c:pt idx="970">
                  <c:v>-9.6067081478734053</c:v>
                </c:pt>
                <c:pt idx="971">
                  <c:v>-9.4287305358638633</c:v>
                </c:pt>
                <c:pt idx="972">
                  <c:v>-9.4254447404702102</c:v>
                </c:pt>
                <c:pt idx="973">
                  <c:v>-9.4221786549403497</c:v>
                </c:pt>
                <c:pt idx="974">
                  <c:v>-9.6019274052564523</c:v>
                </c:pt>
                <c:pt idx="975">
                  <c:v>-9.60245704688068</c:v>
                </c:pt>
                <c:pt idx="976">
                  <c:v>-9.5884625907874632</c:v>
                </c:pt>
                <c:pt idx="977">
                  <c:v>-9.515903716207772</c:v>
                </c:pt>
                <c:pt idx="978">
                  <c:v>-9.6850825380179053</c:v>
                </c:pt>
                <c:pt idx="979">
                  <c:v>-9.7885345417432053</c:v>
                </c:pt>
                <c:pt idx="980">
                  <c:v>-9.8581722841195063</c:v>
                </c:pt>
                <c:pt idx="981">
                  <c:v>-9.9324428899350359</c:v>
                </c:pt>
                <c:pt idx="982">
                  <c:v>-9.9299961868075322</c:v>
                </c:pt>
                <c:pt idx="983">
                  <c:v>-9.9015959190857625</c:v>
                </c:pt>
                <c:pt idx="984">
                  <c:v>-9.9183200898186694</c:v>
                </c:pt>
                <c:pt idx="985">
                  <c:v>-9.9291163664236048</c:v>
                </c:pt>
                <c:pt idx="986">
                  <c:v>-9.9484511078702624</c:v>
                </c:pt>
                <c:pt idx="987">
                  <c:v>-9.9897186424504429</c:v>
                </c:pt>
                <c:pt idx="988">
                  <c:v>-10.074621716054249</c:v>
                </c:pt>
                <c:pt idx="989">
                  <c:v>-10.043207273812026</c:v>
                </c:pt>
                <c:pt idx="990">
                  <c:v>-9.9962909907964743</c:v>
                </c:pt>
                <c:pt idx="991">
                  <c:v>-10.046085022186707</c:v>
                </c:pt>
                <c:pt idx="992">
                  <c:v>-10.098408869133429</c:v>
                </c:pt>
                <c:pt idx="993">
                  <c:v>-10.061165452423742</c:v>
                </c:pt>
                <c:pt idx="994">
                  <c:v>-9.9779755436210262</c:v>
                </c:pt>
                <c:pt idx="995">
                  <c:v>-9.9608774502770334</c:v>
                </c:pt>
                <c:pt idx="996">
                  <c:v>-10.111417307400277</c:v>
                </c:pt>
                <c:pt idx="997">
                  <c:v>-10.38001617174138</c:v>
                </c:pt>
                <c:pt idx="998">
                  <c:v>-10.446491426473109</c:v>
                </c:pt>
                <c:pt idx="999">
                  <c:v>-10.479670187040902</c:v>
                </c:pt>
                <c:pt idx="1000">
                  <c:v>-10.486690828351165</c:v>
                </c:pt>
                <c:pt idx="1001">
                  <c:v>-10.513814822124917</c:v>
                </c:pt>
                <c:pt idx="1002">
                  <c:v>-10.460956249582498</c:v>
                </c:pt>
                <c:pt idx="1003">
                  <c:v>-10.400315477721389</c:v>
                </c:pt>
                <c:pt idx="1004">
                  <c:v>-10.522545130624389</c:v>
                </c:pt>
                <c:pt idx="1005">
                  <c:v>-10.554770666850317</c:v>
                </c:pt>
                <c:pt idx="1006">
                  <c:v>-10.367371095292627</c:v>
                </c:pt>
                <c:pt idx="1007">
                  <c:v>-10.323214340178088</c:v>
                </c:pt>
                <c:pt idx="1008">
                  <c:v>-10.235654976801023</c:v>
                </c:pt>
                <c:pt idx="1009">
                  <c:v>-10.221824722423428</c:v>
                </c:pt>
                <c:pt idx="1010">
                  <c:v>-10.277789490554106</c:v>
                </c:pt>
                <c:pt idx="1011">
                  <c:v>-10.001090123593844</c:v>
                </c:pt>
                <c:pt idx="1012">
                  <c:v>-9.9681896853086762</c:v>
                </c:pt>
                <c:pt idx="1013">
                  <c:v>-9.5766701411851987</c:v>
                </c:pt>
                <c:pt idx="1014">
                  <c:v>-9.3514768511015287</c:v>
                </c:pt>
                <c:pt idx="1015">
                  <c:v>-5.090668898768949</c:v>
                </c:pt>
                <c:pt idx="1016">
                  <c:v>-5.0034882432734742</c:v>
                </c:pt>
                <c:pt idx="1017">
                  <c:v>-5.419314674375836</c:v>
                </c:pt>
                <c:pt idx="1018">
                  <c:v>-5.5384450229410467</c:v>
                </c:pt>
                <c:pt idx="1019">
                  <c:v>-4.6635120360919515</c:v>
                </c:pt>
                <c:pt idx="1020">
                  <c:v>-4.6812003597084093</c:v>
                </c:pt>
                <c:pt idx="1021">
                  <c:v>-4.4190378574065301</c:v>
                </c:pt>
                <c:pt idx="1022">
                  <c:v>-4.6394593569862446</c:v>
                </c:pt>
                <c:pt idx="1023">
                  <c:v>-4.7516869942216875</c:v>
                </c:pt>
                <c:pt idx="1024">
                  <c:v>-4.8099422514689847</c:v>
                </c:pt>
                <c:pt idx="1025">
                  <c:v>-4.8109524359752607</c:v>
                </c:pt>
                <c:pt idx="1026">
                  <c:v>-4.6786583813881428</c:v>
                </c:pt>
                <c:pt idx="1027">
                  <c:v>-4.6869229317604457</c:v>
                </c:pt>
                <c:pt idx="1028">
                  <c:v>-4.6426609652455708</c:v>
                </c:pt>
                <c:pt idx="1029">
                  <c:v>-4.6088842958569796</c:v>
                </c:pt>
                <c:pt idx="1030">
                  <c:v>-4.6494216204781527</c:v>
                </c:pt>
                <c:pt idx="1031">
                  <c:v>-4.7612513201304081</c:v>
                </c:pt>
                <c:pt idx="1032">
                  <c:v>-4.8173370439738292</c:v>
                </c:pt>
                <c:pt idx="1033">
                  <c:v>-4.901973772232024</c:v>
                </c:pt>
                <c:pt idx="1034">
                  <c:v>-4.4437877985514325</c:v>
                </c:pt>
                <c:pt idx="1035">
                  <c:v>-4.3726937451348453</c:v>
                </c:pt>
                <c:pt idx="1036">
                  <c:v>-4.3526942738490089</c:v>
                </c:pt>
                <c:pt idx="1037">
                  <c:v>-4.7739868714413767</c:v>
                </c:pt>
                <c:pt idx="1038">
                  <c:v>-4.5900713736342578</c:v>
                </c:pt>
                <c:pt idx="1039">
                  <c:v>-4.5178862214744981</c:v>
                </c:pt>
                <c:pt idx="1040">
                  <c:v>-4.4407539680533263</c:v>
                </c:pt>
                <c:pt idx="1041">
                  <c:v>-4.4351367567771609</c:v>
                </c:pt>
                <c:pt idx="1042">
                  <c:v>-4.4542966940859046</c:v>
                </c:pt>
                <c:pt idx="1043">
                  <c:v>-4.4791060334215009</c:v>
                </c:pt>
                <c:pt idx="1044">
                  <c:v>-4.4718168773951792</c:v>
                </c:pt>
                <c:pt idx="1045">
                  <c:v>-4.5318826647228558</c:v>
                </c:pt>
                <c:pt idx="1046">
                  <c:v>-4.4769783472589921</c:v>
                </c:pt>
                <c:pt idx="1047">
                  <c:v>-4.3918476950998517</c:v>
                </c:pt>
                <c:pt idx="1048">
                  <c:v>-4.1555430097945543</c:v>
                </c:pt>
                <c:pt idx="1049">
                  <c:v>-4.2357269140405744</c:v>
                </c:pt>
                <c:pt idx="1050">
                  <c:v>-4.2954482031963837</c:v>
                </c:pt>
                <c:pt idx="1051">
                  <c:v>-3.8161512910133117</c:v>
                </c:pt>
                <c:pt idx="1052">
                  <c:v>-3.8959658708853482</c:v>
                </c:pt>
                <c:pt idx="1053">
                  <c:v>-3.8410545934059348</c:v>
                </c:pt>
                <c:pt idx="1054">
                  <c:v>-3.8359533487479474</c:v>
                </c:pt>
                <c:pt idx="1055">
                  <c:v>-3.8377935177374063</c:v>
                </c:pt>
                <c:pt idx="1056">
                  <c:v>-3.626465390891989</c:v>
                </c:pt>
                <c:pt idx="1057">
                  <c:v>-3.2989323671445829</c:v>
                </c:pt>
                <c:pt idx="1058">
                  <c:v>-3.1989763421703565</c:v>
                </c:pt>
                <c:pt idx="1059">
                  <c:v>-3.2200922936528071</c:v>
                </c:pt>
                <c:pt idx="1060">
                  <c:v>-3.1617155135746868</c:v>
                </c:pt>
                <c:pt idx="1061">
                  <c:v>-3.4806282527354653</c:v>
                </c:pt>
                <c:pt idx="1062">
                  <c:v>-3.453426160261297</c:v>
                </c:pt>
                <c:pt idx="1063">
                  <c:v>-3.3862128984413822</c:v>
                </c:pt>
                <c:pt idx="1064">
                  <c:v>-3.2972493421366904</c:v>
                </c:pt>
                <c:pt idx="1065">
                  <c:v>-3.3109560462451975</c:v>
                </c:pt>
                <c:pt idx="1066">
                  <c:v>-3.4176096241785245</c:v>
                </c:pt>
                <c:pt idx="1067">
                  <c:v>-3.44407764499933</c:v>
                </c:pt>
                <c:pt idx="1068">
                  <c:v>-3.422737323137401</c:v>
                </c:pt>
                <c:pt idx="1069">
                  <c:v>-3.4027077755389628</c:v>
                </c:pt>
                <c:pt idx="1070">
                  <c:v>-3.3406763786066023</c:v>
                </c:pt>
                <c:pt idx="1071">
                  <c:v>-3.2480206629553532</c:v>
                </c:pt>
                <c:pt idx="1072">
                  <c:v>-3.2834680655589561</c:v>
                </c:pt>
                <c:pt idx="1073">
                  <c:v>-3.2575201840431554</c:v>
                </c:pt>
                <c:pt idx="1074">
                  <c:v>-3.243644340373514</c:v>
                </c:pt>
                <c:pt idx="1075">
                  <c:v>-2.9784788575749706</c:v>
                </c:pt>
                <c:pt idx="1076">
                  <c:v>-2.9856340348992179</c:v>
                </c:pt>
                <c:pt idx="1077">
                  <c:v>-3.0197591161571253</c:v>
                </c:pt>
                <c:pt idx="1078">
                  <c:v>-3.0343891206863565</c:v>
                </c:pt>
                <c:pt idx="1079">
                  <c:v>-3.007407294726447</c:v>
                </c:pt>
                <c:pt idx="1080">
                  <c:v>-2.9526307117713064</c:v>
                </c:pt>
                <c:pt idx="1081">
                  <c:v>-3.0389731055033979</c:v>
                </c:pt>
                <c:pt idx="1082">
                  <c:v>-2.909472109864661</c:v>
                </c:pt>
                <c:pt idx="1083">
                  <c:v>-2.9456726289182775</c:v>
                </c:pt>
                <c:pt idx="1084">
                  <c:v>-2.9745047789681403</c:v>
                </c:pt>
                <c:pt idx="1085">
                  <c:v>-2.9588014705225376</c:v>
                </c:pt>
                <c:pt idx="1086">
                  <c:v>-3.07067011071728</c:v>
                </c:pt>
                <c:pt idx="1087">
                  <c:v>-3.2207739396375752</c:v>
                </c:pt>
                <c:pt idx="1088">
                  <c:v>-3.3407364695597352</c:v>
                </c:pt>
                <c:pt idx="1089">
                  <c:v>-3.452654827784353</c:v>
                </c:pt>
                <c:pt idx="1090">
                  <c:v>-3.4379273198382827</c:v>
                </c:pt>
                <c:pt idx="1091">
                  <c:v>-3.4183475890971482</c:v>
                </c:pt>
                <c:pt idx="1092">
                  <c:v>-3.3820803592547048</c:v>
                </c:pt>
                <c:pt idx="1093">
                  <c:v>-3.2297659193309096</c:v>
                </c:pt>
                <c:pt idx="1094">
                  <c:v>-3.2118755018395366</c:v>
                </c:pt>
                <c:pt idx="1095">
                  <c:v>-3.4679145719945486</c:v>
                </c:pt>
                <c:pt idx="1096">
                  <c:v>-3.7668640068956289</c:v>
                </c:pt>
                <c:pt idx="1097">
                  <c:v>-2.9015400367316619</c:v>
                </c:pt>
                <c:pt idx="1098">
                  <c:v>-2.853021723621882</c:v>
                </c:pt>
                <c:pt idx="1099">
                  <c:v>-2.8260526795580776</c:v>
                </c:pt>
                <c:pt idx="1100">
                  <c:v>-2.7055340745499561</c:v>
                </c:pt>
                <c:pt idx="1101">
                  <c:v>-2.7278677939934992</c:v>
                </c:pt>
                <c:pt idx="1102">
                  <c:v>-2.6543233355433182</c:v>
                </c:pt>
                <c:pt idx="1103">
                  <c:v>-2.976964076423283</c:v>
                </c:pt>
                <c:pt idx="1104">
                  <c:v>-2.9734895314463299</c:v>
                </c:pt>
                <c:pt idx="1105">
                  <c:v>-2.946970196775736</c:v>
                </c:pt>
                <c:pt idx="1106">
                  <c:v>-3.0783190341670541</c:v>
                </c:pt>
                <c:pt idx="1107">
                  <c:v>-3.0728395711717953</c:v>
                </c:pt>
                <c:pt idx="1108">
                  <c:v>-3.1246543265264548</c:v>
                </c:pt>
                <c:pt idx="1109">
                  <c:v>-3.0759932465218243</c:v>
                </c:pt>
                <c:pt idx="1110">
                  <c:v>-2.9982775497088001</c:v>
                </c:pt>
                <c:pt idx="1111">
                  <c:v>-3.0166793906534179</c:v>
                </c:pt>
                <c:pt idx="1112">
                  <c:v>-3.0115003376099461</c:v>
                </c:pt>
                <c:pt idx="1113">
                  <c:v>-3.0218468857984431</c:v>
                </c:pt>
                <c:pt idx="1114">
                  <c:v>-2.9677405025726937</c:v>
                </c:pt>
                <c:pt idx="1115">
                  <c:v>-2.9822281077372228</c:v>
                </c:pt>
                <c:pt idx="1116">
                  <c:v>-3.1265606838897426</c:v>
                </c:pt>
                <c:pt idx="1117">
                  <c:v>-3.0978445387504134</c:v>
                </c:pt>
                <c:pt idx="1118">
                  <c:v>-3.1162215733764627</c:v>
                </c:pt>
                <c:pt idx="1119">
                  <c:v>-3.0359074300137152</c:v>
                </c:pt>
                <c:pt idx="1120">
                  <c:v>-3.1607258383889949</c:v>
                </c:pt>
                <c:pt idx="1121">
                  <c:v>-2.8585420820559704</c:v>
                </c:pt>
                <c:pt idx="1122">
                  <c:v>-2.782157379517733</c:v>
                </c:pt>
                <c:pt idx="1123">
                  <c:v>-2.8094866252639545</c:v>
                </c:pt>
                <c:pt idx="1124">
                  <c:v>-2.7896816910454674</c:v>
                </c:pt>
                <c:pt idx="1125">
                  <c:v>-2.7413171640660039</c:v>
                </c:pt>
                <c:pt idx="1126">
                  <c:v>-2.6869216194998047</c:v>
                </c:pt>
                <c:pt idx="1127">
                  <c:v>-2.622073984500406</c:v>
                </c:pt>
                <c:pt idx="1128">
                  <c:v>-2.6724166620591099</c:v>
                </c:pt>
                <c:pt idx="1129">
                  <c:v>-2.7305869087714649</c:v>
                </c:pt>
                <c:pt idx="1130">
                  <c:v>-3.3381895713729821</c:v>
                </c:pt>
                <c:pt idx="1131">
                  <c:v>-3.5282877848269196</c:v>
                </c:pt>
                <c:pt idx="1132">
                  <c:v>-3.5241949430016462</c:v>
                </c:pt>
                <c:pt idx="1133">
                  <c:v>-3.6182826294157784</c:v>
                </c:pt>
                <c:pt idx="1134">
                  <c:v>-3.6780909492391571</c:v>
                </c:pt>
                <c:pt idx="1135">
                  <c:v>-3.63118370016563</c:v>
                </c:pt>
                <c:pt idx="1136">
                  <c:v>-3.5027507032694944</c:v>
                </c:pt>
                <c:pt idx="1137">
                  <c:v>-3.6809711052286391</c:v>
                </c:pt>
                <c:pt idx="1138">
                  <c:v>-3.6706470535251778</c:v>
                </c:pt>
                <c:pt idx="1139">
                  <c:v>-3.7336535135503168</c:v>
                </c:pt>
                <c:pt idx="1140">
                  <c:v>-3.6241405921529743</c:v>
                </c:pt>
                <c:pt idx="1141">
                  <c:v>-3.6502750105342736</c:v>
                </c:pt>
                <c:pt idx="1142">
                  <c:v>-3.6429574572564434</c:v>
                </c:pt>
                <c:pt idx="1143">
                  <c:v>-3.620617089975342</c:v>
                </c:pt>
                <c:pt idx="1144">
                  <c:v>-3.6730010375239877</c:v>
                </c:pt>
                <c:pt idx="1145">
                  <c:v>-3.6616877822221614</c:v>
                </c:pt>
                <c:pt idx="1146">
                  <c:v>-3.6794433567843039</c:v>
                </c:pt>
                <c:pt idx="1147">
                  <c:v>-3.5458173847697783</c:v>
                </c:pt>
                <c:pt idx="1148">
                  <c:v>-3.4869155872898574</c:v>
                </c:pt>
                <c:pt idx="1149">
                  <c:v>-3.4486016309089069</c:v>
                </c:pt>
                <c:pt idx="1150">
                  <c:v>-3.4642877851659817</c:v>
                </c:pt>
                <c:pt idx="1151">
                  <c:v>-3.34166896073069</c:v>
                </c:pt>
                <c:pt idx="1152">
                  <c:v>-3.3115952504214343</c:v>
                </c:pt>
                <c:pt idx="1153">
                  <c:v>-3.4446312032407027</c:v>
                </c:pt>
                <c:pt idx="1154">
                  <c:v>-3.4315582170044379</c:v>
                </c:pt>
                <c:pt idx="1155">
                  <c:v>-3.3409128647387458</c:v>
                </c:pt>
                <c:pt idx="1156">
                  <c:v>-2.9038273706537501</c:v>
                </c:pt>
                <c:pt idx="1157">
                  <c:v>-3.3038446352514796</c:v>
                </c:pt>
                <c:pt idx="1158">
                  <c:v>-3.5081070305587159</c:v>
                </c:pt>
                <c:pt idx="1159">
                  <c:v>-3.5398125745328746</c:v>
                </c:pt>
                <c:pt idx="1160">
                  <c:v>-3.1432162446683591</c:v>
                </c:pt>
                <c:pt idx="1161">
                  <c:v>-2.8886849354154491</c:v>
                </c:pt>
                <c:pt idx="1162">
                  <c:v>-3.2458031987896137</c:v>
                </c:pt>
                <c:pt idx="1163">
                  <c:v>-2.7818289567309211</c:v>
                </c:pt>
                <c:pt idx="1164">
                  <c:v>-2.8731316130473763</c:v>
                </c:pt>
                <c:pt idx="1165">
                  <c:v>-2.8797399225455309</c:v>
                </c:pt>
                <c:pt idx="1166">
                  <c:v>-2.7298587640908409</c:v>
                </c:pt>
                <c:pt idx="1167">
                  <c:v>-2.7224830518017553</c:v>
                </c:pt>
                <c:pt idx="1168">
                  <c:v>-2.7084716695279178</c:v>
                </c:pt>
                <c:pt idx="1169">
                  <c:v>-2.791464523832393</c:v>
                </c:pt>
                <c:pt idx="1170">
                  <c:v>-2.7499000866034033</c:v>
                </c:pt>
                <c:pt idx="1171">
                  <c:v>-2.6890752721378739</c:v>
                </c:pt>
                <c:pt idx="1172">
                  <c:v>-2.4987229216655056</c:v>
                </c:pt>
                <c:pt idx="1173">
                  <c:v>-2.2147297636098697</c:v>
                </c:pt>
                <c:pt idx="1174">
                  <c:v>-1.3454575311171917</c:v>
                </c:pt>
                <c:pt idx="1175">
                  <c:v>-1.4694241053085118</c:v>
                </c:pt>
                <c:pt idx="1176">
                  <c:v>-1.3664793661291585</c:v>
                </c:pt>
                <c:pt idx="1177">
                  <c:v>-1.3649878594038629</c:v>
                </c:pt>
                <c:pt idx="1178">
                  <c:v>-1.3668878392381485</c:v>
                </c:pt>
                <c:pt idx="1179">
                  <c:v>-1.309458062472904</c:v>
                </c:pt>
                <c:pt idx="1180">
                  <c:v>-1.3062664648188531</c:v>
                </c:pt>
                <c:pt idx="1181">
                  <c:v>-1.0682783682308294</c:v>
                </c:pt>
                <c:pt idx="1182">
                  <c:v>-1.0457867050123415</c:v>
                </c:pt>
                <c:pt idx="1183">
                  <c:v>-1.0528853583352482</c:v>
                </c:pt>
                <c:pt idx="1184">
                  <c:v>-1.0594520964443661</c:v>
                </c:pt>
                <c:pt idx="1185">
                  <c:v>-0.75357266531821121</c:v>
                </c:pt>
                <c:pt idx="1186">
                  <c:v>-0.89637513570123006</c:v>
                </c:pt>
                <c:pt idx="1187">
                  <c:v>-0.67649523983867033</c:v>
                </c:pt>
                <c:pt idx="1188">
                  <c:v>-0.52976927660039752</c:v>
                </c:pt>
                <c:pt idx="1189">
                  <c:v>-0.53658259709583045</c:v>
                </c:pt>
                <c:pt idx="1190">
                  <c:v>8.6659845711087313E-2</c:v>
                </c:pt>
                <c:pt idx="1191">
                  <c:v>0.31537022183080743</c:v>
                </c:pt>
                <c:pt idx="1192">
                  <c:v>0.2895353607729273</c:v>
                </c:pt>
                <c:pt idx="1193">
                  <c:v>0.29457645775113062</c:v>
                </c:pt>
                <c:pt idx="1194">
                  <c:v>0.36458702177121494</c:v>
                </c:pt>
                <c:pt idx="1195">
                  <c:v>0.43925361579987832</c:v>
                </c:pt>
                <c:pt idx="1196">
                  <c:v>0.20751530117306405</c:v>
                </c:pt>
                <c:pt idx="1197">
                  <c:v>0.49302869682623374</c:v>
                </c:pt>
                <c:pt idx="1198">
                  <c:v>0.32591052327093362</c:v>
                </c:pt>
                <c:pt idx="1199">
                  <c:v>0.36257581317011012</c:v>
                </c:pt>
                <c:pt idx="1200">
                  <c:v>0.68457242598798929</c:v>
                </c:pt>
                <c:pt idx="1201">
                  <c:v>0.75084942970359558</c:v>
                </c:pt>
                <c:pt idx="1202">
                  <c:v>0.87365175969857378</c:v>
                </c:pt>
                <c:pt idx="1203">
                  <c:v>0.82389508390536548</c:v>
                </c:pt>
                <c:pt idx="1204">
                  <c:v>0.96560560072619372</c:v>
                </c:pt>
                <c:pt idx="1205">
                  <c:v>0.98983193605268471</c:v>
                </c:pt>
                <c:pt idx="1206">
                  <c:v>1.0326637812083899</c:v>
                </c:pt>
                <c:pt idx="1207">
                  <c:v>1.0456339492526974</c:v>
                </c:pt>
                <c:pt idx="1208">
                  <c:v>1.1052006523095432</c:v>
                </c:pt>
                <c:pt idx="1209">
                  <c:v>1.011044770537803</c:v>
                </c:pt>
                <c:pt idx="1210">
                  <c:v>1.1850048065859791</c:v>
                </c:pt>
                <c:pt idx="1211">
                  <c:v>0.98074756275902952</c:v>
                </c:pt>
                <c:pt idx="1212">
                  <c:v>0.91764193477322509</c:v>
                </c:pt>
                <c:pt idx="1213">
                  <c:v>0.90695712090869407</c:v>
                </c:pt>
                <c:pt idx="1214">
                  <c:v>0.90797077759609546</c:v>
                </c:pt>
                <c:pt idx="1215">
                  <c:v>1.0314419040955176</c:v>
                </c:pt>
                <c:pt idx="1216">
                  <c:v>1.0230641612463565</c:v>
                </c:pt>
                <c:pt idx="1217">
                  <c:v>1.2559269640940256</c:v>
                </c:pt>
                <c:pt idx="1218">
                  <c:v>1.3850162818309364</c:v>
                </c:pt>
                <c:pt idx="1219">
                  <c:v>1.4533563896249517</c:v>
                </c:pt>
                <c:pt idx="1220">
                  <c:v>1.2136902082572703</c:v>
                </c:pt>
                <c:pt idx="1221">
                  <c:v>1.0848681692956941</c:v>
                </c:pt>
                <c:pt idx="1222">
                  <c:v>1.2289688346735161</c:v>
                </c:pt>
                <c:pt idx="1223">
                  <c:v>1.1485276536240736</c:v>
                </c:pt>
                <c:pt idx="1224">
                  <c:v>1.2336177646137647</c:v>
                </c:pt>
                <c:pt idx="1225">
                  <c:v>1.2423337708007272</c:v>
                </c:pt>
                <c:pt idx="1226">
                  <c:v>1.2190722656519242</c:v>
                </c:pt>
                <c:pt idx="1227">
                  <c:v>1.2288728820946586</c:v>
                </c:pt>
                <c:pt idx="1228">
                  <c:v>1.2278692979278722</c:v>
                </c:pt>
                <c:pt idx="1229">
                  <c:v>1.4288266621273749</c:v>
                </c:pt>
                <c:pt idx="1230">
                  <c:v>1.4304404339960026</c:v>
                </c:pt>
                <c:pt idx="1231">
                  <c:v>1.3431458788230737</c:v>
                </c:pt>
                <c:pt idx="1232">
                  <c:v>1.2565682437532699</c:v>
                </c:pt>
                <c:pt idx="1233">
                  <c:v>1.0451123359460164</c:v>
                </c:pt>
                <c:pt idx="1234">
                  <c:v>0.53542632143065982</c:v>
                </c:pt>
                <c:pt idx="1235">
                  <c:v>0.51484559520999507</c:v>
                </c:pt>
                <c:pt idx="1236">
                  <c:v>0.71339375376000547</c:v>
                </c:pt>
                <c:pt idx="1237">
                  <c:v>0.6548253013382771</c:v>
                </c:pt>
                <c:pt idx="1238">
                  <c:v>0.70682030155164444</c:v>
                </c:pt>
                <c:pt idx="1239">
                  <c:v>0.66764072700192245</c:v>
                </c:pt>
                <c:pt idx="1240">
                  <c:v>0.45179264404223984</c:v>
                </c:pt>
                <c:pt idx="1241">
                  <c:v>0.30208189971124844</c:v>
                </c:pt>
                <c:pt idx="1242">
                  <c:v>0.19036606624341645</c:v>
                </c:pt>
                <c:pt idx="1243">
                  <c:v>0.19005646136426024</c:v>
                </c:pt>
                <c:pt idx="1244">
                  <c:v>-9.4142640361699614E-3</c:v>
                </c:pt>
                <c:pt idx="1245">
                  <c:v>-0.25455688035944946</c:v>
                </c:pt>
                <c:pt idx="1246">
                  <c:v>-0.20824009011219391</c:v>
                </c:pt>
                <c:pt idx="1247">
                  <c:v>-0.29179845539689664</c:v>
                </c:pt>
                <c:pt idx="1248">
                  <c:v>-0.4115168684431042</c:v>
                </c:pt>
                <c:pt idx="1249">
                  <c:v>-0.61375228577078278</c:v>
                </c:pt>
                <c:pt idx="1250">
                  <c:v>-0.66310176719410474</c:v>
                </c:pt>
                <c:pt idx="1251">
                  <c:v>-0.69008893202071042</c:v>
                </c:pt>
                <c:pt idx="1252">
                  <c:v>-0.69241860707953962</c:v>
                </c:pt>
                <c:pt idx="1253">
                  <c:v>-0.72315143692346651</c:v>
                </c:pt>
                <c:pt idx="1254">
                  <c:v>-0.77898529794044047</c:v>
                </c:pt>
                <c:pt idx="1255">
                  <c:v>-1.1346820319377227</c:v>
                </c:pt>
                <c:pt idx="1256">
                  <c:v>-1.2702842008458086</c:v>
                </c:pt>
                <c:pt idx="1257">
                  <c:v>-1.237310544968373</c:v>
                </c:pt>
                <c:pt idx="1258">
                  <c:v>-1.0662702752192055</c:v>
                </c:pt>
                <c:pt idx="1259">
                  <c:v>-1.0197772440618507</c:v>
                </c:pt>
                <c:pt idx="1260">
                  <c:v>-1.5039772424842472</c:v>
                </c:pt>
                <c:pt idx="1261">
                  <c:v>-1.5973825613593007</c:v>
                </c:pt>
                <c:pt idx="1262">
                  <c:v>-1.6890207639342014</c:v>
                </c:pt>
                <c:pt idx="1263">
                  <c:v>-2.0759146483870312</c:v>
                </c:pt>
                <c:pt idx="1264">
                  <c:v>-2.517615468220316</c:v>
                </c:pt>
                <c:pt idx="1265">
                  <c:v>-2.5339155640757531</c:v>
                </c:pt>
                <c:pt idx="1266">
                  <c:v>-2.6264436667534086</c:v>
                </c:pt>
                <c:pt idx="1267">
                  <c:v>-2.6365846906331649</c:v>
                </c:pt>
                <c:pt idx="1268">
                  <c:v>-2.8034961434164005</c:v>
                </c:pt>
                <c:pt idx="1269">
                  <c:v>-2.6586702044769153</c:v>
                </c:pt>
                <c:pt idx="1270">
                  <c:v>-2.9062471802970116</c:v>
                </c:pt>
                <c:pt idx="1271">
                  <c:v>-2.5923375585610002</c:v>
                </c:pt>
                <c:pt idx="1272">
                  <c:v>-2.3175274265654773</c:v>
                </c:pt>
                <c:pt idx="1273">
                  <c:v>-2.0304123037728661</c:v>
                </c:pt>
                <c:pt idx="1274">
                  <c:v>-1.8767417274608706</c:v>
                </c:pt>
                <c:pt idx="1275">
                  <c:v>-1.3041124981933494</c:v>
                </c:pt>
                <c:pt idx="1276">
                  <c:v>-0.10403756919324936</c:v>
                </c:pt>
                <c:pt idx="1277">
                  <c:v>-0.29038376095352203</c:v>
                </c:pt>
                <c:pt idx="1278">
                  <c:v>-1.2067879680250859</c:v>
                </c:pt>
                <c:pt idx="1279">
                  <c:v>-0.93378113005910812</c:v>
                </c:pt>
                <c:pt idx="1280">
                  <c:v>-1.3526100173120892</c:v>
                </c:pt>
                <c:pt idx="1281">
                  <c:v>-1.3952835140507991</c:v>
                </c:pt>
                <c:pt idx="1282">
                  <c:v>-1.4140006211236067</c:v>
                </c:pt>
                <c:pt idx="1283">
                  <c:v>-1.3969227241187099</c:v>
                </c:pt>
                <c:pt idx="1284">
                  <c:v>-0.89729494653359443</c:v>
                </c:pt>
                <c:pt idx="1285">
                  <c:v>-0.88281487629277566</c:v>
                </c:pt>
                <c:pt idx="1286">
                  <c:v>-1.0558477599153904</c:v>
                </c:pt>
                <c:pt idx="1287">
                  <c:v>-1.0603738900691884</c:v>
                </c:pt>
                <c:pt idx="1288">
                  <c:v>-0.67504222145842174</c:v>
                </c:pt>
                <c:pt idx="1289">
                  <c:v>-0.655047508689105</c:v>
                </c:pt>
                <c:pt idx="1290">
                  <c:v>-0.71838345306112772</c:v>
                </c:pt>
                <c:pt idx="1291">
                  <c:v>-0.62254505646723302</c:v>
                </c:pt>
                <c:pt idx="1292">
                  <c:v>-0.62695027557966299</c:v>
                </c:pt>
                <c:pt idx="1293">
                  <c:v>-0.71663253053200204</c:v>
                </c:pt>
                <c:pt idx="1294">
                  <c:v>-0.81680334492831297</c:v>
                </c:pt>
                <c:pt idx="1295">
                  <c:v>-0.91139440452613352</c:v>
                </c:pt>
                <c:pt idx="1296">
                  <c:v>-0.81155676321774117</c:v>
                </c:pt>
                <c:pt idx="1297">
                  <c:v>-0.87031357711307433</c:v>
                </c:pt>
                <c:pt idx="1298">
                  <c:v>-0.39921563049622466</c:v>
                </c:pt>
                <c:pt idx="1299">
                  <c:v>-0.44248531309913353</c:v>
                </c:pt>
                <c:pt idx="1300">
                  <c:v>-0.39235017749764678</c:v>
                </c:pt>
                <c:pt idx="1301">
                  <c:v>-0.90121713249059487</c:v>
                </c:pt>
                <c:pt idx="1302">
                  <c:v>-0.9498549218168062</c:v>
                </c:pt>
                <c:pt idx="1303">
                  <c:v>-0.50729682868393966</c:v>
                </c:pt>
                <c:pt idx="1304">
                  <c:v>-0.51142887424015515</c:v>
                </c:pt>
                <c:pt idx="1305">
                  <c:v>-0.37535883007270288</c:v>
                </c:pt>
                <c:pt idx="1306">
                  <c:v>-0.38189375779816848</c:v>
                </c:pt>
                <c:pt idx="1307">
                  <c:v>-0.11083516411648509</c:v>
                </c:pt>
                <c:pt idx="1308">
                  <c:v>3.9454138836347852E-2</c:v>
                </c:pt>
                <c:pt idx="1309">
                  <c:v>0.18066506329961762</c:v>
                </c:pt>
                <c:pt idx="1310">
                  <c:v>7.1047504096782843E-2</c:v>
                </c:pt>
                <c:pt idx="1311">
                  <c:v>5.2481217313599116E-2</c:v>
                </c:pt>
                <c:pt idx="1312">
                  <c:v>4.3155210929018972E-2</c:v>
                </c:pt>
                <c:pt idx="1313">
                  <c:v>4.0798741193998067E-2</c:v>
                </c:pt>
                <c:pt idx="1314">
                  <c:v>-7.151247779921821E-2</c:v>
                </c:pt>
                <c:pt idx="1315">
                  <c:v>0.18855487282305461</c:v>
                </c:pt>
                <c:pt idx="1316">
                  <c:v>0.4002783135251986</c:v>
                </c:pt>
                <c:pt idx="1317">
                  <c:v>0.55296218809499087</c:v>
                </c:pt>
                <c:pt idx="1318">
                  <c:v>0.83187084985105186</c:v>
                </c:pt>
                <c:pt idx="1319">
                  <c:v>0.8488187270456915</c:v>
                </c:pt>
                <c:pt idx="1320">
                  <c:v>0.81972491485922117</c:v>
                </c:pt>
                <c:pt idx="1321">
                  <c:v>1.1471824895769533</c:v>
                </c:pt>
                <c:pt idx="1322">
                  <c:v>1.1747171850318761</c:v>
                </c:pt>
                <c:pt idx="1323">
                  <c:v>1.3193744196135171</c:v>
                </c:pt>
                <c:pt idx="1324">
                  <c:v>1.4675886741199018</c:v>
                </c:pt>
                <c:pt idx="1325">
                  <c:v>1.4453477433643724</c:v>
                </c:pt>
                <c:pt idx="1326">
                  <c:v>1.4634247457388283</c:v>
                </c:pt>
                <c:pt idx="1327">
                  <c:v>1.4775939346730438</c:v>
                </c:pt>
                <c:pt idx="1328">
                  <c:v>1.4994561097516346</c:v>
                </c:pt>
                <c:pt idx="1329">
                  <c:v>1.4567470962377149</c:v>
                </c:pt>
                <c:pt idx="1330">
                  <c:v>1.6963901697032879</c:v>
                </c:pt>
                <c:pt idx="1331">
                  <c:v>1.7556263827566698</c:v>
                </c:pt>
                <c:pt idx="1332">
                  <c:v>1.6573467486583282</c:v>
                </c:pt>
                <c:pt idx="1333">
                  <c:v>1.5886171791723414</c:v>
                </c:pt>
                <c:pt idx="1334">
                  <c:v>1.2360026535859769</c:v>
                </c:pt>
                <c:pt idx="1335">
                  <c:v>0.95778859118497706</c:v>
                </c:pt>
                <c:pt idx="1336">
                  <c:v>0.39322528475879692</c:v>
                </c:pt>
                <c:pt idx="1337">
                  <c:v>0.24086372132942069</c:v>
                </c:pt>
                <c:pt idx="1338">
                  <c:v>1.0015233666147261</c:v>
                </c:pt>
                <c:pt idx="1339">
                  <c:v>0.9736476639841618</c:v>
                </c:pt>
                <c:pt idx="1340">
                  <c:v>1.3163572062893203</c:v>
                </c:pt>
                <c:pt idx="1341">
                  <c:v>1.3337062455129334</c:v>
                </c:pt>
                <c:pt idx="1342">
                  <c:v>1.2647750299280169</c:v>
                </c:pt>
                <c:pt idx="1343">
                  <c:v>1.2108777992314856</c:v>
                </c:pt>
                <c:pt idx="1344">
                  <c:v>0.95575353189303325</c:v>
                </c:pt>
                <c:pt idx="1345">
                  <c:v>0.95675701252357914</c:v>
                </c:pt>
                <c:pt idx="1346">
                  <c:v>0.95290930367245563</c:v>
                </c:pt>
                <c:pt idx="1347">
                  <c:v>0.85674201035135233</c:v>
                </c:pt>
                <c:pt idx="1348">
                  <c:v>0.66555566197035176</c:v>
                </c:pt>
                <c:pt idx="1349">
                  <c:v>0.55329264265874811</c:v>
                </c:pt>
                <c:pt idx="1350">
                  <c:v>0.62796053071735858</c:v>
                </c:pt>
                <c:pt idx="1351">
                  <c:v>0.58514789182490534</c:v>
                </c:pt>
                <c:pt idx="1352">
                  <c:v>0.5956230642061966</c:v>
                </c:pt>
                <c:pt idx="1353">
                  <c:v>0.63594430353338671</c:v>
                </c:pt>
                <c:pt idx="1354">
                  <c:v>0.61356777813708629</c:v>
                </c:pt>
                <c:pt idx="1355">
                  <c:v>0.73613915707071986</c:v>
                </c:pt>
                <c:pt idx="1356">
                  <c:v>0.26472196539827353</c:v>
                </c:pt>
                <c:pt idx="1357">
                  <c:v>0.3180662352995689</c:v>
                </c:pt>
                <c:pt idx="1358">
                  <c:v>0.37136702804277943</c:v>
                </c:pt>
                <c:pt idx="1359">
                  <c:v>0.40300422455113449</c:v>
                </c:pt>
                <c:pt idx="1360">
                  <c:v>0.38683143496914263</c:v>
                </c:pt>
                <c:pt idx="1361">
                  <c:v>0.90971358775119304</c:v>
                </c:pt>
                <c:pt idx="1362">
                  <c:v>1.0539372913360601</c:v>
                </c:pt>
                <c:pt idx="1363">
                  <c:v>0.77608265236606133</c:v>
                </c:pt>
                <c:pt idx="1364">
                  <c:v>0.77484049434421443</c:v>
                </c:pt>
                <c:pt idx="1365">
                  <c:v>0.60695969800703686</c:v>
                </c:pt>
                <c:pt idx="1366">
                  <c:v>0.73134337354862633</c:v>
                </c:pt>
                <c:pt idx="1367">
                  <c:v>0.52628761181830463</c:v>
                </c:pt>
                <c:pt idx="1368">
                  <c:v>0.21411916870419101</c:v>
                </c:pt>
                <c:pt idx="1369">
                  <c:v>0.19844641392710027</c:v>
                </c:pt>
                <c:pt idx="1370">
                  <c:v>0.23863608327539532</c:v>
                </c:pt>
                <c:pt idx="1371">
                  <c:v>0.258664583551238</c:v>
                </c:pt>
                <c:pt idx="1372">
                  <c:v>0.41471759189746771</c:v>
                </c:pt>
                <c:pt idx="1373">
                  <c:v>0.42141698774920133</c:v>
                </c:pt>
                <c:pt idx="1374">
                  <c:v>0.47700559510988616</c:v>
                </c:pt>
                <c:pt idx="1375">
                  <c:v>0.21049754035359358</c:v>
                </c:pt>
                <c:pt idx="1376">
                  <c:v>9.8145381223174732E-2</c:v>
                </c:pt>
                <c:pt idx="1377">
                  <c:v>-6.031646156847148E-2</c:v>
                </c:pt>
                <c:pt idx="1378">
                  <c:v>-0.4654842717392027</c:v>
                </c:pt>
                <c:pt idx="1379">
                  <c:v>-0.47595703731290739</c:v>
                </c:pt>
                <c:pt idx="1380">
                  <c:v>-0.23055266034118782</c:v>
                </c:pt>
                <c:pt idx="1381">
                  <c:v>-0.37190504514054146</c:v>
                </c:pt>
                <c:pt idx="1382">
                  <c:v>-0.49994354098807925</c:v>
                </c:pt>
                <c:pt idx="1383">
                  <c:v>-0.55579898758257307</c:v>
                </c:pt>
                <c:pt idx="1384">
                  <c:v>-0.50690387091287814</c:v>
                </c:pt>
                <c:pt idx="1385">
                  <c:v>-0.47173221578317159</c:v>
                </c:pt>
                <c:pt idx="1386">
                  <c:v>-0.61018803498408269</c:v>
                </c:pt>
                <c:pt idx="1387">
                  <c:v>-0.60670154533486453</c:v>
                </c:pt>
                <c:pt idx="1388">
                  <c:v>-0.5588555562442532</c:v>
                </c:pt>
                <c:pt idx="1389">
                  <c:v>-0.55951857225757795</c:v>
                </c:pt>
                <c:pt idx="1390">
                  <c:v>-0.78218106161432877</c:v>
                </c:pt>
                <c:pt idx="1391">
                  <c:v>-0.72468270545001934</c:v>
                </c:pt>
                <c:pt idx="1392">
                  <c:v>-0.64982657948420286</c:v>
                </c:pt>
                <c:pt idx="1393">
                  <c:v>-0.82142281118178784</c:v>
                </c:pt>
                <c:pt idx="1394">
                  <c:v>-0.30984371951371936</c:v>
                </c:pt>
                <c:pt idx="1395">
                  <c:v>-0.29866065519842389</c:v>
                </c:pt>
                <c:pt idx="1396">
                  <c:v>-0.37564332887836671</c:v>
                </c:pt>
                <c:pt idx="1397">
                  <c:v>-0.22772958410836042</c:v>
                </c:pt>
                <c:pt idx="1398">
                  <c:v>-0.38900021621676162</c:v>
                </c:pt>
                <c:pt idx="1399">
                  <c:v>-0.58696418777448023</c:v>
                </c:pt>
                <c:pt idx="1400">
                  <c:v>-0.80802086802930773</c:v>
                </c:pt>
                <c:pt idx="1401">
                  <c:v>-0.82164155756044299</c:v>
                </c:pt>
                <c:pt idx="1402">
                  <c:v>-0.67751307464132271</c:v>
                </c:pt>
                <c:pt idx="1403">
                  <c:v>-0.65202062262749716</c:v>
                </c:pt>
                <c:pt idx="1404">
                  <c:v>-0.63701593185966909</c:v>
                </c:pt>
                <c:pt idx="1405">
                  <c:v>-0.69798067027718735</c:v>
                </c:pt>
                <c:pt idx="1406">
                  <c:v>-0.6061433621289275</c:v>
                </c:pt>
                <c:pt idx="1407">
                  <c:v>-0.46599301244241165</c:v>
                </c:pt>
                <c:pt idx="1408">
                  <c:v>-0.46788222666916957</c:v>
                </c:pt>
                <c:pt idx="1409">
                  <c:v>-0.52325604644041235</c:v>
                </c:pt>
                <c:pt idx="1410">
                  <c:v>-0.59814640130871066</c:v>
                </c:pt>
                <c:pt idx="1411">
                  <c:v>-0.62088805042047335</c:v>
                </c:pt>
                <c:pt idx="1412">
                  <c:v>-0.67889602327924625</c:v>
                </c:pt>
                <c:pt idx="1413">
                  <c:v>-0.55740842841935367</c:v>
                </c:pt>
                <c:pt idx="1414">
                  <c:v>-0.58000215281147904</c:v>
                </c:pt>
                <c:pt idx="1415">
                  <c:v>-0.55980668346722051</c:v>
                </c:pt>
                <c:pt idx="1416">
                  <c:v>4.7504687857349848E-2</c:v>
                </c:pt>
                <c:pt idx="1417">
                  <c:v>4.4803878171983946E-2</c:v>
                </c:pt>
                <c:pt idx="1418">
                  <c:v>-0.46463491222281383</c:v>
                </c:pt>
                <c:pt idx="1419">
                  <c:v>-0.49924915339399079</c:v>
                </c:pt>
                <c:pt idx="1420">
                  <c:v>-0.41448314330088942</c:v>
                </c:pt>
                <c:pt idx="1421">
                  <c:v>-0.29470521567094843</c:v>
                </c:pt>
                <c:pt idx="1422">
                  <c:v>-0.4597602878001178</c:v>
                </c:pt>
                <c:pt idx="1423">
                  <c:v>-0.56208887846242728</c:v>
                </c:pt>
                <c:pt idx="1424">
                  <c:v>-0.37459954806182139</c:v>
                </c:pt>
                <c:pt idx="1425">
                  <c:v>-8.3261951158133951E-2</c:v>
                </c:pt>
                <c:pt idx="1426">
                  <c:v>-0.28590095488054135</c:v>
                </c:pt>
                <c:pt idx="1427">
                  <c:v>-0.30160778619176543</c:v>
                </c:pt>
                <c:pt idx="1428">
                  <c:v>0.11654522290764913</c:v>
                </c:pt>
                <c:pt idx="1429">
                  <c:v>0.12611456625969686</c:v>
                </c:pt>
                <c:pt idx="1430">
                  <c:v>0.21248130045801172</c:v>
                </c:pt>
                <c:pt idx="1431">
                  <c:v>2.0066603328941501E-2</c:v>
                </c:pt>
                <c:pt idx="1432">
                  <c:v>-0.1006884571063571</c:v>
                </c:pt>
                <c:pt idx="1433">
                  <c:v>-0.16439961411685022</c:v>
                </c:pt>
                <c:pt idx="1434">
                  <c:v>-0.10457153362400939</c:v>
                </c:pt>
                <c:pt idx="1435">
                  <c:v>-6.0053282780636597E-2</c:v>
                </c:pt>
                <c:pt idx="1436">
                  <c:v>4.7293527734509899E-2</c:v>
                </c:pt>
                <c:pt idx="1437">
                  <c:v>-0.28426570275309759</c:v>
                </c:pt>
                <c:pt idx="1438">
                  <c:v>-0.17685020150606523</c:v>
                </c:pt>
                <c:pt idx="1439">
                  <c:v>-0.13031009384054659</c:v>
                </c:pt>
                <c:pt idx="1440">
                  <c:v>-0.37683940057945953</c:v>
                </c:pt>
                <c:pt idx="1441">
                  <c:v>-0.5598074271193465</c:v>
                </c:pt>
                <c:pt idx="1442">
                  <c:v>-0.27399589291843551</c:v>
                </c:pt>
                <c:pt idx="1443">
                  <c:v>6.6378725173857345E-2</c:v>
                </c:pt>
                <c:pt idx="1444">
                  <c:v>5.5321974264654905E-2</c:v>
                </c:pt>
                <c:pt idx="1445">
                  <c:v>0.13819909479923231</c:v>
                </c:pt>
                <c:pt idx="1446">
                  <c:v>0.15236382363200685</c:v>
                </c:pt>
                <c:pt idx="1447">
                  <c:v>0.4944990134038485</c:v>
                </c:pt>
                <c:pt idx="1448">
                  <c:v>0.49199142224758963</c:v>
                </c:pt>
                <c:pt idx="1449">
                  <c:v>0.18637176993679949</c:v>
                </c:pt>
                <c:pt idx="1450">
                  <c:v>0.16911448699257203</c:v>
                </c:pt>
                <c:pt idx="1451">
                  <c:v>0.16924685605136658</c:v>
                </c:pt>
                <c:pt idx="1452">
                  <c:v>0.10834878819782345</c:v>
                </c:pt>
                <c:pt idx="1453">
                  <c:v>0.44124688022264824</c:v>
                </c:pt>
                <c:pt idx="1454">
                  <c:v>0.21898028677710402</c:v>
                </c:pt>
                <c:pt idx="1455">
                  <c:v>9.8110100978918147E-2</c:v>
                </c:pt>
                <c:pt idx="1456">
                  <c:v>-0.14119410196499482</c:v>
                </c:pt>
                <c:pt idx="1457">
                  <c:v>-0.16287205251991066</c:v>
                </c:pt>
                <c:pt idx="1458">
                  <c:v>0.24363598873327341</c:v>
                </c:pt>
                <c:pt idx="1459">
                  <c:v>4.8231495894035525E-2</c:v>
                </c:pt>
                <c:pt idx="1460">
                  <c:v>5.0952233119314072E-2</c:v>
                </c:pt>
                <c:pt idx="1461">
                  <c:v>0.10088910426404862</c:v>
                </c:pt>
                <c:pt idx="1462">
                  <c:v>4.6679476438962753E-2</c:v>
                </c:pt>
                <c:pt idx="1463">
                  <c:v>-0.16125066663712218</c:v>
                </c:pt>
                <c:pt idx="1464">
                  <c:v>-0.14665188761738557</c:v>
                </c:pt>
                <c:pt idx="1465">
                  <c:v>-0.13946317814014231</c:v>
                </c:pt>
                <c:pt idx="1466">
                  <c:v>3.3527314624384741E-2</c:v>
                </c:pt>
                <c:pt idx="1467">
                  <c:v>-0.25599758261003469</c:v>
                </c:pt>
                <c:pt idx="1468">
                  <c:v>-0.28237216460713921</c:v>
                </c:pt>
                <c:pt idx="1469">
                  <c:v>-0.22884185406377155</c:v>
                </c:pt>
                <c:pt idx="1470">
                  <c:v>-0.32605354232739525</c:v>
                </c:pt>
                <c:pt idx="1471">
                  <c:v>-0.25162282764116251</c:v>
                </c:pt>
                <c:pt idx="1472">
                  <c:v>-0.36155124851432463</c:v>
                </c:pt>
                <c:pt idx="1473">
                  <c:v>-0.381593135539679</c:v>
                </c:pt>
                <c:pt idx="1474">
                  <c:v>-0.39706462555761657</c:v>
                </c:pt>
                <c:pt idx="1475">
                  <c:v>-0.44289817018004496</c:v>
                </c:pt>
                <c:pt idx="1476">
                  <c:v>-0.44396861974513591</c:v>
                </c:pt>
                <c:pt idx="1477">
                  <c:v>-0.37613704855665175</c:v>
                </c:pt>
                <c:pt idx="1478">
                  <c:v>-0.55822311499174881</c:v>
                </c:pt>
                <c:pt idx="1479">
                  <c:v>-0.65930141411101595</c:v>
                </c:pt>
                <c:pt idx="1480">
                  <c:v>-0.78232304040982137</c:v>
                </c:pt>
                <c:pt idx="1481">
                  <c:v>-0.80096215485236655</c:v>
                </c:pt>
                <c:pt idx="1482">
                  <c:v>-0.82338639418254589</c:v>
                </c:pt>
                <c:pt idx="1483">
                  <c:v>-0.63698925382642546</c:v>
                </c:pt>
                <c:pt idx="1484">
                  <c:v>-0.65698791979187654</c:v>
                </c:pt>
                <c:pt idx="1485">
                  <c:v>-0.70162980801539154</c:v>
                </c:pt>
                <c:pt idx="1486">
                  <c:v>-0.15557334768799835</c:v>
                </c:pt>
                <c:pt idx="1487">
                  <c:v>-7.1741686563026041E-2</c:v>
                </c:pt>
                <c:pt idx="1488">
                  <c:v>-0.21037357185434424</c:v>
                </c:pt>
                <c:pt idx="1489">
                  <c:v>-0.4554061181059943</c:v>
                </c:pt>
                <c:pt idx="1490">
                  <c:v>-0.40037487352471424</c:v>
                </c:pt>
                <c:pt idx="1491">
                  <c:v>-0.29281581508642518</c:v>
                </c:pt>
                <c:pt idx="1492">
                  <c:v>-0.37655016170337896</c:v>
                </c:pt>
                <c:pt idx="1493">
                  <c:v>-0.40071046467443916</c:v>
                </c:pt>
                <c:pt idx="1494">
                  <c:v>-0.35487097919685018</c:v>
                </c:pt>
                <c:pt idx="1495">
                  <c:v>-0.37710307176303803</c:v>
                </c:pt>
                <c:pt idx="1496">
                  <c:v>-0.46555880429152152</c:v>
                </c:pt>
                <c:pt idx="1497">
                  <c:v>-0.53549635926804506</c:v>
                </c:pt>
                <c:pt idx="1498">
                  <c:v>-0.58765491111784918</c:v>
                </c:pt>
                <c:pt idx="1499">
                  <c:v>-0.60565112884976569</c:v>
                </c:pt>
                <c:pt idx="1500">
                  <c:v>-0.68941278343721268</c:v>
                </c:pt>
                <c:pt idx="1501">
                  <c:v>-0.58078946981648671</c:v>
                </c:pt>
                <c:pt idx="1502">
                  <c:v>-0.75750563895292111</c:v>
                </c:pt>
                <c:pt idx="1503">
                  <c:v>-0.77472249858388242</c:v>
                </c:pt>
                <c:pt idx="1504">
                  <c:v>-0.87363750323091183</c:v>
                </c:pt>
                <c:pt idx="1505">
                  <c:v>-0.93559382309637285</c:v>
                </c:pt>
                <c:pt idx="1506">
                  <c:v>-1.2358859000013016</c:v>
                </c:pt>
                <c:pt idx="1507">
                  <c:v>-1.4283490356854778</c:v>
                </c:pt>
                <c:pt idx="1508">
                  <c:v>-1.4112451986943193</c:v>
                </c:pt>
                <c:pt idx="1509">
                  <c:v>-1.2132977077554701</c:v>
                </c:pt>
                <c:pt idx="1510">
                  <c:v>-1.3541163878007245</c:v>
                </c:pt>
                <c:pt idx="1511">
                  <c:v>-1.5056712527942606</c:v>
                </c:pt>
                <c:pt idx="1512">
                  <c:v>-1.4383926686636266</c:v>
                </c:pt>
                <c:pt idx="1513">
                  <c:v>-1.4349626244142766</c:v>
                </c:pt>
                <c:pt idx="1514">
                  <c:v>-1.3720173688799131</c:v>
                </c:pt>
                <c:pt idx="1515">
                  <c:v>-1.2538589984839006</c:v>
                </c:pt>
                <c:pt idx="1516">
                  <c:v>-0.74379899703656827</c:v>
                </c:pt>
                <c:pt idx="1517">
                  <c:v>-0.75886389057115977</c:v>
                </c:pt>
                <c:pt idx="1518">
                  <c:v>-1.1099840940245354</c:v>
                </c:pt>
                <c:pt idx="1519">
                  <c:v>-0.88121460978182742</c:v>
                </c:pt>
                <c:pt idx="1520">
                  <c:v>-0.83475625846303747</c:v>
                </c:pt>
                <c:pt idx="1521">
                  <c:v>-1.2682684540263138</c:v>
                </c:pt>
                <c:pt idx="1522">
                  <c:v>-0.87971721109459666</c:v>
                </c:pt>
                <c:pt idx="1523">
                  <c:v>-0.80836394921789678</c:v>
                </c:pt>
                <c:pt idx="1524">
                  <c:v>-0.82645322612026617</c:v>
                </c:pt>
                <c:pt idx="1525">
                  <c:v>-1.7153566243720886</c:v>
                </c:pt>
                <c:pt idx="1526">
                  <c:v>-2.0180002540893915</c:v>
                </c:pt>
                <c:pt idx="1527">
                  <c:v>-1.920234818667288</c:v>
                </c:pt>
                <c:pt idx="1528">
                  <c:v>-1.9355265429148978</c:v>
                </c:pt>
                <c:pt idx="1529">
                  <c:v>-1.9195254286982517</c:v>
                </c:pt>
                <c:pt idx="1530">
                  <c:v>-2.2220763656752878</c:v>
                </c:pt>
                <c:pt idx="1531">
                  <c:v>-2.7604963876687734</c:v>
                </c:pt>
                <c:pt idx="1532">
                  <c:v>-2.6881144875668559</c:v>
                </c:pt>
                <c:pt idx="1533">
                  <c:v>-2.80004623518888</c:v>
                </c:pt>
                <c:pt idx="1534">
                  <c:v>-2.8243102114876377</c:v>
                </c:pt>
                <c:pt idx="1535">
                  <c:v>-2.7991238833684706</c:v>
                </c:pt>
                <c:pt idx="1536">
                  <c:v>-2.8743090182572928</c:v>
                </c:pt>
                <c:pt idx="1537">
                  <c:v>-2.9114079556471801</c:v>
                </c:pt>
                <c:pt idx="1538">
                  <c:v>-2.8201538961741823</c:v>
                </c:pt>
                <c:pt idx="1539">
                  <c:v>-2.6783055150754103</c:v>
                </c:pt>
                <c:pt idx="1540">
                  <c:v>-2.6629913130449658</c:v>
                </c:pt>
                <c:pt idx="1541">
                  <c:v>-2.6595751296877914</c:v>
                </c:pt>
                <c:pt idx="1542">
                  <c:v>-2.6224463417902659</c:v>
                </c:pt>
                <c:pt idx="1543">
                  <c:v>-2.7131964800598487</c:v>
                </c:pt>
                <c:pt idx="1544">
                  <c:v>-2.7733100362281435</c:v>
                </c:pt>
                <c:pt idx="1545">
                  <c:v>-2.7861831998005653</c:v>
                </c:pt>
                <c:pt idx="1546">
                  <c:v>-3.5066568975652608</c:v>
                </c:pt>
                <c:pt idx="1547">
                  <c:v>-3.7073184400565755</c:v>
                </c:pt>
                <c:pt idx="1548">
                  <c:v>-3.7396062700294994</c:v>
                </c:pt>
                <c:pt idx="1549">
                  <c:v>-3.7018309124563551</c:v>
                </c:pt>
                <c:pt idx="1550">
                  <c:v>-3.5698245533996946</c:v>
                </c:pt>
                <c:pt idx="1551">
                  <c:v>-3.6567608556554108</c:v>
                </c:pt>
                <c:pt idx="1552">
                  <c:v>-3.6579678180691384</c:v>
                </c:pt>
                <c:pt idx="1553">
                  <c:v>-3.6135115842659133</c:v>
                </c:pt>
                <c:pt idx="1554">
                  <c:v>-3.6147694771507672</c:v>
                </c:pt>
                <c:pt idx="1555">
                  <c:v>-3.7626020014150803</c:v>
                </c:pt>
                <c:pt idx="1556">
                  <c:v>-3.7643271066913981</c:v>
                </c:pt>
                <c:pt idx="1557">
                  <c:v>-3.6219792643952227</c:v>
                </c:pt>
                <c:pt idx="1558">
                  <c:v>-3.5797948775780739</c:v>
                </c:pt>
                <c:pt idx="1559">
                  <c:v>-3.5769490178740453</c:v>
                </c:pt>
                <c:pt idx="1560">
                  <c:v>-3.6976223315082963</c:v>
                </c:pt>
                <c:pt idx="1561">
                  <c:v>-3.9945818139607567</c:v>
                </c:pt>
                <c:pt idx="1562">
                  <c:v>-3.8917160149184671</c:v>
                </c:pt>
                <c:pt idx="1563">
                  <c:v>-3.9542193081231525</c:v>
                </c:pt>
                <c:pt idx="1564">
                  <c:v>-3.9154158638539771</c:v>
                </c:pt>
                <c:pt idx="1565">
                  <c:v>-4.1832381863142034</c:v>
                </c:pt>
                <c:pt idx="1566">
                  <c:v>-3.9950268109872344</c:v>
                </c:pt>
                <c:pt idx="1567">
                  <c:v>-4.033713510971082</c:v>
                </c:pt>
                <c:pt idx="1568">
                  <c:v>-4.0584253240723065</c:v>
                </c:pt>
                <c:pt idx="1569">
                  <c:v>-4.2841505345641355</c:v>
                </c:pt>
                <c:pt idx="1570">
                  <c:v>-4.1682528399259402</c:v>
                </c:pt>
                <c:pt idx="1571">
                  <c:v>-4.466216599657943</c:v>
                </c:pt>
                <c:pt idx="1572">
                  <c:v>-4.525780441750177</c:v>
                </c:pt>
                <c:pt idx="1573">
                  <c:v>-4.5303113728886926</c:v>
                </c:pt>
                <c:pt idx="1574">
                  <c:v>-4.5346876341171098</c:v>
                </c:pt>
                <c:pt idx="1575">
                  <c:v>-4.5047269631474869</c:v>
                </c:pt>
                <c:pt idx="1576">
                  <c:v>-4.8979302991827343</c:v>
                </c:pt>
                <c:pt idx="1577">
                  <c:v>-4.7980230526450729</c:v>
                </c:pt>
                <c:pt idx="1578">
                  <c:v>-4.8066801805182777</c:v>
                </c:pt>
                <c:pt idx="1579">
                  <c:v>-4.9019860719861974</c:v>
                </c:pt>
                <c:pt idx="1580">
                  <c:v>-4.9833259508488714</c:v>
                </c:pt>
                <c:pt idx="1581">
                  <c:v>-4.6352222278734949</c:v>
                </c:pt>
                <c:pt idx="1582">
                  <c:v>-5.2790394363451787</c:v>
                </c:pt>
                <c:pt idx="1583">
                  <c:v>-5.3637870020585208</c:v>
                </c:pt>
                <c:pt idx="1584">
                  <c:v>-5.3936980332809776</c:v>
                </c:pt>
                <c:pt idx="1585">
                  <c:v>-4.6816555047398873</c:v>
                </c:pt>
                <c:pt idx="1586">
                  <c:v>-4.6293503073525892</c:v>
                </c:pt>
                <c:pt idx="1587">
                  <c:v>-4.4895015479933909</c:v>
                </c:pt>
                <c:pt idx="1588">
                  <c:v>-4.3060558600251015</c:v>
                </c:pt>
                <c:pt idx="1589">
                  <c:v>-4.3301352958650785</c:v>
                </c:pt>
                <c:pt idx="1590">
                  <c:v>-4.0193842758895508</c:v>
                </c:pt>
                <c:pt idx="1591">
                  <c:v>-3.6151349585213017</c:v>
                </c:pt>
                <c:pt idx="1592">
                  <c:v>-3.5912134141260932</c:v>
                </c:pt>
                <c:pt idx="1593">
                  <c:v>-3.4165060381330714</c:v>
                </c:pt>
                <c:pt idx="1594">
                  <c:v>-3.4127472712794757</c:v>
                </c:pt>
                <c:pt idx="1595">
                  <c:v>-3.4346892806858071</c:v>
                </c:pt>
                <c:pt idx="1596">
                  <c:v>-3.4191727494402273</c:v>
                </c:pt>
                <c:pt idx="1597">
                  <c:v>-3.5804443885736612</c:v>
                </c:pt>
                <c:pt idx="1598">
                  <c:v>-3.6361125496927715</c:v>
                </c:pt>
                <c:pt idx="1599">
                  <c:v>-3.6756110233341048</c:v>
                </c:pt>
                <c:pt idx="1600">
                  <c:v>-3.5844807703139359</c:v>
                </c:pt>
                <c:pt idx="1601">
                  <c:v>-3.540855504468976</c:v>
                </c:pt>
                <c:pt idx="1602">
                  <c:v>-3.5453652492095005</c:v>
                </c:pt>
                <c:pt idx="1603">
                  <c:v>-3.5914750673664093</c:v>
                </c:pt>
                <c:pt idx="1604">
                  <c:v>-3.4243309288155332</c:v>
                </c:pt>
                <c:pt idx="1605">
                  <c:v>-3.377149694738546</c:v>
                </c:pt>
                <c:pt idx="1606">
                  <c:v>-3.3660973385598898</c:v>
                </c:pt>
                <c:pt idx="1607">
                  <c:v>-3.41143263580756</c:v>
                </c:pt>
                <c:pt idx="1608">
                  <c:v>-3.368197179438015</c:v>
                </c:pt>
                <c:pt idx="1609">
                  <c:v>-3.3647899084130932</c:v>
                </c:pt>
                <c:pt idx="1610">
                  <c:v>-3.515585886722064</c:v>
                </c:pt>
                <c:pt idx="1611">
                  <c:v>-3.4025669308313744</c:v>
                </c:pt>
                <c:pt idx="1612">
                  <c:v>-3.3962298609869546</c:v>
                </c:pt>
                <c:pt idx="1613">
                  <c:v>-3.4340901824180756</c:v>
                </c:pt>
                <c:pt idx="1614">
                  <c:v>-3.4506001942567588</c:v>
                </c:pt>
                <c:pt idx="1615">
                  <c:v>-3.4331173805395689</c:v>
                </c:pt>
                <c:pt idx="1616">
                  <c:v>-3.4660938956333878</c:v>
                </c:pt>
                <c:pt idx="1617">
                  <c:v>-3.4336048503190666</c:v>
                </c:pt>
                <c:pt idx="1618">
                  <c:v>-3.5419485437217486</c:v>
                </c:pt>
                <c:pt idx="1619">
                  <c:v>-3.553427127976577</c:v>
                </c:pt>
                <c:pt idx="1620">
                  <c:v>-3.3586883058340566</c:v>
                </c:pt>
                <c:pt idx="1621">
                  <c:v>-3.1438501961612686</c:v>
                </c:pt>
                <c:pt idx="1622">
                  <c:v>-3.1260162891062313</c:v>
                </c:pt>
                <c:pt idx="1623">
                  <c:v>-3.0975067113751336</c:v>
                </c:pt>
                <c:pt idx="1624">
                  <c:v>-3.100823117926224</c:v>
                </c:pt>
                <c:pt idx="1625">
                  <c:v>-3.0218458319896779</c:v>
                </c:pt>
                <c:pt idx="1626">
                  <c:v>-3.0155784159516474</c:v>
                </c:pt>
                <c:pt idx="1627">
                  <c:v>-2.9860991212085826</c:v>
                </c:pt>
                <c:pt idx="1628">
                  <c:v>-2.9545572269175673</c:v>
                </c:pt>
                <c:pt idx="1629">
                  <c:v>-2.6055365883421944</c:v>
                </c:pt>
                <c:pt idx="1630">
                  <c:v>-2.6015746676025993</c:v>
                </c:pt>
                <c:pt idx="1631">
                  <c:v>-2.1039334299302603</c:v>
                </c:pt>
                <c:pt idx="1632">
                  <c:v>-2.0438075795022077</c:v>
                </c:pt>
                <c:pt idx="1633">
                  <c:v>-2.2427981687095198</c:v>
                </c:pt>
                <c:pt idx="1634">
                  <c:v>-2.8073582290517205</c:v>
                </c:pt>
                <c:pt idx="1635">
                  <c:v>-2.8129486110220983</c:v>
                </c:pt>
                <c:pt idx="1636">
                  <c:v>-2.6541151528316043</c:v>
                </c:pt>
                <c:pt idx="1637">
                  <c:v>-2.7140633982945168</c:v>
                </c:pt>
                <c:pt idx="1638">
                  <c:v>-2.6342981782577186</c:v>
                </c:pt>
                <c:pt idx="1639">
                  <c:v>-2.6076142345629965</c:v>
                </c:pt>
                <c:pt idx="1640">
                  <c:v>-2.585078295995316</c:v>
                </c:pt>
                <c:pt idx="1641">
                  <c:v>-2.5853629820383444</c:v>
                </c:pt>
                <c:pt idx="1642">
                  <c:v>-2.5733580686523649</c:v>
                </c:pt>
                <c:pt idx="1643">
                  <c:v>-2.0921631112717289</c:v>
                </c:pt>
                <c:pt idx="1644">
                  <c:v>-2.0082785402240093</c:v>
                </c:pt>
                <c:pt idx="1645">
                  <c:v>-2.0471165589984892</c:v>
                </c:pt>
                <c:pt idx="1646">
                  <c:v>-1.8817945992841727</c:v>
                </c:pt>
                <c:pt idx="1647">
                  <c:v>-1.9383321942430172</c:v>
                </c:pt>
                <c:pt idx="1648">
                  <c:v>-1.9742157698214371</c:v>
                </c:pt>
                <c:pt idx="1649">
                  <c:v>-1.9905249482481888</c:v>
                </c:pt>
                <c:pt idx="1650">
                  <c:v>-1.9544371736401915</c:v>
                </c:pt>
                <c:pt idx="1651">
                  <c:v>-1.7127946888300229</c:v>
                </c:pt>
                <c:pt idx="1652">
                  <c:v>-1.6135256414489443</c:v>
                </c:pt>
                <c:pt idx="1653">
                  <c:v>-1.506665240303956</c:v>
                </c:pt>
                <c:pt idx="1654">
                  <c:v>-1.5086202717209964</c:v>
                </c:pt>
                <c:pt idx="1655">
                  <c:v>-1.6529304634395934</c:v>
                </c:pt>
                <c:pt idx="1656">
                  <c:v>-1.5687377420531514</c:v>
                </c:pt>
                <c:pt idx="1657">
                  <c:v>-1.8416097233346529</c:v>
                </c:pt>
                <c:pt idx="1658">
                  <c:v>-1.9564461144106899</c:v>
                </c:pt>
                <c:pt idx="1659">
                  <c:v>-1.9059638763040967</c:v>
                </c:pt>
                <c:pt idx="1660">
                  <c:v>-2.0476318196753911</c:v>
                </c:pt>
                <c:pt idx="1661">
                  <c:v>-2.2383630649063639</c:v>
                </c:pt>
                <c:pt idx="1662">
                  <c:v>-2.2214393577933991</c:v>
                </c:pt>
                <c:pt idx="1663">
                  <c:v>-2.2615834740175216</c:v>
                </c:pt>
                <c:pt idx="1664">
                  <c:v>-2.2866377095062882</c:v>
                </c:pt>
                <c:pt idx="1665">
                  <c:v>-2.2820395433825733</c:v>
                </c:pt>
                <c:pt idx="1666">
                  <c:v>-2.3630317035677333</c:v>
                </c:pt>
                <c:pt idx="1667">
                  <c:v>-2.2636245233443208</c:v>
                </c:pt>
                <c:pt idx="1668">
                  <c:v>-2.2924253730272475</c:v>
                </c:pt>
                <c:pt idx="1669">
                  <c:v>-2.3757537988284354</c:v>
                </c:pt>
                <c:pt idx="1670">
                  <c:v>-2.5513243721681649</c:v>
                </c:pt>
                <c:pt idx="1671">
                  <c:v>-2.931161987811755</c:v>
                </c:pt>
                <c:pt idx="1672">
                  <c:v>-2.6537897398923107</c:v>
                </c:pt>
                <c:pt idx="1673">
                  <c:v>-3.1124027604047866</c:v>
                </c:pt>
                <c:pt idx="1674">
                  <c:v>-3.2819879306229787</c:v>
                </c:pt>
                <c:pt idx="1675">
                  <c:v>-3.1178556430986686</c:v>
                </c:pt>
                <c:pt idx="1676">
                  <c:v>-3.1250847153160399</c:v>
                </c:pt>
                <c:pt idx="1677">
                  <c:v>-3.1242196327744471</c:v>
                </c:pt>
                <c:pt idx="1678">
                  <c:v>-3.0446172943322498</c:v>
                </c:pt>
                <c:pt idx="1679">
                  <c:v>-3.0108193866822646</c:v>
                </c:pt>
                <c:pt idx="1680">
                  <c:v>-3.1487574026865501</c:v>
                </c:pt>
                <c:pt idx="1681">
                  <c:v>-3.3449660036596662</c:v>
                </c:pt>
                <c:pt idx="1682">
                  <c:v>-3.3581981078379926</c:v>
                </c:pt>
                <c:pt idx="1683">
                  <c:v>-3.302597364461743</c:v>
                </c:pt>
                <c:pt idx="1684">
                  <c:v>-3.3199841162668968</c:v>
                </c:pt>
                <c:pt idx="1685">
                  <c:v>-3.4485708826838768</c:v>
                </c:pt>
                <c:pt idx="1686">
                  <c:v>-3.5072707243715753</c:v>
                </c:pt>
                <c:pt idx="1687">
                  <c:v>-3.5456059422042996</c:v>
                </c:pt>
                <c:pt idx="1688">
                  <c:v>-3.6413230145378783</c:v>
                </c:pt>
                <c:pt idx="1689">
                  <c:v>-3.7854939501683891</c:v>
                </c:pt>
                <c:pt idx="1690">
                  <c:v>-3.7601659279851511</c:v>
                </c:pt>
                <c:pt idx="1691">
                  <c:v>-3.7771221760367153</c:v>
                </c:pt>
                <c:pt idx="1692">
                  <c:v>-3.8987678652521423</c:v>
                </c:pt>
                <c:pt idx="1693">
                  <c:v>-3.7821571353268717</c:v>
                </c:pt>
                <c:pt idx="1694">
                  <c:v>-3.156937943234031</c:v>
                </c:pt>
                <c:pt idx="1695">
                  <c:v>-3.1879274471129952</c:v>
                </c:pt>
                <c:pt idx="1696">
                  <c:v>-3.2182995396985214</c:v>
                </c:pt>
                <c:pt idx="1697">
                  <c:v>-3.3956237176362647</c:v>
                </c:pt>
                <c:pt idx="1698">
                  <c:v>-3.3939345555734137</c:v>
                </c:pt>
                <c:pt idx="1699">
                  <c:v>-2.959517295788622</c:v>
                </c:pt>
                <c:pt idx="1700">
                  <c:v>-2.9656475680419097</c:v>
                </c:pt>
                <c:pt idx="1701">
                  <c:v>-2.9423202255206142</c:v>
                </c:pt>
                <c:pt idx="1702">
                  <c:v>-3.0261771683044394</c:v>
                </c:pt>
                <c:pt idx="1703">
                  <c:v>-3.0244834777084311</c:v>
                </c:pt>
                <c:pt idx="1704">
                  <c:v>-2.9193859376105689</c:v>
                </c:pt>
                <c:pt idx="1705">
                  <c:v>-2.9000147809925076</c:v>
                </c:pt>
                <c:pt idx="1706">
                  <c:v>-2.9267135033154008</c:v>
                </c:pt>
                <c:pt idx="1707">
                  <c:v>-2.6904855640899452</c:v>
                </c:pt>
                <c:pt idx="1708">
                  <c:v>-2.7229089228778038</c:v>
                </c:pt>
                <c:pt idx="1709">
                  <c:v>-2.8016886383136597</c:v>
                </c:pt>
                <c:pt idx="1710">
                  <c:v>-2.8093389350796776</c:v>
                </c:pt>
                <c:pt idx="1711">
                  <c:v>-3.2783219596316862</c:v>
                </c:pt>
                <c:pt idx="1712">
                  <c:v>-3.3003905778368314</c:v>
                </c:pt>
                <c:pt idx="1713">
                  <c:v>-3.190439362930797</c:v>
                </c:pt>
                <c:pt idx="1714">
                  <c:v>-3.2329019400413106</c:v>
                </c:pt>
                <c:pt idx="1715">
                  <c:v>-3.2420355888689327</c:v>
                </c:pt>
                <c:pt idx="1716">
                  <c:v>-3.2727555957887122</c:v>
                </c:pt>
                <c:pt idx="1717">
                  <c:v>-2.9700814054050175</c:v>
                </c:pt>
                <c:pt idx="1718">
                  <c:v>-2.6895826247820858</c:v>
                </c:pt>
                <c:pt idx="1719">
                  <c:v>-2.6959829260232935</c:v>
                </c:pt>
                <c:pt idx="1720">
                  <c:v>-2.5871562193120701</c:v>
                </c:pt>
                <c:pt idx="1721">
                  <c:v>-2.4645065306045488</c:v>
                </c:pt>
                <c:pt idx="1722">
                  <c:v>-2.4933079233234596</c:v>
                </c:pt>
                <c:pt idx="1723">
                  <c:v>-2.4214738380410328</c:v>
                </c:pt>
                <c:pt idx="1724">
                  <c:v>-2.4665959482153639</c:v>
                </c:pt>
                <c:pt idx="1725">
                  <c:v>-2.5473586236541559</c:v>
                </c:pt>
                <c:pt idx="1726">
                  <c:v>-2.5312614023379645</c:v>
                </c:pt>
                <c:pt idx="1727">
                  <c:v>-2.5474708522492175</c:v>
                </c:pt>
                <c:pt idx="1728">
                  <c:v>-2.5334234899311747</c:v>
                </c:pt>
                <c:pt idx="1729">
                  <c:v>-2.4241758151084509</c:v>
                </c:pt>
                <c:pt idx="1730">
                  <c:v>-2.3007232517464504</c:v>
                </c:pt>
                <c:pt idx="1731">
                  <c:v>-1.9943808299949461</c:v>
                </c:pt>
                <c:pt idx="1732">
                  <c:v>-2.0295868514943196</c:v>
                </c:pt>
                <c:pt idx="1733">
                  <c:v>-1.5450382151191349</c:v>
                </c:pt>
                <c:pt idx="1734">
                  <c:v>-1.4151389538378079</c:v>
                </c:pt>
                <c:pt idx="1735">
                  <c:v>-1.5041051126616301</c:v>
                </c:pt>
                <c:pt idx="1736">
                  <c:v>-1.4443611179624423</c:v>
                </c:pt>
                <c:pt idx="1737">
                  <c:v>-1.424139856125417</c:v>
                </c:pt>
                <c:pt idx="1738">
                  <c:v>-1.494397867585942</c:v>
                </c:pt>
                <c:pt idx="1739">
                  <c:v>-1.5207595691442366</c:v>
                </c:pt>
                <c:pt idx="1740">
                  <c:v>-1.5159095441122568</c:v>
                </c:pt>
                <c:pt idx="1741">
                  <c:v>-1.4600180162373828</c:v>
                </c:pt>
                <c:pt idx="1742">
                  <c:v>-1.4230792626961781</c:v>
                </c:pt>
                <c:pt idx="1743">
                  <c:v>-1.3526574822507769</c:v>
                </c:pt>
                <c:pt idx="1744">
                  <c:v>-1.3046048090660207</c:v>
                </c:pt>
                <c:pt idx="1745">
                  <c:v>-1.2402863152802424</c:v>
                </c:pt>
                <c:pt idx="1746">
                  <c:v>-1.1080743486028832</c:v>
                </c:pt>
                <c:pt idx="1747">
                  <c:v>-1.0241181853500674</c:v>
                </c:pt>
                <c:pt idx="1748">
                  <c:v>-0.91351099388994883</c:v>
                </c:pt>
                <c:pt idx="1749">
                  <c:v>-0.81014965004858608</c:v>
                </c:pt>
                <c:pt idx="1750">
                  <c:v>-0.81294326069386302</c:v>
                </c:pt>
                <c:pt idx="1751">
                  <c:v>-0.84872782401000102</c:v>
                </c:pt>
                <c:pt idx="1752">
                  <c:v>-0.91079579763145291</c:v>
                </c:pt>
                <c:pt idx="1753">
                  <c:v>-0.75376297251329716</c:v>
                </c:pt>
                <c:pt idx="1754">
                  <c:v>-0.83672161295353653</c:v>
                </c:pt>
                <c:pt idx="1755">
                  <c:v>-0.72412290795661749</c:v>
                </c:pt>
                <c:pt idx="1756">
                  <c:v>-0.92533289659504914</c:v>
                </c:pt>
                <c:pt idx="1757">
                  <c:v>-0.77421872828658811</c:v>
                </c:pt>
                <c:pt idx="1758">
                  <c:v>-0.81920273228122675</c:v>
                </c:pt>
                <c:pt idx="1759">
                  <c:v>-1.1782328084975091</c:v>
                </c:pt>
                <c:pt idx="1760">
                  <c:v>-1.1259390071715392</c:v>
                </c:pt>
                <c:pt idx="1761">
                  <c:v>-1.1721713206186424</c:v>
                </c:pt>
                <c:pt idx="1762">
                  <c:v>-1.4761875004409064</c:v>
                </c:pt>
                <c:pt idx="1763">
                  <c:v>-1.2386035705008291</c:v>
                </c:pt>
                <c:pt idx="1764">
                  <c:v>-1.2979425152991082</c:v>
                </c:pt>
                <c:pt idx="1765">
                  <c:v>-1.209561375056839</c:v>
                </c:pt>
                <c:pt idx="1766">
                  <c:v>-1.197700818606287</c:v>
                </c:pt>
                <c:pt idx="1767">
                  <c:v>-1.3115391620173278</c:v>
                </c:pt>
                <c:pt idx="1768">
                  <c:v>-1.3261945688581023</c:v>
                </c:pt>
                <c:pt idx="1769">
                  <c:v>-1.3011660431214018</c:v>
                </c:pt>
                <c:pt idx="1770">
                  <c:v>-1.3348152276154268</c:v>
                </c:pt>
                <c:pt idx="1771">
                  <c:v>-0.9392748467970613</c:v>
                </c:pt>
                <c:pt idx="1772">
                  <c:v>-0.9783857232514015</c:v>
                </c:pt>
                <c:pt idx="1773">
                  <c:v>-1.0591234891707186</c:v>
                </c:pt>
                <c:pt idx="1774">
                  <c:v>-1.0107299992936332</c:v>
                </c:pt>
                <c:pt idx="1775">
                  <c:v>-0.87416991350556528</c:v>
                </c:pt>
                <c:pt idx="1776">
                  <c:v>-0.96254535455780055</c:v>
                </c:pt>
                <c:pt idx="1777">
                  <c:v>-0.88115459546136976</c:v>
                </c:pt>
                <c:pt idx="1778">
                  <c:v>-0.97654339353125397</c:v>
                </c:pt>
                <c:pt idx="1779">
                  <c:v>-0.95122636034381536</c:v>
                </c:pt>
                <c:pt idx="1780">
                  <c:v>-1.0294300377659493</c:v>
                </c:pt>
                <c:pt idx="1781">
                  <c:v>-1.0870226600615096</c:v>
                </c:pt>
                <c:pt idx="1782">
                  <c:v>-0.99723087521798037</c:v>
                </c:pt>
                <c:pt idx="1783">
                  <c:v>-0.98035155976826382</c:v>
                </c:pt>
                <c:pt idx="1784">
                  <c:v>-0.96885557565753733</c:v>
                </c:pt>
                <c:pt idx="1785">
                  <c:v>-0.8601032146343196</c:v>
                </c:pt>
                <c:pt idx="1786">
                  <c:v>-0.81750345929914592</c:v>
                </c:pt>
                <c:pt idx="1787">
                  <c:v>-0.83037848532706848</c:v>
                </c:pt>
                <c:pt idx="1788">
                  <c:v>-0.82986323920549721</c:v>
                </c:pt>
                <c:pt idx="1789">
                  <c:v>-0.87540738076611058</c:v>
                </c:pt>
                <c:pt idx="1790">
                  <c:v>-0.85103532017675454</c:v>
                </c:pt>
                <c:pt idx="1791">
                  <c:v>-0.89201905282954019</c:v>
                </c:pt>
                <c:pt idx="1792">
                  <c:v>-0.90225700407885745</c:v>
                </c:pt>
                <c:pt idx="1793">
                  <c:v>-0.95337524988638456</c:v>
                </c:pt>
                <c:pt idx="1794">
                  <c:v>-1.0635428261629165</c:v>
                </c:pt>
                <c:pt idx="1795">
                  <c:v>-1.0973554521146178</c:v>
                </c:pt>
                <c:pt idx="1796">
                  <c:v>-1.1250615272564657</c:v>
                </c:pt>
                <c:pt idx="1797">
                  <c:v>-1.1596723203826487</c:v>
                </c:pt>
                <c:pt idx="1798">
                  <c:v>-1.0878786758394321</c:v>
                </c:pt>
                <c:pt idx="1799">
                  <c:v>-1.0824128664751353</c:v>
                </c:pt>
                <c:pt idx="1800">
                  <c:v>-1.2033536190493939</c:v>
                </c:pt>
                <c:pt idx="1801">
                  <c:v>-0.91904558066942532</c:v>
                </c:pt>
                <c:pt idx="1802">
                  <c:v>-0.91899213461942575</c:v>
                </c:pt>
                <c:pt idx="1803">
                  <c:v>-1.0843514786979784</c:v>
                </c:pt>
                <c:pt idx="1804">
                  <c:v>-1.1805323016711027</c:v>
                </c:pt>
                <c:pt idx="1805">
                  <c:v>-1.0885110086252507</c:v>
                </c:pt>
                <c:pt idx="1806">
                  <c:v>-1.15115070589539</c:v>
                </c:pt>
                <c:pt idx="1807">
                  <c:v>-1.1960606784281818</c:v>
                </c:pt>
                <c:pt idx="1808">
                  <c:v>-1.2959013475036447</c:v>
                </c:pt>
                <c:pt idx="1809">
                  <c:v>-1.26063210276339</c:v>
                </c:pt>
                <c:pt idx="1810">
                  <c:v>-1.1361041781103198</c:v>
                </c:pt>
                <c:pt idx="1811">
                  <c:v>-1.0762075583599233</c:v>
                </c:pt>
                <c:pt idx="1812">
                  <c:v>-0.7846341850405697</c:v>
                </c:pt>
                <c:pt idx="1813">
                  <c:v>-0.94071962071770043</c:v>
                </c:pt>
                <c:pt idx="1814">
                  <c:v>-0.75624441562504308</c:v>
                </c:pt>
                <c:pt idx="1815">
                  <c:v>-0.87692114413215616</c:v>
                </c:pt>
                <c:pt idx="1816">
                  <c:v>-0.59602829836161164</c:v>
                </c:pt>
                <c:pt idx="1817">
                  <c:v>-0.63716908431068475</c:v>
                </c:pt>
                <c:pt idx="1818">
                  <c:v>-0.59338249766856255</c:v>
                </c:pt>
                <c:pt idx="1819">
                  <c:v>-0.60994116383210339</c:v>
                </c:pt>
                <c:pt idx="1820">
                  <c:v>-0.67078600948225764</c:v>
                </c:pt>
                <c:pt idx="1821">
                  <c:v>-0.57649009151105879</c:v>
                </c:pt>
                <c:pt idx="1822">
                  <c:v>-5.5926592572322353E-2</c:v>
                </c:pt>
                <c:pt idx="1823">
                  <c:v>-0.40430666772459933</c:v>
                </c:pt>
                <c:pt idx="1824">
                  <c:v>-0.46385099641301358</c:v>
                </c:pt>
                <c:pt idx="1825">
                  <c:v>-0.69950455478633855</c:v>
                </c:pt>
                <c:pt idx="1826">
                  <c:v>-0.63939433765054232</c:v>
                </c:pt>
                <c:pt idx="1827">
                  <c:v>-0.79933378973351676</c:v>
                </c:pt>
                <c:pt idx="1828">
                  <c:v>-0.92176721664633254</c:v>
                </c:pt>
                <c:pt idx="1829">
                  <c:v>-0.89683200379030714</c:v>
                </c:pt>
                <c:pt idx="1830">
                  <c:v>-0.86344229691972108</c:v>
                </c:pt>
                <c:pt idx="1831">
                  <c:v>-0.84183872956104389</c:v>
                </c:pt>
                <c:pt idx="1832">
                  <c:v>-0.82038073670206857</c:v>
                </c:pt>
                <c:pt idx="1833">
                  <c:v>-0.7919199835920252</c:v>
                </c:pt>
                <c:pt idx="1834">
                  <c:v>-0.78614610548366215</c:v>
                </c:pt>
                <c:pt idx="1835">
                  <c:v>-0.76043636811696513</c:v>
                </c:pt>
                <c:pt idx="1836">
                  <c:v>-0.68794191785869485</c:v>
                </c:pt>
                <c:pt idx="1837">
                  <c:v>-0.80008902323464581</c:v>
                </c:pt>
                <c:pt idx="1838">
                  <c:v>-0.91536114351717246</c:v>
                </c:pt>
                <c:pt idx="1839">
                  <c:v>-0.92588141916850186</c:v>
                </c:pt>
                <c:pt idx="1840">
                  <c:v>-0.81175261637422835</c:v>
                </c:pt>
                <c:pt idx="1841">
                  <c:v>-0.96849698849480192</c:v>
                </c:pt>
                <c:pt idx="1842">
                  <c:v>-1.0810480786457437</c:v>
                </c:pt>
                <c:pt idx="1843">
                  <c:v>-1.0968244690747488</c:v>
                </c:pt>
                <c:pt idx="1844">
                  <c:v>-1.1388810012003703</c:v>
                </c:pt>
                <c:pt idx="1845">
                  <c:v>-1.4258278108861364</c:v>
                </c:pt>
                <c:pt idx="1846">
                  <c:v>-1.5168569042585498</c:v>
                </c:pt>
                <c:pt idx="1847">
                  <c:v>-1.5915746736705525</c:v>
                </c:pt>
                <c:pt idx="1848">
                  <c:v>-1.6244076373185341</c:v>
                </c:pt>
                <c:pt idx="1849">
                  <c:v>-1.6234961097798664</c:v>
                </c:pt>
                <c:pt idx="1850">
                  <c:v>-1.7642927797641941</c:v>
                </c:pt>
                <c:pt idx="1851">
                  <c:v>-1.7973937210656099</c:v>
                </c:pt>
                <c:pt idx="1852">
                  <c:v>-1.8886900594310112</c:v>
                </c:pt>
                <c:pt idx="1853">
                  <c:v>-1.8609500571176509</c:v>
                </c:pt>
                <c:pt idx="1854">
                  <c:v>-1.6940477451953124</c:v>
                </c:pt>
                <c:pt idx="1855">
                  <c:v>-1.583941578343584</c:v>
                </c:pt>
                <c:pt idx="1856">
                  <c:v>-1.5685902492947741</c:v>
                </c:pt>
                <c:pt idx="1857">
                  <c:v>-1.5902866276553531</c:v>
                </c:pt>
                <c:pt idx="1858">
                  <c:v>-1.5720369319938836</c:v>
                </c:pt>
                <c:pt idx="1859">
                  <c:v>-1.6052074154647586</c:v>
                </c:pt>
                <c:pt idx="1860">
                  <c:v>-1.7168520723270908</c:v>
                </c:pt>
                <c:pt idx="1861">
                  <c:v>-2.0110842074290924</c:v>
                </c:pt>
                <c:pt idx="1862">
                  <c:v>-1.9940808092243369</c:v>
                </c:pt>
                <c:pt idx="1863">
                  <c:v>-1.9611997500795035</c:v>
                </c:pt>
                <c:pt idx="1864">
                  <c:v>-1.83581212481259</c:v>
                </c:pt>
                <c:pt idx="1865">
                  <c:v>-1.9204384557286915</c:v>
                </c:pt>
                <c:pt idx="1866">
                  <c:v>-1.9180954868002988</c:v>
                </c:pt>
                <c:pt idx="1867">
                  <c:v>-1.9003434911711943</c:v>
                </c:pt>
                <c:pt idx="1868">
                  <c:v>-1.7915537065360587</c:v>
                </c:pt>
                <c:pt idx="1869">
                  <c:v>-1.8065763893535856</c:v>
                </c:pt>
                <c:pt idx="1870">
                  <c:v>-1.9315934492028675</c:v>
                </c:pt>
                <c:pt idx="1871">
                  <c:v>-1.8368077973281522</c:v>
                </c:pt>
                <c:pt idx="1872">
                  <c:v>-2.0664930645271919</c:v>
                </c:pt>
                <c:pt idx="1873">
                  <c:v>-2.0383955057597061</c:v>
                </c:pt>
                <c:pt idx="1874">
                  <c:v>-2.1650470262465165</c:v>
                </c:pt>
                <c:pt idx="1875">
                  <c:v>-2.1365800589057016</c:v>
                </c:pt>
                <c:pt idx="1876">
                  <c:v>-2.0906393561713199</c:v>
                </c:pt>
                <c:pt idx="1877">
                  <c:v>-1.9733700670466925</c:v>
                </c:pt>
                <c:pt idx="1878">
                  <c:v>-1.9739701927033697</c:v>
                </c:pt>
                <c:pt idx="1879">
                  <c:v>-2.0094631078694927</c:v>
                </c:pt>
                <c:pt idx="1880">
                  <c:v>-2.0667647457243312</c:v>
                </c:pt>
                <c:pt idx="1881">
                  <c:v>-2.0817574692790886</c:v>
                </c:pt>
                <c:pt idx="1882">
                  <c:v>-2.1495286803200413</c:v>
                </c:pt>
                <c:pt idx="1883">
                  <c:v>-2.1348355997207151</c:v>
                </c:pt>
                <c:pt idx="1884">
                  <c:v>-2.0853641439690804</c:v>
                </c:pt>
                <c:pt idx="1885">
                  <c:v>-2.0760233304710161</c:v>
                </c:pt>
                <c:pt idx="1886">
                  <c:v>-2.1305650389503188</c:v>
                </c:pt>
                <c:pt idx="1887">
                  <c:v>-1.849203322732007</c:v>
                </c:pt>
                <c:pt idx="1888">
                  <c:v>-1.761191861821515</c:v>
                </c:pt>
                <c:pt idx="1889">
                  <c:v>-1.8007165566499368</c:v>
                </c:pt>
                <c:pt idx="1890">
                  <c:v>-1.9389227981220807</c:v>
                </c:pt>
                <c:pt idx="1891">
                  <c:v>-2.0035984978877375</c:v>
                </c:pt>
                <c:pt idx="1892">
                  <c:v>-1.8129938777671537</c:v>
                </c:pt>
                <c:pt idx="1893">
                  <c:v>-1.8218202219218618</c:v>
                </c:pt>
                <c:pt idx="1894">
                  <c:v>-1.8192988943722024</c:v>
                </c:pt>
                <c:pt idx="1895">
                  <c:v>-1.8220060068822999</c:v>
                </c:pt>
                <c:pt idx="1896">
                  <c:v>-1.5372828249784711</c:v>
                </c:pt>
                <c:pt idx="1897">
                  <c:v>-1.6360222865048277</c:v>
                </c:pt>
                <c:pt idx="1898">
                  <c:v>-1.5933823745341205</c:v>
                </c:pt>
                <c:pt idx="1899">
                  <c:v>-1.5550609375690194</c:v>
                </c:pt>
                <c:pt idx="1900">
                  <c:v>-1.621336332557495</c:v>
                </c:pt>
                <c:pt idx="1901">
                  <c:v>-1.4818235573354779</c:v>
                </c:pt>
                <c:pt idx="1902">
                  <c:v>-1.477390562488476</c:v>
                </c:pt>
                <c:pt idx="1903">
                  <c:v>-1.6005410191563514</c:v>
                </c:pt>
                <c:pt idx="1904">
                  <c:v>-1.5623054629612831</c:v>
                </c:pt>
                <c:pt idx="1905">
                  <c:v>-1.5016595200595173</c:v>
                </c:pt>
                <c:pt idx="1906">
                  <c:v>-1.5000298753713948</c:v>
                </c:pt>
                <c:pt idx="1907">
                  <c:v>-1.4083719002787265</c:v>
                </c:pt>
                <c:pt idx="1908">
                  <c:v>-1.3183322493886152</c:v>
                </c:pt>
                <c:pt idx="1909">
                  <c:v>-1.4183090783629171</c:v>
                </c:pt>
                <c:pt idx="1910">
                  <c:v>-1.2756875115638999</c:v>
                </c:pt>
                <c:pt idx="1911">
                  <c:v>-1.2144510126351427</c:v>
                </c:pt>
                <c:pt idx="1912">
                  <c:v>-1.2561283994320798</c:v>
                </c:pt>
                <c:pt idx="1913">
                  <c:v>-1.337608564823964</c:v>
                </c:pt>
                <c:pt idx="1914">
                  <c:v>-1.301176102198967</c:v>
                </c:pt>
                <c:pt idx="1915">
                  <c:v>-0.98216364568506631</c:v>
                </c:pt>
                <c:pt idx="1916">
                  <c:v>-0.95922168131506724</c:v>
                </c:pt>
                <c:pt idx="1917">
                  <c:v>-0.90649893283618332</c:v>
                </c:pt>
                <c:pt idx="1918">
                  <c:v>-0.91471089372698322</c:v>
                </c:pt>
                <c:pt idx="1919">
                  <c:v>-0.85354454444103722</c:v>
                </c:pt>
                <c:pt idx="1920">
                  <c:v>-0.71528182469358659</c:v>
                </c:pt>
                <c:pt idx="1921">
                  <c:v>-0.71364507895526064</c:v>
                </c:pt>
                <c:pt idx="1922">
                  <c:v>-0.675292762287652</c:v>
                </c:pt>
                <c:pt idx="1923">
                  <c:v>-0.65909567123776103</c:v>
                </c:pt>
                <c:pt idx="1924">
                  <c:v>-0.77294452134124836</c:v>
                </c:pt>
                <c:pt idx="1925">
                  <c:v>-0.75297624172192823</c:v>
                </c:pt>
                <c:pt idx="1926">
                  <c:v>-0.73813606669477505</c:v>
                </c:pt>
                <c:pt idx="1927">
                  <c:v>-0.67431767100711859</c:v>
                </c:pt>
                <c:pt idx="1928">
                  <c:v>-0.53643263911668793</c:v>
                </c:pt>
                <c:pt idx="1929">
                  <c:v>-8.8134324355812477E-2</c:v>
                </c:pt>
                <c:pt idx="1930">
                  <c:v>-0.15362534177059961</c:v>
                </c:pt>
                <c:pt idx="1931">
                  <c:v>-0.15153308387404751</c:v>
                </c:pt>
                <c:pt idx="1932">
                  <c:v>3.6569465300176351E-2</c:v>
                </c:pt>
                <c:pt idx="1933">
                  <c:v>0.22599293980545831</c:v>
                </c:pt>
                <c:pt idx="1934">
                  <c:v>0.33681911537102316</c:v>
                </c:pt>
                <c:pt idx="1935">
                  <c:v>0.38579059816687966</c:v>
                </c:pt>
                <c:pt idx="1936">
                  <c:v>0.50072625859821362</c:v>
                </c:pt>
                <c:pt idx="1937">
                  <c:v>0.63746069540109307</c:v>
                </c:pt>
                <c:pt idx="1938">
                  <c:v>0.62850074385816523</c:v>
                </c:pt>
                <c:pt idx="1939">
                  <c:v>0.68397193916542309</c:v>
                </c:pt>
                <c:pt idx="1940">
                  <c:v>0.79182211709948047</c:v>
                </c:pt>
                <c:pt idx="1941">
                  <c:v>0.8213499593343998</c:v>
                </c:pt>
                <c:pt idx="1942">
                  <c:v>0.90331855438887942</c:v>
                </c:pt>
                <c:pt idx="1943">
                  <c:v>0.91287010181648476</c:v>
                </c:pt>
                <c:pt idx="1944">
                  <c:v>0.92383214715113238</c:v>
                </c:pt>
                <c:pt idx="1945">
                  <c:v>1.0784182575434231</c:v>
                </c:pt>
                <c:pt idx="1946">
                  <c:v>1.105355676978137</c:v>
                </c:pt>
                <c:pt idx="1947">
                  <c:v>1.0299318642680495</c:v>
                </c:pt>
                <c:pt idx="1948">
                  <c:v>1.1018916146046358</c:v>
                </c:pt>
                <c:pt idx="1949">
                  <c:v>1.1020532112772292</c:v>
                </c:pt>
                <c:pt idx="1950">
                  <c:v>1.2068260963106785</c:v>
                </c:pt>
                <c:pt idx="1951">
                  <c:v>1.210004475222759</c:v>
                </c:pt>
                <c:pt idx="1952">
                  <c:v>1.1490504580730976</c:v>
                </c:pt>
                <c:pt idx="1953">
                  <c:v>1.1301492980938215</c:v>
                </c:pt>
                <c:pt idx="1954">
                  <c:v>1.3129648595155918</c:v>
                </c:pt>
                <c:pt idx="1955">
                  <c:v>1.2995605292976915</c:v>
                </c:pt>
                <c:pt idx="1956">
                  <c:v>1.1084296153402229</c:v>
                </c:pt>
                <c:pt idx="1957">
                  <c:v>1.0642282317489871</c:v>
                </c:pt>
                <c:pt idx="1958">
                  <c:v>1.1307959739150553</c:v>
                </c:pt>
                <c:pt idx="1959">
                  <c:v>1.1058454588719706</c:v>
                </c:pt>
                <c:pt idx="1960">
                  <c:v>1.2463153014682427</c:v>
                </c:pt>
                <c:pt idx="1961">
                  <c:v>1.2593673951203033</c:v>
                </c:pt>
                <c:pt idx="1962">
                  <c:v>1.4190848161850651</c:v>
                </c:pt>
                <c:pt idx="1963">
                  <c:v>2.0697744480201505</c:v>
                </c:pt>
                <c:pt idx="1964">
                  <c:v>2.0314415560405057</c:v>
                </c:pt>
                <c:pt idx="1965">
                  <c:v>2.0418446265646679</c:v>
                </c:pt>
                <c:pt idx="1966">
                  <c:v>2.1245387364922679</c:v>
                </c:pt>
                <c:pt idx="1967">
                  <c:v>2.1251538543925115</c:v>
                </c:pt>
                <c:pt idx="1968">
                  <c:v>2.1229406181516031</c:v>
                </c:pt>
                <c:pt idx="1969">
                  <c:v>2.3148504402361296</c:v>
                </c:pt>
                <c:pt idx="1970">
                  <c:v>2.2155262200645343</c:v>
                </c:pt>
                <c:pt idx="1971">
                  <c:v>2.2130540480225975</c:v>
                </c:pt>
                <c:pt idx="1972">
                  <c:v>2.2496665537371063</c:v>
                </c:pt>
                <c:pt idx="1973">
                  <c:v>2.3507293903429232</c:v>
                </c:pt>
                <c:pt idx="1974">
                  <c:v>2.2014203945290718</c:v>
                </c:pt>
                <c:pt idx="1975">
                  <c:v>1.9310714793623895</c:v>
                </c:pt>
                <c:pt idx="1976">
                  <c:v>2.0483823284392297</c:v>
                </c:pt>
                <c:pt idx="1977">
                  <c:v>2.0396448581804059</c:v>
                </c:pt>
                <c:pt idx="1978">
                  <c:v>2.0392832300389157</c:v>
                </c:pt>
                <c:pt idx="1979">
                  <c:v>1.8479896763911374</c:v>
                </c:pt>
                <c:pt idx="1980">
                  <c:v>1.8477226313291268</c:v>
                </c:pt>
                <c:pt idx="1981">
                  <c:v>1.8590470643278567</c:v>
                </c:pt>
                <c:pt idx="1982">
                  <c:v>1.835759448779023</c:v>
                </c:pt>
                <c:pt idx="1983">
                  <c:v>1.8059688938984158</c:v>
                </c:pt>
                <c:pt idx="1984">
                  <c:v>1.864053122709866</c:v>
                </c:pt>
                <c:pt idx="1985">
                  <c:v>1.8602380863656787</c:v>
                </c:pt>
                <c:pt idx="1986">
                  <c:v>1.873047505866221</c:v>
                </c:pt>
                <c:pt idx="1987">
                  <c:v>1.8457058186483799</c:v>
                </c:pt>
                <c:pt idx="1988">
                  <c:v>1.7396435669333965</c:v>
                </c:pt>
                <c:pt idx="1989">
                  <c:v>1.5111147045282436</c:v>
                </c:pt>
                <c:pt idx="1990">
                  <c:v>1.7797942256530142</c:v>
                </c:pt>
                <c:pt idx="1991">
                  <c:v>1.7359002304087352</c:v>
                </c:pt>
                <c:pt idx="1992">
                  <c:v>1.7518138751541623</c:v>
                </c:pt>
                <c:pt idx="1993">
                  <c:v>1.5368259322519866</c:v>
                </c:pt>
                <c:pt idx="1994">
                  <c:v>1.2756004988083629</c:v>
                </c:pt>
                <c:pt idx="1995">
                  <c:v>1.1833984944787823</c:v>
                </c:pt>
                <c:pt idx="1996">
                  <c:v>1.0341331751043152</c:v>
                </c:pt>
                <c:pt idx="1997">
                  <c:v>0.83828660131211596</c:v>
                </c:pt>
                <c:pt idx="1998">
                  <c:v>0.9073159811671061</c:v>
                </c:pt>
                <c:pt idx="1999">
                  <c:v>0.97302467476890475</c:v>
                </c:pt>
                <c:pt idx="2000">
                  <c:v>1.0271900529962963</c:v>
                </c:pt>
                <c:pt idx="2001">
                  <c:v>0.94114104179849889</c:v>
                </c:pt>
                <c:pt idx="2002">
                  <c:v>0.94848392663116343</c:v>
                </c:pt>
                <c:pt idx="2003">
                  <c:v>0.92652176164605549</c:v>
                </c:pt>
                <c:pt idx="2004">
                  <c:v>0.71270075913552611</c:v>
                </c:pt>
                <c:pt idx="2005">
                  <c:v>0.60854674127045061</c:v>
                </c:pt>
                <c:pt idx="2006">
                  <c:v>0.59715278063953159</c:v>
                </c:pt>
                <c:pt idx="2007">
                  <c:v>0.59827201374017536</c:v>
                </c:pt>
                <c:pt idx="2008">
                  <c:v>0.42189290032577376</c:v>
                </c:pt>
                <c:pt idx="2009">
                  <c:v>0.43446565483665212</c:v>
                </c:pt>
                <c:pt idx="2010">
                  <c:v>0.49501607495402583</c:v>
                </c:pt>
                <c:pt idx="2011">
                  <c:v>0.49378552131220249</c:v>
                </c:pt>
                <c:pt idx="2012">
                  <c:v>0.47850946640950603</c:v>
                </c:pt>
                <c:pt idx="2013">
                  <c:v>0.48904578339535321</c:v>
                </c:pt>
                <c:pt idx="2014">
                  <c:v>0.14016788357356924</c:v>
                </c:pt>
                <c:pt idx="2015">
                  <c:v>8.0814775900479863E-2</c:v>
                </c:pt>
                <c:pt idx="2016">
                  <c:v>1.988370461968314E-2</c:v>
                </c:pt>
                <c:pt idx="2017">
                  <c:v>9.2183681246968407E-2</c:v>
                </c:pt>
                <c:pt idx="2018">
                  <c:v>-0.13023199520935808</c:v>
                </c:pt>
                <c:pt idx="2019">
                  <c:v>-0.14038216344641474</c:v>
                </c:pt>
                <c:pt idx="2020">
                  <c:v>-0.47237000825711833</c:v>
                </c:pt>
                <c:pt idx="2021">
                  <c:v>-0.37733193967574019</c:v>
                </c:pt>
                <c:pt idx="2022">
                  <c:v>-0.58195461397107939</c:v>
                </c:pt>
                <c:pt idx="2023">
                  <c:v>-1.0438579460638684</c:v>
                </c:pt>
                <c:pt idx="2024">
                  <c:v>-1.1358924732940103</c:v>
                </c:pt>
                <c:pt idx="2025">
                  <c:v>-1.0804668289327579</c:v>
                </c:pt>
                <c:pt idx="2026">
                  <c:v>-1.129466802264381</c:v>
                </c:pt>
                <c:pt idx="2027">
                  <c:v>-1.2926492039307846</c:v>
                </c:pt>
                <c:pt idx="2028">
                  <c:v>-1.3653684844349825</c:v>
                </c:pt>
                <c:pt idx="2029">
                  <c:v>-1.4479398705312811</c:v>
                </c:pt>
                <c:pt idx="2030">
                  <c:v>-1.2928167711985101</c:v>
                </c:pt>
                <c:pt idx="2031">
                  <c:v>-1.2574514540241832</c:v>
                </c:pt>
                <c:pt idx="2032">
                  <c:v>-1.2628589700290169</c:v>
                </c:pt>
                <c:pt idx="2033">
                  <c:v>-1.3047230639215188</c:v>
                </c:pt>
                <c:pt idx="2034">
                  <c:v>-0.88833297190475258</c:v>
                </c:pt>
                <c:pt idx="2035">
                  <c:v>-0.37911941321531889</c:v>
                </c:pt>
                <c:pt idx="2036">
                  <c:v>-0.53909511196582471</c:v>
                </c:pt>
                <c:pt idx="2037">
                  <c:v>-0.56235631585090928</c:v>
                </c:pt>
                <c:pt idx="2038">
                  <c:v>-0.57885671820655094</c:v>
                </c:pt>
                <c:pt idx="2039">
                  <c:v>-0.47716092591705977</c:v>
                </c:pt>
                <c:pt idx="2040">
                  <c:v>-0.45095762330966682</c:v>
                </c:pt>
                <c:pt idx="2041">
                  <c:v>-0.14551697583993495</c:v>
                </c:pt>
                <c:pt idx="2042">
                  <c:v>-1.9122943408289572E-2</c:v>
                </c:pt>
                <c:pt idx="2043">
                  <c:v>0.16506772451294616</c:v>
                </c:pt>
                <c:pt idx="2044">
                  <c:v>0.16864662134314368</c:v>
                </c:pt>
                <c:pt idx="2045">
                  <c:v>0.36756307987051151</c:v>
                </c:pt>
                <c:pt idx="2046">
                  <c:v>0.49764562590016992</c:v>
                </c:pt>
                <c:pt idx="2047">
                  <c:v>0.5564792065905072</c:v>
                </c:pt>
                <c:pt idx="2048">
                  <c:v>0.55595124493042769</c:v>
                </c:pt>
                <c:pt idx="2049">
                  <c:v>0.40714947729025563</c:v>
                </c:pt>
                <c:pt idx="2050">
                  <c:v>0.36147470912482327</c:v>
                </c:pt>
                <c:pt idx="2051">
                  <c:v>0.16807376252810924</c:v>
                </c:pt>
                <c:pt idx="2052">
                  <c:v>0.11842934123957316</c:v>
                </c:pt>
                <c:pt idx="2053">
                  <c:v>0.11860401169912771</c:v>
                </c:pt>
                <c:pt idx="2054">
                  <c:v>0.27472254587120604</c:v>
                </c:pt>
                <c:pt idx="2055">
                  <c:v>0.34665518703647091</c:v>
                </c:pt>
                <c:pt idx="2056">
                  <c:v>0.35856932266606911</c:v>
                </c:pt>
                <c:pt idx="2057">
                  <c:v>0.3753725904524885</c:v>
                </c:pt>
                <c:pt idx="2058">
                  <c:v>0.39022167449074552</c:v>
                </c:pt>
                <c:pt idx="2059">
                  <c:v>7.4257257762413986E-2</c:v>
                </c:pt>
                <c:pt idx="2060">
                  <c:v>7.6667491784948583E-2</c:v>
                </c:pt>
                <c:pt idx="2061">
                  <c:v>0.12216346444973158</c:v>
                </c:pt>
                <c:pt idx="2062">
                  <c:v>9.1827132966521008E-2</c:v>
                </c:pt>
                <c:pt idx="2063">
                  <c:v>9.2349288712895161E-2</c:v>
                </c:pt>
                <c:pt idx="2064">
                  <c:v>0.17663905345820519</c:v>
                </c:pt>
                <c:pt idx="2065">
                  <c:v>0.20942808377243383</c:v>
                </c:pt>
                <c:pt idx="2066">
                  <c:v>0.20446185533539163</c:v>
                </c:pt>
                <c:pt idx="2067">
                  <c:v>0.19502483550717098</c:v>
                </c:pt>
                <c:pt idx="2068">
                  <c:v>0.24829781655358041</c:v>
                </c:pt>
                <c:pt idx="2069">
                  <c:v>0.37600049907244304</c:v>
                </c:pt>
                <c:pt idx="2070">
                  <c:v>0.37926194369408417</c:v>
                </c:pt>
                <c:pt idx="2071">
                  <c:v>0.37301058658684716</c:v>
                </c:pt>
                <c:pt idx="2072">
                  <c:v>0.40510930781064158</c:v>
                </c:pt>
                <c:pt idx="2073">
                  <c:v>0.28187931364459518</c:v>
                </c:pt>
                <c:pt idx="2074">
                  <c:v>0.35029387807696266</c:v>
                </c:pt>
                <c:pt idx="2075">
                  <c:v>0.34704055649077692</c:v>
                </c:pt>
                <c:pt idx="2076">
                  <c:v>0.33871096285237323</c:v>
                </c:pt>
                <c:pt idx="2077">
                  <c:v>0.24932729223527961</c:v>
                </c:pt>
                <c:pt idx="2078">
                  <c:v>0.25493353727261692</c:v>
                </c:pt>
                <c:pt idx="2079">
                  <c:v>-0.23036314624890475</c:v>
                </c:pt>
                <c:pt idx="2080">
                  <c:v>-0.36642424754644021</c:v>
                </c:pt>
                <c:pt idx="2081">
                  <c:v>-0.68834458061800829</c:v>
                </c:pt>
                <c:pt idx="2082">
                  <c:v>-0.60328464854234876</c:v>
                </c:pt>
                <c:pt idx="2083">
                  <c:v>-0.59770637215510181</c:v>
                </c:pt>
                <c:pt idx="2084">
                  <c:v>-0.11853715742969895</c:v>
                </c:pt>
                <c:pt idx="2085">
                  <c:v>-9.9493478083242937E-2</c:v>
                </c:pt>
                <c:pt idx="2086">
                  <c:v>-0.13496080801138066</c:v>
                </c:pt>
                <c:pt idx="2087">
                  <c:v>-0.65050995998555405</c:v>
                </c:pt>
                <c:pt idx="2088">
                  <c:v>-0.67189812412153938</c:v>
                </c:pt>
                <c:pt idx="2089">
                  <c:v>-0.47940262013738133</c:v>
                </c:pt>
                <c:pt idx="2090">
                  <c:v>-0.43058249920114866</c:v>
                </c:pt>
                <c:pt idx="2091">
                  <c:v>-0.53685895942774953</c:v>
                </c:pt>
                <c:pt idx="2092">
                  <c:v>-0.52917408608862959</c:v>
                </c:pt>
                <c:pt idx="2093">
                  <c:v>-0.50352567307535012</c:v>
                </c:pt>
                <c:pt idx="2094">
                  <c:v>-0.58281154840991167</c:v>
                </c:pt>
                <c:pt idx="2095">
                  <c:v>-0.89879455693075705</c:v>
                </c:pt>
                <c:pt idx="2096">
                  <c:v>-0.70072468665111076</c:v>
                </c:pt>
                <c:pt idx="2097">
                  <c:v>-0.7365242471698924</c:v>
                </c:pt>
                <c:pt idx="2098">
                  <c:v>-0.73879030462549455</c:v>
                </c:pt>
                <c:pt idx="2099">
                  <c:v>-0.77750494986887908</c:v>
                </c:pt>
                <c:pt idx="2100">
                  <c:v>-0.82351943940230377</c:v>
                </c:pt>
                <c:pt idx="2101">
                  <c:v>-1.2037855628370564</c:v>
                </c:pt>
                <c:pt idx="2102">
                  <c:v>-1.3923336614442756</c:v>
                </c:pt>
                <c:pt idx="2103">
                  <c:v>-1.4625216029907073</c:v>
                </c:pt>
                <c:pt idx="2104">
                  <c:v>-1.5275563602775462</c:v>
                </c:pt>
                <c:pt idx="2105">
                  <c:v>-1.7599457129353513</c:v>
                </c:pt>
                <c:pt idx="2106">
                  <c:v>-1.9049052773658703</c:v>
                </c:pt>
                <c:pt idx="2107">
                  <c:v>-2.0044490384657609</c:v>
                </c:pt>
                <c:pt idx="2108">
                  <c:v>-1.9938421279084517</c:v>
                </c:pt>
                <c:pt idx="2109">
                  <c:v>-1.9078227578563312</c:v>
                </c:pt>
                <c:pt idx="2110">
                  <c:v>-1.9183614879023647</c:v>
                </c:pt>
                <c:pt idx="2111">
                  <c:v>-1.6504824184382345</c:v>
                </c:pt>
                <c:pt idx="2112">
                  <c:v>-1.6122239568221508</c:v>
                </c:pt>
                <c:pt idx="2113">
                  <c:v>-1.6565343286141787</c:v>
                </c:pt>
                <c:pt idx="2114">
                  <c:v>-1.8662635500376528</c:v>
                </c:pt>
                <c:pt idx="2115">
                  <c:v>-1.8615395736349765</c:v>
                </c:pt>
                <c:pt idx="2116">
                  <c:v>-1.8222768320180633</c:v>
                </c:pt>
                <c:pt idx="2117">
                  <c:v>-1.7995726250843753</c:v>
                </c:pt>
                <c:pt idx="2118">
                  <c:v>-1.8141874673012341</c:v>
                </c:pt>
                <c:pt idx="2119">
                  <c:v>-1.581114609599743</c:v>
                </c:pt>
                <c:pt idx="2120">
                  <c:v>-1.6109616375210773</c:v>
                </c:pt>
                <c:pt idx="2121">
                  <c:v>-1.5977793968335208</c:v>
                </c:pt>
                <c:pt idx="2122">
                  <c:v>-1.5770460094641225</c:v>
                </c:pt>
                <c:pt idx="2123">
                  <c:v>-1.7205218340965693</c:v>
                </c:pt>
                <c:pt idx="2124">
                  <c:v>-1.84569766684253</c:v>
                </c:pt>
                <c:pt idx="2125">
                  <c:v>-1.8871179233657358</c:v>
                </c:pt>
                <c:pt idx="2126">
                  <c:v>-2.0150948683541809</c:v>
                </c:pt>
                <c:pt idx="2127">
                  <c:v>-2.02877710979672</c:v>
                </c:pt>
                <c:pt idx="2128">
                  <c:v>-1.9780891668828515</c:v>
                </c:pt>
                <c:pt idx="2129">
                  <c:v>-2.0601203448716658</c:v>
                </c:pt>
                <c:pt idx="2130">
                  <c:v>-1.9722879336170922</c:v>
                </c:pt>
                <c:pt idx="2131">
                  <c:v>-1.8715383809252417</c:v>
                </c:pt>
                <c:pt idx="2132">
                  <c:v>-1.9121407796017924</c:v>
                </c:pt>
                <c:pt idx="2133">
                  <c:v>-2.0839929370265713</c:v>
                </c:pt>
                <c:pt idx="2134">
                  <c:v>-2.2034915664254475</c:v>
                </c:pt>
                <c:pt idx="2135">
                  <c:v>-2.1463806658142266</c:v>
                </c:pt>
                <c:pt idx="2136">
                  <c:v>-2.2215802475374691</c:v>
                </c:pt>
                <c:pt idx="2137">
                  <c:v>-2.1135489764334685</c:v>
                </c:pt>
                <c:pt idx="2138">
                  <c:v>-2.1856202566850307</c:v>
                </c:pt>
                <c:pt idx="2139">
                  <c:v>-1.884623309678074</c:v>
                </c:pt>
                <c:pt idx="2140">
                  <c:v>-2.1032775450992443</c:v>
                </c:pt>
                <c:pt idx="2141">
                  <c:v>-2.036231914043765</c:v>
                </c:pt>
                <c:pt idx="2142">
                  <c:v>-2.0964552710895061</c:v>
                </c:pt>
                <c:pt idx="2143">
                  <c:v>-2.1846369673610591</c:v>
                </c:pt>
                <c:pt idx="2144">
                  <c:v>-2.9098080291882016</c:v>
                </c:pt>
                <c:pt idx="2145">
                  <c:v>-2.9136449988853759</c:v>
                </c:pt>
                <c:pt idx="2146">
                  <c:v>-2.919729391478501</c:v>
                </c:pt>
                <c:pt idx="2147">
                  <c:v>-2.6363822665109504</c:v>
                </c:pt>
                <c:pt idx="2148">
                  <c:v>-2.5889710115076903</c:v>
                </c:pt>
                <c:pt idx="2149">
                  <c:v>-2.6733025695770127</c:v>
                </c:pt>
                <c:pt idx="2150">
                  <c:v>-2.8135861250944139</c:v>
                </c:pt>
                <c:pt idx="2151">
                  <c:v>-2.761322351762971</c:v>
                </c:pt>
                <c:pt idx="2152">
                  <c:v>-2.7888332547168022</c:v>
                </c:pt>
                <c:pt idx="2153">
                  <c:v>-2.8562721543434422</c:v>
                </c:pt>
                <c:pt idx="2154">
                  <c:v>-2.8271422482368274</c:v>
                </c:pt>
                <c:pt idx="2155">
                  <c:v>-2.7783793316335155</c:v>
                </c:pt>
                <c:pt idx="2156">
                  <c:v>-2.7508031837958331</c:v>
                </c:pt>
                <c:pt idx="2157">
                  <c:v>-2.722431785346763</c:v>
                </c:pt>
                <c:pt idx="2158">
                  <c:v>-2.7203995523409215</c:v>
                </c:pt>
                <c:pt idx="2159">
                  <c:v>-2.6496355336006139</c:v>
                </c:pt>
                <c:pt idx="2160">
                  <c:v>-2.5631094370598935</c:v>
                </c:pt>
                <c:pt idx="2161">
                  <c:v>-2.5393596229490529</c:v>
                </c:pt>
                <c:pt idx="2162">
                  <c:v>-2.4638976794961187</c:v>
                </c:pt>
                <c:pt idx="2163">
                  <c:v>-2.4789711831581878</c:v>
                </c:pt>
                <c:pt idx="2164">
                  <c:v>-2.4051072436260452</c:v>
                </c:pt>
                <c:pt idx="2165">
                  <c:v>-2.2316361797682567</c:v>
                </c:pt>
                <c:pt idx="2166">
                  <c:v>-2.2655759078536759</c:v>
                </c:pt>
                <c:pt idx="2167">
                  <c:v>-2.28462753797736</c:v>
                </c:pt>
                <c:pt idx="2168">
                  <c:v>-2.2314128690551494</c:v>
                </c:pt>
                <c:pt idx="2169">
                  <c:v>-2.2763688332352929</c:v>
                </c:pt>
                <c:pt idx="2170">
                  <c:v>-2.2427932828081918</c:v>
                </c:pt>
                <c:pt idx="2171">
                  <c:v>-2.312679910398824</c:v>
                </c:pt>
                <c:pt idx="2172">
                  <c:v>-2.3349050757676846</c:v>
                </c:pt>
                <c:pt idx="2173">
                  <c:v>-2.2875543467590411</c:v>
                </c:pt>
                <c:pt idx="2174">
                  <c:v>-2.1533723838756567</c:v>
                </c:pt>
                <c:pt idx="2175">
                  <c:v>-2.1660409161428555</c:v>
                </c:pt>
                <c:pt idx="2176">
                  <c:v>-2.2045687841929924</c:v>
                </c:pt>
                <c:pt idx="2177">
                  <c:v>-2.2199799352240897</c:v>
                </c:pt>
                <c:pt idx="2178">
                  <c:v>-2.2036954573781795</c:v>
                </c:pt>
                <c:pt idx="2179">
                  <c:v>-2.2101383993944457</c:v>
                </c:pt>
                <c:pt idx="2180">
                  <c:v>-2.1892620378738847</c:v>
                </c:pt>
                <c:pt idx="2181">
                  <c:v>-2.1920601822421948</c:v>
                </c:pt>
                <c:pt idx="2182">
                  <c:v>-2.1949421028049003</c:v>
                </c:pt>
                <c:pt idx="2183">
                  <c:v>-2.0609649067054425</c:v>
                </c:pt>
                <c:pt idx="2184">
                  <c:v>-1.9502413455572742</c:v>
                </c:pt>
                <c:pt idx="2185">
                  <c:v>-1.9486093230331596</c:v>
                </c:pt>
                <c:pt idx="2186">
                  <c:v>-1.9091394777438042</c:v>
                </c:pt>
                <c:pt idx="2187">
                  <c:v>-1.7139073935665801</c:v>
                </c:pt>
                <c:pt idx="2188">
                  <c:v>-1.7329661497772098</c:v>
                </c:pt>
                <c:pt idx="2189">
                  <c:v>-1.7037269067017746</c:v>
                </c:pt>
                <c:pt idx="2190">
                  <c:v>-1.561027365208731</c:v>
                </c:pt>
                <c:pt idx="2191">
                  <c:v>-1.3852968172597624</c:v>
                </c:pt>
                <c:pt idx="2192">
                  <c:v>-1.3502583619919184</c:v>
                </c:pt>
                <c:pt idx="2193">
                  <c:v>-1.0118915951599805</c:v>
                </c:pt>
                <c:pt idx="2194">
                  <c:v>-1.087953662224328</c:v>
                </c:pt>
                <c:pt idx="2195">
                  <c:v>-0.94914367358627516</c:v>
                </c:pt>
                <c:pt idx="2196">
                  <c:v>-0.86084940518918185</c:v>
                </c:pt>
                <c:pt idx="2197">
                  <c:v>-0.84628244104490991</c:v>
                </c:pt>
                <c:pt idx="2198">
                  <c:v>-0.77488457694291357</c:v>
                </c:pt>
                <c:pt idx="2199">
                  <c:v>-0.83424249611310508</c:v>
                </c:pt>
                <c:pt idx="2200">
                  <c:v>-0.13580818068135159</c:v>
                </c:pt>
                <c:pt idx="2201">
                  <c:v>3.3381619218758596E-3</c:v>
                </c:pt>
                <c:pt idx="2202">
                  <c:v>1.0363666247042991E-2</c:v>
                </c:pt>
                <c:pt idx="2203">
                  <c:v>0.2630620717545662</c:v>
                </c:pt>
                <c:pt idx="2204">
                  <c:v>1.02554107549927</c:v>
                </c:pt>
                <c:pt idx="2205">
                  <c:v>1.0401816537980058</c:v>
                </c:pt>
                <c:pt idx="2206">
                  <c:v>1.0567873670554062</c:v>
                </c:pt>
                <c:pt idx="2207">
                  <c:v>1.3496087921227558</c:v>
                </c:pt>
                <c:pt idx="2208">
                  <c:v>1.4695440191771354</c:v>
                </c:pt>
                <c:pt idx="2209">
                  <c:v>1.39798955445678</c:v>
                </c:pt>
                <c:pt idx="2210">
                  <c:v>1.3888968889474689</c:v>
                </c:pt>
                <c:pt idx="2211">
                  <c:v>1.680879369545127</c:v>
                </c:pt>
                <c:pt idx="2212">
                  <c:v>1.9998833492237578</c:v>
                </c:pt>
                <c:pt idx="2213">
                  <c:v>2.2788978935430859</c:v>
                </c:pt>
                <c:pt idx="2214">
                  <c:v>2.2400265369716452</c:v>
                </c:pt>
                <c:pt idx="2215">
                  <c:v>2.2199230181993794</c:v>
                </c:pt>
                <c:pt idx="2216">
                  <c:v>2.2444004314537191</c:v>
                </c:pt>
                <c:pt idx="2217">
                  <c:v>2.2768033191904067</c:v>
                </c:pt>
                <c:pt idx="2218">
                  <c:v>2.3948011801585261</c:v>
                </c:pt>
                <c:pt idx="2219">
                  <c:v>2.5762776906450373</c:v>
                </c:pt>
                <c:pt idx="2220">
                  <c:v>2.703627098636241</c:v>
                </c:pt>
                <c:pt idx="2221">
                  <c:v>2.8678821349330614</c:v>
                </c:pt>
                <c:pt idx="2222">
                  <c:v>3.0546406685473704</c:v>
                </c:pt>
                <c:pt idx="2223">
                  <c:v>3.0108721103571296</c:v>
                </c:pt>
                <c:pt idx="2224">
                  <c:v>2.9828288481992482</c:v>
                </c:pt>
                <c:pt idx="2225">
                  <c:v>2.9711261498297006</c:v>
                </c:pt>
                <c:pt idx="2226">
                  <c:v>2.9119901367134076</c:v>
                </c:pt>
                <c:pt idx="2227">
                  <c:v>2.8666721547391028</c:v>
                </c:pt>
                <c:pt idx="2228">
                  <c:v>2.8958530387705461</c:v>
                </c:pt>
                <c:pt idx="2229">
                  <c:v>3.0568405688262552</c:v>
                </c:pt>
                <c:pt idx="2230">
                  <c:v>3.1756548225227417</c:v>
                </c:pt>
                <c:pt idx="2231">
                  <c:v>3.1867146603783287</c:v>
                </c:pt>
                <c:pt idx="2232">
                  <c:v>3.3554799679250791</c:v>
                </c:pt>
                <c:pt idx="2233">
                  <c:v>3.2659236537954079</c:v>
                </c:pt>
                <c:pt idx="2234">
                  <c:v>3.2495518854278176</c:v>
                </c:pt>
                <c:pt idx="2235">
                  <c:v>3.2780758572218045</c:v>
                </c:pt>
                <c:pt idx="2236">
                  <c:v>3.3197380394253213</c:v>
                </c:pt>
                <c:pt idx="2237">
                  <c:v>3.2725734472850125</c:v>
                </c:pt>
                <c:pt idx="2238">
                  <c:v>3.0700549512677142</c:v>
                </c:pt>
                <c:pt idx="2239">
                  <c:v>3.0552109388808866</c:v>
                </c:pt>
                <c:pt idx="2240">
                  <c:v>3.0179179688396647</c:v>
                </c:pt>
                <c:pt idx="2241">
                  <c:v>3.0463106868284324</c:v>
                </c:pt>
                <c:pt idx="2242">
                  <c:v>3.1343476154211958</c:v>
                </c:pt>
                <c:pt idx="2243">
                  <c:v>3.1649064254879207</c:v>
                </c:pt>
                <c:pt idx="2244">
                  <c:v>3.1270393013253321</c:v>
                </c:pt>
                <c:pt idx="2245">
                  <c:v>3.0826760814281484</c:v>
                </c:pt>
                <c:pt idx="2246">
                  <c:v>3.1671439865608138</c:v>
                </c:pt>
                <c:pt idx="2247">
                  <c:v>3.0926263850096309</c:v>
                </c:pt>
                <c:pt idx="2248">
                  <c:v>3.2035037782783911</c:v>
                </c:pt>
                <c:pt idx="2249">
                  <c:v>3.1172931450103523</c:v>
                </c:pt>
                <c:pt idx="2250">
                  <c:v>2.7408990493612837</c:v>
                </c:pt>
                <c:pt idx="2251">
                  <c:v>2.5797592201594224</c:v>
                </c:pt>
                <c:pt idx="2252">
                  <c:v>2.5757824958528102</c:v>
                </c:pt>
                <c:pt idx="2253">
                  <c:v>2.5556145292177006</c:v>
                </c:pt>
                <c:pt idx="2254">
                  <c:v>2.7731771728956605</c:v>
                </c:pt>
                <c:pt idx="2255">
                  <c:v>2.7096295851661067</c:v>
                </c:pt>
                <c:pt idx="2256">
                  <c:v>2.3267099477572497</c:v>
                </c:pt>
                <c:pt idx="2257">
                  <c:v>2.3458920331597048</c:v>
                </c:pt>
                <c:pt idx="2258">
                  <c:v>2.3727033171290075</c:v>
                </c:pt>
                <c:pt idx="2259">
                  <c:v>2.3748786345945239</c:v>
                </c:pt>
                <c:pt idx="2260">
                  <c:v>2.2249756625607073</c:v>
                </c:pt>
                <c:pt idx="2261">
                  <c:v>1.5468380199334635</c:v>
                </c:pt>
                <c:pt idx="2262">
                  <c:v>1.5429266395976722</c:v>
                </c:pt>
                <c:pt idx="2263">
                  <c:v>1.5378827090642337</c:v>
                </c:pt>
                <c:pt idx="2264">
                  <c:v>1.5519317605735272</c:v>
                </c:pt>
                <c:pt idx="2265">
                  <c:v>1.5333159011259478</c:v>
                </c:pt>
                <c:pt idx="2266">
                  <c:v>1.2875560732843434</c:v>
                </c:pt>
                <c:pt idx="2267">
                  <c:v>1.0169210335615269</c:v>
                </c:pt>
                <c:pt idx="2268">
                  <c:v>0.97214728918117721</c:v>
                </c:pt>
                <c:pt idx="2269">
                  <c:v>0.76792819783491062</c:v>
                </c:pt>
                <c:pt idx="2270">
                  <c:v>0.63222635247200953</c:v>
                </c:pt>
                <c:pt idx="2271">
                  <c:v>0.4134609099976233</c:v>
                </c:pt>
                <c:pt idx="2272">
                  <c:v>0.19323598371250861</c:v>
                </c:pt>
                <c:pt idx="2273">
                  <c:v>3.6844098135996317E-2</c:v>
                </c:pt>
                <c:pt idx="2274">
                  <c:v>4.4726569326214438E-2</c:v>
                </c:pt>
                <c:pt idx="2275">
                  <c:v>2.6171667271790433E-2</c:v>
                </c:pt>
                <c:pt idx="2276">
                  <c:v>-5.0414144370450331E-2</c:v>
                </c:pt>
                <c:pt idx="2277">
                  <c:v>-6.8820822726470277E-2</c:v>
                </c:pt>
                <c:pt idx="2278">
                  <c:v>-0.15745470641408965</c:v>
                </c:pt>
                <c:pt idx="2279">
                  <c:v>-0.27759642279617525</c:v>
                </c:pt>
                <c:pt idx="2280">
                  <c:v>-0.49341660176199786</c:v>
                </c:pt>
                <c:pt idx="2281">
                  <c:v>-0.4205172591576295</c:v>
                </c:pt>
                <c:pt idx="2282">
                  <c:v>-0.61450784294509453</c:v>
                </c:pt>
                <c:pt idx="2283">
                  <c:v>-0.69917967282810134</c:v>
                </c:pt>
                <c:pt idx="2284">
                  <c:v>-0.68269538389304496</c:v>
                </c:pt>
                <c:pt idx="2285">
                  <c:v>-0.70544885345764641</c:v>
                </c:pt>
                <c:pt idx="2286">
                  <c:v>-0.69629111807427702</c:v>
                </c:pt>
                <c:pt idx="2287">
                  <c:v>-0.67607503777927236</c:v>
                </c:pt>
                <c:pt idx="2288">
                  <c:v>-0.75759018068716488</c:v>
                </c:pt>
                <c:pt idx="2289">
                  <c:v>-0.82341599822671196</c:v>
                </c:pt>
                <c:pt idx="2290">
                  <c:v>-0.97924936771522919</c:v>
                </c:pt>
                <c:pt idx="2291">
                  <c:v>-1.0042813005412849</c:v>
                </c:pt>
                <c:pt idx="2292">
                  <c:v>-0.79141910697303752</c:v>
                </c:pt>
                <c:pt idx="2293">
                  <c:v>-0.86522057149772402</c:v>
                </c:pt>
                <c:pt idx="2294">
                  <c:v>-0.85290787622420428</c:v>
                </c:pt>
                <c:pt idx="2295">
                  <c:v>-0.88834175255134151</c:v>
                </c:pt>
                <c:pt idx="2296">
                  <c:v>-0.89344421154250453</c:v>
                </c:pt>
                <c:pt idx="2297">
                  <c:v>-0.88230656623615178</c:v>
                </c:pt>
                <c:pt idx="2298">
                  <c:v>-0.66812563260856273</c:v>
                </c:pt>
                <c:pt idx="2299">
                  <c:v>-0.61462582144338196</c:v>
                </c:pt>
                <c:pt idx="2300">
                  <c:v>-0.75409168232800639</c:v>
                </c:pt>
                <c:pt idx="2301">
                  <c:v>-1.2825606911187393</c:v>
                </c:pt>
                <c:pt idx="2302">
                  <c:v>-1.0229659320887208</c:v>
                </c:pt>
                <c:pt idx="2303">
                  <c:v>-1.0848790853318246</c:v>
                </c:pt>
                <c:pt idx="2304">
                  <c:v>-1.1758888482630014</c:v>
                </c:pt>
                <c:pt idx="2305">
                  <c:v>-1.1750522810394959</c:v>
                </c:pt>
                <c:pt idx="2306">
                  <c:v>-1.1805725929945221</c:v>
                </c:pt>
                <c:pt idx="2307">
                  <c:v>-1.2174940743879314</c:v>
                </c:pt>
                <c:pt idx="2308">
                  <c:v>-1.3708443382658919</c:v>
                </c:pt>
                <c:pt idx="2309">
                  <c:v>-1.1608609260666924</c:v>
                </c:pt>
                <c:pt idx="2310">
                  <c:v>-1.1331544840859575</c:v>
                </c:pt>
                <c:pt idx="2311">
                  <c:v>-1.1271395134750062</c:v>
                </c:pt>
                <c:pt idx="2312">
                  <c:v>-1.0241608194583418</c:v>
                </c:pt>
                <c:pt idx="2313">
                  <c:v>-1.1019928345697982</c:v>
                </c:pt>
                <c:pt idx="2314">
                  <c:v>-1.2704888261176828</c:v>
                </c:pt>
                <c:pt idx="2315">
                  <c:v>-1.2979492259895364</c:v>
                </c:pt>
                <c:pt idx="2316">
                  <c:v>-1.2073868603417304</c:v>
                </c:pt>
                <c:pt idx="2317">
                  <c:v>-1.2561879149705524</c:v>
                </c:pt>
                <c:pt idx="2318">
                  <c:v>-1.416726902711718</c:v>
                </c:pt>
                <c:pt idx="2319">
                  <c:v>-1.4207288838735399</c:v>
                </c:pt>
                <c:pt idx="2320">
                  <c:v>-1.3759099422018861</c:v>
                </c:pt>
                <c:pt idx="2321">
                  <c:v>-1.0866603818202258</c:v>
                </c:pt>
                <c:pt idx="2322">
                  <c:v>-0.85933358874221155</c:v>
                </c:pt>
                <c:pt idx="2323">
                  <c:v>-0.87607703950222104</c:v>
                </c:pt>
                <c:pt idx="2324">
                  <c:v>-0.86938445026106259</c:v>
                </c:pt>
                <c:pt idx="2325">
                  <c:v>-0.96356839179728149</c:v>
                </c:pt>
                <c:pt idx="2326">
                  <c:v>-0.86515848557198738</c:v>
                </c:pt>
                <c:pt idx="2327">
                  <c:v>-0.81564779043099556</c:v>
                </c:pt>
                <c:pt idx="2328">
                  <c:v>-0.78283891750851042</c:v>
                </c:pt>
                <c:pt idx="2329">
                  <c:v>-0.56121850155627095</c:v>
                </c:pt>
                <c:pt idx="2330">
                  <c:v>-0.48660735219589468</c:v>
                </c:pt>
                <c:pt idx="2331">
                  <c:v>-0.65838363050834681</c:v>
                </c:pt>
                <c:pt idx="2332">
                  <c:v>-0.64144646947911221</c:v>
                </c:pt>
                <c:pt idx="2333">
                  <c:v>-0.57265902246772526</c:v>
                </c:pt>
                <c:pt idx="2334">
                  <c:v>-0.59478839166762776</c:v>
                </c:pt>
                <c:pt idx="2335">
                  <c:v>-0.54518309738039727</c:v>
                </c:pt>
                <c:pt idx="2336">
                  <c:v>-0.54360159813787168</c:v>
                </c:pt>
                <c:pt idx="2337">
                  <c:v>-0.54629767506749194</c:v>
                </c:pt>
                <c:pt idx="2338">
                  <c:v>-0.53581406269397336</c:v>
                </c:pt>
                <c:pt idx="2339">
                  <c:v>-0.5182331226336212</c:v>
                </c:pt>
                <c:pt idx="2340">
                  <c:v>-0.6286372581841615</c:v>
                </c:pt>
                <c:pt idx="2341">
                  <c:v>-0.64908311069751812</c:v>
                </c:pt>
                <c:pt idx="2342">
                  <c:v>-0.64577831250899886</c:v>
                </c:pt>
                <c:pt idx="2343">
                  <c:v>-0.57295167676975067</c:v>
                </c:pt>
                <c:pt idx="2344">
                  <c:v>-0.57052000541304437</c:v>
                </c:pt>
                <c:pt idx="2345">
                  <c:v>-0.30124773145064898</c:v>
                </c:pt>
                <c:pt idx="2346">
                  <c:v>-0.34098597793190133</c:v>
                </c:pt>
                <c:pt idx="2347">
                  <c:v>-0.33172514444336776</c:v>
                </c:pt>
                <c:pt idx="2348">
                  <c:v>-0.30579217097747025</c:v>
                </c:pt>
                <c:pt idx="2349">
                  <c:v>-0.31124777599391695</c:v>
                </c:pt>
                <c:pt idx="2350">
                  <c:v>-0.29167842683037737</c:v>
                </c:pt>
                <c:pt idx="2351">
                  <c:v>-0.23526023639784399</c:v>
                </c:pt>
                <c:pt idx="2352">
                  <c:v>-0.51452139034677824</c:v>
                </c:pt>
                <c:pt idx="2353">
                  <c:v>-0.42761029238937986</c:v>
                </c:pt>
                <c:pt idx="2354">
                  <c:v>-0.40836839657166224</c:v>
                </c:pt>
                <c:pt idx="2355">
                  <c:v>-0.34128592343766195</c:v>
                </c:pt>
                <c:pt idx="2356">
                  <c:v>-0.31393186218471314</c:v>
                </c:pt>
                <c:pt idx="2357">
                  <c:v>-0.31913947295507672</c:v>
                </c:pt>
                <c:pt idx="2358">
                  <c:v>-0.41253943277796412</c:v>
                </c:pt>
                <c:pt idx="2359">
                  <c:v>-0.60276620950698301</c:v>
                </c:pt>
                <c:pt idx="2360">
                  <c:v>-0.53514931201831262</c:v>
                </c:pt>
                <c:pt idx="2361">
                  <c:v>6.0150099850442285E-3</c:v>
                </c:pt>
                <c:pt idx="2362">
                  <c:v>-0.30299414410556169</c:v>
                </c:pt>
                <c:pt idx="2363">
                  <c:v>-0.30025273964082722</c:v>
                </c:pt>
                <c:pt idx="2364">
                  <c:v>-4.8917766144615515E-2</c:v>
                </c:pt>
                <c:pt idx="2365">
                  <c:v>-5.2771342823765277E-2</c:v>
                </c:pt>
                <c:pt idx="2366">
                  <c:v>-3.7816116054920079E-2</c:v>
                </c:pt>
                <c:pt idx="2367">
                  <c:v>0.10516582607227321</c:v>
                </c:pt>
                <c:pt idx="2368">
                  <c:v>0.28592896959245273</c:v>
                </c:pt>
                <c:pt idx="2369">
                  <c:v>0.16406071599786298</c:v>
                </c:pt>
                <c:pt idx="2370">
                  <c:v>0.1676117373372199</c:v>
                </c:pt>
                <c:pt idx="2371">
                  <c:v>0.18051470264460467</c:v>
                </c:pt>
                <c:pt idx="2372">
                  <c:v>0.14694299652660281</c:v>
                </c:pt>
                <c:pt idx="2373">
                  <c:v>0.28796244532818815</c:v>
                </c:pt>
                <c:pt idx="2374">
                  <c:v>0.41424203155757677</c:v>
                </c:pt>
                <c:pt idx="2375">
                  <c:v>0.4454250736058929</c:v>
                </c:pt>
                <c:pt idx="2376">
                  <c:v>0.52553470667827396</c:v>
                </c:pt>
                <c:pt idx="2377">
                  <c:v>0.62302652199162367</c:v>
                </c:pt>
                <c:pt idx="2378">
                  <c:v>0.80871878217815829</c:v>
                </c:pt>
                <c:pt idx="2379">
                  <c:v>0.80470656404108831</c:v>
                </c:pt>
                <c:pt idx="2380">
                  <c:v>0.96924211926740222</c:v>
                </c:pt>
                <c:pt idx="2381">
                  <c:v>1.0153748434902994</c:v>
                </c:pt>
                <c:pt idx="2382">
                  <c:v>0.56544208840251242</c:v>
                </c:pt>
                <c:pt idx="2383">
                  <c:v>0.55703366287959133</c:v>
                </c:pt>
                <c:pt idx="2384">
                  <c:v>0.80713229521047758</c:v>
                </c:pt>
                <c:pt idx="2385">
                  <c:v>1.0130419779489945</c:v>
                </c:pt>
                <c:pt idx="2386">
                  <c:v>1.0208090919598012</c:v>
                </c:pt>
                <c:pt idx="2387">
                  <c:v>1.017710692054294</c:v>
                </c:pt>
                <c:pt idx="2388">
                  <c:v>1.0768538569869062</c:v>
                </c:pt>
                <c:pt idx="2389">
                  <c:v>0.86948651337083738</c:v>
                </c:pt>
                <c:pt idx="2390">
                  <c:v>0.9000154445602454</c:v>
                </c:pt>
                <c:pt idx="2391">
                  <c:v>1.3995789484864103</c:v>
                </c:pt>
                <c:pt idx="2392">
                  <c:v>1.8329186438629548</c:v>
                </c:pt>
                <c:pt idx="2393">
                  <c:v>1.7863987881958365</c:v>
                </c:pt>
                <c:pt idx="2394">
                  <c:v>1.7313980057667211</c:v>
                </c:pt>
                <c:pt idx="2395">
                  <c:v>1.9185422780967047</c:v>
                </c:pt>
                <c:pt idx="2396">
                  <c:v>1.8190503651314165</c:v>
                </c:pt>
                <c:pt idx="2397">
                  <c:v>1.8084531675064213</c:v>
                </c:pt>
                <c:pt idx="2398">
                  <c:v>1.8290995739251581</c:v>
                </c:pt>
                <c:pt idx="2399">
                  <c:v>1.8549528707588943</c:v>
                </c:pt>
                <c:pt idx="2400">
                  <c:v>1.9452420015826672</c:v>
                </c:pt>
                <c:pt idx="2401">
                  <c:v>1.9848587819028958</c:v>
                </c:pt>
                <c:pt idx="2402">
                  <c:v>1.9806432735154811</c:v>
                </c:pt>
                <c:pt idx="2403">
                  <c:v>1.8871699575234879</c:v>
                </c:pt>
                <c:pt idx="2404">
                  <c:v>1.6821052927891711</c:v>
                </c:pt>
                <c:pt idx="2405">
                  <c:v>1.286225195155255</c:v>
                </c:pt>
                <c:pt idx="2406">
                  <c:v>0.92601670163153238</c:v>
                </c:pt>
                <c:pt idx="2407">
                  <c:v>0.89675655683073285</c:v>
                </c:pt>
                <c:pt idx="2408">
                  <c:v>0.84176691712836427</c:v>
                </c:pt>
                <c:pt idx="2409">
                  <c:v>0.86181058987596371</c:v>
                </c:pt>
                <c:pt idx="2410">
                  <c:v>0.9657067238148076</c:v>
                </c:pt>
                <c:pt idx="2411">
                  <c:v>0.67931169182489926</c:v>
                </c:pt>
                <c:pt idx="2412">
                  <c:v>0.66794332524910127</c:v>
                </c:pt>
                <c:pt idx="2413">
                  <c:v>0.46908945586806305</c:v>
                </c:pt>
                <c:pt idx="2414">
                  <c:v>0.38203682907244074</c:v>
                </c:pt>
                <c:pt idx="2415">
                  <c:v>0.30845641747410391</c:v>
                </c:pt>
                <c:pt idx="2416">
                  <c:v>0.31007362040158803</c:v>
                </c:pt>
                <c:pt idx="2417">
                  <c:v>0.34030142140508701</c:v>
                </c:pt>
                <c:pt idx="2418">
                  <c:v>0.23275294554828685</c:v>
                </c:pt>
                <c:pt idx="2419">
                  <c:v>0.205782932310139</c:v>
                </c:pt>
                <c:pt idx="2420">
                  <c:v>-0.27724750256759578</c:v>
                </c:pt>
                <c:pt idx="2421">
                  <c:v>-0.45246758162452716</c:v>
                </c:pt>
                <c:pt idx="2422">
                  <c:v>-0.40939254709285722</c:v>
                </c:pt>
                <c:pt idx="2423">
                  <c:v>-0.39028460532502529</c:v>
                </c:pt>
                <c:pt idx="2424">
                  <c:v>-0.52215133508705658</c:v>
                </c:pt>
                <c:pt idx="2425">
                  <c:v>-0.43131773128478601</c:v>
                </c:pt>
                <c:pt idx="2426">
                  <c:v>-0.43113347552024561</c:v>
                </c:pt>
                <c:pt idx="2427">
                  <c:v>-0.56997678077235769</c:v>
                </c:pt>
                <c:pt idx="2428">
                  <c:v>-0.74122112253431904</c:v>
                </c:pt>
                <c:pt idx="2429">
                  <c:v>-0.68920500610660795</c:v>
                </c:pt>
                <c:pt idx="2430">
                  <c:v>-0.76058503438702907</c:v>
                </c:pt>
                <c:pt idx="2431">
                  <c:v>-0.74603634949229058</c:v>
                </c:pt>
                <c:pt idx="2432">
                  <c:v>-0.82593505480194063</c:v>
                </c:pt>
                <c:pt idx="2433">
                  <c:v>-0.62816416575090517</c:v>
                </c:pt>
                <c:pt idx="2434">
                  <c:v>-0.66743271587694775</c:v>
                </c:pt>
                <c:pt idx="2435">
                  <c:v>-0.66750649617229874</c:v>
                </c:pt>
                <c:pt idx="2436">
                  <c:v>-0.74377284503321928</c:v>
                </c:pt>
                <c:pt idx="2437">
                  <c:v>-0.77603852002129381</c:v>
                </c:pt>
                <c:pt idx="2438">
                  <c:v>-0.76478544053902309</c:v>
                </c:pt>
                <c:pt idx="2439">
                  <c:v>-0.77924694950826656</c:v>
                </c:pt>
                <c:pt idx="2440">
                  <c:v>-0.69057610007429715</c:v>
                </c:pt>
                <c:pt idx="2441">
                  <c:v>-0.6275055430037646</c:v>
                </c:pt>
                <c:pt idx="2442">
                  <c:v>-0.37913355741288624</c:v>
                </c:pt>
                <c:pt idx="2443">
                  <c:v>-0.40026085834776182</c:v>
                </c:pt>
                <c:pt idx="2444">
                  <c:v>-0.62414426668727652</c:v>
                </c:pt>
                <c:pt idx="2445">
                  <c:v>-0.56486231827161948</c:v>
                </c:pt>
                <c:pt idx="2446">
                  <c:v>-0.48478016815032832</c:v>
                </c:pt>
                <c:pt idx="2447">
                  <c:v>-0.4889819529510897</c:v>
                </c:pt>
                <c:pt idx="2448">
                  <c:v>-0.48659602527281187</c:v>
                </c:pt>
                <c:pt idx="2449">
                  <c:v>-0.45027415039551877</c:v>
                </c:pt>
                <c:pt idx="2450">
                  <c:v>-0.5250796297335214</c:v>
                </c:pt>
                <c:pt idx="2451">
                  <c:v>-0.58664034365697448</c:v>
                </c:pt>
                <c:pt idx="2452">
                  <c:v>-0.91230437159132149</c:v>
                </c:pt>
                <c:pt idx="2453">
                  <c:v>-0.97010321103505603</c:v>
                </c:pt>
                <c:pt idx="2454">
                  <c:v>-0.91613592948125433</c:v>
                </c:pt>
                <c:pt idx="2455">
                  <c:v>-1.1232109594279449</c:v>
                </c:pt>
                <c:pt idx="2456">
                  <c:v>-0.93461904237930882</c:v>
                </c:pt>
                <c:pt idx="2457">
                  <c:v>-0.94107817250211334</c:v>
                </c:pt>
                <c:pt idx="2458">
                  <c:v>-1.0835277192101422</c:v>
                </c:pt>
                <c:pt idx="2459">
                  <c:v>-1.1652971729558204</c:v>
                </c:pt>
                <c:pt idx="2460">
                  <c:v>-1.1862001203777173</c:v>
                </c:pt>
                <c:pt idx="2461">
                  <c:v>-1.2781276490065052</c:v>
                </c:pt>
                <c:pt idx="2462">
                  <c:v>-1.5077102430160028</c:v>
                </c:pt>
                <c:pt idx="2463">
                  <c:v>-1.5061847797134487</c:v>
                </c:pt>
                <c:pt idx="2464">
                  <c:v>-1.2978325864209661</c:v>
                </c:pt>
                <c:pt idx="2465">
                  <c:v>-1.224142288109048</c:v>
                </c:pt>
                <c:pt idx="2466">
                  <c:v>-0.76626116114224541</c:v>
                </c:pt>
                <c:pt idx="2467">
                  <c:v>-0.76541801493583972</c:v>
                </c:pt>
                <c:pt idx="2468">
                  <c:v>-0.74479830942037195</c:v>
                </c:pt>
                <c:pt idx="2469">
                  <c:v>-0.73123749052187992</c:v>
                </c:pt>
                <c:pt idx="2470">
                  <c:v>-0.89090556612351213</c:v>
                </c:pt>
                <c:pt idx="2471">
                  <c:v>-0.69964537132347349</c:v>
                </c:pt>
                <c:pt idx="2472">
                  <c:v>-0.65674338912482255</c:v>
                </c:pt>
                <c:pt idx="2473">
                  <c:v>-0.49675421444854151</c:v>
                </c:pt>
                <c:pt idx="2474">
                  <c:v>-0.57563714857629955</c:v>
                </c:pt>
                <c:pt idx="2475">
                  <c:v>-0.55294707921013098</c:v>
                </c:pt>
                <c:pt idx="2476">
                  <c:v>-0.58098150426356132</c:v>
                </c:pt>
                <c:pt idx="2477">
                  <c:v>-0.6902568846518492</c:v>
                </c:pt>
                <c:pt idx="2478">
                  <c:v>-0.53069679278915927</c:v>
                </c:pt>
                <c:pt idx="2479">
                  <c:v>-0.41914857904455372</c:v>
                </c:pt>
                <c:pt idx="2480">
                  <c:v>0.26680456885355142</c:v>
                </c:pt>
              </c:numCache>
            </c:numRef>
          </c:val>
          <c:smooth val="0"/>
          <c:extLst xmlns:c16r2="http://schemas.microsoft.com/office/drawing/2015/06/chart">
            <c:ext xmlns:c16="http://schemas.microsoft.com/office/drawing/2014/chart" uri="{C3380CC4-5D6E-409C-BE32-E72D297353CC}">
              <c16:uniqueId val="{00000000-2809-4BF5-9C5E-0A3C5CFA0F48}"/>
            </c:ext>
          </c:extLst>
        </c:ser>
        <c:ser>
          <c:idx val="3"/>
          <c:order val="1"/>
          <c:tx>
            <c:strRef>
              <c:f>Sheet1!$BN$66</c:f>
              <c:strCache>
                <c:ptCount val="1"/>
                <c:pt idx="0">
                  <c:v>average Spread</c:v>
                </c:pt>
              </c:strCache>
            </c:strRef>
          </c:tx>
          <c:marker>
            <c:symbol val="none"/>
          </c:marker>
          <c:cat>
            <c:numRef>
              <c:f>Sheet1!$BJ$67:$BJ$2547</c:f>
              <c:numCache>
                <c:formatCode>m/d/yyyy</c:formatCode>
                <c:ptCount val="2481"/>
                <c:pt idx="0">
                  <c:v>38930</c:v>
                </c:pt>
                <c:pt idx="1">
                  <c:v>38931</c:v>
                </c:pt>
                <c:pt idx="2">
                  <c:v>38932</c:v>
                </c:pt>
                <c:pt idx="3">
                  <c:v>38933</c:v>
                </c:pt>
                <c:pt idx="4">
                  <c:v>38936</c:v>
                </c:pt>
                <c:pt idx="5">
                  <c:v>38937</c:v>
                </c:pt>
                <c:pt idx="6">
                  <c:v>38938</c:v>
                </c:pt>
                <c:pt idx="7">
                  <c:v>38939</c:v>
                </c:pt>
                <c:pt idx="8">
                  <c:v>38940</c:v>
                </c:pt>
                <c:pt idx="9">
                  <c:v>38943</c:v>
                </c:pt>
                <c:pt idx="10">
                  <c:v>38944</c:v>
                </c:pt>
                <c:pt idx="11">
                  <c:v>38945</c:v>
                </c:pt>
                <c:pt idx="12">
                  <c:v>38946</c:v>
                </c:pt>
                <c:pt idx="13">
                  <c:v>38947</c:v>
                </c:pt>
                <c:pt idx="14">
                  <c:v>38950</c:v>
                </c:pt>
                <c:pt idx="15">
                  <c:v>38951</c:v>
                </c:pt>
                <c:pt idx="16">
                  <c:v>38952</c:v>
                </c:pt>
                <c:pt idx="17">
                  <c:v>38953</c:v>
                </c:pt>
                <c:pt idx="18">
                  <c:v>38954</c:v>
                </c:pt>
                <c:pt idx="19">
                  <c:v>38957</c:v>
                </c:pt>
                <c:pt idx="20">
                  <c:v>38958</c:v>
                </c:pt>
                <c:pt idx="21">
                  <c:v>38959</c:v>
                </c:pt>
                <c:pt idx="22">
                  <c:v>38960</c:v>
                </c:pt>
                <c:pt idx="23">
                  <c:v>38961</c:v>
                </c:pt>
                <c:pt idx="24">
                  <c:v>38964</c:v>
                </c:pt>
                <c:pt idx="25">
                  <c:v>38965</c:v>
                </c:pt>
                <c:pt idx="26">
                  <c:v>38966</c:v>
                </c:pt>
                <c:pt idx="27">
                  <c:v>38967</c:v>
                </c:pt>
                <c:pt idx="28">
                  <c:v>38968</c:v>
                </c:pt>
                <c:pt idx="29">
                  <c:v>38971</c:v>
                </c:pt>
                <c:pt idx="30">
                  <c:v>38972</c:v>
                </c:pt>
                <c:pt idx="31">
                  <c:v>38973</c:v>
                </c:pt>
                <c:pt idx="32">
                  <c:v>38974</c:v>
                </c:pt>
                <c:pt idx="33">
                  <c:v>38975</c:v>
                </c:pt>
                <c:pt idx="34">
                  <c:v>38978</c:v>
                </c:pt>
                <c:pt idx="35">
                  <c:v>38979</c:v>
                </c:pt>
                <c:pt idx="36">
                  <c:v>38980</c:v>
                </c:pt>
                <c:pt idx="37">
                  <c:v>38981</c:v>
                </c:pt>
                <c:pt idx="38">
                  <c:v>38982</c:v>
                </c:pt>
                <c:pt idx="39">
                  <c:v>38985</c:v>
                </c:pt>
                <c:pt idx="40">
                  <c:v>38986</c:v>
                </c:pt>
                <c:pt idx="41">
                  <c:v>38987</c:v>
                </c:pt>
                <c:pt idx="42">
                  <c:v>38988</c:v>
                </c:pt>
                <c:pt idx="43">
                  <c:v>38989</c:v>
                </c:pt>
                <c:pt idx="44">
                  <c:v>38992</c:v>
                </c:pt>
                <c:pt idx="45">
                  <c:v>38993</c:v>
                </c:pt>
                <c:pt idx="46">
                  <c:v>38994</c:v>
                </c:pt>
                <c:pt idx="47">
                  <c:v>38995</c:v>
                </c:pt>
                <c:pt idx="48">
                  <c:v>38996</c:v>
                </c:pt>
                <c:pt idx="49">
                  <c:v>38999</c:v>
                </c:pt>
                <c:pt idx="50">
                  <c:v>39000</c:v>
                </c:pt>
                <c:pt idx="51">
                  <c:v>39001</c:v>
                </c:pt>
                <c:pt idx="52">
                  <c:v>39002</c:v>
                </c:pt>
                <c:pt idx="53">
                  <c:v>39003</c:v>
                </c:pt>
                <c:pt idx="54">
                  <c:v>39006</c:v>
                </c:pt>
                <c:pt idx="55">
                  <c:v>39007</c:v>
                </c:pt>
                <c:pt idx="56">
                  <c:v>39008</c:v>
                </c:pt>
                <c:pt idx="57">
                  <c:v>39009</c:v>
                </c:pt>
                <c:pt idx="58">
                  <c:v>39010</c:v>
                </c:pt>
                <c:pt idx="59">
                  <c:v>39013</c:v>
                </c:pt>
                <c:pt idx="60">
                  <c:v>39014</c:v>
                </c:pt>
                <c:pt idx="61">
                  <c:v>39015</c:v>
                </c:pt>
                <c:pt idx="62">
                  <c:v>39016</c:v>
                </c:pt>
                <c:pt idx="63">
                  <c:v>39017</c:v>
                </c:pt>
                <c:pt idx="64">
                  <c:v>39020</c:v>
                </c:pt>
                <c:pt idx="65">
                  <c:v>39021</c:v>
                </c:pt>
                <c:pt idx="66">
                  <c:v>39022</c:v>
                </c:pt>
                <c:pt idx="67">
                  <c:v>39023</c:v>
                </c:pt>
                <c:pt idx="68">
                  <c:v>39024</c:v>
                </c:pt>
                <c:pt idx="69">
                  <c:v>39027</c:v>
                </c:pt>
                <c:pt idx="70">
                  <c:v>39028</c:v>
                </c:pt>
                <c:pt idx="71">
                  <c:v>39029</c:v>
                </c:pt>
                <c:pt idx="72">
                  <c:v>39030</c:v>
                </c:pt>
                <c:pt idx="73">
                  <c:v>39031</c:v>
                </c:pt>
                <c:pt idx="74">
                  <c:v>39034</c:v>
                </c:pt>
                <c:pt idx="75">
                  <c:v>39035</c:v>
                </c:pt>
                <c:pt idx="76">
                  <c:v>39036</c:v>
                </c:pt>
                <c:pt idx="77">
                  <c:v>39037</c:v>
                </c:pt>
                <c:pt idx="78">
                  <c:v>39038</c:v>
                </c:pt>
                <c:pt idx="79">
                  <c:v>39041</c:v>
                </c:pt>
                <c:pt idx="80">
                  <c:v>39042</c:v>
                </c:pt>
                <c:pt idx="81">
                  <c:v>39043</c:v>
                </c:pt>
                <c:pt idx="82">
                  <c:v>39044</c:v>
                </c:pt>
                <c:pt idx="83">
                  <c:v>39045</c:v>
                </c:pt>
                <c:pt idx="84">
                  <c:v>39048</c:v>
                </c:pt>
                <c:pt idx="85">
                  <c:v>39049</c:v>
                </c:pt>
                <c:pt idx="86">
                  <c:v>39050</c:v>
                </c:pt>
                <c:pt idx="87">
                  <c:v>39051</c:v>
                </c:pt>
                <c:pt idx="88">
                  <c:v>39052</c:v>
                </c:pt>
                <c:pt idx="89">
                  <c:v>39055</c:v>
                </c:pt>
                <c:pt idx="90">
                  <c:v>39056</c:v>
                </c:pt>
                <c:pt idx="91">
                  <c:v>39057</c:v>
                </c:pt>
                <c:pt idx="92">
                  <c:v>39058</c:v>
                </c:pt>
                <c:pt idx="93">
                  <c:v>39059</c:v>
                </c:pt>
                <c:pt idx="94">
                  <c:v>39062</c:v>
                </c:pt>
                <c:pt idx="95">
                  <c:v>39063</c:v>
                </c:pt>
                <c:pt idx="96">
                  <c:v>39064</c:v>
                </c:pt>
                <c:pt idx="97">
                  <c:v>39065</c:v>
                </c:pt>
                <c:pt idx="98">
                  <c:v>39066</c:v>
                </c:pt>
                <c:pt idx="99">
                  <c:v>39069</c:v>
                </c:pt>
                <c:pt idx="100">
                  <c:v>39070</c:v>
                </c:pt>
                <c:pt idx="101">
                  <c:v>39071</c:v>
                </c:pt>
                <c:pt idx="102">
                  <c:v>39072</c:v>
                </c:pt>
                <c:pt idx="103">
                  <c:v>39073</c:v>
                </c:pt>
                <c:pt idx="104">
                  <c:v>39078</c:v>
                </c:pt>
                <c:pt idx="105">
                  <c:v>39079</c:v>
                </c:pt>
                <c:pt idx="106">
                  <c:v>39080</c:v>
                </c:pt>
                <c:pt idx="107">
                  <c:v>39084</c:v>
                </c:pt>
                <c:pt idx="108">
                  <c:v>39085</c:v>
                </c:pt>
                <c:pt idx="109">
                  <c:v>39086</c:v>
                </c:pt>
                <c:pt idx="110">
                  <c:v>39087</c:v>
                </c:pt>
                <c:pt idx="111">
                  <c:v>39090</c:v>
                </c:pt>
                <c:pt idx="112">
                  <c:v>39091</c:v>
                </c:pt>
                <c:pt idx="113">
                  <c:v>39092</c:v>
                </c:pt>
                <c:pt idx="114">
                  <c:v>39093</c:v>
                </c:pt>
                <c:pt idx="115">
                  <c:v>39094</c:v>
                </c:pt>
                <c:pt idx="116">
                  <c:v>39097</c:v>
                </c:pt>
                <c:pt idx="117">
                  <c:v>39098</c:v>
                </c:pt>
                <c:pt idx="118">
                  <c:v>39099</c:v>
                </c:pt>
                <c:pt idx="119">
                  <c:v>39100</c:v>
                </c:pt>
                <c:pt idx="120">
                  <c:v>39101</c:v>
                </c:pt>
                <c:pt idx="121">
                  <c:v>39104</c:v>
                </c:pt>
                <c:pt idx="122">
                  <c:v>39105</c:v>
                </c:pt>
                <c:pt idx="123">
                  <c:v>39106</c:v>
                </c:pt>
                <c:pt idx="124">
                  <c:v>39107</c:v>
                </c:pt>
                <c:pt idx="125">
                  <c:v>39108</c:v>
                </c:pt>
                <c:pt idx="126">
                  <c:v>39111</c:v>
                </c:pt>
                <c:pt idx="127">
                  <c:v>39112</c:v>
                </c:pt>
                <c:pt idx="128">
                  <c:v>39113</c:v>
                </c:pt>
                <c:pt idx="129">
                  <c:v>39114</c:v>
                </c:pt>
                <c:pt idx="130">
                  <c:v>39115</c:v>
                </c:pt>
                <c:pt idx="131">
                  <c:v>39118</c:v>
                </c:pt>
                <c:pt idx="132">
                  <c:v>39119</c:v>
                </c:pt>
                <c:pt idx="133">
                  <c:v>39120</c:v>
                </c:pt>
                <c:pt idx="134">
                  <c:v>39121</c:v>
                </c:pt>
                <c:pt idx="135">
                  <c:v>39122</c:v>
                </c:pt>
                <c:pt idx="136">
                  <c:v>39125</c:v>
                </c:pt>
                <c:pt idx="137">
                  <c:v>39126</c:v>
                </c:pt>
                <c:pt idx="138">
                  <c:v>39127</c:v>
                </c:pt>
                <c:pt idx="139">
                  <c:v>39128</c:v>
                </c:pt>
                <c:pt idx="140">
                  <c:v>39129</c:v>
                </c:pt>
                <c:pt idx="141">
                  <c:v>39132</c:v>
                </c:pt>
                <c:pt idx="142">
                  <c:v>39133</c:v>
                </c:pt>
                <c:pt idx="143">
                  <c:v>39134</c:v>
                </c:pt>
                <c:pt idx="144">
                  <c:v>39135</c:v>
                </c:pt>
                <c:pt idx="145">
                  <c:v>39136</c:v>
                </c:pt>
                <c:pt idx="146">
                  <c:v>39139</c:v>
                </c:pt>
                <c:pt idx="147">
                  <c:v>39140</c:v>
                </c:pt>
                <c:pt idx="148">
                  <c:v>39141</c:v>
                </c:pt>
                <c:pt idx="149">
                  <c:v>39142</c:v>
                </c:pt>
                <c:pt idx="150">
                  <c:v>39143</c:v>
                </c:pt>
                <c:pt idx="151">
                  <c:v>39146</c:v>
                </c:pt>
                <c:pt idx="152">
                  <c:v>39147</c:v>
                </c:pt>
                <c:pt idx="153">
                  <c:v>39148</c:v>
                </c:pt>
                <c:pt idx="154">
                  <c:v>39149</c:v>
                </c:pt>
                <c:pt idx="155">
                  <c:v>39150</c:v>
                </c:pt>
                <c:pt idx="156">
                  <c:v>39153</c:v>
                </c:pt>
                <c:pt idx="157">
                  <c:v>39154</c:v>
                </c:pt>
                <c:pt idx="158">
                  <c:v>39155</c:v>
                </c:pt>
                <c:pt idx="159">
                  <c:v>39156</c:v>
                </c:pt>
                <c:pt idx="160">
                  <c:v>39157</c:v>
                </c:pt>
                <c:pt idx="161">
                  <c:v>39160</c:v>
                </c:pt>
                <c:pt idx="162">
                  <c:v>39161</c:v>
                </c:pt>
                <c:pt idx="163">
                  <c:v>39162</c:v>
                </c:pt>
                <c:pt idx="164">
                  <c:v>39163</c:v>
                </c:pt>
                <c:pt idx="165">
                  <c:v>39164</c:v>
                </c:pt>
                <c:pt idx="166">
                  <c:v>39167</c:v>
                </c:pt>
                <c:pt idx="167">
                  <c:v>39168</c:v>
                </c:pt>
                <c:pt idx="168">
                  <c:v>39169</c:v>
                </c:pt>
                <c:pt idx="169">
                  <c:v>39170</c:v>
                </c:pt>
                <c:pt idx="170">
                  <c:v>39171</c:v>
                </c:pt>
                <c:pt idx="171">
                  <c:v>39174</c:v>
                </c:pt>
                <c:pt idx="172">
                  <c:v>39175</c:v>
                </c:pt>
                <c:pt idx="173">
                  <c:v>39176</c:v>
                </c:pt>
                <c:pt idx="174">
                  <c:v>39177</c:v>
                </c:pt>
                <c:pt idx="175">
                  <c:v>39182</c:v>
                </c:pt>
                <c:pt idx="176">
                  <c:v>39183</c:v>
                </c:pt>
                <c:pt idx="177">
                  <c:v>39184</c:v>
                </c:pt>
                <c:pt idx="178">
                  <c:v>39185</c:v>
                </c:pt>
                <c:pt idx="179">
                  <c:v>39188</c:v>
                </c:pt>
                <c:pt idx="180">
                  <c:v>39189</c:v>
                </c:pt>
                <c:pt idx="181">
                  <c:v>39190</c:v>
                </c:pt>
                <c:pt idx="182">
                  <c:v>39191</c:v>
                </c:pt>
                <c:pt idx="183">
                  <c:v>39192</c:v>
                </c:pt>
                <c:pt idx="184">
                  <c:v>39195</c:v>
                </c:pt>
                <c:pt idx="185">
                  <c:v>39196</c:v>
                </c:pt>
                <c:pt idx="186">
                  <c:v>39197</c:v>
                </c:pt>
                <c:pt idx="187">
                  <c:v>39198</c:v>
                </c:pt>
                <c:pt idx="188">
                  <c:v>39199</c:v>
                </c:pt>
                <c:pt idx="189">
                  <c:v>39202</c:v>
                </c:pt>
                <c:pt idx="190">
                  <c:v>39204</c:v>
                </c:pt>
                <c:pt idx="191">
                  <c:v>39205</c:v>
                </c:pt>
                <c:pt idx="192">
                  <c:v>39206</c:v>
                </c:pt>
                <c:pt idx="193">
                  <c:v>39209</c:v>
                </c:pt>
                <c:pt idx="194">
                  <c:v>39210</c:v>
                </c:pt>
                <c:pt idx="195">
                  <c:v>39211</c:v>
                </c:pt>
                <c:pt idx="196">
                  <c:v>39212</c:v>
                </c:pt>
                <c:pt idx="197">
                  <c:v>39213</c:v>
                </c:pt>
                <c:pt idx="198">
                  <c:v>39216</c:v>
                </c:pt>
                <c:pt idx="199">
                  <c:v>39217</c:v>
                </c:pt>
                <c:pt idx="200">
                  <c:v>39218</c:v>
                </c:pt>
                <c:pt idx="201">
                  <c:v>39219</c:v>
                </c:pt>
                <c:pt idx="202">
                  <c:v>39220</c:v>
                </c:pt>
                <c:pt idx="203">
                  <c:v>39223</c:v>
                </c:pt>
                <c:pt idx="204">
                  <c:v>39224</c:v>
                </c:pt>
                <c:pt idx="205">
                  <c:v>39225</c:v>
                </c:pt>
                <c:pt idx="206">
                  <c:v>39226</c:v>
                </c:pt>
                <c:pt idx="207">
                  <c:v>39227</c:v>
                </c:pt>
                <c:pt idx="208">
                  <c:v>39231</c:v>
                </c:pt>
                <c:pt idx="209">
                  <c:v>39232</c:v>
                </c:pt>
                <c:pt idx="210">
                  <c:v>39233</c:v>
                </c:pt>
                <c:pt idx="211">
                  <c:v>39234</c:v>
                </c:pt>
                <c:pt idx="212">
                  <c:v>39237</c:v>
                </c:pt>
                <c:pt idx="213">
                  <c:v>39238</c:v>
                </c:pt>
                <c:pt idx="214">
                  <c:v>39239</c:v>
                </c:pt>
                <c:pt idx="215">
                  <c:v>39240</c:v>
                </c:pt>
                <c:pt idx="216">
                  <c:v>39241</c:v>
                </c:pt>
                <c:pt idx="217">
                  <c:v>39244</c:v>
                </c:pt>
                <c:pt idx="218">
                  <c:v>39245</c:v>
                </c:pt>
                <c:pt idx="219">
                  <c:v>39246</c:v>
                </c:pt>
                <c:pt idx="220">
                  <c:v>39247</c:v>
                </c:pt>
                <c:pt idx="221">
                  <c:v>39248</c:v>
                </c:pt>
                <c:pt idx="222">
                  <c:v>39251</c:v>
                </c:pt>
                <c:pt idx="223">
                  <c:v>39252</c:v>
                </c:pt>
                <c:pt idx="224">
                  <c:v>39253</c:v>
                </c:pt>
                <c:pt idx="225">
                  <c:v>39254</c:v>
                </c:pt>
                <c:pt idx="226">
                  <c:v>39255</c:v>
                </c:pt>
                <c:pt idx="227">
                  <c:v>39258</c:v>
                </c:pt>
                <c:pt idx="228">
                  <c:v>39259</c:v>
                </c:pt>
                <c:pt idx="229">
                  <c:v>39260</c:v>
                </c:pt>
                <c:pt idx="230">
                  <c:v>39261</c:v>
                </c:pt>
                <c:pt idx="231">
                  <c:v>39262</c:v>
                </c:pt>
                <c:pt idx="232">
                  <c:v>39265</c:v>
                </c:pt>
                <c:pt idx="233">
                  <c:v>39266</c:v>
                </c:pt>
                <c:pt idx="234">
                  <c:v>39267</c:v>
                </c:pt>
                <c:pt idx="235">
                  <c:v>39268</c:v>
                </c:pt>
                <c:pt idx="236">
                  <c:v>39269</c:v>
                </c:pt>
                <c:pt idx="237">
                  <c:v>39272</c:v>
                </c:pt>
                <c:pt idx="238">
                  <c:v>39273</c:v>
                </c:pt>
                <c:pt idx="239">
                  <c:v>39274</c:v>
                </c:pt>
                <c:pt idx="240">
                  <c:v>39275</c:v>
                </c:pt>
                <c:pt idx="241">
                  <c:v>39276</c:v>
                </c:pt>
                <c:pt idx="242">
                  <c:v>39279</c:v>
                </c:pt>
                <c:pt idx="243">
                  <c:v>39280</c:v>
                </c:pt>
                <c:pt idx="244">
                  <c:v>39281</c:v>
                </c:pt>
                <c:pt idx="245">
                  <c:v>39282</c:v>
                </c:pt>
                <c:pt idx="246">
                  <c:v>39283</c:v>
                </c:pt>
                <c:pt idx="247">
                  <c:v>39286</c:v>
                </c:pt>
                <c:pt idx="248">
                  <c:v>39287</c:v>
                </c:pt>
                <c:pt idx="249">
                  <c:v>39288</c:v>
                </c:pt>
                <c:pt idx="250">
                  <c:v>39289</c:v>
                </c:pt>
                <c:pt idx="251">
                  <c:v>39290</c:v>
                </c:pt>
                <c:pt idx="252">
                  <c:v>39293</c:v>
                </c:pt>
                <c:pt idx="253">
                  <c:v>39294</c:v>
                </c:pt>
                <c:pt idx="254">
                  <c:v>39295</c:v>
                </c:pt>
                <c:pt idx="255">
                  <c:v>39296</c:v>
                </c:pt>
                <c:pt idx="256">
                  <c:v>39297</c:v>
                </c:pt>
                <c:pt idx="257">
                  <c:v>39300</c:v>
                </c:pt>
                <c:pt idx="258">
                  <c:v>39301</c:v>
                </c:pt>
                <c:pt idx="259">
                  <c:v>39302</c:v>
                </c:pt>
                <c:pt idx="260">
                  <c:v>39303</c:v>
                </c:pt>
                <c:pt idx="261">
                  <c:v>39304</c:v>
                </c:pt>
                <c:pt idx="262">
                  <c:v>39307</c:v>
                </c:pt>
                <c:pt idx="263">
                  <c:v>39308</c:v>
                </c:pt>
                <c:pt idx="264">
                  <c:v>39309</c:v>
                </c:pt>
                <c:pt idx="265">
                  <c:v>39310</c:v>
                </c:pt>
                <c:pt idx="266">
                  <c:v>39311</c:v>
                </c:pt>
                <c:pt idx="267">
                  <c:v>39314</c:v>
                </c:pt>
                <c:pt idx="268">
                  <c:v>39315</c:v>
                </c:pt>
                <c:pt idx="269">
                  <c:v>39316</c:v>
                </c:pt>
                <c:pt idx="270">
                  <c:v>39317</c:v>
                </c:pt>
                <c:pt idx="271">
                  <c:v>39318</c:v>
                </c:pt>
                <c:pt idx="272">
                  <c:v>39321</c:v>
                </c:pt>
                <c:pt idx="273">
                  <c:v>39322</c:v>
                </c:pt>
                <c:pt idx="274">
                  <c:v>39323</c:v>
                </c:pt>
                <c:pt idx="275">
                  <c:v>39324</c:v>
                </c:pt>
                <c:pt idx="276">
                  <c:v>39325</c:v>
                </c:pt>
                <c:pt idx="277">
                  <c:v>39328</c:v>
                </c:pt>
                <c:pt idx="278">
                  <c:v>39329</c:v>
                </c:pt>
                <c:pt idx="279">
                  <c:v>39330</c:v>
                </c:pt>
                <c:pt idx="280">
                  <c:v>39331</c:v>
                </c:pt>
                <c:pt idx="281">
                  <c:v>39332</c:v>
                </c:pt>
                <c:pt idx="282">
                  <c:v>39335</c:v>
                </c:pt>
                <c:pt idx="283">
                  <c:v>39336</c:v>
                </c:pt>
                <c:pt idx="284">
                  <c:v>39337</c:v>
                </c:pt>
                <c:pt idx="285">
                  <c:v>39338</c:v>
                </c:pt>
                <c:pt idx="286">
                  <c:v>39339</c:v>
                </c:pt>
                <c:pt idx="287">
                  <c:v>39342</c:v>
                </c:pt>
                <c:pt idx="288">
                  <c:v>39343</c:v>
                </c:pt>
                <c:pt idx="289">
                  <c:v>39344</c:v>
                </c:pt>
                <c:pt idx="290">
                  <c:v>39345</c:v>
                </c:pt>
                <c:pt idx="291">
                  <c:v>39346</c:v>
                </c:pt>
                <c:pt idx="292">
                  <c:v>39349</c:v>
                </c:pt>
                <c:pt idx="293">
                  <c:v>39350</c:v>
                </c:pt>
                <c:pt idx="294">
                  <c:v>39351</c:v>
                </c:pt>
                <c:pt idx="295">
                  <c:v>39352</c:v>
                </c:pt>
                <c:pt idx="296">
                  <c:v>39353</c:v>
                </c:pt>
                <c:pt idx="297">
                  <c:v>39356</c:v>
                </c:pt>
                <c:pt idx="298">
                  <c:v>39357</c:v>
                </c:pt>
                <c:pt idx="299">
                  <c:v>39358</c:v>
                </c:pt>
                <c:pt idx="300">
                  <c:v>39359</c:v>
                </c:pt>
                <c:pt idx="301">
                  <c:v>39360</c:v>
                </c:pt>
                <c:pt idx="302">
                  <c:v>39363</c:v>
                </c:pt>
                <c:pt idx="303">
                  <c:v>39364</c:v>
                </c:pt>
                <c:pt idx="304">
                  <c:v>39365</c:v>
                </c:pt>
                <c:pt idx="305">
                  <c:v>39366</c:v>
                </c:pt>
                <c:pt idx="306">
                  <c:v>39367</c:v>
                </c:pt>
                <c:pt idx="307">
                  <c:v>39370</c:v>
                </c:pt>
                <c:pt idx="308">
                  <c:v>39371</c:v>
                </c:pt>
                <c:pt idx="309">
                  <c:v>39372</c:v>
                </c:pt>
                <c:pt idx="310">
                  <c:v>39373</c:v>
                </c:pt>
                <c:pt idx="311">
                  <c:v>39374</c:v>
                </c:pt>
                <c:pt idx="312">
                  <c:v>39377</c:v>
                </c:pt>
                <c:pt idx="313">
                  <c:v>39378</c:v>
                </c:pt>
                <c:pt idx="314">
                  <c:v>39379</c:v>
                </c:pt>
                <c:pt idx="315">
                  <c:v>39380</c:v>
                </c:pt>
                <c:pt idx="316">
                  <c:v>39381</c:v>
                </c:pt>
                <c:pt idx="317">
                  <c:v>39384</c:v>
                </c:pt>
                <c:pt idx="318">
                  <c:v>39385</c:v>
                </c:pt>
                <c:pt idx="319">
                  <c:v>39386</c:v>
                </c:pt>
                <c:pt idx="320">
                  <c:v>39387</c:v>
                </c:pt>
                <c:pt idx="321">
                  <c:v>39388</c:v>
                </c:pt>
                <c:pt idx="322">
                  <c:v>39391</c:v>
                </c:pt>
                <c:pt idx="323">
                  <c:v>39392</c:v>
                </c:pt>
                <c:pt idx="324">
                  <c:v>39393</c:v>
                </c:pt>
                <c:pt idx="325">
                  <c:v>39394</c:v>
                </c:pt>
                <c:pt idx="326">
                  <c:v>39395</c:v>
                </c:pt>
                <c:pt idx="327">
                  <c:v>39398</c:v>
                </c:pt>
                <c:pt idx="328">
                  <c:v>39399</c:v>
                </c:pt>
                <c:pt idx="329">
                  <c:v>39400</c:v>
                </c:pt>
                <c:pt idx="330">
                  <c:v>39401</c:v>
                </c:pt>
                <c:pt idx="331">
                  <c:v>39402</c:v>
                </c:pt>
                <c:pt idx="332">
                  <c:v>39405</c:v>
                </c:pt>
                <c:pt idx="333">
                  <c:v>39406</c:v>
                </c:pt>
                <c:pt idx="334">
                  <c:v>39407</c:v>
                </c:pt>
                <c:pt idx="335">
                  <c:v>39408</c:v>
                </c:pt>
                <c:pt idx="336">
                  <c:v>39409</c:v>
                </c:pt>
                <c:pt idx="337">
                  <c:v>39412</c:v>
                </c:pt>
                <c:pt idx="338">
                  <c:v>39413</c:v>
                </c:pt>
                <c:pt idx="339">
                  <c:v>39414</c:v>
                </c:pt>
                <c:pt idx="340">
                  <c:v>39415</c:v>
                </c:pt>
                <c:pt idx="341">
                  <c:v>39416</c:v>
                </c:pt>
                <c:pt idx="342">
                  <c:v>39419</c:v>
                </c:pt>
                <c:pt idx="343">
                  <c:v>39420</c:v>
                </c:pt>
                <c:pt idx="344">
                  <c:v>39421</c:v>
                </c:pt>
                <c:pt idx="345">
                  <c:v>39422</c:v>
                </c:pt>
                <c:pt idx="346">
                  <c:v>39423</c:v>
                </c:pt>
                <c:pt idx="347">
                  <c:v>39426</c:v>
                </c:pt>
                <c:pt idx="348">
                  <c:v>39427</c:v>
                </c:pt>
                <c:pt idx="349">
                  <c:v>39428</c:v>
                </c:pt>
                <c:pt idx="350">
                  <c:v>39429</c:v>
                </c:pt>
                <c:pt idx="351">
                  <c:v>39430</c:v>
                </c:pt>
                <c:pt idx="352">
                  <c:v>39433</c:v>
                </c:pt>
                <c:pt idx="353">
                  <c:v>39434</c:v>
                </c:pt>
                <c:pt idx="354">
                  <c:v>39435</c:v>
                </c:pt>
                <c:pt idx="355">
                  <c:v>39436</c:v>
                </c:pt>
                <c:pt idx="356">
                  <c:v>39437</c:v>
                </c:pt>
                <c:pt idx="357">
                  <c:v>39443</c:v>
                </c:pt>
                <c:pt idx="358">
                  <c:v>39444</c:v>
                </c:pt>
                <c:pt idx="359">
                  <c:v>39449</c:v>
                </c:pt>
                <c:pt idx="360">
                  <c:v>39450</c:v>
                </c:pt>
                <c:pt idx="361">
                  <c:v>39451</c:v>
                </c:pt>
                <c:pt idx="362">
                  <c:v>39454</c:v>
                </c:pt>
                <c:pt idx="363">
                  <c:v>39455</c:v>
                </c:pt>
                <c:pt idx="364">
                  <c:v>39456</c:v>
                </c:pt>
                <c:pt idx="365">
                  <c:v>39457</c:v>
                </c:pt>
                <c:pt idx="366">
                  <c:v>39458</c:v>
                </c:pt>
                <c:pt idx="367">
                  <c:v>39461</c:v>
                </c:pt>
                <c:pt idx="368">
                  <c:v>39462</c:v>
                </c:pt>
                <c:pt idx="369">
                  <c:v>39463</c:v>
                </c:pt>
                <c:pt idx="370">
                  <c:v>39464</c:v>
                </c:pt>
                <c:pt idx="371">
                  <c:v>39465</c:v>
                </c:pt>
                <c:pt idx="372">
                  <c:v>39468</c:v>
                </c:pt>
                <c:pt idx="373">
                  <c:v>39469</c:v>
                </c:pt>
                <c:pt idx="374">
                  <c:v>39470</c:v>
                </c:pt>
                <c:pt idx="375">
                  <c:v>39471</c:v>
                </c:pt>
                <c:pt idx="376">
                  <c:v>39472</c:v>
                </c:pt>
                <c:pt idx="377">
                  <c:v>39475</c:v>
                </c:pt>
                <c:pt idx="378">
                  <c:v>39476</c:v>
                </c:pt>
                <c:pt idx="379">
                  <c:v>39477</c:v>
                </c:pt>
                <c:pt idx="380">
                  <c:v>39478</c:v>
                </c:pt>
                <c:pt idx="381">
                  <c:v>39479</c:v>
                </c:pt>
                <c:pt idx="382">
                  <c:v>39482</c:v>
                </c:pt>
                <c:pt idx="383">
                  <c:v>39483</c:v>
                </c:pt>
                <c:pt idx="384">
                  <c:v>39484</c:v>
                </c:pt>
                <c:pt idx="385">
                  <c:v>39485</c:v>
                </c:pt>
                <c:pt idx="386">
                  <c:v>39486</c:v>
                </c:pt>
                <c:pt idx="387">
                  <c:v>39489</c:v>
                </c:pt>
                <c:pt idx="388">
                  <c:v>39490</c:v>
                </c:pt>
                <c:pt idx="389">
                  <c:v>39491</c:v>
                </c:pt>
                <c:pt idx="390">
                  <c:v>39492</c:v>
                </c:pt>
                <c:pt idx="391">
                  <c:v>39493</c:v>
                </c:pt>
                <c:pt idx="392">
                  <c:v>39496</c:v>
                </c:pt>
                <c:pt idx="393">
                  <c:v>39497</c:v>
                </c:pt>
                <c:pt idx="394">
                  <c:v>39498</c:v>
                </c:pt>
                <c:pt idx="395">
                  <c:v>39499</c:v>
                </c:pt>
                <c:pt idx="396">
                  <c:v>39500</c:v>
                </c:pt>
                <c:pt idx="397">
                  <c:v>39503</c:v>
                </c:pt>
                <c:pt idx="398">
                  <c:v>39504</c:v>
                </c:pt>
                <c:pt idx="399">
                  <c:v>39505</c:v>
                </c:pt>
                <c:pt idx="400">
                  <c:v>39506</c:v>
                </c:pt>
                <c:pt idx="401">
                  <c:v>39507</c:v>
                </c:pt>
                <c:pt idx="402">
                  <c:v>39510</c:v>
                </c:pt>
                <c:pt idx="403">
                  <c:v>39511</c:v>
                </c:pt>
                <c:pt idx="404">
                  <c:v>39512</c:v>
                </c:pt>
                <c:pt idx="405">
                  <c:v>39513</c:v>
                </c:pt>
                <c:pt idx="406">
                  <c:v>39514</c:v>
                </c:pt>
                <c:pt idx="407">
                  <c:v>39517</c:v>
                </c:pt>
                <c:pt idx="408">
                  <c:v>39518</c:v>
                </c:pt>
                <c:pt idx="409">
                  <c:v>39519</c:v>
                </c:pt>
                <c:pt idx="410">
                  <c:v>39520</c:v>
                </c:pt>
                <c:pt idx="411">
                  <c:v>39521</c:v>
                </c:pt>
                <c:pt idx="412">
                  <c:v>39524</c:v>
                </c:pt>
                <c:pt idx="413">
                  <c:v>39525</c:v>
                </c:pt>
                <c:pt idx="414">
                  <c:v>39526</c:v>
                </c:pt>
                <c:pt idx="415">
                  <c:v>39527</c:v>
                </c:pt>
                <c:pt idx="416">
                  <c:v>39532</c:v>
                </c:pt>
                <c:pt idx="417">
                  <c:v>39533</c:v>
                </c:pt>
                <c:pt idx="418">
                  <c:v>39534</c:v>
                </c:pt>
                <c:pt idx="419">
                  <c:v>39535</c:v>
                </c:pt>
                <c:pt idx="420">
                  <c:v>39538</c:v>
                </c:pt>
                <c:pt idx="421">
                  <c:v>39539</c:v>
                </c:pt>
                <c:pt idx="422">
                  <c:v>39540</c:v>
                </c:pt>
                <c:pt idx="423">
                  <c:v>39541</c:v>
                </c:pt>
                <c:pt idx="424">
                  <c:v>39542</c:v>
                </c:pt>
                <c:pt idx="425">
                  <c:v>39545</c:v>
                </c:pt>
                <c:pt idx="426">
                  <c:v>39546</c:v>
                </c:pt>
                <c:pt idx="427">
                  <c:v>39547</c:v>
                </c:pt>
                <c:pt idx="428">
                  <c:v>39548</c:v>
                </c:pt>
                <c:pt idx="429">
                  <c:v>39549</c:v>
                </c:pt>
                <c:pt idx="430">
                  <c:v>39552</c:v>
                </c:pt>
                <c:pt idx="431">
                  <c:v>39553</c:v>
                </c:pt>
                <c:pt idx="432">
                  <c:v>39554</c:v>
                </c:pt>
                <c:pt idx="433">
                  <c:v>39555</c:v>
                </c:pt>
                <c:pt idx="434">
                  <c:v>39556</c:v>
                </c:pt>
                <c:pt idx="435">
                  <c:v>39559</c:v>
                </c:pt>
                <c:pt idx="436">
                  <c:v>39560</c:v>
                </c:pt>
                <c:pt idx="437">
                  <c:v>39561</c:v>
                </c:pt>
                <c:pt idx="438">
                  <c:v>39562</c:v>
                </c:pt>
                <c:pt idx="439">
                  <c:v>39563</c:v>
                </c:pt>
                <c:pt idx="440">
                  <c:v>39566</c:v>
                </c:pt>
                <c:pt idx="441">
                  <c:v>39567</c:v>
                </c:pt>
                <c:pt idx="442">
                  <c:v>39568</c:v>
                </c:pt>
                <c:pt idx="443">
                  <c:v>39570</c:v>
                </c:pt>
                <c:pt idx="444">
                  <c:v>39573</c:v>
                </c:pt>
                <c:pt idx="445">
                  <c:v>39574</c:v>
                </c:pt>
                <c:pt idx="446">
                  <c:v>39575</c:v>
                </c:pt>
                <c:pt idx="447">
                  <c:v>39576</c:v>
                </c:pt>
                <c:pt idx="448">
                  <c:v>39577</c:v>
                </c:pt>
                <c:pt idx="449">
                  <c:v>39580</c:v>
                </c:pt>
                <c:pt idx="450">
                  <c:v>39581</c:v>
                </c:pt>
                <c:pt idx="451">
                  <c:v>39582</c:v>
                </c:pt>
                <c:pt idx="452">
                  <c:v>39583</c:v>
                </c:pt>
                <c:pt idx="453">
                  <c:v>39584</c:v>
                </c:pt>
                <c:pt idx="454">
                  <c:v>39587</c:v>
                </c:pt>
                <c:pt idx="455">
                  <c:v>39588</c:v>
                </c:pt>
                <c:pt idx="456">
                  <c:v>39589</c:v>
                </c:pt>
                <c:pt idx="457">
                  <c:v>39590</c:v>
                </c:pt>
                <c:pt idx="458">
                  <c:v>39591</c:v>
                </c:pt>
                <c:pt idx="459">
                  <c:v>39594</c:v>
                </c:pt>
                <c:pt idx="460">
                  <c:v>39595</c:v>
                </c:pt>
                <c:pt idx="461">
                  <c:v>39596</c:v>
                </c:pt>
                <c:pt idx="462">
                  <c:v>39597</c:v>
                </c:pt>
                <c:pt idx="463">
                  <c:v>39598</c:v>
                </c:pt>
                <c:pt idx="464">
                  <c:v>39601</c:v>
                </c:pt>
                <c:pt idx="465">
                  <c:v>39602</c:v>
                </c:pt>
                <c:pt idx="466">
                  <c:v>39603</c:v>
                </c:pt>
                <c:pt idx="467">
                  <c:v>39604</c:v>
                </c:pt>
                <c:pt idx="468">
                  <c:v>39605</c:v>
                </c:pt>
                <c:pt idx="469">
                  <c:v>39608</c:v>
                </c:pt>
                <c:pt idx="470">
                  <c:v>39609</c:v>
                </c:pt>
                <c:pt idx="471">
                  <c:v>39610</c:v>
                </c:pt>
                <c:pt idx="472">
                  <c:v>39611</c:v>
                </c:pt>
                <c:pt idx="473">
                  <c:v>39612</c:v>
                </c:pt>
                <c:pt idx="474">
                  <c:v>39615</c:v>
                </c:pt>
                <c:pt idx="475">
                  <c:v>39616</c:v>
                </c:pt>
                <c:pt idx="476">
                  <c:v>39617</c:v>
                </c:pt>
                <c:pt idx="477">
                  <c:v>39618</c:v>
                </c:pt>
                <c:pt idx="478">
                  <c:v>39619</c:v>
                </c:pt>
                <c:pt idx="479">
                  <c:v>39622</c:v>
                </c:pt>
                <c:pt idx="480">
                  <c:v>39623</c:v>
                </c:pt>
                <c:pt idx="481">
                  <c:v>39624</c:v>
                </c:pt>
                <c:pt idx="482">
                  <c:v>39625</c:v>
                </c:pt>
                <c:pt idx="483">
                  <c:v>39626</c:v>
                </c:pt>
                <c:pt idx="484">
                  <c:v>39629</c:v>
                </c:pt>
                <c:pt idx="485">
                  <c:v>39630</c:v>
                </c:pt>
                <c:pt idx="486">
                  <c:v>39631</c:v>
                </c:pt>
                <c:pt idx="487">
                  <c:v>39632</c:v>
                </c:pt>
                <c:pt idx="488">
                  <c:v>39633</c:v>
                </c:pt>
                <c:pt idx="489">
                  <c:v>39636</c:v>
                </c:pt>
                <c:pt idx="490">
                  <c:v>39637</c:v>
                </c:pt>
                <c:pt idx="491">
                  <c:v>39638</c:v>
                </c:pt>
                <c:pt idx="492">
                  <c:v>39639</c:v>
                </c:pt>
                <c:pt idx="493">
                  <c:v>39640</c:v>
                </c:pt>
                <c:pt idx="494">
                  <c:v>39643</c:v>
                </c:pt>
                <c:pt idx="495">
                  <c:v>39644</c:v>
                </c:pt>
                <c:pt idx="496">
                  <c:v>39645</c:v>
                </c:pt>
                <c:pt idx="497">
                  <c:v>39646</c:v>
                </c:pt>
                <c:pt idx="498">
                  <c:v>39647</c:v>
                </c:pt>
                <c:pt idx="499">
                  <c:v>39650</c:v>
                </c:pt>
                <c:pt idx="500">
                  <c:v>39651</c:v>
                </c:pt>
                <c:pt idx="501">
                  <c:v>39652</c:v>
                </c:pt>
                <c:pt idx="502">
                  <c:v>39653</c:v>
                </c:pt>
                <c:pt idx="503">
                  <c:v>39654</c:v>
                </c:pt>
                <c:pt idx="504">
                  <c:v>39657</c:v>
                </c:pt>
                <c:pt idx="505">
                  <c:v>39658</c:v>
                </c:pt>
                <c:pt idx="506">
                  <c:v>39659</c:v>
                </c:pt>
                <c:pt idx="507">
                  <c:v>39660</c:v>
                </c:pt>
                <c:pt idx="508">
                  <c:v>39661</c:v>
                </c:pt>
                <c:pt idx="509">
                  <c:v>39664</c:v>
                </c:pt>
                <c:pt idx="510">
                  <c:v>39665</c:v>
                </c:pt>
                <c:pt idx="511">
                  <c:v>39666</c:v>
                </c:pt>
                <c:pt idx="512">
                  <c:v>39667</c:v>
                </c:pt>
                <c:pt idx="513">
                  <c:v>39668</c:v>
                </c:pt>
                <c:pt idx="514">
                  <c:v>39671</c:v>
                </c:pt>
                <c:pt idx="515">
                  <c:v>39672</c:v>
                </c:pt>
                <c:pt idx="516">
                  <c:v>39673</c:v>
                </c:pt>
                <c:pt idx="517">
                  <c:v>39674</c:v>
                </c:pt>
                <c:pt idx="518">
                  <c:v>39675</c:v>
                </c:pt>
                <c:pt idx="519">
                  <c:v>39678</c:v>
                </c:pt>
                <c:pt idx="520">
                  <c:v>39679</c:v>
                </c:pt>
                <c:pt idx="521">
                  <c:v>39680</c:v>
                </c:pt>
                <c:pt idx="522">
                  <c:v>39681</c:v>
                </c:pt>
                <c:pt idx="523">
                  <c:v>39682</c:v>
                </c:pt>
                <c:pt idx="524">
                  <c:v>39685</c:v>
                </c:pt>
                <c:pt idx="525">
                  <c:v>39686</c:v>
                </c:pt>
                <c:pt idx="526">
                  <c:v>39687</c:v>
                </c:pt>
                <c:pt idx="527">
                  <c:v>39688</c:v>
                </c:pt>
                <c:pt idx="528">
                  <c:v>39689</c:v>
                </c:pt>
                <c:pt idx="529">
                  <c:v>39692</c:v>
                </c:pt>
                <c:pt idx="530">
                  <c:v>39693</c:v>
                </c:pt>
                <c:pt idx="531">
                  <c:v>39694</c:v>
                </c:pt>
                <c:pt idx="532">
                  <c:v>39695</c:v>
                </c:pt>
                <c:pt idx="533">
                  <c:v>39696</c:v>
                </c:pt>
                <c:pt idx="534">
                  <c:v>39699</c:v>
                </c:pt>
                <c:pt idx="535">
                  <c:v>39700</c:v>
                </c:pt>
                <c:pt idx="536">
                  <c:v>39701</c:v>
                </c:pt>
                <c:pt idx="537">
                  <c:v>39702</c:v>
                </c:pt>
                <c:pt idx="538">
                  <c:v>39703</c:v>
                </c:pt>
                <c:pt idx="539">
                  <c:v>39706</c:v>
                </c:pt>
                <c:pt idx="540">
                  <c:v>39707</c:v>
                </c:pt>
                <c:pt idx="541">
                  <c:v>39708</c:v>
                </c:pt>
                <c:pt idx="542">
                  <c:v>39709</c:v>
                </c:pt>
                <c:pt idx="543">
                  <c:v>39710</c:v>
                </c:pt>
                <c:pt idx="544">
                  <c:v>39713</c:v>
                </c:pt>
                <c:pt idx="545">
                  <c:v>39714</c:v>
                </c:pt>
                <c:pt idx="546">
                  <c:v>39715</c:v>
                </c:pt>
                <c:pt idx="547">
                  <c:v>39716</c:v>
                </c:pt>
                <c:pt idx="548">
                  <c:v>39717</c:v>
                </c:pt>
                <c:pt idx="549">
                  <c:v>39720</c:v>
                </c:pt>
                <c:pt idx="550">
                  <c:v>39721</c:v>
                </c:pt>
                <c:pt idx="551">
                  <c:v>39722</c:v>
                </c:pt>
                <c:pt idx="552">
                  <c:v>39723</c:v>
                </c:pt>
                <c:pt idx="553">
                  <c:v>39724</c:v>
                </c:pt>
                <c:pt idx="554">
                  <c:v>39727</c:v>
                </c:pt>
                <c:pt idx="555">
                  <c:v>39728</c:v>
                </c:pt>
                <c:pt idx="556">
                  <c:v>39729</c:v>
                </c:pt>
                <c:pt idx="557">
                  <c:v>39730</c:v>
                </c:pt>
                <c:pt idx="558">
                  <c:v>39731</c:v>
                </c:pt>
                <c:pt idx="559">
                  <c:v>39734</c:v>
                </c:pt>
                <c:pt idx="560">
                  <c:v>39735</c:v>
                </c:pt>
                <c:pt idx="561">
                  <c:v>39736</c:v>
                </c:pt>
                <c:pt idx="562">
                  <c:v>39737</c:v>
                </c:pt>
                <c:pt idx="563">
                  <c:v>39738</c:v>
                </c:pt>
                <c:pt idx="564">
                  <c:v>39741</c:v>
                </c:pt>
                <c:pt idx="565">
                  <c:v>39742</c:v>
                </c:pt>
                <c:pt idx="566">
                  <c:v>39743</c:v>
                </c:pt>
                <c:pt idx="567">
                  <c:v>39744</c:v>
                </c:pt>
                <c:pt idx="568">
                  <c:v>39745</c:v>
                </c:pt>
                <c:pt idx="569">
                  <c:v>39748</c:v>
                </c:pt>
                <c:pt idx="570">
                  <c:v>39749</c:v>
                </c:pt>
                <c:pt idx="571">
                  <c:v>39750</c:v>
                </c:pt>
                <c:pt idx="572">
                  <c:v>39751</c:v>
                </c:pt>
                <c:pt idx="573">
                  <c:v>39752</c:v>
                </c:pt>
                <c:pt idx="574">
                  <c:v>39755</c:v>
                </c:pt>
                <c:pt idx="575">
                  <c:v>39756</c:v>
                </c:pt>
                <c:pt idx="576">
                  <c:v>39757</c:v>
                </c:pt>
                <c:pt idx="577">
                  <c:v>39758</c:v>
                </c:pt>
                <c:pt idx="578">
                  <c:v>39759</c:v>
                </c:pt>
                <c:pt idx="579">
                  <c:v>39762</c:v>
                </c:pt>
                <c:pt idx="580">
                  <c:v>39763</c:v>
                </c:pt>
                <c:pt idx="581">
                  <c:v>39764</c:v>
                </c:pt>
                <c:pt idx="582">
                  <c:v>39765</c:v>
                </c:pt>
                <c:pt idx="583">
                  <c:v>39766</c:v>
                </c:pt>
                <c:pt idx="584">
                  <c:v>39769</c:v>
                </c:pt>
                <c:pt idx="585">
                  <c:v>39770</c:v>
                </c:pt>
                <c:pt idx="586">
                  <c:v>39771</c:v>
                </c:pt>
                <c:pt idx="587">
                  <c:v>39772</c:v>
                </c:pt>
                <c:pt idx="588">
                  <c:v>39773</c:v>
                </c:pt>
                <c:pt idx="589">
                  <c:v>39776</c:v>
                </c:pt>
                <c:pt idx="590">
                  <c:v>39777</c:v>
                </c:pt>
                <c:pt idx="591">
                  <c:v>39778</c:v>
                </c:pt>
                <c:pt idx="592">
                  <c:v>39779</c:v>
                </c:pt>
                <c:pt idx="593">
                  <c:v>39780</c:v>
                </c:pt>
                <c:pt idx="594">
                  <c:v>39783</c:v>
                </c:pt>
                <c:pt idx="595">
                  <c:v>39784</c:v>
                </c:pt>
                <c:pt idx="596">
                  <c:v>39785</c:v>
                </c:pt>
                <c:pt idx="597">
                  <c:v>39786</c:v>
                </c:pt>
                <c:pt idx="598">
                  <c:v>39787</c:v>
                </c:pt>
                <c:pt idx="599">
                  <c:v>39790</c:v>
                </c:pt>
                <c:pt idx="600">
                  <c:v>39791</c:v>
                </c:pt>
                <c:pt idx="601">
                  <c:v>39792</c:v>
                </c:pt>
                <c:pt idx="602">
                  <c:v>39793</c:v>
                </c:pt>
                <c:pt idx="603">
                  <c:v>39794</c:v>
                </c:pt>
                <c:pt idx="604">
                  <c:v>39797</c:v>
                </c:pt>
                <c:pt idx="605">
                  <c:v>39798</c:v>
                </c:pt>
                <c:pt idx="606">
                  <c:v>39799</c:v>
                </c:pt>
                <c:pt idx="607">
                  <c:v>39800</c:v>
                </c:pt>
                <c:pt idx="608">
                  <c:v>39801</c:v>
                </c:pt>
                <c:pt idx="609">
                  <c:v>39804</c:v>
                </c:pt>
                <c:pt idx="610">
                  <c:v>39805</c:v>
                </c:pt>
                <c:pt idx="611">
                  <c:v>39811</c:v>
                </c:pt>
                <c:pt idx="612">
                  <c:v>39812</c:v>
                </c:pt>
                <c:pt idx="613">
                  <c:v>39815</c:v>
                </c:pt>
                <c:pt idx="614">
                  <c:v>39818</c:v>
                </c:pt>
                <c:pt idx="615">
                  <c:v>39819</c:v>
                </c:pt>
                <c:pt idx="616">
                  <c:v>39820</c:v>
                </c:pt>
                <c:pt idx="617">
                  <c:v>39821</c:v>
                </c:pt>
                <c:pt idx="618">
                  <c:v>39822</c:v>
                </c:pt>
                <c:pt idx="619">
                  <c:v>39825</c:v>
                </c:pt>
                <c:pt idx="620">
                  <c:v>39826</c:v>
                </c:pt>
                <c:pt idx="621">
                  <c:v>39827</c:v>
                </c:pt>
                <c:pt idx="622">
                  <c:v>39828</c:v>
                </c:pt>
                <c:pt idx="623">
                  <c:v>39829</c:v>
                </c:pt>
                <c:pt idx="624">
                  <c:v>39832</c:v>
                </c:pt>
                <c:pt idx="625">
                  <c:v>39833</c:v>
                </c:pt>
                <c:pt idx="626">
                  <c:v>39834</c:v>
                </c:pt>
                <c:pt idx="627">
                  <c:v>39835</c:v>
                </c:pt>
                <c:pt idx="628">
                  <c:v>39836</c:v>
                </c:pt>
                <c:pt idx="629">
                  <c:v>39839</c:v>
                </c:pt>
                <c:pt idx="630">
                  <c:v>39840</c:v>
                </c:pt>
                <c:pt idx="631">
                  <c:v>39841</c:v>
                </c:pt>
                <c:pt idx="632">
                  <c:v>39842</c:v>
                </c:pt>
                <c:pt idx="633">
                  <c:v>39843</c:v>
                </c:pt>
                <c:pt idx="634">
                  <c:v>39846</c:v>
                </c:pt>
                <c:pt idx="635">
                  <c:v>39847</c:v>
                </c:pt>
                <c:pt idx="636">
                  <c:v>39848</c:v>
                </c:pt>
                <c:pt idx="637">
                  <c:v>39849</c:v>
                </c:pt>
                <c:pt idx="638">
                  <c:v>39850</c:v>
                </c:pt>
                <c:pt idx="639">
                  <c:v>39853</c:v>
                </c:pt>
                <c:pt idx="640">
                  <c:v>39854</c:v>
                </c:pt>
                <c:pt idx="641">
                  <c:v>39855</c:v>
                </c:pt>
                <c:pt idx="642">
                  <c:v>39856</c:v>
                </c:pt>
                <c:pt idx="643">
                  <c:v>39857</c:v>
                </c:pt>
                <c:pt idx="644">
                  <c:v>39860</c:v>
                </c:pt>
                <c:pt idx="645">
                  <c:v>39861</c:v>
                </c:pt>
                <c:pt idx="646">
                  <c:v>39862</c:v>
                </c:pt>
                <c:pt idx="647">
                  <c:v>39863</c:v>
                </c:pt>
                <c:pt idx="648">
                  <c:v>39864</c:v>
                </c:pt>
                <c:pt idx="649">
                  <c:v>39867</c:v>
                </c:pt>
                <c:pt idx="650">
                  <c:v>39868</c:v>
                </c:pt>
                <c:pt idx="651">
                  <c:v>39869</c:v>
                </c:pt>
                <c:pt idx="652">
                  <c:v>39870</c:v>
                </c:pt>
                <c:pt idx="653">
                  <c:v>39871</c:v>
                </c:pt>
                <c:pt idx="654">
                  <c:v>39874</c:v>
                </c:pt>
                <c:pt idx="655">
                  <c:v>39875</c:v>
                </c:pt>
                <c:pt idx="656">
                  <c:v>39876</c:v>
                </c:pt>
                <c:pt idx="657">
                  <c:v>39877</c:v>
                </c:pt>
                <c:pt idx="658">
                  <c:v>39878</c:v>
                </c:pt>
                <c:pt idx="659">
                  <c:v>39881</c:v>
                </c:pt>
                <c:pt idx="660">
                  <c:v>39882</c:v>
                </c:pt>
                <c:pt idx="661">
                  <c:v>39883</c:v>
                </c:pt>
                <c:pt idx="662">
                  <c:v>39884</c:v>
                </c:pt>
                <c:pt idx="663">
                  <c:v>39885</c:v>
                </c:pt>
                <c:pt idx="664">
                  <c:v>39888</c:v>
                </c:pt>
                <c:pt idx="665">
                  <c:v>39889</c:v>
                </c:pt>
                <c:pt idx="666">
                  <c:v>39890</c:v>
                </c:pt>
                <c:pt idx="667">
                  <c:v>39891</c:v>
                </c:pt>
                <c:pt idx="668">
                  <c:v>39892</c:v>
                </c:pt>
                <c:pt idx="669">
                  <c:v>39895</c:v>
                </c:pt>
                <c:pt idx="670">
                  <c:v>39896</c:v>
                </c:pt>
                <c:pt idx="671">
                  <c:v>39897</c:v>
                </c:pt>
                <c:pt idx="672">
                  <c:v>39898</c:v>
                </c:pt>
                <c:pt idx="673">
                  <c:v>39899</c:v>
                </c:pt>
                <c:pt idx="674">
                  <c:v>39902</c:v>
                </c:pt>
                <c:pt idx="675">
                  <c:v>39903</c:v>
                </c:pt>
                <c:pt idx="676">
                  <c:v>39904</c:v>
                </c:pt>
                <c:pt idx="677">
                  <c:v>39905</c:v>
                </c:pt>
                <c:pt idx="678">
                  <c:v>39906</c:v>
                </c:pt>
                <c:pt idx="679">
                  <c:v>39909</c:v>
                </c:pt>
                <c:pt idx="680">
                  <c:v>39910</c:v>
                </c:pt>
                <c:pt idx="681">
                  <c:v>39911</c:v>
                </c:pt>
                <c:pt idx="682">
                  <c:v>39912</c:v>
                </c:pt>
                <c:pt idx="683">
                  <c:v>39917</c:v>
                </c:pt>
                <c:pt idx="684">
                  <c:v>39918</c:v>
                </c:pt>
                <c:pt idx="685">
                  <c:v>39919</c:v>
                </c:pt>
                <c:pt idx="686">
                  <c:v>39920</c:v>
                </c:pt>
                <c:pt idx="687">
                  <c:v>39923</c:v>
                </c:pt>
                <c:pt idx="688">
                  <c:v>39924</c:v>
                </c:pt>
                <c:pt idx="689">
                  <c:v>39925</c:v>
                </c:pt>
                <c:pt idx="690">
                  <c:v>39926</c:v>
                </c:pt>
                <c:pt idx="691">
                  <c:v>39927</c:v>
                </c:pt>
                <c:pt idx="692">
                  <c:v>39930</c:v>
                </c:pt>
                <c:pt idx="693">
                  <c:v>39931</c:v>
                </c:pt>
                <c:pt idx="694">
                  <c:v>39932</c:v>
                </c:pt>
                <c:pt idx="695">
                  <c:v>39933</c:v>
                </c:pt>
                <c:pt idx="696">
                  <c:v>39937</c:v>
                </c:pt>
                <c:pt idx="697">
                  <c:v>39938</c:v>
                </c:pt>
                <c:pt idx="698">
                  <c:v>39939</c:v>
                </c:pt>
                <c:pt idx="699">
                  <c:v>39940</c:v>
                </c:pt>
                <c:pt idx="700">
                  <c:v>39941</c:v>
                </c:pt>
                <c:pt idx="701">
                  <c:v>39944</c:v>
                </c:pt>
                <c:pt idx="702">
                  <c:v>39945</c:v>
                </c:pt>
                <c:pt idx="703">
                  <c:v>39946</c:v>
                </c:pt>
                <c:pt idx="704">
                  <c:v>39947</c:v>
                </c:pt>
                <c:pt idx="705">
                  <c:v>39948</c:v>
                </c:pt>
                <c:pt idx="706">
                  <c:v>39951</c:v>
                </c:pt>
                <c:pt idx="707">
                  <c:v>39952</c:v>
                </c:pt>
                <c:pt idx="708">
                  <c:v>39953</c:v>
                </c:pt>
                <c:pt idx="709">
                  <c:v>39954</c:v>
                </c:pt>
                <c:pt idx="710">
                  <c:v>39955</c:v>
                </c:pt>
                <c:pt idx="711">
                  <c:v>39958</c:v>
                </c:pt>
                <c:pt idx="712">
                  <c:v>39959</c:v>
                </c:pt>
                <c:pt idx="713">
                  <c:v>39960</c:v>
                </c:pt>
                <c:pt idx="714">
                  <c:v>39961</c:v>
                </c:pt>
                <c:pt idx="715">
                  <c:v>39962</c:v>
                </c:pt>
                <c:pt idx="716">
                  <c:v>39965</c:v>
                </c:pt>
                <c:pt idx="717">
                  <c:v>39966</c:v>
                </c:pt>
                <c:pt idx="718">
                  <c:v>39967</c:v>
                </c:pt>
                <c:pt idx="719">
                  <c:v>39968</c:v>
                </c:pt>
                <c:pt idx="720">
                  <c:v>39969</c:v>
                </c:pt>
                <c:pt idx="721">
                  <c:v>39972</c:v>
                </c:pt>
                <c:pt idx="722">
                  <c:v>39973</c:v>
                </c:pt>
                <c:pt idx="723">
                  <c:v>39974</c:v>
                </c:pt>
                <c:pt idx="724">
                  <c:v>39975</c:v>
                </c:pt>
                <c:pt idx="725">
                  <c:v>39976</c:v>
                </c:pt>
                <c:pt idx="726">
                  <c:v>39979</c:v>
                </c:pt>
                <c:pt idx="727">
                  <c:v>39980</c:v>
                </c:pt>
                <c:pt idx="728">
                  <c:v>39981</c:v>
                </c:pt>
                <c:pt idx="729">
                  <c:v>39982</c:v>
                </c:pt>
                <c:pt idx="730">
                  <c:v>39983</c:v>
                </c:pt>
                <c:pt idx="731">
                  <c:v>39986</c:v>
                </c:pt>
                <c:pt idx="732">
                  <c:v>39987</c:v>
                </c:pt>
                <c:pt idx="733">
                  <c:v>39988</c:v>
                </c:pt>
                <c:pt idx="734">
                  <c:v>39989</c:v>
                </c:pt>
                <c:pt idx="735">
                  <c:v>39990</c:v>
                </c:pt>
                <c:pt idx="736">
                  <c:v>39993</c:v>
                </c:pt>
                <c:pt idx="737">
                  <c:v>39994</c:v>
                </c:pt>
                <c:pt idx="738">
                  <c:v>39995</c:v>
                </c:pt>
                <c:pt idx="739">
                  <c:v>39996</c:v>
                </c:pt>
                <c:pt idx="740">
                  <c:v>39997</c:v>
                </c:pt>
                <c:pt idx="741">
                  <c:v>40000</c:v>
                </c:pt>
                <c:pt idx="742">
                  <c:v>40001</c:v>
                </c:pt>
                <c:pt idx="743">
                  <c:v>40002</c:v>
                </c:pt>
                <c:pt idx="744">
                  <c:v>40003</c:v>
                </c:pt>
                <c:pt idx="745">
                  <c:v>40004</c:v>
                </c:pt>
                <c:pt idx="746">
                  <c:v>40007</c:v>
                </c:pt>
                <c:pt idx="747">
                  <c:v>40008</c:v>
                </c:pt>
                <c:pt idx="748">
                  <c:v>40009</c:v>
                </c:pt>
                <c:pt idx="749">
                  <c:v>40010</c:v>
                </c:pt>
                <c:pt idx="750">
                  <c:v>40011</c:v>
                </c:pt>
                <c:pt idx="751">
                  <c:v>40014</c:v>
                </c:pt>
                <c:pt idx="752">
                  <c:v>40015</c:v>
                </c:pt>
                <c:pt idx="753">
                  <c:v>40016</c:v>
                </c:pt>
                <c:pt idx="754">
                  <c:v>40017</c:v>
                </c:pt>
                <c:pt idx="755">
                  <c:v>40018</c:v>
                </c:pt>
                <c:pt idx="756">
                  <c:v>40021</c:v>
                </c:pt>
                <c:pt idx="757">
                  <c:v>40022</c:v>
                </c:pt>
                <c:pt idx="758">
                  <c:v>40023</c:v>
                </c:pt>
                <c:pt idx="759">
                  <c:v>40024</c:v>
                </c:pt>
                <c:pt idx="760">
                  <c:v>40025</c:v>
                </c:pt>
                <c:pt idx="761">
                  <c:v>40028</c:v>
                </c:pt>
                <c:pt idx="762">
                  <c:v>40029</c:v>
                </c:pt>
                <c:pt idx="763">
                  <c:v>40030</c:v>
                </c:pt>
                <c:pt idx="764">
                  <c:v>40031</c:v>
                </c:pt>
                <c:pt idx="765">
                  <c:v>40032</c:v>
                </c:pt>
                <c:pt idx="766">
                  <c:v>40035</c:v>
                </c:pt>
                <c:pt idx="767">
                  <c:v>40036</c:v>
                </c:pt>
                <c:pt idx="768">
                  <c:v>40037</c:v>
                </c:pt>
                <c:pt idx="769">
                  <c:v>40038</c:v>
                </c:pt>
                <c:pt idx="770">
                  <c:v>40039</c:v>
                </c:pt>
                <c:pt idx="771">
                  <c:v>40042</c:v>
                </c:pt>
                <c:pt idx="772">
                  <c:v>40043</c:v>
                </c:pt>
                <c:pt idx="773">
                  <c:v>40044</c:v>
                </c:pt>
                <c:pt idx="774">
                  <c:v>40045</c:v>
                </c:pt>
                <c:pt idx="775">
                  <c:v>40046</c:v>
                </c:pt>
                <c:pt idx="776">
                  <c:v>40049</c:v>
                </c:pt>
                <c:pt idx="777">
                  <c:v>40050</c:v>
                </c:pt>
                <c:pt idx="778">
                  <c:v>40051</c:v>
                </c:pt>
                <c:pt idx="779">
                  <c:v>40052</c:v>
                </c:pt>
                <c:pt idx="780">
                  <c:v>40053</c:v>
                </c:pt>
                <c:pt idx="781">
                  <c:v>40056</c:v>
                </c:pt>
                <c:pt idx="782">
                  <c:v>40057</c:v>
                </c:pt>
                <c:pt idx="783">
                  <c:v>40058</c:v>
                </c:pt>
                <c:pt idx="784">
                  <c:v>40059</c:v>
                </c:pt>
                <c:pt idx="785">
                  <c:v>40060</c:v>
                </c:pt>
                <c:pt idx="786">
                  <c:v>40063</c:v>
                </c:pt>
                <c:pt idx="787">
                  <c:v>40064</c:v>
                </c:pt>
                <c:pt idx="788">
                  <c:v>40065</c:v>
                </c:pt>
                <c:pt idx="789">
                  <c:v>40066</c:v>
                </c:pt>
                <c:pt idx="790">
                  <c:v>40067</c:v>
                </c:pt>
                <c:pt idx="791">
                  <c:v>40070</c:v>
                </c:pt>
                <c:pt idx="792">
                  <c:v>40071</c:v>
                </c:pt>
                <c:pt idx="793">
                  <c:v>40072</c:v>
                </c:pt>
                <c:pt idx="794">
                  <c:v>40073</c:v>
                </c:pt>
                <c:pt idx="795">
                  <c:v>40074</c:v>
                </c:pt>
                <c:pt idx="796">
                  <c:v>40077</c:v>
                </c:pt>
                <c:pt idx="797">
                  <c:v>40078</c:v>
                </c:pt>
                <c:pt idx="798">
                  <c:v>40079</c:v>
                </c:pt>
                <c:pt idx="799">
                  <c:v>40080</c:v>
                </c:pt>
                <c:pt idx="800">
                  <c:v>40081</c:v>
                </c:pt>
                <c:pt idx="801">
                  <c:v>40084</c:v>
                </c:pt>
                <c:pt idx="802">
                  <c:v>40085</c:v>
                </c:pt>
                <c:pt idx="803">
                  <c:v>40086</c:v>
                </c:pt>
                <c:pt idx="804">
                  <c:v>40087</c:v>
                </c:pt>
                <c:pt idx="805">
                  <c:v>40088</c:v>
                </c:pt>
                <c:pt idx="806">
                  <c:v>40091</c:v>
                </c:pt>
                <c:pt idx="807">
                  <c:v>40092</c:v>
                </c:pt>
                <c:pt idx="808">
                  <c:v>40093</c:v>
                </c:pt>
                <c:pt idx="809">
                  <c:v>40094</c:v>
                </c:pt>
                <c:pt idx="810">
                  <c:v>40095</c:v>
                </c:pt>
                <c:pt idx="811">
                  <c:v>40098</c:v>
                </c:pt>
                <c:pt idx="812">
                  <c:v>40099</c:v>
                </c:pt>
                <c:pt idx="813">
                  <c:v>40100</c:v>
                </c:pt>
                <c:pt idx="814">
                  <c:v>40101</c:v>
                </c:pt>
                <c:pt idx="815">
                  <c:v>40102</c:v>
                </c:pt>
                <c:pt idx="816">
                  <c:v>40105</c:v>
                </c:pt>
                <c:pt idx="817">
                  <c:v>40106</c:v>
                </c:pt>
                <c:pt idx="818">
                  <c:v>40107</c:v>
                </c:pt>
                <c:pt idx="819">
                  <c:v>40108</c:v>
                </c:pt>
                <c:pt idx="820">
                  <c:v>40109</c:v>
                </c:pt>
                <c:pt idx="821">
                  <c:v>40112</c:v>
                </c:pt>
                <c:pt idx="822">
                  <c:v>40113</c:v>
                </c:pt>
                <c:pt idx="823">
                  <c:v>40114</c:v>
                </c:pt>
                <c:pt idx="824">
                  <c:v>40115</c:v>
                </c:pt>
                <c:pt idx="825">
                  <c:v>40116</c:v>
                </c:pt>
                <c:pt idx="826">
                  <c:v>40119</c:v>
                </c:pt>
                <c:pt idx="827">
                  <c:v>40120</c:v>
                </c:pt>
                <c:pt idx="828">
                  <c:v>40121</c:v>
                </c:pt>
                <c:pt idx="829">
                  <c:v>40122</c:v>
                </c:pt>
                <c:pt idx="830">
                  <c:v>40123</c:v>
                </c:pt>
                <c:pt idx="831">
                  <c:v>40126</c:v>
                </c:pt>
                <c:pt idx="832">
                  <c:v>40127</c:v>
                </c:pt>
                <c:pt idx="833">
                  <c:v>40128</c:v>
                </c:pt>
                <c:pt idx="834">
                  <c:v>40129</c:v>
                </c:pt>
                <c:pt idx="835">
                  <c:v>40130</c:v>
                </c:pt>
                <c:pt idx="836">
                  <c:v>40133</c:v>
                </c:pt>
                <c:pt idx="837">
                  <c:v>40134</c:v>
                </c:pt>
                <c:pt idx="838">
                  <c:v>40135</c:v>
                </c:pt>
                <c:pt idx="839">
                  <c:v>40136</c:v>
                </c:pt>
                <c:pt idx="840">
                  <c:v>40137</c:v>
                </c:pt>
                <c:pt idx="841">
                  <c:v>40140</c:v>
                </c:pt>
                <c:pt idx="842">
                  <c:v>40141</c:v>
                </c:pt>
                <c:pt idx="843">
                  <c:v>40142</c:v>
                </c:pt>
                <c:pt idx="844">
                  <c:v>40143</c:v>
                </c:pt>
                <c:pt idx="845">
                  <c:v>40144</c:v>
                </c:pt>
                <c:pt idx="846">
                  <c:v>40147</c:v>
                </c:pt>
                <c:pt idx="847">
                  <c:v>40148</c:v>
                </c:pt>
                <c:pt idx="848">
                  <c:v>40149</c:v>
                </c:pt>
                <c:pt idx="849">
                  <c:v>40150</c:v>
                </c:pt>
                <c:pt idx="850">
                  <c:v>40151</c:v>
                </c:pt>
                <c:pt idx="851">
                  <c:v>40154</c:v>
                </c:pt>
                <c:pt idx="852">
                  <c:v>40155</c:v>
                </c:pt>
                <c:pt idx="853">
                  <c:v>40156</c:v>
                </c:pt>
                <c:pt idx="854">
                  <c:v>40157</c:v>
                </c:pt>
                <c:pt idx="855">
                  <c:v>40158</c:v>
                </c:pt>
                <c:pt idx="856">
                  <c:v>40161</c:v>
                </c:pt>
                <c:pt idx="857">
                  <c:v>40162</c:v>
                </c:pt>
                <c:pt idx="858">
                  <c:v>40163</c:v>
                </c:pt>
                <c:pt idx="859">
                  <c:v>40164</c:v>
                </c:pt>
                <c:pt idx="860">
                  <c:v>40165</c:v>
                </c:pt>
                <c:pt idx="861">
                  <c:v>40168</c:v>
                </c:pt>
                <c:pt idx="862">
                  <c:v>40169</c:v>
                </c:pt>
                <c:pt idx="863">
                  <c:v>40170</c:v>
                </c:pt>
                <c:pt idx="864">
                  <c:v>40175</c:v>
                </c:pt>
                <c:pt idx="865">
                  <c:v>40176</c:v>
                </c:pt>
                <c:pt idx="866">
                  <c:v>40177</c:v>
                </c:pt>
                <c:pt idx="867">
                  <c:v>40182</c:v>
                </c:pt>
                <c:pt idx="868">
                  <c:v>40183</c:v>
                </c:pt>
                <c:pt idx="869">
                  <c:v>40184</c:v>
                </c:pt>
                <c:pt idx="870">
                  <c:v>40185</c:v>
                </c:pt>
                <c:pt idx="871">
                  <c:v>40186</c:v>
                </c:pt>
                <c:pt idx="872">
                  <c:v>40189</c:v>
                </c:pt>
                <c:pt idx="873">
                  <c:v>40190</c:v>
                </c:pt>
                <c:pt idx="874">
                  <c:v>40191</c:v>
                </c:pt>
                <c:pt idx="875">
                  <c:v>40192</c:v>
                </c:pt>
                <c:pt idx="876">
                  <c:v>40193</c:v>
                </c:pt>
                <c:pt idx="877">
                  <c:v>40196</c:v>
                </c:pt>
                <c:pt idx="878">
                  <c:v>40197</c:v>
                </c:pt>
                <c:pt idx="879">
                  <c:v>40198</c:v>
                </c:pt>
                <c:pt idx="880">
                  <c:v>40199</c:v>
                </c:pt>
                <c:pt idx="881">
                  <c:v>40200</c:v>
                </c:pt>
                <c:pt idx="882">
                  <c:v>40203</c:v>
                </c:pt>
                <c:pt idx="883">
                  <c:v>40204</c:v>
                </c:pt>
                <c:pt idx="884">
                  <c:v>40205</c:v>
                </c:pt>
                <c:pt idx="885">
                  <c:v>40206</c:v>
                </c:pt>
                <c:pt idx="886">
                  <c:v>40207</c:v>
                </c:pt>
                <c:pt idx="887">
                  <c:v>40210</c:v>
                </c:pt>
                <c:pt idx="888">
                  <c:v>40211</c:v>
                </c:pt>
                <c:pt idx="889">
                  <c:v>40212</c:v>
                </c:pt>
                <c:pt idx="890">
                  <c:v>40213</c:v>
                </c:pt>
                <c:pt idx="891">
                  <c:v>40214</c:v>
                </c:pt>
                <c:pt idx="892">
                  <c:v>40217</c:v>
                </c:pt>
                <c:pt idx="893">
                  <c:v>40218</c:v>
                </c:pt>
                <c:pt idx="894">
                  <c:v>40219</c:v>
                </c:pt>
                <c:pt idx="895">
                  <c:v>40220</c:v>
                </c:pt>
                <c:pt idx="896">
                  <c:v>40221</c:v>
                </c:pt>
                <c:pt idx="897">
                  <c:v>40224</c:v>
                </c:pt>
                <c:pt idx="898">
                  <c:v>40225</c:v>
                </c:pt>
                <c:pt idx="899">
                  <c:v>40226</c:v>
                </c:pt>
                <c:pt idx="900">
                  <c:v>40227</c:v>
                </c:pt>
                <c:pt idx="901">
                  <c:v>40228</c:v>
                </c:pt>
                <c:pt idx="902">
                  <c:v>40231</c:v>
                </c:pt>
                <c:pt idx="903">
                  <c:v>40232</c:v>
                </c:pt>
                <c:pt idx="904">
                  <c:v>40233</c:v>
                </c:pt>
                <c:pt idx="905">
                  <c:v>40234</c:v>
                </c:pt>
                <c:pt idx="906">
                  <c:v>40235</c:v>
                </c:pt>
                <c:pt idx="907">
                  <c:v>40238</c:v>
                </c:pt>
                <c:pt idx="908">
                  <c:v>40239</c:v>
                </c:pt>
                <c:pt idx="909">
                  <c:v>40240</c:v>
                </c:pt>
                <c:pt idx="910">
                  <c:v>40241</c:v>
                </c:pt>
                <c:pt idx="911">
                  <c:v>40242</c:v>
                </c:pt>
                <c:pt idx="912">
                  <c:v>40245</c:v>
                </c:pt>
                <c:pt idx="913">
                  <c:v>40246</c:v>
                </c:pt>
                <c:pt idx="914">
                  <c:v>40247</c:v>
                </c:pt>
                <c:pt idx="915">
                  <c:v>40248</c:v>
                </c:pt>
                <c:pt idx="916">
                  <c:v>40249</c:v>
                </c:pt>
                <c:pt idx="917">
                  <c:v>40252</c:v>
                </c:pt>
                <c:pt idx="918">
                  <c:v>40253</c:v>
                </c:pt>
                <c:pt idx="919">
                  <c:v>40254</c:v>
                </c:pt>
                <c:pt idx="920">
                  <c:v>40255</c:v>
                </c:pt>
                <c:pt idx="921">
                  <c:v>40256</c:v>
                </c:pt>
                <c:pt idx="922">
                  <c:v>40259</c:v>
                </c:pt>
                <c:pt idx="923">
                  <c:v>40260</c:v>
                </c:pt>
                <c:pt idx="924">
                  <c:v>40261</c:v>
                </c:pt>
                <c:pt idx="925">
                  <c:v>40262</c:v>
                </c:pt>
                <c:pt idx="926">
                  <c:v>40263</c:v>
                </c:pt>
                <c:pt idx="927">
                  <c:v>40266</c:v>
                </c:pt>
                <c:pt idx="928">
                  <c:v>40267</c:v>
                </c:pt>
                <c:pt idx="929">
                  <c:v>40268</c:v>
                </c:pt>
                <c:pt idx="930">
                  <c:v>40269</c:v>
                </c:pt>
                <c:pt idx="931">
                  <c:v>40274</c:v>
                </c:pt>
                <c:pt idx="932">
                  <c:v>40275</c:v>
                </c:pt>
                <c:pt idx="933">
                  <c:v>40276</c:v>
                </c:pt>
                <c:pt idx="934">
                  <c:v>40277</c:v>
                </c:pt>
                <c:pt idx="935">
                  <c:v>40280</c:v>
                </c:pt>
                <c:pt idx="936">
                  <c:v>40281</c:v>
                </c:pt>
                <c:pt idx="937">
                  <c:v>40282</c:v>
                </c:pt>
                <c:pt idx="938">
                  <c:v>40283</c:v>
                </c:pt>
                <c:pt idx="939">
                  <c:v>40284</c:v>
                </c:pt>
                <c:pt idx="940">
                  <c:v>40287</c:v>
                </c:pt>
                <c:pt idx="941">
                  <c:v>40288</c:v>
                </c:pt>
                <c:pt idx="942">
                  <c:v>40289</c:v>
                </c:pt>
                <c:pt idx="943">
                  <c:v>40290</c:v>
                </c:pt>
                <c:pt idx="944">
                  <c:v>40291</c:v>
                </c:pt>
                <c:pt idx="945">
                  <c:v>40294</c:v>
                </c:pt>
                <c:pt idx="946">
                  <c:v>40295</c:v>
                </c:pt>
                <c:pt idx="947">
                  <c:v>40296</c:v>
                </c:pt>
                <c:pt idx="948">
                  <c:v>40297</c:v>
                </c:pt>
                <c:pt idx="949">
                  <c:v>40298</c:v>
                </c:pt>
                <c:pt idx="950">
                  <c:v>40301</c:v>
                </c:pt>
                <c:pt idx="951">
                  <c:v>40302</c:v>
                </c:pt>
                <c:pt idx="952">
                  <c:v>40303</c:v>
                </c:pt>
                <c:pt idx="953">
                  <c:v>40304</c:v>
                </c:pt>
                <c:pt idx="954">
                  <c:v>40305</c:v>
                </c:pt>
                <c:pt idx="955">
                  <c:v>40308</c:v>
                </c:pt>
                <c:pt idx="956">
                  <c:v>40309</c:v>
                </c:pt>
                <c:pt idx="957">
                  <c:v>40310</c:v>
                </c:pt>
                <c:pt idx="958">
                  <c:v>40311</c:v>
                </c:pt>
                <c:pt idx="959">
                  <c:v>40312</c:v>
                </c:pt>
                <c:pt idx="960">
                  <c:v>40315</c:v>
                </c:pt>
                <c:pt idx="961">
                  <c:v>40316</c:v>
                </c:pt>
                <c:pt idx="962">
                  <c:v>40317</c:v>
                </c:pt>
                <c:pt idx="963">
                  <c:v>40318</c:v>
                </c:pt>
                <c:pt idx="964">
                  <c:v>40319</c:v>
                </c:pt>
                <c:pt idx="965">
                  <c:v>40322</c:v>
                </c:pt>
                <c:pt idx="966">
                  <c:v>40323</c:v>
                </c:pt>
                <c:pt idx="967">
                  <c:v>40324</c:v>
                </c:pt>
                <c:pt idx="968">
                  <c:v>40325</c:v>
                </c:pt>
                <c:pt idx="969">
                  <c:v>40326</c:v>
                </c:pt>
                <c:pt idx="970">
                  <c:v>40329</c:v>
                </c:pt>
                <c:pt idx="971">
                  <c:v>40330</c:v>
                </c:pt>
                <c:pt idx="972">
                  <c:v>40331</c:v>
                </c:pt>
                <c:pt idx="973">
                  <c:v>40332</c:v>
                </c:pt>
                <c:pt idx="974">
                  <c:v>40333</c:v>
                </c:pt>
                <c:pt idx="975">
                  <c:v>40336</c:v>
                </c:pt>
                <c:pt idx="976">
                  <c:v>40337</c:v>
                </c:pt>
                <c:pt idx="977">
                  <c:v>40338</c:v>
                </c:pt>
                <c:pt idx="978">
                  <c:v>40339</c:v>
                </c:pt>
                <c:pt idx="979">
                  <c:v>40340</c:v>
                </c:pt>
                <c:pt idx="980">
                  <c:v>40343</c:v>
                </c:pt>
                <c:pt idx="981">
                  <c:v>40344</c:v>
                </c:pt>
                <c:pt idx="982">
                  <c:v>40345</c:v>
                </c:pt>
                <c:pt idx="983">
                  <c:v>40346</c:v>
                </c:pt>
                <c:pt idx="984">
                  <c:v>40347</c:v>
                </c:pt>
                <c:pt idx="985">
                  <c:v>40350</c:v>
                </c:pt>
                <c:pt idx="986">
                  <c:v>40351</c:v>
                </c:pt>
                <c:pt idx="987">
                  <c:v>40352</c:v>
                </c:pt>
                <c:pt idx="988">
                  <c:v>40353</c:v>
                </c:pt>
                <c:pt idx="989">
                  <c:v>40354</c:v>
                </c:pt>
                <c:pt idx="990">
                  <c:v>40357</c:v>
                </c:pt>
                <c:pt idx="991">
                  <c:v>40358</c:v>
                </c:pt>
                <c:pt idx="992">
                  <c:v>40359</c:v>
                </c:pt>
                <c:pt idx="993">
                  <c:v>40360</c:v>
                </c:pt>
                <c:pt idx="994">
                  <c:v>40361</c:v>
                </c:pt>
                <c:pt idx="995">
                  <c:v>40364</c:v>
                </c:pt>
                <c:pt idx="996">
                  <c:v>40365</c:v>
                </c:pt>
                <c:pt idx="997">
                  <c:v>40366</c:v>
                </c:pt>
                <c:pt idx="998">
                  <c:v>40367</c:v>
                </c:pt>
                <c:pt idx="999">
                  <c:v>40368</c:v>
                </c:pt>
                <c:pt idx="1000">
                  <c:v>40371</c:v>
                </c:pt>
                <c:pt idx="1001">
                  <c:v>40372</c:v>
                </c:pt>
                <c:pt idx="1002">
                  <c:v>40373</c:v>
                </c:pt>
                <c:pt idx="1003">
                  <c:v>40374</c:v>
                </c:pt>
                <c:pt idx="1004">
                  <c:v>40375</c:v>
                </c:pt>
                <c:pt idx="1005">
                  <c:v>40378</c:v>
                </c:pt>
                <c:pt idx="1006">
                  <c:v>40379</c:v>
                </c:pt>
                <c:pt idx="1007">
                  <c:v>40380</c:v>
                </c:pt>
                <c:pt idx="1008">
                  <c:v>40381</c:v>
                </c:pt>
                <c:pt idx="1009">
                  <c:v>40382</c:v>
                </c:pt>
                <c:pt idx="1010">
                  <c:v>40385</c:v>
                </c:pt>
                <c:pt idx="1011">
                  <c:v>40386</c:v>
                </c:pt>
                <c:pt idx="1012">
                  <c:v>40387</c:v>
                </c:pt>
                <c:pt idx="1013">
                  <c:v>40388</c:v>
                </c:pt>
                <c:pt idx="1014">
                  <c:v>40389</c:v>
                </c:pt>
                <c:pt idx="1015">
                  <c:v>40392</c:v>
                </c:pt>
                <c:pt idx="1016">
                  <c:v>40393</c:v>
                </c:pt>
                <c:pt idx="1017">
                  <c:v>40394</c:v>
                </c:pt>
                <c:pt idx="1018">
                  <c:v>40395</c:v>
                </c:pt>
                <c:pt idx="1019">
                  <c:v>40396</c:v>
                </c:pt>
                <c:pt idx="1020">
                  <c:v>40399</c:v>
                </c:pt>
                <c:pt idx="1021">
                  <c:v>40400</c:v>
                </c:pt>
                <c:pt idx="1022">
                  <c:v>40401</c:v>
                </c:pt>
                <c:pt idx="1023">
                  <c:v>40402</c:v>
                </c:pt>
                <c:pt idx="1024">
                  <c:v>40403</c:v>
                </c:pt>
                <c:pt idx="1025">
                  <c:v>40406</c:v>
                </c:pt>
                <c:pt idx="1026">
                  <c:v>40407</c:v>
                </c:pt>
                <c:pt idx="1027">
                  <c:v>40408</c:v>
                </c:pt>
                <c:pt idx="1028">
                  <c:v>40409</c:v>
                </c:pt>
                <c:pt idx="1029">
                  <c:v>40410</c:v>
                </c:pt>
                <c:pt idx="1030">
                  <c:v>40413</c:v>
                </c:pt>
                <c:pt idx="1031">
                  <c:v>40414</c:v>
                </c:pt>
                <c:pt idx="1032">
                  <c:v>40415</c:v>
                </c:pt>
                <c:pt idx="1033">
                  <c:v>40416</c:v>
                </c:pt>
                <c:pt idx="1034">
                  <c:v>40417</c:v>
                </c:pt>
                <c:pt idx="1035">
                  <c:v>40420</c:v>
                </c:pt>
                <c:pt idx="1036">
                  <c:v>40421</c:v>
                </c:pt>
                <c:pt idx="1037">
                  <c:v>40422</c:v>
                </c:pt>
                <c:pt idx="1038">
                  <c:v>40423</c:v>
                </c:pt>
                <c:pt idx="1039">
                  <c:v>40424</c:v>
                </c:pt>
                <c:pt idx="1040">
                  <c:v>40427</c:v>
                </c:pt>
                <c:pt idx="1041">
                  <c:v>40428</c:v>
                </c:pt>
                <c:pt idx="1042">
                  <c:v>40429</c:v>
                </c:pt>
                <c:pt idx="1043">
                  <c:v>40430</c:v>
                </c:pt>
                <c:pt idx="1044">
                  <c:v>40431</c:v>
                </c:pt>
                <c:pt idx="1045">
                  <c:v>40434</c:v>
                </c:pt>
                <c:pt idx="1046">
                  <c:v>40435</c:v>
                </c:pt>
                <c:pt idx="1047">
                  <c:v>40436</c:v>
                </c:pt>
                <c:pt idx="1048">
                  <c:v>40437</c:v>
                </c:pt>
                <c:pt idx="1049">
                  <c:v>40438</c:v>
                </c:pt>
                <c:pt idx="1050">
                  <c:v>40441</c:v>
                </c:pt>
                <c:pt idx="1051">
                  <c:v>40442</c:v>
                </c:pt>
                <c:pt idx="1052">
                  <c:v>40443</c:v>
                </c:pt>
                <c:pt idx="1053">
                  <c:v>40444</c:v>
                </c:pt>
                <c:pt idx="1054">
                  <c:v>40445</c:v>
                </c:pt>
                <c:pt idx="1055">
                  <c:v>40448</c:v>
                </c:pt>
                <c:pt idx="1056">
                  <c:v>40449</c:v>
                </c:pt>
                <c:pt idx="1057">
                  <c:v>40450</c:v>
                </c:pt>
                <c:pt idx="1058">
                  <c:v>40451</c:v>
                </c:pt>
                <c:pt idx="1059">
                  <c:v>40452</c:v>
                </c:pt>
                <c:pt idx="1060">
                  <c:v>40455</c:v>
                </c:pt>
                <c:pt idx="1061">
                  <c:v>40456</c:v>
                </c:pt>
                <c:pt idx="1062">
                  <c:v>40457</c:v>
                </c:pt>
                <c:pt idx="1063">
                  <c:v>40458</c:v>
                </c:pt>
                <c:pt idx="1064">
                  <c:v>40459</c:v>
                </c:pt>
                <c:pt idx="1065">
                  <c:v>40462</c:v>
                </c:pt>
                <c:pt idx="1066">
                  <c:v>40463</c:v>
                </c:pt>
                <c:pt idx="1067">
                  <c:v>40464</c:v>
                </c:pt>
                <c:pt idx="1068">
                  <c:v>40465</c:v>
                </c:pt>
                <c:pt idx="1069">
                  <c:v>40466</c:v>
                </c:pt>
                <c:pt idx="1070">
                  <c:v>40469</c:v>
                </c:pt>
                <c:pt idx="1071">
                  <c:v>40470</c:v>
                </c:pt>
                <c:pt idx="1072">
                  <c:v>40471</c:v>
                </c:pt>
                <c:pt idx="1073">
                  <c:v>40472</c:v>
                </c:pt>
                <c:pt idx="1074">
                  <c:v>40473</c:v>
                </c:pt>
                <c:pt idx="1075">
                  <c:v>40476</c:v>
                </c:pt>
                <c:pt idx="1076">
                  <c:v>40477</c:v>
                </c:pt>
                <c:pt idx="1077">
                  <c:v>40478</c:v>
                </c:pt>
                <c:pt idx="1078">
                  <c:v>40479</c:v>
                </c:pt>
                <c:pt idx="1079">
                  <c:v>40480</c:v>
                </c:pt>
                <c:pt idx="1080">
                  <c:v>40483</c:v>
                </c:pt>
                <c:pt idx="1081">
                  <c:v>40484</c:v>
                </c:pt>
                <c:pt idx="1082">
                  <c:v>40485</c:v>
                </c:pt>
                <c:pt idx="1083">
                  <c:v>40486</c:v>
                </c:pt>
                <c:pt idx="1084">
                  <c:v>40487</c:v>
                </c:pt>
                <c:pt idx="1085">
                  <c:v>40490</c:v>
                </c:pt>
                <c:pt idx="1086">
                  <c:v>40491</c:v>
                </c:pt>
                <c:pt idx="1087">
                  <c:v>40492</c:v>
                </c:pt>
                <c:pt idx="1088">
                  <c:v>40493</c:v>
                </c:pt>
                <c:pt idx="1089">
                  <c:v>40494</c:v>
                </c:pt>
                <c:pt idx="1090">
                  <c:v>40497</c:v>
                </c:pt>
                <c:pt idx="1091">
                  <c:v>40498</c:v>
                </c:pt>
                <c:pt idx="1092">
                  <c:v>40499</c:v>
                </c:pt>
                <c:pt idx="1093">
                  <c:v>40500</c:v>
                </c:pt>
                <c:pt idx="1094">
                  <c:v>40501</c:v>
                </c:pt>
                <c:pt idx="1095">
                  <c:v>40504</c:v>
                </c:pt>
                <c:pt idx="1096">
                  <c:v>40505</c:v>
                </c:pt>
                <c:pt idx="1097">
                  <c:v>40506</c:v>
                </c:pt>
                <c:pt idx="1098">
                  <c:v>40507</c:v>
                </c:pt>
                <c:pt idx="1099">
                  <c:v>40508</c:v>
                </c:pt>
                <c:pt idx="1100">
                  <c:v>40511</c:v>
                </c:pt>
                <c:pt idx="1101">
                  <c:v>40512</c:v>
                </c:pt>
                <c:pt idx="1102">
                  <c:v>40513</c:v>
                </c:pt>
                <c:pt idx="1103">
                  <c:v>40514</c:v>
                </c:pt>
                <c:pt idx="1104">
                  <c:v>40515</c:v>
                </c:pt>
                <c:pt idx="1105">
                  <c:v>40518</c:v>
                </c:pt>
                <c:pt idx="1106">
                  <c:v>40519</c:v>
                </c:pt>
                <c:pt idx="1107">
                  <c:v>40520</c:v>
                </c:pt>
                <c:pt idx="1108">
                  <c:v>40521</c:v>
                </c:pt>
                <c:pt idx="1109">
                  <c:v>40522</c:v>
                </c:pt>
                <c:pt idx="1110">
                  <c:v>40525</c:v>
                </c:pt>
                <c:pt idx="1111">
                  <c:v>40526</c:v>
                </c:pt>
                <c:pt idx="1112">
                  <c:v>40527</c:v>
                </c:pt>
                <c:pt idx="1113">
                  <c:v>40528</c:v>
                </c:pt>
                <c:pt idx="1114">
                  <c:v>40529</c:v>
                </c:pt>
                <c:pt idx="1115">
                  <c:v>40532</c:v>
                </c:pt>
                <c:pt idx="1116">
                  <c:v>40533</c:v>
                </c:pt>
                <c:pt idx="1117">
                  <c:v>40534</c:v>
                </c:pt>
                <c:pt idx="1118">
                  <c:v>40535</c:v>
                </c:pt>
                <c:pt idx="1119">
                  <c:v>40539</c:v>
                </c:pt>
                <c:pt idx="1120">
                  <c:v>40540</c:v>
                </c:pt>
                <c:pt idx="1121">
                  <c:v>40541</c:v>
                </c:pt>
                <c:pt idx="1122">
                  <c:v>40542</c:v>
                </c:pt>
                <c:pt idx="1123">
                  <c:v>40546</c:v>
                </c:pt>
                <c:pt idx="1124">
                  <c:v>40547</c:v>
                </c:pt>
                <c:pt idx="1125">
                  <c:v>40548</c:v>
                </c:pt>
                <c:pt idx="1126">
                  <c:v>40549</c:v>
                </c:pt>
                <c:pt idx="1127">
                  <c:v>40550</c:v>
                </c:pt>
                <c:pt idx="1128">
                  <c:v>40553</c:v>
                </c:pt>
                <c:pt idx="1129">
                  <c:v>40554</c:v>
                </c:pt>
                <c:pt idx="1130">
                  <c:v>40555</c:v>
                </c:pt>
                <c:pt idx="1131">
                  <c:v>40556</c:v>
                </c:pt>
                <c:pt idx="1132">
                  <c:v>40557</c:v>
                </c:pt>
                <c:pt idx="1133">
                  <c:v>40560</c:v>
                </c:pt>
                <c:pt idx="1134">
                  <c:v>40561</c:v>
                </c:pt>
                <c:pt idx="1135">
                  <c:v>40562</c:v>
                </c:pt>
                <c:pt idx="1136">
                  <c:v>40563</c:v>
                </c:pt>
                <c:pt idx="1137">
                  <c:v>40564</c:v>
                </c:pt>
                <c:pt idx="1138">
                  <c:v>40567</c:v>
                </c:pt>
                <c:pt idx="1139">
                  <c:v>40568</c:v>
                </c:pt>
                <c:pt idx="1140">
                  <c:v>40569</c:v>
                </c:pt>
                <c:pt idx="1141">
                  <c:v>40570</c:v>
                </c:pt>
                <c:pt idx="1142">
                  <c:v>40571</c:v>
                </c:pt>
                <c:pt idx="1143">
                  <c:v>40574</c:v>
                </c:pt>
                <c:pt idx="1144">
                  <c:v>40575</c:v>
                </c:pt>
                <c:pt idx="1145">
                  <c:v>40576</c:v>
                </c:pt>
                <c:pt idx="1146">
                  <c:v>40577</c:v>
                </c:pt>
                <c:pt idx="1147">
                  <c:v>40578</c:v>
                </c:pt>
                <c:pt idx="1148">
                  <c:v>40581</c:v>
                </c:pt>
                <c:pt idx="1149">
                  <c:v>40582</c:v>
                </c:pt>
                <c:pt idx="1150">
                  <c:v>40583</c:v>
                </c:pt>
                <c:pt idx="1151">
                  <c:v>40584</c:v>
                </c:pt>
                <c:pt idx="1152">
                  <c:v>40585</c:v>
                </c:pt>
                <c:pt idx="1153">
                  <c:v>40588</c:v>
                </c:pt>
                <c:pt idx="1154">
                  <c:v>40589</c:v>
                </c:pt>
                <c:pt idx="1155">
                  <c:v>40590</c:v>
                </c:pt>
                <c:pt idx="1156">
                  <c:v>40591</c:v>
                </c:pt>
                <c:pt idx="1157">
                  <c:v>40592</c:v>
                </c:pt>
                <c:pt idx="1158">
                  <c:v>40595</c:v>
                </c:pt>
                <c:pt idx="1159">
                  <c:v>40596</c:v>
                </c:pt>
                <c:pt idx="1160">
                  <c:v>40597</c:v>
                </c:pt>
                <c:pt idx="1161">
                  <c:v>40598</c:v>
                </c:pt>
                <c:pt idx="1162">
                  <c:v>40599</c:v>
                </c:pt>
                <c:pt idx="1163">
                  <c:v>40602</c:v>
                </c:pt>
                <c:pt idx="1164">
                  <c:v>40603</c:v>
                </c:pt>
                <c:pt idx="1165">
                  <c:v>40604</c:v>
                </c:pt>
                <c:pt idx="1166">
                  <c:v>40605</c:v>
                </c:pt>
                <c:pt idx="1167">
                  <c:v>40606</c:v>
                </c:pt>
                <c:pt idx="1168">
                  <c:v>40609</c:v>
                </c:pt>
                <c:pt idx="1169">
                  <c:v>40610</c:v>
                </c:pt>
                <c:pt idx="1170">
                  <c:v>40611</c:v>
                </c:pt>
                <c:pt idx="1171">
                  <c:v>40612</c:v>
                </c:pt>
                <c:pt idx="1172">
                  <c:v>40613</c:v>
                </c:pt>
                <c:pt idx="1173">
                  <c:v>40616</c:v>
                </c:pt>
                <c:pt idx="1174">
                  <c:v>40617</c:v>
                </c:pt>
                <c:pt idx="1175">
                  <c:v>40618</c:v>
                </c:pt>
                <c:pt idx="1176">
                  <c:v>40619</c:v>
                </c:pt>
                <c:pt idx="1177">
                  <c:v>40620</c:v>
                </c:pt>
                <c:pt idx="1178">
                  <c:v>40623</c:v>
                </c:pt>
                <c:pt idx="1179">
                  <c:v>40624</c:v>
                </c:pt>
                <c:pt idx="1180">
                  <c:v>40625</c:v>
                </c:pt>
                <c:pt idx="1181">
                  <c:v>40626</c:v>
                </c:pt>
                <c:pt idx="1182">
                  <c:v>40627</c:v>
                </c:pt>
                <c:pt idx="1183">
                  <c:v>40630</c:v>
                </c:pt>
                <c:pt idx="1184">
                  <c:v>40631</c:v>
                </c:pt>
                <c:pt idx="1185">
                  <c:v>40632</c:v>
                </c:pt>
                <c:pt idx="1186">
                  <c:v>40633</c:v>
                </c:pt>
                <c:pt idx="1187">
                  <c:v>40634</c:v>
                </c:pt>
                <c:pt idx="1188">
                  <c:v>40637</c:v>
                </c:pt>
                <c:pt idx="1189">
                  <c:v>40638</c:v>
                </c:pt>
                <c:pt idx="1190">
                  <c:v>40639</c:v>
                </c:pt>
                <c:pt idx="1191">
                  <c:v>40640</c:v>
                </c:pt>
                <c:pt idx="1192">
                  <c:v>40641</c:v>
                </c:pt>
                <c:pt idx="1193">
                  <c:v>40644</c:v>
                </c:pt>
                <c:pt idx="1194">
                  <c:v>40645</c:v>
                </c:pt>
                <c:pt idx="1195">
                  <c:v>40646</c:v>
                </c:pt>
                <c:pt idx="1196">
                  <c:v>40647</c:v>
                </c:pt>
                <c:pt idx="1197">
                  <c:v>40648</c:v>
                </c:pt>
                <c:pt idx="1198">
                  <c:v>40651</c:v>
                </c:pt>
                <c:pt idx="1199">
                  <c:v>40652</c:v>
                </c:pt>
                <c:pt idx="1200">
                  <c:v>40653</c:v>
                </c:pt>
                <c:pt idx="1201">
                  <c:v>40654</c:v>
                </c:pt>
                <c:pt idx="1202">
                  <c:v>40659</c:v>
                </c:pt>
                <c:pt idx="1203">
                  <c:v>40660</c:v>
                </c:pt>
                <c:pt idx="1204">
                  <c:v>40661</c:v>
                </c:pt>
                <c:pt idx="1205">
                  <c:v>40662</c:v>
                </c:pt>
                <c:pt idx="1206">
                  <c:v>40665</c:v>
                </c:pt>
                <c:pt idx="1207">
                  <c:v>40666</c:v>
                </c:pt>
                <c:pt idx="1208">
                  <c:v>40667</c:v>
                </c:pt>
                <c:pt idx="1209">
                  <c:v>40668</c:v>
                </c:pt>
                <c:pt idx="1210">
                  <c:v>40669</c:v>
                </c:pt>
                <c:pt idx="1211">
                  <c:v>40672</c:v>
                </c:pt>
                <c:pt idx="1212">
                  <c:v>40673</c:v>
                </c:pt>
                <c:pt idx="1213">
                  <c:v>40674</c:v>
                </c:pt>
                <c:pt idx="1214">
                  <c:v>40675</c:v>
                </c:pt>
                <c:pt idx="1215">
                  <c:v>40676</c:v>
                </c:pt>
                <c:pt idx="1216">
                  <c:v>40679</c:v>
                </c:pt>
                <c:pt idx="1217">
                  <c:v>40680</c:v>
                </c:pt>
                <c:pt idx="1218">
                  <c:v>40681</c:v>
                </c:pt>
                <c:pt idx="1219">
                  <c:v>40682</c:v>
                </c:pt>
                <c:pt idx="1220">
                  <c:v>40683</c:v>
                </c:pt>
                <c:pt idx="1221">
                  <c:v>40686</c:v>
                </c:pt>
                <c:pt idx="1222">
                  <c:v>40687</c:v>
                </c:pt>
                <c:pt idx="1223">
                  <c:v>40688</c:v>
                </c:pt>
                <c:pt idx="1224">
                  <c:v>40689</c:v>
                </c:pt>
                <c:pt idx="1225">
                  <c:v>40690</c:v>
                </c:pt>
                <c:pt idx="1226">
                  <c:v>40693</c:v>
                </c:pt>
                <c:pt idx="1227">
                  <c:v>40694</c:v>
                </c:pt>
                <c:pt idx="1228">
                  <c:v>40695</c:v>
                </c:pt>
                <c:pt idx="1229">
                  <c:v>40696</c:v>
                </c:pt>
                <c:pt idx="1230">
                  <c:v>40697</c:v>
                </c:pt>
                <c:pt idx="1231">
                  <c:v>40700</c:v>
                </c:pt>
                <c:pt idx="1232">
                  <c:v>40701</c:v>
                </c:pt>
                <c:pt idx="1233">
                  <c:v>40702</c:v>
                </c:pt>
                <c:pt idx="1234">
                  <c:v>40703</c:v>
                </c:pt>
                <c:pt idx="1235">
                  <c:v>40704</c:v>
                </c:pt>
                <c:pt idx="1236">
                  <c:v>40707</c:v>
                </c:pt>
                <c:pt idx="1237">
                  <c:v>40708</c:v>
                </c:pt>
                <c:pt idx="1238">
                  <c:v>40709</c:v>
                </c:pt>
                <c:pt idx="1239">
                  <c:v>40710</c:v>
                </c:pt>
                <c:pt idx="1240">
                  <c:v>40711</c:v>
                </c:pt>
                <c:pt idx="1241">
                  <c:v>40714</c:v>
                </c:pt>
                <c:pt idx="1242">
                  <c:v>40715</c:v>
                </c:pt>
                <c:pt idx="1243">
                  <c:v>40716</c:v>
                </c:pt>
                <c:pt idx="1244">
                  <c:v>40717</c:v>
                </c:pt>
                <c:pt idx="1245">
                  <c:v>40718</c:v>
                </c:pt>
                <c:pt idx="1246">
                  <c:v>40721</c:v>
                </c:pt>
                <c:pt idx="1247">
                  <c:v>40722</c:v>
                </c:pt>
                <c:pt idx="1248">
                  <c:v>40723</c:v>
                </c:pt>
                <c:pt idx="1249">
                  <c:v>40724</c:v>
                </c:pt>
                <c:pt idx="1250">
                  <c:v>40725</c:v>
                </c:pt>
                <c:pt idx="1251">
                  <c:v>40728</c:v>
                </c:pt>
                <c:pt idx="1252">
                  <c:v>40729</c:v>
                </c:pt>
                <c:pt idx="1253">
                  <c:v>40730</c:v>
                </c:pt>
                <c:pt idx="1254">
                  <c:v>40731</c:v>
                </c:pt>
                <c:pt idx="1255">
                  <c:v>40732</c:v>
                </c:pt>
                <c:pt idx="1256">
                  <c:v>40735</c:v>
                </c:pt>
                <c:pt idx="1257">
                  <c:v>40736</c:v>
                </c:pt>
                <c:pt idx="1258">
                  <c:v>40737</c:v>
                </c:pt>
                <c:pt idx="1259">
                  <c:v>40738</c:v>
                </c:pt>
                <c:pt idx="1260">
                  <c:v>40739</c:v>
                </c:pt>
                <c:pt idx="1261">
                  <c:v>40742</c:v>
                </c:pt>
                <c:pt idx="1262">
                  <c:v>40743</c:v>
                </c:pt>
                <c:pt idx="1263">
                  <c:v>40744</c:v>
                </c:pt>
                <c:pt idx="1264">
                  <c:v>40745</c:v>
                </c:pt>
                <c:pt idx="1265">
                  <c:v>40746</c:v>
                </c:pt>
                <c:pt idx="1266">
                  <c:v>40749</c:v>
                </c:pt>
                <c:pt idx="1267">
                  <c:v>40750</c:v>
                </c:pt>
                <c:pt idx="1268">
                  <c:v>40751</c:v>
                </c:pt>
                <c:pt idx="1269">
                  <c:v>40752</c:v>
                </c:pt>
                <c:pt idx="1270">
                  <c:v>40753</c:v>
                </c:pt>
                <c:pt idx="1271">
                  <c:v>40756</c:v>
                </c:pt>
                <c:pt idx="1272">
                  <c:v>40757</c:v>
                </c:pt>
                <c:pt idx="1273">
                  <c:v>40758</c:v>
                </c:pt>
                <c:pt idx="1274">
                  <c:v>40759</c:v>
                </c:pt>
                <c:pt idx="1275">
                  <c:v>40760</c:v>
                </c:pt>
                <c:pt idx="1276">
                  <c:v>40763</c:v>
                </c:pt>
                <c:pt idx="1277">
                  <c:v>40764</c:v>
                </c:pt>
                <c:pt idx="1278">
                  <c:v>40765</c:v>
                </c:pt>
                <c:pt idx="1279">
                  <c:v>40766</c:v>
                </c:pt>
                <c:pt idx="1280">
                  <c:v>40767</c:v>
                </c:pt>
                <c:pt idx="1281">
                  <c:v>40770</c:v>
                </c:pt>
                <c:pt idx="1282">
                  <c:v>40771</c:v>
                </c:pt>
                <c:pt idx="1283">
                  <c:v>40772</c:v>
                </c:pt>
                <c:pt idx="1284">
                  <c:v>40773</c:v>
                </c:pt>
                <c:pt idx="1285">
                  <c:v>40774</c:v>
                </c:pt>
                <c:pt idx="1286">
                  <c:v>40777</c:v>
                </c:pt>
                <c:pt idx="1287">
                  <c:v>40778</c:v>
                </c:pt>
                <c:pt idx="1288">
                  <c:v>40779</c:v>
                </c:pt>
                <c:pt idx="1289">
                  <c:v>40780</c:v>
                </c:pt>
                <c:pt idx="1290">
                  <c:v>40781</c:v>
                </c:pt>
                <c:pt idx="1291">
                  <c:v>40784</c:v>
                </c:pt>
                <c:pt idx="1292">
                  <c:v>40785</c:v>
                </c:pt>
                <c:pt idx="1293">
                  <c:v>40786</c:v>
                </c:pt>
                <c:pt idx="1294">
                  <c:v>40787</c:v>
                </c:pt>
                <c:pt idx="1295">
                  <c:v>40788</c:v>
                </c:pt>
                <c:pt idx="1296">
                  <c:v>40791</c:v>
                </c:pt>
                <c:pt idx="1297">
                  <c:v>40792</c:v>
                </c:pt>
                <c:pt idx="1298">
                  <c:v>40793</c:v>
                </c:pt>
                <c:pt idx="1299">
                  <c:v>40794</c:v>
                </c:pt>
                <c:pt idx="1300">
                  <c:v>40795</c:v>
                </c:pt>
                <c:pt idx="1301">
                  <c:v>40798</c:v>
                </c:pt>
                <c:pt idx="1302">
                  <c:v>40799</c:v>
                </c:pt>
                <c:pt idx="1303">
                  <c:v>40800</c:v>
                </c:pt>
                <c:pt idx="1304">
                  <c:v>40801</c:v>
                </c:pt>
                <c:pt idx="1305">
                  <c:v>40802</c:v>
                </c:pt>
                <c:pt idx="1306">
                  <c:v>40805</c:v>
                </c:pt>
                <c:pt idx="1307">
                  <c:v>40806</c:v>
                </c:pt>
                <c:pt idx="1308">
                  <c:v>40807</c:v>
                </c:pt>
                <c:pt idx="1309">
                  <c:v>40808</c:v>
                </c:pt>
                <c:pt idx="1310">
                  <c:v>40809</c:v>
                </c:pt>
                <c:pt idx="1311">
                  <c:v>40812</c:v>
                </c:pt>
                <c:pt idx="1312">
                  <c:v>40813</c:v>
                </c:pt>
                <c:pt idx="1313">
                  <c:v>40814</c:v>
                </c:pt>
                <c:pt idx="1314">
                  <c:v>40815</c:v>
                </c:pt>
                <c:pt idx="1315">
                  <c:v>40816</c:v>
                </c:pt>
                <c:pt idx="1316">
                  <c:v>40819</c:v>
                </c:pt>
                <c:pt idx="1317">
                  <c:v>40820</c:v>
                </c:pt>
                <c:pt idx="1318">
                  <c:v>40821</c:v>
                </c:pt>
                <c:pt idx="1319">
                  <c:v>40822</c:v>
                </c:pt>
                <c:pt idx="1320">
                  <c:v>40823</c:v>
                </c:pt>
                <c:pt idx="1321">
                  <c:v>40826</c:v>
                </c:pt>
                <c:pt idx="1322">
                  <c:v>40827</c:v>
                </c:pt>
                <c:pt idx="1323">
                  <c:v>40828</c:v>
                </c:pt>
                <c:pt idx="1324">
                  <c:v>40829</c:v>
                </c:pt>
                <c:pt idx="1325">
                  <c:v>40830</c:v>
                </c:pt>
                <c:pt idx="1326">
                  <c:v>40833</c:v>
                </c:pt>
                <c:pt idx="1327">
                  <c:v>40834</c:v>
                </c:pt>
                <c:pt idx="1328">
                  <c:v>40835</c:v>
                </c:pt>
                <c:pt idx="1329">
                  <c:v>40836</c:v>
                </c:pt>
                <c:pt idx="1330">
                  <c:v>40837</c:v>
                </c:pt>
                <c:pt idx="1331">
                  <c:v>40840</c:v>
                </c:pt>
                <c:pt idx="1332">
                  <c:v>40841</c:v>
                </c:pt>
                <c:pt idx="1333">
                  <c:v>40842</c:v>
                </c:pt>
                <c:pt idx="1334">
                  <c:v>40843</c:v>
                </c:pt>
                <c:pt idx="1335">
                  <c:v>40844</c:v>
                </c:pt>
                <c:pt idx="1336">
                  <c:v>40847</c:v>
                </c:pt>
                <c:pt idx="1337">
                  <c:v>40848</c:v>
                </c:pt>
                <c:pt idx="1338">
                  <c:v>40849</c:v>
                </c:pt>
                <c:pt idx="1339">
                  <c:v>40850</c:v>
                </c:pt>
                <c:pt idx="1340">
                  <c:v>40851</c:v>
                </c:pt>
                <c:pt idx="1341">
                  <c:v>40854</c:v>
                </c:pt>
                <c:pt idx="1342">
                  <c:v>40855</c:v>
                </c:pt>
                <c:pt idx="1343">
                  <c:v>40856</c:v>
                </c:pt>
                <c:pt idx="1344">
                  <c:v>40857</c:v>
                </c:pt>
                <c:pt idx="1345">
                  <c:v>40858</c:v>
                </c:pt>
                <c:pt idx="1346">
                  <c:v>40861</c:v>
                </c:pt>
                <c:pt idx="1347">
                  <c:v>40862</c:v>
                </c:pt>
                <c:pt idx="1348">
                  <c:v>40863</c:v>
                </c:pt>
                <c:pt idx="1349">
                  <c:v>40864</c:v>
                </c:pt>
                <c:pt idx="1350">
                  <c:v>40865</c:v>
                </c:pt>
                <c:pt idx="1351">
                  <c:v>40868</c:v>
                </c:pt>
                <c:pt idx="1352">
                  <c:v>40869</c:v>
                </c:pt>
                <c:pt idx="1353">
                  <c:v>40870</c:v>
                </c:pt>
                <c:pt idx="1354">
                  <c:v>40871</c:v>
                </c:pt>
                <c:pt idx="1355">
                  <c:v>40872</c:v>
                </c:pt>
                <c:pt idx="1356">
                  <c:v>40875</c:v>
                </c:pt>
                <c:pt idx="1357">
                  <c:v>40876</c:v>
                </c:pt>
                <c:pt idx="1358">
                  <c:v>40877</c:v>
                </c:pt>
                <c:pt idx="1359">
                  <c:v>40878</c:v>
                </c:pt>
                <c:pt idx="1360">
                  <c:v>40879</c:v>
                </c:pt>
                <c:pt idx="1361">
                  <c:v>40882</c:v>
                </c:pt>
                <c:pt idx="1362">
                  <c:v>40883</c:v>
                </c:pt>
                <c:pt idx="1363">
                  <c:v>40884</c:v>
                </c:pt>
                <c:pt idx="1364">
                  <c:v>40885</c:v>
                </c:pt>
                <c:pt idx="1365">
                  <c:v>40886</c:v>
                </c:pt>
                <c:pt idx="1366">
                  <c:v>40889</c:v>
                </c:pt>
                <c:pt idx="1367">
                  <c:v>40890</c:v>
                </c:pt>
                <c:pt idx="1368">
                  <c:v>40891</c:v>
                </c:pt>
                <c:pt idx="1369">
                  <c:v>40892</c:v>
                </c:pt>
                <c:pt idx="1370">
                  <c:v>40893</c:v>
                </c:pt>
                <c:pt idx="1371">
                  <c:v>40896</c:v>
                </c:pt>
                <c:pt idx="1372">
                  <c:v>40897</c:v>
                </c:pt>
                <c:pt idx="1373">
                  <c:v>40898</c:v>
                </c:pt>
                <c:pt idx="1374">
                  <c:v>40899</c:v>
                </c:pt>
                <c:pt idx="1375">
                  <c:v>40900</c:v>
                </c:pt>
                <c:pt idx="1376">
                  <c:v>40904</c:v>
                </c:pt>
                <c:pt idx="1377">
                  <c:v>40905</c:v>
                </c:pt>
                <c:pt idx="1378">
                  <c:v>40906</c:v>
                </c:pt>
                <c:pt idx="1379">
                  <c:v>40907</c:v>
                </c:pt>
                <c:pt idx="1380">
                  <c:v>40910</c:v>
                </c:pt>
                <c:pt idx="1381">
                  <c:v>40911</c:v>
                </c:pt>
                <c:pt idx="1382">
                  <c:v>40912</c:v>
                </c:pt>
                <c:pt idx="1383">
                  <c:v>40913</c:v>
                </c:pt>
                <c:pt idx="1384">
                  <c:v>40914</c:v>
                </c:pt>
                <c:pt idx="1385">
                  <c:v>40917</c:v>
                </c:pt>
                <c:pt idx="1386">
                  <c:v>40918</c:v>
                </c:pt>
                <c:pt idx="1387">
                  <c:v>40919</c:v>
                </c:pt>
                <c:pt idx="1388">
                  <c:v>40920</c:v>
                </c:pt>
                <c:pt idx="1389">
                  <c:v>40921</c:v>
                </c:pt>
                <c:pt idx="1390">
                  <c:v>40924</c:v>
                </c:pt>
                <c:pt idx="1391">
                  <c:v>40925</c:v>
                </c:pt>
                <c:pt idx="1392">
                  <c:v>40926</c:v>
                </c:pt>
                <c:pt idx="1393">
                  <c:v>40927</c:v>
                </c:pt>
                <c:pt idx="1394">
                  <c:v>40928</c:v>
                </c:pt>
                <c:pt idx="1395">
                  <c:v>40931</c:v>
                </c:pt>
                <c:pt idx="1396">
                  <c:v>40932</c:v>
                </c:pt>
                <c:pt idx="1397">
                  <c:v>40933</c:v>
                </c:pt>
                <c:pt idx="1398">
                  <c:v>40934</c:v>
                </c:pt>
                <c:pt idx="1399">
                  <c:v>40935</c:v>
                </c:pt>
                <c:pt idx="1400">
                  <c:v>40938</c:v>
                </c:pt>
                <c:pt idx="1401">
                  <c:v>40939</c:v>
                </c:pt>
                <c:pt idx="1402">
                  <c:v>40940</c:v>
                </c:pt>
                <c:pt idx="1403">
                  <c:v>40941</c:v>
                </c:pt>
                <c:pt idx="1404">
                  <c:v>40942</c:v>
                </c:pt>
                <c:pt idx="1405">
                  <c:v>40945</c:v>
                </c:pt>
                <c:pt idx="1406">
                  <c:v>40946</c:v>
                </c:pt>
                <c:pt idx="1407">
                  <c:v>40947</c:v>
                </c:pt>
                <c:pt idx="1408">
                  <c:v>40948</c:v>
                </c:pt>
                <c:pt idx="1409">
                  <c:v>40949</c:v>
                </c:pt>
                <c:pt idx="1410">
                  <c:v>40952</c:v>
                </c:pt>
                <c:pt idx="1411">
                  <c:v>40953</c:v>
                </c:pt>
                <c:pt idx="1412">
                  <c:v>40954</c:v>
                </c:pt>
                <c:pt idx="1413">
                  <c:v>40955</c:v>
                </c:pt>
                <c:pt idx="1414">
                  <c:v>40956</c:v>
                </c:pt>
                <c:pt idx="1415">
                  <c:v>40959</c:v>
                </c:pt>
                <c:pt idx="1416">
                  <c:v>40960</c:v>
                </c:pt>
                <c:pt idx="1417">
                  <c:v>40961</c:v>
                </c:pt>
                <c:pt idx="1418">
                  <c:v>40962</c:v>
                </c:pt>
                <c:pt idx="1419">
                  <c:v>40963</c:v>
                </c:pt>
                <c:pt idx="1420">
                  <c:v>40966</c:v>
                </c:pt>
                <c:pt idx="1421">
                  <c:v>40967</c:v>
                </c:pt>
                <c:pt idx="1422">
                  <c:v>40968</c:v>
                </c:pt>
                <c:pt idx="1423">
                  <c:v>40969</c:v>
                </c:pt>
                <c:pt idx="1424">
                  <c:v>40970</c:v>
                </c:pt>
                <c:pt idx="1425">
                  <c:v>40973</c:v>
                </c:pt>
                <c:pt idx="1426">
                  <c:v>40974</c:v>
                </c:pt>
                <c:pt idx="1427">
                  <c:v>40975</c:v>
                </c:pt>
                <c:pt idx="1428">
                  <c:v>40976</c:v>
                </c:pt>
                <c:pt idx="1429">
                  <c:v>40977</c:v>
                </c:pt>
                <c:pt idx="1430">
                  <c:v>40980</c:v>
                </c:pt>
                <c:pt idx="1431">
                  <c:v>40981</c:v>
                </c:pt>
                <c:pt idx="1432">
                  <c:v>40982</c:v>
                </c:pt>
                <c:pt idx="1433">
                  <c:v>40983</c:v>
                </c:pt>
                <c:pt idx="1434">
                  <c:v>40984</c:v>
                </c:pt>
                <c:pt idx="1435">
                  <c:v>40987</c:v>
                </c:pt>
                <c:pt idx="1436">
                  <c:v>40988</c:v>
                </c:pt>
                <c:pt idx="1437">
                  <c:v>40989</c:v>
                </c:pt>
                <c:pt idx="1438">
                  <c:v>40990</c:v>
                </c:pt>
                <c:pt idx="1439">
                  <c:v>40991</c:v>
                </c:pt>
                <c:pt idx="1440">
                  <c:v>40994</c:v>
                </c:pt>
                <c:pt idx="1441">
                  <c:v>40995</c:v>
                </c:pt>
                <c:pt idx="1442">
                  <c:v>40996</c:v>
                </c:pt>
                <c:pt idx="1443">
                  <c:v>40997</c:v>
                </c:pt>
                <c:pt idx="1444">
                  <c:v>40998</c:v>
                </c:pt>
                <c:pt idx="1445">
                  <c:v>41001</c:v>
                </c:pt>
                <c:pt idx="1446">
                  <c:v>41002</c:v>
                </c:pt>
                <c:pt idx="1447">
                  <c:v>41003</c:v>
                </c:pt>
                <c:pt idx="1448">
                  <c:v>41004</c:v>
                </c:pt>
                <c:pt idx="1449">
                  <c:v>41009</c:v>
                </c:pt>
                <c:pt idx="1450">
                  <c:v>41010</c:v>
                </c:pt>
                <c:pt idx="1451">
                  <c:v>41011</c:v>
                </c:pt>
                <c:pt idx="1452">
                  <c:v>41012</c:v>
                </c:pt>
                <c:pt idx="1453">
                  <c:v>41015</c:v>
                </c:pt>
                <c:pt idx="1454">
                  <c:v>41016</c:v>
                </c:pt>
                <c:pt idx="1455">
                  <c:v>41017</c:v>
                </c:pt>
                <c:pt idx="1456">
                  <c:v>41018</c:v>
                </c:pt>
                <c:pt idx="1457">
                  <c:v>41019</c:v>
                </c:pt>
                <c:pt idx="1458">
                  <c:v>41022</c:v>
                </c:pt>
                <c:pt idx="1459">
                  <c:v>41023</c:v>
                </c:pt>
                <c:pt idx="1460">
                  <c:v>41024</c:v>
                </c:pt>
                <c:pt idx="1461">
                  <c:v>41025</c:v>
                </c:pt>
                <c:pt idx="1462">
                  <c:v>41026</c:v>
                </c:pt>
                <c:pt idx="1463">
                  <c:v>41029</c:v>
                </c:pt>
                <c:pt idx="1464">
                  <c:v>41031</c:v>
                </c:pt>
                <c:pt idx="1465">
                  <c:v>41032</c:v>
                </c:pt>
                <c:pt idx="1466">
                  <c:v>41033</c:v>
                </c:pt>
                <c:pt idx="1467">
                  <c:v>41036</c:v>
                </c:pt>
                <c:pt idx="1468">
                  <c:v>41037</c:v>
                </c:pt>
                <c:pt idx="1469">
                  <c:v>41038</c:v>
                </c:pt>
                <c:pt idx="1470">
                  <c:v>41039</c:v>
                </c:pt>
                <c:pt idx="1471">
                  <c:v>41040</c:v>
                </c:pt>
                <c:pt idx="1472">
                  <c:v>41043</c:v>
                </c:pt>
                <c:pt idx="1473">
                  <c:v>41044</c:v>
                </c:pt>
                <c:pt idx="1474">
                  <c:v>41045</c:v>
                </c:pt>
                <c:pt idx="1475">
                  <c:v>41046</c:v>
                </c:pt>
                <c:pt idx="1476">
                  <c:v>41047</c:v>
                </c:pt>
                <c:pt idx="1477">
                  <c:v>41050</c:v>
                </c:pt>
                <c:pt idx="1478">
                  <c:v>41051</c:v>
                </c:pt>
                <c:pt idx="1479">
                  <c:v>41052</c:v>
                </c:pt>
                <c:pt idx="1480">
                  <c:v>41053</c:v>
                </c:pt>
                <c:pt idx="1481">
                  <c:v>41054</c:v>
                </c:pt>
                <c:pt idx="1482">
                  <c:v>41057</c:v>
                </c:pt>
                <c:pt idx="1483">
                  <c:v>41058</c:v>
                </c:pt>
                <c:pt idx="1484">
                  <c:v>41059</c:v>
                </c:pt>
                <c:pt idx="1485">
                  <c:v>41060</c:v>
                </c:pt>
                <c:pt idx="1486">
                  <c:v>41061</c:v>
                </c:pt>
                <c:pt idx="1487">
                  <c:v>41064</c:v>
                </c:pt>
                <c:pt idx="1488">
                  <c:v>41065</c:v>
                </c:pt>
                <c:pt idx="1489">
                  <c:v>41066</c:v>
                </c:pt>
                <c:pt idx="1490">
                  <c:v>41067</c:v>
                </c:pt>
                <c:pt idx="1491">
                  <c:v>41068</c:v>
                </c:pt>
                <c:pt idx="1492">
                  <c:v>41071</c:v>
                </c:pt>
                <c:pt idx="1493">
                  <c:v>41072</c:v>
                </c:pt>
                <c:pt idx="1494">
                  <c:v>41073</c:v>
                </c:pt>
                <c:pt idx="1495">
                  <c:v>41074</c:v>
                </c:pt>
                <c:pt idx="1496">
                  <c:v>41075</c:v>
                </c:pt>
                <c:pt idx="1497">
                  <c:v>41078</c:v>
                </c:pt>
                <c:pt idx="1498">
                  <c:v>41079</c:v>
                </c:pt>
                <c:pt idx="1499">
                  <c:v>41080</c:v>
                </c:pt>
                <c:pt idx="1500">
                  <c:v>41081</c:v>
                </c:pt>
                <c:pt idx="1501">
                  <c:v>41082</c:v>
                </c:pt>
                <c:pt idx="1502">
                  <c:v>41085</c:v>
                </c:pt>
                <c:pt idx="1503">
                  <c:v>41086</c:v>
                </c:pt>
                <c:pt idx="1504">
                  <c:v>41087</c:v>
                </c:pt>
                <c:pt idx="1505">
                  <c:v>41088</c:v>
                </c:pt>
                <c:pt idx="1506">
                  <c:v>41089</c:v>
                </c:pt>
                <c:pt idx="1507">
                  <c:v>41092</c:v>
                </c:pt>
                <c:pt idx="1508">
                  <c:v>41093</c:v>
                </c:pt>
                <c:pt idx="1509">
                  <c:v>41094</c:v>
                </c:pt>
                <c:pt idx="1510">
                  <c:v>41095</c:v>
                </c:pt>
                <c:pt idx="1511">
                  <c:v>41096</c:v>
                </c:pt>
                <c:pt idx="1512">
                  <c:v>41099</c:v>
                </c:pt>
                <c:pt idx="1513">
                  <c:v>41100</c:v>
                </c:pt>
                <c:pt idx="1514">
                  <c:v>41101</c:v>
                </c:pt>
                <c:pt idx="1515">
                  <c:v>41102</c:v>
                </c:pt>
                <c:pt idx="1516">
                  <c:v>41103</c:v>
                </c:pt>
                <c:pt idx="1517">
                  <c:v>41106</c:v>
                </c:pt>
                <c:pt idx="1518">
                  <c:v>41107</c:v>
                </c:pt>
                <c:pt idx="1519">
                  <c:v>41108</c:v>
                </c:pt>
                <c:pt idx="1520">
                  <c:v>41109</c:v>
                </c:pt>
                <c:pt idx="1521">
                  <c:v>41110</c:v>
                </c:pt>
                <c:pt idx="1522">
                  <c:v>41113</c:v>
                </c:pt>
                <c:pt idx="1523">
                  <c:v>41114</c:v>
                </c:pt>
                <c:pt idx="1524">
                  <c:v>41115</c:v>
                </c:pt>
                <c:pt idx="1525">
                  <c:v>41116</c:v>
                </c:pt>
                <c:pt idx="1526">
                  <c:v>41117</c:v>
                </c:pt>
                <c:pt idx="1527">
                  <c:v>41120</c:v>
                </c:pt>
                <c:pt idx="1528">
                  <c:v>41121</c:v>
                </c:pt>
                <c:pt idx="1529">
                  <c:v>41122</c:v>
                </c:pt>
                <c:pt idx="1530">
                  <c:v>41123</c:v>
                </c:pt>
                <c:pt idx="1531">
                  <c:v>41124</c:v>
                </c:pt>
                <c:pt idx="1532">
                  <c:v>41127</c:v>
                </c:pt>
                <c:pt idx="1533">
                  <c:v>41128</c:v>
                </c:pt>
                <c:pt idx="1534">
                  <c:v>41129</c:v>
                </c:pt>
                <c:pt idx="1535">
                  <c:v>41130</c:v>
                </c:pt>
                <c:pt idx="1536">
                  <c:v>41131</c:v>
                </c:pt>
                <c:pt idx="1537">
                  <c:v>41134</c:v>
                </c:pt>
                <c:pt idx="1538">
                  <c:v>41135</c:v>
                </c:pt>
                <c:pt idx="1539">
                  <c:v>41136</c:v>
                </c:pt>
                <c:pt idx="1540">
                  <c:v>41137</c:v>
                </c:pt>
                <c:pt idx="1541">
                  <c:v>41138</c:v>
                </c:pt>
                <c:pt idx="1542">
                  <c:v>41141</c:v>
                </c:pt>
                <c:pt idx="1543">
                  <c:v>41142</c:v>
                </c:pt>
                <c:pt idx="1544">
                  <c:v>41143</c:v>
                </c:pt>
                <c:pt idx="1545">
                  <c:v>41144</c:v>
                </c:pt>
                <c:pt idx="1546">
                  <c:v>41145</c:v>
                </c:pt>
                <c:pt idx="1547">
                  <c:v>41148</c:v>
                </c:pt>
                <c:pt idx="1548">
                  <c:v>41149</c:v>
                </c:pt>
                <c:pt idx="1549">
                  <c:v>41150</c:v>
                </c:pt>
                <c:pt idx="1550">
                  <c:v>41151</c:v>
                </c:pt>
                <c:pt idx="1551">
                  <c:v>41152</c:v>
                </c:pt>
                <c:pt idx="1552">
                  <c:v>41155</c:v>
                </c:pt>
                <c:pt idx="1553">
                  <c:v>41156</c:v>
                </c:pt>
                <c:pt idx="1554">
                  <c:v>41157</c:v>
                </c:pt>
                <c:pt idx="1555">
                  <c:v>41158</c:v>
                </c:pt>
                <c:pt idx="1556">
                  <c:v>41159</c:v>
                </c:pt>
                <c:pt idx="1557">
                  <c:v>41162</c:v>
                </c:pt>
                <c:pt idx="1558">
                  <c:v>41163</c:v>
                </c:pt>
                <c:pt idx="1559">
                  <c:v>41164</c:v>
                </c:pt>
                <c:pt idx="1560">
                  <c:v>41165</c:v>
                </c:pt>
                <c:pt idx="1561">
                  <c:v>41166</c:v>
                </c:pt>
                <c:pt idx="1562">
                  <c:v>41169</c:v>
                </c:pt>
                <c:pt idx="1563">
                  <c:v>41170</c:v>
                </c:pt>
                <c:pt idx="1564">
                  <c:v>41171</c:v>
                </c:pt>
                <c:pt idx="1565">
                  <c:v>41172</c:v>
                </c:pt>
                <c:pt idx="1566">
                  <c:v>41173</c:v>
                </c:pt>
                <c:pt idx="1567">
                  <c:v>41176</c:v>
                </c:pt>
                <c:pt idx="1568">
                  <c:v>41177</c:v>
                </c:pt>
                <c:pt idx="1569">
                  <c:v>41178</c:v>
                </c:pt>
                <c:pt idx="1570">
                  <c:v>41179</c:v>
                </c:pt>
                <c:pt idx="1571">
                  <c:v>41180</c:v>
                </c:pt>
                <c:pt idx="1572">
                  <c:v>41183</c:v>
                </c:pt>
                <c:pt idx="1573">
                  <c:v>41184</c:v>
                </c:pt>
                <c:pt idx="1574">
                  <c:v>41185</c:v>
                </c:pt>
                <c:pt idx="1575">
                  <c:v>41186</c:v>
                </c:pt>
                <c:pt idx="1576">
                  <c:v>41187</c:v>
                </c:pt>
                <c:pt idx="1577">
                  <c:v>41190</c:v>
                </c:pt>
                <c:pt idx="1578">
                  <c:v>41191</c:v>
                </c:pt>
                <c:pt idx="1579">
                  <c:v>41192</c:v>
                </c:pt>
                <c:pt idx="1580">
                  <c:v>41193</c:v>
                </c:pt>
                <c:pt idx="1581">
                  <c:v>41194</c:v>
                </c:pt>
                <c:pt idx="1582">
                  <c:v>41197</c:v>
                </c:pt>
                <c:pt idx="1583">
                  <c:v>41198</c:v>
                </c:pt>
                <c:pt idx="1584">
                  <c:v>41199</c:v>
                </c:pt>
                <c:pt idx="1585">
                  <c:v>41200</c:v>
                </c:pt>
                <c:pt idx="1586">
                  <c:v>41201</c:v>
                </c:pt>
                <c:pt idx="1587">
                  <c:v>41204</c:v>
                </c:pt>
                <c:pt idx="1588">
                  <c:v>41205</c:v>
                </c:pt>
                <c:pt idx="1589">
                  <c:v>41206</c:v>
                </c:pt>
                <c:pt idx="1590">
                  <c:v>41207</c:v>
                </c:pt>
                <c:pt idx="1591">
                  <c:v>41208</c:v>
                </c:pt>
                <c:pt idx="1592">
                  <c:v>41211</c:v>
                </c:pt>
                <c:pt idx="1593">
                  <c:v>41212</c:v>
                </c:pt>
                <c:pt idx="1594">
                  <c:v>41213</c:v>
                </c:pt>
                <c:pt idx="1595">
                  <c:v>41214</c:v>
                </c:pt>
                <c:pt idx="1596">
                  <c:v>41215</c:v>
                </c:pt>
                <c:pt idx="1597">
                  <c:v>41218</c:v>
                </c:pt>
                <c:pt idx="1598">
                  <c:v>41219</c:v>
                </c:pt>
                <c:pt idx="1599">
                  <c:v>41220</c:v>
                </c:pt>
                <c:pt idx="1600">
                  <c:v>41221</c:v>
                </c:pt>
                <c:pt idx="1601">
                  <c:v>41222</c:v>
                </c:pt>
                <c:pt idx="1602">
                  <c:v>41225</c:v>
                </c:pt>
                <c:pt idx="1603">
                  <c:v>41226</c:v>
                </c:pt>
                <c:pt idx="1604">
                  <c:v>41227</c:v>
                </c:pt>
                <c:pt idx="1605">
                  <c:v>41228</c:v>
                </c:pt>
                <c:pt idx="1606">
                  <c:v>41229</c:v>
                </c:pt>
                <c:pt idx="1607">
                  <c:v>41232</c:v>
                </c:pt>
                <c:pt idx="1608">
                  <c:v>41233</c:v>
                </c:pt>
                <c:pt idx="1609">
                  <c:v>41234</c:v>
                </c:pt>
                <c:pt idx="1610">
                  <c:v>41235</c:v>
                </c:pt>
                <c:pt idx="1611">
                  <c:v>41236</c:v>
                </c:pt>
                <c:pt idx="1612">
                  <c:v>41239</c:v>
                </c:pt>
                <c:pt idx="1613">
                  <c:v>41240</c:v>
                </c:pt>
                <c:pt idx="1614">
                  <c:v>41241</c:v>
                </c:pt>
                <c:pt idx="1615">
                  <c:v>41242</c:v>
                </c:pt>
                <c:pt idx="1616">
                  <c:v>41243</c:v>
                </c:pt>
                <c:pt idx="1617">
                  <c:v>41246</c:v>
                </c:pt>
                <c:pt idx="1618">
                  <c:v>41247</c:v>
                </c:pt>
                <c:pt idx="1619">
                  <c:v>41248</c:v>
                </c:pt>
                <c:pt idx="1620">
                  <c:v>41249</c:v>
                </c:pt>
                <c:pt idx="1621">
                  <c:v>41250</c:v>
                </c:pt>
                <c:pt idx="1622">
                  <c:v>41253</c:v>
                </c:pt>
                <c:pt idx="1623">
                  <c:v>41254</c:v>
                </c:pt>
                <c:pt idx="1624">
                  <c:v>41255</c:v>
                </c:pt>
                <c:pt idx="1625">
                  <c:v>41256</c:v>
                </c:pt>
                <c:pt idx="1626">
                  <c:v>41257</c:v>
                </c:pt>
                <c:pt idx="1627">
                  <c:v>41260</c:v>
                </c:pt>
                <c:pt idx="1628">
                  <c:v>41261</c:v>
                </c:pt>
                <c:pt idx="1629">
                  <c:v>41262</c:v>
                </c:pt>
                <c:pt idx="1630">
                  <c:v>41263</c:v>
                </c:pt>
                <c:pt idx="1631">
                  <c:v>41264</c:v>
                </c:pt>
                <c:pt idx="1632">
                  <c:v>41270</c:v>
                </c:pt>
                <c:pt idx="1633">
                  <c:v>41271</c:v>
                </c:pt>
                <c:pt idx="1634">
                  <c:v>41276</c:v>
                </c:pt>
                <c:pt idx="1635">
                  <c:v>41277</c:v>
                </c:pt>
                <c:pt idx="1636">
                  <c:v>41278</c:v>
                </c:pt>
                <c:pt idx="1637">
                  <c:v>41281</c:v>
                </c:pt>
                <c:pt idx="1638">
                  <c:v>41282</c:v>
                </c:pt>
                <c:pt idx="1639">
                  <c:v>41283</c:v>
                </c:pt>
                <c:pt idx="1640">
                  <c:v>41284</c:v>
                </c:pt>
                <c:pt idx="1641">
                  <c:v>41285</c:v>
                </c:pt>
                <c:pt idx="1642">
                  <c:v>41288</c:v>
                </c:pt>
                <c:pt idx="1643">
                  <c:v>41289</c:v>
                </c:pt>
                <c:pt idx="1644">
                  <c:v>41290</c:v>
                </c:pt>
                <c:pt idx="1645">
                  <c:v>41291</c:v>
                </c:pt>
                <c:pt idx="1646">
                  <c:v>41292</c:v>
                </c:pt>
                <c:pt idx="1647">
                  <c:v>41295</c:v>
                </c:pt>
                <c:pt idx="1648">
                  <c:v>41296</c:v>
                </c:pt>
                <c:pt idx="1649">
                  <c:v>41297</c:v>
                </c:pt>
                <c:pt idx="1650">
                  <c:v>41298</c:v>
                </c:pt>
                <c:pt idx="1651">
                  <c:v>41299</c:v>
                </c:pt>
                <c:pt idx="1652">
                  <c:v>41302</c:v>
                </c:pt>
                <c:pt idx="1653">
                  <c:v>41303</c:v>
                </c:pt>
                <c:pt idx="1654">
                  <c:v>41304</c:v>
                </c:pt>
                <c:pt idx="1655">
                  <c:v>41305</c:v>
                </c:pt>
                <c:pt idx="1656">
                  <c:v>41306</c:v>
                </c:pt>
                <c:pt idx="1657">
                  <c:v>41309</c:v>
                </c:pt>
                <c:pt idx="1658">
                  <c:v>41310</c:v>
                </c:pt>
                <c:pt idx="1659">
                  <c:v>41311</c:v>
                </c:pt>
                <c:pt idx="1660">
                  <c:v>41312</c:v>
                </c:pt>
                <c:pt idx="1661">
                  <c:v>41313</c:v>
                </c:pt>
                <c:pt idx="1662">
                  <c:v>41316</c:v>
                </c:pt>
                <c:pt idx="1663">
                  <c:v>41317</c:v>
                </c:pt>
                <c:pt idx="1664">
                  <c:v>41318</c:v>
                </c:pt>
                <c:pt idx="1665">
                  <c:v>41319</c:v>
                </c:pt>
                <c:pt idx="1666">
                  <c:v>41320</c:v>
                </c:pt>
                <c:pt idx="1667">
                  <c:v>41323</c:v>
                </c:pt>
                <c:pt idx="1668">
                  <c:v>41324</c:v>
                </c:pt>
                <c:pt idx="1669">
                  <c:v>41325</c:v>
                </c:pt>
                <c:pt idx="1670">
                  <c:v>41326</c:v>
                </c:pt>
                <c:pt idx="1671">
                  <c:v>41327</c:v>
                </c:pt>
                <c:pt idx="1672">
                  <c:v>41330</c:v>
                </c:pt>
                <c:pt idx="1673">
                  <c:v>41331</c:v>
                </c:pt>
                <c:pt idx="1674">
                  <c:v>41332</c:v>
                </c:pt>
                <c:pt idx="1675">
                  <c:v>41333</c:v>
                </c:pt>
                <c:pt idx="1676">
                  <c:v>41334</c:v>
                </c:pt>
                <c:pt idx="1677">
                  <c:v>41337</c:v>
                </c:pt>
                <c:pt idx="1678">
                  <c:v>41338</c:v>
                </c:pt>
                <c:pt idx="1679">
                  <c:v>41339</c:v>
                </c:pt>
                <c:pt idx="1680">
                  <c:v>41340</c:v>
                </c:pt>
                <c:pt idx="1681">
                  <c:v>41341</c:v>
                </c:pt>
                <c:pt idx="1682">
                  <c:v>41344</c:v>
                </c:pt>
                <c:pt idx="1683">
                  <c:v>41345</c:v>
                </c:pt>
                <c:pt idx="1684">
                  <c:v>41346</c:v>
                </c:pt>
                <c:pt idx="1685">
                  <c:v>41347</c:v>
                </c:pt>
                <c:pt idx="1686">
                  <c:v>41348</c:v>
                </c:pt>
                <c:pt idx="1687">
                  <c:v>41351</c:v>
                </c:pt>
                <c:pt idx="1688">
                  <c:v>41352</c:v>
                </c:pt>
                <c:pt idx="1689">
                  <c:v>41353</c:v>
                </c:pt>
                <c:pt idx="1690">
                  <c:v>41354</c:v>
                </c:pt>
                <c:pt idx="1691">
                  <c:v>41355</c:v>
                </c:pt>
                <c:pt idx="1692">
                  <c:v>41358</c:v>
                </c:pt>
                <c:pt idx="1693">
                  <c:v>41359</c:v>
                </c:pt>
                <c:pt idx="1694">
                  <c:v>41360</c:v>
                </c:pt>
                <c:pt idx="1695">
                  <c:v>41361</c:v>
                </c:pt>
                <c:pt idx="1696">
                  <c:v>41366</c:v>
                </c:pt>
                <c:pt idx="1697">
                  <c:v>41367</c:v>
                </c:pt>
                <c:pt idx="1698">
                  <c:v>41368</c:v>
                </c:pt>
                <c:pt idx="1699">
                  <c:v>41369</c:v>
                </c:pt>
                <c:pt idx="1700">
                  <c:v>41372</c:v>
                </c:pt>
                <c:pt idx="1701">
                  <c:v>41373</c:v>
                </c:pt>
                <c:pt idx="1702">
                  <c:v>41374</c:v>
                </c:pt>
                <c:pt idx="1703">
                  <c:v>41375</c:v>
                </c:pt>
                <c:pt idx="1704">
                  <c:v>41376</c:v>
                </c:pt>
                <c:pt idx="1705">
                  <c:v>41379</c:v>
                </c:pt>
                <c:pt idx="1706">
                  <c:v>41380</c:v>
                </c:pt>
                <c:pt idx="1707">
                  <c:v>41381</c:v>
                </c:pt>
                <c:pt idx="1708">
                  <c:v>41382</c:v>
                </c:pt>
                <c:pt idx="1709">
                  <c:v>41383</c:v>
                </c:pt>
                <c:pt idx="1710">
                  <c:v>41386</c:v>
                </c:pt>
                <c:pt idx="1711">
                  <c:v>41387</c:v>
                </c:pt>
                <c:pt idx="1712">
                  <c:v>41388</c:v>
                </c:pt>
                <c:pt idx="1713">
                  <c:v>41389</c:v>
                </c:pt>
                <c:pt idx="1714">
                  <c:v>41390</c:v>
                </c:pt>
                <c:pt idx="1715">
                  <c:v>41393</c:v>
                </c:pt>
                <c:pt idx="1716">
                  <c:v>41394</c:v>
                </c:pt>
                <c:pt idx="1717">
                  <c:v>41396</c:v>
                </c:pt>
                <c:pt idx="1718">
                  <c:v>41397</c:v>
                </c:pt>
                <c:pt idx="1719">
                  <c:v>41400</c:v>
                </c:pt>
                <c:pt idx="1720">
                  <c:v>41401</c:v>
                </c:pt>
                <c:pt idx="1721">
                  <c:v>41402</c:v>
                </c:pt>
                <c:pt idx="1722">
                  <c:v>41403</c:v>
                </c:pt>
                <c:pt idx="1723">
                  <c:v>41404</c:v>
                </c:pt>
                <c:pt idx="1724">
                  <c:v>41407</c:v>
                </c:pt>
                <c:pt idx="1725">
                  <c:v>41408</c:v>
                </c:pt>
                <c:pt idx="1726">
                  <c:v>41409</c:v>
                </c:pt>
                <c:pt idx="1727">
                  <c:v>41410</c:v>
                </c:pt>
                <c:pt idx="1728">
                  <c:v>41411</c:v>
                </c:pt>
                <c:pt idx="1729">
                  <c:v>41414</c:v>
                </c:pt>
                <c:pt idx="1730">
                  <c:v>41415</c:v>
                </c:pt>
                <c:pt idx="1731">
                  <c:v>41416</c:v>
                </c:pt>
                <c:pt idx="1732">
                  <c:v>41417</c:v>
                </c:pt>
                <c:pt idx="1733">
                  <c:v>41418</c:v>
                </c:pt>
                <c:pt idx="1734">
                  <c:v>41421</c:v>
                </c:pt>
                <c:pt idx="1735">
                  <c:v>41422</c:v>
                </c:pt>
                <c:pt idx="1736">
                  <c:v>41423</c:v>
                </c:pt>
                <c:pt idx="1737">
                  <c:v>41424</c:v>
                </c:pt>
                <c:pt idx="1738">
                  <c:v>41425</c:v>
                </c:pt>
                <c:pt idx="1739">
                  <c:v>41428</c:v>
                </c:pt>
                <c:pt idx="1740">
                  <c:v>41429</c:v>
                </c:pt>
                <c:pt idx="1741">
                  <c:v>41430</c:v>
                </c:pt>
                <c:pt idx="1742">
                  <c:v>41431</c:v>
                </c:pt>
                <c:pt idx="1743">
                  <c:v>41432</c:v>
                </c:pt>
                <c:pt idx="1744">
                  <c:v>41435</c:v>
                </c:pt>
                <c:pt idx="1745">
                  <c:v>41436</c:v>
                </c:pt>
                <c:pt idx="1746">
                  <c:v>41437</c:v>
                </c:pt>
                <c:pt idx="1747">
                  <c:v>41438</c:v>
                </c:pt>
                <c:pt idx="1748">
                  <c:v>41439</c:v>
                </c:pt>
                <c:pt idx="1749">
                  <c:v>41442</c:v>
                </c:pt>
                <c:pt idx="1750">
                  <c:v>41443</c:v>
                </c:pt>
                <c:pt idx="1751">
                  <c:v>41444</c:v>
                </c:pt>
                <c:pt idx="1752">
                  <c:v>41445</c:v>
                </c:pt>
                <c:pt idx="1753">
                  <c:v>41446</c:v>
                </c:pt>
                <c:pt idx="1754">
                  <c:v>41449</c:v>
                </c:pt>
                <c:pt idx="1755">
                  <c:v>41450</c:v>
                </c:pt>
                <c:pt idx="1756">
                  <c:v>41451</c:v>
                </c:pt>
                <c:pt idx="1757">
                  <c:v>41452</c:v>
                </c:pt>
                <c:pt idx="1758">
                  <c:v>41453</c:v>
                </c:pt>
                <c:pt idx="1759">
                  <c:v>41456</c:v>
                </c:pt>
                <c:pt idx="1760">
                  <c:v>41457</c:v>
                </c:pt>
                <c:pt idx="1761">
                  <c:v>41458</c:v>
                </c:pt>
                <c:pt idx="1762">
                  <c:v>41459</c:v>
                </c:pt>
                <c:pt idx="1763">
                  <c:v>41460</c:v>
                </c:pt>
                <c:pt idx="1764">
                  <c:v>41463</c:v>
                </c:pt>
                <c:pt idx="1765">
                  <c:v>41464</c:v>
                </c:pt>
                <c:pt idx="1766">
                  <c:v>41465</c:v>
                </c:pt>
                <c:pt idx="1767">
                  <c:v>41466</c:v>
                </c:pt>
                <c:pt idx="1768">
                  <c:v>41467</c:v>
                </c:pt>
                <c:pt idx="1769">
                  <c:v>41470</c:v>
                </c:pt>
                <c:pt idx="1770">
                  <c:v>41471</c:v>
                </c:pt>
                <c:pt idx="1771">
                  <c:v>41472</c:v>
                </c:pt>
                <c:pt idx="1772">
                  <c:v>41473</c:v>
                </c:pt>
                <c:pt idx="1773">
                  <c:v>41474</c:v>
                </c:pt>
                <c:pt idx="1774">
                  <c:v>41477</c:v>
                </c:pt>
                <c:pt idx="1775">
                  <c:v>41478</c:v>
                </c:pt>
                <c:pt idx="1776">
                  <c:v>41479</c:v>
                </c:pt>
                <c:pt idx="1777">
                  <c:v>41480</c:v>
                </c:pt>
                <c:pt idx="1778">
                  <c:v>41481</c:v>
                </c:pt>
                <c:pt idx="1779">
                  <c:v>41484</c:v>
                </c:pt>
                <c:pt idx="1780">
                  <c:v>41485</c:v>
                </c:pt>
                <c:pt idx="1781">
                  <c:v>41486</c:v>
                </c:pt>
                <c:pt idx="1782">
                  <c:v>41487</c:v>
                </c:pt>
                <c:pt idx="1783">
                  <c:v>41488</c:v>
                </c:pt>
                <c:pt idx="1784">
                  <c:v>41491</c:v>
                </c:pt>
                <c:pt idx="1785">
                  <c:v>41492</c:v>
                </c:pt>
                <c:pt idx="1786">
                  <c:v>41493</c:v>
                </c:pt>
                <c:pt idx="1787">
                  <c:v>41494</c:v>
                </c:pt>
                <c:pt idx="1788">
                  <c:v>41495</c:v>
                </c:pt>
                <c:pt idx="1789">
                  <c:v>41498</c:v>
                </c:pt>
                <c:pt idx="1790">
                  <c:v>41499</c:v>
                </c:pt>
                <c:pt idx="1791">
                  <c:v>41500</c:v>
                </c:pt>
                <c:pt idx="1792">
                  <c:v>41501</c:v>
                </c:pt>
                <c:pt idx="1793">
                  <c:v>41502</c:v>
                </c:pt>
                <c:pt idx="1794">
                  <c:v>41505</c:v>
                </c:pt>
                <c:pt idx="1795">
                  <c:v>41506</c:v>
                </c:pt>
                <c:pt idx="1796">
                  <c:v>41507</c:v>
                </c:pt>
                <c:pt idx="1797">
                  <c:v>41508</c:v>
                </c:pt>
                <c:pt idx="1798">
                  <c:v>41509</c:v>
                </c:pt>
                <c:pt idx="1799">
                  <c:v>41512</c:v>
                </c:pt>
                <c:pt idx="1800">
                  <c:v>41513</c:v>
                </c:pt>
                <c:pt idx="1801">
                  <c:v>41514</c:v>
                </c:pt>
                <c:pt idx="1802">
                  <c:v>41515</c:v>
                </c:pt>
                <c:pt idx="1803">
                  <c:v>41516</c:v>
                </c:pt>
                <c:pt idx="1804">
                  <c:v>41519</c:v>
                </c:pt>
                <c:pt idx="1805">
                  <c:v>41520</c:v>
                </c:pt>
                <c:pt idx="1806">
                  <c:v>41521</c:v>
                </c:pt>
                <c:pt idx="1807">
                  <c:v>41522</c:v>
                </c:pt>
                <c:pt idx="1808">
                  <c:v>41523</c:v>
                </c:pt>
                <c:pt idx="1809">
                  <c:v>41526</c:v>
                </c:pt>
                <c:pt idx="1810">
                  <c:v>41527</c:v>
                </c:pt>
                <c:pt idx="1811">
                  <c:v>41528</c:v>
                </c:pt>
                <c:pt idx="1812">
                  <c:v>41529</c:v>
                </c:pt>
                <c:pt idx="1813">
                  <c:v>41530</c:v>
                </c:pt>
                <c:pt idx="1814">
                  <c:v>41533</c:v>
                </c:pt>
                <c:pt idx="1815">
                  <c:v>41534</c:v>
                </c:pt>
                <c:pt idx="1816">
                  <c:v>41535</c:v>
                </c:pt>
                <c:pt idx="1817">
                  <c:v>41536</c:v>
                </c:pt>
                <c:pt idx="1818">
                  <c:v>41537</c:v>
                </c:pt>
                <c:pt idx="1819">
                  <c:v>41540</c:v>
                </c:pt>
                <c:pt idx="1820">
                  <c:v>41541</c:v>
                </c:pt>
                <c:pt idx="1821">
                  <c:v>41542</c:v>
                </c:pt>
                <c:pt idx="1822">
                  <c:v>41543</c:v>
                </c:pt>
                <c:pt idx="1823">
                  <c:v>41544</c:v>
                </c:pt>
                <c:pt idx="1824">
                  <c:v>41547</c:v>
                </c:pt>
                <c:pt idx="1825">
                  <c:v>41548</c:v>
                </c:pt>
                <c:pt idx="1826">
                  <c:v>41549</c:v>
                </c:pt>
                <c:pt idx="1827">
                  <c:v>41550</c:v>
                </c:pt>
                <c:pt idx="1828">
                  <c:v>41551</c:v>
                </c:pt>
                <c:pt idx="1829">
                  <c:v>41554</c:v>
                </c:pt>
                <c:pt idx="1830">
                  <c:v>41555</c:v>
                </c:pt>
                <c:pt idx="1831">
                  <c:v>41556</c:v>
                </c:pt>
                <c:pt idx="1832">
                  <c:v>41557</c:v>
                </c:pt>
                <c:pt idx="1833">
                  <c:v>41558</c:v>
                </c:pt>
                <c:pt idx="1834">
                  <c:v>41561</c:v>
                </c:pt>
                <c:pt idx="1835">
                  <c:v>41562</c:v>
                </c:pt>
                <c:pt idx="1836">
                  <c:v>41563</c:v>
                </c:pt>
                <c:pt idx="1837">
                  <c:v>41564</c:v>
                </c:pt>
                <c:pt idx="1838">
                  <c:v>41565</c:v>
                </c:pt>
                <c:pt idx="1839">
                  <c:v>41568</c:v>
                </c:pt>
                <c:pt idx="1840">
                  <c:v>41569</c:v>
                </c:pt>
                <c:pt idx="1841">
                  <c:v>41570</c:v>
                </c:pt>
                <c:pt idx="1842">
                  <c:v>41571</c:v>
                </c:pt>
                <c:pt idx="1843">
                  <c:v>41572</c:v>
                </c:pt>
                <c:pt idx="1844">
                  <c:v>41575</c:v>
                </c:pt>
                <c:pt idx="1845">
                  <c:v>41576</c:v>
                </c:pt>
                <c:pt idx="1846">
                  <c:v>41577</c:v>
                </c:pt>
                <c:pt idx="1847">
                  <c:v>41578</c:v>
                </c:pt>
                <c:pt idx="1848">
                  <c:v>41579</c:v>
                </c:pt>
                <c:pt idx="1849">
                  <c:v>41582</c:v>
                </c:pt>
                <c:pt idx="1850">
                  <c:v>41583</c:v>
                </c:pt>
                <c:pt idx="1851">
                  <c:v>41584</c:v>
                </c:pt>
                <c:pt idx="1852">
                  <c:v>41585</c:v>
                </c:pt>
                <c:pt idx="1853">
                  <c:v>41586</c:v>
                </c:pt>
                <c:pt idx="1854">
                  <c:v>41589</c:v>
                </c:pt>
                <c:pt idx="1855">
                  <c:v>41590</c:v>
                </c:pt>
                <c:pt idx="1856">
                  <c:v>41591</c:v>
                </c:pt>
                <c:pt idx="1857">
                  <c:v>41592</c:v>
                </c:pt>
                <c:pt idx="1858">
                  <c:v>41593</c:v>
                </c:pt>
                <c:pt idx="1859">
                  <c:v>41596</c:v>
                </c:pt>
                <c:pt idx="1860">
                  <c:v>41597</c:v>
                </c:pt>
                <c:pt idx="1861">
                  <c:v>41598</c:v>
                </c:pt>
                <c:pt idx="1862">
                  <c:v>41599</c:v>
                </c:pt>
                <c:pt idx="1863">
                  <c:v>41600</c:v>
                </c:pt>
                <c:pt idx="1864">
                  <c:v>41603</c:v>
                </c:pt>
                <c:pt idx="1865">
                  <c:v>41604</c:v>
                </c:pt>
                <c:pt idx="1866">
                  <c:v>41605</c:v>
                </c:pt>
                <c:pt idx="1867">
                  <c:v>41606</c:v>
                </c:pt>
                <c:pt idx="1868">
                  <c:v>41607</c:v>
                </c:pt>
                <c:pt idx="1869">
                  <c:v>41610</c:v>
                </c:pt>
                <c:pt idx="1870">
                  <c:v>41611</c:v>
                </c:pt>
                <c:pt idx="1871">
                  <c:v>41612</c:v>
                </c:pt>
                <c:pt idx="1872">
                  <c:v>41613</c:v>
                </c:pt>
                <c:pt idx="1873">
                  <c:v>41614</c:v>
                </c:pt>
                <c:pt idx="1874">
                  <c:v>41617</c:v>
                </c:pt>
                <c:pt idx="1875">
                  <c:v>41618</c:v>
                </c:pt>
                <c:pt idx="1876">
                  <c:v>41619</c:v>
                </c:pt>
                <c:pt idx="1877">
                  <c:v>41620</c:v>
                </c:pt>
                <c:pt idx="1878">
                  <c:v>41621</c:v>
                </c:pt>
                <c:pt idx="1879">
                  <c:v>41624</c:v>
                </c:pt>
                <c:pt idx="1880">
                  <c:v>41625</c:v>
                </c:pt>
                <c:pt idx="1881">
                  <c:v>41626</c:v>
                </c:pt>
                <c:pt idx="1882">
                  <c:v>41627</c:v>
                </c:pt>
                <c:pt idx="1883">
                  <c:v>41628</c:v>
                </c:pt>
                <c:pt idx="1884">
                  <c:v>41631</c:v>
                </c:pt>
                <c:pt idx="1885">
                  <c:v>41635</c:v>
                </c:pt>
                <c:pt idx="1886">
                  <c:v>41638</c:v>
                </c:pt>
                <c:pt idx="1887">
                  <c:v>41641</c:v>
                </c:pt>
                <c:pt idx="1888">
                  <c:v>41642</c:v>
                </c:pt>
                <c:pt idx="1889">
                  <c:v>41645</c:v>
                </c:pt>
                <c:pt idx="1890">
                  <c:v>41646</c:v>
                </c:pt>
                <c:pt idx="1891">
                  <c:v>41647</c:v>
                </c:pt>
                <c:pt idx="1892">
                  <c:v>41648</c:v>
                </c:pt>
                <c:pt idx="1893">
                  <c:v>41649</c:v>
                </c:pt>
                <c:pt idx="1894">
                  <c:v>41652</c:v>
                </c:pt>
                <c:pt idx="1895">
                  <c:v>41653</c:v>
                </c:pt>
                <c:pt idx="1896">
                  <c:v>41654</c:v>
                </c:pt>
                <c:pt idx="1897">
                  <c:v>41655</c:v>
                </c:pt>
                <c:pt idx="1898">
                  <c:v>41656</c:v>
                </c:pt>
                <c:pt idx="1899">
                  <c:v>41659</c:v>
                </c:pt>
                <c:pt idx="1900">
                  <c:v>41660</c:v>
                </c:pt>
                <c:pt idx="1901">
                  <c:v>41661</c:v>
                </c:pt>
                <c:pt idx="1902">
                  <c:v>41662</c:v>
                </c:pt>
                <c:pt idx="1903">
                  <c:v>41663</c:v>
                </c:pt>
                <c:pt idx="1904">
                  <c:v>41666</c:v>
                </c:pt>
                <c:pt idx="1905">
                  <c:v>41667</c:v>
                </c:pt>
                <c:pt idx="1906">
                  <c:v>41668</c:v>
                </c:pt>
                <c:pt idx="1907">
                  <c:v>41669</c:v>
                </c:pt>
                <c:pt idx="1908">
                  <c:v>41670</c:v>
                </c:pt>
                <c:pt idx="1909">
                  <c:v>41673</c:v>
                </c:pt>
                <c:pt idx="1910">
                  <c:v>41674</c:v>
                </c:pt>
                <c:pt idx="1911">
                  <c:v>41675</c:v>
                </c:pt>
                <c:pt idx="1912">
                  <c:v>41676</c:v>
                </c:pt>
                <c:pt idx="1913">
                  <c:v>41677</c:v>
                </c:pt>
                <c:pt idx="1914">
                  <c:v>41680</c:v>
                </c:pt>
                <c:pt idx="1915">
                  <c:v>41681</c:v>
                </c:pt>
                <c:pt idx="1916">
                  <c:v>41682</c:v>
                </c:pt>
                <c:pt idx="1917">
                  <c:v>41683</c:v>
                </c:pt>
                <c:pt idx="1918">
                  <c:v>41684</c:v>
                </c:pt>
                <c:pt idx="1919">
                  <c:v>41687</c:v>
                </c:pt>
                <c:pt idx="1920">
                  <c:v>41688</c:v>
                </c:pt>
                <c:pt idx="1921">
                  <c:v>41689</c:v>
                </c:pt>
                <c:pt idx="1922">
                  <c:v>41690</c:v>
                </c:pt>
                <c:pt idx="1923">
                  <c:v>41691</c:v>
                </c:pt>
                <c:pt idx="1924">
                  <c:v>41694</c:v>
                </c:pt>
                <c:pt idx="1925">
                  <c:v>41695</c:v>
                </c:pt>
                <c:pt idx="1926">
                  <c:v>41696</c:v>
                </c:pt>
                <c:pt idx="1927">
                  <c:v>41697</c:v>
                </c:pt>
                <c:pt idx="1928">
                  <c:v>41698</c:v>
                </c:pt>
                <c:pt idx="1929">
                  <c:v>41701</c:v>
                </c:pt>
                <c:pt idx="1930">
                  <c:v>41702</c:v>
                </c:pt>
                <c:pt idx="1931">
                  <c:v>41703</c:v>
                </c:pt>
                <c:pt idx="1932">
                  <c:v>41704</c:v>
                </c:pt>
                <c:pt idx="1933">
                  <c:v>41705</c:v>
                </c:pt>
                <c:pt idx="1934">
                  <c:v>41708</c:v>
                </c:pt>
                <c:pt idx="1935">
                  <c:v>41709</c:v>
                </c:pt>
                <c:pt idx="1936">
                  <c:v>41710</c:v>
                </c:pt>
                <c:pt idx="1937">
                  <c:v>41711</c:v>
                </c:pt>
                <c:pt idx="1938">
                  <c:v>41712</c:v>
                </c:pt>
                <c:pt idx="1939">
                  <c:v>41715</c:v>
                </c:pt>
                <c:pt idx="1940">
                  <c:v>41716</c:v>
                </c:pt>
                <c:pt idx="1941">
                  <c:v>41717</c:v>
                </c:pt>
                <c:pt idx="1942">
                  <c:v>41718</c:v>
                </c:pt>
                <c:pt idx="1943">
                  <c:v>41719</c:v>
                </c:pt>
                <c:pt idx="1944">
                  <c:v>41722</c:v>
                </c:pt>
                <c:pt idx="1945">
                  <c:v>41723</c:v>
                </c:pt>
                <c:pt idx="1946">
                  <c:v>41724</c:v>
                </c:pt>
                <c:pt idx="1947">
                  <c:v>41725</c:v>
                </c:pt>
                <c:pt idx="1948">
                  <c:v>41726</c:v>
                </c:pt>
                <c:pt idx="1949">
                  <c:v>41729</c:v>
                </c:pt>
                <c:pt idx="1950">
                  <c:v>41730</c:v>
                </c:pt>
                <c:pt idx="1951">
                  <c:v>41731</c:v>
                </c:pt>
                <c:pt idx="1952">
                  <c:v>41732</c:v>
                </c:pt>
                <c:pt idx="1953">
                  <c:v>41733</c:v>
                </c:pt>
                <c:pt idx="1954">
                  <c:v>41736</c:v>
                </c:pt>
                <c:pt idx="1955">
                  <c:v>41737</c:v>
                </c:pt>
                <c:pt idx="1956">
                  <c:v>41738</c:v>
                </c:pt>
                <c:pt idx="1957">
                  <c:v>41739</c:v>
                </c:pt>
                <c:pt idx="1958">
                  <c:v>41740</c:v>
                </c:pt>
                <c:pt idx="1959">
                  <c:v>41743</c:v>
                </c:pt>
                <c:pt idx="1960">
                  <c:v>41744</c:v>
                </c:pt>
                <c:pt idx="1961">
                  <c:v>41745</c:v>
                </c:pt>
                <c:pt idx="1962">
                  <c:v>41746</c:v>
                </c:pt>
                <c:pt idx="1963">
                  <c:v>41751</c:v>
                </c:pt>
                <c:pt idx="1964">
                  <c:v>41752</c:v>
                </c:pt>
                <c:pt idx="1965">
                  <c:v>41753</c:v>
                </c:pt>
                <c:pt idx="1966">
                  <c:v>41754</c:v>
                </c:pt>
                <c:pt idx="1967">
                  <c:v>41757</c:v>
                </c:pt>
                <c:pt idx="1968">
                  <c:v>41758</c:v>
                </c:pt>
                <c:pt idx="1969">
                  <c:v>41759</c:v>
                </c:pt>
                <c:pt idx="1970">
                  <c:v>41761</c:v>
                </c:pt>
                <c:pt idx="1971">
                  <c:v>41764</c:v>
                </c:pt>
                <c:pt idx="1972">
                  <c:v>41765</c:v>
                </c:pt>
                <c:pt idx="1973">
                  <c:v>41766</c:v>
                </c:pt>
                <c:pt idx="1974">
                  <c:v>41767</c:v>
                </c:pt>
                <c:pt idx="1975">
                  <c:v>41768</c:v>
                </c:pt>
                <c:pt idx="1976">
                  <c:v>41771</c:v>
                </c:pt>
                <c:pt idx="1977">
                  <c:v>41772</c:v>
                </c:pt>
                <c:pt idx="1978">
                  <c:v>41773</c:v>
                </c:pt>
                <c:pt idx="1979">
                  <c:v>41774</c:v>
                </c:pt>
                <c:pt idx="1980">
                  <c:v>41775</c:v>
                </c:pt>
                <c:pt idx="1981">
                  <c:v>41778</c:v>
                </c:pt>
                <c:pt idx="1982">
                  <c:v>41779</c:v>
                </c:pt>
                <c:pt idx="1983">
                  <c:v>41780</c:v>
                </c:pt>
                <c:pt idx="1984">
                  <c:v>41781</c:v>
                </c:pt>
                <c:pt idx="1985">
                  <c:v>41782</c:v>
                </c:pt>
                <c:pt idx="1986">
                  <c:v>41785</c:v>
                </c:pt>
                <c:pt idx="1987">
                  <c:v>41786</c:v>
                </c:pt>
                <c:pt idx="1988">
                  <c:v>41787</c:v>
                </c:pt>
                <c:pt idx="1989">
                  <c:v>41788</c:v>
                </c:pt>
                <c:pt idx="1990">
                  <c:v>41789</c:v>
                </c:pt>
                <c:pt idx="1991">
                  <c:v>41792</c:v>
                </c:pt>
                <c:pt idx="1992">
                  <c:v>41793</c:v>
                </c:pt>
                <c:pt idx="1993">
                  <c:v>41794</c:v>
                </c:pt>
                <c:pt idx="1994">
                  <c:v>41795</c:v>
                </c:pt>
                <c:pt idx="1995">
                  <c:v>41796</c:v>
                </c:pt>
                <c:pt idx="1996">
                  <c:v>41799</c:v>
                </c:pt>
                <c:pt idx="1997">
                  <c:v>41800</c:v>
                </c:pt>
                <c:pt idx="1998">
                  <c:v>41801</c:v>
                </c:pt>
                <c:pt idx="1999">
                  <c:v>41802</c:v>
                </c:pt>
                <c:pt idx="2000">
                  <c:v>41803</c:v>
                </c:pt>
                <c:pt idx="2001">
                  <c:v>41806</c:v>
                </c:pt>
                <c:pt idx="2002">
                  <c:v>41807</c:v>
                </c:pt>
                <c:pt idx="2003">
                  <c:v>41808</c:v>
                </c:pt>
                <c:pt idx="2004">
                  <c:v>41809</c:v>
                </c:pt>
                <c:pt idx="2005">
                  <c:v>41810</c:v>
                </c:pt>
                <c:pt idx="2006">
                  <c:v>41813</c:v>
                </c:pt>
                <c:pt idx="2007">
                  <c:v>41814</c:v>
                </c:pt>
                <c:pt idx="2008">
                  <c:v>41815</c:v>
                </c:pt>
                <c:pt idx="2009">
                  <c:v>41816</c:v>
                </c:pt>
                <c:pt idx="2010">
                  <c:v>41817</c:v>
                </c:pt>
                <c:pt idx="2011">
                  <c:v>41820</c:v>
                </c:pt>
                <c:pt idx="2012">
                  <c:v>41821</c:v>
                </c:pt>
                <c:pt idx="2013">
                  <c:v>41822</c:v>
                </c:pt>
                <c:pt idx="2014">
                  <c:v>41823</c:v>
                </c:pt>
                <c:pt idx="2015">
                  <c:v>41824</c:v>
                </c:pt>
                <c:pt idx="2016">
                  <c:v>41827</c:v>
                </c:pt>
                <c:pt idx="2017">
                  <c:v>41828</c:v>
                </c:pt>
                <c:pt idx="2018">
                  <c:v>41829</c:v>
                </c:pt>
                <c:pt idx="2019">
                  <c:v>41830</c:v>
                </c:pt>
                <c:pt idx="2020">
                  <c:v>41831</c:v>
                </c:pt>
                <c:pt idx="2021">
                  <c:v>41834</c:v>
                </c:pt>
                <c:pt idx="2022">
                  <c:v>41835</c:v>
                </c:pt>
                <c:pt idx="2023">
                  <c:v>41836</c:v>
                </c:pt>
                <c:pt idx="2024">
                  <c:v>41837</c:v>
                </c:pt>
                <c:pt idx="2025">
                  <c:v>41838</c:v>
                </c:pt>
                <c:pt idx="2026">
                  <c:v>41841</c:v>
                </c:pt>
                <c:pt idx="2027">
                  <c:v>41842</c:v>
                </c:pt>
                <c:pt idx="2028">
                  <c:v>41843</c:v>
                </c:pt>
                <c:pt idx="2029">
                  <c:v>41844</c:v>
                </c:pt>
                <c:pt idx="2030">
                  <c:v>41845</c:v>
                </c:pt>
                <c:pt idx="2031">
                  <c:v>41848</c:v>
                </c:pt>
                <c:pt idx="2032">
                  <c:v>41849</c:v>
                </c:pt>
                <c:pt idx="2033">
                  <c:v>41850</c:v>
                </c:pt>
                <c:pt idx="2034">
                  <c:v>41851</c:v>
                </c:pt>
                <c:pt idx="2035">
                  <c:v>41852</c:v>
                </c:pt>
                <c:pt idx="2036">
                  <c:v>41855</c:v>
                </c:pt>
                <c:pt idx="2037">
                  <c:v>41856</c:v>
                </c:pt>
                <c:pt idx="2038">
                  <c:v>41857</c:v>
                </c:pt>
                <c:pt idx="2039">
                  <c:v>41858</c:v>
                </c:pt>
                <c:pt idx="2040">
                  <c:v>41859</c:v>
                </c:pt>
                <c:pt idx="2041">
                  <c:v>41862</c:v>
                </c:pt>
                <c:pt idx="2042">
                  <c:v>41863</c:v>
                </c:pt>
                <c:pt idx="2043">
                  <c:v>41864</c:v>
                </c:pt>
                <c:pt idx="2044">
                  <c:v>41865</c:v>
                </c:pt>
                <c:pt idx="2045">
                  <c:v>41866</c:v>
                </c:pt>
                <c:pt idx="2046">
                  <c:v>41869</c:v>
                </c:pt>
                <c:pt idx="2047">
                  <c:v>41870</c:v>
                </c:pt>
                <c:pt idx="2048">
                  <c:v>41871</c:v>
                </c:pt>
                <c:pt idx="2049">
                  <c:v>41872</c:v>
                </c:pt>
                <c:pt idx="2050">
                  <c:v>41873</c:v>
                </c:pt>
                <c:pt idx="2051">
                  <c:v>41876</c:v>
                </c:pt>
                <c:pt idx="2052">
                  <c:v>41877</c:v>
                </c:pt>
                <c:pt idx="2053">
                  <c:v>41878</c:v>
                </c:pt>
                <c:pt idx="2054">
                  <c:v>41879</c:v>
                </c:pt>
                <c:pt idx="2055">
                  <c:v>41880</c:v>
                </c:pt>
                <c:pt idx="2056">
                  <c:v>41883</c:v>
                </c:pt>
                <c:pt idx="2057">
                  <c:v>41884</c:v>
                </c:pt>
                <c:pt idx="2058">
                  <c:v>41885</c:v>
                </c:pt>
                <c:pt idx="2059">
                  <c:v>41886</c:v>
                </c:pt>
                <c:pt idx="2060">
                  <c:v>41887</c:v>
                </c:pt>
                <c:pt idx="2061">
                  <c:v>41890</c:v>
                </c:pt>
                <c:pt idx="2062">
                  <c:v>41891</c:v>
                </c:pt>
                <c:pt idx="2063">
                  <c:v>41892</c:v>
                </c:pt>
                <c:pt idx="2064">
                  <c:v>41893</c:v>
                </c:pt>
                <c:pt idx="2065">
                  <c:v>41894</c:v>
                </c:pt>
                <c:pt idx="2066">
                  <c:v>41897</c:v>
                </c:pt>
                <c:pt idx="2067">
                  <c:v>41898</c:v>
                </c:pt>
                <c:pt idx="2068">
                  <c:v>41899</c:v>
                </c:pt>
                <c:pt idx="2069">
                  <c:v>41900</c:v>
                </c:pt>
                <c:pt idx="2070">
                  <c:v>41901</c:v>
                </c:pt>
                <c:pt idx="2071">
                  <c:v>41904</c:v>
                </c:pt>
                <c:pt idx="2072">
                  <c:v>41905</c:v>
                </c:pt>
                <c:pt idx="2073">
                  <c:v>41906</c:v>
                </c:pt>
                <c:pt idx="2074">
                  <c:v>41907</c:v>
                </c:pt>
                <c:pt idx="2075">
                  <c:v>41908</c:v>
                </c:pt>
                <c:pt idx="2076">
                  <c:v>41911</c:v>
                </c:pt>
                <c:pt idx="2077">
                  <c:v>41912</c:v>
                </c:pt>
                <c:pt idx="2078">
                  <c:v>41913</c:v>
                </c:pt>
                <c:pt idx="2079">
                  <c:v>41914</c:v>
                </c:pt>
                <c:pt idx="2080">
                  <c:v>41918</c:v>
                </c:pt>
                <c:pt idx="2081">
                  <c:v>41919</c:v>
                </c:pt>
                <c:pt idx="2082">
                  <c:v>41920</c:v>
                </c:pt>
                <c:pt idx="2083">
                  <c:v>41921</c:v>
                </c:pt>
                <c:pt idx="2084">
                  <c:v>41922</c:v>
                </c:pt>
                <c:pt idx="2085">
                  <c:v>41925</c:v>
                </c:pt>
                <c:pt idx="2086">
                  <c:v>41926</c:v>
                </c:pt>
                <c:pt idx="2087">
                  <c:v>41927</c:v>
                </c:pt>
                <c:pt idx="2088">
                  <c:v>41928</c:v>
                </c:pt>
                <c:pt idx="2089">
                  <c:v>41929</c:v>
                </c:pt>
                <c:pt idx="2090">
                  <c:v>41932</c:v>
                </c:pt>
                <c:pt idx="2091">
                  <c:v>41933</c:v>
                </c:pt>
                <c:pt idx="2092">
                  <c:v>41934</c:v>
                </c:pt>
                <c:pt idx="2093">
                  <c:v>41935</c:v>
                </c:pt>
                <c:pt idx="2094">
                  <c:v>41936</c:v>
                </c:pt>
                <c:pt idx="2095">
                  <c:v>41939</c:v>
                </c:pt>
                <c:pt idx="2096">
                  <c:v>41940</c:v>
                </c:pt>
                <c:pt idx="2097">
                  <c:v>41941</c:v>
                </c:pt>
                <c:pt idx="2098">
                  <c:v>41942</c:v>
                </c:pt>
                <c:pt idx="2099">
                  <c:v>41943</c:v>
                </c:pt>
                <c:pt idx="2100">
                  <c:v>41946</c:v>
                </c:pt>
                <c:pt idx="2101">
                  <c:v>41947</c:v>
                </c:pt>
                <c:pt idx="2102">
                  <c:v>41948</c:v>
                </c:pt>
                <c:pt idx="2103">
                  <c:v>41949</c:v>
                </c:pt>
                <c:pt idx="2104">
                  <c:v>41950</c:v>
                </c:pt>
                <c:pt idx="2105">
                  <c:v>41953</c:v>
                </c:pt>
                <c:pt idx="2106">
                  <c:v>41954</c:v>
                </c:pt>
                <c:pt idx="2107">
                  <c:v>41955</c:v>
                </c:pt>
                <c:pt idx="2108">
                  <c:v>41956</c:v>
                </c:pt>
                <c:pt idx="2109">
                  <c:v>41957</c:v>
                </c:pt>
                <c:pt idx="2110">
                  <c:v>41960</c:v>
                </c:pt>
                <c:pt idx="2111">
                  <c:v>41961</c:v>
                </c:pt>
                <c:pt idx="2112">
                  <c:v>41962</c:v>
                </c:pt>
                <c:pt idx="2113">
                  <c:v>41963</c:v>
                </c:pt>
                <c:pt idx="2114">
                  <c:v>41964</c:v>
                </c:pt>
                <c:pt idx="2115">
                  <c:v>41967</c:v>
                </c:pt>
                <c:pt idx="2116">
                  <c:v>41968</c:v>
                </c:pt>
                <c:pt idx="2117">
                  <c:v>41969</c:v>
                </c:pt>
                <c:pt idx="2118">
                  <c:v>41970</c:v>
                </c:pt>
                <c:pt idx="2119">
                  <c:v>41971</c:v>
                </c:pt>
                <c:pt idx="2120">
                  <c:v>41974</c:v>
                </c:pt>
                <c:pt idx="2121">
                  <c:v>41975</c:v>
                </c:pt>
                <c:pt idx="2122">
                  <c:v>41976</c:v>
                </c:pt>
                <c:pt idx="2123">
                  <c:v>41977</c:v>
                </c:pt>
                <c:pt idx="2124">
                  <c:v>41978</c:v>
                </c:pt>
                <c:pt idx="2125">
                  <c:v>41981</c:v>
                </c:pt>
                <c:pt idx="2126">
                  <c:v>41982</c:v>
                </c:pt>
                <c:pt idx="2127">
                  <c:v>41983</c:v>
                </c:pt>
                <c:pt idx="2128">
                  <c:v>41984</c:v>
                </c:pt>
                <c:pt idx="2129">
                  <c:v>41985</c:v>
                </c:pt>
                <c:pt idx="2130">
                  <c:v>41988</c:v>
                </c:pt>
                <c:pt idx="2131">
                  <c:v>41989</c:v>
                </c:pt>
                <c:pt idx="2132">
                  <c:v>41990</c:v>
                </c:pt>
                <c:pt idx="2133">
                  <c:v>41991</c:v>
                </c:pt>
                <c:pt idx="2134">
                  <c:v>41992</c:v>
                </c:pt>
                <c:pt idx="2135">
                  <c:v>41995</c:v>
                </c:pt>
                <c:pt idx="2136">
                  <c:v>41996</c:v>
                </c:pt>
                <c:pt idx="2137">
                  <c:v>42002</c:v>
                </c:pt>
                <c:pt idx="2138">
                  <c:v>42003</c:v>
                </c:pt>
                <c:pt idx="2139">
                  <c:v>42006</c:v>
                </c:pt>
                <c:pt idx="2140">
                  <c:v>42009</c:v>
                </c:pt>
                <c:pt idx="2141">
                  <c:v>42010</c:v>
                </c:pt>
                <c:pt idx="2142">
                  <c:v>42011</c:v>
                </c:pt>
                <c:pt idx="2143">
                  <c:v>42012</c:v>
                </c:pt>
                <c:pt idx="2144">
                  <c:v>42013</c:v>
                </c:pt>
                <c:pt idx="2145">
                  <c:v>42016</c:v>
                </c:pt>
                <c:pt idx="2146">
                  <c:v>42017</c:v>
                </c:pt>
                <c:pt idx="2147">
                  <c:v>42018</c:v>
                </c:pt>
                <c:pt idx="2148">
                  <c:v>42019</c:v>
                </c:pt>
                <c:pt idx="2149">
                  <c:v>42020</c:v>
                </c:pt>
                <c:pt idx="2150">
                  <c:v>42023</c:v>
                </c:pt>
                <c:pt idx="2151">
                  <c:v>42024</c:v>
                </c:pt>
                <c:pt idx="2152">
                  <c:v>42025</c:v>
                </c:pt>
                <c:pt idx="2153">
                  <c:v>42026</c:v>
                </c:pt>
                <c:pt idx="2154">
                  <c:v>42027</c:v>
                </c:pt>
                <c:pt idx="2155">
                  <c:v>42030</c:v>
                </c:pt>
                <c:pt idx="2156">
                  <c:v>42031</c:v>
                </c:pt>
                <c:pt idx="2157">
                  <c:v>42032</c:v>
                </c:pt>
                <c:pt idx="2158">
                  <c:v>42033</c:v>
                </c:pt>
                <c:pt idx="2159">
                  <c:v>42034</c:v>
                </c:pt>
                <c:pt idx="2160">
                  <c:v>42037</c:v>
                </c:pt>
                <c:pt idx="2161">
                  <c:v>42038</c:v>
                </c:pt>
                <c:pt idx="2162">
                  <c:v>42039</c:v>
                </c:pt>
                <c:pt idx="2163">
                  <c:v>42040</c:v>
                </c:pt>
                <c:pt idx="2164">
                  <c:v>42041</c:v>
                </c:pt>
                <c:pt idx="2165">
                  <c:v>42044</c:v>
                </c:pt>
                <c:pt idx="2166">
                  <c:v>42045</c:v>
                </c:pt>
                <c:pt idx="2167">
                  <c:v>42046</c:v>
                </c:pt>
                <c:pt idx="2168">
                  <c:v>42047</c:v>
                </c:pt>
                <c:pt idx="2169">
                  <c:v>42048</c:v>
                </c:pt>
                <c:pt idx="2170">
                  <c:v>42051</c:v>
                </c:pt>
                <c:pt idx="2171">
                  <c:v>42052</c:v>
                </c:pt>
                <c:pt idx="2172">
                  <c:v>42053</c:v>
                </c:pt>
                <c:pt idx="2173">
                  <c:v>42054</c:v>
                </c:pt>
                <c:pt idx="2174">
                  <c:v>42055</c:v>
                </c:pt>
                <c:pt idx="2175">
                  <c:v>42058</c:v>
                </c:pt>
                <c:pt idx="2176">
                  <c:v>42059</c:v>
                </c:pt>
                <c:pt idx="2177">
                  <c:v>42060</c:v>
                </c:pt>
                <c:pt idx="2178">
                  <c:v>42061</c:v>
                </c:pt>
                <c:pt idx="2179">
                  <c:v>42062</c:v>
                </c:pt>
                <c:pt idx="2180">
                  <c:v>42065</c:v>
                </c:pt>
                <c:pt idx="2181">
                  <c:v>42066</c:v>
                </c:pt>
                <c:pt idx="2182">
                  <c:v>42067</c:v>
                </c:pt>
                <c:pt idx="2183">
                  <c:v>42068</c:v>
                </c:pt>
                <c:pt idx="2184">
                  <c:v>42069</c:v>
                </c:pt>
                <c:pt idx="2185">
                  <c:v>42072</c:v>
                </c:pt>
                <c:pt idx="2186">
                  <c:v>42073</c:v>
                </c:pt>
                <c:pt idx="2187">
                  <c:v>42074</c:v>
                </c:pt>
                <c:pt idx="2188">
                  <c:v>42075</c:v>
                </c:pt>
                <c:pt idx="2189">
                  <c:v>42076</c:v>
                </c:pt>
                <c:pt idx="2190">
                  <c:v>42079</c:v>
                </c:pt>
                <c:pt idx="2191">
                  <c:v>42080</c:v>
                </c:pt>
                <c:pt idx="2192">
                  <c:v>42081</c:v>
                </c:pt>
                <c:pt idx="2193">
                  <c:v>42082</c:v>
                </c:pt>
                <c:pt idx="2194">
                  <c:v>42083</c:v>
                </c:pt>
                <c:pt idx="2195">
                  <c:v>42086</c:v>
                </c:pt>
                <c:pt idx="2196">
                  <c:v>42087</c:v>
                </c:pt>
                <c:pt idx="2197">
                  <c:v>42088</c:v>
                </c:pt>
                <c:pt idx="2198">
                  <c:v>42089</c:v>
                </c:pt>
                <c:pt idx="2199">
                  <c:v>42090</c:v>
                </c:pt>
                <c:pt idx="2200">
                  <c:v>42093</c:v>
                </c:pt>
                <c:pt idx="2201">
                  <c:v>42094</c:v>
                </c:pt>
                <c:pt idx="2202">
                  <c:v>42095</c:v>
                </c:pt>
                <c:pt idx="2203">
                  <c:v>42096</c:v>
                </c:pt>
                <c:pt idx="2204">
                  <c:v>42101</c:v>
                </c:pt>
                <c:pt idx="2205">
                  <c:v>42102</c:v>
                </c:pt>
                <c:pt idx="2206">
                  <c:v>42103</c:v>
                </c:pt>
                <c:pt idx="2207">
                  <c:v>42104</c:v>
                </c:pt>
                <c:pt idx="2208">
                  <c:v>42107</c:v>
                </c:pt>
                <c:pt idx="2209">
                  <c:v>42108</c:v>
                </c:pt>
                <c:pt idx="2210">
                  <c:v>42109</c:v>
                </c:pt>
                <c:pt idx="2211">
                  <c:v>42110</c:v>
                </c:pt>
                <c:pt idx="2212">
                  <c:v>42111</c:v>
                </c:pt>
                <c:pt idx="2213">
                  <c:v>42114</c:v>
                </c:pt>
                <c:pt idx="2214">
                  <c:v>42115</c:v>
                </c:pt>
                <c:pt idx="2215">
                  <c:v>42116</c:v>
                </c:pt>
                <c:pt idx="2216">
                  <c:v>42117</c:v>
                </c:pt>
                <c:pt idx="2217">
                  <c:v>42118</c:v>
                </c:pt>
                <c:pt idx="2218">
                  <c:v>42121</c:v>
                </c:pt>
                <c:pt idx="2219">
                  <c:v>42122</c:v>
                </c:pt>
                <c:pt idx="2220">
                  <c:v>42123</c:v>
                </c:pt>
                <c:pt idx="2221">
                  <c:v>42124</c:v>
                </c:pt>
                <c:pt idx="2222">
                  <c:v>42128</c:v>
                </c:pt>
                <c:pt idx="2223">
                  <c:v>42129</c:v>
                </c:pt>
                <c:pt idx="2224">
                  <c:v>42130</c:v>
                </c:pt>
                <c:pt idx="2225">
                  <c:v>42131</c:v>
                </c:pt>
                <c:pt idx="2226">
                  <c:v>42132</c:v>
                </c:pt>
                <c:pt idx="2227">
                  <c:v>42135</c:v>
                </c:pt>
                <c:pt idx="2228">
                  <c:v>42136</c:v>
                </c:pt>
                <c:pt idx="2229">
                  <c:v>42137</c:v>
                </c:pt>
                <c:pt idx="2230">
                  <c:v>42138</c:v>
                </c:pt>
                <c:pt idx="2231">
                  <c:v>42139</c:v>
                </c:pt>
                <c:pt idx="2232">
                  <c:v>42142</c:v>
                </c:pt>
                <c:pt idx="2233">
                  <c:v>42143</c:v>
                </c:pt>
                <c:pt idx="2234">
                  <c:v>42144</c:v>
                </c:pt>
                <c:pt idx="2235">
                  <c:v>42145</c:v>
                </c:pt>
                <c:pt idx="2236">
                  <c:v>42146</c:v>
                </c:pt>
                <c:pt idx="2237">
                  <c:v>42150</c:v>
                </c:pt>
                <c:pt idx="2238">
                  <c:v>42151</c:v>
                </c:pt>
                <c:pt idx="2239">
                  <c:v>42152</c:v>
                </c:pt>
                <c:pt idx="2240">
                  <c:v>42153</c:v>
                </c:pt>
                <c:pt idx="2241">
                  <c:v>42156</c:v>
                </c:pt>
                <c:pt idx="2242">
                  <c:v>42157</c:v>
                </c:pt>
                <c:pt idx="2243">
                  <c:v>42158</c:v>
                </c:pt>
                <c:pt idx="2244">
                  <c:v>42159</c:v>
                </c:pt>
                <c:pt idx="2245">
                  <c:v>42160</c:v>
                </c:pt>
                <c:pt idx="2246">
                  <c:v>42163</c:v>
                </c:pt>
                <c:pt idx="2247">
                  <c:v>42164</c:v>
                </c:pt>
                <c:pt idx="2248">
                  <c:v>42165</c:v>
                </c:pt>
                <c:pt idx="2249">
                  <c:v>42166</c:v>
                </c:pt>
                <c:pt idx="2250">
                  <c:v>42167</c:v>
                </c:pt>
                <c:pt idx="2251">
                  <c:v>42170</c:v>
                </c:pt>
                <c:pt idx="2252">
                  <c:v>42171</c:v>
                </c:pt>
                <c:pt idx="2253">
                  <c:v>42172</c:v>
                </c:pt>
                <c:pt idx="2254">
                  <c:v>42173</c:v>
                </c:pt>
                <c:pt idx="2255">
                  <c:v>42174</c:v>
                </c:pt>
                <c:pt idx="2256">
                  <c:v>42177</c:v>
                </c:pt>
                <c:pt idx="2257">
                  <c:v>42178</c:v>
                </c:pt>
                <c:pt idx="2258">
                  <c:v>42179</c:v>
                </c:pt>
                <c:pt idx="2259">
                  <c:v>42180</c:v>
                </c:pt>
                <c:pt idx="2260">
                  <c:v>42181</c:v>
                </c:pt>
                <c:pt idx="2261">
                  <c:v>42184</c:v>
                </c:pt>
                <c:pt idx="2262">
                  <c:v>42185</c:v>
                </c:pt>
                <c:pt idx="2263">
                  <c:v>42186</c:v>
                </c:pt>
                <c:pt idx="2264">
                  <c:v>42187</c:v>
                </c:pt>
                <c:pt idx="2265">
                  <c:v>42188</c:v>
                </c:pt>
                <c:pt idx="2266">
                  <c:v>42191</c:v>
                </c:pt>
                <c:pt idx="2267">
                  <c:v>42192</c:v>
                </c:pt>
                <c:pt idx="2268">
                  <c:v>42193</c:v>
                </c:pt>
                <c:pt idx="2269">
                  <c:v>42194</c:v>
                </c:pt>
                <c:pt idx="2270">
                  <c:v>42195</c:v>
                </c:pt>
                <c:pt idx="2271">
                  <c:v>42198</c:v>
                </c:pt>
                <c:pt idx="2272">
                  <c:v>42199</c:v>
                </c:pt>
                <c:pt idx="2273">
                  <c:v>42200</c:v>
                </c:pt>
                <c:pt idx="2274">
                  <c:v>42201</c:v>
                </c:pt>
                <c:pt idx="2275">
                  <c:v>42202</c:v>
                </c:pt>
                <c:pt idx="2276">
                  <c:v>42205</c:v>
                </c:pt>
                <c:pt idx="2277">
                  <c:v>42206</c:v>
                </c:pt>
                <c:pt idx="2278">
                  <c:v>42207</c:v>
                </c:pt>
                <c:pt idx="2279">
                  <c:v>42208</c:v>
                </c:pt>
                <c:pt idx="2280">
                  <c:v>42209</c:v>
                </c:pt>
                <c:pt idx="2281">
                  <c:v>42212</c:v>
                </c:pt>
                <c:pt idx="2282">
                  <c:v>42213</c:v>
                </c:pt>
                <c:pt idx="2283">
                  <c:v>42214</c:v>
                </c:pt>
                <c:pt idx="2284">
                  <c:v>42215</c:v>
                </c:pt>
                <c:pt idx="2285">
                  <c:v>42216</c:v>
                </c:pt>
                <c:pt idx="2286">
                  <c:v>42219</c:v>
                </c:pt>
                <c:pt idx="2287">
                  <c:v>42220</c:v>
                </c:pt>
                <c:pt idx="2288">
                  <c:v>42221</c:v>
                </c:pt>
                <c:pt idx="2289">
                  <c:v>42222</c:v>
                </c:pt>
                <c:pt idx="2290">
                  <c:v>42223</c:v>
                </c:pt>
                <c:pt idx="2291">
                  <c:v>42226</c:v>
                </c:pt>
                <c:pt idx="2292">
                  <c:v>42227</c:v>
                </c:pt>
                <c:pt idx="2293">
                  <c:v>42228</c:v>
                </c:pt>
                <c:pt idx="2294">
                  <c:v>42229</c:v>
                </c:pt>
                <c:pt idx="2295">
                  <c:v>42230</c:v>
                </c:pt>
                <c:pt idx="2296">
                  <c:v>42233</c:v>
                </c:pt>
                <c:pt idx="2297">
                  <c:v>42234</c:v>
                </c:pt>
                <c:pt idx="2298">
                  <c:v>42235</c:v>
                </c:pt>
                <c:pt idx="2299">
                  <c:v>42236</c:v>
                </c:pt>
                <c:pt idx="2300">
                  <c:v>42237</c:v>
                </c:pt>
                <c:pt idx="2301">
                  <c:v>42240</c:v>
                </c:pt>
                <c:pt idx="2302">
                  <c:v>42241</c:v>
                </c:pt>
                <c:pt idx="2303">
                  <c:v>42242</c:v>
                </c:pt>
                <c:pt idx="2304">
                  <c:v>42243</c:v>
                </c:pt>
                <c:pt idx="2305">
                  <c:v>42244</c:v>
                </c:pt>
                <c:pt idx="2306">
                  <c:v>42247</c:v>
                </c:pt>
                <c:pt idx="2307">
                  <c:v>42248</c:v>
                </c:pt>
                <c:pt idx="2308">
                  <c:v>42249</c:v>
                </c:pt>
                <c:pt idx="2309">
                  <c:v>42250</c:v>
                </c:pt>
                <c:pt idx="2310">
                  <c:v>42251</c:v>
                </c:pt>
                <c:pt idx="2311">
                  <c:v>42254</c:v>
                </c:pt>
                <c:pt idx="2312">
                  <c:v>42255</c:v>
                </c:pt>
                <c:pt idx="2313">
                  <c:v>42256</c:v>
                </c:pt>
                <c:pt idx="2314">
                  <c:v>42257</c:v>
                </c:pt>
                <c:pt idx="2315">
                  <c:v>42258</c:v>
                </c:pt>
                <c:pt idx="2316">
                  <c:v>42261</c:v>
                </c:pt>
                <c:pt idx="2317">
                  <c:v>42262</c:v>
                </c:pt>
                <c:pt idx="2318">
                  <c:v>42263</c:v>
                </c:pt>
                <c:pt idx="2319">
                  <c:v>42264</c:v>
                </c:pt>
                <c:pt idx="2320">
                  <c:v>42265</c:v>
                </c:pt>
                <c:pt idx="2321">
                  <c:v>42268</c:v>
                </c:pt>
                <c:pt idx="2322">
                  <c:v>42269</c:v>
                </c:pt>
                <c:pt idx="2323">
                  <c:v>42270</c:v>
                </c:pt>
                <c:pt idx="2324">
                  <c:v>42271</c:v>
                </c:pt>
                <c:pt idx="2325">
                  <c:v>42272</c:v>
                </c:pt>
                <c:pt idx="2326">
                  <c:v>42275</c:v>
                </c:pt>
                <c:pt idx="2327">
                  <c:v>42276</c:v>
                </c:pt>
                <c:pt idx="2328">
                  <c:v>42277</c:v>
                </c:pt>
                <c:pt idx="2329">
                  <c:v>42278</c:v>
                </c:pt>
                <c:pt idx="2330">
                  <c:v>42279</c:v>
                </c:pt>
                <c:pt idx="2331">
                  <c:v>42282</c:v>
                </c:pt>
                <c:pt idx="2332">
                  <c:v>42283</c:v>
                </c:pt>
                <c:pt idx="2333">
                  <c:v>42284</c:v>
                </c:pt>
                <c:pt idx="2334">
                  <c:v>42285</c:v>
                </c:pt>
                <c:pt idx="2335">
                  <c:v>42286</c:v>
                </c:pt>
                <c:pt idx="2336">
                  <c:v>42289</c:v>
                </c:pt>
                <c:pt idx="2337">
                  <c:v>42290</c:v>
                </c:pt>
                <c:pt idx="2338">
                  <c:v>42291</c:v>
                </c:pt>
                <c:pt idx="2339">
                  <c:v>42292</c:v>
                </c:pt>
                <c:pt idx="2340">
                  <c:v>42293</c:v>
                </c:pt>
                <c:pt idx="2341">
                  <c:v>42296</c:v>
                </c:pt>
                <c:pt idx="2342">
                  <c:v>42297</c:v>
                </c:pt>
                <c:pt idx="2343">
                  <c:v>42298</c:v>
                </c:pt>
                <c:pt idx="2344">
                  <c:v>42299</c:v>
                </c:pt>
                <c:pt idx="2345">
                  <c:v>42300</c:v>
                </c:pt>
                <c:pt idx="2346">
                  <c:v>42303</c:v>
                </c:pt>
                <c:pt idx="2347">
                  <c:v>42304</c:v>
                </c:pt>
                <c:pt idx="2348">
                  <c:v>42305</c:v>
                </c:pt>
                <c:pt idx="2349">
                  <c:v>42306</c:v>
                </c:pt>
                <c:pt idx="2350">
                  <c:v>42307</c:v>
                </c:pt>
                <c:pt idx="2351">
                  <c:v>42310</c:v>
                </c:pt>
                <c:pt idx="2352">
                  <c:v>42311</c:v>
                </c:pt>
                <c:pt idx="2353">
                  <c:v>42312</c:v>
                </c:pt>
                <c:pt idx="2354">
                  <c:v>42313</c:v>
                </c:pt>
                <c:pt idx="2355">
                  <c:v>42314</c:v>
                </c:pt>
                <c:pt idx="2356">
                  <c:v>42317</c:v>
                </c:pt>
                <c:pt idx="2357">
                  <c:v>42318</c:v>
                </c:pt>
                <c:pt idx="2358">
                  <c:v>42319</c:v>
                </c:pt>
                <c:pt idx="2359">
                  <c:v>42320</c:v>
                </c:pt>
                <c:pt idx="2360">
                  <c:v>42321</c:v>
                </c:pt>
                <c:pt idx="2361">
                  <c:v>42324</c:v>
                </c:pt>
                <c:pt idx="2362">
                  <c:v>42325</c:v>
                </c:pt>
                <c:pt idx="2363">
                  <c:v>42326</c:v>
                </c:pt>
                <c:pt idx="2364">
                  <c:v>42327</c:v>
                </c:pt>
                <c:pt idx="2365">
                  <c:v>42328</c:v>
                </c:pt>
                <c:pt idx="2366">
                  <c:v>42331</c:v>
                </c:pt>
                <c:pt idx="2367">
                  <c:v>42332</c:v>
                </c:pt>
                <c:pt idx="2368">
                  <c:v>42333</c:v>
                </c:pt>
                <c:pt idx="2369">
                  <c:v>42334</c:v>
                </c:pt>
                <c:pt idx="2370">
                  <c:v>42335</c:v>
                </c:pt>
                <c:pt idx="2371">
                  <c:v>42338</c:v>
                </c:pt>
                <c:pt idx="2372">
                  <c:v>42339</c:v>
                </c:pt>
                <c:pt idx="2373">
                  <c:v>42340</c:v>
                </c:pt>
                <c:pt idx="2374">
                  <c:v>42341</c:v>
                </c:pt>
                <c:pt idx="2375">
                  <c:v>42342</c:v>
                </c:pt>
                <c:pt idx="2376">
                  <c:v>42345</c:v>
                </c:pt>
                <c:pt idx="2377">
                  <c:v>42346</c:v>
                </c:pt>
                <c:pt idx="2378">
                  <c:v>42347</c:v>
                </c:pt>
                <c:pt idx="2379">
                  <c:v>42348</c:v>
                </c:pt>
                <c:pt idx="2380">
                  <c:v>42349</c:v>
                </c:pt>
                <c:pt idx="2381">
                  <c:v>42352</c:v>
                </c:pt>
                <c:pt idx="2382">
                  <c:v>42353</c:v>
                </c:pt>
                <c:pt idx="2383">
                  <c:v>42354</c:v>
                </c:pt>
                <c:pt idx="2384">
                  <c:v>42355</c:v>
                </c:pt>
                <c:pt idx="2385">
                  <c:v>42356</c:v>
                </c:pt>
                <c:pt idx="2386">
                  <c:v>42359</c:v>
                </c:pt>
                <c:pt idx="2387">
                  <c:v>42360</c:v>
                </c:pt>
                <c:pt idx="2388">
                  <c:v>42361</c:v>
                </c:pt>
                <c:pt idx="2389">
                  <c:v>42366</c:v>
                </c:pt>
                <c:pt idx="2390">
                  <c:v>42367</c:v>
                </c:pt>
                <c:pt idx="2391">
                  <c:v>42368</c:v>
                </c:pt>
                <c:pt idx="2392">
                  <c:v>42373</c:v>
                </c:pt>
                <c:pt idx="2393">
                  <c:v>42374</c:v>
                </c:pt>
                <c:pt idx="2394">
                  <c:v>42375</c:v>
                </c:pt>
                <c:pt idx="2395">
                  <c:v>42376</c:v>
                </c:pt>
                <c:pt idx="2396">
                  <c:v>42377</c:v>
                </c:pt>
                <c:pt idx="2397">
                  <c:v>42380</c:v>
                </c:pt>
                <c:pt idx="2398">
                  <c:v>42381</c:v>
                </c:pt>
                <c:pt idx="2399">
                  <c:v>42382</c:v>
                </c:pt>
                <c:pt idx="2400">
                  <c:v>42383</c:v>
                </c:pt>
                <c:pt idx="2401">
                  <c:v>42384</c:v>
                </c:pt>
                <c:pt idx="2402">
                  <c:v>42387</c:v>
                </c:pt>
                <c:pt idx="2403">
                  <c:v>42388</c:v>
                </c:pt>
                <c:pt idx="2404">
                  <c:v>42389</c:v>
                </c:pt>
                <c:pt idx="2405">
                  <c:v>42390</c:v>
                </c:pt>
                <c:pt idx="2406">
                  <c:v>42391</c:v>
                </c:pt>
                <c:pt idx="2407">
                  <c:v>42394</c:v>
                </c:pt>
                <c:pt idx="2408">
                  <c:v>42395</c:v>
                </c:pt>
                <c:pt idx="2409">
                  <c:v>42396</c:v>
                </c:pt>
                <c:pt idx="2410">
                  <c:v>42397</c:v>
                </c:pt>
                <c:pt idx="2411">
                  <c:v>42398</c:v>
                </c:pt>
                <c:pt idx="2412">
                  <c:v>42401</c:v>
                </c:pt>
                <c:pt idx="2413">
                  <c:v>42402</c:v>
                </c:pt>
                <c:pt idx="2414">
                  <c:v>42403</c:v>
                </c:pt>
                <c:pt idx="2415">
                  <c:v>42404</c:v>
                </c:pt>
                <c:pt idx="2416">
                  <c:v>42405</c:v>
                </c:pt>
                <c:pt idx="2417">
                  <c:v>42408</c:v>
                </c:pt>
                <c:pt idx="2418">
                  <c:v>42409</c:v>
                </c:pt>
                <c:pt idx="2419">
                  <c:v>42410</c:v>
                </c:pt>
                <c:pt idx="2420">
                  <c:v>42411</c:v>
                </c:pt>
                <c:pt idx="2421">
                  <c:v>42412</c:v>
                </c:pt>
                <c:pt idx="2422">
                  <c:v>42415</c:v>
                </c:pt>
                <c:pt idx="2423">
                  <c:v>42416</c:v>
                </c:pt>
                <c:pt idx="2424">
                  <c:v>42417</c:v>
                </c:pt>
                <c:pt idx="2425">
                  <c:v>42418</c:v>
                </c:pt>
                <c:pt idx="2426">
                  <c:v>42419</c:v>
                </c:pt>
                <c:pt idx="2427">
                  <c:v>42422</c:v>
                </c:pt>
                <c:pt idx="2428">
                  <c:v>42423</c:v>
                </c:pt>
                <c:pt idx="2429">
                  <c:v>42424</c:v>
                </c:pt>
                <c:pt idx="2430">
                  <c:v>42425</c:v>
                </c:pt>
                <c:pt idx="2431">
                  <c:v>42426</c:v>
                </c:pt>
                <c:pt idx="2432">
                  <c:v>42429</c:v>
                </c:pt>
                <c:pt idx="2433">
                  <c:v>42430</c:v>
                </c:pt>
                <c:pt idx="2434">
                  <c:v>42431</c:v>
                </c:pt>
                <c:pt idx="2435">
                  <c:v>42432</c:v>
                </c:pt>
                <c:pt idx="2436">
                  <c:v>42433</c:v>
                </c:pt>
                <c:pt idx="2437">
                  <c:v>42436</c:v>
                </c:pt>
                <c:pt idx="2438">
                  <c:v>42437</c:v>
                </c:pt>
                <c:pt idx="2439">
                  <c:v>42438</c:v>
                </c:pt>
                <c:pt idx="2440">
                  <c:v>42439</c:v>
                </c:pt>
                <c:pt idx="2441">
                  <c:v>42440</c:v>
                </c:pt>
                <c:pt idx="2442">
                  <c:v>42443</c:v>
                </c:pt>
                <c:pt idx="2443">
                  <c:v>42444</c:v>
                </c:pt>
                <c:pt idx="2444">
                  <c:v>42445</c:v>
                </c:pt>
                <c:pt idx="2445">
                  <c:v>42446</c:v>
                </c:pt>
                <c:pt idx="2446">
                  <c:v>42447</c:v>
                </c:pt>
                <c:pt idx="2447">
                  <c:v>42450</c:v>
                </c:pt>
                <c:pt idx="2448">
                  <c:v>42451</c:v>
                </c:pt>
                <c:pt idx="2449">
                  <c:v>42452</c:v>
                </c:pt>
                <c:pt idx="2450">
                  <c:v>42453</c:v>
                </c:pt>
                <c:pt idx="2451">
                  <c:v>42458</c:v>
                </c:pt>
                <c:pt idx="2452">
                  <c:v>42459</c:v>
                </c:pt>
                <c:pt idx="2453">
                  <c:v>42460</c:v>
                </c:pt>
                <c:pt idx="2454">
                  <c:v>42461</c:v>
                </c:pt>
                <c:pt idx="2455">
                  <c:v>42464</c:v>
                </c:pt>
                <c:pt idx="2456">
                  <c:v>42465</c:v>
                </c:pt>
                <c:pt idx="2457">
                  <c:v>42466</c:v>
                </c:pt>
                <c:pt idx="2458">
                  <c:v>42467</c:v>
                </c:pt>
                <c:pt idx="2459">
                  <c:v>42468</c:v>
                </c:pt>
                <c:pt idx="2460">
                  <c:v>42471</c:v>
                </c:pt>
                <c:pt idx="2461">
                  <c:v>42472</c:v>
                </c:pt>
                <c:pt idx="2462">
                  <c:v>42473</c:v>
                </c:pt>
                <c:pt idx="2463">
                  <c:v>42474</c:v>
                </c:pt>
                <c:pt idx="2464">
                  <c:v>42475</c:v>
                </c:pt>
                <c:pt idx="2465">
                  <c:v>42478</c:v>
                </c:pt>
                <c:pt idx="2466">
                  <c:v>42479</c:v>
                </c:pt>
                <c:pt idx="2467">
                  <c:v>42480</c:v>
                </c:pt>
                <c:pt idx="2468">
                  <c:v>42481</c:v>
                </c:pt>
                <c:pt idx="2469">
                  <c:v>42482</c:v>
                </c:pt>
                <c:pt idx="2470">
                  <c:v>42485</c:v>
                </c:pt>
                <c:pt idx="2471">
                  <c:v>42486</c:v>
                </c:pt>
                <c:pt idx="2472">
                  <c:v>42487</c:v>
                </c:pt>
                <c:pt idx="2473">
                  <c:v>42488</c:v>
                </c:pt>
                <c:pt idx="2474">
                  <c:v>42489</c:v>
                </c:pt>
                <c:pt idx="2475">
                  <c:v>42492</c:v>
                </c:pt>
                <c:pt idx="2476">
                  <c:v>42493</c:v>
                </c:pt>
                <c:pt idx="2477">
                  <c:v>42494</c:v>
                </c:pt>
                <c:pt idx="2478">
                  <c:v>42495</c:v>
                </c:pt>
                <c:pt idx="2479">
                  <c:v>42496</c:v>
                </c:pt>
                <c:pt idx="2480">
                  <c:v>42499</c:v>
                </c:pt>
              </c:numCache>
            </c:numRef>
          </c:cat>
          <c:val>
            <c:numRef>
              <c:f>Sheet1!$BN$67:$BN$2547</c:f>
              <c:numCache>
                <c:formatCode>_(* #,##0.00_);_(* \(#,##0.00\);_(* "-"??_);_(@_)</c:formatCode>
                <c:ptCount val="2481"/>
                <c:pt idx="0">
                  <c:v>-1.0630826486450782</c:v>
                </c:pt>
                <c:pt idx="1">
                  <c:v>-1.0630826486450782</c:v>
                </c:pt>
                <c:pt idx="2">
                  <c:v>-1.0630826486450782</c:v>
                </c:pt>
                <c:pt idx="3">
                  <c:v>-1.0630826486450782</c:v>
                </c:pt>
                <c:pt idx="4">
                  <c:v>-1.0630826486450782</c:v>
                </c:pt>
                <c:pt idx="5">
                  <c:v>-1.0630826486450782</c:v>
                </c:pt>
                <c:pt idx="6">
                  <c:v>-1.0630826486450782</c:v>
                </c:pt>
                <c:pt idx="7">
                  <c:v>-1.0630826486450782</c:v>
                </c:pt>
                <c:pt idx="8">
                  <c:v>-1.0630826486450782</c:v>
                </c:pt>
                <c:pt idx="9">
                  <c:v>-1.0630826486450782</c:v>
                </c:pt>
                <c:pt idx="10">
                  <c:v>-1.0630826486450782</c:v>
                </c:pt>
                <c:pt idx="11">
                  <c:v>-1.0630826486450782</c:v>
                </c:pt>
                <c:pt idx="12">
                  <c:v>-1.0630826486450782</c:v>
                </c:pt>
                <c:pt idx="13">
                  <c:v>-1.0630826486450782</c:v>
                </c:pt>
                <c:pt idx="14">
                  <c:v>-1.0630826486450782</c:v>
                </c:pt>
                <c:pt idx="15">
                  <c:v>-1.0630826486450782</c:v>
                </c:pt>
                <c:pt idx="16">
                  <c:v>-1.0630826486450782</c:v>
                </c:pt>
                <c:pt idx="17">
                  <c:v>-1.0630826486450782</c:v>
                </c:pt>
                <c:pt idx="18">
                  <c:v>-1.0630826486450782</c:v>
                </c:pt>
                <c:pt idx="19">
                  <c:v>-1.0630826486450782</c:v>
                </c:pt>
                <c:pt idx="20">
                  <c:v>-1.0630826486450782</c:v>
                </c:pt>
                <c:pt idx="21">
                  <c:v>-1.0630826486450782</c:v>
                </c:pt>
                <c:pt idx="22">
                  <c:v>-1.0630826486450782</c:v>
                </c:pt>
                <c:pt idx="23">
                  <c:v>-1.0630826486450782</c:v>
                </c:pt>
                <c:pt idx="24">
                  <c:v>-1.0630826486450782</c:v>
                </c:pt>
                <c:pt idx="25">
                  <c:v>-1.0630826486450782</c:v>
                </c:pt>
                <c:pt idx="26">
                  <c:v>-1.0630826486450782</c:v>
                </c:pt>
                <c:pt idx="27">
                  <c:v>-1.0630826486450782</c:v>
                </c:pt>
                <c:pt idx="28">
                  <c:v>-1.0630826486450782</c:v>
                </c:pt>
                <c:pt idx="29">
                  <c:v>-1.0630826486450782</c:v>
                </c:pt>
                <c:pt idx="30">
                  <c:v>-1.0630826486450782</c:v>
                </c:pt>
                <c:pt idx="31">
                  <c:v>-1.0630826486450782</c:v>
                </c:pt>
                <c:pt idx="32">
                  <c:v>-1.0630826486450782</c:v>
                </c:pt>
                <c:pt idx="33">
                  <c:v>-1.0630826486450782</c:v>
                </c:pt>
                <c:pt idx="34">
                  <c:v>-1.0630826486450782</c:v>
                </c:pt>
                <c:pt idx="35">
                  <c:v>-1.0630826486450782</c:v>
                </c:pt>
                <c:pt idx="36">
                  <c:v>-1.0630826486450782</c:v>
                </c:pt>
                <c:pt idx="37">
                  <c:v>-1.0630826486450782</c:v>
                </c:pt>
                <c:pt idx="38">
                  <c:v>-1.0630826486450782</c:v>
                </c:pt>
                <c:pt idx="39">
                  <c:v>-1.0630826486450782</c:v>
                </c:pt>
                <c:pt idx="40">
                  <c:v>-1.0630826486450782</c:v>
                </c:pt>
                <c:pt idx="41">
                  <c:v>-1.0630826486450782</c:v>
                </c:pt>
                <c:pt idx="42">
                  <c:v>-1.0630826486450782</c:v>
                </c:pt>
                <c:pt idx="43">
                  <c:v>-1.0630826486450782</c:v>
                </c:pt>
                <c:pt idx="44">
                  <c:v>-1.0630826486450782</c:v>
                </c:pt>
                <c:pt idx="45">
                  <c:v>-1.0630826486450782</c:v>
                </c:pt>
                <c:pt idx="46">
                  <c:v>-1.0630826486450782</c:v>
                </c:pt>
                <c:pt idx="47">
                  <c:v>-1.0630826486450782</c:v>
                </c:pt>
                <c:pt idx="48">
                  <c:v>-1.0630826486450782</c:v>
                </c:pt>
                <c:pt idx="49">
                  <c:v>-1.0630826486450782</c:v>
                </c:pt>
                <c:pt idx="50">
                  <c:v>-1.0630826486450782</c:v>
                </c:pt>
                <c:pt idx="51">
                  <c:v>-1.0630826486450782</c:v>
                </c:pt>
                <c:pt idx="52">
                  <c:v>-1.0630826486450782</c:v>
                </c:pt>
                <c:pt idx="53">
                  <c:v>-1.0630826486450782</c:v>
                </c:pt>
                <c:pt idx="54">
                  <c:v>-1.0630826486450782</c:v>
                </c:pt>
                <c:pt idx="55">
                  <c:v>-1.0630826486450782</c:v>
                </c:pt>
                <c:pt idx="56">
                  <c:v>-1.0630826486450782</c:v>
                </c:pt>
                <c:pt idx="57">
                  <c:v>-1.0630826486450782</c:v>
                </c:pt>
                <c:pt idx="58">
                  <c:v>-1.0630826486450782</c:v>
                </c:pt>
                <c:pt idx="59">
                  <c:v>-1.0630826486450782</c:v>
                </c:pt>
                <c:pt idx="60">
                  <c:v>-1.0630826486450782</c:v>
                </c:pt>
                <c:pt idx="61">
                  <c:v>-1.0630826486450782</c:v>
                </c:pt>
                <c:pt idx="62">
                  <c:v>-1.0630826486450782</c:v>
                </c:pt>
                <c:pt idx="63">
                  <c:v>-1.0630826486450782</c:v>
                </c:pt>
                <c:pt idx="64">
                  <c:v>-1.0630826486450782</c:v>
                </c:pt>
                <c:pt idx="65">
                  <c:v>-1.0630826486450782</c:v>
                </c:pt>
                <c:pt idx="66">
                  <c:v>-1.0630826486450782</c:v>
                </c:pt>
                <c:pt idx="67">
                  <c:v>-1.0630826486450782</c:v>
                </c:pt>
                <c:pt idx="68">
                  <c:v>-1.0630826486450782</c:v>
                </c:pt>
                <c:pt idx="69">
                  <c:v>-1.0630826486450782</c:v>
                </c:pt>
                <c:pt idx="70">
                  <c:v>-1.0630826486450782</c:v>
                </c:pt>
                <c:pt idx="71">
                  <c:v>-1.0630826486450782</c:v>
                </c:pt>
                <c:pt idx="72">
                  <c:v>-1.0630826486450782</c:v>
                </c:pt>
                <c:pt idx="73">
                  <c:v>-1.0630826486450782</c:v>
                </c:pt>
                <c:pt idx="74">
                  <c:v>-1.0630826486450782</c:v>
                </c:pt>
                <c:pt idx="75">
                  <c:v>-1.0630826486450782</c:v>
                </c:pt>
                <c:pt idx="76">
                  <c:v>-1.0630826486450782</c:v>
                </c:pt>
                <c:pt idx="77">
                  <c:v>-1.0630826486450782</c:v>
                </c:pt>
                <c:pt idx="78">
                  <c:v>-1.0630826486450782</c:v>
                </c:pt>
                <c:pt idx="79">
                  <c:v>-1.0630826486450782</c:v>
                </c:pt>
                <c:pt idx="80">
                  <c:v>-1.0630826486450782</c:v>
                </c:pt>
                <c:pt idx="81">
                  <c:v>-1.0630826486450782</c:v>
                </c:pt>
                <c:pt idx="82">
                  <c:v>-1.0630826486450782</c:v>
                </c:pt>
                <c:pt idx="83">
                  <c:v>-1.0630826486450782</c:v>
                </c:pt>
                <c:pt idx="84">
                  <c:v>-1.0630826486450782</c:v>
                </c:pt>
                <c:pt idx="85">
                  <c:v>-1.0630826486450782</c:v>
                </c:pt>
                <c:pt idx="86">
                  <c:v>-1.0630826486450782</c:v>
                </c:pt>
                <c:pt idx="87">
                  <c:v>-1.0630826486450782</c:v>
                </c:pt>
                <c:pt idx="88">
                  <c:v>-1.0630826486450782</c:v>
                </c:pt>
                <c:pt idx="89">
                  <c:v>-1.0630826486450782</c:v>
                </c:pt>
                <c:pt idx="90">
                  <c:v>-1.0630826486450782</c:v>
                </c:pt>
                <c:pt idx="91">
                  <c:v>-1.0630826486450782</c:v>
                </c:pt>
                <c:pt idx="92">
                  <c:v>-1.0630826486450782</c:v>
                </c:pt>
                <c:pt idx="93">
                  <c:v>-1.0630826486450782</c:v>
                </c:pt>
                <c:pt idx="94">
                  <c:v>-1.0630826486450782</c:v>
                </c:pt>
                <c:pt idx="95">
                  <c:v>-1.0630826486450782</c:v>
                </c:pt>
                <c:pt idx="96">
                  <c:v>-1.0630826486450782</c:v>
                </c:pt>
                <c:pt idx="97">
                  <c:v>-1.0630826486450782</c:v>
                </c:pt>
                <c:pt idx="98">
                  <c:v>-1.0630826486450782</c:v>
                </c:pt>
                <c:pt idx="99">
                  <c:v>-1.0630826486450782</c:v>
                </c:pt>
                <c:pt idx="100">
                  <c:v>-1.0630826486450782</c:v>
                </c:pt>
                <c:pt idx="101">
                  <c:v>-1.0630826486450782</c:v>
                </c:pt>
                <c:pt idx="102">
                  <c:v>-1.0630826486450782</c:v>
                </c:pt>
                <c:pt idx="103">
                  <c:v>-1.0630826486450782</c:v>
                </c:pt>
                <c:pt idx="104">
                  <c:v>-1.0630826486450782</c:v>
                </c:pt>
                <c:pt idx="105">
                  <c:v>-1.0630826486450782</c:v>
                </c:pt>
                <c:pt idx="106">
                  <c:v>-1.0630826486450782</c:v>
                </c:pt>
                <c:pt idx="107">
                  <c:v>-1.0630826486450782</c:v>
                </c:pt>
                <c:pt idx="108">
                  <c:v>-1.0630826486450782</c:v>
                </c:pt>
                <c:pt idx="109">
                  <c:v>-1.0630826486450782</c:v>
                </c:pt>
                <c:pt idx="110">
                  <c:v>-1.0630826486450782</c:v>
                </c:pt>
                <c:pt idx="111">
                  <c:v>-1.0630826486450782</c:v>
                </c:pt>
                <c:pt idx="112">
                  <c:v>-1.0630826486450782</c:v>
                </c:pt>
                <c:pt idx="113">
                  <c:v>-1.0630826486450782</c:v>
                </c:pt>
                <c:pt idx="114">
                  <c:v>-1.0630826486450782</c:v>
                </c:pt>
                <c:pt idx="115">
                  <c:v>-1.0630826486450782</c:v>
                </c:pt>
                <c:pt idx="116">
                  <c:v>-1.0630826486450782</c:v>
                </c:pt>
                <c:pt idx="117">
                  <c:v>-1.0630826486450782</c:v>
                </c:pt>
                <c:pt idx="118">
                  <c:v>-1.0630826486450782</c:v>
                </c:pt>
                <c:pt idx="119">
                  <c:v>-1.0630826486450782</c:v>
                </c:pt>
                <c:pt idx="120">
                  <c:v>-1.0630826486450782</c:v>
                </c:pt>
                <c:pt idx="121">
                  <c:v>-1.0630826486450782</c:v>
                </c:pt>
                <c:pt idx="122">
                  <c:v>-1.0630826486450782</c:v>
                </c:pt>
                <c:pt idx="123">
                  <c:v>-1.0630826486450782</c:v>
                </c:pt>
                <c:pt idx="124">
                  <c:v>-1.0630826486450782</c:v>
                </c:pt>
                <c:pt idx="125">
                  <c:v>-1.0630826486450782</c:v>
                </c:pt>
                <c:pt idx="126">
                  <c:v>-1.0630826486450782</c:v>
                </c:pt>
                <c:pt idx="127">
                  <c:v>-1.0630826486450782</c:v>
                </c:pt>
                <c:pt idx="128">
                  <c:v>-1.0630826486450782</c:v>
                </c:pt>
                <c:pt idx="129">
                  <c:v>-1.0630826486450782</c:v>
                </c:pt>
                <c:pt idx="130">
                  <c:v>-1.0630826486450782</c:v>
                </c:pt>
                <c:pt idx="131">
                  <c:v>-1.0630826486450782</c:v>
                </c:pt>
                <c:pt idx="132">
                  <c:v>-1.0630826486450782</c:v>
                </c:pt>
                <c:pt idx="133">
                  <c:v>-1.0630826486450782</c:v>
                </c:pt>
                <c:pt idx="134">
                  <c:v>-1.0630826486450782</c:v>
                </c:pt>
                <c:pt idx="135">
                  <c:v>-1.0630826486450782</c:v>
                </c:pt>
                <c:pt idx="136">
                  <c:v>-1.0630826486450782</c:v>
                </c:pt>
                <c:pt idx="137">
                  <c:v>-1.0630826486450782</c:v>
                </c:pt>
                <c:pt idx="138">
                  <c:v>-1.0630826486450782</c:v>
                </c:pt>
                <c:pt idx="139">
                  <c:v>-1.0630826486450782</c:v>
                </c:pt>
                <c:pt idx="140">
                  <c:v>-1.0630826486450782</c:v>
                </c:pt>
                <c:pt idx="141">
                  <c:v>-1.0630826486450782</c:v>
                </c:pt>
                <c:pt idx="142">
                  <c:v>-1.0630826486450782</c:v>
                </c:pt>
                <c:pt idx="143">
                  <c:v>-1.0630826486450782</c:v>
                </c:pt>
                <c:pt idx="144">
                  <c:v>-1.0630826486450782</c:v>
                </c:pt>
                <c:pt idx="145">
                  <c:v>-1.0630826486450782</c:v>
                </c:pt>
                <c:pt idx="146">
                  <c:v>-1.0630826486450782</c:v>
                </c:pt>
                <c:pt idx="147">
                  <c:v>-1.0630826486450782</c:v>
                </c:pt>
                <c:pt idx="148">
                  <c:v>-1.0630826486450782</c:v>
                </c:pt>
                <c:pt idx="149">
                  <c:v>-1.0630826486450782</c:v>
                </c:pt>
                <c:pt idx="150">
                  <c:v>-1.0630826486450782</c:v>
                </c:pt>
                <c:pt idx="151">
                  <c:v>-1.0630826486450782</c:v>
                </c:pt>
                <c:pt idx="152">
                  <c:v>-1.0630826486450782</c:v>
                </c:pt>
                <c:pt idx="153">
                  <c:v>-1.0630826486450782</c:v>
                </c:pt>
                <c:pt idx="154">
                  <c:v>-1.0630826486450782</c:v>
                </c:pt>
                <c:pt idx="155">
                  <c:v>-1.0630826486450782</c:v>
                </c:pt>
                <c:pt idx="156">
                  <c:v>-1.0630826486450782</c:v>
                </c:pt>
                <c:pt idx="157">
                  <c:v>-1.0630826486450782</c:v>
                </c:pt>
                <c:pt idx="158">
                  <c:v>-1.0630826486450782</c:v>
                </c:pt>
                <c:pt idx="159">
                  <c:v>-1.0630826486450782</c:v>
                </c:pt>
                <c:pt idx="160">
                  <c:v>-1.0630826486450782</c:v>
                </c:pt>
                <c:pt idx="161">
                  <c:v>-1.0630826486450782</c:v>
                </c:pt>
                <c:pt idx="162">
                  <c:v>-1.0630826486450782</c:v>
                </c:pt>
                <c:pt idx="163">
                  <c:v>-1.0630826486450782</c:v>
                </c:pt>
                <c:pt idx="164">
                  <c:v>-1.0630826486450782</c:v>
                </c:pt>
                <c:pt idx="165">
                  <c:v>-1.0630826486450782</c:v>
                </c:pt>
                <c:pt idx="166">
                  <c:v>-1.0630826486450782</c:v>
                </c:pt>
                <c:pt idx="167">
                  <c:v>-1.0630826486450782</c:v>
                </c:pt>
                <c:pt idx="168">
                  <c:v>-1.0630826486450782</c:v>
                </c:pt>
                <c:pt idx="169">
                  <c:v>-1.0630826486450782</c:v>
                </c:pt>
                <c:pt idx="170">
                  <c:v>-1.0630826486450782</c:v>
                </c:pt>
                <c:pt idx="171">
                  <c:v>-1.0630826486450782</c:v>
                </c:pt>
                <c:pt idx="172">
                  <c:v>-1.0630826486450782</c:v>
                </c:pt>
                <c:pt idx="173">
                  <c:v>-1.0630826486450782</c:v>
                </c:pt>
                <c:pt idx="174">
                  <c:v>-1.0630826486450782</c:v>
                </c:pt>
                <c:pt idx="175">
                  <c:v>-1.0630826486450782</c:v>
                </c:pt>
                <c:pt idx="176">
                  <c:v>-1.0630826486450782</c:v>
                </c:pt>
                <c:pt idx="177">
                  <c:v>-1.0630826486450782</c:v>
                </c:pt>
                <c:pt idx="178">
                  <c:v>-1.0630826486450782</c:v>
                </c:pt>
                <c:pt idx="179">
                  <c:v>-1.0630826486450782</c:v>
                </c:pt>
                <c:pt idx="180">
                  <c:v>-1.0630826486450782</c:v>
                </c:pt>
                <c:pt idx="181">
                  <c:v>-1.0630826486450782</c:v>
                </c:pt>
                <c:pt idx="182">
                  <c:v>-1.0630826486450782</c:v>
                </c:pt>
                <c:pt idx="183">
                  <c:v>-1.0630826486450782</c:v>
                </c:pt>
                <c:pt idx="184">
                  <c:v>-1.0630826486450782</c:v>
                </c:pt>
                <c:pt idx="185">
                  <c:v>-1.0630826486450782</c:v>
                </c:pt>
                <c:pt idx="186">
                  <c:v>-1.0630826486450782</c:v>
                </c:pt>
                <c:pt idx="187">
                  <c:v>-1.0630826486450782</c:v>
                </c:pt>
                <c:pt idx="188">
                  <c:v>-1.0630826486450782</c:v>
                </c:pt>
                <c:pt idx="189">
                  <c:v>-1.0630826486450782</c:v>
                </c:pt>
                <c:pt idx="190">
                  <c:v>-1.0630826486450782</c:v>
                </c:pt>
                <c:pt idx="191">
                  <c:v>-1.0630826486450782</c:v>
                </c:pt>
                <c:pt idx="192">
                  <c:v>-1.0630826486450782</c:v>
                </c:pt>
                <c:pt idx="193">
                  <c:v>-1.0630826486450782</c:v>
                </c:pt>
                <c:pt idx="194">
                  <c:v>-1.0630826486450782</c:v>
                </c:pt>
                <c:pt idx="195">
                  <c:v>-1.0630826486450782</c:v>
                </c:pt>
                <c:pt idx="196">
                  <c:v>-1.0630826486450782</c:v>
                </c:pt>
                <c:pt idx="197">
                  <c:v>-1.0630826486450782</c:v>
                </c:pt>
                <c:pt idx="198">
                  <c:v>-1.0630826486450782</c:v>
                </c:pt>
                <c:pt idx="199">
                  <c:v>-1.0630826486450782</c:v>
                </c:pt>
                <c:pt idx="200">
                  <c:v>-1.0630826486450782</c:v>
                </c:pt>
                <c:pt idx="201">
                  <c:v>-1.0630826486450782</c:v>
                </c:pt>
                <c:pt idx="202">
                  <c:v>-1.0630826486450782</c:v>
                </c:pt>
                <c:pt idx="203">
                  <c:v>-1.0630826486450782</c:v>
                </c:pt>
                <c:pt idx="204">
                  <c:v>-1.0630826486450782</c:v>
                </c:pt>
                <c:pt idx="205">
                  <c:v>-1.0630826486450782</c:v>
                </c:pt>
                <c:pt idx="206">
                  <c:v>-1.0630826486450782</c:v>
                </c:pt>
                <c:pt idx="207">
                  <c:v>-1.0630826486450782</c:v>
                </c:pt>
                <c:pt idx="208">
                  <c:v>-1.0630826486450782</c:v>
                </c:pt>
                <c:pt idx="209">
                  <c:v>-1.0630826486450782</c:v>
                </c:pt>
                <c:pt idx="210">
                  <c:v>-1.0630826486450782</c:v>
                </c:pt>
                <c:pt idx="211">
                  <c:v>-1.0630826486450782</c:v>
                </c:pt>
                <c:pt idx="212">
                  <c:v>-1.0630826486450782</c:v>
                </c:pt>
                <c:pt idx="213">
                  <c:v>-1.0630826486450782</c:v>
                </c:pt>
                <c:pt idx="214">
                  <c:v>-1.0630826486450782</c:v>
                </c:pt>
                <c:pt idx="215">
                  <c:v>-1.0630826486450782</c:v>
                </c:pt>
                <c:pt idx="216">
                  <c:v>-1.0630826486450782</c:v>
                </c:pt>
                <c:pt idx="217">
                  <c:v>-1.0630826486450782</c:v>
                </c:pt>
                <c:pt idx="218">
                  <c:v>-1.0630826486450782</c:v>
                </c:pt>
                <c:pt idx="219">
                  <c:v>-1.0630826486450782</c:v>
                </c:pt>
                <c:pt idx="220">
                  <c:v>-1.0630826486450782</c:v>
                </c:pt>
                <c:pt idx="221">
                  <c:v>-1.0630826486450782</c:v>
                </c:pt>
                <c:pt idx="222">
                  <c:v>-1.0630826486450782</c:v>
                </c:pt>
                <c:pt idx="223">
                  <c:v>-1.0630826486450782</c:v>
                </c:pt>
                <c:pt idx="224">
                  <c:v>-1.0630826486450782</c:v>
                </c:pt>
                <c:pt idx="225">
                  <c:v>-1.0630826486450782</c:v>
                </c:pt>
                <c:pt idx="226">
                  <c:v>-1.0630826486450782</c:v>
                </c:pt>
                <c:pt idx="227">
                  <c:v>-1.0630826486450782</c:v>
                </c:pt>
                <c:pt idx="228">
                  <c:v>-1.0630826486450782</c:v>
                </c:pt>
                <c:pt idx="229">
                  <c:v>-1.0630826486450782</c:v>
                </c:pt>
                <c:pt idx="230">
                  <c:v>-1.0630826486450782</c:v>
                </c:pt>
                <c:pt idx="231">
                  <c:v>-1.0630826486450782</c:v>
                </c:pt>
                <c:pt idx="232">
                  <c:v>-1.0630826486450782</c:v>
                </c:pt>
                <c:pt idx="233">
                  <c:v>-1.0630826486450782</c:v>
                </c:pt>
                <c:pt idx="234">
                  <c:v>-1.0630826486450782</c:v>
                </c:pt>
                <c:pt idx="235">
                  <c:v>-1.0630826486450782</c:v>
                </c:pt>
                <c:pt idx="236">
                  <c:v>-1.0630826486450782</c:v>
                </c:pt>
                <c:pt idx="237">
                  <c:v>-1.0630826486450782</c:v>
                </c:pt>
                <c:pt idx="238">
                  <c:v>-1.0630826486450782</c:v>
                </c:pt>
                <c:pt idx="239">
                  <c:v>-1.0630826486450782</c:v>
                </c:pt>
                <c:pt idx="240">
                  <c:v>-1.0630826486450782</c:v>
                </c:pt>
                <c:pt idx="241">
                  <c:v>-1.0630826486450782</c:v>
                </c:pt>
                <c:pt idx="242">
                  <c:v>-1.0630826486450782</c:v>
                </c:pt>
                <c:pt idx="243">
                  <c:v>-1.0630826486450782</c:v>
                </c:pt>
                <c:pt idx="244">
                  <c:v>-1.0630826486450782</c:v>
                </c:pt>
                <c:pt idx="245">
                  <c:v>-1.0630826486450782</c:v>
                </c:pt>
                <c:pt idx="246">
                  <c:v>-1.0630826486450782</c:v>
                </c:pt>
                <c:pt idx="247">
                  <c:v>-1.0630826486450782</c:v>
                </c:pt>
                <c:pt idx="248">
                  <c:v>-1.0630826486450782</c:v>
                </c:pt>
                <c:pt idx="249">
                  <c:v>-1.0630826486450782</c:v>
                </c:pt>
                <c:pt idx="250">
                  <c:v>-1.0630826486450782</c:v>
                </c:pt>
                <c:pt idx="251">
                  <c:v>-1.0630826486450782</c:v>
                </c:pt>
                <c:pt idx="252">
                  <c:v>-1.0630826486450782</c:v>
                </c:pt>
                <c:pt idx="253">
                  <c:v>-1.0630826486450782</c:v>
                </c:pt>
                <c:pt idx="254">
                  <c:v>-1.0630826486450782</c:v>
                </c:pt>
                <c:pt idx="255">
                  <c:v>-1.0630826486450782</c:v>
                </c:pt>
                <c:pt idx="256">
                  <c:v>-1.0630826486450782</c:v>
                </c:pt>
                <c:pt idx="257">
                  <c:v>-1.0630826486450782</c:v>
                </c:pt>
                <c:pt idx="258">
                  <c:v>-1.0630826486450782</c:v>
                </c:pt>
                <c:pt idx="259">
                  <c:v>-1.0630826486450782</c:v>
                </c:pt>
                <c:pt idx="260">
                  <c:v>-1.0630826486450782</c:v>
                </c:pt>
                <c:pt idx="261">
                  <c:v>-1.0630826486450782</c:v>
                </c:pt>
                <c:pt idx="262">
                  <c:v>-1.0630826486450782</c:v>
                </c:pt>
                <c:pt idx="263">
                  <c:v>-1.0630826486450782</c:v>
                </c:pt>
                <c:pt idx="264">
                  <c:v>-1.0630826486450782</c:v>
                </c:pt>
                <c:pt idx="265">
                  <c:v>-1.0630826486450782</c:v>
                </c:pt>
                <c:pt idx="266">
                  <c:v>-1.0630826486450782</c:v>
                </c:pt>
                <c:pt idx="267">
                  <c:v>-1.0630826486450782</c:v>
                </c:pt>
                <c:pt idx="268">
                  <c:v>-1.0630826486450782</c:v>
                </c:pt>
                <c:pt idx="269">
                  <c:v>-1.0630826486450782</c:v>
                </c:pt>
                <c:pt idx="270">
                  <c:v>-1.0630826486450782</c:v>
                </c:pt>
                <c:pt idx="271">
                  <c:v>-1.0630826486450782</c:v>
                </c:pt>
                <c:pt idx="272">
                  <c:v>-1.0630826486450782</c:v>
                </c:pt>
                <c:pt idx="273">
                  <c:v>-1.0630826486450782</c:v>
                </c:pt>
                <c:pt idx="274">
                  <c:v>-1.0630826486450782</c:v>
                </c:pt>
                <c:pt idx="275">
                  <c:v>-1.0630826486450782</c:v>
                </c:pt>
                <c:pt idx="276">
                  <c:v>-1.0630826486450782</c:v>
                </c:pt>
                <c:pt idx="277">
                  <c:v>-1.0630826486450782</c:v>
                </c:pt>
                <c:pt idx="278">
                  <c:v>-1.0630826486450782</c:v>
                </c:pt>
                <c:pt idx="279">
                  <c:v>-1.0630826486450782</c:v>
                </c:pt>
                <c:pt idx="280">
                  <c:v>-1.0630826486450782</c:v>
                </c:pt>
                <c:pt idx="281">
                  <c:v>-1.0630826486450782</c:v>
                </c:pt>
                <c:pt idx="282">
                  <c:v>-1.0630826486450782</c:v>
                </c:pt>
                <c:pt idx="283">
                  <c:v>-1.0630826486450782</c:v>
                </c:pt>
                <c:pt idx="284">
                  <c:v>-1.0630826486450782</c:v>
                </c:pt>
                <c:pt idx="285">
                  <c:v>-1.0630826486450782</c:v>
                </c:pt>
                <c:pt idx="286">
                  <c:v>-1.0630826486450782</c:v>
                </c:pt>
                <c:pt idx="287">
                  <c:v>-1.0630826486450782</c:v>
                </c:pt>
                <c:pt idx="288">
                  <c:v>-1.0630826486450782</c:v>
                </c:pt>
                <c:pt idx="289">
                  <c:v>-1.0630826486450782</c:v>
                </c:pt>
                <c:pt idx="290">
                  <c:v>-1.0630826486450782</c:v>
                </c:pt>
                <c:pt idx="291">
                  <c:v>-1.0630826486450782</c:v>
                </c:pt>
                <c:pt idx="292">
                  <c:v>-1.0630826486450782</c:v>
                </c:pt>
                <c:pt idx="293">
                  <c:v>-1.0630826486450782</c:v>
                </c:pt>
                <c:pt idx="294">
                  <c:v>-1.0630826486450782</c:v>
                </c:pt>
                <c:pt idx="295">
                  <c:v>-1.0630826486450782</c:v>
                </c:pt>
                <c:pt idx="296">
                  <c:v>-1.0630826486450782</c:v>
                </c:pt>
                <c:pt idx="297">
                  <c:v>-1.0630826486450782</c:v>
                </c:pt>
                <c:pt idx="298">
                  <c:v>-1.0630826486450782</c:v>
                </c:pt>
                <c:pt idx="299">
                  <c:v>-1.0630826486450782</c:v>
                </c:pt>
                <c:pt idx="300">
                  <c:v>-1.0630826486450782</c:v>
                </c:pt>
                <c:pt idx="301">
                  <c:v>-1.0630826486450782</c:v>
                </c:pt>
                <c:pt idx="302">
                  <c:v>-1.0630826486450782</c:v>
                </c:pt>
                <c:pt idx="303">
                  <c:v>-1.0630826486450782</c:v>
                </c:pt>
                <c:pt idx="304">
                  <c:v>-1.0630826486450782</c:v>
                </c:pt>
                <c:pt idx="305">
                  <c:v>-1.0630826486450782</c:v>
                </c:pt>
                <c:pt idx="306">
                  <c:v>-1.0630826486450782</c:v>
                </c:pt>
                <c:pt idx="307">
                  <c:v>-1.0630826486450782</c:v>
                </c:pt>
                <c:pt idx="308">
                  <c:v>-1.0630826486450782</c:v>
                </c:pt>
                <c:pt idx="309">
                  <c:v>-1.0630826486450782</c:v>
                </c:pt>
                <c:pt idx="310">
                  <c:v>-1.0630826486450782</c:v>
                </c:pt>
                <c:pt idx="311">
                  <c:v>-1.0630826486450782</c:v>
                </c:pt>
                <c:pt idx="312">
                  <c:v>-1.0630826486450782</c:v>
                </c:pt>
                <c:pt idx="313">
                  <c:v>-1.0630826486450782</c:v>
                </c:pt>
                <c:pt idx="314">
                  <c:v>-1.0630826486450782</c:v>
                </c:pt>
                <c:pt idx="315">
                  <c:v>-1.0630826486450782</c:v>
                </c:pt>
                <c:pt idx="316">
                  <c:v>-1.0630826486450782</c:v>
                </c:pt>
                <c:pt idx="317">
                  <c:v>-1.0630826486450782</c:v>
                </c:pt>
                <c:pt idx="318">
                  <c:v>-1.0630826486450782</c:v>
                </c:pt>
                <c:pt idx="319">
                  <c:v>-1.0630826486450782</c:v>
                </c:pt>
                <c:pt idx="320">
                  <c:v>-1.0630826486450782</c:v>
                </c:pt>
                <c:pt idx="321">
                  <c:v>-1.0630826486450782</c:v>
                </c:pt>
                <c:pt idx="322">
                  <c:v>-1.0630826486450782</c:v>
                </c:pt>
                <c:pt idx="323">
                  <c:v>-1.0630826486450782</c:v>
                </c:pt>
                <c:pt idx="324">
                  <c:v>-1.0630826486450782</c:v>
                </c:pt>
                <c:pt idx="325">
                  <c:v>-1.0630826486450782</c:v>
                </c:pt>
                <c:pt idx="326">
                  <c:v>-1.0630826486450782</c:v>
                </c:pt>
                <c:pt idx="327">
                  <c:v>-1.0630826486450782</c:v>
                </c:pt>
                <c:pt idx="328">
                  <c:v>-1.0630826486450782</c:v>
                </c:pt>
                <c:pt idx="329">
                  <c:v>-1.0630826486450782</c:v>
                </c:pt>
                <c:pt idx="330">
                  <c:v>-1.0630826486450782</c:v>
                </c:pt>
                <c:pt idx="331">
                  <c:v>-1.0630826486450782</c:v>
                </c:pt>
                <c:pt idx="332">
                  <c:v>-1.0630826486450782</c:v>
                </c:pt>
                <c:pt idx="333">
                  <c:v>-1.0630826486450782</c:v>
                </c:pt>
                <c:pt idx="334">
                  <c:v>-1.0630826486450782</c:v>
                </c:pt>
                <c:pt idx="335">
                  <c:v>-1.0630826486450782</c:v>
                </c:pt>
                <c:pt idx="336">
                  <c:v>-1.0630826486450782</c:v>
                </c:pt>
                <c:pt idx="337">
                  <c:v>-1.0630826486450782</c:v>
                </c:pt>
                <c:pt idx="338">
                  <c:v>-1.0630826486450782</c:v>
                </c:pt>
                <c:pt idx="339">
                  <c:v>-1.0630826486450782</c:v>
                </c:pt>
                <c:pt idx="340">
                  <c:v>-1.0630826486450782</c:v>
                </c:pt>
                <c:pt idx="341">
                  <c:v>-1.0630826486450782</c:v>
                </c:pt>
                <c:pt idx="342">
                  <c:v>-1.0630826486450782</c:v>
                </c:pt>
                <c:pt idx="343">
                  <c:v>-1.0630826486450782</c:v>
                </c:pt>
                <c:pt idx="344">
                  <c:v>-1.0630826486450782</c:v>
                </c:pt>
                <c:pt idx="345">
                  <c:v>-1.0630826486450782</c:v>
                </c:pt>
                <c:pt idx="346">
                  <c:v>-1.0630826486450782</c:v>
                </c:pt>
                <c:pt idx="347">
                  <c:v>-1.0630826486450782</c:v>
                </c:pt>
                <c:pt idx="348">
                  <c:v>-1.0630826486450782</c:v>
                </c:pt>
                <c:pt idx="349">
                  <c:v>-1.0630826486450782</c:v>
                </c:pt>
                <c:pt idx="350">
                  <c:v>-1.0630826486450782</c:v>
                </c:pt>
                <c:pt idx="351">
                  <c:v>-1.0630826486450782</c:v>
                </c:pt>
                <c:pt idx="352">
                  <c:v>-1.0630826486450782</c:v>
                </c:pt>
                <c:pt idx="353">
                  <c:v>-1.0630826486450782</c:v>
                </c:pt>
                <c:pt idx="354">
                  <c:v>-1.0630826486450782</c:v>
                </c:pt>
                <c:pt idx="355">
                  <c:v>-1.0630826486450782</c:v>
                </c:pt>
                <c:pt idx="356">
                  <c:v>-1.0630826486450782</c:v>
                </c:pt>
                <c:pt idx="357">
                  <c:v>-1.0630826486450782</c:v>
                </c:pt>
                <c:pt idx="358">
                  <c:v>-1.0630826486450782</c:v>
                </c:pt>
                <c:pt idx="359">
                  <c:v>-1.0630826486450782</c:v>
                </c:pt>
                <c:pt idx="360">
                  <c:v>-1.0630826486450782</c:v>
                </c:pt>
                <c:pt idx="361">
                  <c:v>-1.0630826486450782</c:v>
                </c:pt>
                <c:pt idx="362">
                  <c:v>-1.0630826486450782</c:v>
                </c:pt>
                <c:pt idx="363">
                  <c:v>-1.0630826486450782</c:v>
                </c:pt>
                <c:pt idx="364">
                  <c:v>-1.0630826486450782</c:v>
                </c:pt>
                <c:pt idx="365">
                  <c:v>-1.0630826486450782</c:v>
                </c:pt>
                <c:pt idx="366">
                  <c:v>-1.0630826486450782</c:v>
                </c:pt>
                <c:pt idx="367">
                  <c:v>-1.0630826486450782</c:v>
                </c:pt>
                <c:pt idx="368">
                  <c:v>-1.0630826486450782</c:v>
                </c:pt>
                <c:pt idx="369">
                  <c:v>-1.0630826486450782</c:v>
                </c:pt>
                <c:pt idx="370">
                  <c:v>-1.0630826486450782</c:v>
                </c:pt>
                <c:pt idx="371">
                  <c:v>-1.0630826486450782</c:v>
                </c:pt>
                <c:pt idx="372">
                  <c:v>-1.0630826486450782</c:v>
                </c:pt>
                <c:pt idx="373">
                  <c:v>-1.0630826486450782</c:v>
                </c:pt>
                <c:pt idx="374">
                  <c:v>-1.0630826486450782</c:v>
                </c:pt>
                <c:pt idx="375">
                  <c:v>-1.0630826486450782</c:v>
                </c:pt>
                <c:pt idx="376">
                  <c:v>-1.0630826486450782</c:v>
                </c:pt>
                <c:pt idx="377">
                  <c:v>-1.0630826486450782</c:v>
                </c:pt>
                <c:pt idx="378">
                  <c:v>-1.0630826486450782</c:v>
                </c:pt>
                <c:pt idx="379">
                  <c:v>-1.0630826486450782</c:v>
                </c:pt>
                <c:pt idx="380">
                  <c:v>-1.0630826486450782</c:v>
                </c:pt>
                <c:pt idx="381">
                  <c:v>-1.0630826486450782</c:v>
                </c:pt>
                <c:pt idx="382">
                  <c:v>-1.0630826486450782</c:v>
                </c:pt>
                <c:pt idx="383">
                  <c:v>-1.0630826486450782</c:v>
                </c:pt>
                <c:pt idx="384">
                  <c:v>-1.0630826486450782</c:v>
                </c:pt>
                <c:pt idx="385">
                  <c:v>-1.0630826486450782</c:v>
                </c:pt>
                <c:pt idx="386">
                  <c:v>-1.0630826486450782</c:v>
                </c:pt>
                <c:pt idx="387">
                  <c:v>-1.0630826486450782</c:v>
                </c:pt>
                <c:pt idx="388">
                  <c:v>-1.0630826486450782</c:v>
                </c:pt>
                <c:pt idx="389">
                  <c:v>-1.0630826486450782</c:v>
                </c:pt>
                <c:pt idx="390">
                  <c:v>-1.0630826486450782</c:v>
                </c:pt>
                <c:pt idx="391">
                  <c:v>-1.0630826486450782</c:v>
                </c:pt>
                <c:pt idx="392">
                  <c:v>-1.0630826486450782</c:v>
                </c:pt>
                <c:pt idx="393">
                  <c:v>-1.0630826486450782</c:v>
                </c:pt>
                <c:pt idx="394">
                  <c:v>-1.0630826486450782</c:v>
                </c:pt>
                <c:pt idx="395">
                  <c:v>-1.0630826486450782</c:v>
                </c:pt>
                <c:pt idx="396">
                  <c:v>-1.0630826486450782</c:v>
                </c:pt>
                <c:pt idx="397">
                  <c:v>-1.0630826486450782</c:v>
                </c:pt>
                <c:pt idx="398">
                  <c:v>-1.0630826486450782</c:v>
                </c:pt>
                <c:pt idx="399">
                  <c:v>-1.0630826486450782</c:v>
                </c:pt>
                <c:pt idx="400">
                  <c:v>-1.0630826486450782</c:v>
                </c:pt>
                <c:pt idx="401">
                  <c:v>-1.0630826486450782</c:v>
                </c:pt>
                <c:pt idx="402">
                  <c:v>-1.0630826486450782</c:v>
                </c:pt>
                <c:pt idx="403">
                  <c:v>-1.0630826486450782</c:v>
                </c:pt>
                <c:pt idx="404">
                  <c:v>-1.0630826486450782</c:v>
                </c:pt>
                <c:pt idx="405">
                  <c:v>-1.0630826486450782</c:v>
                </c:pt>
                <c:pt idx="406">
                  <c:v>-1.0630826486450782</c:v>
                </c:pt>
                <c:pt idx="407">
                  <c:v>-1.0630826486450782</c:v>
                </c:pt>
                <c:pt idx="408">
                  <c:v>-1.0630826486450782</c:v>
                </c:pt>
                <c:pt idx="409">
                  <c:v>-1.0630826486450782</c:v>
                </c:pt>
                <c:pt idx="410">
                  <c:v>-1.0630826486450782</c:v>
                </c:pt>
                <c:pt idx="411">
                  <c:v>-1.0630826486450782</c:v>
                </c:pt>
                <c:pt idx="412">
                  <c:v>-1.0630826486450782</c:v>
                </c:pt>
                <c:pt idx="413">
                  <c:v>-1.0630826486450782</c:v>
                </c:pt>
                <c:pt idx="414">
                  <c:v>-1.0630826486450782</c:v>
                </c:pt>
                <c:pt idx="415">
                  <c:v>-1.0630826486450782</c:v>
                </c:pt>
                <c:pt idx="416">
                  <c:v>-1.0630826486450782</c:v>
                </c:pt>
                <c:pt idx="417">
                  <c:v>-1.0630826486450782</c:v>
                </c:pt>
                <c:pt idx="418">
                  <c:v>-1.0630826486450782</c:v>
                </c:pt>
                <c:pt idx="419">
                  <c:v>-1.0630826486450782</c:v>
                </c:pt>
                <c:pt idx="420">
                  <c:v>-1.0630826486450782</c:v>
                </c:pt>
                <c:pt idx="421">
                  <c:v>-1.0630826486450782</c:v>
                </c:pt>
                <c:pt idx="422">
                  <c:v>-1.0630826486450782</c:v>
                </c:pt>
                <c:pt idx="423">
                  <c:v>-1.0630826486450782</c:v>
                </c:pt>
                <c:pt idx="424">
                  <c:v>-1.0630826486450782</c:v>
                </c:pt>
                <c:pt idx="425">
                  <c:v>-1.0630826486450782</c:v>
                </c:pt>
                <c:pt idx="426">
                  <c:v>-1.0630826486450782</c:v>
                </c:pt>
                <c:pt idx="427">
                  <c:v>-1.0630826486450782</c:v>
                </c:pt>
                <c:pt idx="428">
                  <c:v>-1.0630826486450782</c:v>
                </c:pt>
                <c:pt idx="429">
                  <c:v>-1.0630826486450782</c:v>
                </c:pt>
                <c:pt idx="430">
                  <c:v>-1.0630826486450782</c:v>
                </c:pt>
                <c:pt idx="431">
                  <c:v>-1.0630826486450782</c:v>
                </c:pt>
                <c:pt idx="432">
                  <c:v>-1.0630826486450782</c:v>
                </c:pt>
                <c:pt idx="433">
                  <c:v>-1.0630826486450782</c:v>
                </c:pt>
                <c:pt idx="434">
                  <c:v>-1.0630826486450782</c:v>
                </c:pt>
                <c:pt idx="435">
                  <c:v>-1.0630826486450782</c:v>
                </c:pt>
                <c:pt idx="436">
                  <c:v>-1.0630826486450782</c:v>
                </c:pt>
                <c:pt idx="437">
                  <c:v>-1.0630826486450782</c:v>
                </c:pt>
                <c:pt idx="438">
                  <c:v>-1.0630826486450782</c:v>
                </c:pt>
                <c:pt idx="439">
                  <c:v>-1.0630826486450782</c:v>
                </c:pt>
                <c:pt idx="440">
                  <c:v>-1.0630826486450782</c:v>
                </c:pt>
                <c:pt idx="441">
                  <c:v>-1.0630826486450782</c:v>
                </c:pt>
                <c:pt idx="442">
                  <c:v>-1.0630826486450782</c:v>
                </c:pt>
                <c:pt idx="443">
                  <c:v>-1.0630826486450782</c:v>
                </c:pt>
                <c:pt idx="444">
                  <c:v>-1.0630826486450782</c:v>
                </c:pt>
                <c:pt idx="445">
                  <c:v>-1.0630826486450782</c:v>
                </c:pt>
                <c:pt idx="446">
                  <c:v>-1.0630826486450782</c:v>
                </c:pt>
                <c:pt idx="447">
                  <c:v>-1.0630826486450782</c:v>
                </c:pt>
                <c:pt idx="448">
                  <c:v>-1.0630826486450782</c:v>
                </c:pt>
                <c:pt idx="449">
                  <c:v>-1.0630826486450782</c:v>
                </c:pt>
                <c:pt idx="450">
                  <c:v>-1.0630826486450782</c:v>
                </c:pt>
                <c:pt idx="451">
                  <c:v>-1.0630826486450782</c:v>
                </c:pt>
                <c:pt idx="452">
                  <c:v>-1.0630826486450782</c:v>
                </c:pt>
                <c:pt idx="453">
                  <c:v>-1.0630826486450782</c:v>
                </c:pt>
                <c:pt idx="454">
                  <c:v>-1.0630826486450782</c:v>
                </c:pt>
                <c:pt idx="455">
                  <c:v>-1.0630826486450782</c:v>
                </c:pt>
                <c:pt idx="456">
                  <c:v>-1.0630826486450782</c:v>
                </c:pt>
                <c:pt idx="457">
                  <c:v>-1.0630826486450782</c:v>
                </c:pt>
                <c:pt idx="458">
                  <c:v>-1.0630826486450782</c:v>
                </c:pt>
                <c:pt idx="459">
                  <c:v>-1.0630826486450782</c:v>
                </c:pt>
                <c:pt idx="460">
                  <c:v>-1.0630826486450782</c:v>
                </c:pt>
                <c:pt idx="461">
                  <c:v>-1.0630826486450782</c:v>
                </c:pt>
                <c:pt idx="462">
                  <c:v>-1.0630826486450782</c:v>
                </c:pt>
                <c:pt idx="463">
                  <c:v>-1.0630826486450782</c:v>
                </c:pt>
                <c:pt idx="464">
                  <c:v>-1.0630826486450782</c:v>
                </c:pt>
                <c:pt idx="465">
                  <c:v>-1.0630826486450782</c:v>
                </c:pt>
                <c:pt idx="466">
                  <c:v>-1.0630826486450782</c:v>
                </c:pt>
                <c:pt idx="467">
                  <c:v>-1.0630826486450782</c:v>
                </c:pt>
                <c:pt idx="468">
                  <c:v>-1.0630826486450782</c:v>
                </c:pt>
                <c:pt idx="469">
                  <c:v>-1.0630826486450782</c:v>
                </c:pt>
                <c:pt idx="470">
                  <c:v>-1.0630826486450782</c:v>
                </c:pt>
                <c:pt idx="471">
                  <c:v>-1.0630826486450782</c:v>
                </c:pt>
                <c:pt idx="472">
                  <c:v>-1.0630826486450782</c:v>
                </c:pt>
                <c:pt idx="473">
                  <c:v>-1.0630826486450782</c:v>
                </c:pt>
                <c:pt idx="474">
                  <c:v>-1.0630826486450782</c:v>
                </c:pt>
                <c:pt idx="475">
                  <c:v>-1.0630826486450782</c:v>
                </c:pt>
                <c:pt idx="476">
                  <c:v>-1.0630826486450782</c:v>
                </c:pt>
                <c:pt idx="477">
                  <c:v>-1.0630826486450782</c:v>
                </c:pt>
                <c:pt idx="478">
                  <c:v>-1.0630826486450782</c:v>
                </c:pt>
                <c:pt idx="479">
                  <c:v>-1.0630826486450782</c:v>
                </c:pt>
                <c:pt idx="480">
                  <c:v>-1.0630826486450782</c:v>
                </c:pt>
                <c:pt idx="481">
                  <c:v>-1.0630826486450782</c:v>
                </c:pt>
                <c:pt idx="482">
                  <c:v>-1.0630826486450782</c:v>
                </c:pt>
                <c:pt idx="483">
                  <c:v>-1.0630826486450782</c:v>
                </c:pt>
                <c:pt idx="484">
                  <c:v>-1.0630826486450782</c:v>
                </c:pt>
                <c:pt idx="485">
                  <c:v>-1.0630826486450782</c:v>
                </c:pt>
                <c:pt idx="486">
                  <c:v>-1.0630826486450782</c:v>
                </c:pt>
                <c:pt idx="487">
                  <c:v>-1.0630826486450782</c:v>
                </c:pt>
                <c:pt idx="488">
                  <c:v>-1.0630826486450782</c:v>
                </c:pt>
                <c:pt idx="489">
                  <c:v>-1.0630826486450782</c:v>
                </c:pt>
                <c:pt idx="490">
                  <c:v>-1.0630826486450782</c:v>
                </c:pt>
                <c:pt idx="491">
                  <c:v>-1.0630826486450782</c:v>
                </c:pt>
                <c:pt idx="492">
                  <c:v>-1.0630826486450782</c:v>
                </c:pt>
                <c:pt idx="493">
                  <c:v>-1.0630826486450782</c:v>
                </c:pt>
                <c:pt idx="494">
                  <c:v>-1.0630826486450782</c:v>
                </c:pt>
                <c:pt idx="495">
                  <c:v>-1.0630826486450782</c:v>
                </c:pt>
                <c:pt idx="496">
                  <c:v>-1.0630826486450782</c:v>
                </c:pt>
                <c:pt idx="497">
                  <c:v>-1.0630826486450782</c:v>
                </c:pt>
                <c:pt idx="498">
                  <c:v>-1.0630826486450782</c:v>
                </c:pt>
                <c:pt idx="499">
                  <c:v>-1.0630826486450782</c:v>
                </c:pt>
                <c:pt idx="500">
                  <c:v>-1.0630826486450782</c:v>
                </c:pt>
                <c:pt idx="501">
                  <c:v>-1.0630826486450782</c:v>
                </c:pt>
                <c:pt idx="502">
                  <c:v>-1.0630826486450782</c:v>
                </c:pt>
                <c:pt idx="503">
                  <c:v>-1.0630826486450782</c:v>
                </c:pt>
                <c:pt idx="504">
                  <c:v>-1.0630826486450782</c:v>
                </c:pt>
                <c:pt idx="505">
                  <c:v>-1.0630826486450782</c:v>
                </c:pt>
                <c:pt idx="506">
                  <c:v>-1.0630826486450782</c:v>
                </c:pt>
                <c:pt idx="507">
                  <c:v>-1.0630826486450782</c:v>
                </c:pt>
                <c:pt idx="508">
                  <c:v>-1.0630826486450782</c:v>
                </c:pt>
                <c:pt idx="509">
                  <c:v>-1.0630826486450782</c:v>
                </c:pt>
                <c:pt idx="510">
                  <c:v>-1.0630826486450782</c:v>
                </c:pt>
                <c:pt idx="511">
                  <c:v>-1.0630826486450782</c:v>
                </c:pt>
                <c:pt idx="512">
                  <c:v>-1.0630826486450782</c:v>
                </c:pt>
                <c:pt idx="513">
                  <c:v>-1.0630826486450782</c:v>
                </c:pt>
                <c:pt idx="514">
                  <c:v>-1.0630826486450782</c:v>
                </c:pt>
                <c:pt idx="515">
                  <c:v>-1.0630826486450782</c:v>
                </c:pt>
                <c:pt idx="516">
                  <c:v>-1.0630826486450782</c:v>
                </c:pt>
                <c:pt idx="517">
                  <c:v>-1.0630826486450782</c:v>
                </c:pt>
                <c:pt idx="518">
                  <c:v>-1.0630826486450782</c:v>
                </c:pt>
                <c:pt idx="519">
                  <c:v>-1.0630826486450782</c:v>
                </c:pt>
                <c:pt idx="520">
                  <c:v>-1.0630826486450782</c:v>
                </c:pt>
                <c:pt idx="521">
                  <c:v>-1.0630826486450782</c:v>
                </c:pt>
                <c:pt idx="522">
                  <c:v>-1.0630826486450782</c:v>
                </c:pt>
                <c:pt idx="523">
                  <c:v>-1.0630826486450782</c:v>
                </c:pt>
                <c:pt idx="524">
                  <c:v>-1.0630826486450782</c:v>
                </c:pt>
                <c:pt idx="525">
                  <c:v>-1.0630826486450782</c:v>
                </c:pt>
                <c:pt idx="526">
                  <c:v>-1.0630826486450782</c:v>
                </c:pt>
                <c:pt idx="527">
                  <c:v>-1.0630826486450782</c:v>
                </c:pt>
                <c:pt idx="528">
                  <c:v>-1.0630826486450782</c:v>
                </c:pt>
                <c:pt idx="529">
                  <c:v>-1.0630826486450782</c:v>
                </c:pt>
                <c:pt idx="530">
                  <c:v>-1.0630826486450782</c:v>
                </c:pt>
                <c:pt idx="531">
                  <c:v>-1.0630826486450782</c:v>
                </c:pt>
                <c:pt idx="532">
                  <c:v>-1.0630826486450782</c:v>
                </c:pt>
                <c:pt idx="533">
                  <c:v>-1.0630826486450782</c:v>
                </c:pt>
                <c:pt idx="534">
                  <c:v>-1.0630826486450782</c:v>
                </c:pt>
                <c:pt idx="535">
                  <c:v>-1.0630826486450782</c:v>
                </c:pt>
                <c:pt idx="536">
                  <c:v>-1.0630826486450782</c:v>
                </c:pt>
                <c:pt idx="537">
                  <c:v>-1.0630826486450782</c:v>
                </c:pt>
                <c:pt idx="538">
                  <c:v>-1.0630826486450782</c:v>
                </c:pt>
                <c:pt idx="539">
                  <c:v>-1.0630826486450782</c:v>
                </c:pt>
                <c:pt idx="540">
                  <c:v>-1.0630826486450782</c:v>
                </c:pt>
                <c:pt idx="541">
                  <c:v>-1.0630826486450782</c:v>
                </c:pt>
                <c:pt idx="542">
                  <c:v>-1.0630826486450782</c:v>
                </c:pt>
                <c:pt idx="543">
                  <c:v>-1.0630826486450782</c:v>
                </c:pt>
                <c:pt idx="544">
                  <c:v>-1.0630826486450782</c:v>
                </c:pt>
                <c:pt idx="545">
                  <c:v>-1.0630826486450782</c:v>
                </c:pt>
                <c:pt idx="546">
                  <c:v>-1.0630826486450782</c:v>
                </c:pt>
                <c:pt idx="547">
                  <c:v>-1.0630826486450782</c:v>
                </c:pt>
                <c:pt idx="548">
                  <c:v>-1.0630826486450782</c:v>
                </c:pt>
                <c:pt idx="549">
                  <c:v>-1.0630826486450782</c:v>
                </c:pt>
                <c:pt idx="550">
                  <c:v>-1.0630826486450782</c:v>
                </c:pt>
                <c:pt idx="551">
                  <c:v>-1.0630826486450782</c:v>
                </c:pt>
                <c:pt idx="552">
                  <c:v>-1.0630826486450782</c:v>
                </c:pt>
                <c:pt idx="553">
                  <c:v>-1.0630826486450782</c:v>
                </c:pt>
                <c:pt idx="554">
                  <c:v>-1.0630826486450782</c:v>
                </c:pt>
                <c:pt idx="555">
                  <c:v>-1.0630826486450782</c:v>
                </c:pt>
                <c:pt idx="556">
                  <c:v>-1.0630826486450782</c:v>
                </c:pt>
                <c:pt idx="557">
                  <c:v>-1.0630826486450782</c:v>
                </c:pt>
                <c:pt idx="558">
                  <c:v>-1.0630826486450782</c:v>
                </c:pt>
                <c:pt idx="559">
                  <c:v>-1.0630826486450782</c:v>
                </c:pt>
                <c:pt idx="560">
                  <c:v>-1.0630826486450782</c:v>
                </c:pt>
                <c:pt idx="561">
                  <c:v>-1.0630826486450782</c:v>
                </c:pt>
                <c:pt idx="562">
                  <c:v>-1.0630826486450782</c:v>
                </c:pt>
                <c:pt idx="563">
                  <c:v>-1.0630826486450782</c:v>
                </c:pt>
                <c:pt idx="564">
                  <c:v>-1.0630826486450782</c:v>
                </c:pt>
                <c:pt idx="565">
                  <c:v>-1.0630826486450782</c:v>
                </c:pt>
                <c:pt idx="566">
                  <c:v>-1.0630826486450782</c:v>
                </c:pt>
                <c:pt idx="567">
                  <c:v>-1.0630826486450782</c:v>
                </c:pt>
                <c:pt idx="568">
                  <c:v>-1.0630826486450782</c:v>
                </c:pt>
                <c:pt idx="569">
                  <c:v>-1.0630826486450782</c:v>
                </c:pt>
                <c:pt idx="570">
                  <c:v>-1.0630826486450782</c:v>
                </c:pt>
                <c:pt idx="571">
                  <c:v>-1.0630826486450782</c:v>
                </c:pt>
                <c:pt idx="572">
                  <c:v>-1.0630826486450782</c:v>
                </c:pt>
                <c:pt idx="573">
                  <c:v>-1.0630826486450782</c:v>
                </c:pt>
                <c:pt idx="574">
                  <c:v>-1.0630826486450782</c:v>
                </c:pt>
                <c:pt idx="575">
                  <c:v>-1.0630826486450782</c:v>
                </c:pt>
                <c:pt idx="576">
                  <c:v>-1.0630826486450782</c:v>
                </c:pt>
                <c:pt idx="577">
                  <c:v>-1.0630826486450782</c:v>
                </c:pt>
                <c:pt idx="578">
                  <c:v>-1.0630826486450782</c:v>
                </c:pt>
                <c:pt idx="579">
                  <c:v>-1.0630826486450782</c:v>
                </c:pt>
                <c:pt idx="580">
                  <c:v>-1.0630826486450782</c:v>
                </c:pt>
                <c:pt idx="581">
                  <c:v>-1.0630826486450782</c:v>
                </c:pt>
                <c:pt idx="582">
                  <c:v>-1.0630826486450782</c:v>
                </c:pt>
                <c:pt idx="583">
                  <c:v>-1.0630826486450782</c:v>
                </c:pt>
                <c:pt idx="584">
                  <c:v>-1.0630826486450782</c:v>
                </c:pt>
                <c:pt idx="585">
                  <c:v>-1.0630826486450782</c:v>
                </c:pt>
                <c:pt idx="586">
                  <c:v>-1.0630826486450782</c:v>
                </c:pt>
                <c:pt idx="587">
                  <c:v>-1.0630826486450782</c:v>
                </c:pt>
                <c:pt idx="588">
                  <c:v>-1.0630826486450782</c:v>
                </c:pt>
                <c:pt idx="589">
                  <c:v>-1.0630826486450782</c:v>
                </c:pt>
                <c:pt idx="590">
                  <c:v>-1.0630826486450782</c:v>
                </c:pt>
                <c:pt idx="591">
                  <c:v>-1.0630826486450782</c:v>
                </c:pt>
                <c:pt idx="592">
                  <c:v>-1.0630826486450782</c:v>
                </c:pt>
                <c:pt idx="593">
                  <c:v>-1.0630826486450782</c:v>
                </c:pt>
                <c:pt idx="594">
                  <c:v>-1.0630826486450782</c:v>
                </c:pt>
                <c:pt idx="595">
                  <c:v>-1.0630826486450782</c:v>
                </c:pt>
                <c:pt idx="596">
                  <c:v>-1.0630826486450782</c:v>
                </c:pt>
                <c:pt idx="597">
                  <c:v>-1.0630826486450782</c:v>
                </c:pt>
                <c:pt idx="598">
                  <c:v>-1.0630826486450782</c:v>
                </c:pt>
                <c:pt idx="599">
                  <c:v>-1.0630826486450782</c:v>
                </c:pt>
                <c:pt idx="600">
                  <c:v>-1.0630826486450782</c:v>
                </c:pt>
                <c:pt idx="601">
                  <c:v>-1.0630826486450782</c:v>
                </c:pt>
                <c:pt idx="602">
                  <c:v>-1.0630826486450782</c:v>
                </c:pt>
                <c:pt idx="603">
                  <c:v>-1.0630826486450782</c:v>
                </c:pt>
                <c:pt idx="604">
                  <c:v>-1.0630826486450782</c:v>
                </c:pt>
                <c:pt idx="605">
                  <c:v>-1.0630826486450782</c:v>
                </c:pt>
                <c:pt idx="606">
                  <c:v>-1.0630826486450782</c:v>
                </c:pt>
                <c:pt idx="607">
                  <c:v>-1.0630826486450782</c:v>
                </c:pt>
                <c:pt idx="608">
                  <c:v>-1.0630826486450782</c:v>
                </c:pt>
                <c:pt idx="609">
                  <c:v>-1.0630826486450782</c:v>
                </c:pt>
                <c:pt idx="610">
                  <c:v>-1.0630826486450782</c:v>
                </c:pt>
                <c:pt idx="611">
                  <c:v>-1.0630826486450782</c:v>
                </c:pt>
                <c:pt idx="612">
                  <c:v>-1.0630826486450782</c:v>
                </c:pt>
                <c:pt idx="613">
                  <c:v>-1.0630826486450782</c:v>
                </c:pt>
                <c:pt idx="614">
                  <c:v>-1.0630826486450782</c:v>
                </c:pt>
                <c:pt idx="615">
                  <c:v>-1.0630826486450782</c:v>
                </c:pt>
                <c:pt idx="616">
                  <c:v>-1.0630826486450782</c:v>
                </c:pt>
                <c:pt idx="617">
                  <c:v>-1.0630826486450782</c:v>
                </c:pt>
                <c:pt idx="618">
                  <c:v>-1.0630826486450782</c:v>
                </c:pt>
                <c:pt idx="619">
                  <c:v>-1.0630826486450782</c:v>
                </c:pt>
                <c:pt idx="620">
                  <c:v>-1.0630826486450782</c:v>
                </c:pt>
                <c:pt idx="621">
                  <c:v>-1.0630826486450782</c:v>
                </c:pt>
                <c:pt idx="622">
                  <c:v>-1.0630826486450782</c:v>
                </c:pt>
                <c:pt idx="623">
                  <c:v>-1.0630826486450782</c:v>
                </c:pt>
                <c:pt idx="624">
                  <c:v>-1.0630826486450782</c:v>
                </c:pt>
                <c:pt idx="625">
                  <c:v>-1.0630826486450782</c:v>
                </c:pt>
                <c:pt idx="626">
                  <c:v>-1.0630826486450782</c:v>
                </c:pt>
                <c:pt idx="627">
                  <c:v>-1.0630826486450782</c:v>
                </c:pt>
                <c:pt idx="628">
                  <c:v>-1.0630826486450782</c:v>
                </c:pt>
                <c:pt idx="629">
                  <c:v>-1.0630826486450782</c:v>
                </c:pt>
                <c:pt idx="630">
                  <c:v>-1.0630826486450782</c:v>
                </c:pt>
                <c:pt idx="631">
                  <c:v>-1.0630826486450782</c:v>
                </c:pt>
                <c:pt idx="632">
                  <c:v>-1.0630826486450782</c:v>
                </c:pt>
                <c:pt idx="633">
                  <c:v>-1.0630826486450782</c:v>
                </c:pt>
                <c:pt idx="634">
                  <c:v>-1.0630826486450782</c:v>
                </c:pt>
                <c:pt idx="635">
                  <c:v>-1.0630826486450782</c:v>
                </c:pt>
                <c:pt idx="636">
                  <c:v>-1.0630826486450782</c:v>
                </c:pt>
                <c:pt idx="637">
                  <c:v>-1.0630826486450782</c:v>
                </c:pt>
                <c:pt idx="638">
                  <c:v>-1.0630826486450782</c:v>
                </c:pt>
                <c:pt idx="639">
                  <c:v>-1.0630826486450782</c:v>
                </c:pt>
                <c:pt idx="640">
                  <c:v>-1.0630826486450782</c:v>
                </c:pt>
                <c:pt idx="641">
                  <c:v>-1.0630826486450782</c:v>
                </c:pt>
                <c:pt idx="642">
                  <c:v>-1.0630826486450782</c:v>
                </c:pt>
                <c:pt idx="643">
                  <c:v>-1.0630826486450782</c:v>
                </c:pt>
                <c:pt idx="644">
                  <c:v>-1.0630826486450782</c:v>
                </c:pt>
                <c:pt idx="645">
                  <c:v>-1.0630826486450782</c:v>
                </c:pt>
                <c:pt idx="646">
                  <c:v>-1.0630826486450782</c:v>
                </c:pt>
                <c:pt idx="647">
                  <c:v>-1.0630826486450782</c:v>
                </c:pt>
                <c:pt idx="648">
                  <c:v>-1.0630826486450782</c:v>
                </c:pt>
                <c:pt idx="649">
                  <c:v>-1.0630826486450782</c:v>
                </c:pt>
                <c:pt idx="650">
                  <c:v>-1.0630826486450782</c:v>
                </c:pt>
                <c:pt idx="651">
                  <c:v>-1.0630826486450782</c:v>
                </c:pt>
                <c:pt idx="652">
                  <c:v>-1.0630826486450782</c:v>
                </c:pt>
                <c:pt idx="653">
                  <c:v>-1.0630826486450782</c:v>
                </c:pt>
                <c:pt idx="654">
                  <c:v>-1.0630826486450782</c:v>
                </c:pt>
                <c:pt idx="655">
                  <c:v>-1.0630826486450782</c:v>
                </c:pt>
                <c:pt idx="656">
                  <c:v>-1.0630826486450782</c:v>
                </c:pt>
                <c:pt idx="657">
                  <c:v>-1.0630826486450782</c:v>
                </c:pt>
                <c:pt idx="658">
                  <c:v>-1.0630826486450782</c:v>
                </c:pt>
                <c:pt idx="659">
                  <c:v>-1.0630826486450782</c:v>
                </c:pt>
                <c:pt idx="660">
                  <c:v>-1.0630826486450782</c:v>
                </c:pt>
                <c:pt idx="661">
                  <c:v>-1.0630826486450782</c:v>
                </c:pt>
                <c:pt idx="662">
                  <c:v>-1.0630826486450782</c:v>
                </c:pt>
                <c:pt idx="663">
                  <c:v>-1.0630826486450782</c:v>
                </c:pt>
                <c:pt idx="664">
                  <c:v>-1.0630826486450782</c:v>
                </c:pt>
                <c:pt idx="665">
                  <c:v>-1.0630826486450782</c:v>
                </c:pt>
                <c:pt idx="666">
                  <c:v>-1.0630826486450782</c:v>
                </c:pt>
                <c:pt idx="667">
                  <c:v>-1.0630826486450782</c:v>
                </c:pt>
                <c:pt idx="668">
                  <c:v>-1.0630826486450782</c:v>
                </c:pt>
                <c:pt idx="669">
                  <c:v>-1.0630826486450782</c:v>
                </c:pt>
                <c:pt idx="670">
                  <c:v>-1.0630826486450782</c:v>
                </c:pt>
                <c:pt idx="671">
                  <c:v>-1.0630826486450782</c:v>
                </c:pt>
                <c:pt idx="672">
                  <c:v>-1.0630826486450782</c:v>
                </c:pt>
                <c:pt idx="673">
                  <c:v>-1.0630826486450782</c:v>
                </c:pt>
                <c:pt idx="674">
                  <c:v>-1.0630826486450782</c:v>
                </c:pt>
                <c:pt idx="675">
                  <c:v>-1.0630826486450782</c:v>
                </c:pt>
                <c:pt idx="676">
                  <c:v>-1.0630826486450782</c:v>
                </c:pt>
                <c:pt idx="677">
                  <c:v>-1.0630826486450782</c:v>
                </c:pt>
                <c:pt idx="678">
                  <c:v>-1.0630826486450782</c:v>
                </c:pt>
                <c:pt idx="679">
                  <c:v>-1.0630826486450782</c:v>
                </c:pt>
                <c:pt idx="680">
                  <c:v>-1.0630826486450782</c:v>
                </c:pt>
                <c:pt idx="681">
                  <c:v>-1.0630826486450782</c:v>
                </c:pt>
                <c:pt idx="682">
                  <c:v>-1.0630826486450782</c:v>
                </c:pt>
                <c:pt idx="683">
                  <c:v>-1.0630826486450782</c:v>
                </c:pt>
                <c:pt idx="684">
                  <c:v>-1.0630826486450782</c:v>
                </c:pt>
                <c:pt idx="685">
                  <c:v>-1.0630826486450782</c:v>
                </c:pt>
                <c:pt idx="686">
                  <c:v>-1.0630826486450782</c:v>
                </c:pt>
                <c:pt idx="687">
                  <c:v>-1.0630826486450782</c:v>
                </c:pt>
                <c:pt idx="688">
                  <c:v>-1.0630826486450782</c:v>
                </c:pt>
                <c:pt idx="689">
                  <c:v>-1.0630826486450782</c:v>
                </c:pt>
                <c:pt idx="690">
                  <c:v>-1.0630826486450782</c:v>
                </c:pt>
                <c:pt idx="691">
                  <c:v>-1.0630826486450782</c:v>
                </c:pt>
                <c:pt idx="692">
                  <c:v>-1.0630826486450782</c:v>
                </c:pt>
                <c:pt idx="693">
                  <c:v>-1.0630826486450782</c:v>
                </c:pt>
                <c:pt idx="694">
                  <c:v>-1.0630826486450782</c:v>
                </c:pt>
                <c:pt idx="695">
                  <c:v>-1.0630826486450782</c:v>
                </c:pt>
                <c:pt idx="696">
                  <c:v>-1.0630826486450782</c:v>
                </c:pt>
                <c:pt idx="697">
                  <c:v>-1.0630826486450782</c:v>
                </c:pt>
                <c:pt idx="698">
                  <c:v>-1.0630826486450782</c:v>
                </c:pt>
                <c:pt idx="699">
                  <c:v>-1.0630826486450782</c:v>
                </c:pt>
                <c:pt idx="700">
                  <c:v>-1.0630826486450782</c:v>
                </c:pt>
                <c:pt idx="701">
                  <c:v>-1.0630826486450782</c:v>
                </c:pt>
                <c:pt idx="702">
                  <c:v>-1.0630826486450782</c:v>
                </c:pt>
                <c:pt idx="703">
                  <c:v>-1.0630826486450782</c:v>
                </c:pt>
                <c:pt idx="704">
                  <c:v>-1.0630826486450782</c:v>
                </c:pt>
                <c:pt idx="705">
                  <c:v>-1.0630826486450782</c:v>
                </c:pt>
                <c:pt idx="706">
                  <c:v>-1.0630826486450782</c:v>
                </c:pt>
                <c:pt idx="707">
                  <c:v>-1.0630826486450782</c:v>
                </c:pt>
                <c:pt idx="708">
                  <c:v>-1.0630826486450782</c:v>
                </c:pt>
                <c:pt idx="709">
                  <c:v>-1.0630826486450782</c:v>
                </c:pt>
                <c:pt idx="710">
                  <c:v>-1.0630826486450782</c:v>
                </c:pt>
                <c:pt idx="711">
                  <c:v>-1.0630826486450782</c:v>
                </c:pt>
                <c:pt idx="712">
                  <c:v>-1.0630826486450782</c:v>
                </c:pt>
                <c:pt idx="713">
                  <c:v>-1.0630826486450782</c:v>
                </c:pt>
                <c:pt idx="714">
                  <c:v>-1.0630826486450782</c:v>
                </c:pt>
                <c:pt idx="715">
                  <c:v>-1.0630826486450782</c:v>
                </c:pt>
                <c:pt idx="716">
                  <c:v>-1.0630826486450782</c:v>
                </c:pt>
                <c:pt idx="717">
                  <c:v>-1.0630826486450782</c:v>
                </c:pt>
                <c:pt idx="718">
                  <c:v>-1.0630826486450782</c:v>
                </c:pt>
                <c:pt idx="719">
                  <c:v>-1.0630826486450782</c:v>
                </c:pt>
                <c:pt idx="720">
                  <c:v>-1.0630826486450782</c:v>
                </c:pt>
                <c:pt idx="721">
                  <c:v>-1.0630826486450782</c:v>
                </c:pt>
                <c:pt idx="722">
                  <c:v>-1.0630826486450782</c:v>
                </c:pt>
                <c:pt idx="723">
                  <c:v>-1.0630826486450782</c:v>
                </c:pt>
                <c:pt idx="724">
                  <c:v>-1.0630826486450782</c:v>
                </c:pt>
                <c:pt idx="725">
                  <c:v>-1.0630826486450782</c:v>
                </c:pt>
                <c:pt idx="726">
                  <c:v>-1.0630826486450782</c:v>
                </c:pt>
                <c:pt idx="727">
                  <c:v>-1.0630826486450782</c:v>
                </c:pt>
                <c:pt idx="728">
                  <c:v>-1.0630826486450782</c:v>
                </c:pt>
                <c:pt idx="729">
                  <c:v>-1.0630826486450782</c:v>
                </c:pt>
                <c:pt idx="730">
                  <c:v>-1.0630826486450782</c:v>
                </c:pt>
                <c:pt idx="731">
                  <c:v>-1.0630826486450782</c:v>
                </c:pt>
                <c:pt idx="732">
                  <c:v>-1.0630826486450782</c:v>
                </c:pt>
                <c:pt idx="733">
                  <c:v>-1.0630826486450782</c:v>
                </c:pt>
                <c:pt idx="734">
                  <c:v>-1.0630826486450782</c:v>
                </c:pt>
                <c:pt idx="735">
                  <c:v>-1.0630826486450782</c:v>
                </c:pt>
                <c:pt idx="736">
                  <c:v>-1.0630826486450782</c:v>
                </c:pt>
                <c:pt idx="737">
                  <c:v>-1.0630826486450782</c:v>
                </c:pt>
                <c:pt idx="738">
                  <c:v>-1.0630826486450782</c:v>
                </c:pt>
                <c:pt idx="739">
                  <c:v>-1.0630826486450782</c:v>
                </c:pt>
                <c:pt idx="740">
                  <c:v>-1.0630826486450782</c:v>
                </c:pt>
                <c:pt idx="741">
                  <c:v>-1.0630826486450782</c:v>
                </c:pt>
                <c:pt idx="742">
                  <c:v>-1.0630826486450782</c:v>
                </c:pt>
                <c:pt idx="743">
                  <c:v>-1.0630826486450782</c:v>
                </c:pt>
                <c:pt idx="744">
                  <c:v>-1.0630826486450782</c:v>
                </c:pt>
                <c:pt idx="745">
                  <c:v>-1.0630826486450782</c:v>
                </c:pt>
                <c:pt idx="746">
                  <c:v>-1.0630826486450782</c:v>
                </c:pt>
                <c:pt idx="747">
                  <c:v>-1.0630826486450782</c:v>
                </c:pt>
                <c:pt idx="748">
                  <c:v>-1.0630826486450782</c:v>
                </c:pt>
                <c:pt idx="749">
                  <c:v>-1.0630826486450782</c:v>
                </c:pt>
                <c:pt idx="750">
                  <c:v>-1.0630826486450782</c:v>
                </c:pt>
                <c:pt idx="751">
                  <c:v>-1.0630826486450782</c:v>
                </c:pt>
                <c:pt idx="752">
                  <c:v>-1.0630826486450782</c:v>
                </c:pt>
                <c:pt idx="753">
                  <c:v>-1.0630826486450782</c:v>
                </c:pt>
                <c:pt idx="754">
                  <c:v>-1.0630826486450782</c:v>
                </c:pt>
                <c:pt idx="755">
                  <c:v>-1.0630826486450782</c:v>
                </c:pt>
                <c:pt idx="756">
                  <c:v>-1.0630826486450782</c:v>
                </c:pt>
                <c:pt idx="757">
                  <c:v>-1.0630826486450782</c:v>
                </c:pt>
                <c:pt idx="758">
                  <c:v>-1.0630826486450782</c:v>
                </c:pt>
                <c:pt idx="759">
                  <c:v>-1.0630826486450782</c:v>
                </c:pt>
                <c:pt idx="760">
                  <c:v>-1.0630826486450782</c:v>
                </c:pt>
                <c:pt idx="761">
                  <c:v>-1.0630826486450782</c:v>
                </c:pt>
                <c:pt idx="762">
                  <c:v>-1.0630826486450782</c:v>
                </c:pt>
                <c:pt idx="763">
                  <c:v>-1.0630826486450782</c:v>
                </c:pt>
                <c:pt idx="764">
                  <c:v>-1.0630826486450782</c:v>
                </c:pt>
                <c:pt idx="765">
                  <c:v>-1.0630826486450782</c:v>
                </c:pt>
                <c:pt idx="766">
                  <c:v>-1.0630826486450782</c:v>
                </c:pt>
                <c:pt idx="767">
                  <c:v>-1.0630826486450782</c:v>
                </c:pt>
                <c:pt idx="768">
                  <c:v>-1.0630826486450782</c:v>
                </c:pt>
                <c:pt idx="769">
                  <c:v>-1.0630826486450782</c:v>
                </c:pt>
                <c:pt idx="770">
                  <c:v>-1.0630826486450782</c:v>
                </c:pt>
                <c:pt idx="771">
                  <c:v>-1.0630826486450782</c:v>
                </c:pt>
                <c:pt idx="772">
                  <c:v>-1.0630826486450782</c:v>
                </c:pt>
                <c:pt idx="773">
                  <c:v>-1.0630826486450782</c:v>
                </c:pt>
                <c:pt idx="774">
                  <c:v>-1.0630826486450782</c:v>
                </c:pt>
                <c:pt idx="775">
                  <c:v>-1.0630826486450782</c:v>
                </c:pt>
                <c:pt idx="776">
                  <c:v>-1.0630826486450782</c:v>
                </c:pt>
                <c:pt idx="777">
                  <c:v>-1.0630826486450782</c:v>
                </c:pt>
                <c:pt idx="778">
                  <c:v>-1.0630826486450782</c:v>
                </c:pt>
                <c:pt idx="779">
                  <c:v>-1.0630826486450782</c:v>
                </c:pt>
                <c:pt idx="780">
                  <c:v>-1.0630826486450782</c:v>
                </c:pt>
                <c:pt idx="781">
                  <c:v>-1.0630826486450782</c:v>
                </c:pt>
                <c:pt idx="782">
                  <c:v>-1.0630826486450782</c:v>
                </c:pt>
                <c:pt idx="783">
                  <c:v>-1.0630826486450782</c:v>
                </c:pt>
                <c:pt idx="784">
                  <c:v>-1.0630826486450782</c:v>
                </c:pt>
                <c:pt idx="785">
                  <c:v>-1.0630826486450782</c:v>
                </c:pt>
                <c:pt idx="786">
                  <c:v>-1.0630826486450782</c:v>
                </c:pt>
                <c:pt idx="787">
                  <c:v>-1.0630826486450782</c:v>
                </c:pt>
                <c:pt idx="788">
                  <c:v>-1.0630826486450782</c:v>
                </c:pt>
                <c:pt idx="789">
                  <c:v>-1.0630826486450782</c:v>
                </c:pt>
                <c:pt idx="790">
                  <c:v>-1.0630826486450782</c:v>
                </c:pt>
                <c:pt idx="791">
                  <c:v>-1.0630826486450782</c:v>
                </c:pt>
                <c:pt idx="792">
                  <c:v>-1.0630826486450782</c:v>
                </c:pt>
                <c:pt idx="793">
                  <c:v>-1.0630826486450782</c:v>
                </c:pt>
                <c:pt idx="794">
                  <c:v>-1.0630826486450782</c:v>
                </c:pt>
                <c:pt idx="795">
                  <c:v>-1.0630826486450782</c:v>
                </c:pt>
                <c:pt idx="796">
                  <c:v>-1.0630826486450782</c:v>
                </c:pt>
                <c:pt idx="797">
                  <c:v>-1.0630826486450782</c:v>
                </c:pt>
                <c:pt idx="798">
                  <c:v>-1.0630826486450782</c:v>
                </c:pt>
                <c:pt idx="799">
                  <c:v>-1.0630826486450782</c:v>
                </c:pt>
                <c:pt idx="800">
                  <c:v>-1.0630826486450782</c:v>
                </c:pt>
                <c:pt idx="801">
                  <c:v>-1.0630826486450782</c:v>
                </c:pt>
                <c:pt idx="802">
                  <c:v>-1.0630826486450782</c:v>
                </c:pt>
                <c:pt idx="803">
                  <c:v>-1.0630826486450782</c:v>
                </c:pt>
                <c:pt idx="804">
                  <c:v>-1.0630826486450782</c:v>
                </c:pt>
                <c:pt idx="805">
                  <c:v>-1.0630826486450782</c:v>
                </c:pt>
                <c:pt idx="806">
                  <c:v>-1.0630826486450782</c:v>
                </c:pt>
                <c:pt idx="807">
                  <c:v>-1.0630826486450782</c:v>
                </c:pt>
                <c:pt idx="808">
                  <c:v>-1.0630826486450782</c:v>
                </c:pt>
                <c:pt idx="809">
                  <c:v>-1.0630826486450782</c:v>
                </c:pt>
                <c:pt idx="810">
                  <c:v>-1.0630826486450782</c:v>
                </c:pt>
                <c:pt idx="811">
                  <c:v>-1.0630826486450782</c:v>
                </c:pt>
                <c:pt idx="812">
                  <c:v>-1.0630826486450782</c:v>
                </c:pt>
                <c:pt idx="813">
                  <c:v>-1.0630826486450782</c:v>
                </c:pt>
                <c:pt idx="814">
                  <c:v>-1.0630826486450782</c:v>
                </c:pt>
                <c:pt idx="815">
                  <c:v>-1.0630826486450782</c:v>
                </c:pt>
                <c:pt idx="816">
                  <c:v>-1.0630826486450782</c:v>
                </c:pt>
                <c:pt idx="817">
                  <c:v>-1.0630826486450782</c:v>
                </c:pt>
                <c:pt idx="818">
                  <c:v>-1.0630826486450782</c:v>
                </c:pt>
                <c:pt idx="819">
                  <c:v>-1.0630826486450782</c:v>
                </c:pt>
                <c:pt idx="820">
                  <c:v>-1.0630826486450782</c:v>
                </c:pt>
                <c:pt idx="821">
                  <c:v>-1.0630826486450782</c:v>
                </c:pt>
                <c:pt idx="822">
                  <c:v>-1.0630826486450782</c:v>
                </c:pt>
                <c:pt idx="823">
                  <c:v>-1.0630826486450782</c:v>
                </c:pt>
                <c:pt idx="824">
                  <c:v>-1.0630826486450782</c:v>
                </c:pt>
                <c:pt idx="825">
                  <c:v>-1.0630826486450782</c:v>
                </c:pt>
                <c:pt idx="826">
                  <c:v>-1.0630826486450782</c:v>
                </c:pt>
                <c:pt idx="827">
                  <c:v>-1.0630826486450782</c:v>
                </c:pt>
                <c:pt idx="828">
                  <c:v>-1.0630826486450782</c:v>
                </c:pt>
                <c:pt idx="829">
                  <c:v>-1.0630826486450782</c:v>
                </c:pt>
                <c:pt idx="830">
                  <c:v>-1.0630826486450782</c:v>
                </c:pt>
                <c:pt idx="831">
                  <c:v>-1.0630826486450782</c:v>
                </c:pt>
                <c:pt idx="832">
                  <c:v>-1.0630826486450782</c:v>
                </c:pt>
                <c:pt idx="833">
                  <c:v>-1.0630826486450782</c:v>
                </c:pt>
                <c:pt idx="834">
                  <c:v>-1.0630826486450782</c:v>
                </c:pt>
                <c:pt idx="835">
                  <c:v>-1.0630826486450782</c:v>
                </c:pt>
                <c:pt idx="836">
                  <c:v>-1.0630826486450782</c:v>
                </c:pt>
                <c:pt idx="837">
                  <c:v>-1.0630826486450782</c:v>
                </c:pt>
                <c:pt idx="838">
                  <c:v>-1.0630826486450782</c:v>
                </c:pt>
                <c:pt idx="839">
                  <c:v>-1.0630826486450782</c:v>
                </c:pt>
                <c:pt idx="840">
                  <c:v>-1.0630826486450782</c:v>
                </c:pt>
                <c:pt idx="841">
                  <c:v>-1.0630826486450782</c:v>
                </c:pt>
                <c:pt idx="842">
                  <c:v>-1.0630826486450782</c:v>
                </c:pt>
                <c:pt idx="843">
                  <c:v>-1.0630826486450782</c:v>
                </c:pt>
                <c:pt idx="844">
                  <c:v>-1.0630826486450782</c:v>
                </c:pt>
                <c:pt idx="845">
                  <c:v>-1.0630826486450782</c:v>
                </c:pt>
                <c:pt idx="846">
                  <c:v>-1.0630826486450782</c:v>
                </c:pt>
                <c:pt idx="847">
                  <c:v>-1.0630826486450782</c:v>
                </c:pt>
                <c:pt idx="848">
                  <c:v>-1.0630826486450782</c:v>
                </c:pt>
                <c:pt idx="849">
                  <c:v>-1.0630826486450782</c:v>
                </c:pt>
                <c:pt idx="850">
                  <c:v>-1.0630826486450782</c:v>
                </c:pt>
                <c:pt idx="851">
                  <c:v>-1.0630826486450782</c:v>
                </c:pt>
                <c:pt idx="852">
                  <c:v>-1.0630826486450782</c:v>
                </c:pt>
                <c:pt idx="853">
                  <c:v>-1.0630826486450782</c:v>
                </c:pt>
                <c:pt idx="854">
                  <c:v>-1.0630826486450782</c:v>
                </c:pt>
                <c:pt idx="855">
                  <c:v>-1.0630826486450782</c:v>
                </c:pt>
                <c:pt idx="856">
                  <c:v>-1.0630826486450782</c:v>
                </c:pt>
                <c:pt idx="857">
                  <c:v>-1.0630826486450782</c:v>
                </c:pt>
                <c:pt idx="858">
                  <c:v>-1.0630826486450782</c:v>
                </c:pt>
                <c:pt idx="859">
                  <c:v>-1.0630826486450782</c:v>
                </c:pt>
                <c:pt idx="860">
                  <c:v>-1.0630826486450782</c:v>
                </c:pt>
                <c:pt idx="861">
                  <c:v>-1.0630826486450782</c:v>
                </c:pt>
                <c:pt idx="862">
                  <c:v>-1.0630826486450782</c:v>
                </c:pt>
                <c:pt idx="863">
                  <c:v>-1.0630826486450782</c:v>
                </c:pt>
                <c:pt idx="864">
                  <c:v>-1.0630826486450782</c:v>
                </c:pt>
                <c:pt idx="865">
                  <c:v>-1.0630826486450782</c:v>
                </c:pt>
                <c:pt idx="866">
                  <c:v>-1.0630826486450782</c:v>
                </c:pt>
                <c:pt idx="867">
                  <c:v>-1.0630826486450782</c:v>
                </c:pt>
                <c:pt idx="868">
                  <c:v>-1.0630826486450782</c:v>
                </c:pt>
                <c:pt idx="869">
                  <c:v>-1.0630826486450782</c:v>
                </c:pt>
                <c:pt idx="870">
                  <c:v>-1.0630826486450782</c:v>
                </c:pt>
                <c:pt idx="871">
                  <c:v>-1.0630826486450782</c:v>
                </c:pt>
                <c:pt idx="872">
                  <c:v>-1.0630826486450782</c:v>
                </c:pt>
                <c:pt idx="873">
                  <c:v>-1.0630826486450782</c:v>
                </c:pt>
                <c:pt idx="874">
                  <c:v>-1.0630826486450782</c:v>
                </c:pt>
                <c:pt idx="875">
                  <c:v>-1.0630826486450782</c:v>
                </c:pt>
                <c:pt idx="876">
                  <c:v>-1.0630826486450782</c:v>
                </c:pt>
                <c:pt idx="877">
                  <c:v>-1.0630826486450782</c:v>
                </c:pt>
                <c:pt idx="878">
                  <c:v>-1.0630826486450782</c:v>
                </c:pt>
                <c:pt idx="879">
                  <c:v>-1.0630826486450782</c:v>
                </c:pt>
                <c:pt idx="880">
                  <c:v>-1.0630826486450782</c:v>
                </c:pt>
                <c:pt idx="881">
                  <c:v>-1.0630826486450782</c:v>
                </c:pt>
                <c:pt idx="882">
                  <c:v>-1.0630826486450782</c:v>
                </c:pt>
                <c:pt idx="883">
                  <c:v>-1.0630826486450782</c:v>
                </c:pt>
                <c:pt idx="884">
                  <c:v>-1.0630826486450782</c:v>
                </c:pt>
                <c:pt idx="885">
                  <c:v>-1.0630826486450782</c:v>
                </c:pt>
                <c:pt idx="886">
                  <c:v>-1.0630826486450782</c:v>
                </c:pt>
                <c:pt idx="887">
                  <c:v>-1.0630826486450782</c:v>
                </c:pt>
                <c:pt idx="888">
                  <c:v>-1.0630826486450782</c:v>
                </c:pt>
                <c:pt idx="889">
                  <c:v>-1.0630826486450782</c:v>
                </c:pt>
                <c:pt idx="890">
                  <c:v>-1.0630826486450782</c:v>
                </c:pt>
                <c:pt idx="891">
                  <c:v>-1.0630826486450782</c:v>
                </c:pt>
                <c:pt idx="892">
                  <c:v>-1.0630826486450782</c:v>
                </c:pt>
                <c:pt idx="893">
                  <c:v>-1.0630826486450782</c:v>
                </c:pt>
                <c:pt idx="894">
                  <c:v>-1.0630826486450782</c:v>
                </c:pt>
                <c:pt idx="895">
                  <c:v>-1.0630826486450782</c:v>
                </c:pt>
                <c:pt idx="896">
                  <c:v>-1.0630826486450782</c:v>
                </c:pt>
                <c:pt idx="897">
                  <c:v>-1.0630826486450782</c:v>
                </c:pt>
                <c:pt idx="898">
                  <c:v>-1.0630826486450782</c:v>
                </c:pt>
                <c:pt idx="899">
                  <c:v>-1.0630826486450782</c:v>
                </c:pt>
                <c:pt idx="900">
                  <c:v>-1.0630826486450782</c:v>
                </c:pt>
                <c:pt idx="901">
                  <c:v>-1.0630826486450782</c:v>
                </c:pt>
                <c:pt idx="902">
                  <c:v>-1.0630826486450782</c:v>
                </c:pt>
                <c:pt idx="903">
                  <c:v>-1.0630826486450782</c:v>
                </c:pt>
                <c:pt idx="904">
                  <c:v>-1.0630826486450782</c:v>
                </c:pt>
                <c:pt idx="905">
                  <c:v>-1.0630826486450782</c:v>
                </c:pt>
                <c:pt idx="906">
                  <c:v>-1.0630826486450782</c:v>
                </c:pt>
                <c:pt idx="907">
                  <c:v>-1.0630826486450782</c:v>
                </c:pt>
                <c:pt idx="908">
                  <c:v>-1.0630826486450782</c:v>
                </c:pt>
                <c:pt idx="909">
                  <c:v>-1.0630826486450782</c:v>
                </c:pt>
                <c:pt idx="910">
                  <c:v>-1.0630826486450782</c:v>
                </c:pt>
                <c:pt idx="911">
                  <c:v>-1.0630826486450782</c:v>
                </c:pt>
                <c:pt idx="912">
                  <c:v>-1.0630826486450782</c:v>
                </c:pt>
                <c:pt idx="913">
                  <c:v>-1.0630826486450782</c:v>
                </c:pt>
                <c:pt idx="914">
                  <c:v>-1.0630826486450782</c:v>
                </c:pt>
                <c:pt idx="915">
                  <c:v>-1.0630826486450782</c:v>
                </c:pt>
                <c:pt idx="916">
                  <c:v>-1.0630826486450782</c:v>
                </c:pt>
                <c:pt idx="917">
                  <c:v>-1.0630826486450782</c:v>
                </c:pt>
                <c:pt idx="918">
                  <c:v>-1.0630826486450782</c:v>
                </c:pt>
                <c:pt idx="919">
                  <c:v>-1.0630826486450782</c:v>
                </c:pt>
                <c:pt idx="920">
                  <c:v>-1.0630826486450782</c:v>
                </c:pt>
                <c:pt idx="921">
                  <c:v>-1.0630826486450782</c:v>
                </c:pt>
                <c:pt idx="922">
                  <c:v>-1.0630826486450782</c:v>
                </c:pt>
                <c:pt idx="923">
                  <c:v>-1.0630826486450782</c:v>
                </c:pt>
                <c:pt idx="924">
                  <c:v>-1.0630826486450782</c:v>
                </c:pt>
                <c:pt idx="925">
                  <c:v>-1.0630826486450782</c:v>
                </c:pt>
                <c:pt idx="926">
                  <c:v>-1.0630826486450782</c:v>
                </c:pt>
                <c:pt idx="927">
                  <c:v>-1.0630826486450782</c:v>
                </c:pt>
                <c:pt idx="928">
                  <c:v>-1.0630826486450782</c:v>
                </c:pt>
                <c:pt idx="929">
                  <c:v>-1.0630826486450782</c:v>
                </c:pt>
                <c:pt idx="930">
                  <c:v>-1.0630826486450782</c:v>
                </c:pt>
                <c:pt idx="931">
                  <c:v>-1.0630826486450782</c:v>
                </c:pt>
                <c:pt idx="932">
                  <c:v>-1.0630826486450782</c:v>
                </c:pt>
                <c:pt idx="933">
                  <c:v>-1.0630826486450782</c:v>
                </c:pt>
                <c:pt idx="934">
                  <c:v>-1.0630826486450782</c:v>
                </c:pt>
                <c:pt idx="935">
                  <c:v>-1.0630826486450782</c:v>
                </c:pt>
                <c:pt idx="936">
                  <c:v>-1.0630826486450782</c:v>
                </c:pt>
                <c:pt idx="937">
                  <c:v>-1.0630826486450782</c:v>
                </c:pt>
                <c:pt idx="938">
                  <c:v>-1.0630826486450782</c:v>
                </c:pt>
                <c:pt idx="939">
                  <c:v>-1.0630826486450782</c:v>
                </c:pt>
                <c:pt idx="940">
                  <c:v>-1.0630826486450782</c:v>
                </c:pt>
                <c:pt idx="941">
                  <c:v>-1.0630826486450782</c:v>
                </c:pt>
                <c:pt idx="942">
                  <c:v>-1.0630826486450782</c:v>
                </c:pt>
                <c:pt idx="943">
                  <c:v>-1.0630826486450782</c:v>
                </c:pt>
                <c:pt idx="944">
                  <c:v>-1.0630826486450782</c:v>
                </c:pt>
                <c:pt idx="945">
                  <c:v>-1.0630826486450782</c:v>
                </c:pt>
                <c:pt idx="946">
                  <c:v>-1.0630826486450782</c:v>
                </c:pt>
                <c:pt idx="947">
                  <c:v>-1.0630826486450782</c:v>
                </c:pt>
                <c:pt idx="948">
                  <c:v>-1.0630826486450782</c:v>
                </c:pt>
                <c:pt idx="949">
                  <c:v>-1.0630826486450782</c:v>
                </c:pt>
                <c:pt idx="950">
                  <c:v>-1.0630826486450782</c:v>
                </c:pt>
                <c:pt idx="951">
                  <c:v>-1.0630826486450782</c:v>
                </c:pt>
                <c:pt idx="952">
                  <c:v>-1.0630826486450782</c:v>
                </c:pt>
                <c:pt idx="953">
                  <c:v>-1.0630826486450782</c:v>
                </c:pt>
                <c:pt idx="954">
                  <c:v>-1.0630826486450782</c:v>
                </c:pt>
                <c:pt idx="955">
                  <c:v>-1.0630826486450782</c:v>
                </c:pt>
                <c:pt idx="956">
                  <c:v>-1.0630826486450782</c:v>
                </c:pt>
                <c:pt idx="957">
                  <c:v>-1.0630826486450782</c:v>
                </c:pt>
                <c:pt idx="958">
                  <c:v>-1.0630826486450782</c:v>
                </c:pt>
                <c:pt idx="959">
                  <c:v>-1.0630826486450782</c:v>
                </c:pt>
                <c:pt idx="960">
                  <c:v>-1.0630826486450782</c:v>
                </c:pt>
                <c:pt idx="961">
                  <c:v>-1.0630826486450782</c:v>
                </c:pt>
                <c:pt idx="962">
                  <c:v>-1.0630826486450782</c:v>
                </c:pt>
                <c:pt idx="963">
                  <c:v>-1.0630826486450782</c:v>
                </c:pt>
                <c:pt idx="964">
                  <c:v>-1.0630826486450782</c:v>
                </c:pt>
                <c:pt idx="965">
                  <c:v>-1.0630826486450782</c:v>
                </c:pt>
                <c:pt idx="966">
                  <c:v>-1.0630826486450782</c:v>
                </c:pt>
                <c:pt idx="967">
                  <c:v>-1.0630826486450782</c:v>
                </c:pt>
                <c:pt idx="968">
                  <c:v>-1.0630826486450782</c:v>
                </c:pt>
                <c:pt idx="969">
                  <c:v>-1.0630826486450782</c:v>
                </c:pt>
                <c:pt idx="970">
                  <c:v>-1.0630826486450782</c:v>
                </c:pt>
                <c:pt idx="971">
                  <c:v>-1.0630826486450782</c:v>
                </c:pt>
                <c:pt idx="972">
                  <c:v>-1.0630826486450782</c:v>
                </c:pt>
                <c:pt idx="973">
                  <c:v>-1.0630826486450782</c:v>
                </c:pt>
                <c:pt idx="974">
                  <c:v>-1.0630826486450782</c:v>
                </c:pt>
                <c:pt idx="975">
                  <c:v>-1.0630826486450782</c:v>
                </c:pt>
                <c:pt idx="976">
                  <c:v>-1.0630826486450782</c:v>
                </c:pt>
                <c:pt idx="977">
                  <c:v>-1.0630826486450782</c:v>
                </c:pt>
                <c:pt idx="978">
                  <c:v>-1.0630826486450782</c:v>
                </c:pt>
                <c:pt idx="979">
                  <c:v>-1.0630826486450782</c:v>
                </c:pt>
                <c:pt idx="980">
                  <c:v>-1.0630826486450782</c:v>
                </c:pt>
                <c:pt idx="981">
                  <c:v>-1.0630826486450782</c:v>
                </c:pt>
                <c:pt idx="982">
                  <c:v>-1.0630826486450782</c:v>
                </c:pt>
                <c:pt idx="983">
                  <c:v>-1.0630826486450782</c:v>
                </c:pt>
                <c:pt idx="984">
                  <c:v>-1.0630826486450782</c:v>
                </c:pt>
                <c:pt idx="985">
                  <c:v>-1.0630826486450782</c:v>
                </c:pt>
                <c:pt idx="986">
                  <c:v>-1.0630826486450782</c:v>
                </c:pt>
                <c:pt idx="987">
                  <c:v>-1.0630826486450782</c:v>
                </c:pt>
                <c:pt idx="988">
                  <c:v>-1.0630826486450782</c:v>
                </c:pt>
                <c:pt idx="989">
                  <c:v>-1.0630826486450782</c:v>
                </c:pt>
                <c:pt idx="990">
                  <c:v>-1.0630826486450782</c:v>
                </c:pt>
                <c:pt idx="991">
                  <c:v>-1.0630826486450782</c:v>
                </c:pt>
                <c:pt idx="992">
                  <c:v>-1.0630826486450782</c:v>
                </c:pt>
                <c:pt idx="993">
                  <c:v>-1.0630826486450782</c:v>
                </c:pt>
                <c:pt idx="994">
                  <c:v>-1.0630826486450782</c:v>
                </c:pt>
                <c:pt idx="995">
                  <c:v>-1.0630826486450782</c:v>
                </c:pt>
                <c:pt idx="996">
                  <c:v>-1.0630826486450782</c:v>
                </c:pt>
                <c:pt idx="997">
                  <c:v>-1.0630826486450782</c:v>
                </c:pt>
                <c:pt idx="998">
                  <c:v>-1.0630826486450782</c:v>
                </c:pt>
                <c:pt idx="999">
                  <c:v>-1.0630826486450782</c:v>
                </c:pt>
                <c:pt idx="1000">
                  <c:v>-1.0630826486450782</c:v>
                </c:pt>
                <c:pt idx="1001">
                  <c:v>-1.0630826486450782</c:v>
                </c:pt>
                <c:pt idx="1002">
                  <c:v>-1.0630826486450782</c:v>
                </c:pt>
                <c:pt idx="1003">
                  <c:v>-1.0630826486450782</c:v>
                </c:pt>
                <c:pt idx="1004">
                  <c:v>-1.0630826486450782</c:v>
                </c:pt>
                <c:pt idx="1005">
                  <c:v>-1.0630826486450782</c:v>
                </c:pt>
                <c:pt idx="1006">
                  <c:v>-1.0630826486450782</c:v>
                </c:pt>
                <c:pt idx="1007">
                  <c:v>-1.0630826486450782</c:v>
                </c:pt>
                <c:pt idx="1008">
                  <c:v>-1.0630826486450782</c:v>
                </c:pt>
                <c:pt idx="1009">
                  <c:v>-1.0630826486450782</c:v>
                </c:pt>
                <c:pt idx="1010">
                  <c:v>-1.0630826486450782</c:v>
                </c:pt>
                <c:pt idx="1011">
                  <c:v>-1.0630826486450782</c:v>
                </c:pt>
                <c:pt idx="1012">
                  <c:v>-1.0630826486450782</c:v>
                </c:pt>
                <c:pt idx="1013">
                  <c:v>-1.0630826486450782</c:v>
                </c:pt>
                <c:pt idx="1014">
                  <c:v>-1.0630826486450782</c:v>
                </c:pt>
                <c:pt idx="1015">
                  <c:v>-1.0630826486450782</c:v>
                </c:pt>
                <c:pt idx="1016">
                  <c:v>-1.0630826486450782</c:v>
                </c:pt>
                <c:pt idx="1017">
                  <c:v>-1.0630826486450782</c:v>
                </c:pt>
                <c:pt idx="1018">
                  <c:v>-1.0630826486450782</c:v>
                </c:pt>
                <c:pt idx="1019">
                  <c:v>-1.0630826486450782</c:v>
                </c:pt>
                <c:pt idx="1020">
                  <c:v>-1.0630826486450782</c:v>
                </c:pt>
                <c:pt idx="1021">
                  <c:v>-1.0630826486450782</c:v>
                </c:pt>
                <c:pt idx="1022">
                  <c:v>-1.0630826486450782</c:v>
                </c:pt>
                <c:pt idx="1023">
                  <c:v>-1.0630826486450782</c:v>
                </c:pt>
                <c:pt idx="1024">
                  <c:v>-1.0630826486450782</c:v>
                </c:pt>
                <c:pt idx="1025">
                  <c:v>-1.0630826486450782</c:v>
                </c:pt>
                <c:pt idx="1026">
                  <c:v>-1.0630826486450782</c:v>
                </c:pt>
                <c:pt idx="1027">
                  <c:v>-1.0630826486450782</c:v>
                </c:pt>
                <c:pt idx="1028">
                  <c:v>-1.0630826486450782</c:v>
                </c:pt>
                <c:pt idx="1029">
                  <c:v>-1.0630826486450782</c:v>
                </c:pt>
                <c:pt idx="1030">
                  <c:v>-1.0630826486450782</c:v>
                </c:pt>
                <c:pt idx="1031">
                  <c:v>-1.0630826486450782</c:v>
                </c:pt>
                <c:pt idx="1032">
                  <c:v>-1.0630826486450782</c:v>
                </c:pt>
                <c:pt idx="1033">
                  <c:v>-1.0630826486450782</c:v>
                </c:pt>
                <c:pt idx="1034">
                  <c:v>-1.0630826486450782</c:v>
                </c:pt>
                <c:pt idx="1035">
                  <c:v>-1.0630826486450782</c:v>
                </c:pt>
                <c:pt idx="1036">
                  <c:v>-1.0630826486450782</c:v>
                </c:pt>
                <c:pt idx="1037">
                  <c:v>-1.0630826486450782</c:v>
                </c:pt>
                <c:pt idx="1038">
                  <c:v>-1.0630826486450782</c:v>
                </c:pt>
                <c:pt idx="1039">
                  <c:v>-1.0630826486450782</c:v>
                </c:pt>
                <c:pt idx="1040">
                  <c:v>-1.0630826486450782</c:v>
                </c:pt>
                <c:pt idx="1041">
                  <c:v>-1.0630826486450782</c:v>
                </c:pt>
                <c:pt idx="1042">
                  <c:v>-1.0630826486450782</c:v>
                </c:pt>
                <c:pt idx="1043">
                  <c:v>-1.0630826486450782</c:v>
                </c:pt>
                <c:pt idx="1044">
                  <c:v>-1.0630826486450782</c:v>
                </c:pt>
                <c:pt idx="1045">
                  <c:v>-1.0630826486450782</c:v>
                </c:pt>
                <c:pt idx="1046">
                  <c:v>-1.0630826486450782</c:v>
                </c:pt>
                <c:pt idx="1047">
                  <c:v>-1.0630826486450782</c:v>
                </c:pt>
                <c:pt idx="1048">
                  <c:v>-1.0630826486450782</c:v>
                </c:pt>
                <c:pt idx="1049">
                  <c:v>-1.0630826486450782</c:v>
                </c:pt>
                <c:pt idx="1050">
                  <c:v>-1.0630826486450782</c:v>
                </c:pt>
                <c:pt idx="1051">
                  <c:v>-1.0630826486450782</c:v>
                </c:pt>
                <c:pt idx="1052">
                  <c:v>-1.0630826486450782</c:v>
                </c:pt>
                <c:pt idx="1053">
                  <c:v>-1.0630826486450782</c:v>
                </c:pt>
                <c:pt idx="1054">
                  <c:v>-1.0630826486450782</c:v>
                </c:pt>
                <c:pt idx="1055">
                  <c:v>-1.0630826486450782</c:v>
                </c:pt>
                <c:pt idx="1056">
                  <c:v>-1.0630826486450782</c:v>
                </c:pt>
                <c:pt idx="1057">
                  <c:v>-1.0630826486450782</c:v>
                </c:pt>
                <c:pt idx="1058">
                  <c:v>-1.0630826486450782</c:v>
                </c:pt>
                <c:pt idx="1059">
                  <c:v>-1.0630826486450782</c:v>
                </c:pt>
                <c:pt idx="1060">
                  <c:v>-1.0630826486450782</c:v>
                </c:pt>
                <c:pt idx="1061">
                  <c:v>-1.0630826486450782</c:v>
                </c:pt>
                <c:pt idx="1062">
                  <c:v>-1.0630826486450782</c:v>
                </c:pt>
                <c:pt idx="1063">
                  <c:v>-1.0630826486450782</c:v>
                </c:pt>
                <c:pt idx="1064">
                  <c:v>-1.0630826486450782</c:v>
                </c:pt>
                <c:pt idx="1065">
                  <c:v>-1.0630826486450782</c:v>
                </c:pt>
                <c:pt idx="1066">
                  <c:v>-1.0630826486450782</c:v>
                </c:pt>
                <c:pt idx="1067">
                  <c:v>-1.0630826486450782</c:v>
                </c:pt>
                <c:pt idx="1068">
                  <c:v>-1.0630826486450782</c:v>
                </c:pt>
                <c:pt idx="1069">
                  <c:v>-1.0630826486450782</c:v>
                </c:pt>
                <c:pt idx="1070">
                  <c:v>-1.0630826486450782</c:v>
                </c:pt>
                <c:pt idx="1071">
                  <c:v>-1.0630826486450782</c:v>
                </c:pt>
                <c:pt idx="1072">
                  <c:v>-1.0630826486450782</c:v>
                </c:pt>
                <c:pt idx="1073">
                  <c:v>-1.0630826486450782</c:v>
                </c:pt>
                <c:pt idx="1074">
                  <c:v>-1.0630826486450782</c:v>
                </c:pt>
                <c:pt idx="1075">
                  <c:v>-1.0630826486450782</c:v>
                </c:pt>
                <c:pt idx="1076">
                  <c:v>-1.0630826486450782</c:v>
                </c:pt>
                <c:pt idx="1077">
                  <c:v>-1.0630826486450782</c:v>
                </c:pt>
                <c:pt idx="1078">
                  <c:v>-1.0630826486450782</c:v>
                </c:pt>
                <c:pt idx="1079">
                  <c:v>-1.0630826486450782</c:v>
                </c:pt>
                <c:pt idx="1080">
                  <c:v>-1.0630826486450782</c:v>
                </c:pt>
                <c:pt idx="1081">
                  <c:v>-1.0630826486450782</c:v>
                </c:pt>
                <c:pt idx="1082">
                  <c:v>-1.0630826486450782</c:v>
                </c:pt>
                <c:pt idx="1083">
                  <c:v>-1.0630826486450782</c:v>
                </c:pt>
                <c:pt idx="1084">
                  <c:v>-1.0630826486450782</c:v>
                </c:pt>
                <c:pt idx="1085">
                  <c:v>-1.0630826486450782</c:v>
                </c:pt>
                <c:pt idx="1086">
                  <c:v>-1.0630826486450782</c:v>
                </c:pt>
                <c:pt idx="1087">
                  <c:v>-1.0630826486450782</c:v>
                </c:pt>
                <c:pt idx="1088">
                  <c:v>-1.0630826486450782</c:v>
                </c:pt>
                <c:pt idx="1089">
                  <c:v>-1.0630826486450782</c:v>
                </c:pt>
                <c:pt idx="1090">
                  <c:v>-1.0630826486450782</c:v>
                </c:pt>
                <c:pt idx="1091">
                  <c:v>-1.0630826486450782</c:v>
                </c:pt>
                <c:pt idx="1092">
                  <c:v>-1.0630826486450782</c:v>
                </c:pt>
                <c:pt idx="1093">
                  <c:v>-1.0630826486450782</c:v>
                </c:pt>
                <c:pt idx="1094">
                  <c:v>-1.0630826486450782</c:v>
                </c:pt>
                <c:pt idx="1095">
                  <c:v>-1.0630826486450782</c:v>
                </c:pt>
                <c:pt idx="1096">
                  <c:v>-1.0630826486450782</c:v>
                </c:pt>
                <c:pt idx="1097">
                  <c:v>-1.0630826486450782</c:v>
                </c:pt>
                <c:pt idx="1098">
                  <c:v>-1.0630826486450782</c:v>
                </c:pt>
                <c:pt idx="1099">
                  <c:v>-1.0630826486450782</c:v>
                </c:pt>
                <c:pt idx="1100">
                  <c:v>-1.0630826486450782</c:v>
                </c:pt>
                <c:pt idx="1101">
                  <c:v>-1.0630826486450782</c:v>
                </c:pt>
                <c:pt idx="1102">
                  <c:v>-1.0630826486450782</c:v>
                </c:pt>
                <c:pt idx="1103">
                  <c:v>-1.0630826486450782</c:v>
                </c:pt>
                <c:pt idx="1104">
                  <c:v>-1.0630826486450782</c:v>
                </c:pt>
                <c:pt idx="1105">
                  <c:v>-1.0630826486450782</c:v>
                </c:pt>
                <c:pt idx="1106">
                  <c:v>-1.0630826486450782</c:v>
                </c:pt>
                <c:pt idx="1107">
                  <c:v>-1.0630826486450782</c:v>
                </c:pt>
                <c:pt idx="1108">
                  <c:v>-1.0630826486450782</c:v>
                </c:pt>
                <c:pt idx="1109">
                  <c:v>-1.0630826486450782</c:v>
                </c:pt>
                <c:pt idx="1110">
                  <c:v>-1.0630826486450782</c:v>
                </c:pt>
                <c:pt idx="1111">
                  <c:v>-1.0630826486450782</c:v>
                </c:pt>
                <c:pt idx="1112">
                  <c:v>-1.0630826486450782</c:v>
                </c:pt>
                <c:pt idx="1113">
                  <c:v>-1.0630826486450782</c:v>
                </c:pt>
                <c:pt idx="1114">
                  <c:v>-1.0630826486450782</c:v>
                </c:pt>
                <c:pt idx="1115">
                  <c:v>-1.0630826486450782</c:v>
                </c:pt>
                <c:pt idx="1116">
                  <c:v>-1.0630826486450782</c:v>
                </c:pt>
                <c:pt idx="1117">
                  <c:v>-1.0630826486450782</c:v>
                </c:pt>
                <c:pt idx="1118">
                  <c:v>-1.0630826486450782</c:v>
                </c:pt>
                <c:pt idx="1119">
                  <c:v>-1.0630826486450782</c:v>
                </c:pt>
                <c:pt idx="1120">
                  <c:v>-1.0630826486450782</c:v>
                </c:pt>
                <c:pt idx="1121">
                  <c:v>-1.0630826486450782</c:v>
                </c:pt>
                <c:pt idx="1122">
                  <c:v>-1.0630826486450782</c:v>
                </c:pt>
                <c:pt idx="1123">
                  <c:v>-1.0630826486450782</c:v>
                </c:pt>
                <c:pt idx="1124">
                  <c:v>-1.0630826486450782</c:v>
                </c:pt>
                <c:pt idx="1125">
                  <c:v>-1.0630826486450782</c:v>
                </c:pt>
                <c:pt idx="1126">
                  <c:v>-1.0630826486450782</c:v>
                </c:pt>
                <c:pt idx="1127">
                  <c:v>-1.0630826486450782</c:v>
                </c:pt>
                <c:pt idx="1128">
                  <c:v>-1.0630826486450782</c:v>
                </c:pt>
                <c:pt idx="1129">
                  <c:v>-1.0630826486450782</c:v>
                </c:pt>
                <c:pt idx="1130">
                  <c:v>-1.0630826486450782</c:v>
                </c:pt>
                <c:pt idx="1131">
                  <c:v>-1.0630826486450782</c:v>
                </c:pt>
                <c:pt idx="1132">
                  <c:v>-1.0630826486450782</c:v>
                </c:pt>
                <c:pt idx="1133">
                  <c:v>-1.0630826486450782</c:v>
                </c:pt>
                <c:pt idx="1134">
                  <c:v>-1.0630826486450782</c:v>
                </c:pt>
                <c:pt idx="1135">
                  <c:v>-1.0630826486450782</c:v>
                </c:pt>
                <c:pt idx="1136">
                  <c:v>-1.0630826486450782</c:v>
                </c:pt>
                <c:pt idx="1137">
                  <c:v>-1.0630826486450782</c:v>
                </c:pt>
                <c:pt idx="1138">
                  <c:v>-1.0630826486450782</c:v>
                </c:pt>
                <c:pt idx="1139">
                  <c:v>-1.0630826486450782</c:v>
                </c:pt>
                <c:pt idx="1140">
                  <c:v>-1.0630826486450782</c:v>
                </c:pt>
                <c:pt idx="1141">
                  <c:v>-1.0630826486450782</c:v>
                </c:pt>
                <c:pt idx="1142">
                  <c:v>-1.0630826486450782</c:v>
                </c:pt>
                <c:pt idx="1143">
                  <c:v>-1.0630826486450782</c:v>
                </c:pt>
                <c:pt idx="1144">
                  <c:v>-1.0630826486450782</c:v>
                </c:pt>
                <c:pt idx="1145">
                  <c:v>-1.0630826486450782</c:v>
                </c:pt>
                <c:pt idx="1146">
                  <c:v>-1.0630826486450782</c:v>
                </c:pt>
                <c:pt idx="1147">
                  <c:v>-1.0630826486450782</c:v>
                </c:pt>
                <c:pt idx="1148">
                  <c:v>-1.0630826486450782</c:v>
                </c:pt>
                <c:pt idx="1149">
                  <c:v>-1.0630826486450782</c:v>
                </c:pt>
                <c:pt idx="1150">
                  <c:v>-1.0630826486450782</c:v>
                </c:pt>
                <c:pt idx="1151">
                  <c:v>-1.0630826486450782</c:v>
                </c:pt>
                <c:pt idx="1152">
                  <c:v>-1.0630826486450782</c:v>
                </c:pt>
                <c:pt idx="1153">
                  <c:v>-1.0630826486450782</c:v>
                </c:pt>
                <c:pt idx="1154">
                  <c:v>-1.0630826486450782</c:v>
                </c:pt>
                <c:pt idx="1155">
                  <c:v>-1.0630826486450782</c:v>
                </c:pt>
                <c:pt idx="1156">
                  <c:v>-1.0630826486450782</c:v>
                </c:pt>
                <c:pt idx="1157">
                  <c:v>-1.0630826486450782</c:v>
                </c:pt>
                <c:pt idx="1158">
                  <c:v>-1.0630826486450782</c:v>
                </c:pt>
                <c:pt idx="1159">
                  <c:v>-1.0630826486450782</c:v>
                </c:pt>
                <c:pt idx="1160">
                  <c:v>-1.0630826486450782</c:v>
                </c:pt>
                <c:pt idx="1161">
                  <c:v>-1.0630826486450782</c:v>
                </c:pt>
                <c:pt idx="1162">
                  <c:v>-1.0630826486450782</c:v>
                </c:pt>
                <c:pt idx="1163">
                  <c:v>-1.0630826486450782</c:v>
                </c:pt>
                <c:pt idx="1164">
                  <c:v>-1.0630826486450782</c:v>
                </c:pt>
                <c:pt idx="1165">
                  <c:v>-1.0630826486450782</c:v>
                </c:pt>
                <c:pt idx="1166">
                  <c:v>-1.0630826486450782</c:v>
                </c:pt>
                <c:pt idx="1167">
                  <c:v>-1.0630826486450782</c:v>
                </c:pt>
                <c:pt idx="1168">
                  <c:v>-1.0630826486450782</c:v>
                </c:pt>
                <c:pt idx="1169">
                  <c:v>-1.0630826486450782</c:v>
                </c:pt>
                <c:pt idx="1170">
                  <c:v>-1.0630826486450782</c:v>
                </c:pt>
                <c:pt idx="1171">
                  <c:v>-1.0630826486450782</c:v>
                </c:pt>
                <c:pt idx="1172">
                  <c:v>-1.0630826486450782</c:v>
                </c:pt>
                <c:pt idx="1173">
                  <c:v>-1.0630826486450782</c:v>
                </c:pt>
                <c:pt idx="1174">
                  <c:v>-1.0630826486450782</c:v>
                </c:pt>
                <c:pt idx="1175">
                  <c:v>-1.0630826486450782</c:v>
                </c:pt>
                <c:pt idx="1176">
                  <c:v>-1.0630826486450782</c:v>
                </c:pt>
                <c:pt idx="1177">
                  <c:v>-1.0630826486450782</c:v>
                </c:pt>
                <c:pt idx="1178">
                  <c:v>-1.0630826486450782</c:v>
                </c:pt>
                <c:pt idx="1179">
                  <c:v>-1.0630826486450782</c:v>
                </c:pt>
                <c:pt idx="1180">
                  <c:v>-1.0630826486450782</c:v>
                </c:pt>
                <c:pt idx="1181">
                  <c:v>-1.0630826486450782</c:v>
                </c:pt>
                <c:pt idx="1182">
                  <c:v>-1.0630826486450782</c:v>
                </c:pt>
                <c:pt idx="1183">
                  <c:v>-1.0630826486450782</c:v>
                </c:pt>
                <c:pt idx="1184">
                  <c:v>-1.0630826486450782</c:v>
                </c:pt>
                <c:pt idx="1185">
                  <c:v>-1.0630826486450782</c:v>
                </c:pt>
                <c:pt idx="1186">
                  <c:v>-1.0630826486450782</c:v>
                </c:pt>
                <c:pt idx="1187">
                  <c:v>-1.0630826486450782</c:v>
                </c:pt>
                <c:pt idx="1188">
                  <c:v>-1.0630826486450782</c:v>
                </c:pt>
                <c:pt idx="1189">
                  <c:v>-1.0630826486450782</c:v>
                </c:pt>
                <c:pt idx="1190">
                  <c:v>-1.0630826486450782</c:v>
                </c:pt>
                <c:pt idx="1191">
                  <c:v>-1.0630826486450782</c:v>
                </c:pt>
                <c:pt idx="1192">
                  <c:v>-1.0630826486450782</c:v>
                </c:pt>
                <c:pt idx="1193">
                  <c:v>-1.0630826486450782</c:v>
                </c:pt>
                <c:pt idx="1194">
                  <c:v>-1.0630826486450782</c:v>
                </c:pt>
                <c:pt idx="1195">
                  <c:v>-1.0630826486450782</c:v>
                </c:pt>
                <c:pt idx="1196">
                  <c:v>-1.0630826486450782</c:v>
                </c:pt>
                <c:pt idx="1197">
                  <c:v>-1.0630826486450782</c:v>
                </c:pt>
                <c:pt idx="1198">
                  <c:v>-1.0630826486450782</c:v>
                </c:pt>
                <c:pt idx="1199">
                  <c:v>-1.0630826486450782</c:v>
                </c:pt>
                <c:pt idx="1200">
                  <c:v>-1.0630826486450782</c:v>
                </c:pt>
                <c:pt idx="1201">
                  <c:v>-1.0630826486450782</c:v>
                </c:pt>
                <c:pt idx="1202">
                  <c:v>-1.0630826486450782</c:v>
                </c:pt>
                <c:pt idx="1203">
                  <c:v>-1.0630826486450782</c:v>
                </c:pt>
                <c:pt idx="1204">
                  <c:v>-1.0630826486450782</c:v>
                </c:pt>
                <c:pt idx="1205">
                  <c:v>-1.0630826486450782</c:v>
                </c:pt>
                <c:pt idx="1206">
                  <c:v>-1.0630826486450782</c:v>
                </c:pt>
                <c:pt idx="1207">
                  <c:v>-1.0630826486450782</c:v>
                </c:pt>
                <c:pt idx="1208">
                  <c:v>-1.0630826486450782</c:v>
                </c:pt>
                <c:pt idx="1209">
                  <c:v>-1.0630826486450782</c:v>
                </c:pt>
                <c:pt idx="1210">
                  <c:v>-1.0630826486450782</c:v>
                </c:pt>
                <c:pt idx="1211">
                  <c:v>-1.0630826486450782</c:v>
                </c:pt>
                <c:pt idx="1212">
                  <c:v>-1.0630826486450782</c:v>
                </c:pt>
                <c:pt idx="1213">
                  <c:v>-1.0630826486450782</c:v>
                </c:pt>
                <c:pt idx="1214">
                  <c:v>-1.0630826486450782</c:v>
                </c:pt>
                <c:pt idx="1215">
                  <c:v>-1.0630826486450782</c:v>
                </c:pt>
                <c:pt idx="1216">
                  <c:v>-1.0630826486450782</c:v>
                </c:pt>
                <c:pt idx="1217">
                  <c:v>-1.0630826486450782</c:v>
                </c:pt>
                <c:pt idx="1218">
                  <c:v>-1.0630826486450782</c:v>
                </c:pt>
                <c:pt idx="1219">
                  <c:v>-1.0630826486450782</c:v>
                </c:pt>
                <c:pt idx="1220">
                  <c:v>-1.0630826486450782</c:v>
                </c:pt>
                <c:pt idx="1221">
                  <c:v>-1.0630826486450782</c:v>
                </c:pt>
                <c:pt idx="1222">
                  <c:v>-1.0630826486450782</c:v>
                </c:pt>
                <c:pt idx="1223">
                  <c:v>-1.0630826486450782</c:v>
                </c:pt>
                <c:pt idx="1224">
                  <c:v>-1.0630826486450782</c:v>
                </c:pt>
                <c:pt idx="1225">
                  <c:v>-1.0630826486450782</c:v>
                </c:pt>
                <c:pt idx="1226">
                  <c:v>-1.0630826486450782</c:v>
                </c:pt>
                <c:pt idx="1227">
                  <c:v>-1.0630826486450782</c:v>
                </c:pt>
                <c:pt idx="1228">
                  <c:v>-1.0630826486450782</c:v>
                </c:pt>
                <c:pt idx="1229">
                  <c:v>-1.0630826486450782</c:v>
                </c:pt>
                <c:pt idx="1230">
                  <c:v>-1.0630826486450782</c:v>
                </c:pt>
                <c:pt idx="1231">
                  <c:v>-1.0630826486450782</c:v>
                </c:pt>
                <c:pt idx="1232">
                  <c:v>-1.0630826486450782</c:v>
                </c:pt>
                <c:pt idx="1233">
                  <c:v>-1.0630826486450782</c:v>
                </c:pt>
                <c:pt idx="1234">
                  <c:v>-1.0630826486450782</c:v>
                </c:pt>
                <c:pt idx="1235">
                  <c:v>-1.0630826486450782</c:v>
                </c:pt>
                <c:pt idx="1236">
                  <c:v>-1.0630826486450782</c:v>
                </c:pt>
                <c:pt idx="1237">
                  <c:v>-1.0630826486450782</c:v>
                </c:pt>
                <c:pt idx="1238">
                  <c:v>-1.0630826486450782</c:v>
                </c:pt>
                <c:pt idx="1239">
                  <c:v>-1.0630826486450782</c:v>
                </c:pt>
                <c:pt idx="1240">
                  <c:v>-1.0630826486450782</c:v>
                </c:pt>
                <c:pt idx="1241">
                  <c:v>-1.0630826486450782</c:v>
                </c:pt>
                <c:pt idx="1242">
                  <c:v>-1.0630826486450782</c:v>
                </c:pt>
                <c:pt idx="1243">
                  <c:v>-1.0630826486450782</c:v>
                </c:pt>
                <c:pt idx="1244">
                  <c:v>-1.0630826486450782</c:v>
                </c:pt>
                <c:pt idx="1245">
                  <c:v>-1.0630826486450782</c:v>
                </c:pt>
                <c:pt idx="1246">
                  <c:v>-1.0630826486450782</c:v>
                </c:pt>
                <c:pt idx="1247">
                  <c:v>-1.0630826486450782</c:v>
                </c:pt>
                <c:pt idx="1248">
                  <c:v>-1.0630826486450782</c:v>
                </c:pt>
                <c:pt idx="1249">
                  <c:v>-1.0630826486450782</c:v>
                </c:pt>
                <c:pt idx="1250">
                  <c:v>-1.0630826486450782</c:v>
                </c:pt>
                <c:pt idx="1251">
                  <c:v>-1.0630826486450782</c:v>
                </c:pt>
                <c:pt idx="1252">
                  <c:v>-1.0630826486450782</c:v>
                </c:pt>
                <c:pt idx="1253">
                  <c:v>-1.0630826486450782</c:v>
                </c:pt>
                <c:pt idx="1254">
                  <c:v>-1.0630826486450782</c:v>
                </c:pt>
                <c:pt idx="1255">
                  <c:v>-1.0630826486450782</c:v>
                </c:pt>
                <c:pt idx="1256">
                  <c:v>-1.0630826486450782</c:v>
                </c:pt>
                <c:pt idx="1257">
                  <c:v>-1.0630826486450782</c:v>
                </c:pt>
                <c:pt idx="1258">
                  <c:v>-1.0630826486450782</c:v>
                </c:pt>
                <c:pt idx="1259">
                  <c:v>-1.0630826486450782</c:v>
                </c:pt>
                <c:pt idx="1260">
                  <c:v>-1.0630826486450782</c:v>
                </c:pt>
                <c:pt idx="1261">
                  <c:v>-1.0630826486450782</c:v>
                </c:pt>
                <c:pt idx="1262">
                  <c:v>-1.0630826486450782</c:v>
                </c:pt>
                <c:pt idx="1263">
                  <c:v>-1.0630826486450782</c:v>
                </c:pt>
                <c:pt idx="1264">
                  <c:v>-1.0630826486450782</c:v>
                </c:pt>
                <c:pt idx="1265">
                  <c:v>-1.0630826486450782</c:v>
                </c:pt>
                <c:pt idx="1266">
                  <c:v>-1.0630826486450782</c:v>
                </c:pt>
                <c:pt idx="1267">
                  <c:v>-1.0630826486450782</c:v>
                </c:pt>
                <c:pt idx="1268">
                  <c:v>-1.0630826486450782</c:v>
                </c:pt>
                <c:pt idx="1269">
                  <c:v>-1.0630826486450782</c:v>
                </c:pt>
                <c:pt idx="1270">
                  <c:v>-1.0630826486450782</c:v>
                </c:pt>
                <c:pt idx="1271">
                  <c:v>-1.0630826486450782</c:v>
                </c:pt>
                <c:pt idx="1272">
                  <c:v>-1.0630826486450782</c:v>
                </c:pt>
                <c:pt idx="1273">
                  <c:v>-1.0630826486450782</c:v>
                </c:pt>
                <c:pt idx="1274">
                  <c:v>-1.0630826486450782</c:v>
                </c:pt>
                <c:pt idx="1275">
                  <c:v>-1.0630826486450782</c:v>
                </c:pt>
                <c:pt idx="1276">
                  <c:v>-1.0630826486450782</c:v>
                </c:pt>
                <c:pt idx="1277">
                  <c:v>-1.0630826486450782</c:v>
                </c:pt>
                <c:pt idx="1278">
                  <c:v>-1.0630826486450782</c:v>
                </c:pt>
                <c:pt idx="1279">
                  <c:v>-1.0630826486450782</c:v>
                </c:pt>
                <c:pt idx="1280">
                  <c:v>-1.0630826486450782</c:v>
                </c:pt>
                <c:pt idx="1281">
                  <c:v>-1.0630826486450782</c:v>
                </c:pt>
                <c:pt idx="1282">
                  <c:v>-1.0630826486450782</c:v>
                </c:pt>
                <c:pt idx="1283">
                  <c:v>-1.0630826486450782</c:v>
                </c:pt>
                <c:pt idx="1284">
                  <c:v>-1.0630826486450782</c:v>
                </c:pt>
                <c:pt idx="1285">
                  <c:v>-1.0630826486450782</c:v>
                </c:pt>
                <c:pt idx="1286">
                  <c:v>-1.0630826486450782</c:v>
                </c:pt>
                <c:pt idx="1287">
                  <c:v>-1.0630826486450782</c:v>
                </c:pt>
                <c:pt idx="1288">
                  <c:v>-1.0630826486450782</c:v>
                </c:pt>
                <c:pt idx="1289">
                  <c:v>-1.0630826486450782</c:v>
                </c:pt>
                <c:pt idx="1290">
                  <c:v>-1.0630826486450782</c:v>
                </c:pt>
                <c:pt idx="1291">
                  <c:v>-1.0630826486450782</c:v>
                </c:pt>
                <c:pt idx="1292">
                  <c:v>-1.0630826486450782</c:v>
                </c:pt>
                <c:pt idx="1293">
                  <c:v>-1.0630826486450782</c:v>
                </c:pt>
                <c:pt idx="1294">
                  <c:v>-1.0630826486450782</c:v>
                </c:pt>
                <c:pt idx="1295">
                  <c:v>-1.0630826486450782</c:v>
                </c:pt>
                <c:pt idx="1296">
                  <c:v>-1.0630826486450782</c:v>
                </c:pt>
                <c:pt idx="1297">
                  <c:v>-1.0630826486450782</c:v>
                </c:pt>
                <c:pt idx="1298">
                  <c:v>-1.0630826486450782</c:v>
                </c:pt>
                <c:pt idx="1299">
                  <c:v>-1.0630826486450782</c:v>
                </c:pt>
                <c:pt idx="1300">
                  <c:v>-1.0630826486450782</c:v>
                </c:pt>
                <c:pt idx="1301">
                  <c:v>-1.0630826486450782</c:v>
                </c:pt>
                <c:pt idx="1302">
                  <c:v>-1.0630826486450782</c:v>
                </c:pt>
                <c:pt idx="1303">
                  <c:v>-1.0630826486450782</c:v>
                </c:pt>
                <c:pt idx="1304">
                  <c:v>-1.0630826486450782</c:v>
                </c:pt>
                <c:pt idx="1305">
                  <c:v>-1.0630826486450782</c:v>
                </c:pt>
                <c:pt idx="1306">
                  <c:v>-1.0630826486450782</c:v>
                </c:pt>
                <c:pt idx="1307">
                  <c:v>-1.0630826486450782</c:v>
                </c:pt>
                <c:pt idx="1308">
                  <c:v>-1.0630826486450782</c:v>
                </c:pt>
                <c:pt idx="1309">
                  <c:v>-1.0630826486450782</c:v>
                </c:pt>
                <c:pt idx="1310">
                  <c:v>-1.0630826486450782</c:v>
                </c:pt>
                <c:pt idx="1311">
                  <c:v>-1.0630826486450782</c:v>
                </c:pt>
                <c:pt idx="1312">
                  <c:v>-1.0630826486450782</c:v>
                </c:pt>
                <c:pt idx="1313">
                  <c:v>-1.0630826486450782</c:v>
                </c:pt>
                <c:pt idx="1314">
                  <c:v>-1.0630826486450782</c:v>
                </c:pt>
                <c:pt idx="1315">
                  <c:v>-1.0630826486450782</c:v>
                </c:pt>
                <c:pt idx="1316">
                  <c:v>-1.0630826486450782</c:v>
                </c:pt>
                <c:pt idx="1317">
                  <c:v>-1.0630826486450782</c:v>
                </c:pt>
                <c:pt idx="1318">
                  <c:v>-1.0630826486450782</c:v>
                </c:pt>
                <c:pt idx="1319">
                  <c:v>-1.0630826486450782</c:v>
                </c:pt>
                <c:pt idx="1320">
                  <c:v>-1.0630826486450782</c:v>
                </c:pt>
                <c:pt idx="1321">
                  <c:v>-1.0630826486450782</c:v>
                </c:pt>
                <c:pt idx="1322">
                  <c:v>-1.0630826486450782</c:v>
                </c:pt>
                <c:pt idx="1323">
                  <c:v>-1.0630826486450782</c:v>
                </c:pt>
                <c:pt idx="1324">
                  <c:v>-1.0630826486450782</c:v>
                </c:pt>
                <c:pt idx="1325">
                  <c:v>-1.0630826486450782</c:v>
                </c:pt>
                <c:pt idx="1326">
                  <c:v>-1.0630826486450782</c:v>
                </c:pt>
                <c:pt idx="1327">
                  <c:v>-1.0630826486450782</c:v>
                </c:pt>
                <c:pt idx="1328">
                  <c:v>-1.0630826486450782</c:v>
                </c:pt>
                <c:pt idx="1329">
                  <c:v>-1.0630826486450782</c:v>
                </c:pt>
                <c:pt idx="1330">
                  <c:v>-1.0630826486450782</c:v>
                </c:pt>
                <c:pt idx="1331">
                  <c:v>-1.0630826486450782</c:v>
                </c:pt>
                <c:pt idx="1332">
                  <c:v>-1.0630826486450782</c:v>
                </c:pt>
                <c:pt idx="1333">
                  <c:v>-1.0630826486450782</c:v>
                </c:pt>
                <c:pt idx="1334">
                  <c:v>-1.0630826486450782</c:v>
                </c:pt>
                <c:pt idx="1335">
                  <c:v>-1.0630826486450782</c:v>
                </c:pt>
                <c:pt idx="1336">
                  <c:v>-1.0630826486450782</c:v>
                </c:pt>
                <c:pt idx="1337">
                  <c:v>-1.0630826486450782</c:v>
                </c:pt>
                <c:pt idx="1338">
                  <c:v>-1.0630826486450782</c:v>
                </c:pt>
                <c:pt idx="1339">
                  <c:v>-1.0630826486450782</c:v>
                </c:pt>
                <c:pt idx="1340">
                  <c:v>-1.0630826486450782</c:v>
                </c:pt>
                <c:pt idx="1341">
                  <c:v>-1.0630826486450782</c:v>
                </c:pt>
                <c:pt idx="1342">
                  <c:v>-1.0630826486450782</c:v>
                </c:pt>
                <c:pt idx="1343">
                  <c:v>-1.0630826486450782</c:v>
                </c:pt>
                <c:pt idx="1344">
                  <c:v>-1.0630826486450782</c:v>
                </c:pt>
                <c:pt idx="1345">
                  <c:v>-1.0630826486450782</c:v>
                </c:pt>
                <c:pt idx="1346">
                  <c:v>-1.0630826486450782</c:v>
                </c:pt>
                <c:pt idx="1347">
                  <c:v>-1.0630826486450782</c:v>
                </c:pt>
                <c:pt idx="1348">
                  <c:v>-1.0630826486450782</c:v>
                </c:pt>
                <c:pt idx="1349">
                  <c:v>-1.0630826486450782</c:v>
                </c:pt>
                <c:pt idx="1350">
                  <c:v>-1.0630826486450782</c:v>
                </c:pt>
                <c:pt idx="1351">
                  <c:v>-1.0630826486450782</c:v>
                </c:pt>
                <c:pt idx="1352">
                  <c:v>-1.0630826486450782</c:v>
                </c:pt>
                <c:pt idx="1353">
                  <c:v>-1.0630826486450782</c:v>
                </c:pt>
                <c:pt idx="1354">
                  <c:v>-1.0630826486450782</c:v>
                </c:pt>
                <c:pt idx="1355">
                  <c:v>-1.0630826486450782</c:v>
                </c:pt>
                <c:pt idx="1356">
                  <c:v>-1.0630826486450782</c:v>
                </c:pt>
                <c:pt idx="1357">
                  <c:v>-1.0630826486450782</c:v>
                </c:pt>
                <c:pt idx="1358">
                  <c:v>-1.0630826486450782</c:v>
                </c:pt>
                <c:pt idx="1359">
                  <c:v>-1.0630826486450782</c:v>
                </c:pt>
                <c:pt idx="1360">
                  <c:v>-1.0630826486450782</c:v>
                </c:pt>
                <c:pt idx="1361">
                  <c:v>-1.0630826486450782</c:v>
                </c:pt>
                <c:pt idx="1362">
                  <c:v>-1.0630826486450782</c:v>
                </c:pt>
                <c:pt idx="1363">
                  <c:v>-1.0630826486450782</c:v>
                </c:pt>
                <c:pt idx="1364">
                  <c:v>-1.0630826486450782</c:v>
                </c:pt>
                <c:pt idx="1365">
                  <c:v>-1.0630826486450782</c:v>
                </c:pt>
                <c:pt idx="1366">
                  <c:v>-1.0630826486450782</c:v>
                </c:pt>
                <c:pt idx="1367">
                  <c:v>-1.0630826486450782</c:v>
                </c:pt>
                <c:pt idx="1368">
                  <c:v>-1.0630826486450782</c:v>
                </c:pt>
                <c:pt idx="1369">
                  <c:v>-1.0630826486450782</c:v>
                </c:pt>
                <c:pt idx="1370">
                  <c:v>-1.0630826486450782</c:v>
                </c:pt>
                <c:pt idx="1371">
                  <c:v>-1.0630826486450782</c:v>
                </c:pt>
                <c:pt idx="1372">
                  <c:v>-1.0630826486450782</c:v>
                </c:pt>
                <c:pt idx="1373">
                  <c:v>-1.0630826486450782</c:v>
                </c:pt>
                <c:pt idx="1374">
                  <c:v>-1.0630826486450782</c:v>
                </c:pt>
                <c:pt idx="1375">
                  <c:v>-1.0630826486450782</c:v>
                </c:pt>
                <c:pt idx="1376">
                  <c:v>-1.0630826486450782</c:v>
                </c:pt>
                <c:pt idx="1377">
                  <c:v>-1.0630826486450782</c:v>
                </c:pt>
                <c:pt idx="1378">
                  <c:v>-1.0630826486450782</c:v>
                </c:pt>
                <c:pt idx="1379">
                  <c:v>-1.0630826486450782</c:v>
                </c:pt>
                <c:pt idx="1380">
                  <c:v>-1.0630826486450782</c:v>
                </c:pt>
                <c:pt idx="1381">
                  <c:v>-1.0630826486450782</c:v>
                </c:pt>
                <c:pt idx="1382">
                  <c:v>-1.0630826486450782</c:v>
                </c:pt>
                <c:pt idx="1383">
                  <c:v>-1.0630826486450782</c:v>
                </c:pt>
                <c:pt idx="1384">
                  <c:v>-1.0630826486450782</c:v>
                </c:pt>
                <c:pt idx="1385">
                  <c:v>-1.0630826486450782</c:v>
                </c:pt>
                <c:pt idx="1386">
                  <c:v>-1.0630826486450782</c:v>
                </c:pt>
                <c:pt idx="1387">
                  <c:v>-1.0630826486450782</c:v>
                </c:pt>
                <c:pt idx="1388">
                  <c:v>-1.0630826486450782</c:v>
                </c:pt>
                <c:pt idx="1389">
                  <c:v>-1.0630826486450782</c:v>
                </c:pt>
                <c:pt idx="1390">
                  <c:v>-1.0630826486450782</c:v>
                </c:pt>
                <c:pt idx="1391">
                  <c:v>-1.0630826486450782</c:v>
                </c:pt>
                <c:pt idx="1392">
                  <c:v>-1.0630826486450782</c:v>
                </c:pt>
                <c:pt idx="1393">
                  <c:v>-1.0630826486450782</c:v>
                </c:pt>
                <c:pt idx="1394">
                  <c:v>-1.0630826486450782</c:v>
                </c:pt>
                <c:pt idx="1395">
                  <c:v>-1.0630826486450782</c:v>
                </c:pt>
                <c:pt idx="1396">
                  <c:v>-1.0630826486450782</c:v>
                </c:pt>
                <c:pt idx="1397">
                  <c:v>-1.0630826486450782</c:v>
                </c:pt>
                <c:pt idx="1398">
                  <c:v>-1.0630826486450782</c:v>
                </c:pt>
                <c:pt idx="1399">
                  <c:v>-1.0630826486450782</c:v>
                </c:pt>
                <c:pt idx="1400">
                  <c:v>-1.0630826486450782</c:v>
                </c:pt>
                <c:pt idx="1401">
                  <c:v>-1.0630826486450782</c:v>
                </c:pt>
                <c:pt idx="1402">
                  <c:v>-1.0630826486450782</c:v>
                </c:pt>
                <c:pt idx="1403">
                  <c:v>-1.0630826486450782</c:v>
                </c:pt>
                <c:pt idx="1404">
                  <c:v>-1.0630826486450782</c:v>
                </c:pt>
                <c:pt idx="1405">
                  <c:v>-1.0630826486450782</c:v>
                </c:pt>
                <c:pt idx="1406">
                  <c:v>-1.0630826486450782</c:v>
                </c:pt>
                <c:pt idx="1407">
                  <c:v>-1.0630826486450782</c:v>
                </c:pt>
                <c:pt idx="1408">
                  <c:v>-1.0630826486450782</c:v>
                </c:pt>
                <c:pt idx="1409">
                  <c:v>-1.0630826486450782</c:v>
                </c:pt>
                <c:pt idx="1410">
                  <c:v>-1.0630826486450782</c:v>
                </c:pt>
                <c:pt idx="1411">
                  <c:v>-1.0630826486450782</c:v>
                </c:pt>
                <c:pt idx="1412">
                  <c:v>-1.0630826486450782</c:v>
                </c:pt>
                <c:pt idx="1413">
                  <c:v>-1.0630826486450782</c:v>
                </c:pt>
                <c:pt idx="1414">
                  <c:v>-1.0630826486450782</c:v>
                </c:pt>
                <c:pt idx="1415">
                  <c:v>-1.0630826486450782</c:v>
                </c:pt>
                <c:pt idx="1416">
                  <c:v>-1.0630826486450782</c:v>
                </c:pt>
                <c:pt idx="1417">
                  <c:v>-1.0630826486450782</c:v>
                </c:pt>
                <c:pt idx="1418">
                  <c:v>-1.0630826486450782</c:v>
                </c:pt>
                <c:pt idx="1419">
                  <c:v>-1.0630826486450782</c:v>
                </c:pt>
                <c:pt idx="1420">
                  <c:v>-1.0630826486450782</c:v>
                </c:pt>
                <c:pt idx="1421">
                  <c:v>-1.0630826486450782</c:v>
                </c:pt>
                <c:pt idx="1422">
                  <c:v>-1.0630826486450782</c:v>
                </c:pt>
                <c:pt idx="1423">
                  <c:v>-1.0630826486450782</c:v>
                </c:pt>
                <c:pt idx="1424">
                  <c:v>-1.0630826486450782</c:v>
                </c:pt>
                <c:pt idx="1425">
                  <c:v>-1.0630826486450782</c:v>
                </c:pt>
                <c:pt idx="1426">
                  <c:v>-1.0630826486450782</c:v>
                </c:pt>
                <c:pt idx="1427">
                  <c:v>-1.0630826486450782</c:v>
                </c:pt>
                <c:pt idx="1428">
                  <c:v>-1.0630826486450782</c:v>
                </c:pt>
                <c:pt idx="1429">
                  <c:v>-1.0630826486450782</c:v>
                </c:pt>
                <c:pt idx="1430">
                  <c:v>-1.0630826486450782</c:v>
                </c:pt>
                <c:pt idx="1431">
                  <c:v>-1.0630826486450782</c:v>
                </c:pt>
                <c:pt idx="1432">
                  <c:v>-1.0630826486450782</c:v>
                </c:pt>
                <c:pt idx="1433">
                  <c:v>-1.0630826486450782</c:v>
                </c:pt>
                <c:pt idx="1434">
                  <c:v>-1.0630826486450782</c:v>
                </c:pt>
                <c:pt idx="1435">
                  <c:v>-1.0630826486450782</c:v>
                </c:pt>
                <c:pt idx="1436">
                  <c:v>-1.0630826486450782</c:v>
                </c:pt>
                <c:pt idx="1437">
                  <c:v>-1.0630826486450782</c:v>
                </c:pt>
                <c:pt idx="1438">
                  <c:v>-1.0630826486450782</c:v>
                </c:pt>
                <c:pt idx="1439">
                  <c:v>-1.0630826486450782</c:v>
                </c:pt>
                <c:pt idx="1440">
                  <c:v>-1.0630826486450782</c:v>
                </c:pt>
                <c:pt idx="1441">
                  <c:v>-1.0630826486450782</c:v>
                </c:pt>
                <c:pt idx="1442">
                  <c:v>-1.0630826486450782</c:v>
                </c:pt>
                <c:pt idx="1443">
                  <c:v>-1.0630826486450782</c:v>
                </c:pt>
                <c:pt idx="1444">
                  <c:v>-1.0630826486450782</c:v>
                </c:pt>
                <c:pt idx="1445">
                  <c:v>-1.0630826486450782</c:v>
                </c:pt>
                <c:pt idx="1446">
                  <c:v>-1.0630826486450782</c:v>
                </c:pt>
                <c:pt idx="1447">
                  <c:v>-1.0630826486450782</c:v>
                </c:pt>
                <c:pt idx="1448">
                  <c:v>-1.0630826486450782</c:v>
                </c:pt>
                <c:pt idx="1449">
                  <c:v>-1.0630826486450782</c:v>
                </c:pt>
                <c:pt idx="1450">
                  <c:v>-1.0630826486450782</c:v>
                </c:pt>
                <c:pt idx="1451">
                  <c:v>-1.0630826486450782</c:v>
                </c:pt>
                <c:pt idx="1452">
                  <c:v>-1.0630826486450782</c:v>
                </c:pt>
                <c:pt idx="1453">
                  <c:v>-1.0630826486450782</c:v>
                </c:pt>
                <c:pt idx="1454">
                  <c:v>-1.0630826486450782</c:v>
                </c:pt>
                <c:pt idx="1455">
                  <c:v>-1.0630826486450782</c:v>
                </c:pt>
                <c:pt idx="1456">
                  <c:v>-1.0630826486450782</c:v>
                </c:pt>
                <c:pt idx="1457">
                  <c:v>-1.0630826486450782</c:v>
                </c:pt>
                <c:pt idx="1458">
                  <c:v>-1.0630826486450782</c:v>
                </c:pt>
                <c:pt idx="1459">
                  <c:v>-1.0630826486450782</c:v>
                </c:pt>
                <c:pt idx="1460">
                  <c:v>-1.0630826486450782</c:v>
                </c:pt>
                <c:pt idx="1461">
                  <c:v>-1.0630826486450782</c:v>
                </c:pt>
                <c:pt idx="1462">
                  <c:v>-1.0630826486450782</c:v>
                </c:pt>
                <c:pt idx="1463">
                  <c:v>-1.0630826486450782</c:v>
                </c:pt>
                <c:pt idx="1464">
                  <c:v>-1.0630826486450782</c:v>
                </c:pt>
                <c:pt idx="1465">
                  <c:v>-1.0630826486450782</c:v>
                </c:pt>
                <c:pt idx="1466">
                  <c:v>-1.0630826486450782</c:v>
                </c:pt>
                <c:pt idx="1467">
                  <c:v>-1.0630826486450782</c:v>
                </c:pt>
                <c:pt idx="1468">
                  <c:v>-1.0630826486450782</c:v>
                </c:pt>
                <c:pt idx="1469">
                  <c:v>-1.0630826486450782</c:v>
                </c:pt>
                <c:pt idx="1470">
                  <c:v>-1.0630826486450782</c:v>
                </c:pt>
                <c:pt idx="1471">
                  <c:v>-1.0630826486450782</c:v>
                </c:pt>
                <c:pt idx="1472">
                  <c:v>-1.0630826486450782</c:v>
                </c:pt>
                <c:pt idx="1473">
                  <c:v>-1.0630826486450782</c:v>
                </c:pt>
                <c:pt idx="1474">
                  <c:v>-1.0630826486450782</c:v>
                </c:pt>
                <c:pt idx="1475">
                  <c:v>-1.0630826486450782</c:v>
                </c:pt>
                <c:pt idx="1476">
                  <c:v>-1.0630826486450782</c:v>
                </c:pt>
                <c:pt idx="1477">
                  <c:v>-1.0630826486450782</c:v>
                </c:pt>
                <c:pt idx="1478">
                  <c:v>-1.0630826486450782</c:v>
                </c:pt>
                <c:pt idx="1479">
                  <c:v>-1.0630826486450782</c:v>
                </c:pt>
                <c:pt idx="1480">
                  <c:v>-1.0630826486450782</c:v>
                </c:pt>
                <c:pt idx="1481">
                  <c:v>-1.0630826486450782</c:v>
                </c:pt>
                <c:pt idx="1482">
                  <c:v>-1.0630826486450782</c:v>
                </c:pt>
                <c:pt idx="1483">
                  <c:v>-1.0630826486450782</c:v>
                </c:pt>
                <c:pt idx="1484">
                  <c:v>-1.0630826486450782</c:v>
                </c:pt>
                <c:pt idx="1485">
                  <c:v>-1.0630826486450782</c:v>
                </c:pt>
                <c:pt idx="1486">
                  <c:v>-1.0630826486450782</c:v>
                </c:pt>
                <c:pt idx="1487">
                  <c:v>-1.0630826486450782</c:v>
                </c:pt>
                <c:pt idx="1488">
                  <c:v>-1.0630826486450782</c:v>
                </c:pt>
                <c:pt idx="1489">
                  <c:v>-1.0630826486450782</c:v>
                </c:pt>
                <c:pt idx="1490">
                  <c:v>-1.0630826486450782</c:v>
                </c:pt>
                <c:pt idx="1491">
                  <c:v>-1.0630826486450782</c:v>
                </c:pt>
                <c:pt idx="1492">
                  <c:v>-1.0630826486450782</c:v>
                </c:pt>
                <c:pt idx="1493">
                  <c:v>-1.0630826486450782</c:v>
                </c:pt>
                <c:pt idx="1494">
                  <c:v>-1.0630826486450782</c:v>
                </c:pt>
                <c:pt idx="1495">
                  <c:v>-1.0630826486450782</c:v>
                </c:pt>
                <c:pt idx="1496">
                  <c:v>-1.0630826486450782</c:v>
                </c:pt>
                <c:pt idx="1497">
                  <c:v>-1.0630826486450782</c:v>
                </c:pt>
                <c:pt idx="1498">
                  <c:v>-1.0630826486450782</c:v>
                </c:pt>
                <c:pt idx="1499">
                  <c:v>-1.0630826486450782</c:v>
                </c:pt>
                <c:pt idx="1500">
                  <c:v>-1.0630826486450782</c:v>
                </c:pt>
                <c:pt idx="1501">
                  <c:v>-1.0630826486450782</c:v>
                </c:pt>
                <c:pt idx="1502">
                  <c:v>-1.0630826486450782</c:v>
                </c:pt>
                <c:pt idx="1503">
                  <c:v>-1.0630826486450782</c:v>
                </c:pt>
                <c:pt idx="1504">
                  <c:v>-1.0630826486450782</c:v>
                </c:pt>
                <c:pt idx="1505">
                  <c:v>-1.0630826486450782</c:v>
                </c:pt>
                <c:pt idx="1506">
                  <c:v>-1.0630826486450782</c:v>
                </c:pt>
                <c:pt idx="1507">
                  <c:v>-1.0630826486450782</c:v>
                </c:pt>
                <c:pt idx="1508">
                  <c:v>-1.0630826486450782</c:v>
                </c:pt>
                <c:pt idx="1509">
                  <c:v>-1.0630826486450782</c:v>
                </c:pt>
                <c:pt idx="1510">
                  <c:v>-1.0630826486450782</c:v>
                </c:pt>
                <c:pt idx="1511">
                  <c:v>-1.0630826486450782</c:v>
                </c:pt>
                <c:pt idx="1512">
                  <c:v>-1.0630826486450782</c:v>
                </c:pt>
                <c:pt idx="1513">
                  <c:v>-1.0630826486450782</c:v>
                </c:pt>
                <c:pt idx="1514">
                  <c:v>-1.0630826486450782</c:v>
                </c:pt>
                <c:pt idx="1515">
                  <c:v>-1.0630826486450782</c:v>
                </c:pt>
                <c:pt idx="1516">
                  <c:v>-1.0630826486450782</c:v>
                </c:pt>
                <c:pt idx="1517">
                  <c:v>-1.0630826486450782</c:v>
                </c:pt>
                <c:pt idx="1518">
                  <c:v>-1.0630826486450782</c:v>
                </c:pt>
                <c:pt idx="1519">
                  <c:v>-1.0630826486450782</c:v>
                </c:pt>
                <c:pt idx="1520">
                  <c:v>-1.0630826486450782</c:v>
                </c:pt>
                <c:pt idx="1521">
                  <c:v>-1.0630826486450782</c:v>
                </c:pt>
                <c:pt idx="1522">
                  <c:v>-1.0630826486450782</c:v>
                </c:pt>
                <c:pt idx="1523">
                  <c:v>-1.0630826486450782</c:v>
                </c:pt>
                <c:pt idx="1524">
                  <c:v>-1.0630826486450782</c:v>
                </c:pt>
                <c:pt idx="1525">
                  <c:v>-1.0630826486450782</c:v>
                </c:pt>
                <c:pt idx="1526">
                  <c:v>-1.0630826486450782</c:v>
                </c:pt>
                <c:pt idx="1527">
                  <c:v>-1.0630826486450782</c:v>
                </c:pt>
                <c:pt idx="1528">
                  <c:v>-1.0630826486450782</c:v>
                </c:pt>
                <c:pt idx="1529">
                  <c:v>-1.0630826486450782</c:v>
                </c:pt>
                <c:pt idx="1530">
                  <c:v>-1.0630826486450782</c:v>
                </c:pt>
                <c:pt idx="1531">
                  <c:v>-1.0630826486450782</c:v>
                </c:pt>
                <c:pt idx="1532">
                  <c:v>-1.0630826486450782</c:v>
                </c:pt>
                <c:pt idx="1533">
                  <c:v>-1.0630826486450782</c:v>
                </c:pt>
                <c:pt idx="1534">
                  <c:v>-1.0630826486450782</c:v>
                </c:pt>
                <c:pt idx="1535">
                  <c:v>-1.0630826486450782</c:v>
                </c:pt>
                <c:pt idx="1536">
                  <c:v>-1.0630826486450782</c:v>
                </c:pt>
                <c:pt idx="1537">
                  <c:v>-1.0630826486450782</c:v>
                </c:pt>
                <c:pt idx="1538">
                  <c:v>-1.0630826486450782</c:v>
                </c:pt>
                <c:pt idx="1539">
                  <c:v>-1.0630826486450782</c:v>
                </c:pt>
                <c:pt idx="1540">
                  <c:v>-1.0630826486450782</c:v>
                </c:pt>
                <c:pt idx="1541">
                  <c:v>-1.0630826486450782</c:v>
                </c:pt>
                <c:pt idx="1542">
                  <c:v>-1.0630826486450782</c:v>
                </c:pt>
                <c:pt idx="1543">
                  <c:v>-1.0630826486450782</c:v>
                </c:pt>
                <c:pt idx="1544">
                  <c:v>-1.0630826486450782</c:v>
                </c:pt>
                <c:pt idx="1545">
                  <c:v>-1.0630826486450782</c:v>
                </c:pt>
                <c:pt idx="1546">
                  <c:v>-1.0630826486450782</c:v>
                </c:pt>
                <c:pt idx="1547">
                  <c:v>-1.0630826486450782</c:v>
                </c:pt>
                <c:pt idx="1548">
                  <c:v>-1.0630826486450782</c:v>
                </c:pt>
                <c:pt idx="1549">
                  <c:v>-1.0630826486450782</c:v>
                </c:pt>
                <c:pt idx="1550">
                  <c:v>-1.0630826486450782</c:v>
                </c:pt>
                <c:pt idx="1551">
                  <c:v>-1.0630826486450782</c:v>
                </c:pt>
                <c:pt idx="1552">
                  <c:v>-1.0630826486450782</c:v>
                </c:pt>
                <c:pt idx="1553">
                  <c:v>-1.0630826486450782</c:v>
                </c:pt>
                <c:pt idx="1554">
                  <c:v>-1.0630826486450782</c:v>
                </c:pt>
                <c:pt idx="1555">
                  <c:v>-1.0630826486450782</c:v>
                </c:pt>
                <c:pt idx="1556">
                  <c:v>-1.0630826486450782</c:v>
                </c:pt>
                <c:pt idx="1557">
                  <c:v>-1.0630826486450782</c:v>
                </c:pt>
                <c:pt idx="1558">
                  <c:v>-1.0630826486450782</c:v>
                </c:pt>
                <c:pt idx="1559">
                  <c:v>-1.0630826486450782</c:v>
                </c:pt>
                <c:pt idx="1560">
                  <c:v>-1.0630826486450782</c:v>
                </c:pt>
                <c:pt idx="1561">
                  <c:v>-1.0630826486450782</c:v>
                </c:pt>
                <c:pt idx="1562">
                  <c:v>-1.0630826486450782</c:v>
                </c:pt>
                <c:pt idx="1563">
                  <c:v>-1.0630826486450782</c:v>
                </c:pt>
                <c:pt idx="1564">
                  <c:v>-1.0630826486450782</c:v>
                </c:pt>
                <c:pt idx="1565">
                  <c:v>-1.0630826486450782</c:v>
                </c:pt>
                <c:pt idx="1566">
                  <c:v>-1.0630826486450782</c:v>
                </c:pt>
                <c:pt idx="1567">
                  <c:v>-1.0630826486450782</c:v>
                </c:pt>
                <c:pt idx="1568">
                  <c:v>-1.0630826486450782</c:v>
                </c:pt>
                <c:pt idx="1569">
                  <c:v>-1.0630826486450782</c:v>
                </c:pt>
                <c:pt idx="1570">
                  <c:v>-1.0630826486450782</c:v>
                </c:pt>
                <c:pt idx="1571">
                  <c:v>-1.0630826486450782</c:v>
                </c:pt>
                <c:pt idx="1572">
                  <c:v>-1.0630826486450782</c:v>
                </c:pt>
                <c:pt idx="1573">
                  <c:v>-1.0630826486450782</c:v>
                </c:pt>
                <c:pt idx="1574">
                  <c:v>-1.0630826486450782</c:v>
                </c:pt>
                <c:pt idx="1575">
                  <c:v>-1.0630826486450782</c:v>
                </c:pt>
                <c:pt idx="1576">
                  <c:v>-1.0630826486450782</c:v>
                </c:pt>
                <c:pt idx="1577">
                  <c:v>-1.0630826486450782</c:v>
                </c:pt>
                <c:pt idx="1578">
                  <c:v>-1.0630826486450782</c:v>
                </c:pt>
                <c:pt idx="1579">
                  <c:v>-1.0630826486450782</c:v>
                </c:pt>
                <c:pt idx="1580">
                  <c:v>-1.0630826486450782</c:v>
                </c:pt>
                <c:pt idx="1581">
                  <c:v>-1.0630826486450782</c:v>
                </c:pt>
                <c:pt idx="1582">
                  <c:v>-1.0630826486450782</c:v>
                </c:pt>
                <c:pt idx="1583">
                  <c:v>-1.0630826486450782</c:v>
                </c:pt>
                <c:pt idx="1584">
                  <c:v>-1.0630826486450782</c:v>
                </c:pt>
                <c:pt idx="1585">
                  <c:v>-1.0630826486450782</c:v>
                </c:pt>
                <c:pt idx="1586">
                  <c:v>-1.0630826486450782</c:v>
                </c:pt>
                <c:pt idx="1587">
                  <c:v>-1.0630826486450782</c:v>
                </c:pt>
                <c:pt idx="1588">
                  <c:v>-1.0630826486450782</c:v>
                </c:pt>
                <c:pt idx="1589">
                  <c:v>-1.0630826486450782</c:v>
                </c:pt>
                <c:pt idx="1590">
                  <c:v>-1.0630826486450782</c:v>
                </c:pt>
                <c:pt idx="1591">
                  <c:v>-1.0630826486450782</c:v>
                </c:pt>
                <c:pt idx="1592">
                  <c:v>-1.0630826486450782</c:v>
                </c:pt>
                <c:pt idx="1593">
                  <c:v>-1.0630826486450782</c:v>
                </c:pt>
                <c:pt idx="1594">
                  <c:v>-1.0630826486450782</c:v>
                </c:pt>
                <c:pt idx="1595">
                  <c:v>-1.0630826486450782</c:v>
                </c:pt>
                <c:pt idx="1596">
                  <c:v>-1.0630826486450782</c:v>
                </c:pt>
                <c:pt idx="1597">
                  <c:v>-1.0630826486450782</c:v>
                </c:pt>
                <c:pt idx="1598">
                  <c:v>-1.0630826486450782</c:v>
                </c:pt>
                <c:pt idx="1599">
                  <c:v>-1.0630826486450782</c:v>
                </c:pt>
                <c:pt idx="1600">
                  <c:v>-1.0630826486450782</c:v>
                </c:pt>
                <c:pt idx="1601">
                  <c:v>-1.0630826486450782</c:v>
                </c:pt>
                <c:pt idx="1602">
                  <c:v>-1.0630826486450782</c:v>
                </c:pt>
                <c:pt idx="1603">
                  <c:v>-1.0630826486450782</c:v>
                </c:pt>
                <c:pt idx="1604">
                  <c:v>-1.0630826486450782</c:v>
                </c:pt>
                <c:pt idx="1605">
                  <c:v>-1.0630826486450782</c:v>
                </c:pt>
                <c:pt idx="1606">
                  <c:v>-1.0630826486450782</c:v>
                </c:pt>
                <c:pt idx="1607">
                  <c:v>-1.0630826486450782</c:v>
                </c:pt>
                <c:pt idx="1608">
                  <c:v>-1.0630826486450782</c:v>
                </c:pt>
                <c:pt idx="1609">
                  <c:v>-1.0630826486450782</c:v>
                </c:pt>
                <c:pt idx="1610">
                  <c:v>-1.0630826486450782</c:v>
                </c:pt>
                <c:pt idx="1611">
                  <c:v>-1.0630826486450782</c:v>
                </c:pt>
                <c:pt idx="1612">
                  <c:v>-1.0630826486450782</c:v>
                </c:pt>
                <c:pt idx="1613">
                  <c:v>-1.0630826486450782</c:v>
                </c:pt>
                <c:pt idx="1614">
                  <c:v>-1.0630826486450782</c:v>
                </c:pt>
                <c:pt idx="1615">
                  <c:v>-1.0630826486450782</c:v>
                </c:pt>
                <c:pt idx="1616">
                  <c:v>-1.0630826486450782</c:v>
                </c:pt>
                <c:pt idx="1617">
                  <c:v>-1.0630826486450782</c:v>
                </c:pt>
                <c:pt idx="1618">
                  <c:v>-1.0630826486450782</c:v>
                </c:pt>
                <c:pt idx="1619">
                  <c:v>-1.0630826486450782</c:v>
                </c:pt>
                <c:pt idx="1620">
                  <c:v>-1.0630826486450782</c:v>
                </c:pt>
                <c:pt idx="1621">
                  <c:v>-1.0630826486450782</c:v>
                </c:pt>
                <c:pt idx="1622">
                  <c:v>-1.0630826486450782</c:v>
                </c:pt>
                <c:pt idx="1623">
                  <c:v>-1.0630826486450782</c:v>
                </c:pt>
                <c:pt idx="1624">
                  <c:v>-1.0630826486450782</c:v>
                </c:pt>
                <c:pt idx="1625">
                  <c:v>-1.0630826486450782</c:v>
                </c:pt>
                <c:pt idx="1626">
                  <c:v>-1.0630826486450782</c:v>
                </c:pt>
                <c:pt idx="1627">
                  <c:v>-1.0630826486450782</c:v>
                </c:pt>
                <c:pt idx="1628">
                  <c:v>-1.0630826486450782</c:v>
                </c:pt>
                <c:pt idx="1629">
                  <c:v>-1.0630826486450782</c:v>
                </c:pt>
                <c:pt idx="1630">
                  <c:v>-1.0630826486450782</c:v>
                </c:pt>
                <c:pt idx="1631">
                  <c:v>-1.0630826486450782</c:v>
                </c:pt>
                <c:pt idx="1632">
                  <c:v>-1.0630826486450782</c:v>
                </c:pt>
                <c:pt idx="1633">
                  <c:v>-1.0630826486450782</c:v>
                </c:pt>
                <c:pt idx="1634">
                  <c:v>-1.0630826486450782</c:v>
                </c:pt>
                <c:pt idx="1635">
                  <c:v>-1.0630826486450782</c:v>
                </c:pt>
                <c:pt idx="1636">
                  <c:v>-1.0630826486450782</c:v>
                </c:pt>
                <c:pt idx="1637">
                  <c:v>-1.0630826486450782</c:v>
                </c:pt>
                <c:pt idx="1638">
                  <c:v>-1.0630826486450782</c:v>
                </c:pt>
                <c:pt idx="1639">
                  <c:v>-1.0630826486450782</c:v>
                </c:pt>
                <c:pt idx="1640">
                  <c:v>-1.0630826486450782</c:v>
                </c:pt>
                <c:pt idx="1641">
                  <c:v>-1.0630826486450782</c:v>
                </c:pt>
                <c:pt idx="1642">
                  <c:v>-1.0630826486450782</c:v>
                </c:pt>
                <c:pt idx="1643">
                  <c:v>-1.0630826486450782</c:v>
                </c:pt>
                <c:pt idx="1644">
                  <c:v>-1.0630826486450782</c:v>
                </c:pt>
                <c:pt idx="1645">
                  <c:v>-1.0630826486450782</c:v>
                </c:pt>
                <c:pt idx="1646">
                  <c:v>-1.0630826486450782</c:v>
                </c:pt>
                <c:pt idx="1647">
                  <c:v>-1.0630826486450782</c:v>
                </c:pt>
                <c:pt idx="1648">
                  <c:v>-1.0630826486450782</c:v>
                </c:pt>
                <c:pt idx="1649">
                  <c:v>-1.0630826486450782</c:v>
                </c:pt>
                <c:pt idx="1650">
                  <c:v>-1.0630826486450782</c:v>
                </c:pt>
                <c:pt idx="1651">
                  <c:v>-1.0630826486450782</c:v>
                </c:pt>
                <c:pt idx="1652">
                  <c:v>-1.0630826486450782</c:v>
                </c:pt>
                <c:pt idx="1653">
                  <c:v>-1.0630826486450782</c:v>
                </c:pt>
                <c:pt idx="1654">
                  <c:v>-1.0630826486450782</c:v>
                </c:pt>
                <c:pt idx="1655">
                  <c:v>-1.0630826486450782</c:v>
                </c:pt>
                <c:pt idx="1656">
                  <c:v>-1.0630826486450782</c:v>
                </c:pt>
                <c:pt idx="1657">
                  <c:v>-1.0630826486450782</c:v>
                </c:pt>
                <c:pt idx="1658">
                  <c:v>-1.0630826486450782</c:v>
                </c:pt>
                <c:pt idx="1659">
                  <c:v>-1.0630826486450782</c:v>
                </c:pt>
                <c:pt idx="1660">
                  <c:v>-1.0630826486450782</c:v>
                </c:pt>
                <c:pt idx="1661">
                  <c:v>-1.0630826486450782</c:v>
                </c:pt>
                <c:pt idx="1662">
                  <c:v>-1.0630826486450782</c:v>
                </c:pt>
                <c:pt idx="1663">
                  <c:v>-1.0630826486450782</c:v>
                </c:pt>
                <c:pt idx="1664">
                  <c:v>-1.0630826486450782</c:v>
                </c:pt>
                <c:pt idx="1665">
                  <c:v>-1.0630826486450782</c:v>
                </c:pt>
                <c:pt idx="1666">
                  <c:v>-1.0630826486450782</c:v>
                </c:pt>
                <c:pt idx="1667">
                  <c:v>-1.0630826486450782</c:v>
                </c:pt>
                <c:pt idx="1668">
                  <c:v>-1.0630826486450782</c:v>
                </c:pt>
                <c:pt idx="1669">
                  <c:v>-1.0630826486450782</c:v>
                </c:pt>
                <c:pt idx="1670">
                  <c:v>-1.0630826486450782</c:v>
                </c:pt>
                <c:pt idx="1671">
                  <c:v>-1.0630826486450782</c:v>
                </c:pt>
                <c:pt idx="1672">
                  <c:v>-1.0630826486450782</c:v>
                </c:pt>
                <c:pt idx="1673">
                  <c:v>-1.0630826486450782</c:v>
                </c:pt>
                <c:pt idx="1674">
                  <c:v>-1.0630826486450782</c:v>
                </c:pt>
                <c:pt idx="1675">
                  <c:v>-1.0630826486450782</c:v>
                </c:pt>
                <c:pt idx="1676">
                  <c:v>-1.0630826486450782</c:v>
                </c:pt>
                <c:pt idx="1677">
                  <c:v>-1.0630826486450782</c:v>
                </c:pt>
                <c:pt idx="1678">
                  <c:v>-1.0630826486450782</c:v>
                </c:pt>
                <c:pt idx="1679">
                  <c:v>-1.0630826486450782</c:v>
                </c:pt>
                <c:pt idx="1680">
                  <c:v>-1.0630826486450782</c:v>
                </c:pt>
                <c:pt idx="1681">
                  <c:v>-1.0630826486450782</c:v>
                </c:pt>
                <c:pt idx="1682">
                  <c:v>-1.0630826486450782</c:v>
                </c:pt>
                <c:pt idx="1683">
                  <c:v>-1.0630826486450782</c:v>
                </c:pt>
                <c:pt idx="1684">
                  <c:v>-1.0630826486450782</c:v>
                </c:pt>
                <c:pt idx="1685">
                  <c:v>-1.0630826486450782</c:v>
                </c:pt>
                <c:pt idx="1686">
                  <c:v>-1.0630826486450782</c:v>
                </c:pt>
                <c:pt idx="1687">
                  <c:v>-1.0630826486450782</c:v>
                </c:pt>
                <c:pt idx="1688">
                  <c:v>-1.0630826486450782</c:v>
                </c:pt>
                <c:pt idx="1689">
                  <c:v>-1.0630826486450782</c:v>
                </c:pt>
                <c:pt idx="1690">
                  <c:v>-1.0630826486450782</c:v>
                </c:pt>
                <c:pt idx="1691">
                  <c:v>-1.0630826486450782</c:v>
                </c:pt>
                <c:pt idx="1692">
                  <c:v>-1.0630826486450782</c:v>
                </c:pt>
                <c:pt idx="1693">
                  <c:v>-1.0630826486450782</c:v>
                </c:pt>
                <c:pt idx="1694">
                  <c:v>-1.0630826486450782</c:v>
                </c:pt>
                <c:pt idx="1695">
                  <c:v>-1.0630826486450782</c:v>
                </c:pt>
                <c:pt idx="1696">
                  <c:v>-1.0630826486450782</c:v>
                </c:pt>
                <c:pt idx="1697">
                  <c:v>-1.0630826486450782</c:v>
                </c:pt>
                <c:pt idx="1698">
                  <c:v>-1.0630826486450782</c:v>
                </c:pt>
                <c:pt idx="1699">
                  <c:v>-1.0630826486450782</c:v>
                </c:pt>
                <c:pt idx="1700">
                  <c:v>-1.0630826486450782</c:v>
                </c:pt>
                <c:pt idx="1701">
                  <c:v>-1.0630826486450782</c:v>
                </c:pt>
                <c:pt idx="1702">
                  <c:v>-1.0630826486450782</c:v>
                </c:pt>
                <c:pt idx="1703">
                  <c:v>-1.0630826486450782</c:v>
                </c:pt>
                <c:pt idx="1704">
                  <c:v>-1.0630826486450782</c:v>
                </c:pt>
                <c:pt idx="1705">
                  <c:v>-1.0630826486450782</c:v>
                </c:pt>
                <c:pt idx="1706">
                  <c:v>-1.0630826486450782</c:v>
                </c:pt>
                <c:pt idx="1707">
                  <c:v>-1.0630826486450782</c:v>
                </c:pt>
                <c:pt idx="1708">
                  <c:v>-1.0630826486450782</c:v>
                </c:pt>
                <c:pt idx="1709">
                  <c:v>-1.0630826486450782</c:v>
                </c:pt>
                <c:pt idx="1710">
                  <c:v>-1.0630826486450782</c:v>
                </c:pt>
                <c:pt idx="1711">
                  <c:v>-1.0630826486450782</c:v>
                </c:pt>
                <c:pt idx="1712">
                  <c:v>-1.0630826486450782</c:v>
                </c:pt>
                <c:pt idx="1713">
                  <c:v>-1.0630826486450782</c:v>
                </c:pt>
                <c:pt idx="1714">
                  <c:v>-1.0630826486450782</c:v>
                </c:pt>
                <c:pt idx="1715">
                  <c:v>-1.0630826486450782</c:v>
                </c:pt>
                <c:pt idx="1716">
                  <c:v>-1.0630826486450782</c:v>
                </c:pt>
                <c:pt idx="1717">
                  <c:v>-1.0630826486450782</c:v>
                </c:pt>
                <c:pt idx="1718">
                  <c:v>-1.0630826486450782</c:v>
                </c:pt>
                <c:pt idx="1719">
                  <c:v>-1.0630826486450782</c:v>
                </c:pt>
                <c:pt idx="1720">
                  <c:v>-1.0630826486450782</c:v>
                </c:pt>
                <c:pt idx="1721">
                  <c:v>-1.0630826486450782</c:v>
                </c:pt>
                <c:pt idx="1722">
                  <c:v>-1.0630826486450782</c:v>
                </c:pt>
                <c:pt idx="1723">
                  <c:v>-1.0630826486450782</c:v>
                </c:pt>
                <c:pt idx="1724">
                  <c:v>-1.0630826486450782</c:v>
                </c:pt>
                <c:pt idx="1725">
                  <c:v>-1.0630826486450782</c:v>
                </c:pt>
                <c:pt idx="1726">
                  <c:v>-1.0630826486450782</c:v>
                </c:pt>
                <c:pt idx="1727">
                  <c:v>-1.0630826486450782</c:v>
                </c:pt>
                <c:pt idx="1728">
                  <c:v>-1.0630826486450782</c:v>
                </c:pt>
                <c:pt idx="1729">
                  <c:v>-1.0630826486450782</c:v>
                </c:pt>
                <c:pt idx="1730">
                  <c:v>-1.0630826486450782</c:v>
                </c:pt>
                <c:pt idx="1731">
                  <c:v>-1.0630826486450782</c:v>
                </c:pt>
                <c:pt idx="1732">
                  <c:v>-1.0630826486450782</c:v>
                </c:pt>
                <c:pt idx="1733">
                  <c:v>-1.0630826486450782</c:v>
                </c:pt>
                <c:pt idx="1734">
                  <c:v>-1.0630826486450782</c:v>
                </c:pt>
                <c:pt idx="1735">
                  <c:v>-1.0630826486450782</c:v>
                </c:pt>
                <c:pt idx="1736">
                  <c:v>-1.0630826486450782</c:v>
                </c:pt>
                <c:pt idx="1737">
                  <c:v>-1.0630826486450782</c:v>
                </c:pt>
                <c:pt idx="1738">
                  <c:v>-1.0630826486450782</c:v>
                </c:pt>
                <c:pt idx="1739">
                  <c:v>-1.0630826486450782</c:v>
                </c:pt>
                <c:pt idx="1740">
                  <c:v>-1.0630826486450782</c:v>
                </c:pt>
                <c:pt idx="1741">
                  <c:v>-1.0630826486450782</c:v>
                </c:pt>
                <c:pt idx="1742">
                  <c:v>-1.0630826486450782</c:v>
                </c:pt>
                <c:pt idx="1743">
                  <c:v>-1.0630826486450782</c:v>
                </c:pt>
                <c:pt idx="1744">
                  <c:v>-1.0630826486450782</c:v>
                </c:pt>
                <c:pt idx="1745">
                  <c:v>-1.0630826486450782</c:v>
                </c:pt>
                <c:pt idx="1746">
                  <c:v>-1.0630826486450782</c:v>
                </c:pt>
                <c:pt idx="1747">
                  <c:v>-1.0630826486450782</c:v>
                </c:pt>
                <c:pt idx="1748">
                  <c:v>-1.0630826486450782</c:v>
                </c:pt>
                <c:pt idx="1749">
                  <c:v>-1.0630826486450782</c:v>
                </c:pt>
                <c:pt idx="1750">
                  <c:v>-1.0630826486450782</c:v>
                </c:pt>
                <c:pt idx="1751">
                  <c:v>-1.0630826486450782</c:v>
                </c:pt>
                <c:pt idx="1752">
                  <c:v>-1.0630826486450782</c:v>
                </c:pt>
                <c:pt idx="1753">
                  <c:v>-1.0630826486450782</c:v>
                </c:pt>
                <c:pt idx="1754">
                  <c:v>-1.0630826486450782</c:v>
                </c:pt>
                <c:pt idx="1755">
                  <c:v>-1.0630826486450782</c:v>
                </c:pt>
                <c:pt idx="1756">
                  <c:v>-1.0630826486450782</c:v>
                </c:pt>
                <c:pt idx="1757">
                  <c:v>-1.0630826486450782</c:v>
                </c:pt>
                <c:pt idx="1758">
                  <c:v>-1.0630826486450782</c:v>
                </c:pt>
                <c:pt idx="1759">
                  <c:v>-1.0630826486450782</c:v>
                </c:pt>
                <c:pt idx="1760">
                  <c:v>-1.0630826486450782</c:v>
                </c:pt>
                <c:pt idx="1761">
                  <c:v>-1.0630826486450782</c:v>
                </c:pt>
                <c:pt idx="1762">
                  <c:v>-1.0630826486450782</c:v>
                </c:pt>
                <c:pt idx="1763">
                  <c:v>-1.0630826486450782</c:v>
                </c:pt>
                <c:pt idx="1764">
                  <c:v>-1.0630826486450782</c:v>
                </c:pt>
                <c:pt idx="1765">
                  <c:v>-1.0630826486450782</c:v>
                </c:pt>
                <c:pt idx="1766">
                  <c:v>-1.0630826486450782</c:v>
                </c:pt>
                <c:pt idx="1767">
                  <c:v>-1.0630826486450782</c:v>
                </c:pt>
                <c:pt idx="1768">
                  <c:v>-1.0630826486450782</c:v>
                </c:pt>
                <c:pt idx="1769">
                  <c:v>-1.0630826486450782</c:v>
                </c:pt>
                <c:pt idx="1770">
                  <c:v>-1.0630826486450782</c:v>
                </c:pt>
                <c:pt idx="1771">
                  <c:v>-1.0630826486450782</c:v>
                </c:pt>
                <c:pt idx="1772">
                  <c:v>-1.0630826486450782</c:v>
                </c:pt>
                <c:pt idx="1773">
                  <c:v>-1.0630826486450782</c:v>
                </c:pt>
                <c:pt idx="1774">
                  <c:v>-1.0630826486450782</c:v>
                </c:pt>
                <c:pt idx="1775">
                  <c:v>-1.0630826486450782</c:v>
                </c:pt>
                <c:pt idx="1776">
                  <c:v>-1.0630826486450782</c:v>
                </c:pt>
                <c:pt idx="1777">
                  <c:v>-1.0630826486450782</c:v>
                </c:pt>
                <c:pt idx="1778">
                  <c:v>-1.0630826486450782</c:v>
                </c:pt>
                <c:pt idx="1779">
                  <c:v>-1.0630826486450782</c:v>
                </c:pt>
                <c:pt idx="1780">
                  <c:v>-1.0630826486450782</c:v>
                </c:pt>
                <c:pt idx="1781">
                  <c:v>-1.0630826486450782</c:v>
                </c:pt>
                <c:pt idx="1782">
                  <c:v>-1.0630826486450782</c:v>
                </c:pt>
                <c:pt idx="1783">
                  <c:v>-1.0630826486450782</c:v>
                </c:pt>
                <c:pt idx="1784">
                  <c:v>-1.0630826486450782</c:v>
                </c:pt>
                <c:pt idx="1785">
                  <c:v>-1.0630826486450782</c:v>
                </c:pt>
                <c:pt idx="1786">
                  <c:v>-1.0630826486450782</c:v>
                </c:pt>
                <c:pt idx="1787">
                  <c:v>-1.0630826486450782</c:v>
                </c:pt>
                <c:pt idx="1788">
                  <c:v>-1.0630826486450782</c:v>
                </c:pt>
                <c:pt idx="1789">
                  <c:v>-1.0630826486450782</c:v>
                </c:pt>
                <c:pt idx="1790">
                  <c:v>-1.0630826486450782</c:v>
                </c:pt>
                <c:pt idx="1791">
                  <c:v>-1.0630826486450782</c:v>
                </c:pt>
                <c:pt idx="1792">
                  <c:v>-1.0630826486450782</c:v>
                </c:pt>
                <c:pt idx="1793">
                  <c:v>-1.0630826486450782</c:v>
                </c:pt>
                <c:pt idx="1794">
                  <c:v>-1.0630826486450782</c:v>
                </c:pt>
                <c:pt idx="1795">
                  <c:v>-1.0630826486450782</c:v>
                </c:pt>
                <c:pt idx="1796">
                  <c:v>-1.0630826486450782</c:v>
                </c:pt>
                <c:pt idx="1797">
                  <c:v>-1.0630826486450782</c:v>
                </c:pt>
                <c:pt idx="1798">
                  <c:v>-1.0630826486450782</c:v>
                </c:pt>
                <c:pt idx="1799">
                  <c:v>-1.0630826486450782</c:v>
                </c:pt>
                <c:pt idx="1800">
                  <c:v>-1.0630826486450782</c:v>
                </c:pt>
                <c:pt idx="1801">
                  <c:v>-1.0630826486450782</c:v>
                </c:pt>
                <c:pt idx="1802">
                  <c:v>-1.0630826486450782</c:v>
                </c:pt>
                <c:pt idx="1803">
                  <c:v>-1.0630826486450782</c:v>
                </c:pt>
                <c:pt idx="1804">
                  <c:v>-1.0630826486450782</c:v>
                </c:pt>
                <c:pt idx="1805">
                  <c:v>-1.0630826486450782</c:v>
                </c:pt>
                <c:pt idx="1806">
                  <c:v>-1.0630826486450782</c:v>
                </c:pt>
                <c:pt idx="1807">
                  <c:v>-1.0630826486450782</c:v>
                </c:pt>
                <c:pt idx="1808">
                  <c:v>-1.0630826486450782</c:v>
                </c:pt>
                <c:pt idx="1809">
                  <c:v>-1.0630826486450782</c:v>
                </c:pt>
                <c:pt idx="1810">
                  <c:v>-1.0630826486450782</c:v>
                </c:pt>
                <c:pt idx="1811">
                  <c:v>-1.0630826486450782</c:v>
                </c:pt>
                <c:pt idx="1812">
                  <c:v>-1.0630826486450782</c:v>
                </c:pt>
                <c:pt idx="1813">
                  <c:v>-1.0630826486450782</c:v>
                </c:pt>
                <c:pt idx="1814">
                  <c:v>-1.0630826486450782</c:v>
                </c:pt>
                <c:pt idx="1815">
                  <c:v>-1.0630826486450782</c:v>
                </c:pt>
                <c:pt idx="1816">
                  <c:v>-1.0630826486450782</c:v>
                </c:pt>
                <c:pt idx="1817">
                  <c:v>-1.0630826486450782</c:v>
                </c:pt>
                <c:pt idx="1818">
                  <c:v>-1.0630826486450782</c:v>
                </c:pt>
                <c:pt idx="1819">
                  <c:v>-1.0630826486450782</c:v>
                </c:pt>
                <c:pt idx="1820">
                  <c:v>-1.0630826486450782</c:v>
                </c:pt>
                <c:pt idx="1821">
                  <c:v>-1.0630826486450782</c:v>
                </c:pt>
                <c:pt idx="1822">
                  <c:v>-1.0630826486450782</c:v>
                </c:pt>
                <c:pt idx="1823">
                  <c:v>-1.0630826486450782</c:v>
                </c:pt>
                <c:pt idx="1824">
                  <c:v>-1.0630826486450782</c:v>
                </c:pt>
                <c:pt idx="1825">
                  <c:v>-1.0630826486450782</c:v>
                </c:pt>
                <c:pt idx="1826">
                  <c:v>-1.0630826486450782</c:v>
                </c:pt>
                <c:pt idx="1827">
                  <c:v>-1.0630826486450782</c:v>
                </c:pt>
                <c:pt idx="1828">
                  <c:v>-1.0630826486450782</c:v>
                </c:pt>
                <c:pt idx="1829">
                  <c:v>-1.0630826486450782</c:v>
                </c:pt>
                <c:pt idx="1830">
                  <c:v>-1.0630826486450782</c:v>
                </c:pt>
                <c:pt idx="1831">
                  <c:v>-1.0630826486450782</c:v>
                </c:pt>
                <c:pt idx="1832">
                  <c:v>-1.0630826486450782</c:v>
                </c:pt>
                <c:pt idx="1833">
                  <c:v>-1.0630826486450782</c:v>
                </c:pt>
                <c:pt idx="1834">
                  <c:v>-1.0630826486450782</c:v>
                </c:pt>
                <c:pt idx="1835">
                  <c:v>-1.0630826486450782</c:v>
                </c:pt>
                <c:pt idx="1836">
                  <c:v>-1.0630826486450782</c:v>
                </c:pt>
                <c:pt idx="1837">
                  <c:v>-1.0630826486450782</c:v>
                </c:pt>
                <c:pt idx="1838">
                  <c:v>-1.0630826486450782</c:v>
                </c:pt>
                <c:pt idx="1839">
                  <c:v>-1.0630826486450782</c:v>
                </c:pt>
                <c:pt idx="1840">
                  <c:v>-1.0630826486450782</c:v>
                </c:pt>
                <c:pt idx="1841">
                  <c:v>-1.0630826486450782</c:v>
                </c:pt>
                <c:pt idx="1842">
                  <c:v>-1.0630826486450782</c:v>
                </c:pt>
                <c:pt idx="1843">
                  <c:v>-1.0630826486450782</c:v>
                </c:pt>
                <c:pt idx="1844">
                  <c:v>-1.0630826486450782</c:v>
                </c:pt>
                <c:pt idx="1845">
                  <c:v>-1.0630826486450782</c:v>
                </c:pt>
                <c:pt idx="1846">
                  <c:v>-1.0630826486450782</c:v>
                </c:pt>
                <c:pt idx="1847">
                  <c:v>-1.0630826486450782</c:v>
                </c:pt>
                <c:pt idx="1848">
                  <c:v>-1.0630826486450782</c:v>
                </c:pt>
                <c:pt idx="1849">
                  <c:v>-1.0630826486450782</c:v>
                </c:pt>
                <c:pt idx="1850">
                  <c:v>-1.0630826486450782</c:v>
                </c:pt>
                <c:pt idx="1851">
                  <c:v>-1.0630826486450782</c:v>
                </c:pt>
                <c:pt idx="1852">
                  <c:v>-1.0630826486450782</c:v>
                </c:pt>
                <c:pt idx="1853">
                  <c:v>-1.0630826486450782</c:v>
                </c:pt>
                <c:pt idx="1854">
                  <c:v>-1.0630826486450782</c:v>
                </c:pt>
                <c:pt idx="1855">
                  <c:v>-1.0630826486450782</c:v>
                </c:pt>
                <c:pt idx="1856">
                  <c:v>-1.0630826486450782</c:v>
                </c:pt>
                <c:pt idx="1857">
                  <c:v>-1.0630826486450782</c:v>
                </c:pt>
                <c:pt idx="1858">
                  <c:v>-1.0630826486450782</c:v>
                </c:pt>
                <c:pt idx="1859">
                  <c:v>-1.0630826486450782</c:v>
                </c:pt>
                <c:pt idx="1860">
                  <c:v>-1.0630826486450782</c:v>
                </c:pt>
                <c:pt idx="1861">
                  <c:v>-1.0630826486450782</c:v>
                </c:pt>
                <c:pt idx="1862">
                  <c:v>-1.0630826486450782</c:v>
                </c:pt>
                <c:pt idx="1863">
                  <c:v>-1.0630826486450782</c:v>
                </c:pt>
                <c:pt idx="1864">
                  <c:v>-1.0630826486450782</c:v>
                </c:pt>
                <c:pt idx="1865">
                  <c:v>-1.0630826486450782</c:v>
                </c:pt>
                <c:pt idx="1866">
                  <c:v>-1.0630826486450782</c:v>
                </c:pt>
                <c:pt idx="1867">
                  <c:v>-1.0630826486450782</c:v>
                </c:pt>
                <c:pt idx="1868">
                  <c:v>-1.0630826486450782</c:v>
                </c:pt>
                <c:pt idx="1869">
                  <c:v>-1.0630826486450782</c:v>
                </c:pt>
                <c:pt idx="1870">
                  <c:v>-1.0630826486450782</c:v>
                </c:pt>
                <c:pt idx="1871">
                  <c:v>-1.0630826486450782</c:v>
                </c:pt>
                <c:pt idx="1872">
                  <c:v>-1.0630826486450782</c:v>
                </c:pt>
                <c:pt idx="1873">
                  <c:v>-1.0630826486450782</c:v>
                </c:pt>
                <c:pt idx="1874">
                  <c:v>-1.0630826486450782</c:v>
                </c:pt>
                <c:pt idx="1875">
                  <c:v>-1.0630826486450782</c:v>
                </c:pt>
                <c:pt idx="1876">
                  <c:v>-1.0630826486450782</c:v>
                </c:pt>
                <c:pt idx="1877">
                  <c:v>-1.0630826486450782</c:v>
                </c:pt>
                <c:pt idx="1878">
                  <c:v>-1.0630826486450782</c:v>
                </c:pt>
                <c:pt idx="1879">
                  <c:v>-1.0630826486450782</c:v>
                </c:pt>
                <c:pt idx="1880">
                  <c:v>-1.0630826486450782</c:v>
                </c:pt>
                <c:pt idx="1881">
                  <c:v>-1.0630826486450782</c:v>
                </c:pt>
                <c:pt idx="1882">
                  <c:v>-1.0630826486450782</c:v>
                </c:pt>
                <c:pt idx="1883">
                  <c:v>-1.0630826486450782</c:v>
                </c:pt>
                <c:pt idx="1884">
                  <c:v>-1.0630826486450782</c:v>
                </c:pt>
                <c:pt idx="1885">
                  <c:v>-1.0630826486450782</c:v>
                </c:pt>
                <c:pt idx="1886">
                  <c:v>-1.0630826486450782</c:v>
                </c:pt>
                <c:pt idx="1887">
                  <c:v>-1.0630826486450782</c:v>
                </c:pt>
                <c:pt idx="1888">
                  <c:v>-1.0630826486450782</c:v>
                </c:pt>
                <c:pt idx="1889">
                  <c:v>-1.0630826486450782</c:v>
                </c:pt>
                <c:pt idx="1890">
                  <c:v>-1.0630826486450782</c:v>
                </c:pt>
                <c:pt idx="1891">
                  <c:v>-1.0630826486450782</c:v>
                </c:pt>
                <c:pt idx="1892">
                  <c:v>-1.0630826486450782</c:v>
                </c:pt>
                <c:pt idx="1893">
                  <c:v>-1.0630826486450782</c:v>
                </c:pt>
                <c:pt idx="1894">
                  <c:v>-1.0630826486450782</c:v>
                </c:pt>
                <c:pt idx="1895">
                  <c:v>-1.0630826486450782</c:v>
                </c:pt>
                <c:pt idx="1896">
                  <c:v>-1.0630826486450782</c:v>
                </c:pt>
                <c:pt idx="1897">
                  <c:v>-1.0630826486450782</c:v>
                </c:pt>
                <c:pt idx="1898">
                  <c:v>-1.0630826486450782</c:v>
                </c:pt>
                <c:pt idx="1899">
                  <c:v>-1.0630826486450782</c:v>
                </c:pt>
                <c:pt idx="1900">
                  <c:v>-1.0630826486450782</c:v>
                </c:pt>
                <c:pt idx="1901">
                  <c:v>-1.0630826486450782</c:v>
                </c:pt>
                <c:pt idx="1902">
                  <c:v>-1.0630826486450782</c:v>
                </c:pt>
                <c:pt idx="1903">
                  <c:v>-1.0630826486450782</c:v>
                </c:pt>
                <c:pt idx="1904">
                  <c:v>-1.0630826486450782</c:v>
                </c:pt>
                <c:pt idx="1905">
                  <c:v>-1.0630826486450782</c:v>
                </c:pt>
                <c:pt idx="1906">
                  <c:v>-1.0630826486450782</c:v>
                </c:pt>
                <c:pt idx="1907">
                  <c:v>-1.0630826486450782</c:v>
                </c:pt>
                <c:pt idx="1908">
                  <c:v>-1.0630826486450782</c:v>
                </c:pt>
                <c:pt idx="1909">
                  <c:v>-1.0630826486450782</c:v>
                </c:pt>
                <c:pt idx="1910">
                  <c:v>-1.0630826486450782</c:v>
                </c:pt>
                <c:pt idx="1911">
                  <c:v>-1.0630826486450782</c:v>
                </c:pt>
                <c:pt idx="1912">
                  <c:v>-1.0630826486450782</c:v>
                </c:pt>
                <c:pt idx="1913">
                  <c:v>-1.0630826486450782</c:v>
                </c:pt>
                <c:pt idx="1914">
                  <c:v>-1.0630826486450782</c:v>
                </c:pt>
                <c:pt idx="1915">
                  <c:v>-1.0630826486450782</c:v>
                </c:pt>
                <c:pt idx="1916">
                  <c:v>-1.0630826486450782</c:v>
                </c:pt>
                <c:pt idx="1917">
                  <c:v>-1.0630826486450782</c:v>
                </c:pt>
                <c:pt idx="1918">
                  <c:v>-1.0630826486450782</c:v>
                </c:pt>
                <c:pt idx="1919">
                  <c:v>-1.0630826486450782</c:v>
                </c:pt>
                <c:pt idx="1920">
                  <c:v>-1.0630826486450782</c:v>
                </c:pt>
                <c:pt idx="1921">
                  <c:v>-1.0630826486450782</c:v>
                </c:pt>
                <c:pt idx="1922">
                  <c:v>-1.0630826486450782</c:v>
                </c:pt>
                <c:pt idx="1923">
                  <c:v>-1.0630826486450782</c:v>
                </c:pt>
                <c:pt idx="1924">
                  <c:v>-1.0630826486450782</c:v>
                </c:pt>
                <c:pt idx="1925">
                  <c:v>-1.0630826486450782</c:v>
                </c:pt>
                <c:pt idx="1926">
                  <c:v>-1.0630826486450782</c:v>
                </c:pt>
                <c:pt idx="1927">
                  <c:v>-1.0630826486450782</c:v>
                </c:pt>
                <c:pt idx="1928">
                  <c:v>-1.0630826486450782</c:v>
                </c:pt>
                <c:pt idx="1929">
                  <c:v>-1.0630826486450782</c:v>
                </c:pt>
                <c:pt idx="1930">
                  <c:v>-1.0630826486450782</c:v>
                </c:pt>
                <c:pt idx="1931">
                  <c:v>-1.0630826486450782</c:v>
                </c:pt>
                <c:pt idx="1932">
                  <c:v>-1.0630826486450782</c:v>
                </c:pt>
                <c:pt idx="1933">
                  <c:v>-1.0630826486450782</c:v>
                </c:pt>
                <c:pt idx="1934">
                  <c:v>-1.0630826486450782</c:v>
                </c:pt>
                <c:pt idx="1935">
                  <c:v>-1.0630826486450782</c:v>
                </c:pt>
                <c:pt idx="1936">
                  <c:v>-1.0630826486450782</c:v>
                </c:pt>
                <c:pt idx="1937">
                  <c:v>-1.0630826486450782</c:v>
                </c:pt>
                <c:pt idx="1938">
                  <c:v>-1.0630826486450782</c:v>
                </c:pt>
                <c:pt idx="1939">
                  <c:v>-1.0630826486450782</c:v>
                </c:pt>
                <c:pt idx="1940">
                  <c:v>-1.0630826486450782</c:v>
                </c:pt>
                <c:pt idx="1941">
                  <c:v>-1.0630826486450782</c:v>
                </c:pt>
                <c:pt idx="1942">
                  <c:v>-1.0630826486450782</c:v>
                </c:pt>
                <c:pt idx="1943">
                  <c:v>-1.0630826486450782</c:v>
                </c:pt>
                <c:pt idx="1944">
                  <c:v>-1.0630826486450782</c:v>
                </c:pt>
                <c:pt idx="1945">
                  <c:v>-1.0630826486450782</c:v>
                </c:pt>
                <c:pt idx="1946">
                  <c:v>-1.0630826486450782</c:v>
                </c:pt>
                <c:pt idx="1947">
                  <c:v>-1.0630826486450782</c:v>
                </c:pt>
                <c:pt idx="1948">
                  <c:v>-1.0630826486450782</c:v>
                </c:pt>
                <c:pt idx="1949">
                  <c:v>-1.0630826486450782</c:v>
                </c:pt>
                <c:pt idx="1950">
                  <c:v>-1.0630826486450782</c:v>
                </c:pt>
                <c:pt idx="1951">
                  <c:v>-1.0630826486450782</c:v>
                </c:pt>
                <c:pt idx="1952">
                  <c:v>-1.0630826486450782</c:v>
                </c:pt>
                <c:pt idx="1953">
                  <c:v>-1.0630826486450782</c:v>
                </c:pt>
                <c:pt idx="1954">
                  <c:v>-1.0630826486450782</c:v>
                </c:pt>
                <c:pt idx="1955">
                  <c:v>-1.0630826486450782</c:v>
                </c:pt>
                <c:pt idx="1956">
                  <c:v>-1.0630826486450782</c:v>
                </c:pt>
                <c:pt idx="1957">
                  <c:v>-1.0630826486450782</c:v>
                </c:pt>
                <c:pt idx="1958">
                  <c:v>-1.0630826486450782</c:v>
                </c:pt>
                <c:pt idx="1959">
                  <c:v>-1.0630826486450782</c:v>
                </c:pt>
                <c:pt idx="1960">
                  <c:v>-1.0630826486450782</c:v>
                </c:pt>
                <c:pt idx="1961">
                  <c:v>-1.0630826486450782</c:v>
                </c:pt>
                <c:pt idx="1962">
                  <c:v>-1.0630826486450782</c:v>
                </c:pt>
                <c:pt idx="1963">
                  <c:v>-1.0630826486450782</c:v>
                </c:pt>
                <c:pt idx="1964">
                  <c:v>-1.0630826486450782</c:v>
                </c:pt>
                <c:pt idx="1965">
                  <c:v>-1.0630826486450782</c:v>
                </c:pt>
                <c:pt idx="1966">
                  <c:v>-1.0630826486450782</c:v>
                </c:pt>
                <c:pt idx="1967">
                  <c:v>-1.0630826486450782</c:v>
                </c:pt>
                <c:pt idx="1968">
                  <c:v>-1.0630826486450782</c:v>
                </c:pt>
                <c:pt idx="1969">
                  <c:v>-1.0630826486450782</c:v>
                </c:pt>
                <c:pt idx="1970">
                  <c:v>-1.0630826486450782</c:v>
                </c:pt>
                <c:pt idx="1971">
                  <c:v>-1.0630826486450782</c:v>
                </c:pt>
                <c:pt idx="1972">
                  <c:v>-1.0630826486450782</c:v>
                </c:pt>
                <c:pt idx="1973">
                  <c:v>-1.0630826486450782</c:v>
                </c:pt>
                <c:pt idx="1974">
                  <c:v>-1.0630826486450782</c:v>
                </c:pt>
                <c:pt idx="1975">
                  <c:v>-1.0630826486450782</c:v>
                </c:pt>
                <c:pt idx="1976">
                  <c:v>-1.0630826486450782</c:v>
                </c:pt>
                <c:pt idx="1977">
                  <c:v>-1.0630826486450782</c:v>
                </c:pt>
                <c:pt idx="1978">
                  <c:v>-1.0630826486450782</c:v>
                </c:pt>
                <c:pt idx="1979">
                  <c:v>-1.0630826486450782</c:v>
                </c:pt>
                <c:pt idx="1980">
                  <c:v>-1.0630826486450782</c:v>
                </c:pt>
                <c:pt idx="1981">
                  <c:v>-1.0630826486450782</c:v>
                </c:pt>
                <c:pt idx="1982">
                  <c:v>-1.0630826486450782</c:v>
                </c:pt>
                <c:pt idx="1983">
                  <c:v>-1.0630826486450782</c:v>
                </c:pt>
                <c:pt idx="1984">
                  <c:v>-1.0630826486450782</c:v>
                </c:pt>
                <c:pt idx="1985">
                  <c:v>-1.0630826486450782</c:v>
                </c:pt>
                <c:pt idx="1986">
                  <c:v>-1.0630826486450782</c:v>
                </c:pt>
                <c:pt idx="1987">
                  <c:v>-1.0630826486450782</c:v>
                </c:pt>
                <c:pt idx="1988">
                  <c:v>-1.0630826486450782</c:v>
                </c:pt>
                <c:pt idx="1989">
                  <c:v>-1.0630826486450782</c:v>
                </c:pt>
                <c:pt idx="1990">
                  <c:v>-1.0630826486450782</c:v>
                </c:pt>
                <c:pt idx="1991">
                  <c:v>-1.0630826486450782</c:v>
                </c:pt>
                <c:pt idx="1992">
                  <c:v>-1.0630826486450782</c:v>
                </c:pt>
                <c:pt idx="1993">
                  <c:v>-1.0630826486450782</c:v>
                </c:pt>
                <c:pt idx="1994">
                  <c:v>-1.0630826486450782</c:v>
                </c:pt>
                <c:pt idx="1995">
                  <c:v>-1.0630826486450782</c:v>
                </c:pt>
                <c:pt idx="1996">
                  <c:v>-1.0630826486450782</c:v>
                </c:pt>
                <c:pt idx="1997">
                  <c:v>-1.0630826486450782</c:v>
                </c:pt>
                <c:pt idx="1998">
                  <c:v>-1.0630826486450782</c:v>
                </c:pt>
                <c:pt idx="1999">
                  <c:v>-1.0630826486450782</c:v>
                </c:pt>
                <c:pt idx="2000">
                  <c:v>-1.0630826486450782</c:v>
                </c:pt>
                <c:pt idx="2001">
                  <c:v>-1.0630826486450782</c:v>
                </c:pt>
                <c:pt idx="2002">
                  <c:v>-1.0630826486450782</c:v>
                </c:pt>
                <c:pt idx="2003">
                  <c:v>-1.0630826486450782</c:v>
                </c:pt>
                <c:pt idx="2004">
                  <c:v>-1.0630826486450782</c:v>
                </c:pt>
                <c:pt idx="2005">
                  <c:v>-1.0630826486450782</c:v>
                </c:pt>
                <c:pt idx="2006">
                  <c:v>-1.0630826486450782</c:v>
                </c:pt>
                <c:pt idx="2007">
                  <c:v>-1.0630826486450782</c:v>
                </c:pt>
                <c:pt idx="2008">
                  <c:v>-1.0630826486450782</c:v>
                </c:pt>
                <c:pt idx="2009">
                  <c:v>-1.0630826486450782</c:v>
                </c:pt>
                <c:pt idx="2010">
                  <c:v>-1.0630826486450782</c:v>
                </c:pt>
                <c:pt idx="2011">
                  <c:v>-1.0630826486450782</c:v>
                </c:pt>
                <c:pt idx="2012">
                  <c:v>-1.0630826486450782</c:v>
                </c:pt>
                <c:pt idx="2013">
                  <c:v>-1.0630826486450782</c:v>
                </c:pt>
                <c:pt idx="2014">
                  <c:v>-1.0630826486450782</c:v>
                </c:pt>
                <c:pt idx="2015">
                  <c:v>-1.0630826486450782</c:v>
                </c:pt>
                <c:pt idx="2016">
                  <c:v>-1.0630826486450782</c:v>
                </c:pt>
                <c:pt idx="2017">
                  <c:v>-1.0630826486450782</c:v>
                </c:pt>
                <c:pt idx="2018">
                  <c:v>-1.0630826486450782</c:v>
                </c:pt>
                <c:pt idx="2019">
                  <c:v>-1.0630826486450782</c:v>
                </c:pt>
                <c:pt idx="2020">
                  <c:v>-1.0630826486450782</c:v>
                </c:pt>
                <c:pt idx="2021">
                  <c:v>-1.0630826486450782</c:v>
                </c:pt>
                <c:pt idx="2022">
                  <c:v>-1.0630826486450782</c:v>
                </c:pt>
                <c:pt idx="2023">
                  <c:v>-1.0630826486450782</c:v>
                </c:pt>
                <c:pt idx="2024">
                  <c:v>-1.0630826486450782</c:v>
                </c:pt>
                <c:pt idx="2025">
                  <c:v>-1.0630826486450782</c:v>
                </c:pt>
                <c:pt idx="2026">
                  <c:v>-1.0630826486450782</c:v>
                </c:pt>
                <c:pt idx="2027">
                  <c:v>-1.0630826486450782</c:v>
                </c:pt>
                <c:pt idx="2028">
                  <c:v>-1.0630826486450782</c:v>
                </c:pt>
                <c:pt idx="2029">
                  <c:v>-1.0630826486450782</c:v>
                </c:pt>
                <c:pt idx="2030">
                  <c:v>-1.0630826486450782</c:v>
                </c:pt>
                <c:pt idx="2031">
                  <c:v>-1.0630826486450782</c:v>
                </c:pt>
                <c:pt idx="2032">
                  <c:v>-1.0630826486450782</c:v>
                </c:pt>
                <c:pt idx="2033">
                  <c:v>-1.0630826486450782</c:v>
                </c:pt>
                <c:pt idx="2034">
                  <c:v>-1.0630826486450782</c:v>
                </c:pt>
                <c:pt idx="2035">
                  <c:v>-1.0630826486450782</c:v>
                </c:pt>
                <c:pt idx="2036">
                  <c:v>-1.0630826486450782</c:v>
                </c:pt>
                <c:pt idx="2037">
                  <c:v>-1.0630826486450782</c:v>
                </c:pt>
                <c:pt idx="2038">
                  <c:v>-1.0630826486450782</c:v>
                </c:pt>
                <c:pt idx="2039">
                  <c:v>-1.0630826486450782</c:v>
                </c:pt>
                <c:pt idx="2040">
                  <c:v>-1.0630826486450782</c:v>
                </c:pt>
                <c:pt idx="2041">
                  <c:v>-1.0630826486450782</c:v>
                </c:pt>
                <c:pt idx="2042">
                  <c:v>-1.0630826486450782</c:v>
                </c:pt>
                <c:pt idx="2043">
                  <c:v>-1.0630826486450782</c:v>
                </c:pt>
                <c:pt idx="2044">
                  <c:v>-1.0630826486450782</c:v>
                </c:pt>
                <c:pt idx="2045">
                  <c:v>-1.0630826486450782</c:v>
                </c:pt>
                <c:pt idx="2046">
                  <c:v>-1.0630826486450782</c:v>
                </c:pt>
                <c:pt idx="2047">
                  <c:v>-1.0630826486450782</c:v>
                </c:pt>
                <c:pt idx="2048">
                  <c:v>-1.0630826486450782</c:v>
                </c:pt>
                <c:pt idx="2049">
                  <c:v>-1.0630826486450782</c:v>
                </c:pt>
                <c:pt idx="2050">
                  <c:v>-1.0630826486450782</c:v>
                </c:pt>
                <c:pt idx="2051">
                  <c:v>-1.0630826486450782</c:v>
                </c:pt>
                <c:pt idx="2052">
                  <c:v>-1.0630826486450782</c:v>
                </c:pt>
                <c:pt idx="2053">
                  <c:v>-1.0630826486450782</c:v>
                </c:pt>
                <c:pt idx="2054">
                  <c:v>-1.0630826486450782</c:v>
                </c:pt>
                <c:pt idx="2055">
                  <c:v>-1.0630826486450782</c:v>
                </c:pt>
                <c:pt idx="2056">
                  <c:v>-1.0630826486450782</c:v>
                </c:pt>
                <c:pt idx="2057">
                  <c:v>-1.0630826486450782</c:v>
                </c:pt>
                <c:pt idx="2058">
                  <c:v>-1.0630826486450782</c:v>
                </c:pt>
                <c:pt idx="2059">
                  <c:v>-1.0630826486450782</c:v>
                </c:pt>
                <c:pt idx="2060">
                  <c:v>-1.0630826486450782</c:v>
                </c:pt>
                <c:pt idx="2061">
                  <c:v>-1.0630826486450782</c:v>
                </c:pt>
                <c:pt idx="2062">
                  <c:v>-1.0630826486450782</c:v>
                </c:pt>
                <c:pt idx="2063">
                  <c:v>-1.0630826486450782</c:v>
                </c:pt>
                <c:pt idx="2064">
                  <c:v>-1.0630826486450782</c:v>
                </c:pt>
                <c:pt idx="2065">
                  <c:v>-1.0630826486450782</c:v>
                </c:pt>
                <c:pt idx="2066">
                  <c:v>-1.0630826486450782</c:v>
                </c:pt>
                <c:pt idx="2067">
                  <c:v>-1.0630826486450782</c:v>
                </c:pt>
                <c:pt idx="2068">
                  <c:v>-1.0630826486450782</c:v>
                </c:pt>
                <c:pt idx="2069">
                  <c:v>-1.0630826486450782</c:v>
                </c:pt>
                <c:pt idx="2070">
                  <c:v>-1.0630826486450782</c:v>
                </c:pt>
                <c:pt idx="2071">
                  <c:v>-1.0630826486450782</c:v>
                </c:pt>
                <c:pt idx="2072">
                  <c:v>-1.0630826486450782</c:v>
                </c:pt>
                <c:pt idx="2073">
                  <c:v>-1.0630826486450782</c:v>
                </c:pt>
                <c:pt idx="2074">
                  <c:v>-1.0630826486450782</c:v>
                </c:pt>
                <c:pt idx="2075">
                  <c:v>-1.0630826486450782</c:v>
                </c:pt>
                <c:pt idx="2076">
                  <c:v>-1.0630826486450782</c:v>
                </c:pt>
                <c:pt idx="2077">
                  <c:v>-1.0630826486450782</c:v>
                </c:pt>
                <c:pt idx="2078">
                  <c:v>-1.0630826486450782</c:v>
                </c:pt>
                <c:pt idx="2079">
                  <c:v>-1.0630826486450782</c:v>
                </c:pt>
                <c:pt idx="2080">
                  <c:v>-1.0630826486450782</c:v>
                </c:pt>
                <c:pt idx="2081">
                  <c:v>-1.0630826486450782</c:v>
                </c:pt>
                <c:pt idx="2082">
                  <c:v>-1.0630826486450782</c:v>
                </c:pt>
                <c:pt idx="2083">
                  <c:v>-1.0630826486450782</c:v>
                </c:pt>
                <c:pt idx="2084">
                  <c:v>-1.0630826486450782</c:v>
                </c:pt>
                <c:pt idx="2085">
                  <c:v>-1.0630826486450782</c:v>
                </c:pt>
                <c:pt idx="2086">
                  <c:v>-1.0630826486450782</c:v>
                </c:pt>
                <c:pt idx="2087">
                  <c:v>-1.0630826486450782</c:v>
                </c:pt>
                <c:pt idx="2088">
                  <c:v>-1.0630826486450782</c:v>
                </c:pt>
                <c:pt idx="2089">
                  <c:v>-1.0630826486450782</c:v>
                </c:pt>
                <c:pt idx="2090">
                  <c:v>-1.0630826486450782</c:v>
                </c:pt>
                <c:pt idx="2091">
                  <c:v>-1.0630826486450782</c:v>
                </c:pt>
                <c:pt idx="2092">
                  <c:v>-1.0630826486450782</c:v>
                </c:pt>
                <c:pt idx="2093">
                  <c:v>-1.0630826486450782</c:v>
                </c:pt>
                <c:pt idx="2094">
                  <c:v>-1.0630826486450782</c:v>
                </c:pt>
                <c:pt idx="2095">
                  <c:v>-1.0630826486450782</c:v>
                </c:pt>
                <c:pt idx="2096">
                  <c:v>-1.0630826486450782</c:v>
                </c:pt>
                <c:pt idx="2097">
                  <c:v>-1.0630826486450782</c:v>
                </c:pt>
                <c:pt idx="2098">
                  <c:v>-1.0630826486450782</c:v>
                </c:pt>
                <c:pt idx="2099">
                  <c:v>-1.0630826486450782</c:v>
                </c:pt>
                <c:pt idx="2100">
                  <c:v>-1.0630826486450782</c:v>
                </c:pt>
                <c:pt idx="2101">
                  <c:v>-1.0630826486450782</c:v>
                </c:pt>
                <c:pt idx="2102">
                  <c:v>-1.0630826486450782</c:v>
                </c:pt>
                <c:pt idx="2103">
                  <c:v>-1.0630826486450782</c:v>
                </c:pt>
                <c:pt idx="2104">
                  <c:v>-1.0630826486450782</c:v>
                </c:pt>
                <c:pt idx="2105">
                  <c:v>-1.0630826486450782</c:v>
                </c:pt>
                <c:pt idx="2106">
                  <c:v>-1.0630826486450782</c:v>
                </c:pt>
                <c:pt idx="2107">
                  <c:v>-1.0630826486450782</c:v>
                </c:pt>
                <c:pt idx="2108">
                  <c:v>-1.0630826486450782</c:v>
                </c:pt>
                <c:pt idx="2109">
                  <c:v>-1.0630826486450782</c:v>
                </c:pt>
                <c:pt idx="2110">
                  <c:v>-1.0630826486450782</c:v>
                </c:pt>
                <c:pt idx="2111">
                  <c:v>-1.0630826486450782</c:v>
                </c:pt>
                <c:pt idx="2112">
                  <c:v>-1.0630826486450782</c:v>
                </c:pt>
                <c:pt idx="2113">
                  <c:v>-1.0630826486450782</c:v>
                </c:pt>
                <c:pt idx="2114">
                  <c:v>-1.0630826486450782</c:v>
                </c:pt>
                <c:pt idx="2115">
                  <c:v>-1.0630826486450782</c:v>
                </c:pt>
                <c:pt idx="2116">
                  <c:v>-1.0630826486450782</c:v>
                </c:pt>
                <c:pt idx="2117">
                  <c:v>-1.0630826486450782</c:v>
                </c:pt>
                <c:pt idx="2118">
                  <c:v>-1.0630826486450782</c:v>
                </c:pt>
                <c:pt idx="2119">
                  <c:v>-1.0630826486450782</c:v>
                </c:pt>
                <c:pt idx="2120">
                  <c:v>-1.0630826486450782</c:v>
                </c:pt>
                <c:pt idx="2121">
                  <c:v>-1.0630826486450782</c:v>
                </c:pt>
                <c:pt idx="2122">
                  <c:v>-1.0630826486450782</c:v>
                </c:pt>
                <c:pt idx="2123">
                  <c:v>-1.0630826486450782</c:v>
                </c:pt>
                <c:pt idx="2124">
                  <c:v>-1.0630826486450782</c:v>
                </c:pt>
                <c:pt idx="2125">
                  <c:v>-1.0630826486450782</c:v>
                </c:pt>
                <c:pt idx="2126">
                  <c:v>-1.0630826486450782</c:v>
                </c:pt>
                <c:pt idx="2127">
                  <c:v>-1.0630826486450782</c:v>
                </c:pt>
                <c:pt idx="2128">
                  <c:v>-1.0630826486450782</c:v>
                </c:pt>
                <c:pt idx="2129">
                  <c:v>-1.0630826486450782</c:v>
                </c:pt>
                <c:pt idx="2130">
                  <c:v>-1.0630826486450782</c:v>
                </c:pt>
                <c:pt idx="2131">
                  <c:v>-1.0630826486450782</c:v>
                </c:pt>
                <c:pt idx="2132">
                  <c:v>-1.0630826486450782</c:v>
                </c:pt>
                <c:pt idx="2133">
                  <c:v>-1.0630826486450782</c:v>
                </c:pt>
                <c:pt idx="2134">
                  <c:v>-1.0630826486450782</c:v>
                </c:pt>
                <c:pt idx="2135">
                  <c:v>-1.0630826486450782</c:v>
                </c:pt>
                <c:pt idx="2136">
                  <c:v>-1.0630826486450782</c:v>
                </c:pt>
                <c:pt idx="2137">
                  <c:v>-1.0630826486450782</c:v>
                </c:pt>
                <c:pt idx="2138">
                  <c:v>-1.0630826486450782</c:v>
                </c:pt>
                <c:pt idx="2139">
                  <c:v>-1.0630826486450782</c:v>
                </c:pt>
                <c:pt idx="2140">
                  <c:v>-1.0630826486450782</c:v>
                </c:pt>
                <c:pt idx="2141">
                  <c:v>-1.0630826486450782</c:v>
                </c:pt>
                <c:pt idx="2142">
                  <c:v>-1.0630826486450782</c:v>
                </c:pt>
                <c:pt idx="2143">
                  <c:v>-1.0630826486450782</c:v>
                </c:pt>
                <c:pt idx="2144">
                  <c:v>-1.0630826486450782</c:v>
                </c:pt>
                <c:pt idx="2145">
                  <c:v>-1.0630826486450782</c:v>
                </c:pt>
                <c:pt idx="2146">
                  <c:v>-1.0630826486450782</c:v>
                </c:pt>
                <c:pt idx="2147">
                  <c:v>-1.0630826486450782</c:v>
                </c:pt>
                <c:pt idx="2148">
                  <c:v>-1.0630826486450782</c:v>
                </c:pt>
                <c:pt idx="2149">
                  <c:v>-1.0630826486450782</c:v>
                </c:pt>
                <c:pt idx="2150">
                  <c:v>-1.0630826486450782</c:v>
                </c:pt>
                <c:pt idx="2151">
                  <c:v>-1.0630826486450782</c:v>
                </c:pt>
                <c:pt idx="2152">
                  <c:v>-1.0630826486450782</c:v>
                </c:pt>
                <c:pt idx="2153">
                  <c:v>-1.0630826486450782</c:v>
                </c:pt>
                <c:pt idx="2154">
                  <c:v>-1.0630826486450782</c:v>
                </c:pt>
                <c:pt idx="2155">
                  <c:v>-1.0630826486450782</c:v>
                </c:pt>
                <c:pt idx="2156">
                  <c:v>-1.0630826486450782</c:v>
                </c:pt>
                <c:pt idx="2157">
                  <c:v>-1.0630826486450782</c:v>
                </c:pt>
                <c:pt idx="2158">
                  <c:v>-1.0630826486450782</c:v>
                </c:pt>
                <c:pt idx="2159">
                  <c:v>-1.0630826486450782</c:v>
                </c:pt>
                <c:pt idx="2160">
                  <c:v>-1.0630826486450782</c:v>
                </c:pt>
                <c:pt idx="2161">
                  <c:v>-1.0630826486450782</c:v>
                </c:pt>
                <c:pt idx="2162">
                  <c:v>-1.0630826486450782</c:v>
                </c:pt>
                <c:pt idx="2163">
                  <c:v>-1.0630826486450782</c:v>
                </c:pt>
                <c:pt idx="2164">
                  <c:v>-1.0630826486450782</c:v>
                </c:pt>
                <c:pt idx="2165">
                  <c:v>-1.0630826486450782</c:v>
                </c:pt>
                <c:pt idx="2166">
                  <c:v>-1.0630826486450782</c:v>
                </c:pt>
                <c:pt idx="2167">
                  <c:v>-1.0630826486450782</c:v>
                </c:pt>
                <c:pt idx="2168">
                  <c:v>-1.0630826486450782</c:v>
                </c:pt>
                <c:pt idx="2169">
                  <c:v>-1.0630826486450782</c:v>
                </c:pt>
                <c:pt idx="2170">
                  <c:v>-1.0630826486450782</c:v>
                </c:pt>
                <c:pt idx="2171">
                  <c:v>-1.0630826486450782</c:v>
                </c:pt>
                <c:pt idx="2172">
                  <c:v>-1.0630826486450782</c:v>
                </c:pt>
                <c:pt idx="2173">
                  <c:v>-1.0630826486450782</c:v>
                </c:pt>
                <c:pt idx="2174">
                  <c:v>-1.0630826486450782</c:v>
                </c:pt>
                <c:pt idx="2175">
                  <c:v>-1.0630826486450782</c:v>
                </c:pt>
                <c:pt idx="2176">
                  <c:v>-1.0630826486450782</c:v>
                </c:pt>
                <c:pt idx="2177">
                  <c:v>-1.0630826486450782</c:v>
                </c:pt>
                <c:pt idx="2178">
                  <c:v>-1.0630826486450782</c:v>
                </c:pt>
                <c:pt idx="2179">
                  <c:v>-1.0630826486450782</c:v>
                </c:pt>
                <c:pt idx="2180">
                  <c:v>-1.0630826486450782</c:v>
                </c:pt>
                <c:pt idx="2181">
                  <c:v>-1.0630826486450782</c:v>
                </c:pt>
                <c:pt idx="2182">
                  <c:v>-1.0630826486450782</c:v>
                </c:pt>
                <c:pt idx="2183">
                  <c:v>-1.0630826486450782</c:v>
                </c:pt>
                <c:pt idx="2184">
                  <c:v>-1.0630826486450782</c:v>
                </c:pt>
                <c:pt idx="2185">
                  <c:v>-1.0630826486450782</c:v>
                </c:pt>
                <c:pt idx="2186">
                  <c:v>-1.0630826486450782</c:v>
                </c:pt>
                <c:pt idx="2187">
                  <c:v>-1.0630826486450782</c:v>
                </c:pt>
                <c:pt idx="2188">
                  <c:v>-1.0630826486450782</c:v>
                </c:pt>
                <c:pt idx="2189">
                  <c:v>-1.0630826486450782</c:v>
                </c:pt>
                <c:pt idx="2190">
                  <c:v>-1.0630826486450782</c:v>
                </c:pt>
                <c:pt idx="2191">
                  <c:v>-1.0630826486450782</c:v>
                </c:pt>
                <c:pt idx="2192">
                  <c:v>-1.0630826486450782</c:v>
                </c:pt>
                <c:pt idx="2193">
                  <c:v>-1.0630826486450782</c:v>
                </c:pt>
                <c:pt idx="2194">
                  <c:v>-1.0630826486450782</c:v>
                </c:pt>
                <c:pt idx="2195">
                  <c:v>-1.0630826486450782</c:v>
                </c:pt>
                <c:pt idx="2196">
                  <c:v>-1.0630826486450782</c:v>
                </c:pt>
                <c:pt idx="2197">
                  <c:v>-1.0630826486450782</c:v>
                </c:pt>
                <c:pt idx="2198">
                  <c:v>-1.0630826486450782</c:v>
                </c:pt>
                <c:pt idx="2199">
                  <c:v>-1.0630826486450782</c:v>
                </c:pt>
                <c:pt idx="2200">
                  <c:v>-1.0630826486450782</c:v>
                </c:pt>
                <c:pt idx="2201">
                  <c:v>-1.0630826486450782</c:v>
                </c:pt>
                <c:pt idx="2202">
                  <c:v>-1.0630826486450782</c:v>
                </c:pt>
                <c:pt idx="2203">
                  <c:v>-1.0630826486450782</c:v>
                </c:pt>
                <c:pt idx="2204">
                  <c:v>-1.0630826486450782</c:v>
                </c:pt>
                <c:pt idx="2205">
                  <c:v>-1.0630826486450782</c:v>
                </c:pt>
                <c:pt idx="2206">
                  <c:v>-1.0630826486450782</c:v>
                </c:pt>
                <c:pt idx="2207">
                  <c:v>-1.0630826486450782</c:v>
                </c:pt>
                <c:pt idx="2208">
                  <c:v>-1.0630826486450782</c:v>
                </c:pt>
                <c:pt idx="2209">
                  <c:v>-1.0630826486450782</c:v>
                </c:pt>
                <c:pt idx="2210">
                  <c:v>-1.0630826486450782</c:v>
                </c:pt>
                <c:pt idx="2211">
                  <c:v>-1.0630826486450782</c:v>
                </c:pt>
                <c:pt idx="2212">
                  <c:v>-1.0630826486450782</c:v>
                </c:pt>
                <c:pt idx="2213">
                  <c:v>-1.0630826486450782</c:v>
                </c:pt>
                <c:pt idx="2214">
                  <c:v>-1.0630826486450782</c:v>
                </c:pt>
                <c:pt idx="2215">
                  <c:v>-1.0630826486450782</c:v>
                </c:pt>
                <c:pt idx="2216">
                  <c:v>-1.0630826486450782</c:v>
                </c:pt>
                <c:pt idx="2217">
                  <c:v>-1.0630826486450782</c:v>
                </c:pt>
                <c:pt idx="2218">
                  <c:v>-1.0630826486450782</c:v>
                </c:pt>
                <c:pt idx="2219">
                  <c:v>-1.0630826486450782</c:v>
                </c:pt>
                <c:pt idx="2220">
                  <c:v>-1.0630826486450782</c:v>
                </c:pt>
                <c:pt idx="2221">
                  <c:v>-1.0630826486450782</c:v>
                </c:pt>
                <c:pt idx="2222">
                  <c:v>-1.0630826486450782</c:v>
                </c:pt>
                <c:pt idx="2223">
                  <c:v>-1.0630826486450782</c:v>
                </c:pt>
                <c:pt idx="2224">
                  <c:v>-1.0630826486450782</c:v>
                </c:pt>
                <c:pt idx="2225">
                  <c:v>-1.0630826486450782</c:v>
                </c:pt>
                <c:pt idx="2226">
                  <c:v>-1.0630826486450782</c:v>
                </c:pt>
                <c:pt idx="2227">
                  <c:v>-1.0630826486450782</c:v>
                </c:pt>
                <c:pt idx="2228">
                  <c:v>-1.0630826486450782</c:v>
                </c:pt>
                <c:pt idx="2229">
                  <c:v>-1.0630826486450782</c:v>
                </c:pt>
                <c:pt idx="2230">
                  <c:v>-1.0630826486450782</c:v>
                </c:pt>
                <c:pt idx="2231">
                  <c:v>-1.0630826486450782</c:v>
                </c:pt>
                <c:pt idx="2232">
                  <c:v>-1.0630826486450782</c:v>
                </c:pt>
                <c:pt idx="2233">
                  <c:v>-1.0630826486450782</c:v>
                </c:pt>
                <c:pt idx="2234">
                  <c:v>-1.0630826486450782</c:v>
                </c:pt>
                <c:pt idx="2235">
                  <c:v>-1.0630826486450782</c:v>
                </c:pt>
                <c:pt idx="2236">
                  <c:v>-1.0630826486450782</c:v>
                </c:pt>
                <c:pt idx="2237">
                  <c:v>-1.0630826486450782</c:v>
                </c:pt>
                <c:pt idx="2238">
                  <c:v>-1.0630826486450782</c:v>
                </c:pt>
                <c:pt idx="2239">
                  <c:v>-1.0630826486450782</c:v>
                </c:pt>
                <c:pt idx="2240">
                  <c:v>-1.0630826486450782</c:v>
                </c:pt>
                <c:pt idx="2241">
                  <c:v>-1.0630826486450782</c:v>
                </c:pt>
                <c:pt idx="2242">
                  <c:v>-1.0630826486450782</c:v>
                </c:pt>
                <c:pt idx="2243">
                  <c:v>-1.0630826486450782</c:v>
                </c:pt>
                <c:pt idx="2244">
                  <c:v>-1.0630826486450782</c:v>
                </c:pt>
                <c:pt idx="2245">
                  <c:v>-1.0630826486450782</c:v>
                </c:pt>
                <c:pt idx="2246">
                  <c:v>-1.0630826486450782</c:v>
                </c:pt>
                <c:pt idx="2247">
                  <c:v>-1.0630826486450782</c:v>
                </c:pt>
                <c:pt idx="2248">
                  <c:v>-1.0630826486450782</c:v>
                </c:pt>
                <c:pt idx="2249">
                  <c:v>-1.0630826486450782</c:v>
                </c:pt>
                <c:pt idx="2250">
                  <c:v>-1.0630826486450782</c:v>
                </c:pt>
                <c:pt idx="2251">
                  <c:v>-1.0630826486450782</c:v>
                </c:pt>
                <c:pt idx="2252">
                  <c:v>-1.0630826486450782</c:v>
                </c:pt>
                <c:pt idx="2253">
                  <c:v>-1.0630826486450782</c:v>
                </c:pt>
                <c:pt idx="2254">
                  <c:v>-1.0630826486450782</c:v>
                </c:pt>
                <c:pt idx="2255">
                  <c:v>-1.0630826486450782</c:v>
                </c:pt>
                <c:pt idx="2256">
                  <c:v>-1.0630826486450782</c:v>
                </c:pt>
                <c:pt idx="2257">
                  <c:v>-1.0630826486450782</c:v>
                </c:pt>
                <c:pt idx="2258">
                  <c:v>-1.0630826486450782</c:v>
                </c:pt>
                <c:pt idx="2259">
                  <c:v>-1.0630826486450782</c:v>
                </c:pt>
                <c:pt idx="2260">
                  <c:v>-1.0630826486450782</c:v>
                </c:pt>
                <c:pt idx="2261">
                  <c:v>-1.0630826486450782</c:v>
                </c:pt>
                <c:pt idx="2262">
                  <c:v>-1.0630826486450782</c:v>
                </c:pt>
                <c:pt idx="2263">
                  <c:v>-1.0630826486450782</c:v>
                </c:pt>
                <c:pt idx="2264">
                  <c:v>-1.0630826486450782</c:v>
                </c:pt>
                <c:pt idx="2265">
                  <c:v>-1.0630826486450782</c:v>
                </c:pt>
                <c:pt idx="2266">
                  <c:v>-1.0630826486450782</c:v>
                </c:pt>
                <c:pt idx="2267">
                  <c:v>-1.0630826486450782</c:v>
                </c:pt>
                <c:pt idx="2268">
                  <c:v>-1.0630826486450782</c:v>
                </c:pt>
                <c:pt idx="2269">
                  <c:v>-1.0630826486450782</c:v>
                </c:pt>
                <c:pt idx="2270">
                  <c:v>-1.0630826486450782</c:v>
                </c:pt>
                <c:pt idx="2271">
                  <c:v>-1.0630826486450782</c:v>
                </c:pt>
                <c:pt idx="2272">
                  <c:v>-1.0630826486450782</c:v>
                </c:pt>
                <c:pt idx="2273">
                  <c:v>-1.0630826486450782</c:v>
                </c:pt>
                <c:pt idx="2274">
                  <c:v>-1.0630826486450782</c:v>
                </c:pt>
                <c:pt idx="2275">
                  <c:v>-1.0630826486450782</c:v>
                </c:pt>
                <c:pt idx="2276">
                  <c:v>-1.0630826486450782</c:v>
                </c:pt>
                <c:pt idx="2277">
                  <c:v>-1.0630826486450782</c:v>
                </c:pt>
                <c:pt idx="2278">
                  <c:v>-1.0630826486450782</c:v>
                </c:pt>
                <c:pt idx="2279">
                  <c:v>-1.0630826486450782</c:v>
                </c:pt>
                <c:pt idx="2280">
                  <c:v>-1.0630826486450782</c:v>
                </c:pt>
                <c:pt idx="2281">
                  <c:v>-1.0630826486450782</c:v>
                </c:pt>
                <c:pt idx="2282">
                  <c:v>-1.0630826486450782</c:v>
                </c:pt>
                <c:pt idx="2283">
                  <c:v>-1.0630826486450782</c:v>
                </c:pt>
                <c:pt idx="2284">
                  <c:v>-1.0630826486450782</c:v>
                </c:pt>
                <c:pt idx="2285">
                  <c:v>-1.0630826486450782</c:v>
                </c:pt>
                <c:pt idx="2286">
                  <c:v>-1.0630826486450782</c:v>
                </c:pt>
                <c:pt idx="2287">
                  <c:v>-1.0630826486450782</c:v>
                </c:pt>
                <c:pt idx="2288">
                  <c:v>-1.0630826486450782</c:v>
                </c:pt>
                <c:pt idx="2289">
                  <c:v>-1.0630826486450782</c:v>
                </c:pt>
                <c:pt idx="2290">
                  <c:v>-1.0630826486450782</c:v>
                </c:pt>
                <c:pt idx="2291">
                  <c:v>-1.0630826486450782</c:v>
                </c:pt>
                <c:pt idx="2292">
                  <c:v>-1.0630826486450782</c:v>
                </c:pt>
                <c:pt idx="2293">
                  <c:v>-1.0630826486450782</c:v>
                </c:pt>
                <c:pt idx="2294">
                  <c:v>-1.0630826486450782</c:v>
                </c:pt>
                <c:pt idx="2295">
                  <c:v>-1.0630826486450782</c:v>
                </c:pt>
                <c:pt idx="2296">
                  <c:v>-1.0630826486450782</c:v>
                </c:pt>
                <c:pt idx="2297">
                  <c:v>-1.0630826486450782</c:v>
                </c:pt>
                <c:pt idx="2298">
                  <c:v>-1.0630826486450782</c:v>
                </c:pt>
                <c:pt idx="2299">
                  <c:v>-1.0630826486450782</c:v>
                </c:pt>
                <c:pt idx="2300">
                  <c:v>-1.0630826486450782</c:v>
                </c:pt>
                <c:pt idx="2301">
                  <c:v>-1.0630826486450782</c:v>
                </c:pt>
                <c:pt idx="2302">
                  <c:v>-1.0630826486450782</c:v>
                </c:pt>
                <c:pt idx="2303">
                  <c:v>-1.0630826486450782</c:v>
                </c:pt>
                <c:pt idx="2304">
                  <c:v>-1.0630826486450782</c:v>
                </c:pt>
                <c:pt idx="2305">
                  <c:v>-1.0630826486450782</c:v>
                </c:pt>
                <c:pt idx="2306">
                  <c:v>-1.0630826486450782</c:v>
                </c:pt>
                <c:pt idx="2307">
                  <c:v>-1.0630826486450782</c:v>
                </c:pt>
                <c:pt idx="2308">
                  <c:v>-1.0630826486450782</c:v>
                </c:pt>
                <c:pt idx="2309">
                  <c:v>-1.0630826486450782</c:v>
                </c:pt>
                <c:pt idx="2310">
                  <c:v>-1.0630826486450782</c:v>
                </c:pt>
                <c:pt idx="2311">
                  <c:v>-1.0630826486450782</c:v>
                </c:pt>
                <c:pt idx="2312">
                  <c:v>-1.0630826486450782</c:v>
                </c:pt>
                <c:pt idx="2313">
                  <c:v>-1.0630826486450782</c:v>
                </c:pt>
                <c:pt idx="2314">
                  <c:v>-1.0630826486450782</c:v>
                </c:pt>
                <c:pt idx="2315">
                  <c:v>-1.0630826486450782</c:v>
                </c:pt>
                <c:pt idx="2316">
                  <c:v>-1.0630826486450782</c:v>
                </c:pt>
                <c:pt idx="2317">
                  <c:v>-1.0630826486450782</c:v>
                </c:pt>
                <c:pt idx="2318">
                  <c:v>-1.0630826486450782</c:v>
                </c:pt>
                <c:pt idx="2319">
                  <c:v>-1.0630826486450782</c:v>
                </c:pt>
                <c:pt idx="2320">
                  <c:v>-1.0630826486450782</c:v>
                </c:pt>
                <c:pt idx="2321">
                  <c:v>-1.0630826486450782</c:v>
                </c:pt>
                <c:pt idx="2322">
                  <c:v>-1.0630826486450782</c:v>
                </c:pt>
                <c:pt idx="2323">
                  <c:v>-1.0630826486450782</c:v>
                </c:pt>
                <c:pt idx="2324">
                  <c:v>-1.0630826486450782</c:v>
                </c:pt>
                <c:pt idx="2325">
                  <c:v>-1.0630826486450782</c:v>
                </c:pt>
                <c:pt idx="2326">
                  <c:v>-1.0630826486450782</c:v>
                </c:pt>
                <c:pt idx="2327">
                  <c:v>-1.0630826486450782</c:v>
                </c:pt>
                <c:pt idx="2328">
                  <c:v>-1.0630826486450782</c:v>
                </c:pt>
                <c:pt idx="2329">
                  <c:v>-1.0630826486450782</c:v>
                </c:pt>
                <c:pt idx="2330">
                  <c:v>-1.0630826486450782</c:v>
                </c:pt>
                <c:pt idx="2331">
                  <c:v>-1.0630826486450782</c:v>
                </c:pt>
                <c:pt idx="2332">
                  <c:v>-1.0630826486450782</c:v>
                </c:pt>
                <c:pt idx="2333">
                  <c:v>-1.0630826486450782</c:v>
                </c:pt>
                <c:pt idx="2334">
                  <c:v>-1.0630826486450782</c:v>
                </c:pt>
                <c:pt idx="2335">
                  <c:v>-1.0630826486450782</c:v>
                </c:pt>
                <c:pt idx="2336">
                  <c:v>-1.0630826486450782</c:v>
                </c:pt>
                <c:pt idx="2337">
                  <c:v>-1.0630826486450782</c:v>
                </c:pt>
                <c:pt idx="2338">
                  <c:v>-1.0630826486450782</c:v>
                </c:pt>
                <c:pt idx="2339">
                  <c:v>-1.0630826486450782</c:v>
                </c:pt>
                <c:pt idx="2340">
                  <c:v>-1.0630826486450782</c:v>
                </c:pt>
                <c:pt idx="2341">
                  <c:v>-1.0630826486450782</c:v>
                </c:pt>
                <c:pt idx="2342">
                  <c:v>-1.0630826486450782</c:v>
                </c:pt>
                <c:pt idx="2343">
                  <c:v>-1.0630826486450782</c:v>
                </c:pt>
                <c:pt idx="2344">
                  <c:v>-1.0630826486450782</c:v>
                </c:pt>
                <c:pt idx="2345">
                  <c:v>-1.0630826486450782</c:v>
                </c:pt>
                <c:pt idx="2346">
                  <c:v>-1.0630826486450782</c:v>
                </c:pt>
                <c:pt idx="2347">
                  <c:v>-1.0630826486450782</c:v>
                </c:pt>
                <c:pt idx="2348">
                  <c:v>-1.0630826486450782</c:v>
                </c:pt>
                <c:pt idx="2349">
                  <c:v>-1.0630826486450782</c:v>
                </c:pt>
                <c:pt idx="2350">
                  <c:v>-1.0630826486450782</c:v>
                </c:pt>
                <c:pt idx="2351">
                  <c:v>-1.0630826486450782</c:v>
                </c:pt>
                <c:pt idx="2352">
                  <c:v>-1.0630826486450782</c:v>
                </c:pt>
                <c:pt idx="2353">
                  <c:v>-1.0630826486450782</c:v>
                </c:pt>
                <c:pt idx="2354">
                  <c:v>-1.0630826486450782</c:v>
                </c:pt>
                <c:pt idx="2355">
                  <c:v>-1.0630826486450782</c:v>
                </c:pt>
                <c:pt idx="2356">
                  <c:v>-1.0630826486450782</c:v>
                </c:pt>
                <c:pt idx="2357">
                  <c:v>-1.0630826486450782</c:v>
                </c:pt>
                <c:pt idx="2358">
                  <c:v>-1.0630826486450782</c:v>
                </c:pt>
                <c:pt idx="2359">
                  <c:v>-1.0630826486450782</c:v>
                </c:pt>
                <c:pt idx="2360">
                  <c:v>-1.0630826486450782</c:v>
                </c:pt>
                <c:pt idx="2361">
                  <c:v>-1.0630826486450782</c:v>
                </c:pt>
                <c:pt idx="2362">
                  <c:v>-1.0630826486450782</c:v>
                </c:pt>
                <c:pt idx="2363">
                  <c:v>-1.0630826486450782</c:v>
                </c:pt>
                <c:pt idx="2364">
                  <c:v>-1.0630826486450782</c:v>
                </c:pt>
                <c:pt idx="2365">
                  <c:v>-1.0630826486450782</c:v>
                </c:pt>
                <c:pt idx="2366">
                  <c:v>-1.0630826486450782</c:v>
                </c:pt>
                <c:pt idx="2367">
                  <c:v>-1.0630826486450782</c:v>
                </c:pt>
                <c:pt idx="2368">
                  <c:v>-1.0630826486450782</c:v>
                </c:pt>
                <c:pt idx="2369">
                  <c:v>-1.0630826486450782</c:v>
                </c:pt>
                <c:pt idx="2370">
                  <c:v>-1.0630826486450782</c:v>
                </c:pt>
                <c:pt idx="2371">
                  <c:v>-1.0630826486450782</c:v>
                </c:pt>
                <c:pt idx="2372">
                  <c:v>-1.0630826486450782</c:v>
                </c:pt>
                <c:pt idx="2373">
                  <c:v>-1.0630826486450782</c:v>
                </c:pt>
                <c:pt idx="2374">
                  <c:v>-1.0630826486450782</c:v>
                </c:pt>
                <c:pt idx="2375">
                  <c:v>-1.0630826486450782</c:v>
                </c:pt>
                <c:pt idx="2376">
                  <c:v>-1.0630826486450782</c:v>
                </c:pt>
                <c:pt idx="2377">
                  <c:v>-1.0630826486450782</c:v>
                </c:pt>
                <c:pt idx="2378">
                  <c:v>-1.0630826486450782</c:v>
                </c:pt>
                <c:pt idx="2379">
                  <c:v>-1.0630826486450782</c:v>
                </c:pt>
                <c:pt idx="2380">
                  <c:v>-1.0630826486450782</c:v>
                </c:pt>
                <c:pt idx="2381">
                  <c:v>-1.0630826486450782</c:v>
                </c:pt>
                <c:pt idx="2382">
                  <c:v>-1.0630826486450782</c:v>
                </c:pt>
                <c:pt idx="2383">
                  <c:v>-1.0630826486450782</c:v>
                </c:pt>
                <c:pt idx="2384">
                  <c:v>-1.0630826486450782</c:v>
                </c:pt>
                <c:pt idx="2385">
                  <c:v>-1.0630826486450782</c:v>
                </c:pt>
                <c:pt idx="2386">
                  <c:v>-1.0630826486450782</c:v>
                </c:pt>
                <c:pt idx="2387">
                  <c:v>-1.0630826486450782</c:v>
                </c:pt>
                <c:pt idx="2388">
                  <c:v>-1.0630826486450782</c:v>
                </c:pt>
                <c:pt idx="2389">
                  <c:v>-1.0630826486450782</c:v>
                </c:pt>
                <c:pt idx="2390">
                  <c:v>-1.0630826486450782</c:v>
                </c:pt>
                <c:pt idx="2391">
                  <c:v>-1.0630826486450782</c:v>
                </c:pt>
                <c:pt idx="2392">
                  <c:v>-1.0630826486450782</c:v>
                </c:pt>
                <c:pt idx="2393">
                  <c:v>-1.0630826486450782</c:v>
                </c:pt>
                <c:pt idx="2394">
                  <c:v>-1.0630826486450782</c:v>
                </c:pt>
                <c:pt idx="2395">
                  <c:v>-1.0630826486450782</c:v>
                </c:pt>
                <c:pt idx="2396">
                  <c:v>-1.0630826486450782</c:v>
                </c:pt>
                <c:pt idx="2397">
                  <c:v>-1.0630826486450782</c:v>
                </c:pt>
                <c:pt idx="2398">
                  <c:v>-1.0630826486450782</c:v>
                </c:pt>
                <c:pt idx="2399">
                  <c:v>-1.0630826486450782</c:v>
                </c:pt>
                <c:pt idx="2400">
                  <c:v>-1.0630826486450782</c:v>
                </c:pt>
                <c:pt idx="2401">
                  <c:v>-1.0630826486450782</c:v>
                </c:pt>
                <c:pt idx="2402">
                  <c:v>-1.0630826486450782</c:v>
                </c:pt>
                <c:pt idx="2403">
                  <c:v>-1.0630826486450782</c:v>
                </c:pt>
                <c:pt idx="2404">
                  <c:v>-1.0630826486450782</c:v>
                </c:pt>
                <c:pt idx="2405">
                  <c:v>-1.0630826486450782</c:v>
                </c:pt>
                <c:pt idx="2406">
                  <c:v>-1.0630826486450782</c:v>
                </c:pt>
                <c:pt idx="2407">
                  <c:v>-1.0630826486450782</c:v>
                </c:pt>
                <c:pt idx="2408">
                  <c:v>-1.0630826486450782</c:v>
                </c:pt>
                <c:pt idx="2409">
                  <c:v>-1.0630826486450782</c:v>
                </c:pt>
                <c:pt idx="2410">
                  <c:v>-1.0630826486450782</c:v>
                </c:pt>
                <c:pt idx="2411">
                  <c:v>-1.0630826486450782</c:v>
                </c:pt>
                <c:pt idx="2412">
                  <c:v>-1.0630826486450782</c:v>
                </c:pt>
                <c:pt idx="2413">
                  <c:v>-1.0630826486450782</c:v>
                </c:pt>
                <c:pt idx="2414">
                  <c:v>-1.0630826486450782</c:v>
                </c:pt>
                <c:pt idx="2415">
                  <c:v>-1.0630826486450782</c:v>
                </c:pt>
                <c:pt idx="2416">
                  <c:v>-1.0630826486450782</c:v>
                </c:pt>
                <c:pt idx="2417">
                  <c:v>-1.0630826486450782</c:v>
                </c:pt>
                <c:pt idx="2418">
                  <c:v>-1.0630826486450782</c:v>
                </c:pt>
                <c:pt idx="2419">
                  <c:v>-1.0630826486450782</c:v>
                </c:pt>
                <c:pt idx="2420">
                  <c:v>-1.0630826486450782</c:v>
                </c:pt>
                <c:pt idx="2421">
                  <c:v>-1.0630826486450782</c:v>
                </c:pt>
                <c:pt idx="2422">
                  <c:v>-1.0630826486450782</c:v>
                </c:pt>
                <c:pt idx="2423">
                  <c:v>-1.0630826486450782</c:v>
                </c:pt>
                <c:pt idx="2424">
                  <c:v>-1.0630826486450782</c:v>
                </c:pt>
                <c:pt idx="2425">
                  <c:v>-1.0630826486450782</c:v>
                </c:pt>
                <c:pt idx="2426">
                  <c:v>-1.0630826486450782</c:v>
                </c:pt>
                <c:pt idx="2427">
                  <c:v>-1.0630826486450782</c:v>
                </c:pt>
                <c:pt idx="2428">
                  <c:v>-1.0630826486450782</c:v>
                </c:pt>
                <c:pt idx="2429">
                  <c:v>-1.0630826486450782</c:v>
                </c:pt>
                <c:pt idx="2430">
                  <c:v>-1.0630826486450782</c:v>
                </c:pt>
                <c:pt idx="2431">
                  <c:v>-1.0630826486450782</c:v>
                </c:pt>
                <c:pt idx="2432">
                  <c:v>-1.0630826486450782</c:v>
                </c:pt>
                <c:pt idx="2433">
                  <c:v>-1.0630826486450782</c:v>
                </c:pt>
                <c:pt idx="2434">
                  <c:v>-1.0630826486450782</c:v>
                </c:pt>
                <c:pt idx="2435">
                  <c:v>-1.0630826486450782</c:v>
                </c:pt>
                <c:pt idx="2436">
                  <c:v>-1.0630826486450782</c:v>
                </c:pt>
                <c:pt idx="2437">
                  <c:v>-1.0630826486450782</c:v>
                </c:pt>
                <c:pt idx="2438">
                  <c:v>-1.0630826486450782</c:v>
                </c:pt>
                <c:pt idx="2439">
                  <c:v>-1.0630826486450782</c:v>
                </c:pt>
                <c:pt idx="2440">
                  <c:v>-1.0630826486450782</c:v>
                </c:pt>
                <c:pt idx="2441">
                  <c:v>-1.0630826486450782</c:v>
                </c:pt>
                <c:pt idx="2442">
                  <c:v>-1.0630826486450782</c:v>
                </c:pt>
                <c:pt idx="2443">
                  <c:v>-1.0630826486450782</c:v>
                </c:pt>
                <c:pt idx="2444">
                  <c:v>-1.0630826486450782</c:v>
                </c:pt>
                <c:pt idx="2445">
                  <c:v>-1.0630826486450782</c:v>
                </c:pt>
                <c:pt idx="2446">
                  <c:v>-1.0630826486450782</c:v>
                </c:pt>
                <c:pt idx="2447">
                  <c:v>-1.0630826486450782</c:v>
                </c:pt>
                <c:pt idx="2448">
                  <c:v>-1.0630826486450782</c:v>
                </c:pt>
                <c:pt idx="2449">
                  <c:v>-1.0630826486450782</c:v>
                </c:pt>
                <c:pt idx="2450">
                  <c:v>-1.0630826486450782</c:v>
                </c:pt>
                <c:pt idx="2451">
                  <c:v>-1.0630826486450782</c:v>
                </c:pt>
                <c:pt idx="2452">
                  <c:v>-1.0630826486450782</c:v>
                </c:pt>
                <c:pt idx="2453">
                  <c:v>-1.0630826486450782</c:v>
                </c:pt>
                <c:pt idx="2454">
                  <c:v>-1.0630826486450782</c:v>
                </c:pt>
                <c:pt idx="2455">
                  <c:v>-1.0630826486450782</c:v>
                </c:pt>
                <c:pt idx="2456">
                  <c:v>-1.0630826486450782</c:v>
                </c:pt>
                <c:pt idx="2457">
                  <c:v>-1.0630826486450782</c:v>
                </c:pt>
                <c:pt idx="2458">
                  <c:v>-1.0630826486450782</c:v>
                </c:pt>
                <c:pt idx="2459">
                  <c:v>-1.0630826486450782</c:v>
                </c:pt>
                <c:pt idx="2460">
                  <c:v>-1.0630826486450782</c:v>
                </c:pt>
                <c:pt idx="2461">
                  <c:v>-1.0630826486450782</c:v>
                </c:pt>
                <c:pt idx="2462">
                  <c:v>-1.0630826486450782</c:v>
                </c:pt>
                <c:pt idx="2463">
                  <c:v>-1.0630826486450782</c:v>
                </c:pt>
                <c:pt idx="2464">
                  <c:v>-1.0630826486450782</c:v>
                </c:pt>
                <c:pt idx="2465">
                  <c:v>-1.0630826486450782</c:v>
                </c:pt>
                <c:pt idx="2466">
                  <c:v>-1.0630826486450782</c:v>
                </c:pt>
                <c:pt idx="2467">
                  <c:v>-1.0630826486450782</c:v>
                </c:pt>
                <c:pt idx="2468">
                  <c:v>-1.0630826486450782</c:v>
                </c:pt>
                <c:pt idx="2469">
                  <c:v>-1.0630826486450782</c:v>
                </c:pt>
                <c:pt idx="2470">
                  <c:v>-1.0630826486450782</c:v>
                </c:pt>
                <c:pt idx="2471">
                  <c:v>-1.0630826486450782</c:v>
                </c:pt>
                <c:pt idx="2472">
                  <c:v>-1.0630826486450782</c:v>
                </c:pt>
                <c:pt idx="2473">
                  <c:v>-1.0630826486450782</c:v>
                </c:pt>
                <c:pt idx="2474">
                  <c:v>-1.0630826486450782</c:v>
                </c:pt>
                <c:pt idx="2475">
                  <c:v>-1.0630826486450782</c:v>
                </c:pt>
                <c:pt idx="2476">
                  <c:v>-1.0630826486450782</c:v>
                </c:pt>
                <c:pt idx="2477">
                  <c:v>-1.0630826486450782</c:v>
                </c:pt>
                <c:pt idx="2478">
                  <c:v>-1.0630826486450782</c:v>
                </c:pt>
                <c:pt idx="2479">
                  <c:v>-1.0630826486450782</c:v>
                </c:pt>
                <c:pt idx="2480">
                  <c:v>-1.0630826486450782</c:v>
                </c:pt>
              </c:numCache>
            </c:numRef>
          </c:val>
          <c:smooth val="0"/>
          <c:extLst xmlns:c16r2="http://schemas.microsoft.com/office/drawing/2015/06/chart">
            <c:ext xmlns:c16="http://schemas.microsoft.com/office/drawing/2014/chart" uri="{C3380CC4-5D6E-409C-BE32-E72D297353CC}">
              <c16:uniqueId val="{00000001-2809-4BF5-9C5E-0A3C5CFA0F48}"/>
            </c:ext>
          </c:extLst>
        </c:ser>
        <c:dLbls>
          <c:showLegendKey val="0"/>
          <c:showVal val="0"/>
          <c:showCatName val="0"/>
          <c:showSerName val="0"/>
          <c:showPercent val="0"/>
          <c:showBubbleSize val="0"/>
        </c:dLbls>
        <c:marker val="1"/>
        <c:smooth val="0"/>
        <c:axId val="552236544"/>
        <c:axId val="552238080"/>
      </c:lineChart>
      <c:dateAx>
        <c:axId val="552236544"/>
        <c:scaling>
          <c:orientation val="minMax"/>
        </c:scaling>
        <c:delete val="0"/>
        <c:axPos val="b"/>
        <c:numFmt formatCode="m/d/yyyy" sourceLinked="1"/>
        <c:majorTickMark val="none"/>
        <c:minorTickMark val="none"/>
        <c:tickLblPos val="nextTo"/>
        <c:crossAx val="552238080"/>
        <c:crosses val="autoZero"/>
        <c:auto val="1"/>
        <c:lblOffset val="100"/>
        <c:baseTimeUnit val="days"/>
      </c:dateAx>
      <c:valAx>
        <c:axId val="552238080"/>
        <c:scaling>
          <c:orientation val="minMax"/>
        </c:scaling>
        <c:delete val="0"/>
        <c:axPos val="l"/>
        <c:majorGridlines/>
        <c:numFmt formatCode="_(* #,##0.00_);_(* \(#,##0.00\);_(* &quot;-&quot;??_);_(@_)" sourceLinked="1"/>
        <c:majorTickMark val="none"/>
        <c:minorTickMark val="none"/>
        <c:tickLblPos val="nextTo"/>
        <c:spPr>
          <a:ln w="9525">
            <a:noFill/>
          </a:ln>
        </c:spPr>
        <c:crossAx val="552236544"/>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lineChart>
        <c:grouping val="standard"/>
        <c:varyColors val="0"/>
        <c:ser>
          <c:idx val="0"/>
          <c:order val="0"/>
          <c:tx>
            <c:strRef>
              <c:f>SPX!$AO$3</c:f>
              <c:strCache>
                <c:ptCount val="1"/>
                <c:pt idx="0">
                  <c:v>SPX Index</c:v>
                </c:pt>
              </c:strCache>
            </c:strRef>
          </c:tx>
          <c:marker>
            <c:symbol val="none"/>
          </c:marker>
          <c:cat>
            <c:numRef>
              <c:f>SPX!$AN$4:$AN$6646</c:f>
              <c:numCache>
                <c:formatCode>m/d/yyyy</c:formatCode>
                <c:ptCount val="6643"/>
                <c:pt idx="0">
                  <c:v>32875</c:v>
                </c:pt>
                <c:pt idx="1">
                  <c:v>32876</c:v>
                </c:pt>
                <c:pt idx="2">
                  <c:v>32877</c:v>
                </c:pt>
                <c:pt idx="3">
                  <c:v>32878</c:v>
                </c:pt>
                <c:pt idx="4">
                  <c:v>32881</c:v>
                </c:pt>
                <c:pt idx="5">
                  <c:v>32882</c:v>
                </c:pt>
                <c:pt idx="6">
                  <c:v>32883</c:v>
                </c:pt>
                <c:pt idx="7">
                  <c:v>32884</c:v>
                </c:pt>
                <c:pt idx="8">
                  <c:v>32885</c:v>
                </c:pt>
                <c:pt idx="9">
                  <c:v>32888</c:v>
                </c:pt>
                <c:pt idx="10">
                  <c:v>32889</c:v>
                </c:pt>
                <c:pt idx="11">
                  <c:v>32890</c:v>
                </c:pt>
                <c:pt idx="12">
                  <c:v>32891</c:v>
                </c:pt>
                <c:pt idx="13">
                  <c:v>32892</c:v>
                </c:pt>
                <c:pt idx="14">
                  <c:v>32895</c:v>
                </c:pt>
                <c:pt idx="15">
                  <c:v>32896</c:v>
                </c:pt>
                <c:pt idx="16">
                  <c:v>32897</c:v>
                </c:pt>
                <c:pt idx="17">
                  <c:v>32898</c:v>
                </c:pt>
                <c:pt idx="18">
                  <c:v>32899</c:v>
                </c:pt>
                <c:pt idx="19">
                  <c:v>32902</c:v>
                </c:pt>
                <c:pt idx="20">
                  <c:v>32903</c:v>
                </c:pt>
                <c:pt idx="21">
                  <c:v>32904</c:v>
                </c:pt>
                <c:pt idx="22">
                  <c:v>32905</c:v>
                </c:pt>
                <c:pt idx="23">
                  <c:v>32906</c:v>
                </c:pt>
                <c:pt idx="24">
                  <c:v>32909</c:v>
                </c:pt>
                <c:pt idx="25">
                  <c:v>32910</c:v>
                </c:pt>
                <c:pt idx="26">
                  <c:v>32911</c:v>
                </c:pt>
                <c:pt idx="27">
                  <c:v>32912</c:v>
                </c:pt>
                <c:pt idx="28">
                  <c:v>32913</c:v>
                </c:pt>
                <c:pt idx="29">
                  <c:v>32916</c:v>
                </c:pt>
                <c:pt idx="30">
                  <c:v>32917</c:v>
                </c:pt>
                <c:pt idx="31">
                  <c:v>32918</c:v>
                </c:pt>
                <c:pt idx="32">
                  <c:v>32919</c:v>
                </c:pt>
                <c:pt idx="33">
                  <c:v>32920</c:v>
                </c:pt>
                <c:pt idx="34">
                  <c:v>32924</c:v>
                </c:pt>
                <c:pt idx="35">
                  <c:v>32925</c:v>
                </c:pt>
                <c:pt idx="36">
                  <c:v>32926</c:v>
                </c:pt>
                <c:pt idx="37">
                  <c:v>32927</c:v>
                </c:pt>
                <c:pt idx="38">
                  <c:v>32930</c:v>
                </c:pt>
                <c:pt idx="39">
                  <c:v>32931</c:v>
                </c:pt>
                <c:pt idx="40">
                  <c:v>32932</c:v>
                </c:pt>
                <c:pt idx="41">
                  <c:v>32933</c:v>
                </c:pt>
                <c:pt idx="42">
                  <c:v>32934</c:v>
                </c:pt>
                <c:pt idx="43">
                  <c:v>32937</c:v>
                </c:pt>
                <c:pt idx="44">
                  <c:v>32938</c:v>
                </c:pt>
                <c:pt idx="45">
                  <c:v>32939</c:v>
                </c:pt>
                <c:pt idx="46">
                  <c:v>32940</c:v>
                </c:pt>
                <c:pt idx="47">
                  <c:v>32941</c:v>
                </c:pt>
                <c:pt idx="48">
                  <c:v>32944</c:v>
                </c:pt>
                <c:pt idx="49">
                  <c:v>32945</c:v>
                </c:pt>
                <c:pt idx="50">
                  <c:v>32946</c:v>
                </c:pt>
                <c:pt idx="51">
                  <c:v>32947</c:v>
                </c:pt>
                <c:pt idx="52">
                  <c:v>32948</c:v>
                </c:pt>
                <c:pt idx="53">
                  <c:v>32951</c:v>
                </c:pt>
                <c:pt idx="54">
                  <c:v>32952</c:v>
                </c:pt>
                <c:pt idx="55">
                  <c:v>32953</c:v>
                </c:pt>
                <c:pt idx="56">
                  <c:v>32954</c:v>
                </c:pt>
                <c:pt idx="57">
                  <c:v>32955</c:v>
                </c:pt>
                <c:pt idx="58">
                  <c:v>32958</c:v>
                </c:pt>
                <c:pt idx="59">
                  <c:v>32959</c:v>
                </c:pt>
                <c:pt idx="60">
                  <c:v>32960</c:v>
                </c:pt>
                <c:pt idx="61">
                  <c:v>32961</c:v>
                </c:pt>
                <c:pt idx="62">
                  <c:v>32962</c:v>
                </c:pt>
                <c:pt idx="63">
                  <c:v>32965</c:v>
                </c:pt>
                <c:pt idx="64">
                  <c:v>32966</c:v>
                </c:pt>
                <c:pt idx="65">
                  <c:v>32967</c:v>
                </c:pt>
                <c:pt idx="66">
                  <c:v>32968</c:v>
                </c:pt>
                <c:pt idx="67">
                  <c:v>32969</c:v>
                </c:pt>
                <c:pt idx="68">
                  <c:v>32972</c:v>
                </c:pt>
                <c:pt idx="69">
                  <c:v>32973</c:v>
                </c:pt>
                <c:pt idx="70">
                  <c:v>32974</c:v>
                </c:pt>
                <c:pt idx="71">
                  <c:v>32975</c:v>
                </c:pt>
                <c:pt idx="72">
                  <c:v>32979</c:v>
                </c:pt>
                <c:pt idx="73">
                  <c:v>32980</c:v>
                </c:pt>
                <c:pt idx="74">
                  <c:v>32981</c:v>
                </c:pt>
                <c:pt idx="75">
                  <c:v>32982</c:v>
                </c:pt>
                <c:pt idx="76">
                  <c:v>32983</c:v>
                </c:pt>
                <c:pt idx="77">
                  <c:v>32986</c:v>
                </c:pt>
                <c:pt idx="78">
                  <c:v>32987</c:v>
                </c:pt>
                <c:pt idx="79">
                  <c:v>32988</c:v>
                </c:pt>
                <c:pt idx="80">
                  <c:v>32989</c:v>
                </c:pt>
                <c:pt idx="81">
                  <c:v>32990</c:v>
                </c:pt>
                <c:pt idx="82">
                  <c:v>32993</c:v>
                </c:pt>
                <c:pt idx="83">
                  <c:v>32994</c:v>
                </c:pt>
                <c:pt idx="84">
                  <c:v>32995</c:v>
                </c:pt>
                <c:pt idx="85">
                  <c:v>32996</c:v>
                </c:pt>
                <c:pt idx="86">
                  <c:v>32997</c:v>
                </c:pt>
                <c:pt idx="87">
                  <c:v>33000</c:v>
                </c:pt>
                <c:pt idx="88">
                  <c:v>33001</c:v>
                </c:pt>
                <c:pt idx="89">
                  <c:v>33002</c:v>
                </c:pt>
                <c:pt idx="90">
                  <c:v>33003</c:v>
                </c:pt>
                <c:pt idx="91">
                  <c:v>33004</c:v>
                </c:pt>
                <c:pt idx="92">
                  <c:v>33007</c:v>
                </c:pt>
                <c:pt idx="93">
                  <c:v>33008</c:v>
                </c:pt>
                <c:pt idx="94">
                  <c:v>33009</c:v>
                </c:pt>
                <c:pt idx="95">
                  <c:v>33010</c:v>
                </c:pt>
                <c:pt idx="96">
                  <c:v>33011</c:v>
                </c:pt>
                <c:pt idx="97">
                  <c:v>33014</c:v>
                </c:pt>
                <c:pt idx="98">
                  <c:v>33015</c:v>
                </c:pt>
                <c:pt idx="99">
                  <c:v>33016</c:v>
                </c:pt>
                <c:pt idx="100">
                  <c:v>33017</c:v>
                </c:pt>
                <c:pt idx="101">
                  <c:v>33018</c:v>
                </c:pt>
                <c:pt idx="102">
                  <c:v>33022</c:v>
                </c:pt>
                <c:pt idx="103">
                  <c:v>33023</c:v>
                </c:pt>
                <c:pt idx="104">
                  <c:v>33024</c:v>
                </c:pt>
                <c:pt idx="105">
                  <c:v>33025</c:v>
                </c:pt>
                <c:pt idx="106">
                  <c:v>33028</c:v>
                </c:pt>
                <c:pt idx="107">
                  <c:v>33029</c:v>
                </c:pt>
                <c:pt idx="108">
                  <c:v>33030</c:v>
                </c:pt>
                <c:pt idx="109">
                  <c:v>33031</c:v>
                </c:pt>
                <c:pt idx="110">
                  <c:v>33032</c:v>
                </c:pt>
                <c:pt idx="111">
                  <c:v>33035</c:v>
                </c:pt>
                <c:pt idx="112">
                  <c:v>33036</c:v>
                </c:pt>
                <c:pt idx="113">
                  <c:v>33037</c:v>
                </c:pt>
                <c:pt idx="114">
                  <c:v>33038</c:v>
                </c:pt>
                <c:pt idx="115">
                  <c:v>33039</c:v>
                </c:pt>
                <c:pt idx="116">
                  <c:v>33042</c:v>
                </c:pt>
                <c:pt idx="117">
                  <c:v>33043</c:v>
                </c:pt>
                <c:pt idx="118">
                  <c:v>33044</c:v>
                </c:pt>
                <c:pt idx="119">
                  <c:v>33045</c:v>
                </c:pt>
                <c:pt idx="120">
                  <c:v>33046</c:v>
                </c:pt>
                <c:pt idx="121">
                  <c:v>33049</c:v>
                </c:pt>
                <c:pt idx="122">
                  <c:v>33050</c:v>
                </c:pt>
                <c:pt idx="123">
                  <c:v>33051</c:v>
                </c:pt>
                <c:pt idx="124">
                  <c:v>33052</c:v>
                </c:pt>
                <c:pt idx="125">
                  <c:v>33053</c:v>
                </c:pt>
                <c:pt idx="126">
                  <c:v>33056</c:v>
                </c:pt>
                <c:pt idx="127">
                  <c:v>33057</c:v>
                </c:pt>
                <c:pt idx="128">
                  <c:v>33059</c:v>
                </c:pt>
                <c:pt idx="129">
                  <c:v>33060</c:v>
                </c:pt>
                <c:pt idx="130">
                  <c:v>33063</c:v>
                </c:pt>
                <c:pt idx="131">
                  <c:v>33064</c:v>
                </c:pt>
                <c:pt idx="132">
                  <c:v>33065</c:v>
                </c:pt>
                <c:pt idx="133">
                  <c:v>33066</c:v>
                </c:pt>
                <c:pt idx="134">
                  <c:v>33067</c:v>
                </c:pt>
                <c:pt idx="135">
                  <c:v>33070</c:v>
                </c:pt>
                <c:pt idx="136">
                  <c:v>33071</c:v>
                </c:pt>
                <c:pt idx="137">
                  <c:v>33072</c:v>
                </c:pt>
                <c:pt idx="138">
                  <c:v>33073</c:v>
                </c:pt>
                <c:pt idx="139">
                  <c:v>33074</c:v>
                </c:pt>
                <c:pt idx="140">
                  <c:v>33077</c:v>
                </c:pt>
                <c:pt idx="141">
                  <c:v>33078</c:v>
                </c:pt>
                <c:pt idx="142">
                  <c:v>33079</c:v>
                </c:pt>
                <c:pt idx="143">
                  <c:v>33080</c:v>
                </c:pt>
                <c:pt idx="144">
                  <c:v>33081</c:v>
                </c:pt>
                <c:pt idx="145">
                  <c:v>33084</c:v>
                </c:pt>
                <c:pt idx="146">
                  <c:v>33085</c:v>
                </c:pt>
                <c:pt idx="147">
                  <c:v>33086</c:v>
                </c:pt>
                <c:pt idx="148">
                  <c:v>33087</c:v>
                </c:pt>
                <c:pt idx="149">
                  <c:v>33088</c:v>
                </c:pt>
                <c:pt idx="150">
                  <c:v>33091</c:v>
                </c:pt>
                <c:pt idx="151">
                  <c:v>33092</c:v>
                </c:pt>
                <c:pt idx="152">
                  <c:v>33093</c:v>
                </c:pt>
                <c:pt idx="153">
                  <c:v>33094</c:v>
                </c:pt>
                <c:pt idx="154">
                  <c:v>33095</c:v>
                </c:pt>
                <c:pt idx="155">
                  <c:v>33098</c:v>
                </c:pt>
                <c:pt idx="156">
                  <c:v>33099</c:v>
                </c:pt>
                <c:pt idx="157">
                  <c:v>33100</c:v>
                </c:pt>
                <c:pt idx="158">
                  <c:v>33101</c:v>
                </c:pt>
                <c:pt idx="159">
                  <c:v>33102</c:v>
                </c:pt>
                <c:pt idx="160">
                  <c:v>33105</c:v>
                </c:pt>
                <c:pt idx="161">
                  <c:v>33106</c:v>
                </c:pt>
                <c:pt idx="162">
                  <c:v>33107</c:v>
                </c:pt>
                <c:pt idx="163">
                  <c:v>33108</c:v>
                </c:pt>
                <c:pt idx="164">
                  <c:v>33109</c:v>
                </c:pt>
                <c:pt idx="165">
                  <c:v>33112</c:v>
                </c:pt>
                <c:pt idx="166">
                  <c:v>33113</c:v>
                </c:pt>
                <c:pt idx="167">
                  <c:v>33114</c:v>
                </c:pt>
                <c:pt idx="168">
                  <c:v>33115</c:v>
                </c:pt>
                <c:pt idx="169">
                  <c:v>33116</c:v>
                </c:pt>
                <c:pt idx="170">
                  <c:v>33120</c:v>
                </c:pt>
                <c:pt idx="171">
                  <c:v>33121</c:v>
                </c:pt>
                <c:pt idx="172">
                  <c:v>33122</c:v>
                </c:pt>
                <c:pt idx="173">
                  <c:v>33123</c:v>
                </c:pt>
                <c:pt idx="174">
                  <c:v>33126</c:v>
                </c:pt>
                <c:pt idx="175">
                  <c:v>33127</c:v>
                </c:pt>
                <c:pt idx="176">
                  <c:v>33128</c:v>
                </c:pt>
                <c:pt idx="177">
                  <c:v>33129</c:v>
                </c:pt>
                <c:pt idx="178">
                  <c:v>33130</c:v>
                </c:pt>
                <c:pt idx="179">
                  <c:v>33133</c:v>
                </c:pt>
                <c:pt idx="180">
                  <c:v>33134</c:v>
                </c:pt>
                <c:pt idx="181">
                  <c:v>33135</c:v>
                </c:pt>
                <c:pt idx="182">
                  <c:v>33136</c:v>
                </c:pt>
                <c:pt idx="183">
                  <c:v>33137</c:v>
                </c:pt>
                <c:pt idx="184">
                  <c:v>33140</c:v>
                </c:pt>
                <c:pt idx="185">
                  <c:v>33141</c:v>
                </c:pt>
                <c:pt idx="186">
                  <c:v>33142</c:v>
                </c:pt>
                <c:pt idx="187">
                  <c:v>33143</c:v>
                </c:pt>
                <c:pt idx="188">
                  <c:v>33144</c:v>
                </c:pt>
                <c:pt idx="189">
                  <c:v>33147</c:v>
                </c:pt>
                <c:pt idx="190">
                  <c:v>33148</c:v>
                </c:pt>
                <c:pt idx="191">
                  <c:v>33149</c:v>
                </c:pt>
                <c:pt idx="192">
                  <c:v>33150</c:v>
                </c:pt>
                <c:pt idx="193">
                  <c:v>33151</c:v>
                </c:pt>
                <c:pt idx="194">
                  <c:v>33154</c:v>
                </c:pt>
                <c:pt idx="195">
                  <c:v>33155</c:v>
                </c:pt>
                <c:pt idx="196">
                  <c:v>33156</c:v>
                </c:pt>
                <c:pt idx="197">
                  <c:v>33157</c:v>
                </c:pt>
                <c:pt idx="198">
                  <c:v>33158</c:v>
                </c:pt>
                <c:pt idx="199">
                  <c:v>33161</c:v>
                </c:pt>
                <c:pt idx="200">
                  <c:v>33162</c:v>
                </c:pt>
                <c:pt idx="201">
                  <c:v>33163</c:v>
                </c:pt>
                <c:pt idx="202">
                  <c:v>33164</c:v>
                </c:pt>
                <c:pt idx="203">
                  <c:v>33165</c:v>
                </c:pt>
                <c:pt idx="204">
                  <c:v>33168</c:v>
                </c:pt>
                <c:pt idx="205">
                  <c:v>33169</c:v>
                </c:pt>
                <c:pt idx="206">
                  <c:v>33170</c:v>
                </c:pt>
                <c:pt idx="207">
                  <c:v>33171</c:v>
                </c:pt>
                <c:pt idx="208">
                  <c:v>33172</c:v>
                </c:pt>
                <c:pt idx="209">
                  <c:v>33175</c:v>
                </c:pt>
                <c:pt idx="210">
                  <c:v>33176</c:v>
                </c:pt>
                <c:pt idx="211">
                  <c:v>33177</c:v>
                </c:pt>
                <c:pt idx="212">
                  <c:v>33178</c:v>
                </c:pt>
                <c:pt idx="213">
                  <c:v>33179</c:v>
                </c:pt>
                <c:pt idx="214">
                  <c:v>33182</c:v>
                </c:pt>
                <c:pt idx="215">
                  <c:v>33183</c:v>
                </c:pt>
                <c:pt idx="216">
                  <c:v>33184</c:v>
                </c:pt>
                <c:pt idx="217">
                  <c:v>33185</c:v>
                </c:pt>
                <c:pt idx="218">
                  <c:v>33186</c:v>
                </c:pt>
                <c:pt idx="219">
                  <c:v>33189</c:v>
                </c:pt>
                <c:pt idx="220">
                  <c:v>33190</c:v>
                </c:pt>
                <c:pt idx="221">
                  <c:v>33191</c:v>
                </c:pt>
                <c:pt idx="222">
                  <c:v>33192</c:v>
                </c:pt>
                <c:pt idx="223">
                  <c:v>33193</c:v>
                </c:pt>
                <c:pt idx="224">
                  <c:v>33196</c:v>
                </c:pt>
                <c:pt idx="225">
                  <c:v>33197</c:v>
                </c:pt>
                <c:pt idx="226">
                  <c:v>33198</c:v>
                </c:pt>
                <c:pt idx="227">
                  <c:v>33200</c:v>
                </c:pt>
                <c:pt idx="228">
                  <c:v>33203</c:v>
                </c:pt>
                <c:pt idx="229">
                  <c:v>33204</c:v>
                </c:pt>
                <c:pt idx="230">
                  <c:v>33205</c:v>
                </c:pt>
                <c:pt idx="231">
                  <c:v>33206</c:v>
                </c:pt>
                <c:pt idx="232">
                  <c:v>33207</c:v>
                </c:pt>
                <c:pt idx="233">
                  <c:v>33210</c:v>
                </c:pt>
                <c:pt idx="234">
                  <c:v>33211</c:v>
                </c:pt>
                <c:pt idx="235">
                  <c:v>33212</c:v>
                </c:pt>
                <c:pt idx="236">
                  <c:v>33213</c:v>
                </c:pt>
                <c:pt idx="237">
                  <c:v>33214</c:v>
                </c:pt>
                <c:pt idx="238">
                  <c:v>33217</c:v>
                </c:pt>
                <c:pt idx="239">
                  <c:v>33218</c:v>
                </c:pt>
                <c:pt idx="240">
                  <c:v>33219</c:v>
                </c:pt>
                <c:pt idx="241">
                  <c:v>33220</c:v>
                </c:pt>
                <c:pt idx="242">
                  <c:v>33221</c:v>
                </c:pt>
                <c:pt idx="243">
                  <c:v>33224</c:v>
                </c:pt>
                <c:pt idx="244">
                  <c:v>33225</c:v>
                </c:pt>
                <c:pt idx="245">
                  <c:v>33226</c:v>
                </c:pt>
                <c:pt idx="246">
                  <c:v>33227</c:v>
                </c:pt>
                <c:pt idx="247">
                  <c:v>33228</c:v>
                </c:pt>
                <c:pt idx="248">
                  <c:v>33231</c:v>
                </c:pt>
                <c:pt idx="249">
                  <c:v>33233</c:v>
                </c:pt>
                <c:pt idx="250">
                  <c:v>33234</c:v>
                </c:pt>
                <c:pt idx="251">
                  <c:v>33235</c:v>
                </c:pt>
                <c:pt idx="252">
                  <c:v>33238</c:v>
                </c:pt>
                <c:pt idx="253">
                  <c:v>33240</c:v>
                </c:pt>
                <c:pt idx="254">
                  <c:v>33241</c:v>
                </c:pt>
                <c:pt idx="255">
                  <c:v>33242</c:v>
                </c:pt>
                <c:pt idx="256">
                  <c:v>33245</c:v>
                </c:pt>
                <c:pt idx="257">
                  <c:v>33246</c:v>
                </c:pt>
                <c:pt idx="258">
                  <c:v>33247</c:v>
                </c:pt>
                <c:pt idx="259">
                  <c:v>33248</c:v>
                </c:pt>
                <c:pt idx="260">
                  <c:v>33249</c:v>
                </c:pt>
                <c:pt idx="261">
                  <c:v>33252</c:v>
                </c:pt>
                <c:pt idx="262">
                  <c:v>33253</c:v>
                </c:pt>
                <c:pt idx="263">
                  <c:v>33254</c:v>
                </c:pt>
                <c:pt idx="264">
                  <c:v>33255</c:v>
                </c:pt>
                <c:pt idx="265">
                  <c:v>33256</c:v>
                </c:pt>
                <c:pt idx="266">
                  <c:v>33259</c:v>
                </c:pt>
                <c:pt idx="267">
                  <c:v>33260</c:v>
                </c:pt>
                <c:pt idx="268">
                  <c:v>33261</c:v>
                </c:pt>
                <c:pt idx="269">
                  <c:v>33262</c:v>
                </c:pt>
                <c:pt idx="270">
                  <c:v>33263</c:v>
                </c:pt>
                <c:pt idx="271">
                  <c:v>33266</c:v>
                </c:pt>
                <c:pt idx="272">
                  <c:v>33267</c:v>
                </c:pt>
                <c:pt idx="273">
                  <c:v>33268</c:v>
                </c:pt>
                <c:pt idx="274">
                  <c:v>33269</c:v>
                </c:pt>
                <c:pt idx="275">
                  <c:v>33270</c:v>
                </c:pt>
                <c:pt idx="276">
                  <c:v>33273</c:v>
                </c:pt>
                <c:pt idx="277">
                  <c:v>33274</c:v>
                </c:pt>
                <c:pt idx="278">
                  <c:v>33275</c:v>
                </c:pt>
                <c:pt idx="279">
                  <c:v>33276</c:v>
                </c:pt>
                <c:pt idx="280">
                  <c:v>33277</c:v>
                </c:pt>
                <c:pt idx="281">
                  <c:v>33280</c:v>
                </c:pt>
                <c:pt idx="282">
                  <c:v>33281</c:v>
                </c:pt>
                <c:pt idx="283">
                  <c:v>33282</c:v>
                </c:pt>
                <c:pt idx="284">
                  <c:v>33283</c:v>
                </c:pt>
                <c:pt idx="285">
                  <c:v>33284</c:v>
                </c:pt>
                <c:pt idx="286">
                  <c:v>33288</c:v>
                </c:pt>
                <c:pt idx="287">
                  <c:v>33289</c:v>
                </c:pt>
                <c:pt idx="288">
                  <c:v>33290</c:v>
                </c:pt>
                <c:pt idx="289">
                  <c:v>33291</c:v>
                </c:pt>
                <c:pt idx="290">
                  <c:v>33294</c:v>
                </c:pt>
                <c:pt idx="291">
                  <c:v>33295</c:v>
                </c:pt>
                <c:pt idx="292">
                  <c:v>33296</c:v>
                </c:pt>
                <c:pt idx="293">
                  <c:v>33297</c:v>
                </c:pt>
                <c:pt idx="294">
                  <c:v>33298</c:v>
                </c:pt>
                <c:pt idx="295">
                  <c:v>33301</c:v>
                </c:pt>
                <c:pt idx="296">
                  <c:v>33302</c:v>
                </c:pt>
                <c:pt idx="297">
                  <c:v>33303</c:v>
                </c:pt>
                <c:pt idx="298">
                  <c:v>33304</c:v>
                </c:pt>
                <c:pt idx="299">
                  <c:v>33305</c:v>
                </c:pt>
                <c:pt idx="300">
                  <c:v>33308</c:v>
                </c:pt>
                <c:pt idx="301">
                  <c:v>33309</c:v>
                </c:pt>
                <c:pt idx="302">
                  <c:v>33310</c:v>
                </c:pt>
                <c:pt idx="303">
                  <c:v>33311</c:v>
                </c:pt>
                <c:pt idx="304">
                  <c:v>33312</c:v>
                </c:pt>
                <c:pt idx="305">
                  <c:v>33315</c:v>
                </c:pt>
                <c:pt idx="306">
                  <c:v>33316</c:v>
                </c:pt>
                <c:pt idx="307">
                  <c:v>33317</c:v>
                </c:pt>
                <c:pt idx="308">
                  <c:v>33318</c:v>
                </c:pt>
                <c:pt idx="309">
                  <c:v>33319</c:v>
                </c:pt>
                <c:pt idx="310">
                  <c:v>33322</c:v>
                </c:pt>
                <c:pt idx="311">
                  <c:v>33323</c:v>
                </c:pt>
                <c:pt idx="312">
                  <c:v>33324</c:v>
                </c:pt>
                <c:pt idx="313">
                  <c:v>33325</c:v>
                </c:pt>
                <c:pt idx="314">
                  <c:v>33329</c:v>
                </c:pt>
                <c:pt idx="315">
                  <c:v>33330</c:v>
                </c:pt>
                <c:pt idx="316">
                  <c:v>33331</c:v>
                </c:pt>
                <c:pt idx="317">
                  <c:v>33332</c:v>
                </c:pt>
                <c:pt idx="318">
                  <c:v>33333</c:v>
                </c:pt>
                <c:pt idx="319">
                  <c:v>33336</c:v>
                </c:pt>
                <c:pt idx="320">
                  <c:v>33337</c:v>
                </c:pt>
                <c:pt idx="321">
                  <c:v>33338</c:v>
                </c:pt>
                <c:pt idx="322">
                  <c:v>33339</c:v>
                </c:pt>
                <c:pt idx="323">
                  <c:v>33340</c:v>
                </c:pt>
                <c:pt idx="324">
                  <c:v>33343</c:v>
                </c:pt>
                <c:pt idx="325">
                  <c:v>33344</c:v>
                </c:pt>
                <c:pt idx="326">
                  <c:v>33345</c:v>
                </c:pt>
                <c:pt idx="327">
                  <c:v>33346</c:v>
                </c:pt>
                <c:pt idx="328">
                  <c:v>33347</c:v>
                </c:pt>
                <c:pt idx="329">
                  <c:v>33350</c:v>
                </c:pt>
                <c:pt idx="330">
                  <c:v>33351</c:v>
                </c:pt>
                <c:pt idx="331">
                  <c:v>33352</c:v>
                </c:pt>
                <c:pt idx="332">
                  <c:v>33353</c:v>
                </c:pt>
                <c:pt idx="333">
                  <c:v>33354</c:v>
                </c:pt>
                <c:pt idx="334">
                  <c:v>33357</c:v>
                </c:pt>
                <c:pt idx="335">
                  <c:v>33358</c:v>
                </c:pt>
                <c:pt idx="336">
                  <c:v>33359</c:v>
                </c:pt>
                <c:pt idx="337">
                  <c:v>33360</c:v>
                </c:pt>
                <c:pt idx="338">
                  <c:v>33361</c:v>
                </c:pt>
                <c:pt idx="339">
                  <c:v>33364</c:v>
                </c:pt>
                <c:pt idx="340">
                  <c:v>33365</c:v>
                </c:pt>
                <c:pt idx="341">
                  <c:v>33366</c:v>
                </c:pt>
                <c:pt idx="342">
                  <c:v>33367</c:v>
                </c:pt>
                <c:pt idx="343">
                  <c:v>33368</c:v>
                </c:pt>
                <c:pt idx="344">
                  <c:v>33371</c:v>
                </c:pt>
                <c:pt idx="345">
                  <c:v>33372</c:v>
                </c:pt>
                <c:pt idx="346">
                  <c:v>33373</c:v>
                </c:pt>
                <c:pt idx="347">
                  <c:v>33374</c:v>
                </c:pt>
                <c:pt idx="348">
                  <c:v>33375</c:v>
                </c:pt>
                <c:pt idx="349">
                  <c:v>33378</c:v>
                </c:pt>
                <c:pt idx="350">
                  <c:v>33379</c:v>
                </c:pt>
                <c:pt idx="351">
                  <c:v>33380</c:v>
                </c:pt>
                <c:pt idx="352">
                  <c:v>33381</c:v>
                </c:pt>
                <c:pt idx="353">
                  <c:v>33382</c:v>
                </c:pt>
                <c:pt idx="354">
                  <c:v>33386</c:v>
                </c:pt>
                <c:pt idx="355">
                  <c:v>33387</c:v>
                </c:pt>
                <c:pt idx="356">
                  <c:v>33388</c:v>
                </c:pt>
                <c:pt idx="357">
                  <c:v>33389</c:v>
                </c:pt>
                <c:pt idx="358">
                  <c:v>33392</c:v>
                </c:pt>
                <c:pt idx="359">
                  <c:v>33393</c:v>
                </c:pt>
                <c:pt idx="360">
                  <c:v>33394</c:v>
                </c:pt>
                <c:pt idx="361">
                  <c:v>33395</c:v>
                </c:pt>
                <c:pt idx="362">
                  <c:v>33396</c:v>
                </c:pt>
                <c:pt idx="363">
                  <c:v>33399</c:v>
                </c:pt>
                <c:pt idx="364">
                  <c:v>33400</c:v>
                </c:pt>
                <c:pt idx="365">
                  <c:v>33401</c:v>
                </c:pt>
                <c:pt idx="366">
                  <c:v>33402</c:v>
                </c:pt>
                <c:pt idx="367">
                  <c:v>33403</c:v>
                </c:pt>
                <c:pt idx="368">
                  <c:v>33406</c:v>
                </c:pt>
                <c:pt idx="369">
                  <c:v>33407</c:v>
                </c:pt>
                <c:pt idx="370">
                  <c:v>33408</c:v>
                </c:pt>
                <c:pt idx="371">
                  <c:v>33409</c:v>
                </c:pt>
                <c:pt idx="372">
                  <c:v>33410</c:v>
                </c:pt>
                <c:pt idx="373">
                  <c:v>33413</c:v>
                </c:pt>
                <c:pt idx="374">
                  <c:v>33414</c:v>
                </c:pt>
                <c:pt idx="375">
                  <c:v>33415</c:v>
                </c:pt>
                <c:pt idx="376">
                  <c:v>33416</c:v>
                </c:pt>
                <c:pt idx="377">
                  <c:v>33417</c:v>
                </c:pt>
                <c:pt idx="378">
                  <c:v>33420</c:v>
                </c:pt>
                <c:pt idx="379">
                  <c:v>33421</c:v>
                </c:pt>
                <c:pt idx="380">
                  <c:v>33422</c:v>
                </c:pt>
                <c:pt idx="381">
                  <c:v>33424</c:v>
                </c:pt>
                <c:pt idx="382">
                  <c:v>33427</c:v>
                </c:pt>
                <c:pt idx="383">
                  <c:v>33428</c:v>
                </c:pt>
                <c:pt idx="384">
                  <c:v>33429</c:v>
                </c:pt>
                <c:pt idx="385">
                  <c:v>33430</c:v>
                </c:pt>
                <c:pt idx="386">
                  <c:v>33431</c:v>
                </c:pt>
                <c:pt idx="387">
                  <c:v>33434</c:v>
                </c:pt>
                <c:pt idx="388">
                  <c:v>33435</c:v>
                </c:pt>
                <c:pt idx="389">
                  <c:v>33436</c:v>
                </c:pt>
                <c:pt idx="390">
                  <c:v>33437</c:v>
                </c:pt>
                <c:pt idx="391">
                  <c:v>33438</c:v>
                </c:pt>
                <c:pt idx="392">
                  <c:v>33441</c:v>
                </c:pt>
                <c:pt idx="393">
                  <c:v>33442</c:v>
                </c:pt>
                <c:pt idx="394">
                  <c:v>33443</c:v>
                </c:pt>
                <c:pt idx="395">
                  <c:v>33444</c:v>
                </c:pt>
                <c:pt idx="396">
                  <c:v>33445</c:v>
                </c:pt>
                <c:pt idx="397">
                  <c:v>33448</c:v>
                </c:pt>
                <c:pt idx="398">
                  <c:v>33449</c:v>
                </c:pt>
                <c:pt idx="399">
                  <c:v>33450</c:v>
                </c:pt>
                <c:pt idx="400">
                  <c:v>33451</c:v>
                </c:pt>
                <c:pt idx="401">
                  <c:v>33452</c:v>
                </c:pt>
                <c:pt idx="402">
                  <c:v>33455</c:v>
                </c:pt>
                <c:pt idx="403">
                  <c:v>33456</c:v>
                </c:pt>
                <c:pt idx="404">
                  <c:v>33457</c:v>
                </c:pt>
                <c:pt idx="405">
                  <c:v>33458</c:v>
                </c:pt>
                <c:pt idx="406">
                  <c:v>33459</c:v>
                </c:pt>
                <c:pt idx="407">
                  <c:v>33462</c:v>
                </c:pt>
                <c:pt idx="408">
                  <c:v>33463</c:v>
                </c:pt>
                <c:pt idx="409">
                  <c:v>33464</c:v>
                </c:pt>
                <c:pt idx="410">
                  <c:v>33465</c:v>
                </c:pt>
                <c:pt idx="411">
                  <c:v>33466</c:v>
                </c:pt>
                <c:pt idx="412">
                  <c:v>33469</c:v>
                </c:pt>
                <c:pt idx="413">
                  <c:v>33470</c:v>
                </c:pt>
                <c:pt idx="414">
                  <c:v>33471</c:v>
                </c:pt>
                <c:pt idx="415">
                  <c:v>33472</c:v>
                </c:pt>
                <c:pt idx="416">
                  <c:v>33473</c:v>
                </c:pt>
                <c:pt idx="417">
                  <c:v>33476</c:v>
                </c:pt>
                <c:pt idx="418">
                  <c:v>33477</c:v>
                </c:pt>
                <c:pt idx="419">
                  <c:v>33478</c:v>
                </c:pt>
                <c:pt idx="420">
                  <c:v>33479</c:v>
                </c:pt>
                <c:pt idx="421">
                  <c:v>33480</c:v>
                </c:pt>
                <c:pt idx="422">
                  <c:v>33484</c:v>
                </c:pt>
                <c:pt idx="423">
                  <c:v>33485</c:v>
                </c:pt>
                <c:pt idx="424">
                  <c:v>33486</c:v>
                </c:pt>
                <c:pt idx="425">
                  <c:v>33487</c:v>
                </c:pt>
                <c:pt idx="426">
                  <c:v>33490</c:v>
                </c:pt>
                <c:pt idx="427">
                  <c:v>33491</c:v>
                </c:pt>
                <c:pt idx="428">
                  <c:v>33492</c:v>
                </c:pt>
                <c:pt idx="429">
                  <c:v>33493</c:v>
                </c:pt>
                <c:pt idx="430">
                  <c:v>33494</c:v>
                </c:pt>
                <c:pt idx="431">
                  <c:v>33497</c:v>
                </c:pt>
                <c:pt idx="432">
                  <c:v>33498</c:v>
                </c:pt>
                <c:pt idx="433">
                  <c:v>33499</c:v>
                </c:pt>
                <c:pt idx="434">
                  <c:v>33500</c:v>
                </c:pt>
                <c:pt idx="435">
                  <c:v>33501</c:v>
                </c:pt>
                <c:pt idx="436">
                  <c:v>33504</c:v>
                </c:pt>
                <c:pt idx="437">
                  <c:v>33505</c:v>
                </c:pt>
                <c:pt idx="438">
                  <c:v>33506</c:v>
                </c:pt>
                <c:pt idx="439">
                  <c:v>33507</c:v>
                </c:pt>
                <c:pt idx="440">
                  <c:v>33508</c:v>
                </c:pt>
                <c:pt idx="441">
                  <c:v>33511</c:v>
                </c:pt>
                <c:pt idx="442">
                  <c:v>33512</c:v>
                </c:pt>
                <c:pt idx="443">
                  <c:v>33513</c:v>
                </c:pt>
                <c:pt idx="444">
                  <c:v>33514</c:v>
                </c:pt>
                <c:pt idx="445">
                  <c:v>33515</c:v>
                </c:pt>
                <c:pt idx="446">
                  <c:v>33518</c:v>
                </c:pt>
                <c:pt idx="447">
                  <c:v>33519</c:v>
                </c:pt>
                <c:pt idx="448">
                  <c:v>33520</c:v>
                </c:pt>
                <c:pt idx="449">
                  <c:v>33521</c:v>
                </c:pt>
                <c:pt idx="450">
                  <c:v>33522</c:v>
                </c:pt>
                <c:pt idx="451">
                  <c:v>33525</c:v>
                </c:pt>
                <c:pt idx="452">
                  <c:v>33526</c:v>
                </c:pt>
                <c:pt idx="453">
                  <c:v>33527</c:v>
                </c:pt>
                <c:pt idx="454">
                  <c:v>33528</c:v>
                </c:pt>
                <c:pt idx="455">
                  <c:v>33529</c:v>
                </c:pt>
                <c:pt idx="456">
                  <c:v>33532</c:v>
                </c:pt>
                <c:pt idx="457">
                  <c:v>33533</c:v>
                </c:pt>
                <c:pt idx="458">
                  <c:v>33534</c:v>
                </c:pt>
                <c:pt idx="459">
                  <c:v>33535</c:v>
                </c:pt>
                <c:pt idx="460">
                  <c:v>33536</c:v>
                </c:pt>
                <c:pt idx="461">
                  <c:v>33539</c:v>
                </c:pt>
                <c:pt idx="462">
                  <c:v>33540</c:v>
                </c:pt>
                <c:pt idx="463">
                  <c:v>33541</c:v>
                </c:pt>
                <c:pt idx="464">
                  <c:v>33542</c:v>
                </c:pt>
                <c:pt idx="465">
                  <c:v>33543</c:v>
                </c:pt>
                <c:pt idx="466">
                  <c:v>33546</c:v>
                </c:pt>
                <c:pt idx="467">
                  <c:v>33547</c:v>
                </c:pt>
                <c:pt idx="468">
                  <c:v>33548</c:v>
                </c:pt>
                <c:pt idx="469">
                  <c:v>33549</c:v>
                </c:pt>
                <c:pt idx="470">
                  <c:v>33550</c:v>
                </c:pt>
                <c:pt idx="471">
                  <c:v>33553</c:v>
                </c:pt>
                <c:pt idx="472">
                  <c:v>33554</c:v>
                </c:pt>
                <c:pt idx="473">
                  <c:v>33555</c:v>
                </c:pt>
                <c:pt idx="474">
                  <c:v>33556</c:v>
                </c:pt>
                <c:pt idx="475">
                  <c:v>33557</c:v>
                </c:pt>
                <c:pt idx="476">
                  <c:v>33560</c:v>
                </c:pt>
                <c:pt idx="477">
                  <c:v>33561</c:v>
                </c:pt>
                <c:pt idx="478">
                  <c:v>33562</c:v>
                </c:pt>
                <c:pt idx="479">
                  <c:v>33563</c:v>
                </c:pt>
                <c:pt idx="480">
                  <c:v>33564</c:v>
                </c:pt>
                <c:pt idx="481">
                  <c:v>33567</c:v>
                </c:pt>
                <c:pt idx="482">
                  <c:v>33568</c:v>
                </c:pt>
                <c:pt idx="483">
                  <c:v>33569</c:v>
                </c:pt>
                <c:pt idx="484">
                  <c:v>33571</c:v>
                </c:pt>
                <c:pt idx="485">
                  <c:v>33574</c:v>
                </c:pt>
                <c:pt idx="486">
                  <c:v>33575</c:v>
                </c:pt>
                <c:pt idx="487">
                  <c:v>33576</c:v>
                </c:pt>
                <c:pt idx="488">
                  <c:v>33577</c:v>
                </c:pt>
                <c:pt idx="489">
                  <c:v>33578</c:v>
                </c:pt>
                <c:pt idx="490">
                  <c:v>33581</c:v>
                </c:pt>
                <c:pt idx="491">
                  <c:v>33582</c:v>
                </c:pt>
                <c:pt idx="492">
                  <c:v>33583</c:v>
                </c:pt>
                <c:pt idx="493">
                  <c:v>33584</c:v>
                </c:pt>
                <c:pt idx="494">
                  <c:v>33585</c:v>
                </c:pt>
                <c:pt idx="495">
                  <c:v>33588</c:v>
                </c:pt>
                <c:pt idx="496">
                  <c:v>33589</c:v>
                </c:pt>
                <c:pt idx="497">
                  <c:v>33590</c:v>
                </c:pt>
                <c:pt idx="498">
                  <c:v>33591</c:v>
                </c:pt>
                <c:pt idx="499">
                  <c:v>33592</c:v>
                </c:pt>
                <c:pt idx="500">
                  <c:v>33595</c:v>
                </c:pt>
                <c:pt idx="501">
                  <c:v>33596</c:v>
                </c:pt>
                <c:pt idx="502">
                  <c:v>33598</c:v>
                </c:pt>
                <c:pt idx="503">
                  <c:v>33599</c:v>
                </c:pt>
                <c:pt idx="504">
                  <c:v>33602</c:v>
                </c:pt>
                <c:pt idx="505">
                  <c:v>33603</c:v>
                </c:pt>
                <c:pt idx="506">
                  <c:v>33605</c:v>
                </c:pt>
                <c:pt idx="507">
                  <c:v>33606</c:v>
                </c:pt>
                <c:pt idx="508">
                  <c:v>33609</c:v>
                </c:pt>
                <c:pt idx="509">
                  <c:v>33610</c:v>
                </c:pt>
                <c:pt idx="510">
                  <c:v>33611</c:v>
                </c:pt>
                <c:pt idx="511">
                  <c:v>33612</c:v>
                </c:pt>
                <c:pt idx="512">
                  <c:v>33613</c:v>
                </c:pt>
                <c:pt idx="513">
                  <c:v>33616</c:v>
                </c:pt>
                <c:pt idx="514">
                  <c:v>33617</c:v>
                </c:pt>
                <c:pt idx="515">
                  <c:v>33618</c:v>
                </c:pt>
                <c:pt idx="516">
                  <c:v>33619</c:v>
                </c:pt>
                <c:pt idx="517">
                  <c:v>33620</c:v>
                </c:pt>
                <c:pt idx="518">
                  <c:v>33623</c:v>
                </c:pt>
                <c:pt idx="519">
                  <c:v>33624</c:v>
                </c:pt>
                <c:pt idx="520">
                  <c:v>33625</c:v>
                </c:pt>
                <c:pt idx="521">
                  <c:v>33626</c:v>
                </c:pt>
                <c:pt idx="522">
                  <c:v>33627</c:v>
                </c:pt>
                <c:pt idx="523">
                  <c:v>33630</c:v>
                </c:pt>
                <c:pt idx="524">
                  <c:v>33631</c:v>
                </c:pt>
                <c:pt idx="525">
                  <c:v>33632</c:v>
                </c:pt>
                <c:pt idx="526">
                  <c:v>33633</c:v>
                </c:pt>
                <c:pt idx="527">
                  <c:v>33634</c:v>
                </c:pt>
                <c:pt idx="528">
                  <c:v>33637</c:v>
                </c:pt>
                <c:pt idx="529">
                  <c:v>33638</c:v>
                </c:pt>
                <c:pt idx="530">
                  <c:v>33639</c:v>
                </c:pt>
                <c:pt idx="531">
                  <c:v>33640</c:v>
                </c:pt>
                <c:pt idx="532">
                  <c:v>33641</c:v>
                </c:pt>
                <c:pt idx="533">
                  <c:v>33644</c:v>
                </c:pt>
                <c:pt idx="534">
                  <c:v>33645</c:v>
                </c:pt>
                <c:pt idx="535">
                  <c:v>33646</c:v>
                </c:pt>
                <c:pt idx="536">
                  <c:v>33647</c:v>
                </c:pt>
                <c:pt idx="537">
                  <c:v>33648</c:v>
                </c:pt>
                <c:pt idx="538">
                  <c:v>33652</c:v>
                </c:pt>
                <c:pt idx="539">
                  <c:v>33653</c:v>
                </c:pt>
                <c:pt idx="540">
                  <c:v>33654</c:v>
                </c:pt>
                <c:pt idx="541">
                  <c:v>33655</c:v>
                </c:pt>
                <c:pt idx="542">
                  <c:v>33658</c:v>
                </c:pt>
                <c:pt idx="543">
                  <c:v>33659</c:v>
                </c:pt>
                <c:pt idx="544">
                  <c:v>33660</c:v>
                </c:pt>
                <c:pt idx="545">
                  <c:v>33661</c:v>
                </c:pt>
                <c:pt idx="546">
                  <c:v>33662</c:v>
                </c:pt>
                <c:pt idx="547">
                  <c:v>33665</c:v>
                </c:pt>
                <c:pt idx="548">
                  <c:v>33666</c:v>
                </c:pt>
                <c:pt idx="549">
                  <c:v>33667</c:v>
                </c:pt>
                <c:pt idx="550">
                  <c:v>33668</c:v>
                </c:pt>
                <c:pt idx="551">
                  <c:v>33669</c:v>
                </c:pt>
                <c:pt idx="552">
                  <c:v>33672</c:v>
                </c:pt>
                <c:pt idx="553">
                  <c:v>33673</c:v>
                </c:pt>
                <c:pt idx="554">
                  <c:v>33674</c:v>
                </c:pt>
                <c:pt idx="555">
                  <c:v>33675</c:v>
                </c:pt>
                <c:pt idx="556">
                  <c:v>33676</c:v>
                </c:pt>
                <c:pt idx="557">
                  <c:v>33679</c:v>
                </c:pt>
                <c:pt idx="558">
                  <c:v>33680</c:v>
                </c:pt>
                <c:pt idx="559">
                  <c:v>33681</c:v>
                </c:pt>
                <c:pt idx="560">
                  <c:v>33682</c:v>
                </c:pt>
                <c:pt idx="561">
                  <c:v>33683</c:v>
                </c:pt>
                <c:pt idx="562">
                  <c:v>33686</c:v>
                </c:pt>
                <c:pt idx="563">
                  <c:v>33687</c:v>
                </c:pt>
                <c:pt idx="564">
                  <c:v>33688</c:v>
                </c:pt>
                <c:pt idx="565">
                  <c:v>33689</c:v>
                </c:pt>
                <c:pt idx="566">
                  <c:v>33690</c:v>
                </c:pt>
                <c:pt idx="567">
                  <c:v>33693</c:v>
                </c:pt>
                <c:pt idx="568">
                  <c:v>33694</c:v>
                </c:pt>
                <c:pt idx="569">
                  <c:v>33695</c:v>
                </c:pt>
                <c:pt idx="570">
                  <c:v>33696</c:v>
                </c:pt>
                <c:pt idx="571">
                  <c:v>33697</c:v>
                </c:pt>
                <c:pt idx="572">
                  <c:v>33700</c:v>
                </c:pt>
                <c:pt idx="573">
                  <c:v>33701</c:v>
                </c:pt>
                <c:pt idx="574">
                  <c:v>33702</c:v>
                </c:pt>
                <c:pt idx="575">
                  <c:v>33703</c:v>
                </c:pt>
                <c:pt idx="576">
                  <c:v>33704</c:v>
                </c:pt>
                <c:pt idx="577">
                  <c:v>33707</c:v>
                </c:pt>
                <c:pt idx="578">
                  <c:v>33708</c:v>
                </c:pt>
                <c:pt idx="579">
                  <c:v>33709</c:v>
                </c:pt>
                <c:pt idx="580">
                  <c:v>33710</c:v>
                </c:pt>
                <c:pt idx="581">
                  <c:v>33714</c:v>
                </c:pt>
                <c:pt idx="582">
                  <c:v>33715</c:v>
                </c:pt>
                <c:pt idx="583">
                  <c:v>33716</c:v>
                </c:pt>
                <c:pt idx="584">
                  <c:v>33717</c:v>
                </c:pt>
                <c:pt idx="585">
                  <c:v>33718</c:v>
                </c:pt>
                <c:pt idx="586">
                  <c:v>33721</c:v>
                </c:pt>
                <c:pt idx="587">
                  <c:v>33722</c:v>
                </c:pt>
                <c:pt idx="588">
                  <c:v>33723</c:v>
                </c:pt>
                <c:pt idx="589">
                  <c:v>33724</c:v>
                </c:pt>
                <c:pt idx="590">
                  <c:v>33725</c:v>
                </c:pt>
                <c:pt idx="591">
                  <c:v>33728</c:v>
                </c:pt>
                <c:pt idx="592">
                  <c:v>33729</c:v>
                </c:pt>
                <c:pt idx="593">
                  <c:v>33730</c:v>
                </c:pt>
                <c:pt idx="594">
                  <c:v>33731</c:v>
                </c:pt>
                <c:pt idx="595">
                  <c:v>33732</c:v>
                </c:pt>
                <c:pt idx="596">
                  <c:v>33735</c:v>
                </c:pt>
                <c:pt idx="597">
                  <c:v>33736</c:v>
                </c:pt>
                <c:pt idx="598">
                  <c:v>33737</c:v>
                </c:pt>
                <c:pt idx="599">
                  <c:v>33738</c:v>
                </c:pt>
                <c:pt idx="600">
                  <c:v>33739</c:v>
                </c:pt>
                <c:pt idx="601">
                  <c:v>33742</c:v>
                </c:pt>
                <c:pt idx="602">
                  <c:v>33743</c:v>
                </c:pt>
                <c:pt idx="603">
                  <c:v>33744</c:v>
                </c:pt>
                <c:pt idx="604">
                  <c:v>33745</c:v>
                </c:pt>
                <c:pt idx="605">
                  <c:v>33746</c:v>
                </c:pt>
                <c:pt idx="606">
                  <c:v>33750</c:v>
                </c:pt>
                <c:pt idx="607">
                  <c:v>33751</c:v>
                </c:pt>
                <c:pt idx="608">
                  <c:v>33752</c:v>
                </c:pt>
                <c:pt idx="609">
                  <c:v>33753</c:v>
                </c:pt>
                <c:pt idx="610">
                  <c:v>33756</c:v>
                </c:pt>
                <c:pt idx="611">
                  <c:v>33757</c:v>
                </c:pt>
                <c:pt idx="612">
                  <c:v>33758</c:v>
                </c:pt>
                <c:pt idx="613">
                  <c:v>33759</c:v>
                </c:pt>
                <c:pt idx="614">
                  <c:v>33760</c:v>
                </c:pt>
                <c:pt idx="615">
                  <c:v>33763</c:v>
                </c:pt>
                <c:pt idx="616">
                  <c:v>33764</c:v>
                </c:pt>
                <c:pt idx="617">
                  <c:v>33765</c:v>
                </c:pt>
                <c:pt idx="618">
                  <c:v>33766</c:v>
                </c:pt>
                <c:pt idx="619">
                  <c:v>33767</c:v>
                </c:pt>
                <c:pt idx="620">
                  <c:v>33770</c:v>
                </c:pt>
                <c:pt idx="621">
                  <c:v>33771</c:v>
                </c:pt>
                <c:pt idx="622">
                  <c:v>33772</c:v>
                </c:pt>
                <c:pt idx="623">
                  <c:v>33773</c:v>
                </c:pt>
                <c:pt idx="624">
                  <c:v>33774</c:v>
                </c:pt>
                <c:pt idx="625">
                  <c:v>33777</c:v>
                </c:pt>
                <c:pt idx="626">
                  <c:v>33778</c:v>
                </c:pt>
                <c:pt idx="627">
                  <c:v>33779</c:v>
                </c:pt>
                <c:pt idx="628">
                  <c:v>33780</c:v>
                </c:pt>
                <c:pt idx="629">
                  <c:v>33781</c:v>
                </c:pt>
                <c:pt idx="630">
                  <c:v>33784</c:v>
                </c:pt>
                <c:pt idx="631">
                  <c:v>33785</c:v>
                </c:pt>
                <c:pt idx="632">
                  <c:v>33786</c:v>
                </c:pt>
                <c:pt idx="633">
                  <c:v>33787</c:v>
                </c:pt>
                <c:pt idx="634">
                  <c:v>33791</c:v>
                </c:pt>
                <c:pt idx="635">
                  <c:v>33792</c:v>
                </c:pt>
                <c:pt idx="636">
                  <c:v>33793</c:v>
                </c:pt>
                <c:pt idx="637">
                  <c:v>33794</c:v>
                </c:pt>
                <c:pt idx="638">
                  <c:v>33795</c:v>
                </c:pt>
                <c:pt idx="639">
                  <c:v>33798</c:v>
                </c:pt>
                <c:pt idx="640">
                  <c:v>33799</c:v>
                </c:pt>
                <c:pt idx="641">
                  <c:v>33800</c:v>
                </c:pt>
                <c:pt idx="642">
                  <c:v>33801</c:v>
                </c:pt>
                <c:pt idx="643">
                  <c:v>33802</c:v>
                </c:pt>
                <c:pt idx="644">
                  <c:v>33805</c:v>
                </c:pt>
                <c:pt idx="645">
                  <c:v>33806</c:v>
                </c:pt>
                <c:pt idx="646">
                  <c:v>33807</c:v>
                </c:pt>
                <c:pt idx="647">
                  <c:v>33808</c:v>
                </c:pt>
                <c:pt idx="648">
                  <c:v>33809</c:v>
                </c:pt>
                <c:pt idx="649">
                  <c:v>33812</c:v>
                </c:pt>
                <c:pt idx="650">
                  <c:v>33813</c:v>
                </c:pt>
                <c:pt idx="651">
                  <c:v>33814</c:v>
                </c:pt>
                <c:pt idx="652">
                  <c:v>33815</c:v>
                </c:pt>
                <c:pt idx="653">
                  <c:v>33816</c:v>
                </c:pt>
                <c:pt idx="654">
                  <c:v>33819</c:v>
                </c:pt>
                <c:pt idx="655">
                  <c:v>33820</c:v>
                </c:pt>
                <c:pt idx="656">
                  <c:v>33821</c:v>
                </c:pt>
                <c:pt idx="657">
                  <c:v>33822</c:v>
                </c:pt>
                <c:pt idx="658">
                  <c:v>33823</c:v>
                </c:pt>
                <c:pt idx="659">
                  <c:v>33826</c:v>
                </c:pt>
                <c:pt idx="660">
                  <c:v>33827</c:v>
                </c:pt>
                <c:pt idx="661">
                  <c:v>33828</c:v>
                </c:pt>
                <c:pt idx="662">
                  <c:v>33829</c:v>
                </c:pt>
                <c:pt idx="663">
                  <c:v>33830</c:v>
                </c:pt>
                <c:pt idx="664">
                  <c:v>33833</c:v>
                </c:pt>
                <c:pt idx="665">
                  <c:v>33834</c:v>
                </c:pt>
                <c:pt idx="666">
                  <c:v>33835</c:v>
                </c:pt>
                <c:pt idx="667">
                  <c:v>33836</c:v>
                </c:pt>
                <c:pt idx="668">
                  <c:v>33837</c:v>
                </c:pt>
                <c:pt idx="669">
                  <c:v>33840</c:v>
                </c:pt>
                <c:pt idx="670">
                  <c:v>33841</c:v>
                </c:pt>
                <c:pt idx="671">
                  <c:v>33842</c:v>
                </c:pt>
                <c:pt idx="672">
                  <c:v>33843</c:v>
                </c:pt>
                <c:pt idx="673">
                  <c:v>33844</c:v>
                </c:pt>
                <c:pt idx="674">
                  <c:v>33847</c:v>
                </c:pt>
                <c:pt idx="675">
                  <c:v>33848</c:v>
                </c:pt>
                <c:pt idx="676">
                  <c:v>33849</c:v>
                </c:pt>
                <c:pt idx="677">
                  <c:v>33850</c:v>
                </c:pt>
                <c:pt idx="678">
                  <c:v>33851</c:v>
                </c:pt>
                <c:pt idx="679">
                  <c:v>33855</c:v>
                </c:pt>
                <c:pt idx="680">
                  <c:v>33856</c:v>
                </c:pt>
                <c:pt idx="681">
                  <c:v>33857</c:v>
                </c:pt>
                <c:pt idx="682">
                  <c:v>33858</c:v>
                </c:pt>
                <c:pt idx="683">
                  <c:v>33861</c:v>
                </c:pt>
                <c:pt idx="684">
                  <c:v>33862</c:v>
                </c:pt>
                <c:pt idx="685">
                  <c:v>33863</c:v>
                </c:pt>
                <c:pt idx="686">
                  <c:v>33864</c:v>
                </c:pt>
                <c:pt idx="687">
                  <c:v>33865</c:v>
                </c:pt>
                <c:pt idx="688">
                  <c:v>33868</c:v>
                </c:pt>
                <c:pt idx="689">
                  <c:v>33869</c:v>
                </c:pt>
                <c:pt idx="690">
                  <c:v>33870</c:v>
                </c:pt>
                <c:pt idx="691">
                  <c:v>33871</c:v>
                </c:pt>
                <c:pt idx="692">
                  <c:v>33872</c:v>
                </c:pt>
                <c:pt idx="693">
                  <c:v>33875</c:v>
                </c:pt>
                <c:pt idx="694">
                  <c:v>33876</c:v>
                </c:pt>
                <c:pt idx="695">
                  <c:v>33877</c:v>
                </c:pt>
                <c:pt idx="696">
                  <c:v>33878</c:v>
                </c:pt>
                <c:pt idx="697">
                  <c:v>33879</c:v>
                </c:pt>
                <c:pt idx="698">
                  <c:v>33882</c:v>
                </c:pt>
                <c:pt idx="699">
                  <c:v>33883</c:v>
                </c:pt>
                <c:pt idx="700">
                  <c:v>33884</c:v>
                </c:pt>
                <c:pt idx="701">
                  <c:v>33885</c:v>
                </c:pt>
                <c:pt idx="702">
                  <c:v>33886</c:v>
                </c:pt>
                <c:pt idx="703">
                  <c:v>33889</c:v>
                </c:pt>
                <c:pt idx="704">
                  <c:v>33890</c:v>
                </c:pt>
                <c:pt idx="705">
                  <c:v>33891</c:v>
                </c:pt>
                <c:pt idx="706">
                  <c:v>33892</c:v>
                </c:pt>
                <c:pt idx="707">
                  <c:v>33893</c:v>
                </c:pt>
                <c:pt idx="708">
                  <c:v>33896</c:v>
                </c:pt>
                <c:pt idx="709">
                  <c:v>33897</c:v>
                </c:pt>
                <c:pt idx="710">
                  <c:v>33898</c:v>
                </c:pt>
                <c:pt idx="711">
                  <c:v>33899</c:v>
                </c:pt>
                <c:pt idx="712">
                  <c:v>33900</c:v>
                </c:pt>
                <c:pt idx="713">
                  <c:v>33903</c:v>
                </c:pt>
                <c:pt idx="714">
                  <c:v>33904</c:v>
                </c:pt>
                <c:pt idx="715">
                  <c:v>33905</c:v>
                </c:pt>
                <c:pt idx="716">
                  <c:v>33906</c:v>
                </c:pt>
                <c:pt idx="717">
                  <c:v>33907</c:v>
                </c:pt>
                <c:pt idx="718">
                  <c:v>33910</c:v>
                </c:pt>
                <c:pt idx="719">
                  <c:v>33911</c:v>
                </c:pt>
                <c:pt idx="720">
                  <c:v>33912</c:v>
                </c:pt>
                <c:pt idx="721">
                  <c:v>33913</c:v>
                </c:pt>
                <c:pt idx="722">
                  <c:v>33914</c:v>
                </c:pt>
                <c:pt idx="723">
                  <c:v>33917</c:v>
                </c:pt>
                <c:pt idx="724">
                  <c:v>33918</c:v>
                </c:pt>
                <c:pt idx="725">
                  <c:v>33919</c:v>
                </c:pt>
                <c:pt idx="726">
                  <c:v>33920</c:v>
                </c:pt>
                <c:pt idx="727">
                  <c:v>33921</c:v>
                </c:pt>
                <c:pt idx="728">
                  <c:v>33924</c:v>
                </c:pt>
                <c:pt idx="729">
                  <c:v>33925</c:v>
                </c:pt>
                <c:pt idx="730">
                  <c:v>33926</c:v>
                </c:pt>
                <c:pt idx="731">
                  <c:v>33927</c:v>
                </c:pt>
                <c:pt idx="732">
                  <c:v>33928</c:v>
                </c:pt>
                <c:pt idx="733">
                  <c:v>33931</c:v>
                </c:pt>
                <c:pt idx="734">
                  <c:v>33932</c:v>
                </c:pt>
                <c:pt idx="735">
                  <c:v>33933</c:v>
                </c:pt>
                <c:pt idx="736">
                  <c:v>33935</c:v>
                </c:pt>
                <c:pt idx="737">
                  <c:v>33938</c:v>
                </c:pt>
                <c:pt idx="738">
                  <c:v>33939</c:v>
                </c:pt>
                <c:pt idx="739">
                  <c:v>33940</c:v>
                </c:pt>
                <c:pt idx="740">
                  <c:v>33941</c:v>
                </c:pt>
                <c:pt idx="741">
                  <c:v>33942</c:v>
                </c:pt>
                <c:pt idx="742">
                  <c:v>33945</c:v>
                </c:pt>
                <c:pt idx="743">
                  <c:v>33946</c:v>
                </c:pt>
                <c:pt idx="744">
                  <c:v>33947</c:v>
                </c:pt>
                <c:pt idx="745">
                  <c:v>33948</c:v>
                </c:pt>
                <c:pt idx="746">
                  <c:v>33949</c:v>
                </c:pt>
                <c:pt idx="747">
                  <c:v>33952</c:v>
                </c:pt>
                <c:pt idx="748">
                  <c:v>33953</c:v>
                </c:pt>
                <c:pt idx="749">
                  <c:v>33954</c:v>
                </c:pt>
                <c:pt idx="750">
                  <c:v>33955</c:v>
                </c:pt>
                <c:pt idx="751">
                  <c:v>33956</c:v>
                </c:pt>
                <c:pt idx="752">
                  <c:v>33959</c:v>
                </c:pt>
                <c:pt idx="753">
                  <c:v>33960</c:v>
                </c:pt>
                <c:pt idx="754">
                  <c:v>33961</c:v>
                </c:pt>
                <c:pt idx="755">
                  <c:v>33962</c:v>
                </c:pt>
                <c:pt idx="756">
                  <c:v>33966</c:v>
                </c:pt>
                <c:pt idx="757">
                  <c:v>33967</c:v>
                </c:pt>
                <c:pt idx="758">
                  <c:v>33968</c:v>
                </c:pt>
                <c:pt idx="759">
                  <c:v>33969</c:v>
                </c:pt>
                <c:pt idx="760">
                  <c:v>33973</c:v>
                </c:pt>
                <c:pt idx="761">
                  <c:v>33974</c:v>
                </c:pt>
                <c:pt idx="762">
                  <c:v>33975</c:v>
                </c:pt>
                <c:pt idx="763">
                  <c:v>33976</c:v>
                </c:pt>
                <c:pt idx="764">
                  <c:v>33977</c:v>
                </c:pt>
                <c:pt idx="765">
                  <c:v>33980</c:v>
                </c:pt>
                <c:pt idx="766">
                  <c:v>33981</c:v>
                </c:pt>
                <c:pt idx="767">
                  <c:v>33982</c:v>
                </c:pt>
                <c:pt idx="768">
                  <c:v>33983</c:v>
                </c:pt>
                <c:pt idx="769">
                  <c:v>33984</c:v>
                </c:pt>
                <c:pt idx="770">
                  <c:v>33987</c:v>
                </c:pt>
                <c:pt idx="771">
                  <c:v>33988</c:v>
                </c:pt>
                <c:pt idx="772">
                  <c:v>33989</c:v>
                </c:pt>
                <c:pt idx="773">
                  <c:v>33990</c:v>
                </c:pt>
                <c:pt idx="774">
                  <c:v>33991</c:v>
                </c:pt>
                <c:pt idx="775">
                  <c:v>33994</c:v>
                </c:pt>
                <c:pt idx="776">
                  <c:v>33995</c:v>
                </c:pt>
                <c:pt idx="777">
                  <c:v>33996</c:v>
                </c:pt>
                <c:pt idx="778">
                  <c:v>33997</c:v>
                </c:pt>
                <c:pt idx="779">
                  <c:v>33998</c:v>
                </c:pt>
                <c:pt idx="780">
                  <c:v>34001</c:v>
                </c:pt>
                <c:pt idx="781">
                  <c:v>34002</c:v>
                </c:pt>
                <c:pt idx="782">
                  <c:v>34003</c:v>
                </c:pt>
                <c:pt idx="783">
                  <c:v>34004</c:v>
                </c:pt>
                <c:pt idx="784">
                  <c:v>34005</c:v>
                </c:pt>
                <c:pt idx="785">
                  <c:v>34008</c:v>
                </c:pt>
                <c:pt idx="786">
                  <c:v>34009</c:v>
                </c:pt>
                <c:pt idx="787">
                  <c:v>34010</c:v>
                </c:pt>
                <c:pt idx="788">
                  <c:v>34011</c:v>
                </c:pt>
                <c:pt idx="789">
                  <c:v>34012</c:v>
                </c:pt>
                <c:pt idx="790">
                  <c:v>34016</c:v>
                </c:pt>
                <c:pt idx="791">
                  <c:v>34017</c:v>
                </c:pt>
                <c:pt idx="792">
                  <c:v>34018</c:v>
                </c:pt>
                <c:pt idx="793">
                  <c:v>34019</c:v>
                </c:pt>
                <c:pt idx="794">
                  <c:v>34022</c:v>
                </c:pt>
                <c:pt idx="795">
                  <c:v>34023</c:v>
                </c:pt>
                <c:pt idx="796">
                  <c:v>34024</c:v>
                </c:pt>
                <c:pt idx="797">
                  <c:v>34025</c:v>
                </c:pt>
                <c:pt idx="798">
                  <c:v>34026</c:v>
                </c:pt>
                <c:pt idx="799">
                  <c:v>34029</c:v>
                </c:pt>
                <c:pt idx="800">
                  <c:v>34030</c:v>
                </c:pt>
                <c:pt idx="801">
                  <c:v>34031</c:v>
                </c:pt>
                <c:pt idx="802">
                  <c:v>34032</c:v>
                </c:pt>
                <c:pt idx="803">
                  <c:v>34033</c:v>
                </c:pt>
                <c:pt idx="804">
                  <c:v>34036</c:v>
                </c:pt>
                <c:pt idx="805">
                  <c:v>34037</c:v>
                </c:pt>
                <c:pt idx="806">
                  <c:v>34038</c:v>
                </c:pt>
                <c:pt idx="807">
                  <c:v>34039</c:v>
                </c:pt>
                <c:pt idx="808">
                  <c:v>34040</c:v>
                </c:pt>
                <c:pt idx="809">
                  <c:v>34043</c:v>
                </c:pt>
                <c:pt idx="810">
                  <c:v>34044</c:v>
                </c:pt>
                <c:pt idx="811">
                  <c:v>34045</c:v>
                </c:pt>
                <c:pt idx="812">
                  <c:v>34046</c:v>
                </c:pt>
                <c:pt idx="813">
                  <c:v>34047</c:v>
                </c:pt>
                <c:pt idx="814">
                  <c:v>34050</c:v>
                </c:pt>
                <c:pt idx="815">
                  <c:v>34051</c:v>
                </c:pt>
                <c:pt idx="816">
                  <c:v>34052</c:v>
                </c:pt>
                <c:pt idx="817">
                  <c:v>34053</c:v>
                </c:pt>
                <c:pt idx="818">
                  <c:v>34054</c:v>
                </c:pt>
                <c:pt idx="819">
                  <c:v>34057</c:v>
                </c:pt>
                <c:pt idx="820">
                  <c:v>34058</c:v>
                </c:pt>
                <c:pt idx="821">
                  <c:v>34059</c:v>
                </c:pt>
                <c:pt idx="822">
                  <c:v>34060</c:v>
                </c:pt>
                <c:pt idx="823">
                  <c:v>34061</c:v>
                </c:pt>
                <c:pt idx="824">
                  <c:v>34064</c:v>
                </c:pt>
                <c:pt idx="825">
                  <c:v>34065</c:v>
                </c:pt>
                <c:pt idx="826">
                  <c:v>34066</c:v>
                </c:pt>
                <c:pt idx="827">
                  <c:v>34067</c:v>
                </c:pt>
                <c:pt idx="828">
                  <c:v>34071</c:v>
                </c:pt>
                <c:pt idx="829">
                  <c:v>34072</c:v>
                </c:pt>
                <c:pt idx="830">
                  <c:v>34073</c:v>
                </c:pt>
                <c:pt idx="831">
                  <c:v>34074</c:v>
                </c:pt>
                <c:pt idx="832">
                  <c:v>34075</c:v>
                </c:pt>
                <c:pt idx="833">
                  <c:v>34078</c:v>
                </c:pt>
                <c:pt idx="834">
                  <c:v>34079</c:v>
                </c:pt>
                <c:pt idx="835">
                  <c:v>34080</c:v>
                </c:pt>
                <c:pt idx="836">
                  <c:v>34081</c:v>
                </c:pt>
                <c:pt idx="837">
                  <c:v>34082</c:v>
                </c:pt>
                <c:pt idx="838">
                  <c:v>34085</c:v>
                </c:pt>
                <c:pt idx="839">
                  <c:v>34086</c:v>
                </c:pt>
                <c:pt idx="840">
                  <c:v>34087</c:v>
                </c:pt>
                <c:pt idx="841">
                  <c:v>34088</c:v>
                </c:pt>
                <c:pt idx="842">
                  <c:v>34089</c:v>
                </c:pt>
                <c:pt idx="843">
                  <c:v>34092</c:v>
                </c:pt>
                <c:pt idx="844">
                  <c:v>34093</c:v>
                </c:pt>
                <c:pt idx="845">
                  <c:v>34094</c:v>
                </c:pt>
                <c:pt idx="846">
                  <c:v>34095</c:v>
                </c:pt>
                <c:pt idx="847">
                  <c:v>34096</c:v>
                </c:pt>
                <c:pt idx="848">
                  <c:v>34099</c:v>
                </c:pt>
                <c:pt idx="849">
                  <c:v>34100</c:v>
                </c:pt>
                <c:pt idx="850">
                  <c:v>34101</c:v>
                </c:pt>
                <c:pt idx="851">
                  <c:v>34102</c:v>
                </c:pt>
                <c:pt idx="852">
                  <c:v>34103</c:v>
                </c:pt>
                <c:pt idx="853">
                  <c:v>34106</c:v>
                </c:pt>
                <c:pt idx="854">
                  <c:v>34107</c:v>
                </c:pt>
                <c:pt idx="855">
                  <c:v>34108</c:v>
                </c:pt>
                <c:pt idx="856">
                  <c:v>34109</c:v>
                </c:pt>
                <c:pt idx="857">
                  <c:v>34110</c:v>
                </c:pt>
                <c:pt idx="858">
                  <c:v>34113</c:v>
                </c:pt>
                <c:pt idx="859">
                  <c:v>34114</c:v>
                </c:pt>
                <c:pt idx="860">
                  <c:v>34115</c:v>
                </c:pt>
                <c:pt idx="861">
                  <c:v>34116</c:v>
                </c:pt>
                <c:pt idx="862">
                  <c:v>34117</c:v>
                </c:pt>
                <c:pt idx="863">
                  <c:v>34121</c:v>
                </c:pt>
                <c:pt idx="864">
                  <c:v>34122</c:v>
                </c:pt>
                <c:pt idx="865">
                  <c:v>34123</c:v>
                </c:pt>
                <c:pt idx="866">
                  <c:v>34124</c:v>
                </c:pt>
                <c:pt idx="867">
                  <c:v>34127</c:v>
                </c:pt>
                <c:pt idx="868">
                  <c:v>34128</c:v>
                </c:pt>
                <c:pt idx="869">
                  <c:v>34129</c:v>
                </c:pt>
                <c:pt idx="870">
                  <c:v>34130</c:v>
                </c:pt>
                <c:pt idx="871">
                  <c:v>34131</c:v>
                </c:pt>
                <c:pt idx="872">
                  <c:v>34134</c:v>
                </c:pt>
                <c:pt idx="873">
                  <c:v>34135</c:v>
                </c:pt>
                <c:pt idx="874">
                  <c:v>34136</c:v>
                </c:pt>
                <c:pt idx="875">
                  <c:v>34137</c:v>
                </c:pt>
                <c:pt idx="876">
                  <c:v>34138</c:v>
                </c:pt>
                <c:pt idx="877">
                  <c:v>34141</c:v>
                </c:pt>
                <c:pt idx="878">
                  <c:v>34142</c:v>
                </c:pt>
                <c:pt idx="879">
                  <c:v>34143</c:v>
                </c:pt>
                <c:pt idx="880">
                  <c:v>34144</c:v>
                </c:pt>
                <c:pt idx="881">
                  <c:v>34145</c:v>
                </c:pt>
                <c:pt idx="882">
                  <c:v>34148</c:v>
                </c:pt>
                <c:pt idx="883">
                  <c:v>34149</c:v>
                </c:pt>
                <c:pt idx="884">
                  <c:v>34150</c:v>
                </c:pt>
                <c:pt idx="885">
                  <c:v>34151</c:v>
                </c:pt>
                <c:pt idx="886">
                  <c:v>34152</c:v>
                </c:pt>
                <c:pt idx="887">
                  <c:v>34156</c:v>
                </c:pt>
                <c:pt idx="888">
                  <c:v>34157</c:v>
                </c:pt>
                <c:pt idx="889">
                  <c:v>34158</c:v>
                </c:pt>
                <c:pt idx="890">
                  <c:v>34159</c:v>
                </c:pt>
                <c:pt idx="891">
                  <c:v>34162</c:v>
                </c:pt>
                <c:pt idx="892">
                  <c:v>34163</c:v>
                </c:pt>
                <c:pt idx="893">
                  <c:v>34164</c:v>
                </c:pt>
                <c:pt idx="894">
                  <c:v>34165</c:v>
                </c:pt>
                <c:pt idx="895">
                  <c:v>34166</c:v>
                </c:pt>
                <c:pt idx="896">
                  <c:v>34169</c:v>
                </c:pt>
                <c:pt idx="897">
                  <c:v>34170</c:v>
                </c:pt>
                <c:pt idx="898">
                  <c:v>34171</c:v>
                </c:pt>
                <c:pt idx="899">
                  <c:v>34172</c:v>
                </c:pt>
                <c:pt idx="900">
                  <c:v>34173</c:v>
                </c:pt>
                <c:pt idx="901">
                  <c:v>34176</c:v>
                </c:pt>
                <c:pt idx="902">
                  <c:v>34177</c:v>
                </c:pt>
                <c:pt idx="903">
                  <c:v>34178</c:v>
                </c:pt>
                <c:pt idx="904">
                  <c:v>34179</c:v>
                </c:pt>
                <c:pt idx="905">
                  <c:v>34180</c:v>
                </c:pt>
                <c:pt idx="906">
                  <c:v>34183</c:v>
                </c:pt>
                <c:pt idx="907">
                  <c:v>34184</c:v>
                </c:pt>
                <c:pt idx="908">
                  <c:v>34185</c:v>
                </c:pt>
                <c:pt idx="909">
                  <c:v>34186</c:v>
                </c:pt>
                <c:pt idx="910">
                  <c:v>34187</c:v>
                </c:pt>
                <c:pt idx="911">
                  <c:v>34190</c:v>
                </c:pt>
                <c:pt idx="912">
                  <c:v>34191</c:v>
                </c:pt>
                <c:pt idx="913">
                  <c:v>34192</c:v>
                </c:pt>
                <c:pt idx="914">
                  <c:v>34193</c:v>
                </c:pt>
                <c:pt idx="915">
                  <c:v>34194</c:v>
                </c:pt>
                <c:pt idx="916">
                  <c:v>34197</c:v>
                </c:pt>
                <c:pt idx="917">
                  <c:v>34198</c:v>
                </c:pt>
                <c:pt idx="918">
                  <c:v>34199</c:v>
                </c:pt>
                <c:pt idx="919">
                  <c:v>34200</c:v>
                </c:pt>
                <c:pt idx="920">
                  <c:v>34201</c:v>
                </c:pt>
                <c:pt idx="921">
                  <c:v>34204</c:v>
                </c:pt>
                <c:pt idx="922">
                  <c:v>34205</c:v>
                </c:pt>
                <c:pt idx="923">
                  <c:v>34206</c:v>
                </c:pt>
                <c:pt idx="924">
                  <c:v>34207</c:v>
                </c:pt>
                <c:pt idx="925">
                  <c:v>34208</c:v>
                </c:pt>
                <c:pt idx="926">
                  <c:v>34211</c:v>
                </c:pt>
                <c:pt idx="927">
                  <c:v>34212</c:v>
                </c:pt>
                <c:pt idx="928">
                  <c:v>34213</c:v>
                </c:pt>
                <c:pt idx="929">
                  <c:v>34214</c:v>
                </c:pt>
                <c:pt idx="930">
                  <c:v>34215</c:v>
                </c:pt>
                <c:pt idx="931">
                  <c:v>34219</c:v>
                </c:pt>
                <c:pt idx="932">
                  <c:v>34220</c:v>
                </c:pt>
                <c:pt idx="933">
                  <c:v>34221</c:v>
                </c:pt>
                <c:pt idx="934">
                  <c:v>34222</c:v>
                </c:pt>
                <c:pt idx="935">
                  <c:v>34225</c:v>
                </c:pt>
                <c:pt idx="936">
                  <c:v>34226</c:v>
                </c:pt>
                <c:pt idx="937">
                  <c:v>34227</c:v>
                </c:pt>
                <c:pt idx="938">
                  <c:v>34228</c:v>
                </c:pt>
                <c:pt idx="939">
                  <c:v>34229</c:v>
                </c:pt>
                <c:pt idx="940">
                  <c:v>34232</c:v>
                </c:pt>
                <c:pt idx="941">
                  <c:v>34233</c:v>
                </c:pt>
                <c:pt idx="942">
                  <c:v>34234</c:v>
                </c:pt>
                <c:pt idx="943">
                  <c:v>34235</c:v>
                </c:pt>
                <c:pt idx="944">
                  <c:v>34236</c:v>
                </c:pt>
                <c:pt idx="945">
                  <c:v>34239</c:v>
                </c:pt>
                <c:pt idx="946">
                  <c:v>34240</c:v>
                </c:pt>
                <c:pt idx="947">
                  <c:v>34241</c:v>
                </c:pt>
                <c:pt idx="948">
                  <c:v>34242</c:v>
                </c:pt>
                <c:pt idx="949">
                  <c:v>34243</c:v>
                </c:pt>
                <c:pt idx="950">
                  <c:v>34246</c:v>
                </c:pt>
                <c:pt idx="951">
                  <c:v>34247</c:v>
                </c:pt>
                <c:pt idx="952">
                  <c:v>34248</c:v>
                </c:pt>
                <c:pt idx="953">
                  <c:v>34249</c:v>
                </c:pt>
                <c:pt idx="954">
                  <c:v>34250</c:v>
                </c:pt>
                <c:pt idx="955">
                  <c:v>34253</c:v>
                </c:pt>
                <c:pt idx="956">
                  <c:v>34254</c:v>
                </c:pt>
                <c:pt idx="957">
                  <c:v>34255</c:v>
                </c:pt>
                <c:pt idx="958">
                  <c:v>34256</c:v>
                </c:pt>
                <c:pt idx="959">
                  <c:v>34257</c:v>
                </c:pt>
                <c:pt idx="960">
                  <c:v>34260</c:v>
                </c:pt>
                <c:pt idx="961">
                  <c:v>34261</c:v>
                </c:pt>
                <c:pt idx="962">
                  <c:v>34262</c:v>
                </c:pt>
                <c:pt idx="963">
                  <c:v>34263</c:v>
                </c:pt>
                <c:pt idx="964">
                  <c:v>34264</c:v>
                </c:pt>
                <c:pt idx="965">
                  <c:v>34267</c:v>
                </c:pt>
                <c:pt idx="966">
                  <c:v>34268</c:v>
                </c:pt>
                <c:pt idx="967">
                  <c:v>34269</c:v>
                </c:pt>
                <c:pt idx="968">
                  <c:v>34270</c:v>
                </c:pt>
                <c:pt idx="969">
                  <c:v>34271</c:v>
                </c:pt>
                <c:pt idx="970">
                  <c:v>34274</c:v>
                </c:pt>
                <c:pt idx="971">
                  <c:v>34275</c:v>
                </c:pt>
                <c:pt idx="972">
                  <c:v>34276</c:v>
                </c:pt>
                <c:pt idx="973">
                  <c:v>34277</c:v>
                </c:pt>
                <c:pt idx="974">
                  <c:v>34278</c:v>
                </c:pt>
                <c:pt idx="975">
                  <c:v>34281</c:v>
                </c:pt>
                <c:pt idx="976">
                  <c:v>34282</c:v>
                </c:pt>
                <c:pt idx="977">
                  <c:v>34283</c:v>
                </c:pt>
                <c:pt idx="978">
                  <c:v>34284</c:v>
                </c:pt>
                <c:pt idx="979">
                  <c:v>34285</c:v>
                </c:pt>
                <c:pt idx="980">
                  <c:v>34288</c:v>
                </c:pt>
                <c:pt idx="981">
                  <c:v>34289</c:v>
                </c:pt>
                <c:pt idx="982">
                  <c:v>34290</c:v>
                </c:pt>
                <c:pt idx="983">
                  <c:v>34291</c:v>
                </c:pt>
                <c:pt idx="984">
                  <c:v>34292</c:v>
                </c:pt>
                <c:pt idx="985">
                  <c:v>34295</c:v>
                </c:pt>
                <c:pt idx="986">
                  <c:v>34296</c:v>
                </c:pt>
                <c:pt idx="987">
                  <c:v>34297</c:v>
                </c:pt>
                <c:pt idx="988">
                  <c:v>34299</c:v>
                </c:pt>
                <c:pt idx="989">
                  <c:v>34302</c:v>
                </c:pt>
                <c:pt idx="990">
                  <c:v>34303</c:v>
                </c:pt>
                <c:pt idx="991">
                  <c:v>34304</c:v>
                </c:pt>
                <c:pt idx="992">
                  <c:v>34305</c:v>
                </c:pt>
                <c:pt idx="993">
                  <c:v>34306</c:v>
                </c:pt>
                <c:pt idx="994">
                  <c:v>34309</c:v>
                </c:pt>
                <c:pt idx="995">
                  <c:v>34310</c:v>
                </c:pt>
                <c:pt idx="996">
                  <c:v>34311</c:v>
                </c:pt>
                <c:pt idx="997">
                  <c:v>34312</c:v>
                </c:pt>
                <c:pt idx="998">
                  <c:v>34313</c:v>
                </c:pt>
                <c:pt idx="999">
                  <c:v>34316</c:v>
                </c:pt>
                <c:pt idx="1000">
                  <c:v>34317</c:v>
                </c:pt>
                <c:pt idx="1001">
                  <c:v>34318</c:v>
                </c:pt>
                <c:pt idx="1002">
                  <c:v>34319</c:v>
                </c:pt>
                <c:pt idx="1003">
                  <c:v>34320</c:v>
                </c:pt>
                <c:pt idx="1004">
                  <c:v>34323</c:v>
                </c:pt>
                <c:pt idx="1005">
                  <c:v>34324</c:v>
                </c:pt>
                <c:pt idx="1006">
                  <c:v>34325</c:v>
                </c:pt>
                <c:pt idx="1007">
                  <c:v>34326</c:v>
                </c:pt>
                <c:pt idx="1008">
                  <c:v>34330</c:v>
                </c:pt>
                <c:pt idx="1009">
                  <c:v>34331</c:v>
                </c:pt>
                <c:pt idx="1010">
                  <c:v>34332</c:v>
                </c:pt>
                <c:pt idx="1011">
                  <c:v>34333</c:v>
                </c:pt>
                <c:pt idx="1012">
                  <c:v>34334</c:v>
                </c:pt>
                <c:pt idx="1013">
                  <c:v>34337</c:v>
                </c:pt>
                <c:pt idx="1014">
                  <c:v>34338</c:v>
                </c:pt>
                <c:pt idx="1015">
                  <c:v>34339</c:v>
                </c:pt>
                <c:pt idx="1016">
                  <c:v>34340</c:v>
                </c:pt>
                <c:pt idx="1017">
                  <c:v>34341</c:v>
                </c:pt>
                <c:pt idx="1018">
                  <c:v>34344</c:v>
                </c:pt>
                <c:pt idx="1019">
                  <c:v>34345</c:v>
                </c:pt>
                <c:pt idx="1020">
                  <c:v>34346</c:v>
                </c:pt>
                <c:pt idx="1021">
                  <c:v>34347</c:v>
                </c:pt>
                <c:pt idx="1022">
                  <c:v>34348</c:v>
                </c:pt>
                <c:pt idx="1023">
                  <c:v>34351</c:v>
                </c:pt>
                <c:pt idx="1024">
                  <c:v>34352</c:v>
                </c:pt>
                <c:pt idx="1025">
                  <c:v>34353</c:v>
                </c:pt>
                <c:pt idx="1026">
                  <c:v>34354</c:v>
                </c:pt>
                <c:pt idx="1027">
                  <c:v>34355</c:v>
                </c:pt>
                <c:pt idx="1028">
                  <c:v>34358</c:v>
                </c:pt>
                <c:pt idx="1029">
                  <c:v>34359</c:v>
                </c:pt>
                <c:pt idx="1030">
                  <c:v>34360</c:v>
                </c:pt>
                <c:pt idx="1031">
                  <c:v>34361</c:v>
                </c:pt>
                <c:pt idx="1032">
                  <c:v>34362</c:v>
                </c:pt>
                <c:pt idx="1033">
                  <c:v>34365</c:v>
                </c:pt>
                <c:pt idx="1034">
                  <c:v>34366</c:v>
                </c:pt>
                <c:pt idx="1035">
                  <c:v>34367</c:v>
                </c:pt>
                <c:pt idx="1036">
                  <c:v>34368</c:v>
                </c:pt>
                <c:pt idx="1037">
                  <c:v>34369</c:v>
                </c:pt>
                <c:pt idx="1038">
                  <c:v>34372</c:v>
                </c:pt>
                <c:pt idx="1039">
                  <c:v>34373</c:v>
                </c:pt>
                <c:pt idx="1040">
                  <c:v>34374</c:v>
                </c:pt>
                <c:pt idx="1041">
                  <c:v>34375</c:v>
                </c:pt>
                <c:pt idx="1042">
                  <c:v>34376</c:v>
                </c:pt>
                <c:pt idx="1043">
                  <c:v>34379</c:v>
                </c:pt>
                <c:pt idx="1044">
                  <c:v>34380</c:v>
                </c:pt>
                <c:pt idx="1045">
                  <c:v>34381</c:v>
                </c:pt>
                <c:pt idx="1046">
                  <c:v>34382</c:v>
                </c:pt>
                <c:pt idx="1047">
                  <c:v>34383</c:v>
                </c:pt>
                <c:pt idx="1048">
                  <c:v>34387</c:v>
                </c:pt>
                <c:pt idx="1049">
                  <c:v>34388</c:v>
                </c:pt>
                <c:pt idx="1050">
                  <c:v>34389</c:v>
                </c:pt>
                <c:pt idx="1051">
                  <c:v>34390</c:v>
                </c:pt>
                <c:pt idx="1052">
                  <c:v>34393</c:v>
                </c:pt>
                <c:pt idx="1053">
                  <c:v>34394</c:v>
                </c:pt>
                <c:pt idx="1054">
                  <c:v>34395</c:v>
                </c:pt>
                <c:pt idx="1055">
                  <c:v>34396</c:v>
                </c:pt>
                <c:pt idx="1056">
                  <c:v>34397</c:v>
                </c:pt>
                <c:pt idx="1057">
                  <c:v>34400</c:v>
                </c:pt>
                <c:pt idx="1058">
                  <c:v>34401</c:v>
                </c:pt>
                <c:pt idx="1059">
                  <c:v>34402</c:v>
                </c:pt>
                <c:pt idx="1060">
                  <c:v>34403</c:v>
                </c:pt>
                <c:pt idx="1061">
                  <c:v>34404</c:v>
                </c:pt>
                <c:pt idx="1062">
                  <c:v>34407</c:v>
                </c:pt>
                <c:pt idx="1063">
                  <c:v>34408</c:v>
                </c:pt>
                <c:pt idx="1064">
                  <c:v>34409</c:v>
                </c:pt>
                <c:pt idx="1065">
                  <c:v>34410</c:v>
                </c:pt>
                <c:pt idx="1066">
                  <c:v>34411</c:v>
                </c:pt>
                <c:pt idx="1067">
                  <c:v>34414</c:v>
                </c:pt>
                <c:pt idx="1068">
                  <c:v>34415</c:v>
                </c:pt>
                <c:pt idx="1069">
                  <c:v>34416</c:v>
                </c:pt>
                <c:pt idx="1070">
                  <c:v>34417</c:v>
                </c:pt>
                <c:pt idx="1071">
                  <c:v>34418</c:v>
                </c:pt>
                <c:pt idx="1072">
                  <c:v>34421</c:v>
                </c:pt>
                <c:pt idx="1073">
                  <c:v>34422</c:v>
                </c:pt>
                <c:pt idx="1074">
                  <c:v>34423</c:v>
                </c:pt>
                <c:pt idx="1075">
                  <c:v>34424</c:v>
                </c:pt>
                <c:pt idx="1076">
                  <c:v>34428</c:v>
                </c:pt>
                <c:pt idx="1077">
                  <c:v>34429</c:v>
                </c:pt>
                <c:pt idx="1078">
                  <c:v>34430</c:v>
                </c:pt>
                <c:pt idx="1079">
                  <c:v>34431</c:v>
                </c:pt>
                <c:pt idx="1080">
                  <c:v>34432</c:v>
                </c:pt>
                <c:pt idx="1081">
                  <c:v>34435</c:v>
                </c:pt>
                <c:pt idx="1082">
                  <c:v>34436</c:v>
                </c:pt>
                <c:pt idx="1083">
                  <c:v>34437</c:v>
                </c:pt>
                <c:pt idx="1084">
                  <c:v>34438</c:v>
                </c:pt>
                <c:pt idx="1085">
                  <c:v>34439</c:v>
                </c:pt>
                <c:pt idx="1086">
                  <c:v>34442</c:v>
                </c:pt>
                <c:pt idx="1087">
                  <c:v>34443</c:v>
                </c:pt>
                <c:pt idx="1088">
                  <c:v>34444</c:v>
                </c:pt>
                <c:pt idx="1089">
                  <c:v>34445</c:v>
                </c:pt>
                <c:pt idx="1090">
                  <c:v>34446</c:v>
                </c:pt>
                <c:pt idx="1091">
                  <c:v>34449</c:v>
                </c:pt>
                <c:pt idx="1092">
                  <c:v>34450</c:v>
                </c:pt>
                <c:pt idx="1093">
                  <c:v>34452</c:v>
                </c:pt>
                <c:pt idx="1094">
                  <c:v>34453</c:v>
                </c:pt>
                <c:pt idx="1095">
                  <c:v>34456</c:v>
                </c:pt>
                <c:pt idx="1096">
                  <c:v>34457</c:v>
                </c:pt>
                <c:pt idx="1097">
                  <c:v>34458</c:v>
                </c:pt>
                <c:pt idx="1098">
                  <c:v>34459</c:v>
                </c:pt>
                <c:pt idx="1099">
                  <c:v>34460</c:v>
                </c:pt>
                <c:pt idx="1100">
                  <c:v>34463</c:v>
                </c:pt>
                <c:pt idx="1101">
                  <c:v>34464</c:v>
                </c:pt>
                <c:pt idx="1102">
                  <c:v>34465</c:v>
                </c:pt>
                <c:pt idx="1103">
                  <c:v>34466</c:v>
                </c:pt>
                <c:pt idx="1104">
                  <c:v>34467</c:v>
                </c:pt>
                <c:pt idx="1105">
                  <c:v>34470</c:v>
                </c:pt>
                <c:pt idx="1106">
                  <c:v>34471</c:v>
                </c:pt>
                <c:pt idx="1107">
                  <c:v>34472</c:v>
                </c:pt>
                <c:pt idx="1108">
                  <c:v>34473</c:v>
                </c:pt>
                <c:pt idx="1109">
                  <c:v>34474</c:v>
                </c:pt>
                <c:pt idx="1110">
                  <c:v>34477</c:v>
                </c:pt>
                <c:pt idx="1111">
                  <c:v>34478</c:v>
                </c:pt>
                <c:pt idx="1112">
                  <c:v>34479</c:v>
                </c:pt>
                <c:pt idx="1113">
                  <c:v>34480</c:v>
                </c:pt>
                <c:pt idx="1114">
                  <c:v>34481</c:v>
                </c:pt>
                <c:pt idx="1115">
                  <c:v>34485</c:v>
                </c:pt>
                <c:pt idx="1116">
                  <c:v>34486</c:v>
                </c:pt>
                <c:pt idx="1117">
                  <c:v>34487</c:v>
                </c:pt>
                <c:pt idx="1118">
                  <c:v>34488</c:v>
                </c:pt>
                <c:pt idx="1119">
                  <c:v>34491</c:v>
                </c:pt>
                <c:pt idx="1120">
                  <c:v>34492</c:v>
                </c:pt>
                <c:pt idx="1121">
                  <c:v>34493</c:v>
                </c:pt>
                <c:pt idx="1122">
                  <c:v>34494</c:v>
                </c:pt>
                <c:pt idx="1123">
                  <c:v>34495</c:v>
                </c:pt>
                <c:pt idx="1124">
                  <c:v>34498</c:v>
                </c:pt>
                <c:pt idx="1125">
                  <c:v>34499</c:v>
                </c:pt>
                <c:pt idx="1126">
                  <c:v>34500</c:v>
                </c:pt>
                <c:pt idx="1127">
                  <c:v>34501</c:v>
                </c:pt>
                <c:pt idx="1128">
                  <c:v>34502</c:v>
                </c:pt>
                <c:pt idx="1129">
                  <c:v>34505</c:v>
                </c:pt>
                <c:pt idx="1130">
                  <c:v>34506</c:v>
                </c:pt>
                <c:pt idx="1131">
                  <c:v>34507</c:v>
                </c:pt>
                <c:pt idx="1132">
                  <c:v>34508</c:v>
                </c:pt>
                <c:pt idx="1133">
                  <c:v>34509</c:v>
                </c:pt>
                <c:pt idx="1134">
                  <c:v>34512</c:v>
                </c:pt>
                <c:pt idx="1135">
                  <c:v>34513</c:v>
                </c:pt>
                <c:pt idx="1136">
                  <c:v>34514</c:v>
                </c:pt>
                <c:pt idx="1137">
                  <c:v>34515</c:v>
                </c:pt>
                <c:pt idx="1138">
                  <c:v>34516</c:v>
                </c:pt>
                <c:pt idx="1139">
                  <c:v>34520</c:v>
                </c:pt>
                <c:pt idx="1140">
                  <c:v>34521</c:v>
                </c:pt>
                <c:pt idx="1141">
                  <c:v>34522</c:v>
                </c:pt>
                <c:pt idx="1142">
                  <c:v>34523</c:v>
                </c:pt>
                <c:pt idx="1143">
                  <c:v>34526</c:v>
                </c:pt>
                <c:pt idx="1144">
                  <c:v>34527</c:v>
                </c:pt>
                <c:pt idx="1145">
                  <c:v>34528</c:v>
                </c:pt>
                <c:pt idx="1146">
                  <c:v>34529</c:v>
                </c:pt>
                <c:pt idx="1147">
                  <c:v>34530</c:v>
                </c:pt>
                <c:pt idx="1148">
                  <c:v>34533</c:v>
                </c:pt>
                <c:pt idx="1149">
                  <c:v>34534</c:v>
                </c:pt>
                <c:pt idx="1150">
                  <c:v>34535</c:v>
                </c:pt>
                <c:pt idx="1151">
                  <c:v>34536</c:v>
                </c:pt>
                <c:pt idx="1152">
                  <c:v>34537</c:v>
                </c:pt>
                <c:pt idx="1153">
                  <c:v>34540</c:v>
                </c:pt>
                <c:pt idx="1154">
                  <c:v>34541</c:v>
                </c:pt>
                <c:pt idx="1155">
                  <c:v>34542</c:v>
                </c:pt>
                <c:pt idx="1156">
                  <c:v>34543</c:v>
                </c:pt>
                <c:pt idx="1157">
                  <c:v>34544</c:v>
                </c:pt>
                <c:pt idx="1158">
                  <c:v>34547</c:v>
                </c:pt>
                <c:pt idx="1159">
                  <c:v>34548</c:v>
                </c:pt>
                <c:pt idx="1160">
                  <c:v>34549</c:v>
                </c:pt>
                <c:pt idx="1161">
                  <c:v>34550</c:v>
                </c:pt>
                <c:pt idx="1162">
                  <c:v>34551</c:v>
                </c:pt>
                <c:pt idx="1163">
                  <c:v>34554</c:v>
                </c:pt>
                <c:pt idx="1164">
                  <c:v>34555</c:v>
                </c:pt>
                <c:pt idx="1165">
                  <c:v>34556</c:v>
                </c:pt>
                <c:pt idx="1166">
                  <c:v>34557</c:v>
                </c:pt>
                <c:pt idx="1167">
                  <c:v>34558</c:v>
                </c:pt>
                <c:pt idx="1168">
                  <c:v>34561</c:v>
                </c:pt>
                <c:pt idx="1169">
                  <c:v>34562</c:v>
                </c:pt>
                <c:pt idx="1170">
                  <c:v>34563</c:v>
                </c:pt>
                <c:pt idx="1171">
                  <c:v>34564</c:v>
                </c:pt>
                <c:pt idx="1172">
                  <c:v>34565</c:v>
                </c:pt>
                <c:pt idx="1173">
                  <c:v>34568</c:v>
                </c:pt>
                <c:pt idx="1174">
                  <c:v>34569</c:v>
                </c:pt>
                <c:pt idx="1175">
                  <c:v>34570</c:v>
                </c:pt>
                <c:pt idx="1176">
                  <c:v>34571</c:v>
                </c:pt>
                <c:pt idx="1177">
                  <c:v>34572</c:v>
                </c:pt>
                <c:pt idx="1178">
                  <c:v>34575</c:v>
                </c:pt>
                <c:pt idx="1179">
                  <c:v>34576</c:v>
                </c:pt>
                <c:pt idx="1180">
                  <c:v>34577</c:v>
                </c:pt>
                <c:pt idx="1181">
                  <c:v>34578</c:v>
                </c:pt>
                <c:pt idx="1182">
                  <c:v>34579</c:v>
                </c:pt>
                <c:pt idx="1183">
                  <c:v>34583</c:v>
                </c:pt>
                <c:pt idx="1184">
                  <c:v>34584</c:v>
                </c:pt>
                <c:pt idx="1185">
                  <c:v>34585</c:v>
                </c:pt>
                <c:pt idx="1186">
                  <c:v>34586</c:v>
                </c:pt>
                <c:pt idx="1187">
                  <c:v>34589</c:v>
                </c:pt>
                <c:pt idx="1188">
                  <c:v>34590</c:v>
                </c:pt>
                <c:pt idx="1189">
                  <c:v>34591</c:v>
                </c:pt>
                <c:pt idx="1190">
                  <c:v>34592</c:v>
                </c:pt>
                <c:pt idx="1191">
                  <c:v>34593</c:v>
                </c:pt>
                <c:pt idx="1192">
                  <c:v>34596</c:v>
                </c:pt>
                <c:pt idx="1193">
                  <c:v>34597</c:v>
                </c:pt>
                <c:pt idx="1194">
                  <c:v>34598</c:v>
                </c:pt>
                <c:pt idx="1195">
                  <c:v>34599</c:v>
                </c:pt>
                <c:pt idx="1196">
                  <c:v>34600</c:v>
                </c:pt>
                <c:pt idx="1197">
                  <c:v>34603</c:v>
                </c:pt>
                <c:pt idx="1198">
                  <c:v>34604</c:v>
                </c:pt>
                <c:pt idx="1199">
                  <c:v>34605</c:v>
                </c:pt>
                <c:pt idx="1200">
                  <c:v>34606</c:v>
                </c:pt>
                <c:pt idx="1201">
                  <c:v>34607</c:v>
                </c:pt>
                <c:pt idx="1202">
                  <c:v>34610</c:v>
                </c:pt>
                <c:pt idx="1203">
                  <c:v>34611</c:v>
                </c:pt>
                <c:pt idx="1204">
                  <c:v>34612</c:v>
                </c:pt>
                <c:pt idx="1205">
                  <c:v>34613</c:v>
                </c:pt>
                <c:pt idx="1206">
                  <c:v>34614</c:v>
                </c:pt>
                <c:pt idx="1207">
                  <c:v>34617</c:v>
                </c:pt>
                <c:pt idx="1208">
                  <c:v>34618</c:v>
                </c:pt>
                <c:pt idx="1209">
                  <c:v>34619</c:v>
                </c:pt>
                <c:pt idx="1210">
                  <c:v>34620</c:v>
                </c:pt>
                <c:pt idx="1211">
                  <c:v>34621</c:v>
                </c:pt>
                <c:pt idx="1212">
                  <c:v>34624</c:v>
                </c:pt>
                <c:pt idx="1213">
                  <c:v>34625</c:v>
                </c:pt>
                <c:pt idx="1214">
                  <c:v>34626</c:v>
                </c:pt>
                <c:pt idx="1215">
                  <c:v>34627</c:v>
                </c:pt>
                <c:pt idx="1216">
                  <c:v>34628</c:v>
                </c:pt>
                <c:pt idx="1217">
                  <c:v>34631</c:v>
                </c:pt>
                <c:pt idx="1218">
                  <c:v>34632</c:v>
                </c:pt>
                <c:pt idx="1219">
                  <c:v>34633</c:v>
                </c:pt>
                <c:pt idx="1220">
                  <c:v>34634</c:v>
                </c:pt>
                <c:pt idx="1221">
                  <c:v>34635</c:v>
                </c:pt>
                <c:pt idx="1222">
                  <c:v>34638</c:v>
                </c:pt>
                <c:pt idx="1223">
                  <c:v>34639</c:v>
                </c:pt>
                <c:pt idx="1224">
                  <c:v>34640</c:v>
                </c:pt>
                <c:pt idx="1225">
                  <c:v>34641</c:v>
                </c:pt>
                <c:pt idx="1226">
                  <c:v>34642</c:v>
                </c:pt>
                <c:pt idx="1227">
                  <c:v>34645</c:v>
                </c:pt>
                <c:pt idx="1228">
                  <c:v>34646</c:v>
                </c:pt>
                <c:pt idx="1229">
                  <c:v>34647</c:v>
                </c:pt>
                <c:pt idx="1230">
                  <c:v>34648</c:v>
                </c:pt>
                <c:pt idx="1231">
                  <c:v>34649</c:v>
                </c:pt>
                <c:pt idx="1232">
                  <c:v>34652</c:v>
                </c:pt>
                <c:pt idx="1233">
                  <c:v>34653</c:v>
                </c:pt>
                <c:pt idx="1234">
                  <c:v>34654</c:v>
                </c:pt>
                <c:pt idx="1235">
                  <c:v>34655</c:v>
                </c:pt>
                <c:pt idx="1236">
                  <c:v>34656</c:v>
                </c:pt>
                <c:pt idx="1237">
                  <c:v>34659</c:v>
                </c:pt>
                <c:pt idx="1238">
                  <c:v>34660</c:v>
                </c:pt>
                <c:pt idx="1239">
                  <c:v>34661</c:v>
                </c:pt>
                <c:pt idx="1240">
                  <c:v>34663</c:v>
                </c:pt>
                <c:pt idx="1241">
                  <c:v>34666</c:v>
                </c:pt>
                <c:pt idx="1242">
                  <c:v>34667</c:v>
                </c:pt>
                <c:pt idx="1243">
                  <c:v>34668</c:v>
                </c:pt>
                <c:pt idx="1244">
                  <c:v>34669</c:v>
                </c:pt>
                <c:pt idx="1245">
                  <c:v>34670</c:v>
                </c:pt>
                <c:pt idx="1246">
                  <c:v>34673</c:v>
                </c:pt>
                <c:pt idx="1247">
                  <c:v>34674</c:v>
                </c:pt>
                <c:pt idx="1248">
                  <c:v>34675</c:v>
                </c:pt>
                <c:pt idx="1249">
                  <c:v>34676</c:v>
                </c:pt>
                <c:pt idx="1250">
                  <c:v>34677</c:v>
                </c:pt>
                <c:pt idx="1251">
                  <c:v>34680</c:v>
                </c:pt>
                <c:pt idx="1252">
                  <c:v>34681</c:v>
                </c:pt>
                <c:pt idx="1253">
                  <c:v>34682</c:v>
                </c:pt>
                <c:pt idx="1254">
                  <c:v>34683</c:v>
                </c:pt>
                <c:pt idx="1255">
                  <c:v>34684</c:v>
                </c:pt>
                <c:pt idx="1256">
                  <c:v>34687</c:v>
                </c:pt>
                <c:pt idx="1257">
                  <c:v>34688</c:v>
                </c:pt>
                <c:pt idx="1258">
                  <c:v>34689</c:v>
                </c:pt>
                <c:pt idx="1259">
                  <c:v>34690</c:v>
                </c:pt>
                <c:pt idx="1260">
                  <c:v>34691</c:v>
                </c:pt>
                <c:pt idx="1261">
                  <c:v>34695</c:v>
                </c:pt>
                <c:pt idx="1262">
                  <c:v>34696</c:v>
                </c:pt>
                <c:pt idx="1263">
                  <c:v>34697</c:v>
                </c:pt>
                <c:pt idx="1264">
                  <c:v>34698</c:v>
                </c:pt>
                <c:pt idx="1265">
                  <c:v>34702</c:v>
                </c:pt>
                <c:pt idx="1266">
                  <c:v>34703</c:v>
                </c:pt>
                <c:pt idx="1267">
                  <c:v>34704</c:v>
                </c:pt>
                <c:pt idx="1268">
                  <c:v>34705</c:v>
                </c:pt>
                <c:pt idx="1269">
                  <c:v>34708</c:v>
                </c:pt>
                <c:pt idx="1270">
                  <c:v>34709</c:v>
                </c:pt>
                <c:pt idx="1271">
                  <c:v>34710</c:v>
                </c:pt>
                <c:pt idx="1272">
                  <c:v>34711</c:v>
                </c:pt>
                <c:pt idx="1273">
                  <c:v>34712</c:v>
                </c:pt>
                <c:pt idx="1274">
                  <c:v>34715</c:v>
                </c:pt>
                <c:pt idx="1275">
                  <c:v>34716</c:v>
                </c:pt>
                <c:pt idx="1276">
                  <c:v>34717</c:v>
                </c:pt>
                <c:pt idx="1277">
                  <c:v>34718</c:v>
                </c:pt>
                <c:pt idx="1278">
                  <c:v>34719</c:v>
                </c:pt>
                <c:pt idx="1279">
                  <c:v>34722</c:v>
                </c:pt>
                <c:pt idx="1280">
                  <c:v>34723</c:v>
                </c:pt>
                <c:pt idx="1281">
                  <c:v>34724</c:v>
                </c:pt>
                <c:pt idx="1282">
                  <c:v>34725</c:v>
                </c:pt>
                <c:pt idx="1283">
                  <c:v>34726</c:v>
                </c:pt>
                <c:pt idx="1284">
                  <c:v>34729</c:v>
                </c:pt>
                <c:pt idx="1285">
                  <c:v>34730</c:v>
                </c:pt>
                <c:pt idx="1286">
                  <c:v>34731</c:v>
                </c:pt>
                <c:pt idx="1287">
                  <c:v>34732</c:v>
                </c:pt>
                <c:pt idx="1288">
                  <c:v>34733</c:v>
                </c:pt>
                <c:pt idx="1289">
                  <c:v>34736</c:v>
                </c:pt>
                <c:pt idx="1290">
                  <c:v>34737</c:v>
                </c:pt>
                <c:pt idx="1291">
                  <c:v>34738</c:v>
                </c:pt>
                <c:pt idx="1292">
                  <c:v>34739</c:v>
                </c:pt>
                <c:pt idx="1293">
                  <c:v>34740</c:v>
                </c:pt>
                <c:pt idx="1294">
                  <c:v>34743</c:v>
                </c:pt>
                <c:pt idx="1295">
                  <c:v>34744</c:v>
                </c:pt>
                <c:pt idx="1296">
                  <c:v>34745</c:v>
                </c:pt>
                <c:pt idx="1297">
                  <c:v>34746</c:v>
                </c:pt>
                <c:pt idx="1298">
                  <c:v>34747</c:v>
                </c:pt>
                <c:pt idx="1299">
                  <c:v>34751</c:v>
                </c:pt>
                <c:pt idx="1300">
                  <c:v>34752</c:v>
                </c:pt>
                <c:pt idx="1301">
                  <c:v>34753</c:v>
                </c:pt>
                <c:pt idx="1302">
                  <c:v>34754</c:v>
                </c:pt>
                <c:pt idx="1303">
                  <c:v>34757</c:v>
                </c:pt>
                <c:pt idx="1304">
                  <c:v>34758</c:v>
                </c:pt>
                <c:pt idx="1305">
                  <c:v>34759</c:v>
                </c:pt>
                <c:pt idx="1306">
                  <c:v>34760</c:v>
                </c:pt>
                <c:pt idx="1307">
                  <c:v>34761</c:v>
                </c:pt>
                <c:pt idx="1308">
                  <c:v>34764</c:v>
                </c:pt>
                <c:pt idx="1309">
                  <c:v>34765</c:v>
                </c:pt>
                <c:pt idx="1310">
                  <c:v>34766</c:v>
                </c:pt>
                <c:pt idx="1311">
                  <c:v>34767</c:v>
                </c:pt>
                <c:pt idx="1312">
                  <c:v>34768</c:v>
                </c:pt>
                <c:pt idx="1313">
                  <c:v>34771</c:v>
                </c:pt>
                <c:pt idx="1314">
                  <c:v>34772</c:v>
                </c:pt>
                <c:pt idx="1315">
                  <c:v>34773</c:v>
                </c:pt>
                <c:pt idx="1316">
                  <c:v>34774</c:v>
                </c:pt>
                <c:pt idx="1317">
                  <c:v>34775</c:v>
                </c:pt>
                <c:pt idx="1318">
                  <c:v>34778</c:v>
                </c:pt>
                <c:pt idx="1319">
                  <c:v>34779</c:v>
                </c:pt>
                <c:pt idx="1320">
                  <c:v>34780</c:v>
                </c:pt>
                <c:pt idx="1321">
                  <c:v>34781</c:v>
                </c:pt>
                <c:pt idx="1322">
                  <c:v>34782</c:v>
                </c:pt>
                <c:pt idx="1323">
                  <c:v>34785</c:v>
                </c:pt>
                <c:pt idx="1324">
                  <c:v>34786</c:v>
                </c:pt>
                <c:pt idx="1325">
                  <c:v>34787</c:v>
                </c:pt>
                <c:pt idx="1326">
                  <c:v>34788</c:v>
                </c:pt>
                <c:pt idx="1327">
                  <c:v>34789</c:v>
                </c:pt>
                <c:pt idx="1328">
                  <c:v>34792</c:v>
                </c:pt>
                <c:pt idx="1329">
                  <c:v>34793</c:v>
                </c:pt>
                <c:pt idx="1330">
                  <c:v>34794</c:v>
                </c:pt>
                <c:pt idx="1331">
                  <c:v>34795</c:v>
                </c:pt>
                <c:pt idx="1332">
                  <c:v>34796</c:v>
                </c:pt>
                <c:pt idx="1333">
                  <c:v>34799</c:v>
                </c:pt>
                <c:pt idx="1334">
                  <c:v>34800</c:v>
                </c:pt>
                <c:pt idx="1335">
                  <c:v>34801</c:v>
                </c:pt>
                <c:pt idx="1336">
                  <c:v>34802</c:v>
                </c:pt>
                <c:pt idx="1337">
                  <c:v>34806</c:v>
                </c:pt>
                <c:pt idx="1338">
                  <c:v>34807</c:v>
                </c:pt>
                <c:pt idx="1339">
                  <c:v>34808</c:v>
                </c:pt>
                <c:pt idx="1340">
                  <c:v>34809</c:v>
                </c:pt>
                <c:pt idx="1341">
                  <c:v>34810</c:v>
                </c:pt>
                <c:pt idx="1342">
                  <c:v>34813</c:v>
                </c:pt>
                <c:pt idx="1343">
                  <c:v>34814</c:v>
                </c:pt>
                <c:pt idx="1344">
                  <c:v>34815</c:v>
                </c:pt>
                <c:pt idx="1345">
                  <c:v>34816</c:v>
                </c:pt>
                <c:pt idx="1346">
                  <c:v>34817</c:v>
                </c:pt>
                <c:pt idx="1347">
                  <c:v>34820</c:v>
                </c:pt>
                <c:pt idx="1348">
                  <c:v>34821</c:v>
                </c:pt>
                <c:pt idx="1349">
                  <c:v>34822</c:v>
                </c:pt>
                <c:pt idx="1350">
                  <c:v>34823</c:v>
                </c:pt>
                <c:pt idx="1351">
                  <c:v>34824</c:v>
                </c:pt>
                <c:pt idx="1352">
                  <c:v>34827</c:v>
                </c:pt>
                <c:pt idx="1353">
                  <c:v>34828</c:v>
                </c:pt>
                <c:pt idx="1354">
                  <c:v>34829</c:v>
                </c:pt>
                <c:pt idx="1355">
                  <c:v>34830</c:v>
                </c:pt>
                <c:pt idx="1356">
                  <c:v>34831</c:v>
                </c:pt>
                <c:pt idx="1357">
                  <c:v>34834</c:v>
                </c:pt>
                <c:pt idx="1358">
                  <c:v>34835</c:v>
                </c:pt>
                <c:pt idx="1359">
                  <c:v>34836</c:v>
                </c:pt>
                <c:pt idx="1360">
                  <c:v>34837</c:v>
                </c:pt>
                <c:pt idx="1361">
                  <c:v>34838</c:v>
                </c:pt>
                <c:pt idx="1362">
                  <c:v>34841</c:v>
                </c:pt>
                <c:pt idx="1363">
                  <c:v>34842</c:v>
                </c:pt>
                <c:pt idx="1364">
                  <c:v>34843</c:v>
                </c:pt>
                <c:pt idx="1365">
                  <c:v>34844</c:v>
                </c:pt>
                <c:pt idx="1366">
                  <c:v>34845</c:v>
                </c:pt>
                <c:pt idx="1367">
                  <c:v>34849</c:v>
                </c:pt>
                <c:pt idx="1368">
                  <c:v>34850</c:v>
                </c:pt>
                <c:pt idx="1369">
                  <c:v>34851</c:v>
                </c:pt>
                <c:pt idx="1370">
                  <c:v>34852</c:v>
                </c:pt>
                <c:pt idx="1371">
                  <c:v>34855</c:v>
                </c:pt>
                <c:pt idx="1372">
                  <c:v>34856</c:v>
                </c:pt>
                <c:pt idx="1373">
                  <c:v>34857</c:v>
                </c:pt>
                <c:pt idx="1374">
                  <c:v>34858</c:v>
                </c:pt>
                <c:pt idx="1375">
                  <c:v>34859</c:v>
                </c:pt>
                <c:pt idx="1376">
                  <c:v>34862</c:v>
                </c:pt>
                <c:pt idx="1377">
                  <c:v>34863</c:v>
                </c:pt>
                <c:pt idx="1378">
                  <c:v>34864</c:v>
                </c:pt>
                <c:pt idx="1379">
                  <c:v>34865</c:v>
                </c:pt>
                <c:pt idx="1380">
                  <c:v>34866</c:v>
                </c:pt>
                <c:pt idx="1381">
                  <c:v>34869</c:v>
                </c:pt>
                <c:pt idx="1382">
                  <c:v>34870</c:v>
                </c:pt>
                <c:pt idx="1383">
                  <c:v>34871</c:v>
                </c:pt>
                <c:pt idx="1384">
                  <c:v>34872</c:v>
                </c:pt>
                <c:pt idx="1385">
                  <c:v>34873</c:v>
                </c:pt>
                <c:pt idx="1386">
                  <c:v>34876</c:v>
                </c:pt>
                <c:pt idx="1387">
                  <c:v>34877</c:v>
                </c:pt>
                <c:pt idx="1388">
                  <c:v>34878</c:v>
                </c:pt>
                <c:pt idx="1389">
                  <c:v>34879</c:v>
                </c:pt>
                <c:pt idx="1390">
                  <c:v>34880</c:v>
                </c:pt>
                <c:pt idx="1391">
                  <c:v>34883</c:v>
                </c:pt>
                <c:pt idx="1392">
                  <c:v>34885</c:v>
                </c:pt>
                <c:pt idx="1393">
                  <c:v>34886</c:v>
                </c:pt>
                <c:pt idx="1394">
                  <c:v>34887</c:v>
                </c:pt>
                <c:pt idx="1395">
                  <c:v>34890</c:v>
                </c:pt>
                <c:pt idx="1396">
                  <c:v>34891</c:v>
                </c:pt>
                <c:pt idx="1397">
                  <c:v>34892</c:v>
                </c:pt>
                <c:pt idx="1398">
                  <c:v>34893</c:v>
                </c:pt>
                <c:pt idx="1399">
                  <c:v>34894</c:v>
                </c:pt>
                <c:pt idx="1400">
                  <c:v>34897</c:v>
                </c:pt>
                <c:pt idx="1401">
                  <c:v>34898</c:v>
                </c:pt>
                <c:pt idx="1402">
                  <c:v>34899</c:v>
                </c:pt>
                <c:pt idx="1403">
                  <c:v>34900</c:v>
                </c:pt>
                <c:pt idx="1404">
                  <c:v>34901</c:v>
                </c:pt>
                <c:pt idx="1405">
                  <c:v>34904</c:v>
                </c:pt>
                <c:pt idx="1406">
                  <c:v>34905</c:v>
                </c:pt>
                <c:pt idx="1407">
                  <c:v>34906</c:v>
                </c:pt>
                <c:pt idx="1408">
                  <c:v>34907</c:v>
                </c:pt>
                <c:pt idx="1409">
                  <c:v>34908</c:v>
                </c:pt>
                <c:pt idx="1410">
                  <c:v>34911</c:v>
                </c:pt>
                <c:pt idx="1411">
                  <c:v>34912</c:v>
                </c:pt>
                <c:pt idx="1412">
                  <c:v>34913</c:v>
                </c:pt>
                <c:pt idx="1413">
                  <c:v>34914</c:v>
                </c:pt>
                <c:pt idx="1414">
                  <c:v>34915</c:v>
                </c:pt>
                <c:pt idx="1415">
                  <c:v>34918</c:v>
                </c:pt>
                <c:pt idx="1416">
                  <c:v>34919</c:v>
                </c:pt>
                <c:pt idx="1417">
                  <c:v>34920</c:v>
                </c:pt>
                <c:pt idx="1418">
                  <c:v>34921</c:v>
                </c:pt>
                <c:pt idx="1419">
                  <c:v>34922</c:v>
                </c:pt>
                <c:pt idx="1420">
                  <c:v>34925</c:v>
                </c:pt>
                <c:pt idx="1421">
                  <c:v>34926</c:v>
                </c:pt>
                <c:pt idx="1422">
                  <c:v>34927</c:v>
                </c:pt>
                <c:pt idx="1423">
                  <c:v>34928</c:v>
                </c:pt>
                <c:pt idx="1424">
                  <c:v>34929</c:v>
                </c:pt>
                <c:pt idx="1425">
                  <c:v>34932</c:v>
                </c:pt>
                <c:pt idx="1426">
                  <c:v>34933</c:v>
                </c:pt>
                <c:pt idx="1427">
                  <c:v>34934</c:v>
                </c:pt>
                <c:pt idx="1428">
                  <c:v>34935</c:v>
                </c:pt>
                <c:pt idx="1429">
                  <c:v>34936</c:v>
                </c:pt>
                <c:pt idx="1430">
                  <c:v>34939</c:v>
                </c:pt>
                <c:pt idx="1431">
                  <c:v>34940</c:v>
                </c:pt>
                <c:pt idx="1432">
                  <c:v>34941</c:v>
                </c:pt>
                <c:pt idx="1433">
                  <c:v>34942</c:v>
                </c:pt>
                <c:pt idx="1434">
                  <c:v>34943</c:v>
                </c:pt>
                <c:pt idx="1435">
                  <c:v>34947</c:v>
                </c:pt>
                <c:pt idx="1436">
                  <c:v>34948</c:v>
                </c:pt>
                <c:pt idx="1437">
                  <c:v>34949</c:v>
                </c:pt>
                <c:pt idx="1438">
                  <c:v>34950</c:v>
                </c:pt>
                <c:pt idx="1439">
                  <c:v>34953</c:v>
                </c:pt>
                <c:pt idx="1440">
                  <c:v>34954</c:v>
                </c:pt>
                <c:pt idx="1441">
                  <c:v>34955</c:v>
                </c:pt>
                <c:pt idx="1442">
                  <c:v>34956</c:v>
                </c:pt>
                <c:pt idx="1443">
                  <c:v>34957</c:v>
                </c:pt>
                <c:pt idx="1444">
                  <c:v>34960</c:v>
                </c:pt>
                <c:pt idx="1445">
                  <c:v>34961</c:v>
                </c:pt>
                <c:pt idx="1446">
                  <c:v>34962</c:v>
                </c:pt>
                <c:pt idx="1447">
                  <c:v>34963</c:v>
                </c:pt>
                <c:pt idx="1448">
                  <c:v>34964</c:v>
                </c:pt>
                <c:pt idx="1449">
                  <c:v>34967</c:v>
                </c:pt>
                <c:pt idx="1450">
                  <c:v>34968</c:v>
                </c:pt>
                <c:pt idx="1451">
                  <c:v>34969</c:v>
                </c:pt>
                <c:pt idx="1452">
                  <c:v>34970</c:v>
                </c:pt>
                <c:pt idx="1453">
                  <c:v>34971</c:v>
                </c:pt>
                <c:pt idx="1454">
                  <c:v>34974</c:v>
                </c:pt>
                <c:pt idx="1455">
                  <c:v>34975</c:v>
                </c:pt>
                <c:pt idx="1456">
                  <c:v>34976</c:v>
                </c:pt>
                <c:pt idx="1457">
                  <c:v>34977</c:v>
                </c:pt>
                <c:pt idx="1458">
                  <c:v>34978</c:v>
                </c:pt>
                <c:pt idx="1459">
                  <c:v>34981</c:v>
                </c:pt>
                <c:pt idx="1460">
                  <c:v>34982</c:v>
                </c:pt>
                <c:pt idx="1461">
                  <c:v>34983</c:v>
                </c:pt>
                <c:pt idx="1462">
                  <c:v>34984</c:v>
                </c:pt>
                <c:pt idx="1463">
                  <c:v>34985</c:v>
                </c:pt>
                <c:pt idx="1464">
                  <c:v>34988</c:v>
                </c:pt>
                <c:pt idx="1465">
                  <c:v>34989</c:v>
                </c:pt>
                <c:pt idx="1466">
                  <c:v>34990</c:v>
                </c:pt>
                <c:pt idx="1467">
                  <c:v>34991</c:v>
                </c:pt>
                <c:pt idx="1468">
                  <c:v>34992</c:v>
                </c:pt>
                <c:pt idx="1469">
                  <c:v>34995</c:v>
                </c:pt>
                <c:pt idx="1470">
                  <c:v>34996</c:v>
                </c:pt>
                <c:pt idx="1471">
                  <c:v>34997</c:v>
                </c:pt>
                <c:pt idx="1472">
                  <c:v>34998</c:v>
                </c:pt>
                <c:pt idx="1473">
                  <c:v>34999</c:v>
                </c:pt>
                <c:pt idx="1474">
                  <c:v>35002</c:v>
                </c:pt>
                <c:pt idx="1475">
                  <c:v>35003</c:v>
                </c:pt>
                <c:pt idx="1476">
                  <c:v>35004</c:v>
                </c:pt>
                <c:pt idx="1477">
                  <c:v>35005</c:v>
                </c:pt>
                <c:pt idx="1478">
                  <c:v>35006</c:v>
                </c:pt>
                <c:pt idx="1479">
                  <c:v>35009</c:v>
                </c:pt>
                <c:pt idx="1480">
                  <c:v>35010</c:v>
                </c:pt>
                <c:pt idx="1481">
                  <c:v>35011</c:v>
                </c:pt>
                <c:pt idx="1482">
                  <c:v>35012</c:v>
                </c:pt>
                <c:pt idx="1483">
                  <c:v>35013</c:v>
                </c:pt>
                <c:pt idx="1484">
                  <c:v>35016</c:v>
                </c:pt>
                <c:pt idx="1485">
                  <c:v>35017</c:v>
                </c:pt>
                <c:pt idx="1486">
                  <c:v>35018</c:v>
                </c:pt>
                <c:pt idx="1487">
                  <c:v>35019</c:v>
                </c:pt>
                <c:pt idx="1488">
                  <c:v>35020</c:v>
                </c:pt>
                <c:pt idx="1489">
                  <c:v>35023</c:v>
                </c:pt>
                <c:pt idx="1490">
                  <c:v>35024</c:v>
                </c:pt>
                <c:pt idx="1491">
                  <c:v>35025</c:v>
                </c:pt>
                <c:pt idx="1492">
                  <c:v>35027</c:v>
                </c:pt>
                <c:pt idx="1493">
                  <c:v>35030</c:v>
                </c:pt>
                <c:pt idx="1494">
                  <c:v>35031</c:v>
                </c:pt>
                <c:pt idx="1495">
                  <c:v>35032</c:v>
                </c:pt>
                <c:pt idx="1496">
                  <c:v>35033</c:v>
                </c:pt>
                <c:pt idx="1497">
                  <c:v>35034</c:v>
                </c:pt>
                <c:pt idx="1498">
                  <c:v>35037</c:v>
                </c:pt>
                <c:pt idx="1499">
                  <c:v>35038</c:v>
                </c:pt>
                <c:pt idx="1500">
                  <c:v>35039</c:v>
                </c:pt>
                <c:pt idx="1501">
                  <c:v>35040</c:v>
                </c:pt>
                <c:pt idx="1502">
                  <c:v>35041</c:v>
                </c:pt>
                <c:pt idx="1503">
                  <c:v>35044</c:v>
                </c:pt>
                <c:pt idx="1504">
                  <c:v>35045</c:v>
                </c:pt>
                <c:pt idx="1505">
                  <c:v>35046</c:v>
                </c:pt>
                <c:pt idx="1506">
                  <c:v>35047</c:v>
                </c:pt>
                <c:pt idx="1507">
                  <c:v>35048</c:v>
                </c:pt>
                <c:pt idx="1508">
                  <c:v>35051</c:v>
                </c:pt>
                <c:pt idx="1509">
                  <c:v>35052</c:v>
                </c:pt>
                <c:pt idx="1510">
                  <c:v>35053</c:v>
                </c:pt>
                <c:pt idx="1511">
                  <c:v>35054</c:v>
                </c:pt>
                <c:pt idx="1512">
                  <c:v>35055</c:v>
                </c:pt>
                <c:pt idx="1513">
                  <c:v>35059</c:v>
                </c:pt>
                <c:pt idx="1514">
                  <c:v>35060</c:v>
                </c:pt>
                <c:pt idx="1515">
                  <c:v>35061</c:v>
                </c:pt>
                <c:pt idx="1516">
                  <c:v>35062</c:v>
                </c:pt>
                <c:pt idx="1517">
                  <c:v>35066</c:v>
                </c:pt>
                <c:pt idx="1518">
                  <c:v>35067</c:v>
                </c:pt>
                <c:pt idx="1519">
                  <c:v>35068</c:v>
                </c:pt>
                <c:pt idx="1520">
                  <c:v>35069</c:v>
                </c:pt>
                <c:pt idx="1521">
                  <c:v>35072</c:v>
                </c:pt>
                <c:pt idx="1522">
                  <c:v>35073</c:v>
                </c:pt>
                <c:pt idx="1523">
                  <c:v>35074</c:v>
                </c:pt>
                <c:pt idx="1524">
                  <c:v>35075</c:v>
                </c:pt>
                <c:pt idx="1525">
                  <c:v>35076</c:v>
                </c:pt>
                <c:pt idx="1526">
                  <c:v>35079</c:v>
                </c:pt>
                <c:pt idx="1527">
                  <c:v>35080</c:v>
                </c:pt>
                <c:pt idx="1528">
                  <c:v>35081</c:v>
                </c:pt>
                <c:pt idx="1529">
                  <c:v>35082</c:v>
                </c:pt>
                <c:pt idx="1530">
                  <c:v>35083</c:v>
                </c:pt>
                <c:pt idx="1531">
                  <c:v>35086</c:v>
                </c:pt>
                <c:pt idx="1532">
                  <c:v>35087</c:v>
                </c:pt>
                <c:pt idx="1533">
                  <c:v>35088</c:v>
                </c:pt>
                <c:pt idx="1534">
                  <c:v>35089</c:v>
                </c:pt>
                <c:pt idx="1535">
                  <c:v>35090</c:v>
                </c:pt>
                <c:pt idx="1536">
                  <c:v>35093</c:v>
                </c:pt>
                <c:pt idx="1537">
                  <c:v>35094</c:v>
                </c:pt>
                <c:pt idx="1538">
                  <c:v>35095</c:v>
                </c:pt>
                <c:pt idx="1539">
                  <c:v>35096</c:v>
                </c:pt>
                <c:pt idx="1540">
                  <c:v>35097</c:v>
                </c:pt>
                <c:pt idx="1541">
                  <c:v>35100</c:v>
                </c:pt>
                <c:pt idx="1542">
                  <c:v>35101</c:v>
                </c:pt>
                <c:pt idx="1543">
                  <c:v>35102</c:v>
                </c:pt>
                <c:pt idx="1544">
                  <c:v>35103</c:v>
                </c:pt>
                <c:pt idx="1545">
                  <c:v>35104</c:v>
                </c:pt>
                <c:pt idx="1546">
                  <c:v>35107</c:v>
                </c:pt>
                <c:pt idx="1547">
                  <c:v>35108</c:v>
                </c:pt>
                <c:pt idx="1548">
                  <c:v>35109</c:v>
                </c:pt>
                <c:pt idx="1549">
                  <c:v>35110</c:v>
                </c:pt>
                <c:pt idx="1550">
                  <c:v>35111</c:v>
                </c:pt>
                <c:pt idx="1551">
                  <c:v>35115</c:v>
                </c:pt>
                <c:pt idx="1552">
                  <c:v>35116</c:v>
                </c:pt>
                <c:pt idx="1553">
                  <c:v>35117</c:v>
                </c:pt>
                <c:pt idx="1554">
                  <c:v>35118</c:v>
                </c:pt>
                <c:pt idx="1555">
                  <c:v>35121</c:v>
                </c:pt>
                <c:pt idx="1556">
                  <c:v>35122</c:v>
                </c:pt>
                <c:pt idx="1557">
                  <c:v>35123</c:v>
                </c:pt>
                <c:pt idx="1558">
                  <c:v>35124</c:v>
                </c:pt>
                <c:pt idx="1559">
                  <c:v>35125</c:v>
                </c:pt>
                <c:pt idx="1560">
                  <c:v>35128</c:v>
                </c:pt>
                <c:pt idx="1561">
                  <c:v>35129</c:v>
                </c:pt>
                <c:pt idx="1562">
                  <c:v>35130</c:v>
                </c:pt>
                <c:pt idx="1563">
                  <c:v>35131</c:v>
                </c:pt>
                <c:pt idx="1564">
                  <c:v>35132</c:v>
                </c:pt>
                <c:pt idx="1565">
                  <c:v>35135</c:v>
                </c:pt>
                <c:pt idx="1566">
                  <c:v>35136</c:v>
                </c:pt>
                <c:pt idx="1567">
                  <c:v>35137</c:v>
                </c:pt>
                <c:pt idx="1568">
                  <c:v>35138</c:v>
                </c:pt>
                <c:pt idx="1569">
                  <c:v>35139</c:v>
                </c:pt>
                <c:pt idx="1570">
                  <c:v>35142</c:v>
                </c:pt>
                <c:pt idx="1571">
                  <c:v>35143</c:v>
                </c:pt>
                <c:pt idx="1572">
                  <c:v>35144</c:v>
                </c:pt>
                <c:pt idx="1573">
                  <c:v>35145</c:v>
                </c:pt>
                <c:pt idx="1574">
                  <c:v>35146</c:v>
                </c:pt>
                <c:pt idx="1575">
                  <c:v>35149</c:v>
                </c:pt>
                <c:pt idx="1576">
                  <c:v>35150</c:v>
                </c:pt>
                <c:pt idx="1577">
                  <c:v>35151</c:v>
                </c:pt>
                <c:pt idx="1578">
                  <c:v>35152</c:v>
                </c:pt>
                <c:pt idx="1579">
                  <c:v>35153</c:v>
                </c:pt>
                <c:pt idx="1580">
                  <c:v>35156</c:v>
                </c:pt>
                <c:pt idx="1581">
                  <c:v>35157</c:v>
                </c:pt>
                <c:pt idx="1582">
                  <c:v>35158</c:v>
                </c:pt>
                <c:pt idx="1583">
                  <c:v>35159</c:v>
                </c:pt>
                <c:pt idx="1584">
                  <c:v>35163</c:v>
                </c:pt>
                <c:pt idx="1585">
                  <c:v>35164</c:v>
                </c:pt>
                <c:pt idx="1586">
                  <c:v>35165</c:v>
                </c:pt>
                <c:pt idx="1587">
                  <c:v>35166</c:v>
                </c:pt>
                <c:pt idx="1588">
                  <c:v>35167</c:v>
                </c:pt>
                <c:pt idx="1589">
                  <c:v>35170</c:v>
                </c:pt>
                <c:pt idx="1590">
                  <c:v>35171</c:v>
                </c:pt>
                <c:pt idx="1591">
                  <c:v>35172</c:v>
                </c:pt>
                <c:pt idx="1592">
                  <c:v>35173</c:v>
                </c:pt>
                <c:pt idx="1593">
                  <c:v>35174</c:v>
                </c:pt>
                <c:pt idx="1594">
                  <c:v>35177</c:v>
                </c:pt>
                <c:pt idx="1595">
                  <c:v>35178</c:v>
                </c:pt>
                <c:pt idx="1596">
                  <c:v>35179</c:v>
                </c:pt>
                <c:pt idx="1597">
                  <c:v>35180</c:v>
                </c:pt>
                <c:pt idx="1598">
                  <c:v>35181</c:v>
                </c:pt>
                <c:pt idx="1599">
                  <c:v>35184</c:v>
                </c:pt>
                <c:pt idx="1600">
                  <c:v>35185</c:v>
                </c:pt>
                <c:pt idx="1601">
                  <c:v>35186</c:v>
                </c:pt>
                <c:pt idx="1602">
                  <c:v>35187</c:v>
                </c:pt>
                <c:pt idx="1603">
                  <c:v>35188</c:v>
                </c:pt>
                <c:pt idx="1604">
                  <c:v>35191</c:v>
                </c:pt>
                <c:pt idx="1605">
                  <c:v>35192</c:v>
                </c:pt>
                <c:pt idx="1606">
                  <c:v>35193</c:v>
                </c:pt>
                <c:pt idx="1607">
                  <c:v>35194</c:v>
                </c:pt>
                <c:pt idx="1608">
                  <c:v>35195</c:v>
                </c:pt>
                <c:pt idx="1609">
                  <c:v>35198</c:v>
                </c:pt>
                <c:pt idx="1610">
                  <c:v>35199</c:v>
                </c:pt>
                <c:pt idx="1611">
                  <c:v>35200</c:v>
                </c:pt>
                <c:pt idx="1612">
                  <c:v>35201</c:v>
                </c:pt>
                <c:pt idx="1613">
                  <c:v>35202</c:v>
                </c:pt>
                <c:pt idx="1614">
                  <c:v>35205</c:v>
                </c:pt>
                <c:pt idx="1615">
                  <c:v>35206</c:v>
                </c:pt>
                <c:pt idx="1616">
                  <c:v>35207</c:v>
                </c:pt>
                <c:pt idx="1617">
                  <c:v>35208</c:v>
                </c:pt>
                <c:pt idx="1618">
                  <c:v>35209</c:v>
                </c:pt>
                <c:pt idx="1619">
                  <c:v>35213</c:v>
                </c:pt>
                <c:pt idx="1620">
                  <c:v>35214</c:v>
                </c:pt>
                <c:pt idx="1621">
                  <c:v>35215</c:v>
                </c:pt>
                <c:pt idx="1622">
                  <c:v>35216</c:v>
                </c:pt>
                <c:pt idx="1623">
                  <c:v>35219</c:v>
                </c:pt>
                <c:pt idx="1624">
                  <c:v>35220</c:v>
                </c:pt>
                <c:pt idx="1625">
                  <c:v>35221</c:v>
                </c:pt>
                <c:pt idx="1626">
                  <c:v>35222</c:v>
                </c:pt>
                <c:pt idx="1627">
                  <c:v>35223</c:v>
                </c:pt>
                <c:pt idx="1628">
                  <c:v>35226</c:v>
                </c:pt>
                <c:pt idx="1629">
                  <c:v>35227</c:v>
                </c:pt>
                <c:pt idx="1630">
                  <c:v>35228</c:v>
                </c:pt>
                <c:pt idx="1631">
                  <c:v>35229</c:v>
                </c:pt>
                <c:pt idx="1632">
                  <c:v>35230</c:v>
                </c:pt>
                <c:pt idx="1633">
                  <c:v>35233</c:v>
                </c:pt>
                <c:pt idx="1634">
                  <c:v>35234</c:v>
                </c:pt>
                <c:pt idx="1635">
                  <c:v>35235</c:v>
                </c:pt>
                <c:pt idx="1636">
                  <c:v>35236</c:v>
                </c:pt>
                <c:pt idx="1637">
                  <c:v>35237</c:v>
                </c:pt>
                <c:pt idx="1638">
                  <c:v>35240</c:v>
                </c:pt>
                <c:pt idx="1639">
                  <c:v>35241</c:v>
                </c:pt>
                <c:pt idx="1640">
                  <c:v>35242</c:v>
                </c:pt>
                <c:pt idx="1641">
                  <c:v>35243</c:v>
                </c:pt>
                <c:pt idx="1642">
                  <c:v>35244</c:v>
                </c:pt>
                <c:pt idx="1643">
                  <c:v>35247</c:v>
                </c:pt>
                <c:pt idx="1644">
                  <c:v>35248</c:v>
                </c:pt>
                <c:pt idx="1645">
                  <c:v>35249</c:v>
                </c:pt>
                <c:pt idx="1646">
                  <c:v>35251</c:v>
                </c:pt>
                <c:pt idx="1647">
                  <c:v>35254</c:v>
                </c:pt>
                <c:pt idx="1648">
                  <c:v>35255</c:v>
                </c:pt>
                <c:pt idx="1649">
                  <c:v>35256</c:v>
                </c:pt>
                <c:pt idx="1650">
                  <c:v>35257</c:v>
                </c:pt>
                <c:pt idx="1651">
                  <c:v>35258</c:v>
                </c:pt>
                <c:pt idx="1652">
                  <c:v>35261</c:v>
                </c:pt>
                <c:pt idx="1653">
                  <c:v>35262</c:v>
                </c:pt>
                <c:pt idx="1654">
                  <c:v>35263</c:v>
                </c:pt>
                <c:pt idx="1655">
                  <c:v>35264</c:v>
                </c:pt>
                <c:pt idx="1656">
                  <c:v>35265</c:v>
                </c:pt>
                <c:pt idx="1657">
                  <c:v>35268</c:v>
                </c:pt>
                <c:pt idx="1658">
                  <c:v>35269</c:v>
                </c:pt>
                <c:pt idx="1659">
                  <c:v>35270</c:v>
                </c:pt>
                <c:pt idx="1660">
                  <c:v>35271</c:v>
                </c:pt>
                <c:pt idx="1661">
                  <c:v>35272</c:v>
                </c:pt>
                <c:pt idx="1662">
                  <c:v>35275</c:v>
                </c:pt>
                <c:pt idx="1663">
                  <c:v>35276</c:v>
                </c:pt>
                <c:pt idx="1664">
                  <c:v>35277</c:v>
                </c:pt>
                <c:pt idx="1665">
                  <c:v>35278</c:v>
                </c:pt>
                <c:pt idx="1666">
                  <c:v>35279</c:v>
                </c:pt>
                <c:pt idx="1667">
                  <c:v>35282</c:v>
                </c:pt>
                <c:pt idx="1668">
                  <c:v>35283</c:v>
                </c:pt>
                <c:pt idx="1669">
                  <c:v>35284</c:v>
                </c:pt>
                <c:pt idx="1670">
                  <c:v>35285</c:v>
                </c:pt>
                <c:pt idx="1671">
                  <c:v>35286</c:v>
                </c:pt>
                <c:pt idx="1672">
                  <c:v>35289</c:v>
                </c:pt>
                <c:pt idx="1673">
                  <c:v>35290</c:v>
                </c:pt>
                <c:pt idx="1674">
                  <c:v>35291</c:v>
                </c:pt>
                <c:pt idx="1675">
                  <c:v>35292</c:v>
                </c:pt>
                <c:pt idx="1676">
                  <c:v>35293</c:v>
                </c:pt>
                <c:pt idx="1677">
                  <c:v>35296</c:v>
                </c:pt>
                <c:pt idx="1678">
                  <c:v>35297</c:v>
                </c:pt>
                <c:pt idx="1679">
                  <c:v>35298</c:v>
                </c:pt>
                <c:pt idx="1680">
                  <c:v>35299</c:v>
                </c:pt>
                <c:pt idx="1681">
                  <c:v>35300</c:v>
                </c:pt>
                <c:pt idx="1682">
                  <c:v>35303</c:v>
                </c:pt>
                <c:pt idx="1683">
                  <c:v>35304</c:v>
                </c:pt>
                <c:pt idx="1684">
                  <c:v>35305</c:v>
                </c:pt>
                <c:pt idx="1685">
                  <c:v>35306</c:v>
                </c:pt>
                <c:pt idx="1686">
                  <c:v>35307</c:v>
                </c:pt>
                <c:pt idx="1687">
                  <c:v>35311</c:v>
                </c:pt>
                <c:pt idx="1688">
                  <c:v>35312</c:v>
                </c:pt>
                <c:pt idx="1689">
                  <c:v>35313</c:v>
                </c:pt>
                <c:pt idx="1690">
                  <c:v>35314</c:v>
                </c:pt>
                <c:pt idx="1691">
                  <c:v>35317</c:v>
                </c:pt>
                <c:pt idx="1692">
                  <c:v>35318</c:v>
                </c:pt>
                <c:pt idx="1693">
                  <c:v>35319</c:v>
                </c:pt>
                <c:pt idx="1694">
                  <c:v>35320</c:v>
                </c:pt>
                <c:pt idx="1695">
                  <c:v>35321</c:v>
                </c:pt>
                <c:pt idx="1696">
                  <c:v>35324</c:v>
                </c:pt>
                <c:pt idx="1697">
                  <c:v>35325</c:v>
                </c:pt>
                <c:pt idx="1698">
                  <c:v>35326</c:v>
                </c:pt>
                <c:pt idx="1699">
                  <c:v>35327</c:v>
                </c:pt>
                <c:pt idx="1700">
                  <c:v>35328</c:v>
                </c:pt>
                <c:pt idx="1701">
                  <c:v>35331</c:v>
                </c:pt>
                <c:pt idx="1702">
                  <c:v>35332</c:v>
                </c:pt>
                <c:pt idx="1703">
                  <c:v>35333</c:v>
                </c:pt>
                <c:pt idx="1704">
                  <c:v>35334</c:v>
                </c:pt>
                <c:pt idx="1705">
                  <c:v>35335</c:v>
                </c:pt>
                <c:pt idx="1706">
                  <c:v>35338</c:v>
                </c:pt>
                <c:pt idx="1707">
                  <c:v>35339</c:v>
                </c:pt>
                <c:pt idx="1708">
                  <c:v>35340</c:v>
                </c:pt>
                <c:pt idx="1709">
                  <c:v>35341</c:v>
                </c:pt>
                <c:pt idx="1710">
                  <c:v>35342</c:v>
                </c:pt>
                <c:pt idx="1711">
                  <c:v>35345</c:v>
                </c:pt>
                <c:pt idx="1712">
                  <c:v>35346</c:v>
                </c:pt>
                <c:pt idx="1713">
                  <c:v>35347</c:v>
                </c:pt>
                <c:pt idx="1714">
                  <c:v>35348</c:v>
                </c:pt>
                <c:pt idx="1715">
                  <c:v>35349</c:v>
                </c:pt>
                <c:pt idx="1716">
                  <c:v>35352</c:v>
                </c:pt>
                <c:pt idx="1717">
                  <c:v>35353</c:v>
                </c:pt>
                <c:pt idx="1718">
                  <c:v>35354</c:v>
                </c:pt>
                <c:pt idx="1719">
                  <c:v>35355</c:v>
                </c:pt>
                <c:pt idx="1720">
                  <c:v>35356</c:v>
                </c:pt>
                <c:pt idx="1721">
                  <c:v>35359</c:v>
                </c:pt>
                <c:pt idx="1722">
                  <c:v>35360</c:v>
                </c:pt>
                <c:pt idx="1723">
                  <c:v>35361</c:v>
                </c:pt>
                <c:pt idx="1724">
                  <c:v>35362</c:v>
                </c:pt>
                <c:pt idx="1725">
                  <c:v>35363</c:v>
                </c:pt>
                <c:pt idx="1726">
                  <c:v>35366</c:v>
                </c:pt>
                <c:pt idx="1727">
                  <c:v>35367</c:v>
                </c:pt>
                <c:pt idx="1728">
                  <c:v>35368</c:v>
                </c:pt>
                <c:pt idx="1729">
                  <c:v>35369</c:v>
                </c:pt>
                <c:pt idx="1730">
                  <c:v>35370</c:v>
                </c:pt>
                <c:pt idx="1731">
                  <c:v>35373</c:v>
                </c:pt>
                <c:pt idx="1732">
                  <c:v>35374</c:v>
                </c:pt>
                <c:pt idx="1733">
                  <c:v>35375</c:v>
                </c:pt>
                <c:pt idx="1734">
                  <c:v>35376</c:v>
                </c:pt>
                <c:pt idx="1735">
                  <c:v>35377</c:v>
                </c:pt>
                <c:pt idx="1736">
                  <c:v>35380</c:v>
                </c:pt>
                <c:pt idx="1737">
                  <c:v>35381</c:v>
                </c:pt>
                <c:pt idx="1738">
                  <c:v>35382</c:v>
                </c:pt>
                <c:pt idx="1739">
                  <c:v>35383</c:v>
                </c:pt>
                <c:pt idx="1740">
                  <c:v>35384</c:v>
                </c:pt>
                <c:pt idx="1741">
                  <c:v>35387</c:v>
                </c:pt>
                <c:pt idx="1742">
                  <c:v>35388</c:v>
                </c:pt>
                <c:pt idx="1743">
                  <c:v>35389</c:v>
                </c:pt>
                <c:pt idx="1744">
                  <c:v>35390</c:v>
                </c:pt>
                <c:pt idx="1745">
                  <c:v>35391</c:v>
                </c:pt>
                <c:pt idx="1746">
                  <c:v>35394</c:v>
                </c:pt>
                <c:pt idx="1747">
                  <c:v>35395</c:v>
                </c:pt>
                <c:pt idx="1748">
                  <c:v>35396</c:v>
                </c:pt>
                <c:pt idx="1749">
                  <c:v>35398</c:v>
                </c:pt>
                <c:pt idx="1750">
                  <c:v>35401</c:v>
                </c:pt>
                <c:pt idx="1751">
                  <c:v>35402</c:v>
                </c:pt>
                <c:pt idx="1752">
                  <c:v>35403</c:v>
                </c:pt>
                <c:pt idx="1753">
                  <c:v>35404</c:v>
                </c:pt>
                <c:pt idx="1754">
                  <c:v>35405</c:v>
                </c:pt>
                <c:pt idx="1755">
                  <c:v>35408</c:v>
                </c:pt>
                <c:pt idx="1756">
                  <c:v>35409</c:v>
                </c:pt>
                <c:pt idx="1757">
                  <c:v>35410</c:v>
                </c:pt>
                <c:pt idx="1758">
                  <c:v>35411</c:v>
                </c:pt>
                <c:pt idx="1759">
                  <c:v>35412</c:v>
                </c:pt>
                <c:pt idx="1760">
                  <c:v>35415</c:v>
                </c:pt>
                <c:pt idx="1761">
                  <c:v>35416</c:v>
                </c:pt>
                <c:pt idx="1762">
                  <c:v>35417</c:v>
                </c:pt>
                <c:pt idx="1763">
                  <c:v>35418</c:v>
                </c:pt>
                <c:pt idx="1764">
                  <c:v>35419</c:v>
                </c:pt>
                <c:pt idx="1765">
                  <c:v>35422</c:v>
                </c:pt>
                <c:pt idx="1766">
                  <c:v>35423</c:v>
                </c:pt>
                <c:pt idx="1767">
                  <c:v>35425</c:v>
                </c:pt>
                <c:pt idx="1768">
                  <c:v>35426</c:v>
                </c:pt>
                <c:pt idx="1769">
                  <c:v>35429</c:v>
                </c:pt>
                <c:pt idx="1770">
                  <c:v>35430</c:v>
                </c:pt>
                <c:pt idx="1771">
                  <c:v>35432</c:v>
                </c:pt>
                <c:pt idx="1772">
                  <c:v>35433</c:v>
                </c:pt>
                <c:pt idx="1773">
                  <c:v>35436</c:v>
                </c:pt>
                <c:pt idx="1774">
                  <c:v>35437</c:v>
                </c:pt>
                <c:pt idx="1775">
                  <c:v>35438</c:v>
                </c:pt>
                <c:pt idx="1776">
                  <c:v>35439</c:v>
                </c:pt>
                <c:pt idx="1777">
                  <c:v>35440</c:v>
                </c:pt>
                <c:pt idx="1778">
                  <c:v>35443</c:v>
                </c:pt>
                <c:pt idx="1779">
                  <c:v>35444</c:v>
                </c:pt>
                <c:pt idx="1780">
                  <c:v>35445</c:v>
                </c:pt>
                <c:pt idx="1781">
                  <c:v>35446</c:v>
                </c:pt>
                <c:pt idx="1782">
                  <c:v>35447</c:v>
                </c:pt>
                <c:pt idx="1783">
                  <c:v>35450</c:v>
                </c:pt>
                <c:pt idx="1784">
                  <c:v>35451</c:v>
                </c:pt>
                <c:pt idx="1785">
                  <c:v>35452</c:v>
                </c:pt>
                <c:pt idx="1786">
                  <c:v>35453</c:v>
                </c:pt>
                <c:pt idx="1787">
                  <c:v>35454</c:v>
                </c:pt>
                <c:pt idx="1788">
                  <c:v>35457</c:v>
                </c:pt>
                <c:pt idx="1789">
                  <c:v>35458</c:v>
                </c:pt>
                <c:pt idx="1790">
                  <c:v>35459</c:v>
                </c:pt>
                <c:pt idx="1791">
                  <c:v>35460</c:v>
                </c:pt>
                <c:pt idx="1792">
                  <c:v>35461</c:v>
                </c:pt>
                <c:pt idx="1793">
                  <c:v>35464</c:v>
                </c:pt>
                <c:pt idx="1794">
                  <c:v>35465</c:v>
                </c:pt>
                <c:pt idx="1795">
                  <c:v>35466</c:v>
                </c:pt>
                <c:pt idx="1796">
                  <c:v>35467</c:v>
                </c:pt>
                <c:pt idx="1797">
                  <c:v>35468</c:v>
                </c:pt>
                <c:pt idx="1798">
                  <c:v>35471</c:v>
                </c:pt>
                <c:pt idx="1799">
                  <c:v>35472</c:v>
                </c:pt>
                <c:pt idx="1800">
                  <c:v>35473</c:v>
                </c:pt>
                <c:pt idx="1801">
                  <c:v>35474</c:v>
                </c:pt>
                <c:pt idx="1802">
                  <c:v>35475</c:v>
                </c:pt>
                <c:pt idx="1803">
                  <c:v>35479</c:v>
                </c:pt>
                <c:pt idx="1804">
                  <c:v>35480</c:v>
                </c:pt>
                <c:pt idx="1805">
                  <c:v>35481</c:v>
                </c:pt>
                <c:pt idx="1806">
                  <c:v>35482</c:v>
                </c:pt>
                <c:pt idx="1807">
                  <c:v>35485</c:v>
                </c:pt>
                <c:pt idx="1808">
                  <c:v>35486</c:v>
                </c:pt>
                <c:pt idx="1809">
                  <c:v>35487</c:v>
                </c:pt>
                <c:pt idx="1810">
                  <c:v>35488</c:v>
                </c:pt>
                <c:pt idx="1811">
                  <c:v>35489</c:v>
                </c:pt>
                <c:pt idx="1812">
                  <c:v>35492</c:v>
                </c:pt>
                <c:pt idx="1813">
                  <c:v>35493</c:v>
                </c:pt>
                <c:pt idx="1814">
                  <c:v>35494</c:v>
                </c:pt>
                <c:pt idx="1815">
                  <c:v>35495</c:v>
                </c:pt>
                <c:pt idx="1816">
                  <c:v>35496</c:v>
                </c:pt>
                <c:pt idx="1817">
                  <c:v>35499</c:v>
                </c:pt>
                <c:pt idx="1818">
                  <c:v>35500</c:v>
                </c:pt>
                <c:pt idx="1819">
                  <c:v>35501</c:v>
                </c:pt>
                <c:pt idx="1820">
                  <c:v>35502</c:v>
                </c:pt>
                <c:pt idx="1821">
                  <c:v>35503</c:v>
                </c:pt>
                <c:pt idx="1822">
                  <c:v>35506</c:v>
                </c:pt>
                <c:pt idx="1823">
                  <c:v>35507</c:v>
                </c:pt>
                <c:pt idx="1824">
                  <c:v>35508</c:v>
                </c:pt>
                <c:pt idx="1825">
                  <c:v>35509</c:v>
                </c:pt>
                <c:pt idx="1826">
                  <c:v>35510</c:v>
                </c:pt>
                <c:pt idx="1827">
                  <c:v>35513</c:v>
                </c:pt>
                <c:pt idx="1828">
                  <c:v>35514</c:v>
                </c:pt>
                <c:pt idx="1829">
                  <c:v>35515</c:v>
                </c:pt>
                <c:pt idx="1830">
                  <c:v>35516</c:v>
                </c:pt>
                <c:pt idx="1831">
                  <c:v>35520</c:v>
                </c:pt>
                <c:pt idx="1832">
                  <c:v>35521</c:v>
                </c:pt>
                <c:pt idx="1833">
                  <c:v>35522</c:v>
                </c:pt>
                <c:pt idx="1834">
                  <c:v>35523</c:v>
                </c:pt>
                <c:pt idx="1835">
                  <c:v>35524</c:v>
                </c:pt>
                <c:pt idx="1836">
                  <c:v>35527</c:v>
                </c:pt>
                <c:pt idx="1837">
                  <c:v>35528</c:v>
                </c:pt>
                <c:pt idx="1838">
                  <c:v>35529</c:v>
                </c:pt>
                <c:pt idx="1839">
                  <c:v>35530</c:v>
                </c:pt>
                <c:pt idx="1840">
                  <c:v>35531</c:v>
                </c:pt>
                <c:pt idx="1841">
                  <c:v>35534</c:v>
                </c:pt>
                <c:pt idx="1842">
                  <c:v>35535</c:v>
                </c:pt>
                <c:pt idx="1843">
                  <c:v>35536</c:v>
                </c:pt>
                <c:pt idx="1844">
                  <c:v>35537</c:v>
                </c:pt>
                <c:pt idx="1845">
                  <c:v>35538</c:v>
                </c:pt>
                <c:pt idx="1846">
                  <c:v>35541</c:v>
                </c:pt>
                <c:pt idx="1847">
                  <c:v>35542</c:v>
                </c:pt>
                <c:pt idx="1848">
                  <c:v>35543</c:v>
                </c:pt>
                <c:pt idx="1849">
                  <c:v>35544</c:v>
                </c:pt>
                <c:pt idx="1850">
                  <c:v>35545</c:v>
                </c:pt>
                <c:pt idx="1851">
                  <c:v>35548</c:v>
                </c:pt>
                <c:pt idx="1852">
                  <c:v>35549</c:v>
                </c:pt>
                <c:pt idx="1853">
                  <c:v>35550</c:v>
                </c:pt>
                <c:pt idx="1854">
                  <c:v>35551</c:v>
                </c:pt>
                <c:pt idx="1855">
                  <c:v>35552</c:v>
                </c:pt>
                <c:pt idx="1856">
                  <c:v>35555</c:v>
                </c:pt>
                <c:pt idx="1857">
                  <c:v>35556</c:v>
                </c:pt>
                <c:pt idx="1858">
                  <c:v>35557</c:v>
                </c:pt>
                <c:pt idx="1859">
                  <c:v>35558</c:v>
                </c:pt>
                <c:pt idx="1860">
                  <c:v>35559</c:v>
                </c:pt>
                <c:pt idx="1861">
                  <c:v>35562</c:v>
                </c:pt>
                <c:pt idx="1862">
                  <c:v>35563</c:v>
                </c:pt>
                <c:pt idx="1863">
                  <c:v>35564</c:v>
                </c:pt>
                <c:pt idx="1864">
                  <c:v>35565</c:v>
                </c:pt>
                <c:pt idx="1865">
                  <c:v>35566</c:v>
                </c:pt>
                <c:pt idx="1866">
                  <c:v>35569</c:v>
                </c:pt>
                <c:pt idx="1867">
                  <c:v>35570</c:v>
                </c:pt>
                <c:pt idx="1868">
                  <c:v>35571</c:v>
                </c:pt>
                <c:pt idx="1869">
                  <c:v>35572</c:v>
                </c:pt>
                <c:pt idx="1870">
                  <c:v>35573</c:v>
                </c:pt>
                <c:pt idx="1871">
                  <c:v>35577</c:v>
                </c:pt>
                <c:pt idx="1872">
                  <c:v>35578</c:v>
                </c:pt>
                <c:pt idx="1873">
                  <c:v>35579</c:v>
                </c:pt>
                <c:pt idx="1874">
                  <c:v>35580</c:v>
                </c:pt>
                <c:pt idx="1875">
                  <c:v>35583</c:v>
                </c:pt>
                <c:pt idx="1876">
                  <c:v>35584</c:v>
                </c:pt>
                <c:pt idx="1877">
                  <c:v>35585</c:v>
                </c:pt>
                <c:pt idx="1878">
                  <c:v>35586</c:v>
                </c:pt>
                <c:pt idx="1879">
                  <c:v>35587</c:v>
                </c:pt>
                <c:pt idx="1880">
                  <c:v>35590</c:v>
                </c:pt>
                <c:pt idx="1881">
                  <c:v>35591</c:v>
                </c:pt>
                <c:pt idx="1882">
                  <c:v>35592</c:v>
                </c:pt>
                <c:pt idx="1883">
                  <c:v>35593</c:v>
                </c:pt>
                <c:pt idx="1884">
                  <c:v>35594</c:v>
                </c:pt>
                <c:pt idx="1885">
                  <c:v>35597</c:v>
                </c:pt>
                <c:pt idx="1886">
                  <c:v>35598</c:v>
                </c:pt>
                <c:pt idx="1887">
                  <c:v>35599</c:v>
                </c:pt>
                <c:pt idx="1888">
                  <c:v>35600</c:v>
                </c:pt>
                <c:pt idx="1889">
                  <c:v>35601</c:v>
                </c:pt>
                <c:pt idx="1890">
                  <c:v>35604</c:v>
                </c:pt>
                <c:pt idx="1891">
                  <c:v>35605</c:v>
                </c:pt>
                <c:pt idx="1892">
                  <c:v>35606</c:v>
                </c:pt>
                <c:pt idx="1893">
                  <c:v>35607</c:v>
                </c:pt>
                <c:pt idx="1894">
                  <c:v>35608</c:v>
                </c:pt>
                <c:pt idx="1895">
                  <c:v>35611</c:v>
                </c:pt>
                <c:pt idx="1896">
                  <c:v>35612</c:v>
                </c:pt>
                <c:pt idx="1897">
                  <c:v>35613</c:v>
                </c:pt>
                <c:pt idx="1898">
                  <c:v>35614</c:v>
                </c:pt>
                <c:pt idx="1899">
                  <c:v>35618</c:v>
                </c:pt>
                <c:pt idx="1900">
                  <c:v>35619</c:v>
                </c:pt>
                <c:pt idx="1901">
                  <c:v>35620</c:v>
                </c:pt>
                <c:pt idx="1902">
                  <c:v>35621</c:v>
                </c:pt>
                <c:pt idx="1903">
                  <c:v>35622</c:v>
                </c:pt>
                <c:pt idx="1904">
                  <c:v>35625</c:v>
                </c:pt>
                <c:pt idx="1905">
                  <c:v>35626</c:v>
                </c:pt>
                <c:pt idx="1906">
                  <c:v>35627</c:v>
                </c:pt>
                <c:pt idx="1907">
                  <c:v>35628</c:v>
                </c:pt>
                <c:pt idx="1908">
                  <c:v>35629</c:v>
                </c:pt>
                <c:pt idx="1909">
                  <c:v>35632</c:v>
                </c:pt>
                <c:pt idx="1910">
                  <c:v>35633</c:v>
                </c:pt>
                <c:pt idx="1911">
                  <c:v>35634</c:v>
                </c:pt>
                <c:pt idx="1912">
                  <c:v>35635</c:v>
                </c:pt>
                <c:pt idx="1913">
                  <c:v>35636</c:v>
                </c:pt>
                <c:pt idx="1914">
                  <c:v>35639</c:v>
                </c:pt>
                <c:pt idx="1915">
                  <c:v>35640</c:v>
                </c:pt>
                <c:pt idx="1916">
                  <c:v>35641</c:v>
                </c:pt>
                <c:pt idx="1917">
                  <c:v>35642</c:v>
                </c:pt>
                <c:pt idx="1918">
                  <c:v>35643</c:v>
                </c:pt>
                <c:pt idx="1919">
                  <c:v>35646</c:v>
                </c:pt>
                <c:pt idx="1920">
                  <c:v>35647</c:v>
                </c:pt>
                <c:pt idx="1921">
                  <c:v>35648</c:v>
                </c:pt>
                <c:pt idx="1922">
                  <c:v>35649</c:v>
                </c:pt>
                <c:pt idx="1923">
                  <c:v>35650</c:v>
                </c:pt>
                <c:pt idx="1924">
                  <c:v>35653</c:v>
                </c:pt>
                <c:pt idx="1925">
                  <c:v>35654</c:v>
                </c:pt>
                <c:pt idx="1926">
                  <c:v>35655</c:v>
                </c:pt>
                <c:pt idx="1927">
                  <c:v>35656</c:v>
                </c:pt>
                <c:pt idx="1928">
                  <c:v>35657</c:v>
                </c:pt>
                <c:pt idx="1929">
                  <c:v>35660</c:v>
                </c:pt>
                <c:pt idx="1930">
                  <c:v>35661</c:v>
                </c:pt>
                <c:pt idx="1931">
                  <c:v>35662</c:v>
                </c:pt>
                <c:pt idx="1932">
                  <c:v>35663</c:v>
                </c:pt>
                <c:pt idx="1933">
                  <c:v>35664</c:v>
                </c:pt>
                <c:pt idx="1934">
                  <c:v>35667</c:v>
                </c:pt>
                <c:pt idx="1935">
                  <c:v>35668</c:v>
                </c:pt>
                <c:pt idx="1936">
                  <c:v>35669</c:v>
                </c:pt>
                <c:pt idx="1937">
                  <c:v>35670</c:v>
                </c:pt>
                <c:pt idx="1938">
                  <c:v>35671</c:v>
                </c:pt>
                <c:pt idx="1939">
                  <c:v>35675</c:v>
                </c:pt>
                <c:pt idx="1940">
                  <c:v>35676</c:v>
                </c:pt>
                <c:pt idx="1941">
                  <c:v>35677</c:v>
                </c:pt>
                <c:pt idx="1942">
                  <c:v>35678</c:v>
                </c:pt>
                <c:pt idx="1943">
                  <c:v>35681</c:v>
                </c:pt>
                <c:pt idx="1944">
                  <c:v>35682</c:v>
                </c:pt>
                <c:pt idx="1945">
                  <c:v>35683</c:v>
                </c:pt>
                <c:pt idx="1946">
                  <c:v>35684</c:v>
                </c:pt>
                <c:pt idx="1947">
                  <c:v>35685</c:v>
                </c:pt>
                <c:pt idx="1948">
                  <c:v>35688</c:v>
                </c:pt>
                <c:pt idx="1949">
                  <c:v>35689</c:v>
                </c:pt>
                <c:pt idx="1950">
                  <c:v>35690</c:v>
                </c:pt>
                <c:pt idx="1951">
                  <c:v>35691</c:v>
                </c:pt>
                <c:pt idx="1952">
                  <c:v>35692</c:v>
                </c:pt>
                <c:pt idx="1953">
                  <c:v>35695</c:v>
                </c:pt>
                <c:pt idx="1954">
                  <c:v>35696</c:v>
                </c:pt>
                <c:pt idx="1955">
                  <c:v>35697</c:v>
                </c:pt>
                <c:pt idx="1956">
                  <c:v>35698</c:v>
                </c:pt>
                <c:pt idx="1957">
                  <c:v>35699</c:v>
                </c:pt>
                <c:pt idx="1958">
                  <c:v>35702</c:v>
                </c:pt>
                <c:pt idx="1959">
                  <c:v>35703</c:v>
                </c:pt>
                <c:pt idx="1960">
                  <c:v>35704</c:v>
                </c:pt>
                <c:pt idx="1961">
                  <c:v>35705</c:v>
                </c:pt>
                <c:pt idx="1962">
                  <c:v>35706</c:v>
                </c:pt>
                <c:pt idx="1963">
                  <c:v>35709</c:v>
                </c:pt>
                <c:pt idx="1964">
                  <c:v>35710</c:v>
                </c:pt>
                <c:pt idx="1965">
                  <c:v>35711</c:v>
                </c:pt>
                <c:pt idx="1966">
                  <c:v>35712</c:v>
                </c:pt>
                <c:pt idx="1967">
                  <c:v>35713</c:v>
                </c:pt>
                <c:pt idx="1968">
                  <c:v>35716</c:v>
                </c:pt>
                <c:pt idx="1969">
                  <c:v>35717</c:v>
                </c:pt>
                <c:pt idx="1970">
                  <c:v>35718</c:v>
                </c:pt>
                <c:pt idx="1971">
                  <c:v>35719</c:v>
                </c:pt>
                <c:pt idx="1972">
                  <c:v>35720</c:v>
                </c:pt>
                <c:pt idx="1973">
                  <c:v>35723</c:v>
                </c:pt>
                <c:pt idx="1974">
                  <c:v>35724</c:v>
                </c:pt>
                <c:pt idx="1975">
                  <c:v>35725</c:v>
                </c:pt>
                <c:pt idx="1976">
                  <c:v>35726</c:v>
                </c:pt>
                <c:pt idx="1977">
                  <c:v>35727</c:v>
                </c:pt>
                <c:pt idx="1978">
                  <c:v>35730</c:v>
                </c:pt>
                <c:pt idx="1979">
                  <c:v>35731</c:v>
                </c:pt>
                <c:pt idx="1980">
                  <c:v>35732</c:v>
                </c:pt>
                <c:pt idx="1981">
                  <c:v>35733</c:v>
                </c:pt>
                <c:pt idx="1982">
                  <c:v>35734</c:v>
                </c:pt>
                <c:pt idx="1983">
                  <c:v>35737</c:v>
                </c:pt>
                <c:pt idx="1984">
                  <c:v>35738</c:v>
                </c:pt>
                <c:pt idx="1985">
                  <c:v>35739</c:v>
                </c:pt>
                <c:pt idx="1986">
                  <c:v>35740</c:v>
                </c:pt>
                <c:pt idx="1987">
                  <c:v>35741</c:v>
                </c:pt>
                <c:pt idx="1988">
                  <c:v>35744</c:v>
                </c:pt>
                <c:pt idx="1989">
                  <c:v>35745</c:v>
                </c:pt>
                <c:pt idx="1990">
                  <c:v>35746</c:v>
                </c:pt>
                <c:pt idx="1991">
                  <c:v>35747</c:v>
                </c:pt>
                <c:pt idx="1992">
                  <c:v>35748</c:v>
                </c:pt>
                <c:pt idx="1993">
                  <c:v>35751</c:v>
                </c:pt>
                <c:pt idx="1994">
                  <c:v>35752</c:v>
                </c:pt>
                <c:pt idx="1995">
                  <c:v>35753</c:v>
                </c:pt>
                <c:pt idx="1996">
                  <c:v>35754</c:v>
                </c:pt>
                <c:pt idx="1997">
                  <c:v>35755</c:v>
                </c:pt>
                <c:pt idx="1998">
                  <c:v>35758</c:v>
                </c:pt>
                <c:pt idx="1999">
                  <c:v>35759</c:v>
                </c:pt>
                <c:pt idx="2000">
                  <c:v>35760</c:v>
                </c:pt>
                <c:pt idx="2001">
                  <c:v>35762</c:v>
                </c:pt>
                <c:pt idx="2002">
                  <c:v>35765</c:v>
                </c:pt>
                <c:pt idx="2003">
                  <c:v>35766</c:v>
                </c:pt>
                <c:pt idx="2004">
                  <c:v>35767</c:v>
                </c:pt>
                <c:pt idx="2005">
                  <c:v>35768</c:v>
                </c:pt>
                <c:pt idx="2006">
                  <c:v>35769</c:v>
                </c:pt>
                <c:pt idx="2007">
                  <c:v>35772</c:v>
                </c:pt>
                <c:pt idx="2008">
                  <c:v>35773</c:v>
                </c:pt>
                <c:pt idx="2009">
                  <c:v>35774</c:v>
                </c:pt>
                <c:pt idx="2010">
                  <c:v>35775</c:v>
                </c:pt>
                <c:pt idx="2011">
                  <c:v>35776</c:v>
                </c:pt>
                <c:pt idx="2012">
                  <c:v>35779</c:v>
                </c:pt>
                <c:pt idx="2013">
                  <c:v>35780</c:v>
                </c:pt>
                <c:pt idx="2014">
                  <c:v>35781</c:v>
                </c:pt>
                <c:pt idx="2015">
                  <c:v>35782</c:v>
                </c:pt>
                <c:pt idx="2016">
                  <c:v>35783</c:v>
                </c:pt>
                <c:pt idx="2017">
                  <c:v>35786</c:v>
                </c:pt>
                <c:pt idx="2018">
                  <c:v>35787</c:v>
                </c:pt>
                <c:pt idx="2019">
                  <c:v>35788</c:v>
                </c:pt>
                <c:pt idx="2020">
                  <c:v>35790</c:v>
                </c:pt>
                <c:pt idx="2021">
                  <c:v>35793</c:v>
                </c:pt>
                <c:pt idx="2022">
                  <c:v>35794</c:v>
                </c:pt>
                <c:pt idx="2023">
                  <c:v>35795</c:v>
                </c:pt>
                <c:pt idx="2024">
                  <c:v>35797</c:v>
                </c:pt>
                <c:pt idx="2025">
                  <c:v>35800</c:v>
                </c:pt>
                <c:pt idx="2026">
                  <c:v>35801</c:v>
                </c:pt>
                <c:pt idx="2027">
                  <c:v>35802</c:v>
                </c:pt>
                <c:pt idx="2028">
                  <c:v>35803</c:v>
                </c:pt>
                <c:pt idx="2029">
                  <c:v>35804</c:v>
                </c:pt>
                <c:pt idx="2030">
                  <c:v>35807</c:v>
                </c:pt>
                <c:pt idx="2031">
                  <c:v>35808</c:v>
                </c:pt>
                <c:pt idx="2032">
                  <c:v>35809</c:v>
                </c:pt>
                <c:pt idx="2033">
                  <c:v>35810</c:v>
                </c:pt>
                <c:pt idx="2034">
                  <c:v>35811</c:v>
                </c:pt>
                <c:pt idx="2035">
                  <c:v>35815</c:v>
                </c:pt>
                <c:pt idx="2036">
                  <c:v>35816</c:v>
                </c:pt>
                <c:pt idx="2037">
                  <c:v>35817</c:v>
                </c:pt>
                <c:pt idx="2038">
                  <c:v>35818</c:v>
                </c:pt>
                <c:pt idx="2039">
                  <c:v>35821</c:v>
                </c:pt>
                <c:pt idx="2040">
                  <c:v>35822</c:v>
                </c:pt>
                <c:pt idx="2041">
                  <c:v>35823</c:v>
                </c:pt>
                <c:pt idx="2042">
                  <c:v>35824</c:v>
                </c:pt>
                <c:pt idx="2043">
                  <c:v>35825</c:v>
                </c:pt>
                <c:pt idx="2044">
                  <c:v>35828</c:v>
                </c:pt>
                <c:pt idx="2045">
                  <c:v>35829</c:v>
                </c:pt>
                <c:pt idx="2046">
                  <c:v>35830</c:v>
                </c:pt>
                <c:pt idx="2047">
                  <c:v>35831</c:v>
                </c:pt>
                <c:pt idx="2048">
                  <c:v>35832</c:v>
                </c:pt>
                <c:pt idx="2049">
                  <c:v>35835</c:v>
                </c:pt>
                <c:pt idx="2050">
                  <c:v>35836</c:v>
                </c:pt>
                <c:pt idx="2051">
                  <c:v>35837</c:v>
                </c:pt>
                <c:pt idx="2052">
                  <c:v>35838</c:v>
                </c:pt>
                <c:pt idx="2053">
                  <c:v>35839</c:v>
                </c:pt>
                <c:pt idx="2054">
                  <c:v>35843</c:v>
                </c:pt>
                <c:pt idx="2055">
                  <c:v>35844</c:v>
                </c:pt>
                <c:pt idx="2056">
                  <c:v>35845</c:v>
                </c:pt>
                <c:pt idx="2057">
                  <c:v>35846</c:v>
                </c:pt>
                <c:pt idx="2058">
                  <c:v>35849</c:v>
                </c:pt>
                <c:pt idx="2059">
                  <c:v>35850</c:v>
                </c:pt>
                <c:pt idx="2060">
                  <c:v>35851</c:v>
                </c:pt>
                <c:pt idx="2061">
                  <c:v>35852</c:v>
                </c:pt>
                <c:pt idx="2062">
                  <c:v>35853</c:v>
                </c:pt>
                <c:pt idx="2063">
                  <c:v>35856</c:v>
                </c:pt>
                <c:pt idx="2064">
                  <c:v>35857</c:v>
                </c:pt>
                <c:pt idx="2065">
                  <c:v>35858</c:v>
                </c:pt>
                <c:pt idx="2066">
                  <c:v>35859</c:v>
                </c:pt>
                <c:pt idx="2067">
                  <c:v>35860</c:v>
                </c:pt>
                <c:pt idx="2068">
                  <c:v>35863</c:v>
                </c:pt>
                <c:pt idx="2069">
                  <c:v>35864</c:v>
                </c:pt>
                <c:pt idx="2070">
                  <c:v>35865</c:v>
                </c:pt>
                <c:pt idx="2071">
                  <c:v>35866</c:v>
                </c:pt>
                <c:pt idx="2072">
                  <c:v>35867</c:v>
                </c:pt>
                <c:pt idx="2073">
                  <c:v>35870</c:v>
                </c:pt>
                <c:pt idx="2074">
                  <c:v>35871</c:v>
                </c:pt>
                <c:pt idx="2075">
                  <c:v>35872</c:v>
                </c:pt>
                <c:pt idx="2076">
                  <c:v>35873</c:v>
                </c:pt>
                <c:pt idx="2077">
                  <c:v>35874</c:v>
                </c:pt>
                <c:pt idx="2078">
                  <c:v>35877</c:v>
                </c:pt>
                <c:pt idx="2079">
                  <c:v>35878</c:v>
                </c:pt>
                <c:pt idx="2080">
                  <c:v>35879</c:v>
                </c:pt>
                <c:pt idx="2081">
                  <c:v>35880</c:v>
                </c:pt>
                <c:pt idx="2082">
                  <c:v>35881</c:v>
                </c:pt>
                <c:pt idx="2083">
                  <c:v>35884</c:v>
                </c:pt>
                <c:pt idx="2084">
                  <c:v>35885</c:v>
                </c:pt>
                <c:pt idx="2085">
                  <c:v>35886</c:v>
                </c:pt>
                <c:pt idx="2086">
                  <c:v>35887</c:v>
                </c:pt>
                <c:pt idx="2087">
                  <c:v>35888</c:v>
                </c:pt>
                <c:pt idx="2088">
                  <c:v>35891</c:v>
                </c:pt>
                <c:pt idx="2089">
                  <c:v>35892</c:v>
                </c:pt>
                <c:pt idx="2090">
                  <c:v>35893</c:v>
                </c:pt>
                <c:pt idx="2091">
                  <c:v>35894</c:v>
                </c:pt>
                <c:pt idx="2092">
                  <c:v>35898</c:v>
                </c:pt>
                <c:pt idx="2093">
                  <c:v>35899</c:v>
                </c:pt>
                <c:pt idx="2094">
                  <c:v>35900</c:v>
                </c:pt>
                <c:pt idx="2095">
                  <c:v>35901</c:v>
                </c:pt>
                <c:pt idx="2096">
                  <c:v>35902</c:v>
                </c:pt>
                <c:pt idx="2097">
                  <c:v>35905</c:v>
                </c:pt>
                <c:pt idx="2098">
                  <c:v>35906</c:v>
                </c:pt>
                <c:pt idx="2099">
                  <c:v>35907</c:v>
                </c:pt>
                <c:pt idx="2100">
                  <c:v>35908</c:v>
                </c:pt>
                <c:pt idx="2101">
                  <c:v>35909</c:v>
                </c:pt>
                <c:pt idx="2102">
                  <c:v>35912</c:v>
                </c:pt>
                <c:pt idx="2103">
                  <c:v>35913</c:v>
                </c:pt>
                <c:pt idx="2104">
                  <c:v>35914</c:v>
                </c:pt>
                <c:pt idx="2105">
                  <c:v>35915</c:v>
                </c:pt>
                <c:pt idx="2106">
                  <c:v>35916</c:v>
                </c:pt>
                <c:pt idx="2107">
                  <c:v>35919</c:v>
                </c:pt>
                <c:pt idx="2108">
                  <c:v>35920</c:v>
                </c:pt>
                <c:pt idx="2109">
                  <c:v>35921</c:v>
                </c:pt>
                <c:pt idx="2110">
                  <c:v>35922</c:v>
                </c:pt>
                <c:pt idx="2111">
                  <c:v>35923</c:v>
                </c:pt>
                <c:pt idx="2112">
                  <c:v>35926</c:v>
                </c:pt>
                <c:pt idx="2113">
                  <c:v>35927</c:v>
                </c:pt>
                <c:pt idx="2114">
                  <c:v>35928</c:v>
                </c:pt>
                <c:pt idx="2115">
                  <c:v>35929</c:v>
                </c:pt>
                <c:pt idx="2116">
                  <c:v>35930</c:v>
                </c:pt>
                <c:pt idx="2117">
                  <c:v>35933</c:v>
                </c:pt>
                <c:pt idx="2118">
                  <c:v>35934</c:v>
                </c:pt>
                <c:pt idx="2119">
                  <c:v>35935</c:v>
                </c:pt>
                <c:pt idx="2120">
                  <c:v>35936</c:v>
                </c:pt>
                <c:pt idx="2121">
                  <c:v>35937</c:v>
                </c:pt>
                <c:pt idx="2122">
                  <c:v>35941</c:v>
                </c:pt>
                <c:pt idx="2123">
                  <c:v>35942</c:v>
                </c:pt>
                <c:pt idx="2124">
                  <c:v>35943</c:v>
                </c:pt>
                <c:pt idx="2125">
                  <c:v>35944</c:v>
                </c:pt>
                <c:pt idx="2126">
                  <c:v>35947</c:v>
                </c:pt>
                <c:pt idx="2127">
                  <c:v>35948</c:v>
                </c:pt>
                <c:pt idx="2128">
                  <c:v>35949</c:v>
                </c:pt>
                <c:pt idx="2129">
                  <c:v>35950</c:v>
                </c:pt>
                <c:pt idx="2130">
                  <c:v>35951</c:v>
                </c:pt>
                <c:pt idx="2131">
                  <c:v>35954</c:v>
                </c:pt>
                <c:pt idx="2132">
                  <c:v>35955</c:v>
                </c:pt>
                <c:pt idx="2133">
                  <c:v>35956</c:v>
                </c:pt>
                <c:pt idx="2134">
                  <c:v>35957</c:v>
                </c:pt>
                <c:pt idx="2135">
                  <c:v>35958</c:v>
                </c:pt>
                <c:pt idx="2136">
                  <c:v>35961</c:v>
                </c:pt>
                <c:pt idx="2137">
                  <c:v>35962</c:v>
                </c:pt>
                <c:pt idx="2138">
                  <c:v>35963</c:v>
                </c:pt>
                <c:pt idx="2139">
                  <c:v>35964</c:v>
                </c:pt>
                <c:pt idx="2140">
                  <c:v>35965</c:v>
                </c:pt>
                <c:pt idx="2141">
                  <c:v>35968</c:v>
                </c:pt>
                <c:pt idx="2142">
                  <c:v>35969</c:v>
                </c:pt>
                <c:pt idx="2143">
                  <c:v>35970</c:v>
                </c:pt>
                <c:pt idx="2144">
                  <c:v>35971</c:v>
                </c:pt>
                <c:pt idx="2145">
                  <c:v>35972</c:v>
                </c:pt>
                <c:pt idx="2146">
                  <c:v>35975</c:v>
                </c:pt>
                <c:pt idx="2147">
                  <c:v>35976</c:v>
                </c:pt>
                <c:pt idx="2148">
                  <c:v>35977</c:v>
                </c:pt>
                <c:pt idx="2149">
                  <c:v>35978</c:v>
                </c:pt>
                <c:pt idx="2150">
                  <c:v>35982</c:v>
                </c:pt>
                <c:pt idx="2151">
                  <c:v>35983</c:v>
                </c:pt>
                <c:pt idx="2152">
                  <c:v>35984</c:v>
                </c:pt>
                <c:pt idx="2153">
                  <c:v>35985</c:v>
                </c:pt>
                <c:pt idx="2154">
                  <c:v>35986</c:v>
                </c:pt>
                <c:pt idx="2155">
                  <c:v>35989</c:v>
                </c:pt>
                <c:pt idx="2156">
                  <c:v>35990</c:v>
                </c:pt>
                <c:pt idx="2157">
                  <c:v>35991</c:v>
                </c:pt>
                <c:pt idx="2158">
                  <c:v>35992</c:v>
                </c:pt>
                <c:pt idx="2159">
                  <c:v>35993</c:v>
                </c:pt>
                <c:pt idx="2160">
                  <c:v>35996</c:v>
                </c:pt>
                <c:pt idx="2161">
                  <c:v>35997</c:v>
                </c:pt>
                <c:pt idx="2162">
                  <c:v>35998</c:v>
                </c:pt>
                <c:pt idx="2163">
                  <c:v>35999</c:v>
                </c:pt>
                <c:pt idx="2164">
                  <c:v>36000</c:v>
                </c:pt>
                <c:pt idx="2165">
                  <c:v>36003</c:v>
                </c:pt>
                <c:pt idx="2166">
                  <c:v>36004</c:v>
                </c:pt>
                <c:pt idx="2167">
                  <c:v>36005</c:v>
                </c:pt>
                <c:pt idx="2168">
                  <c:v>36006</c:v>
                </c:pt>
                <c:pt idx="2169">
                  <c:v>36007</c:v>
                </c:pt>
                <c:pt idx="2170">
                  <c:v>36010</c:v>
                </c:pt>
                <c:pt idx="2171">
                  <c:v>36011</c:v>
                </c:pt>
                <c:pt idx="2172">
                  <c:v>36012</c:v>
                </c:pt>
                <c:pt idx="2173">
                  <c:v>36013</c:v>
                </c:pt>
                <c:pt idx="2174">
                  <c:v>36014</c:v>
                </c:pt>
                <c:pt idx="2175">
                  <c:v>36017</c:v>
                </c:pt>
                <c:pt idx="2176">
                  <c:v>36018</c:v>
                </c:pt>
                <c:pt idx="2177">
                  <c:v>36019</c:v>
                </c:pt>
                <c:pt idx="2178">
                  <c:v>36020</c:v>
                </c:pt>
                <c:pt idx="2179">
                  <c:v>36021</c:v>
                </c:pt>
                <c:pt idx="2180">
                  <c:v>36024</c:v>
                </c:pt>
                <c:pt idx="2181">
                  <c:v>36025</c:v>
                </c:pt>
                <c:pt idx="2182">
                  <c:v>36026</c:v>
                </c:pt>
                <c:pt idx="2183">
                  <c:v>36027</c:v>
                </c:pt>
                <c:pt idx="2184">
                  <c:v>36028</c:v>
                </c:pt>
                <c:pt idx="2185">
                  <c:v>36031</c:v>
                </c:pt>
                <c:pt idx="2186">
                  <c:v>36032</c:v>
                </c:pt>
                <c:pt idx="2187">
                  <c:v>36033</c:v>
                </c:pt>
                <c:pt idx="2188">
                  <c:v>36034</c:v>
                </c:pt>
                <c:pt idx="2189">
                  <c:v>36035</c:v>
                </c:pt>
                <c:pt idx="2190">
                  <c:v>36038</c:v>
                </c:pt>
                <c:pt idx="2191">
                  <c:v>36039</c:v>
                </c:pt>
                <c:pt idx="2192">
                  <c:v>36040</c:v>
                </c:pt>
                <c:pt idx="2193">
                  <c:v>36041</c:v>
                </c:pt>
                <c:pt idx="2194">
                  <c:v>36042</c:v>
                </c:pt>
                <c:pt idx="2195">
                  <c:v>36046</c:v>
                </c:pt>
                <c:pt idx="2196">
                  <c:v>36047</c:v>
                </c:pt>
                <c:pt idx="2197">
                  <c:v>36048</c:v>
                </c:pt>
                <c:pt idx="2198">
                  <c:v>36049</c:v>
                </c:pt>
                <c:pt idx="2199">
                  <c:v>36052</c:v>
                </c:pt>
                <c:pt idx="2200">
                  <c:v>36053</c:v>
                </c:pt>
                <c:pt idx="2201">
                  <c:v>36054</c:v>
                </c:pt>
                <c:pt idx="2202">
                  <c:v>36055</c:v>
                </c:pt>
                <c:pt idx="2203">
                  <c:v>36056</c:v>
                </c:pt>
                <c:pt idx="2204">
                  <c:v>36059</c:v>
                </c:pt>
                <c:pt idx="2205">
                  <c:v>36060</c:v>
                </c:pt>
                <c:pt idx="2206">
                  <c:v>36061</c:v>
                </c:pt>
                <c:pt idx="2207">
                  <c:v>36062</c:v>
                </c:pt>
                <c:pt idx="2208">
                  <c:v>36063</c:v>
                </c:pt>
                <c:pt idx="2209">
                  <c:v>36066</c:v>
                </c:pt>
                <c:pt idx="2210">
                  <c:v>36067</c:v>
                </c:pt>
                <c:pt idx="2211">
                  <c:v>36068</c:v>
                </c:pt>
                <c:pt idx="2212">
                  <c:v>36069</c:v>
                </c:pt>
                <c:pt idx="2213">
                  <c:v>36070</c:v>
                </c:pt>
                <c:pt idx="2214">
                  <c:v>36073</c:v>
                </c:pt>
                <c:pt idx="2215">
                  <c:v>36074</c:v>
                </c:pt>
                <c:pt idx="2216">
                  <c:v>36075</c:v>
                </c:pt>
                <c:pt idx="2217">
                  <c:v>36076</c:v>
                </c:pt>
                <c:pt idx="2218">
                  <c:v>36077</c:v>
                </c:pt>
                <c:pt idx="2219">
                  <c:v>36080</c:v>
                </c:pt>
                <c:pt idx="2220">
                  <c:v>36081</c:v>
                </c:pt>
                <c:pt idx="2221">
                  <c:v>36082</c:v>
                </c:pt>
                <c:pt idx="2222">
                  <c:v>36083</c:v>
                </c:pt>
                <c:pt idx="2223">
                  <c:v>36084</c:v>
                </c:pt>
                <c:pt idx="2224">
                  <c:v>36087</c:v>
                </c:pt>
                <c:pt idx="2225">
                  <c:v>36088</c:v>
                </c:pt>
                <c:pt idx="2226">
                  <c:v>36089</c:v>
                </c:pt>
                <c:pt idx="2227">
                  <c:v>36090</c:v>
                </c:pt>
                <c:pt idx="2228">
                  <c:v>36091</c:v>
                </c:pt>
                <c:pt idx="2229">
                  <c:v>36094</c:v>
                </c:pt>
                <c:pt idx="2230">
                  <c:v>36095</c:v>
                </c:pt>
                <c:pt idx="2231">
                  <c:v>36096</c:v>
                </c:pt>
                <c:pt idx="2232">
                  <c:v>36097</c:v>
                </c:pt>
                <c:pt idx="2233">
                  <c:v>36098</c:v>
                </c:pt>
                <c:pt idx="2234">
                  <c:v>36101</c:v>
                </c:pt>
                <c:pt idx="2235">
                  <c:v>36102</c:v>
                </c:pt>
                <c:pt idx="2236">
                  <c:v>36103</c:v>
                </c:pt>
                <c:pt idx="2237">
                  <c:v>36104</c:v>
                </c:pt>
                <c:pt idx="2238">
                  <c:v>36105</c:v>
                </c:pt>
                <c:pt idx="2239">
                  <c:v>36108</c:v>
                </c:pt>
                <c:pt idx="2240">
                  <c:v>36109</c:v>
                </c:pt>
                <c:pt idx="2241">
                  <c:v>36110</c:v>
                </c:pt>
                <c:pt idx="2242">
                  <c:v>36111</c:v>
                </c:pt>
                <c:pt idx="2243">
                  <c:v>36112</c:v>
                </c:pt>
                <c:pt idx="2244">
                  <c:v>36115</c:v>
                </c:pt>
                <c:pt idx="2245">
                  <c:v>36116</c:v>
                </c:pt>
                <c:pt idx="2246">
                  <c:v>36117</c:v>
                </c:pt>
                <c:pt idx="2247">
                  <c:v>36118</c:v>
                </c:pt>
                <c:pt idx="2248">
                  <c:v>36119</c:v>
                </c:pt>
                <c:pt idx="2249">
                  <c:v>36122</c:v>
                </c:pt>
                <c:pt idx="2250">
                  <c:v>36123</c:v>
                </c:pt>
                <c:pt idx="2251">
                  <c:v>36124</c:v>
                </c:pt>
                <c:pt idx="2252">
                  <c:v>36126</c:v>
                </c:pt>
                <c:pt idx="2253">
                  <c:v>36129</c:v>
                </c:pt>
                <c:pt idx="2254">
                  <c:v>36130</c:v>
                </c:pt>
                <c:pt idx="2255">
                  <c:v>36131</c:v>
                </c:pt>
                <c:pt idx="2256">
                  <c:v>36132</c:v>
                </c:pt>
                <c:pt idx="2257">
                  <c:v>36133</c:v>
                </c:pt>
                <c:pt idx="2258">
                  <c:v>36136</c:v>
                </c:pt>
                <c:pt idx="2259">
                  <c:v>36137</c:v>
                </c:pt>
                <c:pt idx="2260">
                  <c:v>36138</c:v>
                </c:pt>
                <c:pt idx="2261">
                  <c:v>36139</c:v>
                </c:pt>
                <c:pt idx="2262">
                  <c:v>36140</c:v>
                </c:pt>
                <c:pt idx="2263">
                  <c:v>36143</c:v>
                </c:pt>
                <c:pt idx="2264">
                  <c:v>36144</c:v>
                </c:pt>
                <c:pt idx="2265">
                  <c:v>36145</c:v>
                </c:pt>
                <c:pt idx="2266">
                  <c:v>36146</c:v>
                </c:pt>
                <c:pt idx="2267">
                  <c:v>36147</c:v>
                </c:pt>
                <c:pt idx="2268">
                  <c:v>36150</c:v>
                </c:pt>
                <c:pt idx="2269">
                  <c:v>36151</c:v>
                </c:pt>
                <c:pt idx="2270">
                  <c:v>36152</c:v>
                </c:pt>
                <c:pt idx="2271">
                  <c:v>36153</c:v>
                </c:pt>
                <c:pt idx="2272">
                  <c:v>36157</c:v>
                </c:pt>
                <c:pt idx="2273">
                  <c:v>36158</c:v>
                </c:pt>
                <c:pt idx="2274">
                  <c:v>36159</c:v>
                </c:pt>
                <c:pt idx="2275">
                  <c:v>36160</c:v>
                </c:pt>
                <c:pt idx="2276">
                  <c:v>36164</c:v>
                </c:pt>
                <c:pt idx="2277">
                  <c:v>36165</c:v>
                </c:pt>
                <c:pt idx="2278">
                  <c:v>36166</c:v>
                </c:pt>
                <c:pt idx="2279">
                  <c:v>36167</c:v>
                </c:pt>
                <c:pt idx="2280">
                  <c:v>36168</c:v>
                </c:pt>
                <c:pt idx="2281">
                  <c:v>36171</c:v>
                </c:pt>
                <c:pt idx="2282">
                  <c:v>36172</c:v>
                </c:pt>
                <c:pt idx="2283">
                  <c:v>36173</c:v>
                </c:pt>
                <c:pt idx="2284">
                  <c:v>36174</c:v>
                </c:pt>
                <c:pt idx="2285">
                  <c:v>36175</c:v>
                </c:pt>
                <c:pt idx="2286">
                  <c:v>36179</c:v>
                </c:pt>
                <c:pt idx="2287">
                  <c:v>36180</c:v>
                </c:pt>
                <c:pt idx="2288">
                  <c:v>36181</c:v>
                </c:pt>
                <c:pt idx="2289">
                  <c:v>36182</c:v>
                </c:pt>
                <c:pt idx="2290">
                  <c:v>36185</c:v>
                </c:pt>
                <c:pt idx="2291">
                  <c:v>36186</c:v>
                </c:pt>
                <c:pt idx="2292">
                  <c:v>36187</c:v>
                </c:pt>
                <c:pt idx="2293">
                  <c:v>36188</c:v>
                </c:pt>
                <c:pt idx="2294">
                  <c:v>36189</c:v>
                </c:pt>
                <c:pt idx="2295">
                  <c:v>36192</c:v>
                </c:pt>
                <c:pt idx="2296">
                  <c:v>36193</c:v>
                </c:pt>
                <c:pt idx="2297">
                  <c:v>36194</c:v>
                </c:pt>
                <c:pt idx="2298">
                  <c:v>36195</c:v>
                </c:pt>
                <c:pt idx="2299">
                  <c:v>36196</c:v>
                </c:pt>
                <c:pt idx="2300">
                  <c:v>36199</c:v>
                </c:pt>
                <c:pt idx="2301">
                  <c:v>36200</c:v>
                </c:pt>
                <c:pt idx="2302">
                  <c:v>36201</c:v>
                </c:pt>
                <c:pt idx="2303">
                  <c:v>36202</c:v>
                </c:pt>
                <c:pt idx="2304">
                  <c:v>36203</c:v>
                </c:pt>
                <c:pt idx="2305">
                  <c:v>36207</c:v>
                </c:pt>
                <c:pt idx="2306">
                  <c:v>36208</c:v>
                </c:pt>
                <c:pt idx="2307">
                  <c:v>36209</c:v>
                </c:pt>
                <c:pt idx="2308">
                  <c:v>36210</c:v>
                </c:pt>
                <c:pt idx="2309">
                  <c:v>36213</c:v>
                </c:pt>
                <c:pt idx="2310">
                  <c:v>36214</c:v>
                </c:pt>
                <c:pt idx="2311">
                  <c:v>36215</c:v>
                </c:pt>
                <c:pt idx="2312">
                  <c:v>36216</c:v>
                </c:pt>
                <c:pt idx="2313">
                  <c:v>36217</c:v>
                </c:pt>
                <c:pt idx="2314">
                  <c:v>36220</c:v>
                </c:pt>
                <c:pt idx="2315">
                  <c:v>36221</c:v>
                </c:pt>
                <c:pt idx="2316">
                  <c:v>36222</c:v>
                </c:pt>
                <c:pt idx="2317">
                  <c:v>36223</c:v>
                </c:pt>
                <c:pt idx="2318">
                  <c:v>36224</c:v>
                </c:pt>
                <c:pt idx="2319">
                  <c:v>36227</c:v>
                </c:pt>
                <c:pt idx="2320">
                  <c:v>36228</c:v>
                </c:pt>
                <c:pt idx="2321">
                  <c:v>36229</c:v>
                </c:pt>
                <c:pt idx="2322">
                  <c:v>36230</c:v>
                </c:pt>
                <c:pt idx="2323">
                  <c:v>36231</c:v>
                </c:pt>
                <c:pt idx="2324">
                  <c:v>36234</c:v>
                </c:pt>
                <c:pt idx="2325">
                  <c:v>36235</c:v>
                </c:pt>
                <c:pt idx="2326">
                  <c:v>36236</c:v>
                </c:pt>
                <c:pt idx="2327">
                  <c:v>36237</c:v>
                </c:pt>
                <c:pt idx="2328">
                  <c:v>36238</c:v>
                </c:pt>
                <c:pt idx="2329">
                  <c:v>36241</c:v>
                </c:pt>
                <c:pt idx="2330">
                  <c:v>36242</c:v>
                </c:pt>
                <c:pt idx="2331">
                  <c:v>36243</c:v>
                </c:pt>
                <c:pt idx="2332">
                  <c:v>36244</c:v>
                </c:pt>
                <c:pt idx="2333">
                  <c:v>36245</c:v>
                </c:pt>
                <c:pt idx="2334">
                  <c:v>36248</c:v>
                </c:pt>
                <c:pt idx="2335">
                  <c:v>36249</c:v>
                </c:pt>
                <c:pt idx="2336">
                  <c:v>36250</c:v>
                </c:pt>
                <c:pt idx="2337">
                  <c:v>36251</c:v>
                </c:pt>
                <c:pt idx="2338">
                  <c:v>36255</c:v>
                </c:pt>
                <c:pt idx="2339">
                  <c:v>36256</c:v>
                </c:pt>
                <c:pt idx="2340">
                  <c:v>36257</c:v>
                </c:pt>
                <c:pt idx="2341">
                  <c:v>36258</c:v>
                </c:pt>
                <c:pt idx="2342">
                  <c:v>36259</c:v>
                </c:pt>
                <c:pt idx="2343">
                  <c:v>36262</c:v>
                </c:pt>
                <c:pt idx="2344">
                  <c:v>36263</c:v>
                </c:pt>
                <c:pt idx="2345">
                  <c:v>36264</c:v>
                </c:pt>
                <c:pt idx="2346">
                  <c:v>36265</c:v>
                </c:pt>
                <c:pt idx="2347">
                  <c:v>36266</c:v>
                </c:pt>
                <c:pt idx="2348">
                  <c:v>36269</c:v>
                </c:pt>
                <c:pt idx="2349">
                  <c:v>36270</c:v>
                </c:pt>
                <c:pt idx="2350">
                  <c:v>36271</c:v>
                </c:pt>
                <c:pt idx="2351">
                  <c:v>36272</c:v>
                </c:pt>
                <c:pt idx="2352">
                  <c:v>36273</c:v>
                </c:pt>
                <c:pt idx="2353">
                  <c:v>36276</c:v>
                </c:pt>
                <c:pt idx="2354">
                  <c:v>36277</c:v>
                </c:pt>
                <c:pt idx="2355">
                  <c:v>36278</c:v>
                </c:pt>
                <c:pt idx="2356">
                  <c:v>36279</c:v>
                </c:pt>
                <c:pt idx="2357">
                  <c:v>36280</c:v>
                </c:pt>
                <c:pt idx="2358">
                  <c:v>36283</c:v>
                </c:pt>
                <c:pt idx="2359">
                  <c:v>36284</c:v>
                </c:pt>
                <c:pt idx="2360">
                  <c:v>36285</c:v>
                </c:pt>
                <c:pt idx="2361">
                  <c:v>36286</c:v>
                </c:pt>
                <c:pt idx="2362">
                  <c:v>36287</c:v>
                </c:pt>
                <c:pt idx="2363">
                  <c:v>36290</c:v>
                </c:pt>
                <c:pt idx="2364">
                  <c:v>36291</c:v>
                </c:pt>
                <c:pt idx="2365">
                  <c:v>36292</c:v>
                </c:pt>
                <c:pt idx="2366">
                  <c:v>36293</c:v>
                </c:pt>
                <c:pt idx="2367">
                  <c:v>36294</c:v>
                </c:pt>
                <c:pt idx="2368">
                  <c:v>36297</c:v>
                </c:pt>
                <c:pt idx="2369">
                  <c:v>36298</c:v>
                </c:pt>
                <c:pt idx="2370">
                  <c:v>36299</c:v>
                </c:pt>
                <c:pt idx="2371">
                  <c:v>36300</c:v>
                </c:pt>
                <c:pt idx="2372">
                  <c:v>36301</c:v>
                </c:pt>
                <c:pt idx="2373">
                  <c:v>36304</c:v>
                </c:pt>
                <c:pt idx="2374">
                  <c:v>36305</c:v>
                </c:pt>
                <c:pt idx="2375">
                  <c:v>36306</c:v>
                </c:pt>
                <c:pt idx="2376">
                  <c:v>36307</c:v>
                </c:pt>
                <c:pt idx="2377">
                  <c:v>36308</c:v>
                </c:pt>
                <c:pt idx="2378">
                  <c:v>36312</c:v>
                </c:pt>
                <c:pt idx="2379">
                  <c:v>36313</c:v>
                </c:pt>
                <c:pt idx="2380">
                  <c:v>36314</c:v>
                </c:pt>
                <c:pt idx="2381">
                  <c:v>36315</c:v>
                </c:pt>
                <c:pt idx="2382">
                  <c:v>36318</c:v>
                </c:pt>
                <c:pt idx="2383">
                  <c:v>36319</c:v>
                </c:pt>
                <c:pt idx="2384">
                  <c:v>36320</c:v>
                </c:pt>
                <c:pt idx="2385">
                  <c:v>36321</c:v>
                </c:pt>
                <c:pt idx="2386">
                  <c:v>36322</c:v>
                </c:pt>
                <c:pt idx="2387">
                  <c:v>36325</c:v>
                </c:pt>
                <c:pt idx="2388">
                  <c:v>36326</c:v>
                </c:pt>
                <c:pt idx="2389">
                  <c:v>36327</c:v>
                </c:pt>
                <c:pt idx="2390">
                  <c:v>36328</c:v>
                </c:pt>
                <c:pt idx="2391">
                  <c:v>36329</c:v>
                </c:pt>
                <c:pt idx="2392">
                  <c:v>36332</c:v>
                </c:pt>
                <c:pt idx="2393">
                  <c:v>36333</c:v>
                </c:pt>
                <c:pt idx="2394">
                  <c:v>36334</c:v>
                </c:pt>
                <c:pt idx="2395">
                  <c:v>36335</c:v>
                </c:pt>
                <c:pt idx="2396">
                  <c:v>36336</c:v>
                </c:pt>
                <c:pt idx="2397">
                  <c:v>36339</c:v>
                </c:pt>
                <c:pt idx="2398">
                  <c:v>36340</c:v>
                </c:pt>
                <c:pt idx="2399">
                  <c:v>36341</c:v>
                </c:pt>
                <c:pt idx="2400">
                  <c:v>36342</c:v>
                </c:pt>
                <c:pt idx="2401">
                  <c:v>36343</c:v>
                </c:pt>
                <c:pt idx="2402">
                  <c:v>36347</c:v>
                </c:pt>
                <c:pt idx="2403">
                  <c:v>36348</c:v>
                </c:pt>
                <c:pt idx="2404">
                  <c:v>36349</c:v>
                </c:pt>
                <c:pt idx="2405">
                  <c:v>36350</c:v>
                </c:pt>
                <c:pt idx="2406">
                  <c:v>36353</c:v>
                </c:pt>
                <c:pt idx="2407">
                  <c:v>36354</c:v>
                </c:pt>
                <c:pt idx="2408">
                  <c:v>36355</c:v>
                </c:pt>
                <c:pt idx="2409">
                  <c:v>36356</c:v>
                </c:pt>
                <c:pt idx="2410">
                  <c:v>36357</c:v>
                </c:pt>
                <c:pt idx="2411">
                  <c:v>36360</c:v>
                </c:pt>
                <c:pt idx="2412">
                  <c:v>36361</c:v>
                </c:pt>
                <c:pt idx="2413">
                  <c:v>36362</c:v>
                </c:pt>
                <c:pt idx="2414">
                  <c:v>36363</c:v>
                </c:pt>
                <c:pt idx="2415">
                  <c:v>36364</c:v>
                </c:pt>
                <c:pt idx="2416">
                  <c:v>36367</c:v>
                </c:pt>
                <c:pt idx="2417">
                  <c:v>36368</c:v>
                </c:pt>
                <c:pt idx="2418">
                  <c:v>36369</c:v>
                </c:pt>
                <c:pt idx="2419">
                  <c:v>36370</c:v>
                </c:pt>
                <c:pt idx="2420">
                  <c:v>36371</c:v>
                </c:pt>
                <c:pt idx="2421">
                  <c:v>36374</c:v>
                </c:pt>
                <c:pt idx="2422">
                  <c:v>36375</c:v>
                </c:pt>
                <c:pt idx="2423">
                  <c:v>36376</c:v>
                </c:pt>
                <c:pt idx="2424">
                  <c:v>36377</c:v>
                </c:pt>
                <c:pt idx="2425">
                  <c:v>36378</c:v>
                </c:pt>
                <c:pt idx="2426">
                  <c:v>36381</c:v>
                </c:pt>
                <c:pt idx="2427">
                  <c:v>36382</c:v>
                </c:pt>
                <c:pt idx="2428">
                  <c:v>36383</c:v>
                </c:pt>
                <c:pt idx="2429">
                  <c:v>36384</c:v>
                </c:pt>
                <c:pt idx="2430">
                  <c:v>36385</c:v>
                </c:pt>
                <c:pt idx="2431">
                  <c:v>36388</c:v>
                </c:pt>
                <c:pt idx="2432">
                  <c:v>36389</c:v>
                </c:pt>
                <c:pt idx="2433">
                  <c:v>36390</c:v>
                </c:pt>
                <c:pt idx="2434">
                  <c:v>36391</c:v>
                </c:pt>
                <c:pt idx="2435">
                  <c:v>36392</c:v>
                </c:pt>
                <c:pt idx="2436">
                  <c:v>36395</c:v>
                </c:pt>
                <c:pt idx="2437">
                  <c:v>36396</c:v>
                </c:pt>
                <c:pt idx="2438">
                  <c:v>36397</c:v>
                </c:pt>
                <c:pt idx="2439">
                  <c:v>36398</c:v>
                </c:pt>
                <c:pt idx="2440">
                  <c:v>36399</c:v>
                </c:pt>
                <c:pt idx="2441">
                  <c:v>36402</c:v>
                </c:pt>
                <c:pt idx="2442">
                  <c:v>36403</c:v>
                </c:pt>
                <c:pt idx="2443">
                  <c:v>36404</c:v>
                </c:pt>
                <c:pt idx="2444">
                  <c:v>36405</c:v>
                </c:pt>
                <c:pt idx="2445">
                  <c:v>36406</c:v>
                </c:pt>
                <c:pt idx="2446">
                  <c:v>36410</c:v>
                </c:pt>
                <c:pt idx="2447">
                  <c:v>36411</c:v>
                </c:pt>
                <c:pt idx="2448">
                  <c:v>36412</c:v>
                </c:pt>
                <c:pt idx="2449">
                  <c:v>36413</c:v>
                </c:pt>
                <c:pt idx="2450">
                  <c:v>36416</c:v>
                </c:pt>
                <c:pt idx="2451">
                  <c:v>36417</c:v>
                </c:pt>
                <c:pt idx="2452">
                  <c:v>36418</c:v>
                </c:pt>
                <c:pt idx="2453">
                  <c:v>36419</c:v>
                </c:pt>
                <c:pt idx="2454">
                  <c:v>36420</c:v>
                </c:pt>
                <c:pt idx="2455">
                  <c:v>36423</c:v>
                </c:pt>
                <c:pt idx="2456">
                  <c:v>36424</c:v>
                </c:pt>
                <c:pt idx="2457">
                  <c:v>36425</c:v>
                </c:pt>
                <c:pt idx="2458">
                  <c:v>36426</c:v>
                </c:pt>
                <c:pt idx="2459">
                  <c:v>36427</c:v>
                </c:pt>
                <c:pt idx="2460">
                  <c:v>36430</c:v>
                </c:pt>
                <c:pt idx="2461">
                  <c:v>36431</c:v>
                </c:pt>
                <c:pt idx="2462">
                  <c:v>36432</c:v>
                </c:pt>
                <c:pt idx="2463">
                  <c:v>36433</c:v>
                </c:pt>
                <c:pt idx="2464">
                  <c:v>36434</c:v>
                </c:pt>
                <c:pt idx="2465">
                  <c:v>36437</c:v>
                </c:pt>
                <c:pt idx="2466">
                  <c:v>36438</c:v>
                </c:pt>
                <c:pt idx="2467">
                  <c:v>36439</c:v>
                </c:pt>
                <c:pt idx="2468">
                  <c:v>36440</c:v>
                </c:pt>
                <c:pt idx="2469">
                  <c:v>36441</c:v>
                </c:pt>
                <c:pt idx="2470">
                  <c:v>36444</c:v>
                </c:pt>
                <c:pt idx="2471">
                  <c:v>36445</c:v>
                </c:pt>
                <c:pt idx="2472">
                  <c:v>36446</c:v>
                </c:pt>
                <c:pt idx="2473">
                  <c:v>36447</c:v>
                </c:pt>
                <c:pt idx="2474">
                  <c:v>36448</c:v>
                </c:pt>
                <c:pt idx="2475">
                  <c:v>36451</c:v>
                </c:pt>
                <c:pt idx="2476">
                  <c:v>36452</c:v>
                </c:pt>
                <c:pt idx="2477">
                  <c:v>36453</c:v>
                </c:pt>
                <c:pt idx="2478">
                  <c:v>36454</c:v>
                </c:pt>
                <c:pt idx="2479">
                  <c:v>36455</c:v>
                </c:pt>
                <c:pt idx="2480">
                  <c:v>36458</c:v>
                </c:pt>
                <c:pt idx="2481">
                  <c:v>36459</c:v>
                </c:pt>
                <c:pt idx="2482">
                  <c:v>36460</c:v>
                </c:pt>
                <c:pt idx="2483">
                  <c:v>36461</c:v>
                </c:pt>
                <c:pt idx="2484">
                  <c:v>36462</c:v>
                </c:pt>
                <c:pt idx="2485">
                  <c:v>36465</c:v>
                </c:pt>
                <c:pt idx="2486">
                  <c:v>36466</c:v>
                </c:pt>
                <c:pt idx="2487">
                  <c:v>36467</c:v>
                </c:pt>
                <c:pt idx="2488">
                  <c:v>36468</c:v>
                </c:pt>
                <c:pt idx="2489">
                  <c:v>36469</c:v>
                </c:pt>
                <c:pt idx="2490">
                  <c:v>36472</c:v>
                </c:pt>
                <c:pt idx="2491">
                  <c:v>36473</c:v>
                </c:pt>
                <c:pt idx="2492">
                  <c:v>36474</c:v>
                </c:pt>
                <c:pt idx="2493">
                  <c:v>36475</c:v>
                </c:pt>
                <c:pt idx="2494">
                  <c:v>36476</c:v>
                </c:pt>
                <c:pt idx="2495">
                  <c:v>36479</c:v>
                </c:pt>
                <c:pt idx="2496">
                  <c:v>36480</c:v>
                </c:pt>
                <c:pt idx="2497">
                  <c:v>36481</c:v>
                </c:pt>
                <c:pt idx="2498">
                  <c:v>36482</c:v>
                </c:pt>
                <c:pt idx="2499">
                  <c:v>36483</c:v>
                </c:pt>
                <c:pt idx="2500">
                  <c:v>36486</c:v>
                </c:pt>
                <c:pt idx="2501">
                  <c:v>36487</c:v>
                </c:pt>
                <c:pt idx="2502">
                  <c:v>36488</c:v>
                </c:pt>
                <c:pt idx="2503">
                  <c:v>36490</c:v>
                </c:pt>
                <c:pt idx="2504">
                  <c:v>36493</c:v>
                </c:pt>
                <c:pt idx="2505">
                  <c:v>36494</c:v>
                </c:pt>
                <c:pt idx="2506">
                  <c:v>36495</c:v>
                </c:pt>
                <c:pt idx="2507">
                  <c:v>36496</c:v>
                </c:pt>
                <c:pt idx="2508">
                  <c:v>36497</c:v>
                </c:pt>
                <c:pt idx="2509">
                  <c:v>36500</c:v>
                </c:pt>
                <c:pt idx="2510">
                  <c:v>36501</c:v>
                </c:pt>
                <c:pt idx="2511">
                  <c:v>36502</c:v>
                </c:pt>
                <c:pt idx="2512">
                  <c:v>36503</c:v>
                </c:pt>
                <c:pt idx="2513">
                  <c:v>36504</c:v>
                </c:pt>
                <c:pt idx="2514">
                  <c:v>36507</c:v>
                </c:pt>
                <c:pt idx="2515">
                  <c:v>36508</c:v>
                </c:pt>
                <c:pt idx="2516">
                  <c:v>36509</c:v>
                </c:pt>
                <c:pt idx="2517">
                  <c:v>36510</c:v>
                </c:pt>
                <c:pt idx="2518">
                  <c:v>36511</c:v>
                </c:pt>
                <c:pt idx="2519">
                  <c:v>36514</c:v>
                </c:pt>
                <c:pt idx="2520">
                  <c:v>36515</c:v>
                </c:pt>
                <c:pt idx="2521">
                  <c:v>36516</c:v>
                </c:pt>
                <c:pt idx="2522">
                  <c:v>36517</c:v>
                </c:pt>
                <c:pt idx="2523">
                  <c:v>36521</c:v>
                </c:pt>
                <c:pt idx="2524">
                  <c:v>36522</c:v>
                </c:pt>
                <c:pt idx="2525">
                  <c:v>36523</c:v>
                </c:pt>
                <c:pt idx="2526">
                  <c:v>36524</c:v>
                </c:pt>
                <c:pt idx="2527">
                  <c:v>36525</c:v>
                </c:pt>
                <c:pt idx="2528">
                  <c:v>36528</c:v>
                </c:pt>
                <c:pt idx="2529">
                  <c:v>36529</c:v>
                </c:pt>
                <c:pt idx="2530">
                  <c:v>36530</c:v>
                </c:pt>
                <c:pt idx="2531">
                  <c:v>36531</c:v>
                </c:pt>
                <c:pt idx="2532">
                  <c:v>36532</c:v>
                </c:pt>
                <c:pt idx="2533">
                  <c:v>36535</c:v>
                </c:pt>
                <c:pt idx="2534">
                  <c:v>36536</c:v>
                </c:pt>
                <c:pt idx="2535">
                  <c:v>36537</c:v>
                </c:pt>
                <c:pt idx="2536">
                  <c:v>36538</c:v>
                </c:pt>
                <c:pt idx="2537">
                  <c:v>36539</c:v>
                </c:pt>
                <c:pt idx="2538">
                  <c:v>36543</c:v>
                </c:pt>
                <c:pt idx="2539">
                  <c:v>36544</c:v>
                </c:pt>
                <c:pt idx="2540">
                  <c:v>36545</c:v>
                </c:pt>
                <c:pt idx="2541">
                  <c:v>36546</c:v>
                </c:pt>
                <c:pt idx="2542">
                  <c:v>36549</c:v>
                </c:pt>
                <c:pt idx="2543">
                  <c:v>36550</c:v>
                </c:pt>
                <c:pt idx="2544">
                  <c:v>36551</c:v>
                </c:pt>
                <c:pt idx="2545">
                  <c:v>36552</c:v>
                </c:pt>
                <c:pt idx="2546">
                  <c:v>36553</c:v>
                </c:pt>
                <c:pt idx="2547">
                  <c:v>36556</c:v>
                </c:pt>
                <c:pt idx="2548">
                  <c:v>36557</c:v>
                </c:pt>
                <c:pt idx="2549">
                  <c:v>36558</c:v>
                </c:pt>
                <c:pt idx="2550">
                  <c:v>36559</c:v>
                </c:pt>
                <c:pt idx="2551">
                  <c:v>36560</c:v>
                </c:pt>
                <c:pt idx="2552">
                  <c:v>36563</c:v>
                </c:pt>
                <c:pt idx="2553">
                  <c:v>36564</c:v>
                </c:pt>
                <c:pt idx="2554">
                  <c:v>36565</c:v>
                </c:pt>
                <c:pt idx="2555">
                  <c:v>36566</c:v>
                </c:pt>
                <c:pt idx="2556">
                  <c:v>36567</c:v>
                </c:pt>
                <c:pt idx="2557">
                  <c:v>36570</c:v>
                </c:pt>
                <c:pt idx="2558">
                  <c:v>36571</c:v>
                </c:pt>
                <c:pt idx="2559">
                  <c:v>36572</c:v>
                </c:pt>
                <c:pt idx="2560">
                  <c:v>36573</c:v>
                </c:pt>
                <c:pt idx="2561">
                  <c:v>36574</c:v>
                </c:pt>
                <c:pt idx="2562">
                  <c:v>36578</c:v>
                </c:pt>
                <c:pt idx="2563">
                  <c:v>36579</c:v>
                </c:pt>
                <c:pt idx="2564">
                  <c:v>36580</c:v>
                </c:pt>
                <c:pt idx="2565">
                  <c:v>36581</c:v>
                </c:pt>
                <c:pt idx="2566">
                  <c:v>36584</c:v>
                </c:pt>
                <c:pt idx="2567">
                  <c:v>36585</c:v>
                </c:pt>
                <c:pt idx="2568">
                  <c:v>36586</c:v>
                </c:pt>
                <c:pt idx="2569">
                  <c:v>36587</c:v>
                </c:pt>
                <c:pt idx="2570">
                  <c:v>36588</c:v>
                </c:pt>
                <c:pt idx="2571">
                  <c:v>36591</c:v>
                </c:pt>
                <c:pt idx="2572">
                  <c:v>36592</c:v>
                </c:pt>
                <c:pt idx="2573">
                  <c:v>36593</c:v>
                </c:pt>
                <c:pt idx="2574">
                  <c:v>36594</c:v>
                </c:pt>
                <c:pt idx="2575">
                  <c:v>36595</c:v>
                </c:pt>
                <c:pt idx="2576">
                  <c:v>36598</c:v>
                </c:pt>
                <c:pt idx="2577">
                  <c:v>36599</c:v>
                </c:pt>
                <c:pt idx="2578">
                  <c:v>36600</c:v>
                </c:pt>
                <c:pt idx="2579">
                  <c:v>36601</c:v>
                </c:pt>
                <c:pt idx="2580">
                  <c:v>36602</c:v>
                </c:pt>
                <c:pt idx="2581">
                  <c:v>36605</c:v>
                </c:pt>
                <c:pt idx="2582">
                  <c:v>36606</c:v>
                </c:pt>
                <c:pt idx="2583">
                  <c:v>36607</c:v>
                </c:pt>
                <c:pt idx="2584">
                  <c:v>36608</c:v>
                </c:pt>
                <c:pt idx="2585">
                  <c:v>36609</c:v>
                </c:pt>
                <c:pt idx="2586">
                  <c:v>36612</c:v>
                </c:pt>
                <c:pt idx="2587">
                  <c:v>36613</c:v>
                </c:pt>
                <c:pt idx="2588">
                  <c:v>36614</c:v>
                </c:pt>
                <c:pt idx="2589">
                  <c:v>36615</c:v>
                </c:pt>
                <c:pt idx="2590">
                  <c:v>36616</c:v>
                </c:pt>
                <c:pt idx="2591">
                  <c:v>36619</c:v>
                </c:pt>
                <c:pt idx="2592">
                  <c:v>36620</c:v>
                </c:pt>
                <c:pt idx="2593">
                  <c:v>36621</c:v>
                </c:pt>
                <c:pt idx="2594">
                  <c:v>36622</c:v>
                </c:pt>
                <c:pt idx="2595">
                  <c:v>36623</c:v>
                </c:pt>
                <c:pt idx="2596">
                  <c:v>36626</c:v>
                </c:pt>
                <c:pt idx="2597">
                  <c:v>36627</c:v>
                </c:pt>
                <c:pt idx="2598">
                  <c:v>36628</c:v>
                </c:pt>
                <c:pt idx="2599">
                  <c:v>36629</c:v>
                </c:pt>
                <c:pt idx="2600">
                  <c:v>36630</c:v>
                </c:pt>
                <c:pt idx="2601">
                  <c:v>36633</c:v>
                </c:pt>
                <c:pt idx="2602">
                  <c:v>36634</c:v>
                </c:pt>
                <c:pt idx="2603">
                  <c:v>36635</c:v>
                </c:pt>
                <c:pt idx="2604">
                  <c:v>36636</c:v>
                </c:pt>
                <c:pt idx="2605">
                  <c:v>36640</c:v>
                </c:pt>
                <c:pt idx="2606">
                  <c:v>36641</c:v>
                </c:pt>
                <c:pt idx="2607">
                  <c:v>36642</c:v>
                </c:pt>
                <c:pt idx="2608">
                  <c:v>36643</c:v>
                </c:pt>
                <c:pt idx="2609">
                  <c:v>36644</c:v>
                </c:pt>
                <c:pt idx="2610">
                  <c:v>36647</c:v>
                </c:pt>
                <c:pt idx="2611">
                  <c:v>36648</c:v>
                </c:pt>
                <c:pt idx="2612">
                  <c:v>36649</c:v>
                </c:pt>
                <c:pt idx="2613">
                  <c:v>36650</c:v>
                </c:pt>
                <c:pt idx="2614">
                  <c:v>36651</c:v>
                </c:pt>
                <c:pt idx="2615">
                  <c:v>36654</c:v>
                </c:pt>
                <c:pt idx="2616">
                  <c:v>36655</c:v>
                </c:pt>
                <c:pt idx="2617">
                  <c:v>36656</c:v>
                </c:pt>
                <c:pt idx="2618">
                  <c:v>36657</c:v>
                </c:pt>
                <c:pt idx="2619">
                  <c:v>36658</c:v>
                </c:pt>
                <c:pt idx="2620">
                  <c:v>36661</c:v>
                </c:pt>
                <c:pt idx="2621">
                  <c:v>36662</c:v>
                </c:pt>
                <c:pt idx="2622">
                  <c:v>36663</c:v>
                </c:pt>
                <c:pt idx="2623">
                  <c:v>36664</c:v>
                </c:pt>
                <c:pt idx="2624">
                  <c:v>36665</c:v>
                </c:pt>
                <c:pt idx="2625">
                  <c:v>36668</c:v>
                </c:pt>
                <c:pt idx="2626">
                  <c:v>36669</c:v>
                </c:pt>
                <c:pt idx="2627">
                  <c:v>36670</c:v>
                </c:pt>
                <c:pt idx="2628">
                  <c:v>36671</c:v>
                </c:pt>
                <c:pt idx="2629">
                  <c:v>36672</c:v>
                </c:pt>
                <c:pt idx="2630">
                  <c:v>36676</c:v>
                </c:pt>
                <c:pt idx="2631">
                  <c:v>36677</c:v>
                </c:pt>
                <c:pt idx="2632">
                  <c:v>36678</c:v>
                </c:pt>
                <c:pt idx="2633">
                  <c:v>36679</c:v>
                </c:pt>
                <c:pt idx="2634">
                  <c:v>36682</c:v>
                </c:pt>
                <c:pt idx="2635">
                  <c:v>36683</c:v>
                </c:pt>
                <c:pt idx="2636">
                  <c:v>36684</c:v>
                </c:pt>
                <c:pt idx="2637">
                  <c:v>36685</c:v>
                </c:pt>
                <c:pt idx="2638">
                  <c:v>36686</c:v>
                </c:pt>
                <c:pt idx="2639">
                  <c:v>36689</c:v>
                </c:pt>
                <c:pt idx="2640">
                  <c:v>36690</c:v>
                </c:pt>
                <c:pt idx="2641">
                  <c:v>36691</c:v>
                </c:pt>
                <c:pt idx="2642">
                  <c:v>36692</c:v>
                </c:pt>
                <c:pt idx="2643">
                  <c:v>36693</c:v>
                </c:pt>
                <c:pt idx="2644">
                  <c:v>36696</c:v>
                </c:pt>
                <c:pt idx="2645">
                  <c:v>36697</c:v>
                </c:pt>
                <c:pt idx="2646">
                  <c:v>36698</c:v>
                </c:pt>
                <c:pt idx="2647">
                  <c:v>36699</c:v>
                </c:pt>
                <c:pt idx="2648">
                  <c:v>36700</c:v>
                </c:pt>
                <c:pt idx="2649">
                  <c:v>36703</c:v>
                </c:pt>
                <c:pt idx="2650">
                  <c:v>36704</c:v>
                </c:pt>
                <c:pt idx="2651">
                  <c:v>36705</c:v>
                </c:pt>
                <c:pt idx="2652">
                  <c:v>36706</c:v>
                </c:pt>
                <c:pt idx="2653">
                  <c:v>36707</c:v>
                </c:pt>
                <c:pt idx="2654">
                  <c:v>36710</c:v>
                </c:pt>
                <c:pt idx="2655">
                  <c:v>36712</c:v>
                </c:pt>
                <c:pt idx="2656">
                  <c:v>36713</c:v>
                </c:pt>
                <c:pt idx="2657">
                  <c:v>36714</c:v>
                </c:pt>
                <c:pt idx="2658">
                  <c:v>36717</c:v>
                </c:pt>
                <c:pt idx="2659">
                  <c:v>36718</c:v>
                </c:pt>
                <c:pt idx="2660">
                  <c:v>36719</c:v>
                </c:pt>
                <c:pt idx="2661">
                  <c:v>36720</c:v>
                </c:pt>
                <c:pt idx="2662">
                  <c:v>36721</c:v>
                </c:pt>
                <c:pt idx="2663">
                  <c:v>36724</c:v>
                </c:pt>
                <c:pt idx="2664">
                  <c:v>36725</c:v>
                </c:pt>
                <c:pt idx="2665">
                  <c:v>36726</c:v>
                </c:pt>
                <c:pt idx="2666">
                  <c:v>36727</c:v>
                </c:pt>
                <c:pt idx="2667">
                  <c:v>36728</c:v>
                </c:pt>
                <c:pt idx="2668">
                  <c:v>36731</c:v>
                </c:pt>
                <c:pt idx="2669">
                  <c:v>36732</c:v>
                </c:pt>
                <c:pt idx="2670">
                  <c:v>36733</c:v>
                </c:pt>
                <c:pt idx="2671">
                  <c:v>36734</c:v>
                </c:pt>
                <c:pt idx="2672">
                  <c:v>36735</c:v>
                </c:pt>
                <c:pt idx="2673">
                  <c:v>36738</c:v>
                </c:pt>
                <c:pt idx="2674">
                  <c:v>36739</c:v>
                </c:pt>
                <c:pt idx="2675">
                  <c:v>36740</c:v>
                </c:pt>
                <c:pt idx="2676">
                  <c:v>36741</c:v>
                </c:pt>
                <c:pt idx="2677">
                  <c:v>36742</c:v>
                </c:pt>
                <c:pt idx="2678">
                  <c:v>36745</c:v>
                </c:pt>
                <c:pt idx="2679">
                  <c:v>36746</c:v>
                </c:pt>
                <c:pt idx="2680">
                  <c:v>36747</c:v>
                </c:pt>
                <c:pt idx="2681">
                  <c:v>36748</c:v>
                </c:pt>
                <c:pt idx="2682">
                  <c:v>36749</c:v>
                </c:pt>
                <c:pt idx="2683">
                  <c:v>36752</c:v>
                </c:pt>
                <c:pt idx="2684">
                  <c:v>36753</c:v>
                </c:pt>
                <c:pt idx="2685">
                  <c:v>36754</c:v>
                </c:pt>
                <c:pt idx="2686">
                  <c:v>36755</c:v>
                </c:pt>
                <c:pt idx="2687">
                  <c:v>36756</c:v>
                </c:pt>
                <c:pt idx="2688">
                  <c:v>36759</c:v>
                </c:pt>
                <c:pt idx="2689">
                  <c:v>36760</c:v>
                </c:pt>
                <c:pt idx="2690">
                  <c:v>36761</c:v>
                </c:pt>
                <c:pt idx="2691">
                  <c:v>36762</c:v>
                </c:pt>
                <c:pt idx="2692">
                  <c:v>36763</c:v>
                </c:pt>
                <c:pt idx="2693">
                  <c:v>36766</c:v>
                </c:pt>
                <c:pt idx="2694">
                  <c:v>36767</c:v>
                </c:pt>
                <c:pt idx="2695">
                  <c:v>36768</c:v>
                </c:pt>
                <c:pt idx="2696">
                  <c:v>36769</c:v>
                </c:pt>
                <c:pt idx="2697">
                  <c:v>36770</c:v>
                </c:pt>
                <c:pt idx="2698">
                  <c:v>36774</c:v>
                </c:pt>
                <c:pt idx="2699">
                  <c:v>36775</c:v>
                </c:pt>
                <c:pt idx="2700">
                  <c:v>36776</c:v>
                </c:pt>
                <c:pt idx="2701">
                  <c:v>36777</c:v>
                </c:pt>
                <c:pt idx="2702">
                  <c:v>36780</c:v>
                </c:pt>
                <c:pt idx="2703">
                  <c:v>36781</c:v>
                </c:pt>
                <c:pt idx="2704">
                  <c:v>36782</c:v>
                </c:pt>
                <c:pt idx="2705">
                  <c:v>36783</c:v>
                </c:pt>
                <c:pt idx="2706">
                  <c:v>36784</c:v>
                </c:pt>
                <c:pt idx="2707">
                  <c:v>36787</c:v>
                </c:pt>
                <c:pt idx="2708">
                  <c:v>36788</c:v>
                </c:pt>
                <c:pt idx="2709">
                  <c:v>36789</c:v>
                </c:pt>
                <c:pt idx="2710">
                  <c:v>36790</c:v>
                </c:pt>
                <c:pt idx="2711">
                  <c:v>36791</c:v>
                </c:pt>
                <c:pt idx="2712">
                  <c:v>36794</c:v>
                </c:pt>
                <c:pt idx="2713">
                  <c:v>36795</c:v>
                </c:pt>
                <c:pt idx="2714">
                  <c:v>36796</c:v>
                </c:pt>
                <c:pt idx="2715">
                  <c:v>36797</c:v>
                </c:pt>
                <c:pt idx="2716">
                  <c:v>36798</c:v>
                </c:pt>
                <c:pt idx="2717">
                  <c:v>36801</c:v>
                </c:pt>
                <c:pt idx="2718">
                  <c:v>36802</c:v>
                </c:pt>
                <c:pt idx="2719">
                  <c:v>36803</c:v>
                </c:pt>
                <c:pt idx="2720">
                  <c:v>36804</c:v>
                </c:pt>
                <c:pt idx="2721">
                  <c:v>36805</c:v>
                </c:pt>
                <c:pt idx="2722">
                  <c:v>36808</c:v>
                </c:pt>
                <c:pt idx="2723">
                  <c:v>36809</c:v>
                </c:pt>
                <c:pt idx="2724">
                  <c:v>36810</c:v>
                </c:pt>
                <c:pt idx="2725">
                  <c:v>36811</c:v>
                </c:pt>
                <c:pt idx="2726">
                  <c:v>36812</c:v>
                </c:pt>
                <c:pt idx="2727">
                  <c:v>36815</c:v>
                </c:pt>
                <c:pt idx="2728">
                  <c:v>36816</c:v>
                </c:pt>
                <c:pt idx="2729">
                  <c:v>36817</c:v>
                </c:pt>
                <c:pt idx="2730">
                  <c:v>36818</c:v>
                </c:pt>
                <c:pt idx="2731">
                  <c:v>36819</c:v>
                </c:pt>
                <c:pt idx="2732">
                  <c:v>36822</c:v>
                </c:pt>
                <c:pt idx="2733">
                  <c:v>36823</c:v>
                </c:pt>
                <c:pt idx="2734">
                  <c:v>36824</c:v>
                </c:pt>
                <c:pt idx="2735">
                  <c:v>36825</c:v>
                </c:pt>
                <c:pt idx="2736">
                  <c:v>36826</c:v>
                </c:pt>
                <c:pt idx="2737">
                  <c:v>36829</c:v>
                </c:pt>
                <c:pt idx="2738">
                  <c:v>36830</c:v>
                </c:pt>
                <c:pt idx="2739">
                  <c:v>36831</c:v>
                </c:pt>
                <c:pt idx="2740">
                  <c:v>36832</c:v>
                </c:pt>
                <c:pt idx="2741">
                  <c:v>36833</c:v>
                </c:pt>
                <c:pt idx="2742">
                  <c:v>36836</c:v>
                </c:pt>
                <c:pt idx="2743">
                  <c:v>36837</c:v>
                </c:pt>
                <c:pt idx="2744">
                  <c:v>36838</c:v>
                </c:pt>
                <c:pt idx="2745">
                  <c:v>36839</c:v>
                </c:pt>
                <c:pt idx="2746">
                  <c:v>36840</c:v>
                </c:pt>
                <c:pt idx="2747">
                  <c:v>36843</c:v>
                </c:pt>
                <c:pt idx="2748">
                  <c:v>36844</c:v>
                </c:pt>
                <c:pt idx="2749">
                  <c:v>36845</c:v>
                </c:pt>
                <c:pt idx="2750">
                  <c:v>36846</c:v>
                </c:pt>
                <c:pt idx="2751">
                  <c:v>36847</c:v>
                </c:pt>
                <c:pt idx="2752">
                  <c:v>36850</c:v>
                </c:pt>
                <c:pt idx="2753">
                  <c:v>36851</c:v>
                </c:pt>
                <c:pt idx="2754">
                  <c:v>36852</c:v>
                </c:pt>
                <c:pt idx="2755">
                  <c:v>36854</c:v>
                </c:pt>
                <c:pt idx="2756">
                  <c:v>36857</c:v>
                </c:pt>
                <c:pt idx="2757">
                  <c:v>36858</c:v>
                </c:pt>
                <c:pt idx="2758">
                  <c:v>36859</c:v>
                </c:pt>
                <c:pt idx="2759">
                  <c:v>36860</c:v>
                </c:pt>
                <c:pt idx="2760">
                  <c:v>36861</c:v>
                </c:pt>
                <c:pt idx="2761">
                  <c:v>36864</c:v>
                </c:pt>
                <c:pt idx="2762">
                  <c:v>36865</c:v>
                </c:pt>
                <c:pt idx="2763">
                  <c:v>36866</c:v>
                </c:pt>
                <c:pt idx="2764">
                  <c:v>36867</c:v>
                </c:pt>
                <c:pt idx="2765">
                  <c:v>36868</c:v>
                </c:pt>
                <c:pt idx="2766">
                  <c:v>36871</c:v>
                </c:pt>
                <c:pt idx="2767">
                  <c:v>36872</c:v>
                </c:pt>
                <c:pt idx="2768">
                  <c:v>36873</c:v>
                </c:pt>
                <c:pt idx="2769">
                  <c:v>36874</c:v>
                </c:pt>
                <c:pt idx="2770">
                  <c:v>36875</c:v>
                </c:pt>
                <c:pt idx="2771">
                  <c:v>36878</c:v>
                </c:pt>
                <c:pt idx="2772">
                  <c:v>36879</c:v>
                </c:pt>
                <c:pt idx="2773">
                  <c:v>36880</c:v>
                </c:pt>
                <c:pt idx="2774">
                  <c:v>36881</c:v>
                </c:pt>
                <c:pt idx="2775">
                  <c:v>36882</c:v>
                </c:pt>
                <c:pt idx="2776">
                  <c:v>36886</c:v>
                </c:pt>
                <c:pt idx="2777">
                  <c:v>36887</c:v>
                </c:pt>
                <c:pt idx="2778">
                  <c:v>36888</c:v>
                </c:pt>
                <c:pt idx="2779">
                  <c:v>36889</c:v>
                </c:pt>
                <c:pt idx="2780">
                  <c:v>36893</c:v>
                </c:pt>
                <c:pt idx="2781">
                  <c:v>36894</c:v>
                </c:pt>
                <c:pt idx="2782">
                  <c:v>36895</c:v>
                </c:pt>
                <c:pt idx="2783">
                  <c:v>36896</c:v>
                </c:pt>
                <c:pt idx="2784">
                  <c:v>36899</c:v>
                </c:pt>
                <c:pt idx="2785">
                  <c:v>36900</c:v>
                </c:pt>
                <c:pt idx="2786">
                  <c:v>36901</c:v>
                </c:pt>
                <c:pt idx="2787">
                  <c:v>36902</c:v>
                </c:pt>
                <c:pt idx="2788">
                  <c:v>36903</c:v>
                </c:pt>
                <c:pt idx="2789">
                  <c:v>36907</c:v>
                </c:pt>
                <c:pt idx="2790">
                  <c:v>36908</c:v>
                </c:pt>
                <c:pt idx="2791">
                  <c:v>36909</c:v>
                </c:pt>
                <c:pt idx="2792">
                  <c:v>36910</c:v>
                </c:pt>
                <c:pt idx="2793">
                  <c:v>36913</c:v>
                </c:pt>
                <c:pt idx="2794">
                  <c:v>36914</c:v>
                </c:pt>
                <c:pt idx="2795">
                  <c:v>36915</c:v>
                </c:pt>
                <c:pt idx="2796">
                  <c:v>36916</c:v>
                </c:pt>
                <c:pt idx="2797">
                  <c:v>36917</c:v>
                </c:pt>
                <c:pt idx="2798">
                  <c:v>36920</c:v>
                </c:pt>
                <c:pt idx="2799">
                  <c:v>36921</c:v>
                </c:pt>
                <c:pt idx="2800">
                  <c:v>36922</c:v>
                </c:pt>
                <c:pt idx="2801">
                  <c:v>36923</c:v>
                </c:pt>
                <c:pt idx="2802">
                  <c:v>36924</c:v>
                </c:pt>
                <c:pt idx="2803">
                  <c:v>36927</c:v>
                </c:pt>
                <c:pt idx="2804">
                  <c:v>36928</c:v>
                </c:pt>
                <c:pt idx="2805">
                  <c:v>36929</c:v>
                </c:pt>
                <c:pt idx="2806">
                  <c:v>36930</c:v>
                </c:pt>
                <c:pt idx="2807">
                  <c:v>36931</c:v>
                </c:pt>
                <c:pt idx="2808">
                  <c:v>36934</c:v>
                </c:pt>
                <c:pt idx="2809">
                  <c:v>36935</c:v>
                </c:pt>
                <c:pt idx="2810">
                  <c:v>36936</c:v>
                </c:pt>
                <c:pt idx="2811">
                  <c:v>36937</c:v>
                </c:pt>
                <c:pt idx="2812">
                  <c:v>36938</c:v>
                </c:pt>
                <c:pt idx="2813">
                  <c:v>36942</c:v>
                </c:pt>
                <c:pt idx="2814">
                  <c:v>36943</c:v>
                </c:pt>
                <c:pt idx="2815">
                  <c:v>36944</c:v>
                </c:pt>
                <c:pt idx="2816">
                  <c:v>36945</c:v>
                </c:pt>
                <c:pt idx="2817">
                  <c:v>36948</c:v>
                </c:pt>
                <c:pt idx="2818">
                  <c:v>36949</c:v>
                </c:pt>
                <c:pt idx="2819">
                  <c:v>36950</c:v>
                </c:pt>
                <c:pt idx="2820">
                  <c:v>36951</c:v>
                </c:pt>
                <c:pt idx="2821">
                  <c:v>36952</c:v>
                </c:pt>
                <c:pt idx="2822">
                  <c:v>36955</c:v>
                </c:pt>
                <c:pt idx="2823">
                  <c:v>36956</c:v>
                </c:pt>
                <c:pt idx="2824">
                  <c:v>36957</c:v>
                </c:pt>
                <c:pt idx="2825">
                  <c:v>36958</c:v>
                </c:pt>
                <c:pt idx="2826">
                  <c:v>36959</c:v>
                </c:pt>
                <c:pt idx="2827">
                  <c:v>36962</c:v>
                </c:pt>
                <c:pt idx="2828">
                  <c:v>36963</c:v>
                </c:pt>
                <c:pt idx="2829">
                  <c:v>36964</c:v>
                </c:pt>
                <c:pt idx="2830">
                  <c:v>36965</c:v>
                </c:pt>
                <c:pt idx="2831">
                  <c:v>36966</c:v>
                </c:pt>
                <c:pt idx="2832">
                  <c:v>36969</c:v>
                </c:pt>
                <c:pt idx="2833">
                  <c:v>36970</c:v>
                </c:pt>
                <c:pt idx="2834">
                  <c:v>36971</c:v>
                </c:pt>
                <c:pt idx="2835">
                  <c:v>36972</c:v>
                </c:pt>
                <c:pt idx="2836">
                  <c:v>36973</c:v>
                </c:pt>
                <c:pt idx="2837">
                  <c:v>36976</c:v>
                </c:pt>
                <c:pt idx="2838">
                  <c:v>36977</c:v>
                </c:pt>
                <c:pt idx="2839">
                  <c:v>36978</c:v>
                </c:pt>
                <c:pt idx="2840">
                  <c:v>36979</c:v>
                </c:pt>
                <c:pt idx="2841">
                  <c:v>36980</c:v>
                </c:pt>
                <c:pt idx="2842">
                  <c:v>36983</c:v>
                </c:pt>
                <c:pt idx="2843">
                  <c:v>36984</c:v>
                </c:pt>
                <c:pt idx="2844">
                  <c:v>36985</c:v>
                </c:pt>
                <c:pt idx="2845">
                  <c:v>36986</c:v>
                </c:pt>
                <c:pt idx="2846">
                  <c:v>36987</c:v>
                </c:pt>
                <c:pt idx="2847">
                  <c:v>36990</c:v>
                </c:pt>
                <c:pt idx="2848">
                  <c:v>36991</c:v>
                </c:pt>
                <c:pt idx="2849">
                  <c:v>36992</c:v>
                </c:pt>
                <c:pt idx="2850">
                  <c:v>36993</c:v>
                </c:pt>
                <c:pt idx="2851">
                  <c:v>36997</c:v>
                </c:pt>
                <c:pt idx="2852">
                  <c:v>36998</c:v>
                </c:pt>
                <c:pt idx="2853">
                  <c:v>36999</c:v>
                </c:pt>
                <c:pt idx="2854">
                  <c:v>37000</c:v>
                </c:pt>
                <c:pt idx="2855">
                  <c:v>37001</c:v>
                </c:pt>
                <c:pt idx="2856">
                  <c:v>37004</c:v>
                </c:pt>
                <c:pt idx="2857">
                  <c:v>37005</c:v>
                </c:pt>
                <c:pt idx="2858">
                  <c:v>37006</c:v>
                </c:pt>
                <c:pt idx="2859">
                  <c:v>37007</c:v>
                </c:pt>
                <c:pt idx="2860">
                  <c:v>37008</c:v>
                </c:pt>
                <c:pt idx="2861">
                  <c:v>37011</c:v>
                </c:pt>
                <c:pt idx="2862">
                  <c:v>37012</c:v>
                </c:pt>
                <c:pt idx="2863">
                  <c:v>37013</c:v>
                </c:pt>
                <c:pt idx="2864">
                  <c:v>37014</c:v>
                </c:pt>
                <c:pt idx="2865">
                  <c:v>37015</c:v>
                </c:pt>
                <c:pt idx="2866">
                  <c:v>37018</c:v>
                </c:pt>
                <c:pt idx="2867">
                  <c:v>37019</c:v>
                </c:pt>
                <c:pt idx="2868">
                  <c:v>37020</c:v>
                </c:pt>
                <c:pt idx="2869">
                  <c:v>37021</c:v>
                </c:pt>
                <c:pt idx="2870">
                  <c:v>37022</c:v>
                </c:pt>
                <c:pt idx="2871">
                  <c:v>37025</c:v>
                </c:pt>
                <c:pt idx="2872">
                  <c:v>37026</c:v>
                </c:pt>
                <c:pt idx="2873">
                  <c:v>37027</c:v>
                </c:pt>
                <c:pt idx="2874">
                  <c:v>37028</c:v>
                </c:pt>
                <c:pt idx="2875">
                  <c:v>37029</c:v>
                </c:pt>
                <c:pt idx="2876">
                  <c:v>37032</c:v>
                </c:pt>
                <c:pt idx="2877">
                  <c:v>37033</c:v>
                </c:pt>
                <c:pt idx="2878">
                  <c:v>37034</c:v>
                </c:pt>
                <c:pt idx="2879">
                  <c:v>37035</c:v>
                </c:pt>
                <c:pt idx="2880">
                  <c:v>37036</c:v>
                </c:pt>
                <c:pt idx="2881">
                  <c:v>37040</c:v>
                </c:pt>
                <c:pt idx="2882">
                  <c:v>37041</c:v>
                </c:pt>
                <c:pt idx="2883">
                  <c:v>37042</c:v>
                </c:pt>
                <c:pt idx="2884">
                  <c:v>37043</c:v>
                </c:pt>
                <c:pt idx="2885">
                  <c:v>37046</c:v>
                </c:pt>
                <c:pt idx="2886">
                  <c:v>37047</c:v>
                </c:pt>
                <c:pt idx="2887">
                  <c:v>37048</c:v>
                </c:pt>
                <c:pt idx="2888">
                  <c:v>37049</c:v>
                </c:pt>
                <c:pt idx="2889">
                  <c:v>37050</c:v>
                </c:pt>
                <c:pt idx="2890">
                  <c:v>37053</c:v>
                </c:pt>
                <c:pt idx="2891">
                  <c:v>37054</c:v>
                </c:pt>
                <c:pt idx="2892">
                  <c:v>37055</c:v>
                </c:pt>
                <c:pt idx="2893">
                  <c:v>37056</c:v>
                </c:pt>
                <c:pt idx="2894">
                  <c:v>37057</c:v>
                </c:pt>
                <c:pt idx="2895">
                  <c:v>37060</c:v>
                </c:pt>
                <c:pt idx="2896">
                  <c:v>37061</c:v>
                </c:pt>
                <c:pt idx="2897">
                  <c:v>37062</c:v>
                </c:pt>
                <c:pt idx="2898">
                  <c:v>37063</c:v>
                </c:pt>
                <c:pt idx="2899">
                  <c:v>37064</c:v>
                </c:pt>
                <c:pt idx="2900">
                  <c:v>37067</c:v>
                </c:pt>
                <c:pt idx="2901">
                  <c:v>37068</c:v>
                </c:pt>
                <c:pt idx="2902">
                  <c:v>37069</c:v>
                </c:pt>
                <c:pt idx="2903">
                  <c:v>37070</c:v>
                </c:pt>
                <c:pt idx="2904">
                  <c:v>37071</c:v>
                </c:pt>
                <c:pt idx="2905">
                  <c:v>37074</c:v>
                </c:pt>
                <c:pt idx="2906">
                  <c:v>37075</c:v>
                </c:pt>
                <c:pt idx="2907">
                  <c:v>37077</c:v>
                </c:pt>
                <c:pt idx="2908">
                  <c:v>37078</c:v>
                </c:pt>
                <c:pt idx="2909">
                  <c:v>37081</c:v>
                </c:pt>
                <c:pt idx="2910">
                  <c:v>37082</c:v>
                </c:pt>
                <c:pt idx="2911">
                  <c:v>37083</c:v>
                </c:pt>
                <c:pt idx="2912">
                  <c:v>37084</c:v>
                </c:pt>
                <c:pt idx="2913">
                  <c:v>37085</c:v>
                </c:pt>
                <c:pt idx="2914">
                  <c:v>37088</c:v>
                </c:pt>
                <c:pt idx="2915">
                  <c:v>37089</c:v>
                </c:pt>
                <c:pt idx="2916">
                  <c:v>37090</c:v>
                </c:pt>
                <c:pt idx="2917">
                  <c:v>37091</c:v>
                </c:pt>
                <c:pt idx="2918">
                  <c:v>37092</c:v>
                </c:pt>
                <c:pt idx="2919">
                  <c:v>37095</c:v>
                </c:pt>
                <c:pt idx="2920">
                  <c:v>37096</c:v>
                </c:pt>
                <c:pt idx="2921">
                  <c:v>37097</c:v>
                </c:pt>
                <c:pt idx="2922">
                  <c:v>37098</c:v>
                </c:pt>
                <c:pt idx="2923">
                  <c:v>37099</c:v>
                </c:pt>
                <c:pt idx="2924">
                  <c:v>37102</c:v>
                </c:pt>
                <c:pt idx="2925">
                  <c:v>37103</c:v>
                </c:pt>
                <c:pt idx="2926">
                  <c:v>37104</c:v>
                </c:pt>
                <c:pt idx="2927">
                  <c:v>37105</c:v>
                </c:pt>
                <c:pt idx="2928">
                  <c:v>37106</c:v>
                </c:pt>
                <c:pt idx="2929">
                  <c:v>37109</c:v>
                </c:pt>
                <c:pt idx="2930">
                  <c:v>37110</c:v>
                </c:pt>
                <c:pt idx="2931">
                  <c:v>37111</c:v>
                </c:pt>
                <c:pt idx="2932">
                  <c:v>37112</c:v>
                </c:pt>
                <c:pt idx="2933">
                  <c:v>37113</c:v>
                </c:pt>
                <c:pt idx="2934">
                  <c:v>37116</c:v>
                </c:pt>
                <c:pt idx="2935">
                  <c:v>37117</c:v>
                </c:pt>
                <c:pt idx="2936">
                  <c:v>37118</c:v>
                </c:pt>
                <c:pt idx="2937">
                  <c:v>37119</c:v>
                </c:pt>
                <c:pt idx="2938">
                  <c:v>37120</c:v>
                </c:pt>
                <c:pt idx="2939">
                  <c:v>37123</c:v>
                </c:pt>
                <c:pt idx="2940">
                  <c:v>37124</c:v>
                </c:pt>
                <c:pt idx="2941">
                  <c:v>37125</c:v>
                </c:pt>
                <c:pt idx="2942">
                  <c:v>37126</c:v>
                </c:pt>
                <c:pt idx="2943">
                  <c:v>37127</c:v>
                </c:pt>
                <c:pt idx="2944">
                  <c:v>37130</c:v>
                </c:pt>
                <c:pt idx="2945">
                  <c:v>37131</c:v>
                </c:pt>
                <c:pt idx="2946">
                  <c:v>37132</c:v>
                </c:pt>
                <c:pt idx="2947">
                  <c:v>37133</c:v>
                </c:pt>
                <c:pt idx="2948">
                  <c:v>37134</c:v>
                </c:pt>
                <c:pt idx="2949">
                  <c:v>37138</c:v>
                </c:pt>
                <c:pt idx="2950">
                  <c:v>37139</c:v>
                </c:pt>
                <c:pt idx="2951">
                  <c:v>37140</c:v>
                </c:pt>
                <c:pt idx="2952">
                  <c:v>37141</c:v>
                </c:pt>
                <c:pt idx="2953">
                  <c:v>37144</c:v>
                </c:pt>
                <c:pt idx="2954">
                  <c:v>37151</c:v>
                </c:pt>
                <c:pt idx="2955">
                  <c:v>37152</c:v>
                </c:pt>
                <c:pt idx="2956">
                  <c:v>37153</c:v>
                </c:pt>
                <c:pt idx="2957">
                  <c:v>37154</c:v>
                </c:pt>
                <c:pt idx="2958">
                  <c:v>37155</c:v>
                </c:pt>
                <c:pt idx="2959">
                  <c:v>37158</c:v>
                </c:pt>
                <c:pt idx="2960">
                  <c:v>37159</c:v>
                </c:pt>
                <c:pt idx="2961">
                  <c:v>37160</c:v>
                </c:pt>
                <c:pt idx="2962">
                  <c:v>37161</c:v>
                </c:pt>
                <c:pt idx="2963">
                  <c:v>37162</c:v>
                </c:pt>
                <c:pt idx="2964">
                  <c:v>37165</c:v>
                </c:pt>
                <c:pt idx="2965">
                  <c:v>37166</c:v>
                </c:pt>
                <c:pt idx="2966">
                  <c:v>37167</c:v>
                </c:pt>
                <c:pt idx="2967">
                  <c:v>37168</c:v>
                </c:pt>
                <c:pt idx="2968">
                  <c:v>37169</c:v>
                </c:pt>
                <c:pt idx="2969">
                  <c:v>37172</c:v>
                </c:pt>
                <c:pt idx="2970">
                  <c:v>37173</c:v>
                </c:pt>
                <c:pt idx="2971">
                  <c:v>37174</c:v>
                </c:pt>
                <c:pt idx="2972">
                  <c:v>37175</c:v>
                </c:pt>
                <c:pt idx="2973">
                  <c:v>37176</c:v>
                </c:pt>
                <c:pt idx="2974">
                  <c:v>37179</c:v>
                </c:pt>
                <c:pt idx="2975">
                  <c:v>37180</c:v>
                </c:pt>
                <c:pt idx="2976">
                  <c:v>37181</c:v>
                </c:pt>
                <c:pt idx="2977">
                  <c:v>37182</c:v>
                </c:pt>
                <c:pt idx="2978">
                  <c:v>37183</c:v>
                </c:pt>
                <c:pt idx="2979">
                  <c:v>37186</c:v>
                </c:pt>
                <c:pt idx="2980">
                  <c:v>37187</c:v>
                </c:pt>
                <c:pt idx="2981">
                  <c:v>37188</c:v>
                </c:pt>
                <c:pt idx="2982">
                  <c:v>37189</c:v>
                </c:pt>
                <c:pt idx="2983">
                  <c:v>37190</c:v>
                </c:pt>
                <c:pt idx="2984">
                  <c:v>37193</c:v>
                </c:pt>
                <c:pt idx="2985">
                  <c:v>37194</c:v>
                </c:pt>
                <c:pt idx="2986">
                  <c:v>37195</c:v>
                </c:pt>
                <c:pt idx="2987">
                  <c:v>37196</c:v>
                </c:pt>
                <c:pt idx="2988">
                  <c:v>37197</c:v>
                </c:pt>
                <c:pt idx="2989">
                  <c:v>37200</c:v>
                </c:pt>
                <c:pt idx="2990">
                  <c:v>37201</c:v>
                </c:pt>
                <c:pt idx="2991">
                  <c:v>37202</c:v>
                </c:pt>
                <c:pt idx="2992">
                  <c:v>37203</c:v>
                </c:pt>
                <c:pt idx="2993">
                  <c:v>37204</c:v>
                </c:pt>
                <c:pt idx="2994">
                  <c:v>37207</c:v>
                </c:pt>
                <c:pt idx="2995">
                  <c:v>37208</c:v>
                </c:pt>
                <c:pt idx="2996">
                  <c:v>37209</c:v>
                </c:pt>
                <c:pt idx="2997">
                  <c:v>37210</c:v>
                </c:pt>
                <c:pt idx="2998">
                  <c:v>37211</c:v>
                </c:pt>
                <c:pt idx="2999">
                  <c:v>37214</c:v>
                </c:pt>
                <c:pt idx="3000">
                  <c:v>37215</c:v>
                </c:pt>
                <c:pt idx="3001">
                  <c:v>37216</c:v>
                </c:pt>
                <c:pt idx="3002">
                  <c:v>37218</c:v>
                </c:pt>
                <c:pt idx="3003">
                  <c:v>37221</c:v>
                </c:pt>
                <c:pt idx="3004">
                  <c:v>37222</c:v>
                </c:pt>
                <c:pt idx="3005">
                  <c:v>37223</c:v>
                </c:pt>
                <c:pt idx="3006">
                  <c:v>37224</c:v>
                </c:pt>
                <c:pt idx="3007">
                  <c:v>37225</c:v>
                </c:pt>
                <c:pt idx="3008">
                  <c:v>37228</c:v>
                </c:pt>
                <c:pt idx="3009">
                  <c:v>37229</c:v>
                </c:pt>
                <c:pt idx="3010">
                  <c:v>37230</c:v>
                </c:pt>
                <c:pt idx="3011">
                  <c:v>37231</c:v>
                </c:pt>
                <c:pt idx="3012">
                  <c:v>37232</c:v>
                </c:pt>
                <c:pt idx="3013">
                  <c:v>37235</c:v>
                </c:pt>
                <c:pt idx="3014">
                  <c:v>37236</c:v>
                </c:pt>
                <c:pt idx="3015">
                  <c:v>37237</c:v>
                </c:pt>
                <c:pt idx="3016">
                  <c:v>37238</c:v>
                </c:pt>
                <c:pt idx="3017">
                  <c:v>37239</c:v>
                </c:pt>
                <c:pt idx="3018">
                  <c:v>37242</c:v>
                </c:pt>
                <c:pt idx="3019">
                  <c:v>37243</c:v>
                </c:pt>
                <c:pt idx="3020">
                  <c:v>37244</c:v>
                </c:pt>
                <c:pt idx="3021">
                  <c:v>37245</c:v>
                </c:pt>
                <c:pt idx="3022">
                  <c:v>37246</c:v>
                </c:pt>
                <c:pt idx="3023">
                  <c:v>37249</c:v>
                </c:pt>
                <c:pt idx="3024">
                  <c:v>37251</c:v>
                </c:pt>
                <c:pt idx="3025">
                  <c:v>37252</c:v>
                </c:pt>
                <c:pt idx="3026">
                  <c:v>37253</c:v>
                </c:pt>
                <c:pt idx="3027">
                  <c:v>37256</c:v>
                </c:pt>
                <c:pt idx="3028">
                  <c:v>37258</c:v>
                </c:pt>
                <c:pt idx="3029">
                  <c:v>37259</c:v>
                </c:pt>
                <c:pt idx="3030">
                  <c:v>37260</c:v>
                </c:pt>
                <c:pt idx="3031">
                  <c:v>37263</c:v>
                </c:pt>
                <c:pt idx="3032">
                  <c:v>37264</c:v>
                </c:pt>
                <c:pt idx="3033">
                  <c:v>37265</c:v>
                </c:pt>
                <c:pt idx="3034">
                  <c:v>37266</c:v>
                </c:pt>
                <c:pt idx="3035">
                  <c:v>37267</c:v>
                </c:pt>
                <c:pt idx="3036">
                  <c:v>37270</c:v>
                </c:pt>
                <c:pt idx="3037">
                  <c:v>37271</c:v>
                </c:pt>
                <c:pt idx="3038">
                  <c:v>37272</c:v>
                </c:pt>
                <c:pt idx="3039">
                  <c:v>37273</c:v>
                </c:pt>
                <c:pt idx="3040">
                  <c:v>37274</c:v>
                </c:pt>
                <c:pt idx="3041">
                  <c:v>37278</c:v>
                </c:pt>
                <c:pt idx="3042">
                  <c:v>37279</c:v>
                </c:pt>
                <c:pt idx="3043">
                  <c:v>37280</c:v>
                </c:pt>
                <c:pt idx="3044">
                  <c:v>37281</c:v>
                </c:pt>
                <c:pt idx="3045">
                  <c:v>37284</c:v>
                </c:pt>
                <c:pt idx="3046">
                  <c:v>37285</c:v>
                </c:pt>
                <c:pt idx="3047">
                  <c:v>37286</c:v>
                </c:pt>
                <c:pt idx="3048">
                  <c:v>37287</c:v>
                </c:pt>
                <c:pt idx="3049">
                  <c:v>37288</c:v>
                </c:pt>
                <c:pt idx="3050">
                  <c:v>37291</c:v>
                </c:pt>
                <c:pt idx="3051">
                  <c:v>37292</c:v>
                </c:pt>
                <c:pt idx="3052">
                  <c:v>37293</c:v>
                </c:pt>
                <c:pt idx="3053">
                  <c:v>37294</c:v>
                </c:pt>
                <c:pt idx="3054">
                  <c:v>37295</c:v>
                </c:pt>
                <c:pt idx="3055">
                  <c:v>37298</c:v>
                </c:pt>
                <c:pt idx="3056">
                  <c:v>37299</c:v>
                </c:pt>
                <c:pt idx="3057">
                  <c:v>37300</c:v>
                </c:pt>
                <c:pt idx="3058">
                  <c:v>37301</c:v>
                </c:pt>
                <c:pt idx="3059">
                  <c:v>37302</c:v>
                </c:pt>
                <c:pt idx="3060">
                  <c:v>37306</c:v>
                </c:pt>
                <c:pt idx="3061">
                  <c:v>37307</c:v>
                </c:pt>
                <c:pt idx="3062">
                  <c:v>37308</c:v>
                </c:pt>
                <c:pt idx="3063">
                  <c:v>37309</c:v>
                </c:pt>
                <c:pt idx="3064">
                  <c:v>37312</c:v>
                </c:pt>
                <c:pt idx="3065">
                  <c:v>37313</c:v>
                </c:pt>
                <c:pt idx="3066">
                  <c:v>37314</c:v>
                </c:pt>
                <c:pt idx="3067">
                  <c:v>37315</c:v>
                </c:pt>
                <c:pt idx="3068">
                  <c:v>37316</c:v>
                </c:pt>
                <c:pt idx="3069">
                  <c:v>37319</c:v>
                </c:pt>
                <c:pt idx="3070">
                  <c:v>37320</c:v>
                </c:pt>
                <c:pt idx="3071">
                  <c:v>37321</c:v>
                </c:pt>
                <c:pt idx="3072">
                  <c:v>37322</c:v>
                </c:pt>
                <c:pt idx="3073">
                  <c:v>37323</c:v>
                </c:pt>
                <c:pt idx="3074">
                  <c:v>37326</c:v>
                </c:pt>
                <c:pt idx="3075">
                  <c:v>37327</c:v>
                </c:pt>
                <c:pt idx="3076">
                  <c:v>37328</c:v>
                </c:pt>
                <c:pt idx="3077">
                  <c:v>37329</c:v>
                </c:pt>
                <c:pt idx="3078">
                  <c:v>37330</c:v>
                </c:pt>
                <c:pt idx="3079">
                  <c:v>37333</c:v>
                </c:pt>
                <c:pt idx="3080">
                  <c:v>37334</c:v>
                </c:pt>
                <c:pt idx="3081">
                  <c:v>37335</c:v>
                </c:pt>
                <c:pt idx="3082">
                  <c:v>37336</c:v>
                </c:pt>
                <c:pt idx="3083">
                  <c:v>37337</c:v>
                </c:pt>
                <c:pt idx="3084">
                  <c:v>37340</c:v>
                </c:pt>
                <c:pt idx="3085">
                  <c:v>37341</c:v>
                </c:pt>
                <c:pt idx="3086">
                  <c:v>37342</c:v>
                </c:pt>
                <c:pt idx="3087">
                  <c:v>37343</c:v>
                </c:pt>
                <c:pt idx="3088">
                  <c:v>37347</c:v>
                </c:pt>
                <c:pt idx="3089">
                  <c:v>37348</c:v>
                </c:pt>
                <c:pt idx="3090">
                  <c:v>37349</c:v>
                </c:pt>
                <c:pt idx="3091">
                  <c:v>37350</c:v>
                </c:pt>
                <c:pt idx="3092">
                  <c:v>37351</c:v>
                </c:pt>
                <c:pt idx="3093">
                  <c:v>37354</c:v>
                </c:pt>
                <c:pt idx="3094">
                  <c:v>37355</c:v>
                </c:pt>
                <c:pt idx="3095">
                  <c:v>37356</c:v>
                </c:pt>
                <c:pt idx="3096">
                  <c:v>37357</c:v>
                </c:pt>
                <c:pt idx="3097">
                  <c:v>37358</c:v>
                </c:pt>
                <c:pt idx="3098">
                  <c:v>37361</c:v>
                </c:pt>
                <c:pt idx="3099">
                  <c:v>37362</c:v>
                </c:pt>
                <c:pt idx="3100">
                  <c:v>37363</c:v>
                </c:pt>
                <c:pt idx="3101">
                  <c:v>37364</c:v>
                </c:pt>
                <c:pt idx="3102">
                  <c:v>37365</c:v>
                </c:pt>
                <c:pt idx="3103">
                  <c:v>37368</c:v>
                </c:pt>
                <c:pt idx="3104">
                  <c:v>37369</c:v>
                </c:pt>
                <c:pt idx="3105">
                  <c:v>37370</c:v>
                </c:pt>
                <c:pt idx="3106">
                  <c:v>37371</c:v>
                </c:pt>
                <c:pt idx="3107">
                  <c:v>37372</c:v>
                </c:pt>
                <c:pt idx="3108">
                  <c:v>37375</c:v>
                </c:pt>
                <c:pt idx="3109">
                  <c:v>37376</c:v>
                </c:pt>
                <c:pt idx="3110">
                  <c:v>37377</c:v>
                </c:pt>
                <c:pt idx="3111">
                  <c:v>37378</c:v>
                </c:pt>
                <c:pt idx="3112">
                  <c:v>37379</c:v>
                </c:pt>
                <c:pt idx="3113">
                  <c:v>37382</c:v>
                </c:pt>
                <c:pt idx="3114">
                  <c:v>37383</c:v>
                </c:pt>
                <c:pt idx="3115">
                  <c:v>37384</c:v>
                </c:pt>
                <c:pt idx="3116">
                  <c:v>37385</c:v>
                </c:pt>
                <c:pt idx="3117">
                  <c:v>37386</c:v>
                </c:pt>
                <c:pt idx="3118">
                  <c:v>37389</c:v>
                </c:pt>
                <c:pt idx="3119">
                  <c:v>37390</c:v>
                </c:pt>
                <c:pt idx="3120">
                  <c:v>37391</c:v>
                </c:pt>
                <c:pt idx="3121">
                  <c:v>37392</c:v>
                </c:pt>
                <c:pt idx="3122">
                  <c:v>37393</c:v>
                </c:pt>
                <c:pt idx="3123">
                  <c:v>37396</c:v>
                </c:pt>
                <c:pt idx="3124">
                  <c:v>37397</c:v>
                </c:pt>
                <c:pt idx="3125">
                  <c:v>37398</c:v>
                </c:pt>
                <c:pt idx="3126">
                  <c:v>37399</c:v>
                </c:pt>
                <c:pt idx="3127">
                  <c:v>37400</c:v>
                </c:pt>
                <c:pt idx="3128">
                  <c:v>37404</c:v>
                </c:pt>
                <c:pt idx="3129">
                  <c:v>37405</c:v>
                </c:pt>
                <c:pt idx="3130">
                  <c:v>37406</c:v>
                </c:pt>
                <c:pt idx="3131">
                  <c:v>37407</c:v>
                </c:pt>
                <c:pt idx="3132">
                  <c:v>37410</c:v>
                </c:pt>
                <c:pt idx="3133">
                  <c:v>37411</c:v>
                </c:pt>
                <c:pt idx="3134">
                  <c:v>37412</c:v>
                </c:pt>
                <c:pt idx="3135">
                  <c:v>37413</c:v>
                </c:pt>
                <c:pt idx="3136">
                  <c:v>37414</c:v>
                </c:pt>
                <c:pt idx="3137">
                  <c:v>37417</c:v>
                </c:pt>
                <c:pt idx="3138">
                  <c:v>37418</c:v>
                </c:pt>
                <c:pt idx="3139">
                  <c:v>37419</c:v>
                </c:pt>
                <c:pt idx="3140">
                  <c:v>37420</c:v>
                </c:pt>
                <c:pt idx="3141">
                  <c:v>37421</c:v>
                </c:pt>
                <c:pt idx="3142">
                  <c:v>37424</c:v>
                </c:pt>
                <c:pt idx="3143">
                  <c:v>37425</c:v>
                </c:pt>
                <c:pt idx="3144">
                  <c:v>37426</c:v>
                </c:pt>
                <c:pt idx="3145">
                  <c:v>37427</c:v>
                </c:pt>
                <c:pt idx="3146">
                  <c:v>37428</c:v>
                </c:pt>
                <c:pt idx="3147">
                  <c:v>37431</c:v>
                </c:pt>
                <c:pt idx="3148">
                  <c:v>37432</c:v>
                </c:pt>
                <c:pt idx="3149">
                  <c:v>37433</c:v>
                </c:pt>
                <c:pt idx="3150">
                  <c:v>37434</c:v>
                </c:pt>
                <c:pt idx="3151">
                  <c:v>37435</c:v>
                </c:pt>
                <c:pt idx="3152">
                  <c:v>37438</c:v>
                </c:pt>
                <c:pt idx="3153">
                  <c:v>37439</c:v>
                </c:pt>
                <c:pt idx="3154">
                  <c:v>37440</c:v>
                </c:pt>
                <c:pt idx="3155">
                  <c:v>37442</c:v>
                </c:pt>
                <c:pt idx="3156">
                  <c:v>37445</c:v>
                </c:pt>
                <c:pt idx="3157">
                  <c:v>37446</c:v>
                </c:pt>
                <c:pt idx="3158">
                  <c:v>37447</c:v>
                </c:pt>
                <c:pt idx="3159">
                  <c:v>37448</c:v>
                </c:pt>
                <c:pt idx="3160">
                  <c:v>37449</c:v>
                </c:pt>
                <c:pt idx="3161">
                  <c:v>37452</c:v>
                </c:pt>
                <c:pt idx="3162">
                  <c:v>37453</c:v>
                </c:pt>
                <c:pt idx="3163">
                  <c:v>37454</c:v>
                </c:pt>
                <c:pt idx="3164">
                  <c:v>37455</c:v>
                </c:pt>
                <c:pt idx="3165">
                  <c:v>37456</c:v>
                </c:pt>
                <c:pt idx="3166">
                  <c:v>37459</c:v>
                </c:pt>
                <c:pt idx="3167">
                  <c:v>37460</c:v>
                </c:pt>
                <c:pt idx="3168">
                  <c:v>37461</c:v>
                </c:pt>
                <c:pt idx="3169">
                  <c:v>37462</c:v>
                </c:pt>
                <c:pt idx="3170">
                  <c:v>37463</c:v>
                </c:pt>
                <c:pt idx="3171">
                  <c:v>37466</c:v>
                </c:pt>
                <c:pt idx="3172">
                  <c:v>37467</c:v>
                </c:pt>
                <c:pt idx="3173">
                  <c:v>37468</c:v>
                </c:pt>
                <c:pt idx="3174">
                  <c:v>37469</c:v>
                </c:pt>
                <c:pt idx="3175">
                  <c:v>37470</c:v>
                </c:pt>
                <c:pt idx="3176">
                  <c:v>37473</c:v>
                </c:pt>
                <c:pt idx="3177">
                  <c:v>37474</c:v>
                </c:pt>
                <c:pt idx="3178">
                  <c:v>37475</c:v>
                </c:pt>
                <c:pt idx="3179">
                  <c:v>37476</c:v>
                </c:pt>
                <c:pt idx="3180">
                  <c:v>37477</c:v>
                </c:pt>
                <c:pt idx="3181">
                  <c:v>37480</c:v>
                </c:pt>
                <c:pt idx="3182">
                  <c:v>37481</c:v>
                </c:pt>
                <c:pt idx="3183">
                  <c:v>37482</c:v>
                </c:pt>
                <c:pt idx="3184">
                  <c:v>37483</c:v>
                </c:pt>
                <c:pt idx="3185">
                  <c:v>37484</c:v>
                </c:pt>
                <c:pt idx="3186">
                  <c:v>37487</c:v>
                </c:pt>
                <c:pt idx="3187">
                  <c:v>37488</c:v>
                </c:pt>
                <c:pt idx="3188">
                  <c:v>37489</c:v>
                </c:pt>
                <c:pt idx="3189">
                  <c:v>37490</c:v>
                </c:pt>
                <c:pt idx="3190">
                  <c:v>37491</c:v>
                </c:pt>
                <c:pt idx="3191">
                  <c:v>37494</c:v>
                </c:pt>
                <c:pt idx="3192">
                  <c:v>37495</c:v>
                </c:pt>
                <c:pt idx="3193">
                  <c:v>37496</c:v>
                </c:pt>
                <c:pt idx="3194">
                  <c:v>37497</c:v>
                </c:pt>
                <c:pt idx="3195">
                  <c:v>37498</c:v>
                </c:pt>
                <c:pt idx="3196">
                  <c:v>37502</c:v>
                </c:pt>
                <c:pt idx="3197">
                  <c:v>37503</c:v>
                </c:pt>
                <c:pt idx="3198">
                  <c:v>37504</c:v>
                </c:pt>
                <c:pt idx="3199">
                  <c:v>37505</c:v>
                </c:pt>
                <c:pt idx="3200">
                  <c:v>37508</c:v>
                </c:pt>
                <c:pt idx="3201">
                  <c:v>37509</c:v>
                </c:pt>
                <c:pt idx="3202">
                  <c:v>37510</c:v>
                </c:pt>
                <c:pt idx="3203">
                  <c:v>37511</c:v>
                </c:pt>
                <c:pt idx="3204">
                  <c:v>37512</c:v>
                </c:pt>
                <c:pt idx="3205">
                  <c:v>37515</c:v>
                </c:pt>
                <c:pt idx="3206">
                  <c:v>37516</c:v>
                </c:pt>
                <c:pt idx="3207">
                  <c:v>37517</c:v>
                </c:pt>
                <c:pt idx="3208">
                  <c:v>37518</c:v>
                </c:pt>
                <c:pt idx="3209">
                  <c:v>37519</c:v>
                </c:pt>
                <c:pt idx="3210">
                  <c:v>37522</c:v>
                </c:pt>
                <c:pt idx="3211">
                  <c:v>37523</c:v>
                </c:pt>
                <c:pt idx="3212">
                  <c:v>37524</c:v>
                </c:pt>
                <c:pt idx="3213">
                  <c:v>37525</c:v>
                </c:pt>
                <c:pt idx="3214">
                  <c:v>37526</c:v>
                </c:pt>
                <c:pt idx="3215">
                  <c:v>37529</c:v>
                </c:pt>
                <c:pt idx="3216">
                  <c:v>37530</c:v>
                </c:pt>
                <c:pt idx="3217">
                  <c:v>37531</c:v>
                </c:pt>
                <c:pt idx="3218">
                  <c:v>37532</c:v>
                </c:pt>
                <c:pt idx="3219">
                  <c:v>37533</c:v>
                </c:pt>
                <c:pt idx="3220">
                  <c:v>37536</c:v>
                </c:pt>
                <c:pt idx="3221">
                  <c:v>37537</c:v>
                </c:pt>
                <c:pt idx="3222">
                  <c:v>37538</c:v>
                </c:pt>
                <c:pt idx="3223">
                  <c:v>37539</c:v>
                </c:pt>
                <c:pt idx="3224">
                  <c:v>37540</c:v>
                </c:pt>
                <c:pt idx="3225">
                  <c:v>37543</c:v>
                </c:pt>
                <c:pt idx="3226">
                  <c:v>37544</c:v>
                </c:pt>
                <c:pt idx="3227">
                  <c:v>37545</c:v>
                </c:pt>
                <c:pt idx="3228">
                  <c:v>37546</c:v>
                </c:pt>
                <c:pt idx="3229">
                  <c:v>37547</c:v>
                </c:pt>
                <c:pt idx="3230">
                  <c:v>37550</c:v>
                </c:pt>
                <c:pt idx="3231">
                  <c:v>37551</c:v>
                </c:pt>
                <c:pt idx="3232">
                  <c:v>37552</c:v>
                </c:pt>
                <c:pt idx="3233">
                  <c:v>37553</c:v>
                </c:pt>
                <c:pt idx="3234">
                  <c:v>37554</c:v>
                </c:pt>
                <c:pt idx="3235">
                  <c:v>37557</c:v>
                </c:pt>
                <c:pt idx="3236">
                  <c:v>37558</c:v>
                </c:pt>
                <c:pt idx="3237">
                  <c:v>37559</c:v>
                </c:pt>
                <c:pt idx="3238">
                  <c:v>37560</c:v>
                </c:pt>
                <c:pt idx="3239">
                  <c:v>37561</c:v>
                </c:pt>
                <c:pt idx="3240">
                  <c:v>37564</c:v>
                </c:pt>
                <c:pt idx="3241">
                  <c:v>37565</c:v>
                </c:pt>
                <c:pt idx="3242">
                  <c:v>37566</c:v>
                </c:pt>
                <c:pt idx="3243">
                  <c:v>37567</c:v>
                </c:pt>
                <c:pt idx="3244">
                  <c:v>37568</c:v>
                </c:pt>
                <c:pt idx="3245">
                  <c:v>37571</c:v>
                </c:pt>
                <c:pt idx="3246">
                  <c:v>37572</c:v>
                </c:pt>
                <c:pt idx="3247">
                  <c:v>37573</c:v>
                </c:pt>
                <c:pt idx="3248">
                  <c:v>37574</c:v>
                </c:pt>
                <c:pt idx="3249">
                  <c:v>37575</c:v>
                </c:pt>
                <c:pt idx="3250">
                  <c:v>37578</c:v>
                </c:pt>
                <c:pt idx="3251">
                  <c:v>37579</c:v>
                </c:pt>
                <c:pt idx="3252">
                  <c:v>37580</c:v>
                </c:pt>
                <c:pt idx="3253">
                  <c:v>37581</c:v>
                </c:pt>
                <c:pt idx="3254">
                  <c:v>37582</c:v>
                </c:pt>
                <c:pt idx="3255">
                  <c:v>37585</c:v>
                </c:pt>
                <c:pt idx="3256">
                  <c:v>37586</c:v>
                </c:pt>
                <c:pt idx="3257">
                  <c:v>37587</c:v>
                </c:pt>
                <c:pt idx="3258">
                  <c:v>37589</c:v>
                </c:pt>
                <c:pt idx="3259">
                  <c:v>37592</c:v>
                </c:pt>
                <c:pt idx="3260">
                  <c:v>37593</c:v>
                </c:pt>
                <c:pt idx="3261">
                  <c:v>37594</c:v>
                </c:pt>
                <c:pt idx="3262">
                  <c:v>37595</c:v>
                </c:pt>
                <c:pt idx="3263">
                  <c:v>37596</c:v>
                </c:pt>
                <c:pt idx="3264">
                  <c:v>37599</c:v>
                </c:pt>
                <c:pt idx="3265">
                  <c:v>37600</c:v>
                </c:pt>
                <c:pt idx="3266">
                  <c:v>37601</c:v>
                </c:pt>
                <c:pt idx="3267">
                  <c:v>37602</c:v>
                </c:pt>
                <c:pt idx="3268">
                  <c:v>37603</c:v>
                </c:pt>
                <c:pt idx="3269">
                  <c:v>37606</c:v>
                </c:pt>
                <c:pt idx="3270">
                  <c:v>37607</c:v>
                </c:pt>
                <c:pt idx="3271">
                  <c:v>37608</c:v>
                </c:pt>
                <c:pt idx="3272">
                  <c:v>37609</c:v>
                </c:pt>
                <c:pt idx="3273">
                  <c:v>37610</c:v>
                </c:pt>
                <c:pt idx="3274">
                  <c:v>37613</c:v>
                </c:pt>
                <c:pt idx="3275">
                  <c:v>37614</c:v>
                </c:pt>
                <c:pt idx="3276">
                  <c:v>37616</c:v>
                </c:pt>
                <c:pt idx="3277">
                  <c:v>37617</c:v>
                </c:pt>
                <c:pt idx="3278">
                  <c:v>37620</c:v>
                </c:pt>
                <c:pt idx="3279">
                  <c:v>37621</c:v>
                </c:pt>
                <c:pt idx="3280">
                  <c:v>37623</c:v>
                </c:pt>
                <c:pt idx="3281">
                  <c:v>37624</c:v>
                </c:pt>
                <c:pt idx="3282">
                  <c:v>37627</c:v>
                </c:pt>
                <c:pt idx="3283">
                  <c:v>37628</c:v>
                </c:pt>
                <c:pt idx="3284">
                  <c:v>37629</c:v>
                </c:pt>
                <c:pt idx="3285">
                  <c:v>37630</c:v>
                </c:pt>
                <c:pt idx="3286">
                  <c:v>37631</c:v>
                </c:pt>
                <c:pt idx="3287">
                  <c:v>37634</c:v>
                </c:pt>
                <c:pt idx="3288">
                  <c:v>37635</c:v>
                </c:pt>
                <c:pt idx="3289">
                  <c:v>37636</c:v>
                </c:pt>
                <c:pt idx="3290">
                  <c:v>37637</c:v>
                </c:pt>
                <c:pt idx="3291">
                  <c:v>37638</c:v>
                </c:pt>
                <c:pt idx="3292">
                  <c:v>37642</c:v>
                </c:pt>
                <c:pt idx="3293">
                  <c:v>37643</c:v>
                </c:pt>
                <c:pt idx="3294">
                  <c:v>37644</c:v>
                </c:pt>
                <c:pt idx="3295">
                  <c:v>37645</c:v>
                </c:pt>
                <c:pt idx="3296">
                  <c:v>37648</c:v>
                </c:pt>
                <c:pt idx="3297">
                  <c:v>37649</c:v>
                </c:pt>
                <c:pt idx="3298">
                  <c:v>37650</c:v>
                </c:pt>
                <c:pt idx="3299">
                  <c:v>37651</c:v>
                </c:pt>
                <c:pt idx="3300">
                  <c:v>37652</c:v>
                </c:pt>
                <c:pt idx="3301">
                  <c:v>37655</c:v>
                </c:pt>
                <c:pt idx="3302">
                  <c:v>37656</c:v>
                </c:pt>
                <c:pt idx="3303">
                  <c:v>37657</c:v>
                </c:pt>
                <c:pt idx="3304">
                  <c:v>37658</c:v>
                </c:pt>
                <c:pt idx="3305">
                  <c:v>37659</c:v>
                </c:pt>
                <c:pt idx="3306">
                  <c:v>37662</c:v>
                </c:pt>
                <c:pt idx="3307">
                  <c:v>37663</c:v>
                </c:pt>
                <c:pt idx="3308">
                  <c:v>37664</c:v>
                </c:pt>
                <c:pt idx="3309">
                  <c:v>37665</c:v>
                </c:pt>
                <c:pt idx="3310">
                  <c:v>37666</c:v>
                </c:pt>
                <c:pt idx="3311">
                  <c:v>37670</c:v>
                </c:pt>
                <c:pt idx="3312">
                  <c:v>37671</c:v>
                </c:pt>
                <c:pt idx="3313">
                  <c:v>37672</c:v>
                </c:pt>
                <c:pt idx="3314">
                  <c:v>37673</c:v>
                </c:pt>
                <c:pt idx="3315">
                  <c:v>37676</c:v>
                </c:pt>
                <c:pt idx="3316">
                  <c:v>37677</c:v>
                </c:pt>
                <c:pt idx="3317">
                  <c:v>37678</c:v>
                </c:pt>
                <c:pt idx="3318">
                  <c:v>37679</c:v>
                </c:pt>
                <c:pt idx="3319">
                  <c:v>37680</c:v>
                </c:pt>
                <c:pt idx="3320">
                  <c:v>37683</c:v>
                </c:pt>
                <c:pt idx="3321">
                  <c:v>37684</c:v>
                </c:pt>
                <c:pt idx="3322">
                  <c:v>37685</c:v>
                </c:pt>
                <c:pt idx="3323">
                  <c:v>37686</c:v>
                </c:pt>
                <c:pt idx="3324">
                  <c:v>37687</c:v>
                </c:pt>
                <c:pt idx="3325">
                  <c:v>37690</c:v>
                </c:pt>
                <c:pt idx="3326">
                  <c:v>37691</c:v>
                </c:pt>
                <c:pt idx="3327">
                  <c:v>37692</c:v>
                </c:pt>
                <c:pt idx="3328">
                  <c:v>37693</c:v>
                </c:pt>
                <c:pt idx="3329">
                  <c:v>37694</c:v>
                </c:pt>
                <c:pt idx="3330">
                  <c:v>37697</c:v>
                </c:pt>
                <c:pt idx="3331">
                  <c:v>37698</c:v>
                </c:pt>
                <c:pt idx="3332">
                  <c:v>37699</c:v>
                </c:pt>
                <c:pt idx="3333">
                  <c:v>37700</c:v>
                </c:pt>
                <c:pt idx="3334">
                  <c:v>37701</c:v>
                </c:pt>
                <c:pt idx="3335">
                  <c:v>37704</c:v>
                </c:pt>
                <c:pt idx="3336">
                  <c:v>37705</c:v>
                </c:pt>
                <c:pt idx="3337">
                  <c:v>37706</c:v>
                </c:pt>
                <c:pt idx="3338">
                  <c:v>37707</c:v>
                </c:pt>
                <c:pt idx="3339">
                  <c:v>37708</c:v>
                </c:pt>
                <c:pt idx="3340">
                  <c:v>37711</c:v>
                </c:pt>
                <c:pt idx="3341">
                  <c:v>37712</c:v>
                </c:pt>
                <c:pt idx="3342">
                  <c:v>37713</c:v>
                </c:pt>
                <c:pt idx="3343">
                  <c:v>37714</c:v>
                </c:pt>
                <c:pt idx="3344">
                  <c:v>37715</c:v>
                </c:pt>
                <c:pt idx="3345">
                  <c:v>37718</c:v>
                </c:pt>
                <c:pt idx="3346">
                  <c:v>37719</c:v>
                </c:pt>
                <c:pt idx="3347">
                  <c:v>37720</c:v>
                </c:pt>
                <c:pt idx="3348">
                  <c:v>37721</c:v>
                </c:pt>
                <c:pt idx="3349">
                  <c:v>37722</c:v>
                </c:pt>
                <c:pt idx="3350">
                  <c:v>37725</c:v>
                </c:pt>
                <c:pt idx="3351">
                  <c:v>37726</c:v>
                </c:pt>
                <c:pt idx="3352">
                  <c:v>37727</c:v>
                </c:pt>
                <c:pt idx="3353">
                  <c:v>37728</c:v>
                </c:pt>
                <c:pt idx="3354">
                  <c:v>37732</c:v>
                </c:pt>
                <c:pt idx="3355">
                  <c:v>37733</c:v>
                </c:pt>
                <c:pt idx="3356">
                  <c:v>37734</c:v>
                </c:pt>
                <c:pt idx="3357">
                  <c:v>37735</c:v>
                </c:pt>
                <c:pt idx="3358">
                  <c:v>37736</c:v>
                </c:pt>
                <c:pt idx="3359">
                  <c:v>37739</c:v>
                </c:pt>
                <c:pt idx="3360">
                  <c:v>37740</c:v>
                </c:pt>
                <c:pt idx="3361">
                  <c:v>37741</c:v>
                </c:pt>
                <c:pt idx="3362">
                  <c:v>37742</c:v>
                </c:pt>
                <c:pt idx="3363">
                  <c:v>37743</c:v>
                </c:pt>
                <c:pt idx="3364">
                  <c:v>37746</c:v>
                </c:pt>
                <c:pt idx="3365">
                  <c:v>37747</c:v>
                </c:pt>
                <c:pt idx="3366">
                  <c:v>37748</c:v>
                </c:pt>
                <c:pt idx="3367">
                  <c:v>37749</c:v>
                </c:pt>
                <c:pt idx="3368">
                  <c:v>37750</c:v>
                </c:pt>
                <c:pt idx="3369">
                  <c:v>37753</c:v>
                </c:pt>
                <c:pt idx="3370">
                  <c:v>37754</c:v>
                </c:pt>
                <c:pt idx="3371">
                  <c:v>37755</c:v>
                </c:pt>
                <c:pt idx="3372">
                  <c:v>37756</c:v>
                </c:pt>
                <c:pt idx="3373">
                  <c:v>37757</c:v>
                </c:pt>
                <c:pt idx="3374">
                  <c:v>37760</c:v>
                </c:pt>
                <c:pt idx="3375">
                  <c:v>37761</c:v>
                </c:pt>
                <c:pt idx="3376">
                  <c:v>37762</c:v>
                </c:pt>
                <c:pt idx="3377">
                  <c:v>37763</c:v>
                </c:pt>
                <c:pt idx="3378">
                  <c:v>37764</c:v>
                </c:pt>
                <c:pt idx="3379">
                  <c:v>37768</c:v>
                </c:pt>
                <c:pt idx="3380">
                  <c:v>37769</c:v>
                </c:pt>
                <c:pt idx="3381">
                  <c:v>37770</c:v>
                </c:pt>
                <c:pt idx="3382">
                  <c:v>37771</c:v>
                </c:pt>
                <c:pt idx="3383">
                  <c:v>37774</c:v>
                </c:pt>
                <c:pt idx="3384">
                  <c:v>37775</c:v>
                </c:pt>
                <c:pt idx="3385">
                  <c:v>37776</c:v>
                </c:pt>
                <c:pt idx="3386">
                  <c:v>37777</c:v>
                </c:pt>
                <c:pt idx="3387">
                  <c:v>37778</c:v>
                </c:pt>
                <c:pt idx="3388">
                  <c:v>37781</c:v>
                </c:pt>
                <c:pt idx="3389">
                  <c:v>37782</c:v>
                </c:pt>
                <c:pt idx="3390">
                  <c:v>37783</c:v>
                </c:pt>
                <c:pt idx="3391">
                  <c:v>37784</c:v>
                </c:pt>
                <c:pt idx="3392">
                  <c:v>37785</c:v>
                </c:pt>
                <c:pt idx="3393">
                  <c:v>37788</c:v>
                </c:pt>
                <c:pt idx="3394">
                  <c:v>37789</c:v>
                </c:pt>
                <c:pt idx="3395">
                  <c:v>37790</c:v>
                </c:pt>
                <c:pt idx="3396">
                  <c:v>37791</c:v>
                </c:pt>
                <c:pt idx="3397">
                  <c:v>37792</c:v>
                </c:pt>
                <c:pt idx="3398">
                  <c:v>37795</c:v>
                </c:pt>
                <c:pt idx="3399">
                  <c:v>37796</c:v>
                </c:pt>
                <c:pt idx="3400">
                  <c:v>37797</c:v>
                </c:pt>
                <c:pt idx="3401">
                  <c:v>37798</c:v>
                </c:pt>
                <c:pt idx="3402">
                  <c:v>37799</c:v>
                </c:pt>
                <c:pt idx="3403">
                  <c:v>37802</c:v>
                </c:pt>
                <c:pt idx="3404">
                  <c:v>37803</c:v>
                </c:pt>
                <c:pt idx="3405">
                  <c:v>37804</c:v>
                </c:pt>
                <c:pt idx="3406">
                  <c:v>37805</c:v>
                </c:pt>
                <c:pt idx="3407">
                  <c:v>37809</c:v>
                </c:pt>
                <c:pt idx="3408">
                  <c:v>37810</c:v>
                </c:pt>
                <c:pt idx="3409">
                  <c:v>37811</c:v>
                </c:pt>
                <c:pt idx="3410">
                  <c:v>37812</c:v>
                </c:pt>
                <c:pt idx="3411">
                  <c:v>37813</c:v>
                </c:pt>
                <c:pt idx="3412">
                  <c:v>37816</c:v>
                </c:pt>
                <c:pt idx="3413">
                  <c:v>37817</c:v>
                </c:pt>
                <c:pt idx="3414">
                  <c:v>37818</c:v>
                </c:pt>
                <c:pt idx="3415">
                  <c:v>37819</c:v>
                </c:pt>
                <c:pt idx="3416">
                  <c:v>37820</c:v>
                </c:pt>
                <c:pt idx="3417">
                  <c:v>37823</c:v>
                </c:pt>
                <c:pt idx="3418">
                  <c:v>37824</c:v>
                </c:pt>
                <c:pt idx="3419">
                  <c:v>37825</c:v>
                </c:pt>
                <c:pt idx="3420">
                  <c:v>37826</c:v>
                </c:pt>
                <c:pt idx="3421">
                  <c:v>37827</c:v>
                </c:pt>
                <c:pt idx="3422">
                  <c:v>37830</c:v>
                </c:pt>
                <c:pt idx="3423">
                  <c:v>37831</c:v>
                </c:pt>
                <c:pt idx="3424">
                  <c:v>37832</c:v>
                </c:pt>
                <c:pt idx="3425">
                  <c:v>37833</c:v>
                </c:pt>
                <c:pt idx="3426">
                  <c:v>37834</c:v>
                </c:pt>
                <c:pt idx="3427">
                  <c:v>37837</c:v>
                </c:pt>
                <c:pt idx="3428">
                  <c:v>37838</c:v>
                </c:pt>
                <c:pt idx="3429">
                  <c:v>37839</c:v>
                </c:pt>
                <c:pt idx="3430">
                  <c:v>37840</c:v>
                </c:pt>
                <c:pt idx="3431">
                  <c:v>37841</c:v>
                </c:pt>
                <c:pt idx="3432">
                  <c:v>37844</c:v>
                </c:pt>
                <c:pt idx="3433">
                  <c:v>37845</c:v>
                </c:pt>
                <c:pt idx="3434">
                  <c:v>37846</c:v>
                </c:pt>
                <c:pt idx="3435">
                  <c:v>37847</c:v>
                </c:pt>
                <c:pt idx="3436">
                  <c:v>37848</c:v>
                </c:pt>
                <c:pt idx="3437">
                  <c:v>37851</c:v>
                </c:pt>
                <c:pt idx="3438">
                  <c:v>37852</c:v>
                </c:pt>
                <c:pt idx="3439">
                  <c:v>37853</c:v>
                </c:pt>
                <c:pt idx="3440">
                  <c:v>37854</c:v>
                </c:pt>
                <c:pt idx="3441">
                  <c:v>37855</c:v>
                </c:pt>
                <c:pt idx="3442">
                  <c:v>37858</c:v>
                </c:pt>
                <c:pt idx="3443">
                  <c:v>37859</c:v>
                </c:pt>
                <c:pt idx="3444">
                  <c:v>37860</c:v>
                </c:pt>
                <c:pt idx="3445">
                  <c:v>37861</c:v>
                </c:pt>
                <c:pt idx="3446">
                  <c:v>37862</c:v>
                </c:pt>
                <c:pt idx="3447">
                  <c:v>37866</c:v>
                </c:pt>
                <c:pt idx="3448">
                  <c:v>37867</c:v>
                </c:pt>
                <c:pt idx="3449">
                  <c:v>37868</c:v>
                </c:pt>
                <c:pt idx="3450">
                  <c:v>37869</c:v>
                </c:pt>
                <c:pt idx="3451">
                  <c:v>37872</c:v>
                </c:pt>
                <c:pt idx="3452">
                  <c:v>37873</c:v>
                </c:pt>
                <c:pt idx="3453">
                  <c:v>37874</c:v>
                </c:pt>
                <c:pt idx="3454">
                  <c:v>37875</c:v>
                </c:pt>
                <c:pt idx="3455">
                  <c:v>37876</c:v>
                </c:pt>
                <c:pt idx="3456">
                  <c:v>37879</c:v>
                </c:pt>
                <c:pt idx="3457">
                  <c:v>37880</c:v>
                </c:pt>
                <c:pt idx="3458">
                  <c:v>37881</c:v>
                </c:pt>
                <c:pt idx="3459">
                  <c:v>37882</c:v>
                </c:pt>
                <c:pt idx="3460">
                  <c:v>37883</c:v>
                </c:pt>
                <c:pt idx="3461">
                  <c:v>37886</c:v>
                </c:pt>
                <c:pt idx="3462">
                  <c:v>37887</c:v>
                </c:pt>
                <c:pt idx="3463">
                  <c:v>37888</c:v>
                </c:pt>
                <c:pt idx="3464">
                  <c:v>37889</c:v>
                </c:pt>
                <c:pt idx="3465">
                  <c:v>37890</c:v>
                </c:pt>
                <c:pt idx="3466">
                  <c:v>37893</c:v>
                </c:pt>
                <c:pt idx="3467">
                  <c:v>37894</c:v>
                </c:pt>
                <c:pt idx="3468">
                  <c:v>37895</c:v>
                </c:pt>
                <c:pt idx="3469">
                  <c:v>37896</c:v>
                </c:pt>
                <c:pt idx="3470">
                  <c:v>37897</c:v>
                </c:pt>
                <c:pt idx="3471">
                  <c:v>37900</c:v>
                </c:pt>
                <c:pt idx="3472">
                  <c:v>37901</c:v>
                </c:pt>
                <c:pt idx="3473">
                  <c:v>37902</c:v>
                </c:pt>
                <c:pt idx="3474">
                  <c:v>37903</c:v>
                </c:pt>
                <c:pt idx="3475">
                  <c:v>37904</c:v>
                </c:pt>
                <c:pt idx="3476">
                  <c:v>37907</c:v>
                </c:pt>
                <c:pt idx="3477">
                  <c:v>37908</c:v>
                </c:pt>
                <c:pt idx="3478">
                  <c:v>37909</c:v>
                </c:pt>
                <c:pt idx="3479">
                  <c:v>37910</c:v>
                </c:pt>
                <c:pt idx="3480">
                  <c:v>37911</c:v>
                </c:pt>
                <c:pt idx="3481">
                  <c:v>37914</c:v>
                </c:pt>
                <c:pt idx="3482">
                  <c:v>37915</c:v>
                </c:pt>
                <c:pt idx="3483">
                  <c:v>37916</c:v>
                </c:pt>
                <c:pt idx="3484">
                  <c:v>37917</c:v>
                </c:pt>
                <c:pt idx="3485">
                  <c:v>37918</c:v>
                </c:pt>
                <c:pt idx="3486">
                  <c:v>37921</c:v>
                </c:pt>
                <c:pt idx="3487">
                  <c:v>37922</c:v>
                </c:pt>
                <c:pt idx="3488">
                  <c:v>37923</c:v>
                </c:pt>
                <c:pt idx="3489">
                  <c:v>37924</c:v>
                </c:pt>
                <c:pt idx="3490">
                  <c:v>37925</c:v>
                </c:pt>
                <c:pt idx="3491">
                  <c:v>37928</c:v>
                </c:pt>
                <c:pt idx="3492">
                  <c:v>37929</c:v>
                </c:pt>
                <c:pt idx="3493">
                  <c:v>37930</c:v>
                </c:pt>
                <c:pt idx="3494">
                  <c:v>37931</c:v>
                </c:pt>
                <c:pt idx="3495">
                  <c:v>37932</c:v>
                </c:pt>
                <c:pt idx="3496">
                  <c:v>37935</c:v>
                </c:pt>
                <c:pt idx="3497">
                  <c:v>37936</c:v>
                </c:pt>
                <c:pt idx="3498">
                  <c:v>37937</c:v>
                </c:pt>
                <c:pt idx="3499">
                  <c:v>37938</c:v>
                </c:pt>
                <c:pt idx="3500">
                  <c:v>37939</c:v>
                </c:pt>
                <c:pt idx="3501">
                  <c:v>37942</c:v>
                </c:pt>
                <c:pt idx="3502">
                  <c:v>37943</c:v>
                </c:pt>
                <c:pt idx="3503">
                  <c:v>37944</c:v>
                </c:pt>
                <c:pt idx="3504">
                  <c:v>37945</c:v>
                </c:pt>
                <c:pt idx="3505">
                  <c:v>37946</c:v>
                </c:pt>
                <c:pt idx="3506">
                  <c:v>37949</c:v>
                </c:pt>
                <c:pt idx="3507">
                  <c:v>37950</c:v>
                </c:pt>
                <c:pt idx="3508">
                  <c:v>37951</c:v>
                </c:pt>
                <c:pt idx="3509">
                  <c:v>37953</c:v>
                </c:pt>
                <c:pt idx="3510">
                  <c:v>37956</c:v>
                </c:pt>
                <c:pt idx="3511">
                  <c:v>37957</c:v>
                </c:pt>
                <c:pt idx="3512">
                  <c:v>37958</c:v>
                </c:pt>
                <c:pt idx="3513">
                  <c:v>37959</c:v>
                </c:pt>
                <c:pt idx="3514">
                  <c:v>37960</c:v>
                </c:pt>
                <c:pt idx="3515">
                  <c:v>37963</c:v>
                </c:pt>
                <c:pt idx="3516">
                  <c:v>37964</c:v>
                </c:pt>
                <c:pt idx="3517">
                  <c:v>37965</c:v>
                </c:pt>
                <c:pt idx="3518">
                  <c:v>37966</c:v>
                </c:pt>
                <c:pt idx="3519">
                  <c:v>37967</c:v>
                </c:pt>
                <c:pt idx="3520">
                  <c:v>37970</c:v>
                </c:pt>
                <c:pt idx="3521">
                  <c:v>37971</c:v>
                </c:pt>
                <c:pt idx="3522">
                  <c:v>37972</c:v>
                </c:pt>
                <c:pt idx="3523">
                  <c:v>37973</c:v>
                </c:pt>
                <c:pt idx="3524">
                  <c:v>37974</c:v>
                </c:pt>
                <c:pt idx="3525">
                  <c:v>37977</c:v>
                </c:pt>
                <c:pt idx="3526">
                  <c:v>37978</c:v>
                </c:pt>
                <c:pt idx="3527">
                  <c:v>37979</c:v>
                </c:pt>
                <c:pt idx="3528">
                  <c:v>37981</c:v>
                </c:pt>
                <c:pt idx="3529">
                  <c:v>37984</c:v>
                </c:pt>
                <c:pt idx="3530">
                  <c:v>37985</c:v>
                </c:pt>
                <c:pt idx="3531">
                  <c:v>37986</c:v>
                </c:pt>
                <c:pt idx="3532">
                  <c:v>37988</c:v>
                </c:pt>
                <c:pt idx="3533">
                  <c:v>37991</c:v>
                </c:pt>
                <c:pt idx="3534">
                  <c:v>37992</c:v>
                </c:pt>
                <c:pt idx="3535">
                  <c:v>37993</c:v>
                </c:pt>
                <c:pt idx="3536">
                  <c:v>37994</c:v>
                </c:pt>
                <c:pt idx="3537">
                  <c:v>37995</c:v>
                </c:pt>
                <c:pt idx="3538">
                  <c:v>37998</c:v>
                </c:pt>
                <c:pt idx="3539">
                  <c:v>37999</c:v>
                </c:pt>
                <c:pt idx="3540">
                  <c:v>38000</c:v>
                </c:pt>
                <c:pt idx="3541">
                  <c:v>38001</c:v>
                </c:pt>
                <c:pt idx="3542">
                  <c:v>38002</c:v>
                </c:pt>
                <c:pt idx="3543">
                  <c:v>38006</c:v>
                </c:pt>
                <c:pt idx="3544">
                  <c:v>38007</c:v>
                </c:pt>
                <c:pt idx="3545">
                  <c:v>38008</c:v>
                </c:pt>
                <c:pt idx="3546">
                  <c:v>38009</c:v>
                </c:pt>
                <c:pt idx="3547">
                  <c:v>38012</c:v>
                </c:pt>
                <c:pt idx="3548">
                  <c:v>38013</c:v>
                </c:pt>
                <c:pt idx="3549">
                  <c:v>38014</c:v>
                </c:pt>
                <c:pt idx="3550">
                  <c:v>38015</c:v>
                </c:pt>
                <c:pt idx="3551">
                  <c:v>38016</c:v>
                </c:pt>
                <c:pt idx="3552">
                  <c:v>38019</c:v>
                </c:pt>
                <c:pt idx="3553">
                  <c:v>38020</c:v>
                </c:pt>
                <c:pt idx="3554">
                  <c:v>38021</c:v>
                </c:pt>
                <c:pt idx="3555">
                  <c:v>38022</c:v>
                </c:pt>
                <c:pt idx="3556">
                  <c:v>38023</c:v>
                </c:pt>
                <c:pt idx="3557">
                  <c:v>38026</c:v>
                </c:pt>
                <c:pt idx="3558">
                  <c:v>38027</c:v>
                </c:pt>
                <c:pt idx="3559">
                  <c:v>38028</c:v>
                </c:pt>
                <c:pt idx="3560">
                  <c:v>38029</c:v>
                </c:pt>
                <c:pt idx="3561">
                  <c:v>38030</c:v>
                </c:pt>
                <c:pt idx="3562">
                  <c:v>38034</c:v>
                </c:pt>
                <c:pt idx="3563">
                  <c:v>38035</c:v>
                </c:pt>
                <c:pt idx="3564">
                  <c:v>38036</c:v>
                </c:pt>
                <c:pt idx="3565">
                  <c:v>38037</c:v>
                </c:pt>
                <c:pt idx="3566">
                  <c:v>38040</c:v>
                </c:pt>
                <c:pt idx="3567">
                  <c:v>38041</c:v>
                </c:pt>
                <c:pt idx="3568">
                  <c:v>38042</c:v>
                </c:pt>
                <c:pt idx="3569">
                  <c:v>38043</c:v>
                </c:pt>
                <c:pt idx="3570">
                  <c:v>38044</c:v>
                </c:pt>
                <c:pt idx="3571">
                  <c:v>38047</c:v>
                </c:pt>
                <c:pt idx="3572">
                  <c:v>38048</c:v>
                </c:pt>
                <c:pt idx="3573">
                  <c:v>38049</c:v>
                </c:pt>
                <c:pt idx="3574">
                  <c:v>38050</c:v>
                </c:pt>
                <c:pt idx="3575">
                  <c:v>38051</c:v>
                </c:pt>
                <c:pt idx="3576">
                  <c:v>38054</c:v>
                </c:pt>
                <c:pt idx="3577">
                  <c:v>38055</c:v>
                </c:pt>
                <c:pt idx="3578">
                  <c:v>38056</c:v>
                </c:pt>
                <c:pt idx="3579">
                  <c:v>38057</c:v>
                </c:pt>
                <c:pt idx="3580">
                  <c:v>38058</c:v>
                </c:pt>
                <c:pt idx="3581">
                  <c:v>38061</c:v>
                </c:pt>
                <c:pt idx="3582">
                  <c:v>38062</c:v>
                </c:pt>
                <c:pt idx="3583">
                  <c:v>38063</c:v>
                </c:pt>
                <c:pt idx="3584">
                  <c:v>38064</c:v>
                </c:pt>
                <c:pt idx="3585">
                  <c:v>38065</c:v>
                </c:pt>
                <c:pt idx="3586">
                  <c:v>38068</c:v>
                </c:pt>
                <c:pt idx="3587">
                  <c:v>38069</c:v>
                </c:pt>
                <c:pt idx="3588">
                  <c:v>38070</c:v>
                </c:pt>
                <c:pt idx="3589">
                  <c:v>38071</c:v>
                </c:pt>
                <c:pt idx="3590">
                  <c:v>38072</c:v>
                </c:pt>
                <c:pt idx="3591">
                  <c:v>38075</c:v>
                </c:pt>
                <c:pt idx="3592">
                  <c:v>38076</c:v>
                </c:pt>
                <c:pt idx="3593">
                  <c:v>38077</c:v>
                </c:pt>
                <c:pt idx="3594">
                  <c:v>38078</c:v>
                </c:pt>
                <c:pt idx="3595">
                  <c:v>38079</c:v>
                </c:pt>
                <c:pt idx="3596">
                  <c:v>38082</c:v>
                </c:pt>
                <c:pt idx="3597">
                  <c:v>38083</c:v>
                </c:pt>
                <c:pt idx="3598">
                  <c:v>38084</c:v>
                </c:pt>
                <c:pt idx="3599">
                  <c:v>38085</c:v>
                </c:pt>
                <c:pt idx="3600">
                  <c:v>38089</c:v>
                </c:pt>
                <c:pt idx="3601">
                  <c:v>38090</c:v>
                </c:pt>
                <c:pt idx="3602">
                  <c:v>38091</c:v>
                </c:pt>
                <c:pt idx="3603">
                  <c:v>38092</c:v>
                </c:pt>
                <c:pt idx="3604">
                  <c:v>38093</c:v>
                </c:pt>
                <c:pt idx="3605">
                  <c:v>38096</c:v>
                </c:pt>
                <c:pt idx="3606">
                  <c:v>38097</c:v>
                </c:pt>
                <c:pt idx="3607">
                  <c:v>38098</c:v>
                </c:pt>
                <c:pt idx="3608">
                  <c:v>38099</c:v>
                </c:pt>
                <c:pt idx="3609">
                  <c:v>38100</c:v>
                </c:pt>
                <c:pt idx="3610">
                  <c:v>38103</c:v>
                </c:pt>
                <c:pt idx="3611">
                  <c:v>38104</c:v>
                </c:pt>
                <c:pt idx="3612">
                  <c:v>38105</c:v>
                </c:pt>
                <c:pt idx="3613">
                  <c:v>38106</c:v>
                </c:pt>
                <c:pt idx="3614">
                  <c:v>38107</c:v>
                </c:pt>
                <c:pt idx="3615">
                  <c:v>38110</c:v>
                </c:pt>
                <c:pt idx="3616">
                  <c:v>38111</c:v>
                </c:pt>
                <c:pt idx="3617">
                  <c:v>38112</c:v>
                </c:pt>
                <c:pt idx="3618">
                  <c:v>38113</c:v>
                </c:pt>
                <c:pt idx="3619">
                  <c:v>38114</c:v>
                </c:pt>
                <c:pt idx="3620">
                  <c:v>38117</c:v>
                </c:pt>
                <c:pt idx="3621">
                  <c:v>38118</c:v>
                </c:pt>
                <c:pt idx="3622">
                  <c:v>38119</c:v>
                </c:pt>
                <c:pt idx="3623">
                  <c:v>38120</c:v>
                </c:pt>
                <c:pt idx="3624">
                  <c:v>38121</c:v>
                </c:pt>
                <c:pt idx="3625">
                  <c:v>38124</c:v>
                </c:pt>
                <c:pt idx="3626">
                  <c:v>38125</c:v>
                </c:pt>
                <c:pt idx="3627">
                  <c:v>38126</c:v>
                </c:pt>
                <c:pt idx="3628">
                  <c:v>38127</c:v>
                </c:pt>
                <c:pt idx="3629">
                  <c:v>38128</c:v>
                </c:pt>
                <c:pt idx="3630">
                  <c:v>38131</c:v>
                </c:pt>
                <c:pt idx="3631">
                  <c:v>38132</c:v>
                </c:pt>
                <c:pt idx="3632">
                  <c:v>38133</c:v>
                </c:pt>
                <c:pt idx="3633">
                  <c:v>38134</c:v>
                </c:pt>
                <c:pt idx="3634">
                  <c:v>38135</c:v>
                </c:pt>
                <c:pt idx="3635">
                  <c:v>38139</c:v>
                </c:pt>
                <c:pt idx="3636">
                  <c:v>38140</c:v>
                </c:pt>
                <c:pt idx="3637">
                  <c:v>38141</c:v>
                </c:pt>
                <c:pt idx="3638">
                  <c:v>38142</c:v>
                </c:pt>
                <c:pt idx="3639">
                  <c:v>38145</c:v>
                </c:pt>
                <c:pt idx="3640">
                  <c:v>38146</c:v>
                </c:pt>
                <c:pt idx="3641">
                  <c:v>38147</c:v>
                </c:pt>
                <c:pt idx="3642">
                  <c:v>38148</c:v>
                </c:pt>
                <c:pt idx="3643">
                  <c:v>38152</c:v>
                </c:pt>
                <c:pt idx="3644">
                  <c:v>38153</c:v>
                </c:pt>
                <c:pt idx="3645">
                  <c:v>38154</c:v>
                </c:pt>
                <c:pt idx="3646">
                  <c:v>38155</c:v>
                </c:pt>
                <c:pt idx="3647">
                  <c:v>38156</c:v>
                </c:pt>
                <c:pt idx="3648">
                  <c:v>38159</c:v>
                </c:pt>
                <c:pt idx="3649">
                  <c:v>38160</c:v>
                </c:pt>
                <c:pt idx="3650">
                  <c:v>38161</c:v>
                </c:pt>
                <c:pt idx="3651">
                  <c:v>38162</c:v>
                </c:pt>
                <c:pt idx="3652">
                  <c:v>38163</c:v>
                </c:pt>
                <c:pt idx="3653">
                  <c:v>38166</c:v>
                </c:pt>
                <c:pt idx="3654">
                  <c:v>38167</c:v>
                </c:pt>
                <c:pt idx="3655">
                  <c:v>38168</c:v>
                </c:pt>
                <c:pt idx="3656">
                  <c:v>38169</c:v>
                </c:pt>
                <c:pt idx="3657">
                  <c:v>38170</c:v>
                </c:pt>
                <c:pt idx="3658">
                  <c:v>38174</c:v>
                </c:pt>
                <c:pt idx="3659">
                  <c:v>38175</c:v>
                </c:pt>
                <c:pt idx="3660">
                  <c:v>38176</c:v>
                </c:pt>
                <c:pt idx="3661">
                  <c:v>38177</c:v>
                </c:pt>
                <c:pt idx="3662">
                  <c:v>38180</c:v>
                </c:pt>
                <c:pt idx="3663">
                  <c:v>38181</c:v>
                </c:pt>
                <c:pt idx="3664">
                  <c:v>38182</c:v>
                </c:pt>
                <c:pt idx="3665">
                  <c:v>38183</c:v>
                </c:pt>
                <c:pt idx="3666">
                  <c:v>38184</c:v>
                </c:pt>
                <c:pt idx="3667">
                  <c:v>38187</c:v>
                </c:pt>
                <c:pt idx="3668">
                  <c:v>38188</c:v>
                </c:pt>
                <c:pt idx="3669">
                  <c:v>38189</c:v>
                </c:pt>
                <c:pt idx="3670">
                  <c:v>38190</c:v>
                </c:pt>
                <c:pt idx="3671">
                  <c:v>38191</c:v>
                </c:pt>
                <c:pt idx="3672">
                  <c:v>38194</c:v>
                </c:pt>
                <c:pt idx="3673">
                  <c:v>38195</c:v>
                </c:pt>
                <c:pt idx="3674">
                  <c:v>38196</c:v>
                </c:pt>
                <c:pt idx="3675">
                  <c:v>38197</c:v>
                </c:pt>
                <c:pt idx="3676">
                  <c:v>38198</c:v>
                </c:pt>
                <c:pt idx="3677">
                  <c:v>38201</c:v>
                </c:pt>
                <c:pt idx="3678">
                  <c:v>38202</c:v>
                </c:pt>
                <c:pt idx="3679">
                  <c:v>38203</c:v>
                </c:pt>
                <c:pt idx="3680">
                  <c:v>38204</c:v>
                </c:pt>
                <c:pt idx="3681">
                  <c:v>38205</c:v>
                </c:pt>
                <c:pt idx="3682">
                  <c:v>38208</c:v>
                </c:pt>
                <c:pt idx="3683">
                  <c:v>38209</c:v>
                </c:pt>
                <c:pt idx="3684">
                  <c:v>38210</c:v>
                </c:pt>
                <c:pt idx="3685">
                  <c:v>38211</c:v>
                </c:pt>
                <c:pt idx="3686">
                  <c:v>38212</c:v>
                </c:pt>
                <c:pt idx="3687">
                  <c:v>38215</c:v>
                </c:pt>
                <c:pt idx="3688">
                  <c:v>38216</c:v>
                </c:pt>
                <c:pt idx="3689">
                  <c:v>38217</c:v>
                </c:pt>
                <c:pt idx="3690">
                  <c:v>38218</c:v>
                </c:pt>
                <c:pt idx="3691">
                  <c:v>38219</c:v>
                </c:pt>
                <c:pt idx="3692">
                  <c:v>38222</c:v>
                </c:pt>
                <c:pt idx="3693">
                  <c:v>38223</c:v>
                </c:pt>
                <c:pt idx="3694">
                  <c:v>38224</c:v>
                </c:pt>
                <c:pt idx="3695">
                  <c:v>38225</c:v>
                </c:pt>
                <c:pt idx="3696">
                  <c:v>38226</c:v>
                </c:pt>
                <c:pt idx="3697">
                  <c:v>38229</c:v>
                </c:pt>
                <c:pt idx="3698">
                  <c:v>38230</c:v>
                </c:pt>
                <c:pt idx="3699">
                  <c:v>38231</c:v>
                </c:pt>
                <c:pt idx="3700">
                  <c:v>38232</c:v>
                </c:pt>
                <c:pt idx="3701">
                  <c:v>38233</c:v>
                </c:pt>
                <c:pt idx="3702">
                  <c:v>38237</c:v>
                </c:pt>
                <c:pt idx="3703">
                  <c:v>38238</c:v>
                </c:pt>
                <c:pt idx="3704">
                  <c:v>38239</c:v>
                </c:pt>
                <c:pt idx="3705">
                  <c:v>38240</c:v>
                </c:pt>
                <c:pt idx="3706">
                  <c:v>38243</c:v>
                </c:pt>
                <c:pt idx="3707">
                  <c:v>38244</c:v>
                </c:pt>
                <c:pt idx="3708">
                  <c:v>38245</c:v>
                </c:pt>
                <c:pt idx="3709">
                  <c:v>38246</c:v>
                </c:pt>
                <c:pt idx="3710">
                  <c:v>38247</c:v>
                </c:pt>
                <c:pt idx="3711">
                  <c:v>38250</c:v>
                </c:pt>
                <c:pt idx="3712">
                  <c:v>38251</c:v>
                </c:pt>
                <c:pt idx="3713">
                  <c:v>38252</c:v>
                </c:pt>
                <c:pt idx="3714">
                  <c:v>38253</c:v>
                </c:pt>
                <c:pt idx="3715">
                  <c:v>38254</c:v>
                </c:pt>
                <c:pt idx="3716">
                  <c:v>38257</c:v>
                </c:pt>
                <c:pt idx="3717">
                  <c:v>38258</c:v>
                </c:pt>
                <c:pt idx="3718">
                  <c:v>38259</c:v>
                </c:pt>
                <c:pt idx="3719">
                  <c:v>38260</c:v>
                </c:pt>
                <c:pt idx="3720">
                  <c:v>38261</c:v>
                </c:pt>
                <c:pt idx="3721">
                  <c:v>38264</c:v>
                </c:pt>
                <c:pt idx="3722">
                  <c:v>38265</c:v>
                </c:pt>
                <c:pt idx="3723">
                  <c:v>38266</c:v>
                </c:pt>
                <c:pt idx="3724">
                  <c:v>38267</c:v>
                </c:pt>
                <c:pt idx="3725">
                  <c:v>38268</c:v>
                </c:pt>
                <c:pt idx="3726">
                  <c:v>38271</c:v>
                </c:pt>
                <c:pt idx="3727">
                  <c:v>38272</c:v>
                </c:pt>
                <c:pt idx="3728">
                  <c:v>38273</c:v>
                </c:pt>
                <c:pt idx="3729">
                  <c:v>38274</c:v>
                </c:pt>
                <c:pt idx="3730">
                  <c:v>38275</c:v>
                </c:pt>
                <c:pt idx="3731">
                  <c:v>38278</c:v>
                </c:pt>
                <c:pt idx="3732">
                  <c:v>38279</c:v>
                </c:pt>
                <c:pt idx="3733">
                  <c:v>38280</c:v>
                </c:pt>
                <c:pt idx="3734">
                  <c:v>38281</c:v>
                </c:pt>
                <c:pt idx="3735">
                  <c:v>38282</c:v>
                </c:pt>
                <c:pt idx="3736">
                  <c:v>38285</c:v>
                </c:pt>
                <c:pt idx="3737">
                  <c:v>38286</c:v>
                </c:pt>
                <c:pt idx="3738">
                  <c:v>38287</c:v>
                </c:pt>
                <c:pt idx="3739">
                  <c:v>38288</c:v>
                </c:pt>
                <c:pt idx="3740">
                  <c:v>38289</c:v>
                </c:pt>
                <c:pt idx="3741">
                  <c:v>38292</c:v>
                </c:pt>
                <c:pt idx="3742">
                  <c:v>38293</c:v>
                </c:pt>
                <c:pt idx="3743">
                  <c:v>38294</c:v>
                </c:pt>
                <c:pt idx="3744">
                  <c:v>38295</c:v>
                </c:pt>
                <c:pt idx="3745">
                  <c:v>38296</c:v>
                </c:pt>
                <c:pt idx="3746">
                  <c:v>38299</c:v>
                </c:pt>
                <c:pt idx="3747">
                  <c:v>38300</c:v>
                </c:pt>
                <c:pt idx="3748">
                  <c:v>38301</c:v>
                </c:pt>
                <c:pt idx="3749">
                  <c:v>38302</c:v>
                </c:pt>
                <c:pt idx="3750">
                  <c:v>38303</c:v>
                </c:pt>
                <c:pt idx="3751">
                  <c:v>38306</c:v>
                </c:pt>
                <c:pt idx="3752">
                  <c:v>38307</c:v>
                </c:pt>
                <c:pt idx="3753">
                  <c:v>38308</c:v>
                </c:pt>
                <c:pt idx="3754">
                  <c:v>38309</c:v>
                </c:pt>
                <c:pt idx="3755">
                  <c:v>38310</c:v>
                </c:pt>
                <c:pt idx="3756">
                  <c:v>38313</c:v>
                </c:pt>
                <c:pt idx="3757">
                  <c:v>38314</c:v>
                </c:pt>
                <c:pt idx="3758">
                  <c:v>38315</c:v>
                </c:pt>
                <c:pt idx="3759">
                  <c:v>38317</c:v>
                </c:pt>
                <c:pt idx="3760">
                  <c:v>38320</c:v>
                </c:pt>
                <c:pt idx="3761">
                  <c:v>38321</c:v>
                </c:pt>
                <c:pt idx="3762">
                  <c:v>38322</c:v>
                </c:pt>
                <c:pt idx="3763">
                  <c:v>38323</c:v>
                </c:pt>
                <c:pt idx="3764">
                  <c:v>38324</c:v>
                </c:pt>
                <c:pt idx="3765">
                  <c:v>38327</c:v>
                </c:pt>
                <c:pt idx="3766">
                  <c:v>38328</c:v>
                </c:pt>
                <c:pt idx="3767">
                  <c:v>38329</c:v>
                </c:pt>
                <c:pt idx="3768">
                  <c:v>38330</c:v>
                </c:pt>
                <c:pt idx="3769">
                  <c:v>38331</c:v>
                </c:pt>
                <c:pt idx="3770">
                  <c:v>38334</c:v>
                </c:pt>
                <c:pt idx="3771">
                  <c:v>38335</c:v>
                </c:pt>
                <c:pt idx="3772">
                  <c:v>38336</c:v>
                </c:pt>
                <c:pt idx="3773">
                  <c:v>38337</c:v>
                </c:pt>
                <c:pt idx="3774">
                  <c:v>38338</c:v>
                </c:pt>
                <c:pt idx="3775">
                  <c:v>38341</c:v>
                </c:pt>
                <c:pt idx="3776">
                  <c:v>38342</c:v>
                </c:pt>
                <c:pt idx="3777">
                  <c:v>38343</c:v>
                </c:pt>
                <c:pt idx="3778">
                  <c:v>38344</c:v>
                </c:pt>
                <c:pt idx="3779">
                  <c:v>38348</c:v>
                </c:pt>
                <c:pt idx="3780">
                  <c:v>38349</c:v>
                </c:pt>
                <c:pt idx="3781">
                  <c:v>38350</c:v>
                </c:pt>
                <c:pt idx="3782">
                  <c:v>38351</c:v>
                </c:pt>
                <c:pt idx="3783">
                  <c:v>38352</c:v>
                </c:pt>
                <c:pt idx="3784">
                  <c:v>38355</c:v>
                </c:pt>
                <c:pt idx="3785">
                  <c:v>38356</c:v>
                </c:pt>
                <c:pt idx="3786">
                  <c:v>38357</c:v>
                </c:pt>
                <c:pt idx="3787">
                  <c:v>38358</c:v>
                </c:pt>
                <c:pt idx="3788">
                  <c:v>38359</c:v>
                </c:pt>
                <c:pt idx="3789">
                  <c:v>38362</c:v>
                </c:pt>
                <c:pt idx="3790">
                  <c:v>38363</c:v>
                </c:pt>
                <c:pt idx="3791">
                  <c:v>38364</c:v>
                </c:pt>
                <c:pt idx="3792">
                  <c:v>38365</c:v>
                </c:pt>
                <c:pt idx="3793">
                  <c:v>38366</c:v>
                </c:pt>
                <c:pt idx="3794">
                  <c:v>38370</c:v>
                </c:pt>
                <c:pt idx="3795">
                  <c:v>38371</c:v>
                </c:pt>
                <c:pt idx="3796">
                  <c:v>38372</c:v>
                </c:pt>
                <c:pt idx="3797">
                  <c:v>38373</c:v>
                </c:pt>
                <c:pt idx="3798">
                  <c:v>38376</c:v>
                </c:pt>
                <c:pt idx="3799">
                  <c:v>38377</c:v>
                </c:pt>
                <c:pt idx="3800">
                  <c:v>38378</c:v>
                </c:pt>
                <c:pt idx="3801">
                  <c:v>38379</c:v>
                </c:pt>
                <c:pt idx="3802">
                  <c:v>38380</c:v>
                </c:pt>
                <c:pt idx="3803">
                  <c:v>38383</c:v>
                </c:pt>
                <c:pt idx="3804">
                  <c:v>38384</c:v>
                </c:pt>
                <c:pt idx="3805">
                  <c:v>38385</c:v>
                </c:pt>
                <c:pt idx="3806">
                  <c:v>38386</c:v>
                </c:pt>
                <c:pt idx="3807">
                  <c:v>38387</c:v>
                </c:pt>
                <c:pt idx="3808">
                  <c:v>38390</c:v>
                </c:pt>
                <c:pt idx="3809">
                  <c:v>38391</c:v>
                </c:pt>
                <c:pt idx="3810">
                  <c:v>38392</c:v>
                </c:pt>
                <c:pt idx="3811">
                  <c:v>38393</c:v>
                </c:pt>
                <c:pt idx="3812">
                  <c:v>38394</c:v>
                </c:pt>
                <c:pt idx="3813">
                  <c:v>38397</c:v>
                </c:pt>
                <c:pt idx="3814">
                  <c:v>38398</c:v>
                </c:pt>
                <c:pt idx="3815">
                  <c:v>38399</c:v>
                </c:pt>
                <c:pt idx="3816">
                  <c:v>38400</c:v>
                </c:pt>
                <c:pt idx="3817">
                  <c:v>38401</c:v>
                </c:pt>
                <c:pt idx="3818">
                  <c:v>38405</c:v>
                </c:pt>
                <c:pt idx="3819">
                  <c:v>38406</c:v>
                </c:pt>
                <c:pt idx="3820">
                  <c:v>38407</c:v>
                </c:pt>
                <c:pt idx="3821">
                  <c:v>38408</c:v>
                </c:pt>
                <c:pt idx="3822">
                  <c:v>38411</c:v>
                </c:pt>
                <c:pt idx="3823">
                  <c:v>38412</c:v>
                </c:pt>
                <c:pt idx="3824">
                  <c:v>38413</c:v>
                </c:pt>
                <c:pt idx="3825">
                  <c:v>38414</c:v>
                </c:pt>
                <c:pt idx="3826">
                  <c:v>38415</c:v>
                </c:pt>
                <c:pt idx="3827">
                  <c:v>38418</c:v>
                </c:pt>
                <c:pt idx="3828">
                  <c:v>38419</c:v>
                </c:pt>
                <c:pt idx="3829">
                  <c:v>38420</c:v>
                </c:pt>
                <c:pt idx="3830">
                  <c:v>38421</c:v>
                </c:pt>
                <c:pt idx="3831">
                  <c:v>38422</c:v>
                </c:pt>
                <c:pt idx="3832">
                  <c:v>38425</c:v>
                </c:pt>
                <c:pt idx="3833">
                  <c:v>38426</c:v>
                </c:pt>
                <c:pt idx="3834">
                  <c:v>38427</c:v>
                </c:pt>
                <c:pt idx="3835">
                  <c:v>38428</c:v>
                </c:pt>
                <c:pt idx="3836">
                  <c:v>38429</c:v>
                </c:pt>
                <c:pt idx="3837">
                  <c:v>38432</c:v>
                </c:pt>
                <c:pt idx="3838">
                  <c:v>38433</c:v>
                </c:pt>
                <c:pt idx="3839">
                  <c:v>38434</c:v>
                </c:pt>
                <c:pt idx="3840">
                  <c:v>38435</c:v>
                </c:pt>
                <c:pt idx="3841">
                  <c:v>38439</c:v>
                </c:pt>
                <c:pt idx="3842">
                  <c:v>38440</c:v>
                </c:pt>
                <c:pt idx="3843">
                  <c:v>38441</c:v>
                </c:pt>
                <c:pt idx="3844">
                  <c:v>38442</c:v>
                </c:pt>
                <c:pt idx="3845">
                  <c:v>38443</c:v>
                </c:pt>
                <c:pt idx="3846">
                  <c:v>38446</c:v>
                </c:pt>
                <c:pt idx="3847">
                  <c:v>38447</c:v>
                </c:pt>
                <c:pt idx="3848">
                  <c:v>38448</c:v>
                </c:pt>
                <c:pt idx="3849">
                  <c:v>38449</c:v>
                </c:pt>
                <c:pt idx="3850">
                  <c:v>38450</c:v>
                </c:pt>
                <c:pt idx="3851">
                  <c:v>38453</c:v>
                </c:pt>
                <c:pt idx="3852">
                  <c:v>38454</c:v>
                </c:pt>
                <c:pt idx="3853">
                  <c:v>38455</c:v>
                </c:pt>
                <c:pt idx="3854">
                  <c:v>38456</c:v>
                </c:pt>
                <c:pt idx="3855">
                  <c:v>38457</c:v>
                </c:pt>
                <c:pt idx="3856">
                  <c:v>38460</c:v>
                </c:pt>
                <c:pt idx="3857">
                  <c:v>38461</c:v>
                </c:pt>
                <c:pt idx="3858">
                  <c:v>38462</c:v>
                </c:pt>
                <c:pt idx="3859">
                  <c:v>38463</c:v>
                </c:pt>
                <c:pt idx="3860">
                  <c:v>38464</c:v>
                </c:pt>
                <c:pt idx="3861">
                  <c:v>38467</c:v>
                </c:pt>
                <c:pt idx="3862">
                  <c:v>38468</c:v>
                </c:pt>
                <c:pt idx="3863">
                  <c:v>38469</c:v>
                </c:pt>
                <c:pt idx="3864">
                  <c:v>38470</c:v>
                </c:pt>
                <c:pt idx="3865">
                  <c:v>38471</c:v>
                </c:pt>
                <c:pt idx="3866">
                  <c:v>38474</c:v>
                </c:pt>
                <c:pt idx="3867">
                  <c:v>38475</c:v>
                </c:pt>
                <c:pt idx="3868">
                  <c:v>38476</c:v>
                </c:pt>
                <c:pt idx="3869">
                  <c:v>38477</c:v>
                </c:pt>
                <c:pt idx="3870">
                  <c:v>38478</c:v>
                </c:pt>
                <c:pt idx="3871">
                  <c:v>38481</c:v>
                </c:pt>
                <c:pt idx="3872">
                  <c:v>38482</c:v>
                </c:pt>
                <c:pt idx="3873">
                  <c:v>38483</c:v>
                </c:pt>
                <c:pt idx="3874">
                  <c:v>38484</c:v>
                </c:pt>
                <c:pt idx="3875">
                  <c:v>38485</c:v>
                </c:pt>
                <c:pt idx="3876">
                  <c:v>38488</c:v>
                </c:pt>
                <c:pt idx="3877">
                  <c:v>38489</c:v>
                </c:pt>
                <c:pt idx="3878">
                  <c:v>38490</c:v>
                </c:pt>
                <c:pt idx="3879">
                  <c:v>38491</c:v>
                </c:pt>
                <c:pt idx="3880">
                  <c:v>38492</c:v>
                </c:pt>
                <c:pt idx="3881">
                  <c:v>38495</c:v>
                </c:pt>
                <c:pt idx="3882">
                  <c:v>38496</c:v>
                </c:pt>
                <c:pt idx="3883">
                  <c:v>38497</c:v>
                </c:pt>
                <c:pt idx="3884">
                  <c:v>38498</c:v>
                </c:pt>
                <c:pt idx="3885">
                  <c:v>38499</c:v>
                </c:pt>
                <c:pt idx="3886">
                  <c:v>38503</c:v>
                </c:pt>
                <c:pt idx="3887">
                  <c:v>38504</c:v>
                </c:pt>
                <c:pt idx="3888">
                  <c:v>38505</c:v>
                </c:pt>
                <c:pt idx="3889">
                  <c:v>38506</c:v>
                </c:pt>
                <c:pt idx="3890">
                  <c:v>38509</c:v>
                </c:pt>
                <c:pt idx="3891">
                  <c:v>38510</c:v>
                </c:pt>
                <c:pt idx="3892">
                  <c:v>38511</c:v>
                </c:pt>
                <c:pt idx="3893">
                  <c:v>38512</c:v>
                </c:pt>
                <c:pt idx="3894">
                  <c:v>38513</c:v>
                </c:pt>
                <c:pt idx="3895">
                  <c:v>38516</c:v>
                </c:pt>
                <c:pt idx="3896">
                  <c:v>38517</c:v>
                </c:pt>
                <c:pt idx="3897">
                  <c:v>38518</c:v>
                </c:pt>
                <c:pt idx="3898">
                  <c:v>38519</c:v>
                </c:pt>
                <c:pt idx="3899">
                  <c:v>38520</c:v>
                </c:pt>
                <c:pt idx="3900">
                  <c:v>38523</c:v>
                </c:pt>
                <c:pt idx="3901">
                  <c:v>38524</c:v>
                </c:pt>
                <c:pt idx="3902">
                  <c:v>38525</c:v>
                </c:pt>
                <c:pt idx="3903">
                  <c:v>38526</c:v>
                </c:pt>
                <c:pt idx="3904">
                  <c:v>38527</c:v>
                </c:pt>
                <c:pt idx="3905">
                  <c:v>38530</c:v>
                </c:pt>
                <c:pt idx="3906">
                  <c:v>38531</c:v>
                </c:pt>
                <c:pt idx="3907">
                  <c:v>38532</c:v>
                </c:pt>
                <c:pt idx="3908">
                  <c:v>38533</c:v>
                </c:pt>
                <c:pt idx="3909">
                  <c:v>38534</c:v>
                </c:pt>
                <c:pt idx="3910">
                  <c:v>38538</c:v>
                </c:pt>
                <c:pt idx="3911">
                  <c:v>38539</c:v>
                </c:pt>
                <c:pt idx="3912">
                  <c:v>38540</c:v>
                </c:pt>
                <c:pt idx="3913">
                  <c:v>38541</c:v>
                </c:pt>
                <c:pt idx="3914">
                  <c:v>38544</c:v>
                </c:pt>
                <c:pt idx="3915">
                  <c:v>38545</c:v>
                </c:pt>
                <c:pt idx="3916">
                  <c:v>38546</c:v>
                </c:pt>
                <c:pt idx="3917">
                  <c:v>38547</c:v>
                </c:pt>
                <c:pt idx="3918">
                  <c:v>38548</c:v>
                </c:pt>
                <c:pt idx="3919">
                  <c:v>38551</c:v>
                </c:pt>
                <c:pt idx="3920">
                  <c:v>38552</c:v>
                </c:pt>
                <c:pt idx="3921">
                  <c:v>38553</c:v>
                </c:pt>
                <c:pt idx="3922">
                  <c:v>38554</c:v>
                </c:pt>
                <c:pt idx="3923">
                  <c:v>38555</c:v>
                </c:pt>
                <c:pt idx="3924">
                  <c:v>38558</c:v>
                </c:pt>
                <c:pt idx="3925">
                  <c:v>38559</c:v>
                </c:pt>
                <c:pt idx="3926">
                  <c:v>38560</c:v>
                </c:pt>
                <c:pt idx="3927">
                  <c:v>38561</c:v>
                </c:pt>
                <c:pt idx="3928">
                  <c:v>38562</c:v>
                </c:pt>
                <c:pt idx="3929">
                  <c:v>38565</c:v>
                </c:pt>
                <c:pt idx="3930">
                  <c:v>38566</c:v>
                </c:pt>
                <c:pt idx="3931">
                  <c:v>38567</c:v>
                </c:pt>
                <c:pt idx="3932">
                  <c:v>38568</c:v>
                </c:pt>
                <c:pt idx="3933">
                  <c:v>38569</c:v>
                </c:pt>
                <c:pt idx="3934">
                  <c:v>38572</c:v>
                </c:pt>
                <c:pt idx="3935">
                  <c:v>38573</c:v>
                </c:pt>
                <c:pt idx="3936">
                  <c:v>38574</c:v>
                </c:pt>
                <c:pt idx="3937">
                  <c:v>38575</c:v>
                </c:pt>
                <c:pt idx="3938">
                  <c:v>38576</c:v>
                </c:pt>
                <c:pt idx="3939">
                  <c:v>38579</c:v>
                </c:pt>
                <c:pt idx="3940">
                  <c:v>38580</c:v>
                </c:pt>
                <c:pt idx="3941">
                  <c:v>38581</c:v>
                </c:pt>
                <c:pt idx="3942">
                  <c:v>38582</c:v>
                </c:pt>
                <c:pt idx="3943">
                  <c:v>38583</c:v>
                </c:pt>
                <c:pt idx="3944">
                  <c:v>38586</c:v>
                </c:pt>
                <c:pt idx="3945">
                  <c:v>38587</c:v>
                </c:pt>
                <c:pt idx="3946">
                  <c:v>38588</c:v>
                </c:pt>
                <c:pt idx="3947">
                  <c:v>38589</c:v>
                </c:pt>
                <c:pt idx="3948">
                  <c:v>38590</c:v>
                </c:pt>
                <c:pt idx="3949">
                  <c:v>38593</c:v>
                </c:pt>
                <c:pt idx="3950">
                  <c:v>38594</c:v>
                </c:pt>
                <c:pt idx="3951">
                  <c:v>38595</c:v>
                </c:pt>
                <c:pt idx="3952">
                  <c:v>38596</c:v>
                </c:pt>
                <c:pt idx="3953">
                  <c:v>38597</c:v>
                </c:pt>
                <c:pt idx="3954">
                  <c:v>38601</c:v>
                </c:pt>
                <c:pt idx="3955">
                  <c:v>38602</c:v>
                </c:pt>
                <c:pt idx="3956">
                  <c:v>38603</c:v>
                </c:pt>
                <c:pt idx="3957">
                  <c:v>38604</c:v>
                </c:pt>
                <c:pt idx="3958">
                  <c:v>38607</c:v>
                </c:pt>
                <c:pt idx="3959">
                  <c:v>38608</c:v>
                </c:pt>
                <c:pt idx="3960">
                  <c:v>38609</c:v>
                </c:pt>
                <c:pt idx="3961">
                  <c:v>38610</c:v>
                </c:pt>
                <c:pt idx="3962">
                  <c:v>38611</c:v>
                </c:pt>
                <c:pt idx="3963">
                  <c:v>38614</c:v>
                </c:pt>
                <c:pt idx="3964">
                  <c:v>38615</c:v>
                </c:pt>
                <c:pt idx="3965">
                  <c:v>38616</c:v>
                </c:pt>
                <c:pt idx="3966">
                  <c:v>38617</c:v>
                </c:pt>
                <c:pt idx="3967">
                  <c:v>38618</c:v>
                </c:pt>
                <c:pt idx="3968">
                  <c:v>38621</c:v>
                </c:pt>
                <c:pt idx="3969">
                  <c:v>38622</c:v>
                </c:pt>
                <c:pt idx="3970">
                  <c:v>38623</c:v>
                </c:pt>
                <c:pt idx="3971">
                  <c:v>38624</c:v>
                </c:pt>
                <c:pt idx="3972">
                  <c:v>38625</c:v>
                </c:pt>
                <c:pt idx="3973">
                  <c:v>38628</c:v>
                </c:pt>
                <c:pt idx="3974">
                  <c:v>38629</c:v>
                </c:pt>
                <c:pt idx="3975">
                  <c:v>38630</c:v>
                </c:pt>
                <c:pt idx="3976">
                  <c:v>38631</c:v>
                </c:pt>
                <c:pt idx="3977">
                  <c:v>38632</c:v>
                </c:pt>
                <c:pt idx="3978">
                  <c:v>38635</c:v>
                </c:pt>
                <c:pt idx="3979">
                  <c:v>38636</c:v>
                </c:pt>
                <c:pt idx="3980">
                  <c:v>38637</c:v>
                </c:pt>
                <c:pt idx="3981">
                  <c:v>38638</c:v>
                </c:pt>
                <c:pt idx="3982">
                  <c:v>38639</c:v>
                </c:pt>
                <c:pt idx="3983">
                  <c:v>38642</c:v>
                </c:pt>
                <c:pt idx="3984">
                  <c:v>38643</c:v>
                </c:pt>
                <c:pt idx="3985">
                  <c:v>38644</c:v>
                </c:pt>
                <c:pt idx="3986">
                  <c:v>38645</c:v>
                </c:pt>
                <c:pt idx="3987">
                  <c:v>38646</c:v>
                </c:pt>
                <c:pt idx="3988">
                  <c:v>38649</c:v>
                </c:pt>
                <c:pt idx="3989">
                  <c:v>38650</c:v>
                </c:pt>
                <c:pt idx="3990">
                  <c:v>38651</c:v>
                </c:pt>
                <c:pt idx="3991">
                  <c:v>38652</c:v>
                </c:pt>
                <c:pt idx="3992">
                  <c:v>38653</c:v>
                </c:pt>
                <c:pt idx="3993">
                  <c:v>38656</c:v>
                </c:pt>
                <c:pt idx="3994">
                  <c:v>38657</c:v>
                </c:pt>
                <c:pt idx="3995">
                  <c:v>38658</c:v>
                </c:pt>
                <c:pt idx="3996">
                  <c:v>38659</c:v>
                </c:pt>
                <c:pt idx="3997">
                  <c:v>38660</c:v>
                </c:pt>
                <c:pt idx="3998">
                  <c:v>38663</c:v>
                </c:pt>
                <c:pt idx="3999">
                  <c:v>38664</c:v>
                </c:pt>
                <c:pt idx="4000">
                  <c:v>38665</c:v>
                </c:pt>
                <c:pt idx="4001">
                  <c:v>38666</c:v>
                </c:pt>
                <c:pt idx="4002">
                  <c:v>38667</c:v>
                </c:pt>
                <c:pt idx="4003">
                  <c:v>38670</c:v>
                </c:pt>
                <c:pt idx="4004">
                  <c:v>38671</c:v>
                </c:pt>
                <c:pt idx="4005">
                  <c:v>38672</c:v>
                </c:pt>
                <c:pt idx="4006">
                  <c:v>38673</c:v>
                </c:pt>
                <c:pt idx="4007">
                  <c:v>38674</c:v>
                </c:pt>
                <c:pt idx="4008">
                  <c:v>38677</c:v>
                </c:pt>
                <c:pt idx="4009">
                  <c:v>38678</c:v>
                </c:pt>
                <c:pt idx="4010">
                  <c:v>38679</c:v>
                </c:pt>
                <c:pt idx="4011">
                  <c:v>38681</c:v>
                </c:pt>
                <c:pt idx="4012">
                  <c:v>38684</c:v>
                </c:pt>
                <c:pt idx="4013">
                  <c:v>38685</c:v>
                </c:pt>
                <c:pt idx="4014">
                  <c:v>38686</c:v>
                </c:pt>
                <c:pt idx="4015">
                  <c:v>38687</c:v>
                </c:pt>
                <c:pt idx="4016">
                  <c:v>38688</c:v>
                </c:pt>
                <c:pt idx="4017">
                  <c:v>38691</c:v>
                </c:pt>
                <c:pt idx="4018">
                  <c:v>38692</c:v>
                </c:pt>
                <c:pt idx="4019">
                  <c:v>38693</c:v>
                </c:pt>
                <c:pt idx="4020">
                  <c:v>38694</c:v>
                </c:pt>
                <c:pt idx="4021">
                  <c:v>38695</c:v>
                </c:pt>
                <c:pt idx="4022">
                  <c:v>38698</c:v>
                </c:pt>
                <c:pt idx="4023">
                  <c:v>38699</c:v>
                </c:pt>
                <c:pt idx="4024">
                  <c:v>38700</c:v>
                </c:pt>
                <c:pt idx="4025">
                  <c:v>38701</c:v>
                </c:pt>
                <c:pt idx="4026">
                  <c:v>38702</c:v>
                </c:pt>
                <c:pt idx="4027">
                  <c:v>38705</c:v>
                </c:pt>
                <c:pt idx="4028">
                  <c:v>38706</c:v>
                </c:pt>
                <c:pt idx="4029">
                  <c:v>38707</c:v>
                </c:pt>
                <c:pt idx="4030">
                  <c:v>38708</c:v>
                </c:pt>
                <c:pt idx="4031">
                  <c:v>38709</c:v>
                </c:pt>
                <c:pt idx="4032">
                  <c:v>38713</c:v>
                </c:pt>
                <c:pt idx="4033">
                  <c:v>38714</c:v>
                </c:pt>
                <c:pt idx="4034">
                  <c:v>38715</c:v>
                </c:pt>
                <c:pt idx="4035">
                  <c:v>38716</c:v>
                </c:pt>
                <c:pt idx="4036">
                  <c:v>38720</c:v>
                </c:pt>
                <c:pt idx="4037">
                  <c:v>38721</c:v>
                </c:pt>
                <c:pt idx="4038">
                  <c:v>38722</c:v>
                </c:pt>
                <c:pt idx="4039">
                  <c:v>38723</c:v>
                </c:pt>
                <c:pt idx="4040">
                  <c:v>38726</c:v>
                </c:pt>
                <c:pt idx="4041">
                  <c:v>38727</c:v>
                </c:pt>
                <c:pt idx="4042">
                  <c:v>38728</c:v>
                </c:pt>
                <c:pt idx="4043">
                  <c:v>38729</c:v>
                </c:pt>
                <c:pt idx="4044">
                  <c:v>38730</c:v>
                </c:pt>
                <c:pt idx="4045">
                  <c:v>38734</c:v>
                </c:pt>
                <c:pt idx="4046">
                  <c:v>38735</c:v>
                </c:pt>
                <c:pt idx="4047">
                  <c:v>38736</c:v>
                </c:pt>
                <c:pt idx="4048">
                  <c:v>38737</c:v>
                </c:pt>
                <c:pt idx="4049">
                  <c:v>38740</c:v>
                </c:pt>
                <c:pt idx="4050">
                  <c:v>38741</c:v>
                </c:pt>
                <c:pt idx="4051">
                  <c:v>38742</c:v>
                </c:pt>
                <c:pt idx="4052">
                  <c:v>38743</c:v>
                </c:pt>
                <c:pt idx="4053">
                  <c:v>38744</c:v>
                </c:pt>
                <c:pt idx="4054">
                  <c:v>38747</c:v>
                </c:pt>
                <c:pt idx="4055">
                  <c:v>38748</c:v>
                </c:pt>
                <c:pt idx="4056">
                  <c:v>38749</c:v>
                </c:pt>
                <c:pt idx="4057">
                  <c:v>38750</c:v>
                </c:pt>
                <c:pt idx="4058">
                  <c:v>38751</c:v>
                </c:pt>
                <c:pt idx="4059">
                  <c:v>38754</c:v>
                </c:pt>
                <c:pt idx="4060">
                  <c:v>38755</c:v>
                </c:pt>
                <c:pt idx="4061">
                  <c:v>38756</c:v>
                </c:pt>
                <c:pt idx="4062">
                  <c:v>38757</c:v>
                </c:pt>
                <c:pt idx="4063">
                  <c:v>38758</c:v>
                </c:pt>
                <c:pt idx="4064">
                  <c:v>38761</c:v>
                </c:pt>
                <c:pt idx="4065">
                  <c:v>38762</c:v>
                </c:pt>
                <c:pt idx="4066">
                  <c:v>38763</c:v>
                </c:pt>
                <c:pt idx="4067">
                  <c:v>38764</c:v>
                </c:pt>
                <c:pt idx="4068">
                  <c:v>38765</c:v>
                </c:pt>
                <c:pt idx="4069">
                  <c:v>38769</c:v>
                </c:pt>
                <c:pt idx="4070">
                  <c:v>38770</c:v>
                </c:pt>
                <c:pt idx="4071">
                  <c:v>38771</c:v>
                </c:pt>
                <c:pt idx="4072">
                  <c:v>38772</c:v>
                </c:pt>
                <c:pt idx="4073">
                  <c:v>38775</c:v>
                </c:pt>
                <c:pt idx="4074">
                  <c:v>38776</c:v>
                </c:pt>
                <c:pt idx="4075">
                  <c:v>38777</c:v>
                </c:pt>
                <c:pt idx="4076">
                  <c:v>38778</c:v>
                </c:pt>
                <c:pt idx="4077">
                  <c:v>38779</c:v>
                </c:pt>
                <c:pt idx="4078">
                  <c:v>38782</c:v>
                </c:pt>
                <c:pt idx="4079">
                  <c:v>38783</c:v>
                </c:pt>
                <c:pt idx="4080">
                  <c:v>38784</c:v>
                </c:pt>
                <c:pt idx="4081">
                  <c:v>38785</c:v>
                </c:pt>
                <c:pt idx="4082">
                  <c:v>38786</c:v>
                </c:pt>
                <c:pt idx="4083">
                  <c:v>38789</c:v>
                </c:pt>
                <c:pt idx="4084">
                  <c:v>38790</c:v>
                </c:pt>
                <c:pt idx="4085">
                  <c:v>38791</c:v>
                </c:pt>
                <c:pt idx="4086">
                  <c:v>38792</c:v>
                </c:pt>
                <c:pt idx="4087">
                  <c:v>38793</c:v>
                </c:pt>
                <c:pt idx="4088">
                  <c:v>38796</c:v>
                </c:pt>
                <c:pt idx="4089">
                  <c:v>38797</c:v>
                </c:pt>
                <c:pt idx="4090">
                  <c:v>38798</c:v>
                </c:pt>
                <c:pt idx="4091">
                  <c:v>38799</c:v>
                </c:pt>
                <c:pt idx="4092">
                  <c:v>38800</c:v>
                </c:pt>
                <c:pt idx="4093">
                  <c:v>38803</c:v>
                </c:pt>
                <c:pt idx="4094">
                  <c:v>38804</c:v>
                </c:pt>
                <c:pt idx="4095">
                  <c:v>38805</c:v>
                </c:pt>
                <c:pt idx="4096">
                  <c:v>38806</c:v>
                </c:pt>
                <c:pt idx="4097">
                  <c:v>38807</c:v>
                </c:pt>
                <c:pt idx="4098">
                  <c:v>38810</c:v>
                </c:pt>
                <c:pt idx="4099">
                  <c:v>38811</c:v>
                </c:pt>
                <c:pt idx="4100">
                  <c:v>38812</c:v>
                </c:pt>
                <c:pt idx="4101">
                  <c:v>38813</c:v>
                </c:pt>
                <c:pt idx="4102">
                  <c:v>38814</c:v>
                </c:pt>
                <c:pt idx="4103">
                  <c:v>38817</c:v>
                </c:pt>
                <c:pt idx="4104">
                  <c:v>38818</c:v>
                </c:pt>
                <c:pt idx="4105">
                  <c:v>38819</c:v>
                </c:pt>
                <c:pt idx="4106">
                  <c:v>38820</c:v>
                </c:pt>
                <c:pt idx="4107">
                  <c:v>38824</c:v>
                </c:pt>
                <c:pt idx="4108">
                  <c:v>38825</c:v>
                </c:pt>
                <c:pt idx="4109">
                  <c:v>38826</c:v>
                </c:pt>
                <c:pt idx="4110">
                  <c:v>38827</c:v>
                </c:pt>
                <c:pt idx="4111">
                  <c:v>38828</c:v>
                </c:pt>
                <c:pt idx="4112">
                  <c:v>38831</c:v>
                </c:pt>
                <c:pt idx="4113">
                  <c:v>38832</c:v>
                </c:pt>
                <c:pt idx="4114">
                  <c:v>38833</c:v>
                </c:pt>
                <c:pt idx="4115">
                  <c:v>38834</c:v>
                </c:pt>
                <c:pt idx="4116">
                  <c:v>38835</c:v>
                </c:pt>
                <c:pt idx="4117">
                  <c:v>38838</c:v>
                </c:pt>
                <c:pt idx="4118">
                  <c:v>38839</c:v>
                </c:pt>
                <c:pt idx="4119">
                  <c:v>38840</c:v>
                </c:pt>
                <c:pt idx="4120">
                  <c:v>38841</c:v>
                </c:pt>
                <c:pt idx="4121">
                  <c:v>38842</c:v>
                </c:pt>
                <c:pt idx="4122">
                  <c:v>38845</c:v>
                </c:pt>
                <c:pt idx="4123">
                  <c:v>38846</c:v>
                </c:pt>
                <c:pt idx="4124">
                  <c:v>38847</c:v>
                </c:pt>
                <c:pt idx="4125">
                  <c:v>38848</c:v>
                </c:pt>
                <c:pt idx="4126">
                  <c:v>38849</c:v>
                </c:pt>
                <c:pt idx="4127">
                  <c:v>38852</c:v>
                </c:pt>
                <c:pt idx="4128">
                  <c:v>38853</c:v>
                </c:pt>
                <c:pt idx="4129">
                  <c:v>38854</c:v>
                </c:pt>
                <c:pt idx="4130">
                  <c:v>38855</c:v>
                </c:pt>
                <c:pt idx="4131">
                  <c:v>38856</c:v>
                </c:pt>
                <c:pt idx="4132">
                  <c:v>38859</c:v>
                </c:pt>
                <c:pt idx="4133">
                  <c:v>38860</c:v>
                </c:pt>
                <c:pt idx="4134">
                  <c:v>38861</c:v>
                </c:pt>
                <c:pt idx="4135">
                  <c:v>38862</c:v>
                </c:pt>
                <c:pt idx="4136">
                  <c:v>38863</c:v>
                </c:pt>
                <c:pt idx="4137">
                  <c:v>38867</c:v>
                </c:pt>
                <c:pt idx="4138">
                  <c:v>38868</c:v>
                </c:pt>
                <c:pt idx="4139">
                  <c:v>38869</c:v>
                </c:pt>
                <c:pt idx="4140">
                  <c:v>38870</c:v>
                </c:pt>
                <c:pt idx="4141">
                  <c:v>38873</c:v>
                </c:pt>
                <c:pt idx="4142">
                  <c:v>38874</c:v>
                </c:pt>
                <c:pt idx="4143">
                  <c:v>38875</c:v>
                </c:pt>
                <c:pt idx="4144">
                  <c:v>38876</c:v>
                </c:pt>
                <c:pt idx="4145">
                  <c:v>38877</c:v>
                </c:pt>
                <c:pt idx="4146">
                  <c:v>38880</c:v>
                </c:pt>
                <c:pt idx="4147">
                  <c:v>38881</c:v>
                </c:pt>
                <c:pt idx="4148">
                  <c:v>38882</c:v>
                </c:pt>
                <c:pt idx="4149">
                  <c:v>38883</c:v>
                </c:pt>
                <c:pt idx="4150">
                  <c:v>38884</c:v>
                </c:pt>
                <c:pt idx="4151">
                  <c:v>38887</c:v>
                </c:pt>
                <c:pt idx="4152">
                  <c:v>38888</c:v>
                </c:pt>
                <c:pt idx="4153">
                  <c:v>38889</c:v>
                </c:pt>
                <c:pt idx="4154">
                  <c:v>38890</c:v>
                </c:pt>
                <c:pt idx="4155">
                  <c:v>38891</c:v>
                </c:pt>
                <c:pt idx="4156">
                  <c:v>38894</c:v>
                </c:pt>
                <c:pt idx="4157">
                  <c:v>38895</c:v>
                </c:pt>
                <c:pt idx="4158">
                  <c:v>38896</c:v>
                </c:pt>
                <c:pt idx="4159">
                  <c:v>38897</c:v>
                </c:pt>
                <c:pt idx="4160">
                  <c:v>38898</c:v>
                </c:pt>
                <c:pt idx="4161">
                  <c:v>38901</c:v>
                </c:pt>
                <c:pt idx="4162">
                  <c:v>38903</c:v>
                </c:pt>
                <c:pt idx="4163">
                  <c:v>38904</c:v>
                </c:pt>
                <c:pt idx="4164">
                  <c:v>38905</c:v>
                </c:pt>
                <c:pt idx="4165">
                  <c:v>38908</c:v>
                </c:pt>
                <c:pt idx="4166">
                  <c:v>38909</c:v>
                </c:pt>
                <c:pt idx="4167">
                  <c:v>38910</c:v>
                </c:pt>
                <c:pt idx="4168">
                  <c:v>38911</c:v>
                </c:pt>
                <c:pt idx="4169">
                  <c:v>38912</c:v>
                </c:pt>
                <c:pt idx="4170">
                  <c:v>38915</c:v>
                </c:pt>
                <c:pt idx="4171">
                  <c:v>38916</c:v>
                </c:pt>
                <c:pt idx="4172">
                  <c:v>38917</c:v>
                </c:pt>
                <c:pt idx="4173">
                  <c:v>38918</c:v>
                </c:pt>
                <c:pt idx="4174">
                  <c:v>38919</c:v>
                </c:pt>
                <c:pt idx="4175">
                  <c:v>38922</c:v>
                </c:pt>
                <c:pt idx="4176">
                  <c:v>38923</c:v>
                </c:pt>
                <c:pt idx="4177">
                  <c:v>38924</c:v>
                </c:pt>
                <c:pt idx="4178">
                  <c:v>38925</c:v>
                </c:pt>
                <c:pt idx="4179">
                  <c:v>38926</c:v>
                </c:pt>
                <c:pt idx="4180">
                  <c:v>38929</c:v>
                </c:pt>
                <c:pt idx="4181">
                  <c:v>38930</c:v>
                </c:pt>
                <c:pt idx="4182">
                  <c:v>38931</c:v>
                </c:pt>
                <c:pt idx="4183">
                  <c:v>38932</c:v>
                </c:pt>
                <c:pt idx="4184">
                  <c:v>38933</c:v>
                </c:pt>
                <c:pt idx="4185">
                  <c:v>38936</c:v>
                </c:pt>
                <c:pt idx="4186">
                  <c:v>38937</c:v>
                </c:pt>
                <c:pt idx="4187">
                  <c:v>38938</c:v>
                </c:pt>
                <c:pt idx="4188">
                  <c:v>38939</c:v>
                </c:pt>
                <c:pt idx="4189">
                  <c:v>38940</c:v>
                </c:pt>
                <c:pt idx="4190">
                  <c:v>38943</c:v>
                </c:pt>
                <c:pt idx="4191">
                  <c:v>38944</c:v>
                </c:pt>
                <c:pt idx="4192">
                  <c:v>38945</c:v>
                </c:pt>
                <c:pt idx="4193">
                  <c:v>38946</c:v>
                </c:pt>
                <c:pt idx="4194">
                  <c:v>38947</c:v>
                </c:pt>
                <c:pt idx="4195">
                  <c:v>38950</c:v>
                </c:pt>
                <c:pt idx="4196">
                  <c:v>38951</c:v>
                </c:pt>
                <c:pt idx="4197">
                  <c:v>38952</c:v>
                </c:pt>
                <c:pt idx="4198">
                  <c:v>38953</c:v>
                </c:pt>
                <c:pt idx="4199">
                  <c:v>38954</c:v>
                </c:pt>
                <c:pt idx="4200">
                  <c:v>38957</c:v>
                </c:pt>
                <c:pt idx="4201">
                  <c:v>38958</c:v>
                </c:pt>
                <c:pt idx="4202">
                  <c:v>38959</c:v>
                </c:pt>
                <c:pt idx="4203">
                  <c:v>38960</c:v>
                </c:pt>
                <c:pt idx="4204">
                  <c:v>38961</c:v>
                </c:pt>
                <c:pt idx="4205">
                  <c:v>38965</c:v>
                </c:pt>
                <c:pt idx="4206">
                  <c:v>38966</c:v>
                </c:pt>
                <c:pt idx="4207">
                  <c:v>38967</c:v>
                </c:pt>
                <c:pt idx="4208">
                  <c:v>38968</c:v>
                </c:pt>
                <c:pt idx="4209">
                  <c:v>38971</c:v>
                </c:pt>
                <c:pt idx="4210">
                  <c:v>38972</c:v>
                </c:pt>
                <c:pt idx="4211">
                  <c:v>38973</c:v>
                </c:pt>
                <c:pt idx="4212">
                  <c:v>38974</c:v>
                </c:pt>
                <c:pt idx="4213">
                  <c:v>38975</c:v>
                </c:pt>
                <c:pt idx="4214">
                  <c:v>38978</c:v>
                </c:pt>
                <c:pt idx="4215">
                  <c:v>38979</c:v>
                </c:pt>
                <c:pt idx="4216">
                  <c:v>38980</c:v>
                </c:pt>
                <c:pt idx="4217">
                  <c:v>38981</c:v>
                </c:pt>
                <c:pt idx="4218">
                  <c:v>38982</c:v>
                </c:pt>
                <c:pt idx="4219">
                  <c:v>38985</c:v>
                </c:pt>
                <c:pt idx="4220">
                  <c:v>38986</c:v>
                </c:pt>
                <c:pt idx="4221">
                  <c:v>38987</c:v>
                </c:pt>
                <c:pt idx="4222">
                  <c:v>38988</c:v>
                </c:pt>
                <c:pt idx="4223">
                  <c:v>38989</c:v>
                </c:pt>
                <c:pt idx="4224">
                  <c:v>38992</c:v>
                </c:pt>
                <c:pt idx="4225">
                  <c:v>38993</c:v>
                </c:pt>
                <c:pt idx="4226">
                  <c:v>38994</c:v>
                </c:pt>
                <c:pt idx="4227">
                  <c:v>38995</c:v>
                </c:pt>
                <c:pt idx="4228">
                  <c:v>38996</c:v>
                </c:pt>
                <c:pt idx="4229">
                  <c:v>38999</c:v>
                </c:pt>
                <c:pt idx="4230">
                  <c:v>39000</c:v>
                </c:pt>
                <c:pt idx="4231">
                  <c:v>39001</c:v>
                </c:pt>
                <c:pt idx="4232">
                  <c:v>39002</c:v>
                </c:pt>
                <c:pt idx="4233">
                  <c:v>39003</c:v>
                </c:pt>
                <c:pt idx="4234">
                  <c:v>39006</c:v>
                </c:pt>
                <c:pt idx="4235">
                  <c:v>39007</c:v>
                </c:pt>
                <c:pt idx="4236">
                  <c:v>39008</c:v>
                </c:pt>
                <c:pt idx="4237">
                  <c:v>39009</c:v>
                </c:pt>
                <c:pt idx="4238">
                  <c:v>39010</c:v>
                </c:pt>
                <c:pt idx="4239">
                  <c:v>39013</c:v>
                </c:pt>
                <c:pt idx="4240">
                  <c:v>39014</c:v>
                </c:pt>
                <c:pt idx="4241">
                  <c:v>39015</c:v>
                </c:pt>
                <c:pt idx="4242">
                  <c:v>39016</c:v>
                </c:pt>
                <c:pt idx="4243">
                  <c:v>39017</c:v>
                </c:pt>
                <c:pt idx="4244">
                  <c:v>39020</c:v>
                </c:pt>
                <c:pt idx="4245">
                  <c:v>39021</c:v>
                </c:pt>
                <c:pt idx="4246">
                  <c:v>39022</c:v>
                </c:pt>
                <c:pt idx="4247">
                  <c:v>39023</c:v>
                </c:pt>
                <c:pt idx="4248">
                  <c:v>39024</c:v>
                </c:pt>
                <c:pt idx="4249">
                  <c:v>39027</c:v>
                </c:pt>
                <c:pt idx="4250">
                  <c:v>39028</c:v>
                </c:pt>
                <c:pt idx="4251">
                  <c:v>39029</c:v>
                </c:pt>
                <c:pt idx="4252">
                  <c:v>39030</c:v>
                </c:pt>
                <c:pt idx="4253">
                  <c:v>39031</c:v>
                </c:pt>
                <c:pt idx="4254">
                  <c:v>39034</c:v>
                </c:pt>
                <c:pt idx="4255">
                  <c:v>39035</c:v>
                </c:pt>
                <c:pt idx="4256">
                  <c:v>39036</c:v>
                </c:pt>
                <c:pt idx="4257">
                  <c:v>39037</c:v>
                </c:pt>
                <c:pt idx="4258">
                  <c:v>39038</c:v>
                </c:pt>
                <c:pt idx="4259">
                  <c:v>39041</c:v>
                </c:pt>
                <c:pt idx="4260">
                  <c:v>39042</c:v>
                </c:pt>
                <c:pt idx="4261">
                  <c:v>39043</c:v>
                </c:pt>
                <c:pt idx="4262">
                  <c:v>39045</c:v>
                </c:pt>
                <c:pt idx="4263">
                  <c:v>39048</c:v>
                </c:pt>
                <c:pt idx="4264">
                  <c:v>39049</c:v>
                </c:pt>
                <c:pt idx="4265">
                  <c:v>39050</c:v>
                </c:pt>
                <c:pt idx="4266">
                  <c:v>39051</c:v>
                </c:pt>
                <c:pt idx="4267">
                  <c:v>39052</c:v>
                </c:pt>
                <c:pt idx="4268">
                  <c:v>39055</c:v>
                </c:pt>
                <c:pt idx="4269">
                  <c:v>39056</c:v>
                </c:pt>
                <c:pt idx="4270">
                  <c:v>39057</c:v>
                </c:pt>
                <c:pt idx="4271">
                  <c:v>39058</c:v>
                </c:pt>
                <c:pt idx="4272">
                  <c:v>39059</c:v>
                </c:pt>
                <c:pt idx="4273">
                  <c:v>39062</c:v>
                </c:pt>
                <c:pt idx="4274">
                  <c:v>39063</c:v>
                </c:pt>
                <c:pt idx="4275">
                  <c:v>39064</c:v>
                </c:pt>
                <c:pt idx="4276">
                  <c:v>39065</c:v>
                </c:pt>
                <c:pt idx="4277">
                  <c:v>39066</c:v>
                </c:pt>
                <c:pt idx="4278">
                  <c:v>39069</c:v>
                </c:pt>
                <c:pt idx="4279">
                  <c:v>39070</c:v>
                </c:pt>
                <c:pt idx="4280">
                  <c:v>39071</c:v>
                </c:pt>
                <c:pt idx="4281">
                  <c:v>39072</c:v>
                </c:pt>
                <c:pt idx="4282">
                  <c:v>39073</c:v>
                </c:pt>
                <c:pt idx="4283">
                  <c:v>39077</c:v>
                </c:pt>
                <c:pt idx="4284">
                  <c:v>39078</c:v>
                </c:pt>
                <c:pt idx="4285">
                  <c:v>39079</c:v>
                </c:pt>
                <c:pt idx="4286">
                  <c:v>39080</c:v>
                </c:pt>
                <c:pt idx="4287">
                  <c:v>39085</c:v>
                </c:pt>
                <c:pt idx="4288">
                  <c:v>39086</c:v>
                </c:pt>
                <c:pt idx="4289">
                  <c:v>39087</c:v>
                </c:pt>
                <c:pt idx="4290">
                  <c:v>39090</c:v>
                </c:pt>
                <c:pt idx="4291">
                  <c:v>39091</c:v>
                </c:pt>
                <c:pt idx="4292">
                  <c:v>39092</c:v>
                </c:pt>
                <c:pt idx="4293">
                  <c:v>39093</c:v>
                </c:pt>
                <c:pt idx="4294">
                  <c:v>39094</c:v>
                </c:pt>
                <c:pt idx="4295">
                  <c:v>39098</c:v>
                </c:pt>
                <c:pt idx="4296">
                  <c:v>39099</c:v>
                </c:pt>
                <c:pt idx="4297">
                  <c:v>39100</c:v>
                </c:pt>
                <c:pt idx="4298">
                  <c:v>39101</c:v>
                </c:pt>
                <c:pt idx="4299">
                  <c:v>39104</c:v>
                </c:pt>
                <c:pt idx="4300">
                  <c:v>39105</c:v>
                </c:pt>
                <c:pt idx="4301">
                  <c:v>39106</c:v>
                </c:pt>
                <c:pt idx="4302">
                  <c:v>39107</c:v>
                </c:pt>
                <c:pt idx="4303">
                  <c:v>39108</c:v>
                </c:pt>
                <c:pt idx="4304">
                  <c:v>39111</c:v>
                </c:pt>
                <c:pt idx="4305">
                  <c:v>39112</c:v>
                </c:pt>
                <c:pt idx="4306">
                  <c:v>39113</c:v>
                </c:pt>
                <c:pt idx="4307">
                  <c:v>39114</c:v>
                </c:pt>
                <c:pt idx="4308">
                  <c:v>39115</c:v>
                </c:pt>
                <c:pt idx="4309">
                  <c:v>39118</c:v>
                </c:pt>
                <c:pt idx="4310">
                  <c:v>39119</c:v>
                </c:pt>
                <c:pt idx="4311">
                  <c:v>39120</c:v>
                </c:pt>
                <c:pt idx="4312">
                  <c:v>39121</c:v>
                </c:pt>
                <c:pt idx="4313">
                  <c:v>39122</c:v>
                </c:pt>
                <c:pt idx="4314">
                  <c:v>39125</c:v>
                </c:pt>
                <c:pt idx="4315">
                  <c:v>39126</c:v>
                </c:pt>
                <c:pt idx="4316">
                  <c:v>39127</c:v>
                </c:pt>
                <c:pt idx="4317">
                  <c:v>39128</c:v>
                </c:pt>
                <c:pt idx="4318">
                  <c:v>39129</c:v>
                </c:pt>
                <c:pt idx="4319">
                  <c:v>39133</c:v>
                </c:pt>
                <c:pt idx="4320">
                  <c:v>39134</c:v>
                </c:pt>
                <c:pt idx="4321">
                  <c:v>39135</c:v>
                </c:pt>
                <c:pt idx="4322">
                  <c:v>39136</c:v>
                </c:pt>
                <c:pt idx="4323">
                  <c:v>39139</c:v>
                </c:pt>
                <c:pt idx="4324">
                  <c:v>39140</c:v>
                </c:pt>
                <c:pt idx="4325">
                  <c:v>39141</c:v>
                </c:pt>
                <c:pt idx="4326">
                  <c:v>39142</c:v>
                </c:pt>
                <c:pt idx="4327">
                  <c:v>39143</c:v>
                </c:pt>
                <c:pt idx="4328">
                  <c:v>39146</c:v>
                </c:pt>
                <c:pt idx="4329">
                  <c:v>39147</c:v>
                </c:pt>
                <c:pt idx="4330">
                  <c:v>39148</c:v>
                </c:pt>
                <c:pt idx="4331">
                  <c:v>39149</c:v>
                </c:pt>
                <c:pt idx="4332">
                  <c:v>39150</c:v>
                </c:pt>
                <c:pt idx="4333">
                  <c:v>39153</c:v>
                </c:pt>
                <c:pt idx="4334">
                  <c:v>39154</c:v>
                </c:pt>
                <c:pt idx="4335">
                  <c:v>39155</c:v>
                </c:pt>
                <c:pt idx="4336">
                  <c:v>39156</c:v>
                </c:pt>
                <c:pt idx="4337">
                  <c:v>39157</c:v>
                </c:pt>
                <c:pt idx="4338">
                  <c:v>39160</c:v>
                </c:pt>
                <c:pt idx="4339">
                  <c:v>39161</c:v>
                </c:pt>
                <c:pt idx="4340">
                  <c:v>39162</c:v>
                </c:pt>
                <c:pt idx="4341">
                  <c:v>39163</c:v>
                </c:pt>
                <c:pt idx="4342">
                  <c:v>39164</c:v>
                </c:pt>
                <c:pt idx="4343">
                  <c:v>39167</c:v>
                </c:pt>
                <c:pt idx="4344">
                  <c:v>39168</c:v>
                </c:pt>
                <c:pt idx="4345">
                  <c:v>39169</c:v>
                </c:pt>
                <c:pt idx="4346">
                  <c:v>39170</c:v>
                </c:pt>
                <c:pt idx="4347">
                  <c:v>39171</c:v>
                </c:pt>
                <c:pt idx="4348">
                  <c:v>39174</c:v>
                </c:pt>
                <c:pt idx="4349">
                  <c:v>39175</c:v>
                </c:pt>
                <c:pt idx="4350">
                  <c:v>39176</c:v>
                </c:pt>
                <c:pt idx="4351">
                  <c:v>39177</c:v>
                </c:pt>
                <c:pt idx="4352">
                  <c:v>39181</c:v>
                </c:pt>
                <c:pt idx="4353">
                  <c:v>39182</c:v>
                </c:pt>
                <c:pt idx="4354">
                  <c:v>39183</c:v>
                </c:pt>
                <c:pt idx="4355">
                  <c:v>39184</c:v>
                </c:pt>
                <c:pt idx="4356">
                  <c:v>39185</c:v>
                </c:pt>
                <c:pt idx="4357">
                  <c:v>39188</c:v>
                </c:pt>
                <c:pt idx="4358">
                  <c:v>39189</c:v>
                </c:pt>
                <c:pt idx="4359">
                  <c:v>39190</c:v>
                </c:pt>
                <c:pt idx="4360">
                  <c:v>39191</c:v>
                </c:pt>
                <c:pt idx="4361">
                  <c:v>39192</c:v>
                </c:pt>
                <c:pt idx="4362">
                  <c:v>39195</c:v>
                </c:pt>
                <c:pt idx="4363">
                  <c:v>39196</c:v>
                </c:pt>
                <c:pt idx="4364">
                  <c:v>39197</c:v>
                </c:pt>
                <c:pt idx="4365">
                  <c:v>39198</c:v>
                </c:pt>
                <c:pt idx="4366">
                  <c:v>39199</c:v>
                </c:pt>
                <c:pt idx="4367">
                  <c:v>39202</c:v>
                </c:pt>
                <c:pt idx="4368">
                  <c:v>39203</c:v>
                </c:pt>
                <c:pt idx="4369">
                  <c:v>39204</c:v>
                </c:pt>
                <c:pt idx="4370">
                  <c:v>39205</c:v>
                </c:pt>
                <c:pt idx="4371">
                  <c:v>39206</c:v>
                </c:pt>
                <c:pt idx="4372">
                  <c:v>39209</c:v>
                </c:pt>
                <c:pt idx="4373">
                  <c:v>39210</c:v>
                </c:pt>
                <c:pt idx="4374">
                  <c:v>39211</c:v>
                </c:pt>
                <c:pt idx="4375">
                  <c:v>39212</c:v>
                </c:pt>
                <c:pt idx="4376">
                  <c:v>39213</c:v>
                </c:pt>
                <c:pt idx="4377">
                  <c:v>39216</c:v>
                </c:pt>
                <c:pt idx="4378">
                  <c:v>39217</c:v>
                </c:pt>
                <c:pt idx="4379">
                  <c:v>39218</c:v>
                </c:pt>
                <c:pt idx="4380">
                  <c:v>39219</c:v>
                </c:pt>
                <c:pt idx="4381">
                  <c:v>39220</c:v>
                </c:pt>
                <c:pt idx="4382">
                  <c:v>39223</c:v>
                </c:pt>
                <c:pt idx="4383">
                  <c:v>39224</c:v>
                </c:pt>
                <c:pt idx="4384">
                  <c:v>39225</c:v>
                </c:pt>
                <c:pt idx="4385">
                  <c:v>39226</c:v>
                </c:pt>
                <c:pt idx="4386">
                  <c:v>39227</c:v>
                </c:pt>
                <c:pt idx="4387">
                  <c:v>39231</c:v>
                </c:pt>
                <c:pt idx="4388">
                  <c:v>39232</c:v>
                </c:pt>
                <c:pt idx="4389">
                  <c:v>39233</c:v>
                </c:pt>
                <c:pt idx="4390">
                  <c:v>39234</c:v>
                </c:pt>
                <c:pt idx="4391">
                  <c:v>39237</c:v>
                </c:pt>
                <c:pt idx="4392">
                  <c:v>39238</c:v>
                </c:pt>
                <c:pt idx="4393">
                  <c:v>39239</c:v>
                </c:pt>
                <c:pt idx="4394">
                  <c:v>39240</c:v>
                </c:pt>
                <c:pt idx="4395">
                  <c:v>39241</c:v>
                </c:pt>
                <c:pt idx="4396">
                  <c:v>39244</c:v>
                </c:pt>
                <c:pt idx="4397">
                  <c:v>39245</c:v>
                </c:pt>
                <c:pt idx="4398">
                  <c:v>39246</c:v>
                </c:pt>
                <c:pt idx="4399">
                  <c:v>39247</c:v>
                </c:pt>
                <c:pt idx="4400">
                  <c:v>39248</c:v>
                </c:pt>
                <c:pt idx="4401">
                  <c:v>39251</c:v>
                </c:pt>
                <c:pt idx="4402">
                  <c:v>39252</c:v>
                </c:pt>
                <c:pt idx="4403">
                  <c:v>39253</c:v>
                </c:pt>
                <c:pt idx="4404">
                  <c:v>39254</c:v>
                </c:pt>
                <c:pt idx="4405">
                  <c:v>39255</c:v>
                </c:pt>
                <c:pt idx="4406">
                  <c:v>39258</c:v>
                </c:pt>
                <c:pt idx="4407">
                  <c:v>39259</c:v>
                </c:pt>
                <c:pt idx="4408">
                  <c:v>39260</c:v>
                </c:pt>
                <c:pt idx="4409">
                  <c:v>39261</c:v>
                </c:pt>
                <c:pt idx="4410">
                  <c:v>39262</c:v>
                </c:pt>
                <c:pt idx="4411">
                  <c:v>39265</c:v>
                </c:pt>
                <c:pt idx="4412">
                  <c:v>39266</c:v>
                </c:pt>
                <c:pt idx="4413">
                  <c:v>39268</c:v>
                </c:pt>
                <c:pt idx="4414">
                  <c:v>39269</c:v>
                </c:pt>
                <c:pt idx="4415">
                  <c:v>39272</c:v>
                </c:pt>
                <c:pt idx="4416">
                  <c:v>39273</c:v>
                </c:pt>
                <c:pt idx="4417">
                  <c:v>39274</c:v>
                </c:pt>
                <c:pt idx="4418">
                  <c:v>39275</c:v>
                </c:pt>
                <c:pt idx="4419">
                  <c:v>39276</c:v>
                </c:pt>
                <c:pt idx="4420">
                  <c:v>39279</c:v>
                </c:pt>
                <c:pt idx="4421">
                  <c:v>39280</c:v>
                </c:pt>
                <c:pt idx="4422">
                  <c:v>39281</c:v>
                </c:pt>
                <c:pt idx="4423">
                  <c:v>39282</c:v>
                </c:pt>
                <c:pt idx="4424">
                  <c:v>39283</c:v>
                </c:pt>
                <c:pt idx="4425">
                  <c:v>39286</c:v>
                </c:pt>
                <c:pt idx="4426">
                  <c:v>39287</c:v>
                </c:pt>
                <c:pt idx="4427">
                  <c:v>39288</c:v>
                </c:pt>
                <c:pt idx="4428">
                  <c:v>39289</c:v>
                </c:pt>
                <c:pt idx="4429">
                  <c:v>39290</c:v>
                </c:pt>
                <c:pt idx="4430">
                  <c:v>39293</c:v>
                </c:pt>
                <c:pt idx="4431">
                  <c:v>39294</c:v>
                </c:pt>
                <c:pt idx="4432">
                  <c:v>39295</c:v>
                </c:pt>
                <c:pt idx="4433">
                  <c:v>39296</c:v>
                </c:pt>
                <c:pt idx="4434">
                  <c:v>39297</c:v>
                </c:pt>
                <c:pt idx="4435">
                  <c:v>39300</c:v>
                </c:pt>
                <c:pt idx="4436">
                  <c:v>39301</c:v>
                </c:pt>
                <c:pt idx="4437">
                  <c:v>39302</c:v>
                </c:pt>
                <c:pt idx="4438">
                  <c:v>39303</c:v>
                </c:pt>
                <c:pt idx="4439">
                  <c:v>39304</c:v>
                </c:pt>
                <c:pt idx="4440">
                  <c:v>39307</c:v>
                </c:pt>
                <c:pt idx="4441">
                  <c:v>39308</c:v>
                </c:pt>
                <c:pt idx="4442">
                  <c:v>39309</c:v>
                </c:pt>
                <c:pt idx="4443">
                  <c:v>39310</c:v>
                </c:pt>
                <c:pt idx="4444">
                  <c:v>39311</c:v>
                </c:pt>
                <c:pt idx="4445">
                  <c:v>39314</c:v>
                </c:pt>
                <c:pt idx="4446">
                  <c:v>39315</c:v>
                </c:pt>
                <c:pt idx="4447">
                  <c:v>39316</c:v>
                </c:pt>
                <c:pt idx="4448">
                  <c:v>39317</c:v>
                </c:pt>
                <c:pt idx="4449">
                  <c:v>39318</c:v>
                </c:pt>
                <c:pt idx="4450">
                  <c:v>39321</c:v>
                </c:pt>
                <c:pt idx="4451">
                  <c:v>39322</c:v>
                </c:pt>
                <c:pt idx="4452">
                  <c:v>39323</c:v>
                </c:pt>
                <c:pt idx="4453">
                  <c:v>39324</c:v>
                </c:pt>
                <c:pt idx="4454">
                  <c:v>39325</c:v>
                </c:pt>
                <c:pt idx="4455">
                  <c:v>39329</c:v>
                </c:pt>
                <c:pt idx="4456">
                  <c:v>39330</c:v>
                </c:pt>
                <c:pt idx="4457">
                  <c:v>39331</c:v>
                </c:pt>
                <c:pt idx="4458">
                  <c:v>39332</c:v>
                </c:pt>
                <c:pt idx="4459">
                  <c:v>39335</c:v>
                </c:pt>
                <c:pt idx="4460">
                  <c:v>39336</c:v>
                </c:pt>
                <c:pt idx="4461">
                  <c:v>39337</c:v>
                </c:pt>
                <c:pt idx="4462">
                  <c:v>39338</c:v>
                </c:pt>
                <c:pt idx="4463">
                  <c:v>39339</c:v>
                </c:pt>
                <c:pt idx="4464">
                  <c:v>39342</c:v>
                </c:pt>
                <c:pt idx="4465">
                  <c:v>39343</c:v>
                </c:pt>
                <c:pt idx="4466">
                  <c:v>39344</c:v>
                </c:pt>
                <c:pt idx="4467">
                  <c:v>39345</c:v>
                </c:pt>
                <c:pt idx="4468">
                  <c:v>39346</c:v>
                </c:pt>
                <c:pt idx="4469">
                  <c:v>39349</c:v>
                </c:pt>
                <c:pt idx="4470">
                  <c:v>39350</c:v>
                </c:pt>
                <c:pt idx="4471">
                  <c:v>39351</c:v>
                </c:pt>
                <c:pt idx="4472">
                  <c:v>39352</c:v>
                </c:pt>
                <c:pt idx="4473">
                  <c:v>39353</c:v>
                </c:pt>
                <c:pt idx="4474">
                  <c:v>39356</c:v>
                </c:pt>
                <c:pt idx="4475">
                  <c:v>39357</c:v>
                </c:pt>
                <c:pt idx="4476">
                  <c:v>39358</c:v>
                </c:pt>
                <c:pt idx="4477">
                  <c:v>39359</c:v>
                </c:pt>
                <c:pt idx="4478">
                  <c:v>39360</c:v>
                </c:pt>
                <c:pt idx="4479">
                  <c:v>39363</c:v>
                </c:pt>
                <c:pt idx="4480">
                  <c:v>39364</c:v>
                </c:pt>
                <c:pt idx="4481">
                  <c:v>39365</c:v>
                </c:pt>
                <c:pt idx="4482">
                  <c:v>39366</c:v>
                </c:pt>
                <c:pt idx="4483">
                  <c:v>39367</c:v>
                </c:pt>
                <c:pt idx="4484">
                  <c:v>39370</c:v>
                </c:pt>
                <c:pt idx="4485">
                  <c:v>39371</c:v>
                </c:pt>
                <c:pt idx="4486">
                  <c:v>39372</c:v>
                </c:pt>
                <c:pt idx="4487">
                  <c:v>39373</c:v>
                </c:pt>
                <c:pt idx="4488">
                  <c:v>39374</c:v>
                </c:pt>
                <c:pt idx="4489">
                  <c:v>39377</c:v>
                </c:pt>
                <c:pt idx="4490">
                  <c:v>39378</c:v>
                </c:pt>
                <c:pt idx="4491">
                  <c:v>39379</c:v>
                </c:pt>
                <c:pt idx="4492">
                  <c:v>39380</c:v>
                </c:pt>
                <c:pt idx="4493">
                  <c:v>39381</c:v>
                </c:pt>
                <c:pt idx="4494">
                  <c:v>39384</c:v>
                </c:pt>
                <c:pt idx="4495">
                  <c:v>39385</c:v>
                </c:pt>
                <c:pt idx="4496">
                  <c:v>39386</c:v>
                </c:pt>
                <c:pt idx="4497">
                  <c:v>39387</c:v>
                </c:pt>
                <c:pt idx="4498">
                  <c:v>39388</c:v>
                </c:pt>
                <c:pt idx="4499">
                  <c:v>39391</c:v>
                </c:pt>
                <c:pt idx="4500">
                  <c:v>39392</c:v>
                </c:pt>
                <c:pt idx="4501">
                  <c:v>39393</c:v>
                </c:pt>
                <c:pt idx="4502">
                  <c:v>39394</c:v>
                </c:pt>
                <c:pt idx="4503">
                  <c:v>39395</c:v>
                </c:pt>
                <c:pt idx="4504">
                  <c:v>39398</c:v>
                </c:pt>
                <c:pt idx="4505">
                  <c:v>39399</c:v>
                </c:pt>
                <c:pt idx="4506">
                  <c:v>39400</c:v>
                </c:pt>
                <c:pt idx="4507">
                  <c:v>39401</c:v>
                </c:pt>
                <c:pt idx="4508">
                  <c:v>39402</c:v>
                </c:pt>
                <c:pt idx="4509">
                  <c:v>39405</c:v>
                </c:pt>
                <c:pt idx="4510">
                  <c:v>39406</c:v>
                </c:pt>
                <c:pt idx="4511">
                  <c:v>39407</c:v>
                </c:pt>
                <c:pt idx="4512">
                  <c:v>39409</c:v>
                </c:pt>
                <c:pt idx="4513">
                  <c:v>39412</c:v>
                </c:pt>
                <c:pt idx="4514">
                  <c:v>39413</c:v>
                </c:pt>
                <c:pt idx="4515">
                  <c:v>39414</c:v>
                </c:pt>
                <c:pt idx="4516">
                  <c:v>39415</c:v>
                </c:pt>
                <c:pt idx="4517">
                  <c:v>39416</c:v>
                </c:pt>
                <c:pt idx="4518">
                  <c:v>39419</c:v>
                </c:pt>
                <c:pt idx="4519">
                  <c:v>39420</c:v>
                </c:pt>
                <c:pt idx="4520">
                  <c:v>39421</c:v>
                </c:pt>
                <c:pt idx="4521">
                  <c:v>39422</c:v>
                </c:pt>
                <c:pt idx="4522">
                  <c:v>39423</c:v>
                </c:pt>
                <c:pt idx="4523">
                  <c:v>39426</c:v>
                </c:pt>
                <c:pt idx="4524">
                  <c:v>39427</c:v>
                </c:pt>
                <c:pt idx="4525">
                  <c:v>39428</c:v>
                </c:pt>
                <c:pt idx="4526">
                  <c:v>39429</c:v>
                </c:pt>
                <c:pt idx="4527">
                  <c:v>39430</c:v>
                </c:pt>
                <c:pt idx="4528">
                  <c:v>39433</c:v>
                </c:pt>
                <c:pt idx="4529">
                  <c:v>39434</c:v>
                </c:pt>
                <c:pt idx="4530">
                  <c:v>39435</c:v>
                </c:pt>
                <c:pt idx="4531">
                  <c:v>39436</c:v>
                </c:pt>
                <c:pt idx="4532">
                  <c:v>39437</c:v>
                </c:pt>
                <c:pt idx="4533">
                  <c:v>39440</c:v>
                </c:pt>
                <c:pt idx="4534">
                  <c:v>39442</c:v>
                </c:pt>
                <c:pt idx="4535">
                  <c:v>39443</c:v>
                </c:pt>
                <c:pt idx="4536">
                  <c:v>39444</c:v>
                </c:pt>
                <c:pt idx="4537">
                  <c:v>39447</c:v>
                </c:pt>
                <c:pt idx="4538">
                  <c:v>39449</c:v>
                </c:pt>
                <c:pt idx="4539">
                  <c:v>39450</c:v>
                </c:pt>
                <c:pt idx="4540">
                  <c:v>39451</c:v>
                </c:pt>
                <c:pt idx="4541">
                  <c:v>39454</c:v>
                </c:pt>
                <c:pt idx="4542">
                  <c:v>39455</c:v>
                </c:pt>
                <c:pt idx="4543">
                  <c:v>39456</c:v>
                </c:pt>
                <c:pt idx="4544">
                  <c:v>39457</c:v>
                </c:pt>
                <c:pt idx="4545">
                  <c:v>39458</c:v>
                </c:pt>
                <c:pt idx="4546">
                  <c:v>39461</c:v>
                </c:pt>
                <c:pt idx="4547">
                  <c:v>39462</c:v>
                </c:pt>
                <c:pt idx="4548">
                  <c:v>39463</c:v>
                </c:pt>
                <c:pt idx="4549">
                  <c:v>39464</c:v>
                </c:pt>
                <c:pt idx="4550">
                  <c:v>39465</c:v>
                </c:pt>
                <c:pt idx="4551">
                  <c:v>39469</c:v>
                </c:pt>
                <c:pt idx="4552">
                  <c:v>39470</c:v>
                </c:pt>
                <c:pt idx="4553">
                  <c:v>39471</c:v>
                </c:pt>
                <c:pt idx="4554">
                  <c:v>39472</c:v>
                </c:pt>
                <c:pt idx="4555">
                  <c:v>39475</c:v>
                </c:pt>
                <c:pt idx="4556">
                  <c:v>39476</c:v>
                </c:pt>
                <c:pt idx="4557">
                  <c:v>39477</c:v>
                </c:pt>
                <c:pt idx="4558">
                  <c:v>39478</c:v>
                </c:pt>
                <c:pt idx="4559">
                  <c:v>39479</c:v>
                </c:pt>
                <c:pt idx="4560">
                  <c:v>39482</c:v>
                </c:pt>
                <c:pt idx="4561">
                  <c:v>39483</c:v>
                </c:pt>
                <c:pt idx="4562">
                  <c:v>39484</c:v>
                </c:pt>
                <c:pt idx="4563">
                  <c:v>39485</c:v>
                </c:pt>
                <c:pt idx="4564">
                  <c:v>39486</c:v>
                </c:pt>
                <c:pt idx="4565">
                  <c:v>39489</c:v>
                </c:pt>
                <c:pt idx="4566">
                  <c:v>39490</c:v>
                </c:pt>
                <c:pt idx="4567">
                  <c:v>39491</c:v>
                </c:pt>
                <c:pt idx="4568">
                  <c:v>39492</c:v>
                </c:pt>
                <c:pt idx="4569">
                  <c:v>39493</c:v>
                </c:pt>
                <c:pt idx="4570">
                  <c:v>39497</c:v>
                </c:pt>
                <c:pt idx="4571">
                  <c:v>39498</c:v>
                </c:pt>
                <c:pt idx="4572">
                  <c:v>39499</c:v>
                </c:pt>
                <c:pt idx="4573">
                  <c:v>39500</c:v>
                </c:pt>
                <c:pt idx="4574">
                  <c:v>39503</c:v>
                </c:pt>
                <c:pt idx="4575">
                  <c:v>39504</c:v>
                </c:pt>
                <c:pt idx="4576">
                  <c:v>39505</c:v>
                </c:pt>
                <c:pt idx="4577">
                  <c:v>39506</c:v>
                </c:pt>
                <c:pt idx="4578">
                  <c:v>39507</c:v>
                </c:pt>
                <c:pt idx="4579">
                  <c:v>39510</c:v>
                </c:pt>
                <c:pt idx="4580">
                  <c:v>39511</c:v>
                </c:pt>
                <c:pt idx="4581">
                  <c:v>39512</c:v>
                </c:pt>
                <c:pt idx="4582">
                  <c:v>39513</c:v>
                </c:pt>
                <c:pt idx="4583">
                  <c:v>39514</c:v>
                </c:pt>
                <c:pt idx="4584">
                  <c:v>39517</c:v>
                </c:pt>
                <c:pt idx="4585">
                  <c:v>39518</c:v>
                </c:pt>
                <c:pt idx="4586">
                  <c:v>39519</c:v>
                </c:pt>
                <c:pt idx="4587">
                  <c:v>39520</c:v>
                </c:pt>
                <c:pt idx="4588">
                  <c:v>39521</c:v>
                </c:pt>
                <c:pt idx="4589">
                  <c:v>39524</c:v>
                </c:pt>
                <c:pt idx="4590">
                  <c:v>39525</c:v>
                </c:pt>
                <c:pt idx="4591">
                  <c:v>39526</c:v>
                </c:pt>
                <c:pt idx="4592">
                  <c:v>39527</c:v>
                </c:pt>
                <c:pt idx="4593">
                  <c:v>39531</c:v>
                </c:pt>
                <c:pt idx="4594">
                  <c:v>39532</c:v>
                </c:pt>
                <c:pt idx="4595">
                  <c:v>39533</c:v>
                </c:pt>
                <c:pt idx="4596">
                  <c:v>39534</c:v>
                </c:pt>
                <c:pt idx="4597">
                  <c:v>39535</c:v>
                </c:pt>
                <c:pt idx="4598">
                  <c:v>39538</c:v>
                </c:pt>
                <c:pt idx="4599">
                  <c:v>39539</c:v>
                </c:pt>
                <c:pt idx="4600">
                  <c:v>39540</c:v>
                </c:pt>
                <c:pt idx="4601">
                  <c:v>39541</c:v>
                </c:pt>
                <c:pt idx="4602">
                  <c:v>39542</c:v>
                </c:pt>
                <c:pt idx="4603">
                  <c:v>39545</c:v>
                </c:pt>
                <c:pt idx="4604">
                  <c:v>39546</c:v>
                </c:pt>
                <c:pt idx="4605">
                  <c:v>39547</c:v>
                </c:pt>
                <c:pt idx="4606">
                  <c:v>39548</c:v>
                </c:pt>
                <c:pt idx="4607">
                  <c:v>39549</c:v>
                </c:pt>
                <c:pt idx="4608">
                  <c:v>39552</c:v>
                </c:pt>
                <c:pt idx="4609">
                  <c:v>39553</c:v>
                </c:pt>
                <c:pt idx="4610">
                  <c:v>39554</c:v>
                </c:pt>
                <c:pt idx="4611">
                  <c:v>39555</c:v>
                </c:pt>
                <c:pt idx="4612">
                  <c:v>39556</c:v>
                </c:pt>
                <c:pt idx="4613">
                  <c:v>39559</c:v>
                </c:pt>
                <c:pt idx="4614">
                  <c:v>39560</c:v>
                </c:pt>
                <c:pt idx="4615">
                  <c:v>39561</c:v>
                </c:pt>
                <c:pt idx="4616">
                  <c:v>39562</c:v>
                </c:pt>
                <c:pt idx="4617">
                  <c:v>39563</c:v>
                </c:pt>
                <c:pt idx="4618">
                  <c:v>39566</c:v>
                </c:pt>
                <c:pt idx="4619">
                  <c:v>39567</c:v>
                </c:pt>
                <c:pt idx="4620">
                  <c:v>39568</c:v>
                </c:pt>
                <c:pt idx="4621">
                  <c:v>39569</c:v>
                </c:pt>
                <c:pt idx="4622">
                  <c:v>39570</c:v>
                </c:pt>
                <c:pt idx="4623">
                  <c:v>39573</c:v>
                </c:pt>
                <c:pt idx="4624">
                  <c:v>39574</c:v>
                </c:pt>
                <c:pt idx="4625">
                  <c:v>39575</c:v>
                </c:pt>
                <c:pt idx="4626">
                  <c:v>39576</c:v>
                </c:pt>
                <c:pt idx="4627">
                  <c:v>39577</c:v>
                </c:pt>
                <c:pt idx="4628">
                  <c:v>39580</c:v>
                </c:pt>
                <c:pt idx="4629">
                  <c:v>39581</c:v>
                </c:pt>
                <c:pt idx="4630">
                  <c:v>39582</c:v>
                </c:pt>
                <c:pt idx="4631">
                  <c:v>39583</c:v>
                </c:pt>
                <c:pt idx="4632">
                  <c:v>39584</c:v>
                </c:pt>
                <c:pt idx="4633">
                  <c:v>39587</c:v>
                </c:pt>
                <c:pt idx="4634">
                  <c:v>39588</c:v>
                </c:pt>
                <c:pt idx="4635">
                  <c:v>39589</c:v>
                </c:pt>
                <c:pt idx="4636">
                  <c:v>39590</c:v>
                </c:pt>
                <c:pt idx="4637">
                  <c:v>39591</c:v>
                </c:pt>
                <c:pt idx="4638">
                  <c:v>39595</c:v>
                </c:pt>
                <c:pt idx="4639">
                  <c:v>39596</c:v>
                </c:pt>
                <c:pt idx="4640">
                  <c:v>39597</c:v>
                </c:pt>
                <c:pt idx="4641">
                  <c:v>39598</c:v>
                </c:pt>
                <c:pt idx="4642">
                  <c:v>39601</c:v>
                </c:pt>
                <c:pt idx="4643">
                  <c:v>39602</c:v>
                </c:pt>
                <c:pt idx="4644">
                  <c:v>39603</c:v>
                </c:pt>
                <c:pt idx="4645">
                  <c:v>39604</c:v>
                </c:pt>
                <c:pt idx="4646">
                  <c:v>39605</c:v>
                </c:pt>
                <c:pt idx="4647">
                  <c:v>39608</c:v>
                </c:pt>
                <c:pt idx="4648">
                  <c:v>39609</c:v>
                </c:pt>
                <c:pt idx="4649">
                  <c:v>39610</c:v>
                </c:pt>
                <c:pt idx="4650">
                  <c:v>39611</c:v>
                </c:pt>
                <c:pt idx="4651">
                  <c:v>39612</c:v>
                </c:pt>
                <c:pt idx="4652">
                  <c:v>39615</c:v>
                </c:pt>
                <c:pt idx="4653">
                  <c:v>39616</c:v>
                </c:pt>
                <c:pt idx="4654">
                  <c:v>39617</c:v>
                </c:pt>
                <c:pt idx="4655">
                  <c:v>39618</c:v>
                </c:pt>
                <c:pt idx="4656">
                  <c:v>39619</c:v>
                </c:pt>
                <c:pt idx="4657">
                  <c:v>39622</c:v>
                </c:pt>
                <c:pt idx="4658">
                  <c:v>39623</c:v>
                </c:pt>
                <c:pt idx="4659">
                  <c:v>39624</c:v>
                </c:pt>
                <c:pt idx="4660">
                  <c:v>39625</c:v>
                </c:pt>
                <c:pt idx="4661">
                  <c:v>39626</c:v>
                </c:pt>
                <c:pt idx="4662">
                  <c:v>39629</c:v>
                </c:pt>
                <c:pt idx="4663">
                  <c:v>39630</c:v>
                </c:pt>
                <c:pt idx="4664">
                  <c:v>39631</c:v>
                </c:pt>
                <c:pt idx="4665">
                  <c:v>39632</c:v>
                </c:pt>
                <c:pt idx="4666">
                  <c:v>39636</c:v>
                </c:pt>
                <c:pt idx="4667">
                  <c:v>39637</c:v>
                </c:pt>
                <c:pt idx="4668">
                  <c:v>39638</c:v>
                </c:pt>
                <c:pt idx="4669">
                  <c:v>39639</c:v>
                </c:pt>
                <c:pt idx="4670">
                  <c:v>39640</c:v>
                </c:pt>
                <c:pt idx="4671">
                  <c:v>39643</c:v>
                </c:pt>
                <c:pt idx="4672">
                  <c:v>39644</c:v>
                </c:pt>
                <c:pt idx="4673">
                  <c:v>39645</c:v>
                </c:pt>
                <c:pt idx="4674">
                  <c:v>39646</c:v>
                </c:pt>
                <c:pt idx="4675">
                  <c:v>39647</c:v>
                </c:pt>
                <c:pt idx="4676">
                  <c:v>39650</c:v>
                </c:pt>
                <c:pt idx="4677">
                  <c:v>39651</c:v>
                </c:pt>
                <c:pt idx="4678">
                  <c:v>39652</c:v>
                </c:pt>
                <c:pt idx="4679">
                  <c:v>39653</c:v>
                </c:pt>
                <c:pt idx="4680">
                  <c:v>39654</c:v>
                </c:pt>
                <c:pt idx="4681">
                  <c:v>39657</c:v>
                </c:pt>
                <c:pt idx="4682">
                  <c:v>39658</c:v>
                </c:pt>
                <c:pt idx="4683">
                  <c:v>39659</c:v>
                </c:pt>
                <c:pt idx="4684">
                  <c:v>39660</c:v>
                </c:pt>
                <c:pt idx="4685">
                  <c:v>39661</c:v>
                </c:pt>
                <c:pt idx="4686">
                  <c:v>39664</c:v>
                </c:pt>
                <c:pt idx="4687">
                  <c:v>39665</c:v>
                </c:pt>
                <c:pt idx="4688">
                  <c:v>39666</c:v>
                </c:pt>
                <c:pt idx="4689">
                  <c:v>39667</c:v>
                </c:pt>
                <c:pt idx="4690">
                  <c:v>39668</c:v>
                </c:pt>
                <c:pt idx="4691">
                  <c:v>39671</c:v>
                </c:pt>
                <c:pt idx="4692">
                  <c:v>39672</c:v>
                </c:pt>
                <c:pt idx="4693">
                  <c:v>39673</c:v>
                </c:pt>
                <c:pt idx="4694">
                  <c:v>39674</c:v>
                </c:pt>
                <c:pt idx="4695">
                  <c:v>39675</c:v>
                </c:pt>
                <c:pt idx="4696">
                  <c:v>39678</c:v>
                </c:pt>
                <c:pt idx="4697">
                  <c:v>39679</c:v>
                </c:pt>
                <c:pt idx="4698">
                  <c:v>39680</c:v>
                </c:pt>
                <c:pt idx="4699">
                  <c:v>39681</c:v>
                </c:pt>
                <c:pt idx="4700">
                  <c:v>39682</c:v>
                </c:pt>
                <c:pt idx="4701">
                  <c:v>39685</c:v>
                </c:pt>
                <c:pt idx="4702">
                  <c:v>39686</c:v>
                </c:pt>
                <c:pt idx="4703">
                  <c:v>39687</c:v>
                </c:pt>
                <c:pt idx="4704">
                  <c:v>39688</c:v>
                </c:pt>
                <c:pt idx="4705">
                  <c:v>39689</c:v>
                </c:pt>
                <c:pt idx="4706">
                  <c:v>39693</c:v>
                </c:pt>
                <c:pt idx="4707">
                  <c:v>39694</c:v>
                </c:pt>
                <c:pt idx="4708">
                  <c:v>39695</c:v>
                </c:pt>
                <c:pt idx="4709">
                  <c:v>39696</c:v>
                </c:pt>
                <c:pt idx="4710">
                  <c:v>39699</c:v>
                </c:pt>
                <c:pt idx="4711">
                  <c:v>39700</c:v>
                </c:pt>
                <c:pt idx="4712">
                  <c:v>39701</c:v>
                </c:pt>
                <c:pt idx="4713">
                  <c:v>39702</c:v>
                </c:pt>
                <c:pt idx="4714">
                  <c:v>39703</c:v>
                </c:pt>
                <c:pt idx="4715">
                  <c:v>39706</c:v>
                </c:pt>
                <c:pt idx="4716">
                  <c:v>39707</c:v>
                </c:pt>
                <c:pt idx="4717">
                  <c:v>39708</c:v>
                </c:pt>
                <c:pt idx="4718">
                  <c:v>39709</c:v>
                </c:pt>
                <c:pt idx="4719">
                  <c:v>39710</c:v>
                </c:pt>
                <c:pt idx="4720">
                  <c:v>39713</c:v>
                </c:pt>
                <c:pt idx="4721">
                  <c:v>39714</c:v>
                </c:pt>
                <c:pt idx="4722">
                  <c:v>39715</c:v>
                </c:pt>
                <c:pt idx="4723">
                  <c:v>39716</c:v>
                </c:pt>
                <c:pt idx="4724">
                  <c:v>39717</c:v>
                </c:pt>
                <c:pt idx="4725">
                  <c:v>39720</c:v>
                </c:pt>
                <c:pt idx="4726">
                  <c:v>39721</c:v>
                </c:pt>
                <c:pt idx="4727">
                  <c:v>39722</c:v>
                </c:pt>
                <c:pt idx="4728">
                  <c:v>39723</c:v>
                </c:pt>
                <c:pt idx="4729">
                  <c:v>39724</c:v>
                </c:pt>
                <c:pt idx="4730">
                  <c:v>39727</c:v>
                </c:pt>
                <c:pt idx="4731">
                  <c:v>39728</c:v>
                </c:pt>
                <c:pt idx="4732">
                  <c:v>39729</c:v>
                </c:pt>
                <c:pt idx="4733">
                  <c:v>39730</c:v>
                </c:pt>
                <c:pt idx="4734">
                  <c:v>39731</c:v>
                </c:pt>
                <c:pt idx="4735">
                  <c:v>39734</c:v>
                </c:pt>
                <c:pt idx="4736">
                  <c:v>39735</c:v>
                </c:pt>
                <c:pt idx="4737">
                  <c:v>39736</c:v>
                </c:pt>
                <c:pt idx="4738">
                  <c:v>39737</c:v>
                </c:pt>
                <c:pt idx="4739">
                  <c:v>39738</c:v>
                </c:pt>
                <c:pt idx="4740">
                  <c:v>39741</c:v>
                </c:pt>
                <c:pt idx="4741">
                  <c:v>39742</c:v>
                </c:pt>
                <c:pt idx="4742">
                  <c:v>39743</c:v>
                </c:pt>
                <c:pt idx="4743">
                  <c:v>39744</c:v>
                </c:pt>
                <c:pt idx="4744">
                  <c:v>39745</c:v>
                </c:pt>
                <c:pt idx="4745">
                  <c:v>39748</c:v>
                </c:pt>
                <c:pt idx="4746">
                  <c:v>39749</c:v>
                </c:pt>
                <c:pt idx="4747">
                  <c:v>39750</c:v>
                </c:pt>
                <c:pt idx="4748">
                  <c:v>39751</c:v>
                </c:pt>
                <c:pt idx="4749">
                  <c:v>39752</c:v>
                </c:pt>
                <c:pt idx="4750">
                  <c:v>39755</c:v>
                </c:pt>
                <c:pt idx="4751">
                  <c:v>39756</c:v>
                </c:pt>
                <c:pt idx="4752">
                  <c:v>39757</c:v>
                </c:pt>
                <c:pt idx="4753">
                  <c:v>39758</c:v>
                </c:pt>
                <c:pt idx="4754">
                  <c:v>39759</c:v>
                </c:pt>
                <c:pt idx="4755">
                  <c:v>39762</c:v>
                </c:pt>
                <c:pt idx="4756">
                  <c:v>39763</c:v>
                </c:pt>
                <c:pt idx="4757">
                  <c:v>39764</c:v>
                </c:pt>
                <c:pt idx="4758">
                  <c:v>39765</c:v>
                </c:pt>
                <c:pt idx="4759">
                  <c:v>39766</c:v>
                </c:pt>
                <c:pt idx="4760">
                  <c:v>39769</c:v>
                </c:pt>
                <c:pt idx="4761">
                  <c:v>39770</c:v>
                </c:pt>
                <c:pt idx="4762">
                  <c:v>39771</c:v>
                </c:pt>
                <c:pt idx="4763">
                  <c:v>39772</c:v>
                </c:pt>
                <c:pt idx="4764">
                  <c:v>39773</c:v>
                </c:pt>
                <c:pt idx="4765">
                  <c:v>39776</c:v>
                </c:pt>
                <c:pt idx="4766">
                  <c:v>39777</c:v>
                </c:pt>
                <c:pt idx="4767">
                  <c:v>39778</c:v>
                </c:pt>
                <c:pt idx="4768">
                  <c:v>39780</c:v>
                </c:pt>
                <c:pt idx="4769">
                  <c:v>39783</c:v>
                </c:pt>
                <c:pt idx="4770">
                  <c:v>39784</c:v>
                </c:pt>
                <c:pt idx="4771">
                  <c:v>39785</c:v>
                </c:pt>
                <c:pt idx="4772">
                  <c:v>39786</c:v>
                </c:pt>
                <c:pt idx="4773">
                  <c:v>39787</c:v>
                </c:pt>
                <c:pt idx="4774">
                  <c:v>39790</c:v>
                </c:pt>
                <c:pt idx="4775">
                  <c:v>39791</c:v>
                </c:pt>
                <c:pt idx="4776">
                  <c:v>39792</c:v>
                </c:pt>
                <c:pt idx="4777">
                  <c:v>39793</c:v>
                </c:pt>
                <c:pt idx="4778">
                  <c:v>39794</c:v>
                </c:pt>
                <c:pt idx="4779">
                  <c:v>39797</c:v>
                </c:pt>
                <c:pt idx="4780">
                  <c:v>39798</c:v>
                </c:pt>
                <c:pt idx="4781">
                  <c:v>39799</c:v>
                </c:pt>
                <c:pt idx="4782">
                  <c:v>39800</c:v>
                </c:pt>
                <c:pt idx="4783">
                  <c:v>39801</c:v>
                </c:pt>
                <c:pt idx="4784">
                  <c:v>39804</c:v>
                </c:pt>
                <c:pt idx="4785">
                  <c:v>39805</c:v>
                </c:pt>
                <c:pt idx="4786">
                  <c:v>39806</c:v>
                </c:pt>
                <c:pt idx="4787">
                  <c:v>39808</c:v>
                </c:pt>
                <c:pt idx="4788">
                  <c:v>39811</c:v>
                </c:pt>
                <c:pt idx="4789">
                  <c:v>39812</c:v>
                </c:pt>
                <c:pt idx="4790">
                  <c:v>39813</c:v>
                </c:pt>
                <c:pt idx="4791">
                  <c:v>39815</c:v>
                </c:pt>
                <c:pt idx="4792">
                  <c:v>39818</c:v>
                </c:pt>
                <c:pt idx="4793">
                  <c:v>39819</c:v>
                </c:pt>
                <c:pt idx="4794">
                  <c:v>39820</c:v>
                </c:pt>
                <c:pt idx="4795">
                  <c:v>39821</c:v>
                </c:pt>
                <c:pt idx="4796">
                  <c:v>39822</c:v>
                </c:pt>
                <c:pt idx="4797">
                  <c:v>39825</c:v>
                </c:pt>
                <c:pt idx="4798">
                  <c:v>39826</c:v>
                </c:pt>
                <c:pt idx="4799">
                  <c:v>39827</c:v>
                </c:pt>
                <c:pt idx="4800">
                  <c:v>39828</c:v>
                </c:pt>
                <c:pt idx="4801">
                  <c:v>39829</c:v>
                </c:pt>
                <c:pt idx="4802">
                  <c:v>39833</c:v>
                </c:pt>
                <c:pt idx="4803">
                  <c:v>39834</c:v>
                </c:pt>
                <c:pt idx="4804">
                  <c:v>39835</c:v>
                </c:pt>
                <c:pt idx="4805">
                  <c:v>39836</c:v>
                </c:pt>
                <c:pt idx="4806">
                  <c:v>39839</c:v>
                </c:pt>
                <c:pt idx="4807">
                  <c:v>39840</c:v>
                </c:pt>
                <c:pt idx="4808">
                  <c:v>39841</c:v>
                </c:pt>
                <c:pt idx="4809">
                  <c:v>39842</c:v>
                </c:pt>
                <c:pt idx="4810">
                  <c:v>39843</c:v>
                </c:pt>
                <c:pt idx="4811">
                  <c:v>39846</c:v>
                </c:pt>
                <c:pt idx="4812">
                  <c:v>39847</c:v>
                </c:pt>
                <c:pt idx="4813">
                  <c:v>39848</c:v>
                </c:pt>
                <c:pt idx="4814">
                  <c:v>39849</c:v>
                </c:pt>
                <c:pt idx="4815">
                  <c:v>39850</c:v>
                </c:pt>
                <c:pt idx="4816">
                  <c:v>39853</c:v>
                </c:pt>
                <c:pt idx="4817">
                  <c:v>39854</c:v>
                </c:pt>
                <c:pt idx="4818">
                  <c:v>39855</c:v>
                </c:pt>
                <c:pt idx="4819">
                  <c:v>39856</c:v>
                </c:pt>
                <c:pt idx="4820">
                  <c:v>39857</c:v>
                </c:pt>
                <c:pt idx="4821">
                  <c:v>39861</c:v>
                </c:pt>
                <c:pt idx="4822">
                  <c:v>39862</c:v>
                </c:pt>
                <c:pt idx="4823">
                  <c:v>39863</c:v>
                </c:pt>
                <c:pt idx="4824">
                  <c:v>39864</c:v>
                </c:pt>
                <c:pt idx="4825">
                  <c:v>39867</c:v>
                </c:pt>
                <c:pt idx="4826">
                  <c:v>39868</c:v>
                </c:pt>
                <c:pt idx="4827">
                  <c:v>39869</c:v>
                </c:pt>
                <c:pt idx="4828">
                  <c:v>39870</c:v>
                </c:pt>
                <c:pt idx="4829">
                  <c:v>39871</c:v>
                </c:pt>
                <c:pt idx="4830">
                  <c:v>39874</c:v>
                </c:pt>
                <c:pt idx="4831">
                  <c:v>39875</c:v>
                </c:pt>
                <c:pt idx="4832">
                  <c:v>39876</c:v>
                </c:pt>
                <c:pt idx="4833">
                  <c:v>39877</c:v>
                </c:pt>
                <c:pt idx="4834">
                  <c:v>39878</c:v>
                </c:pt>
                <c:pt idx="4835">
                  <c:v>39881</c:v>
                </c:pt>
                <c:pt idx="4836">
                  <c:v>39882</c:v>
                </c:pt>
                <c:pt idx="4837">
                  <c:v>39883</c:v>
                </c:pt>
                <c:pt idx="4838">
                  <c:v>39884</c:v>
                </c:pt>
                <c:pt idx="4839">
                  <c:v>39885</c:v>
                </c:pt>
                <c:pt idx="4840">
                  <c:v>39888</c:v>
                </c:pt>
                <c:pt idx="4841">
                  <c:v>39889</c:v>
                </c:pt>
                <c:pt idx="4842">
                  <c:v>39890</c:v>
                </c:pt>
                <c:pt idx="4843">
                  <c:v>39891</c:v>
                </c:pt>
                <c:pt idx="4844">
                  <c:v>39892</c:v>
                </c:pt>
                <c:pt idx="4845">
                  <c:v>39895</c:v>
                </c:pt>
                <c:pt idx="4846">
                  <c:v>39896</c:v>
                </c:pt>
                <c:pt idx="4847">
                  <c:v>39897</c:v>
                </c:pt>
                <c:pt idx="4848">
                  <c:v>39898</c:v>
                </c:pt>
                <c:pt idx="4849">
                  <c:v>39899</c:v>
                </c:pt>
                <c:pt idx="4850">
                  <c:v>39902</c:v>
                </c:pt>
                <c:pt idx="4851">
                  <c:v>39903</c:v>
                </c:pt>
                <c:pt idx="4852">
                  <c:v>39904</c:v>
                </c:pt>
                <c:pt idx="4853">
                  <c:v>39905</c:v>
                </c:pt>
                <c:pt idx="4854">
                  <c:v>39906</c:v>
                </c:pt>
                <c:pt idx="4855">
                  <c:v>39909</c:v>
                </c:pt>
                <c:pt idx="4856">
                  <c:v>39910</c:v>
                </c:pt>
                <c:pt idx="4857">
                  <c:v>39911</c:v>
                </c:pt>
                <c:pt idx="4858">
                  <c:v>39912</c:v>
                </c:pt>
                <c:pt idx="4859">
                  <c:v>39916</c:v>
                </c:pt>
                <c:pt idx="4860">
                  <c:v>39917</c:v>
                </c:pt>
                <c:pt idx="4861">
                  <c:v>39918</c:v>
                </c:pt>
                <c:pt idx="4862">
                  <c:v>39919</c:v>
                </c:pt>
                <c:pt idx="4863">
                  <c:v>39920</c:v>
                </c:pt>
                <c:pt idx="4864">
                  <c:v>39923</c:v>
                </c:pt>
                <c:pt idx="4865">
                  <c:v>39924</c:v>
                </c:pt>
                <c:pt idx="4866">
                  <c:v>39925</c:v>
                </c:pt>
                <c:pt idx="4867">
                  <c:v>39926</c:v>
                </c:pt>
                <c:pt idx="4868">
                  <c:v>39927</c:v>
                </c:pt>
                <c:pt idx="4869">
                  <c:v>39930</c:v>
                </c:pt>
                <c:pt idx="4870">
                  <c:v>39931</c:v>
                </c:pt>
                <c:pt idx="4871">
                  <c:v>39932</c:v>
                </c:pt>
                <c:pt idx="4872">
                  <c:v>39933</c:v>
                </c:pt>
                <c:pt idx="4873">
                  <c:v>39934</c:v>
                </c:pt>
                <c:pt idx="4874">
                  <c:v>39937</c:v>
                </c:pt>
                <c:pt idx="4875">
                  <c:v>39938</c:v>
                </c:pt>
                <c:pt idx="4876">
                  <c:v>39939</c:v>
                </c:pt>
                <c:pt idx="4877">
                  <c:v>39940</c:v>
                </c:pt>
                <c:pt idx="4878">
                  <c:v>39941</c:v>
                </c:pt>
                <c:pt idx="4879">
                  <c:v>39944</c:v>
                </c:pt>
                <c:pt idx="4880">
                  <c:v>39945</c:v>
                </c:pt>
                <c:pt idx="4881">
                  <c:v>39946</c:v>
                </c:pt>
                <c:pt idx="4882">
                  <c:v>39947</c:v>
                </c:pt>
                <c:pt idx="4883">
                  <c:v>39948</c:v>
                </c:pt>
                <c:pt idx="4884">
                  <c:v>39951</c:v>
                </c:pt>
                <c:pt idx="4885">
                  <c:v>39952</c:v>
                </c:pt>
                <c:pt idx="4886">
                  <c:v>39953</c:v>
                </c:pt>
                <c:pt idx="4887">
                  <c:v>39954</c:v>
                </c:pt>
                <c:pt idx="4888">
                  <c:v>39955</c:v>
                </c:pt>
                <c:pt idx="4889">
                  <c:v>39959</c:v>
                </c:pt>
                <c:pt idx="4890">
                  <c:v>39960</c:v>
                </c:pt>
                <c:pt idx="4891">
                  <c:v>39961</c:v>
                </c:pt>
                <c:pt idx="4892">
                  <c:v>39962</c:v>
                </c:pt>
                <c:pt idx="4893">
                  <c:v>39965</c:v>
                </c:pt>
                <c:pt idx="4894">
                  <c:v>39966</c:v>
                </c:pt>
                <c:pt idx="4895">
                  <c:v>39967</c:v>
                </c:pt>
                <c:pt idx="4896">
                  <c:v>39968</c:v>
                </c:pt>
                <c:pt idx="4897">
                  <c:v>39969</c:v>
                </c:pt>
                <c:pt idx="4898">
                  <c:v>39972</c:v>
                </c:pt>
                <c:pt idx="4899">
                  <c:v>39973</c:v>
                </c:pt>
                <c:pt idx="4900">
                  <c:v>39974</c:v>
                </c:pt>
                <c:pt idx="4901">
                  <c:v>39975</c:v>
                </c:pt>
                <c:pt idx="4902">
                  <c:v>39976</c:v>
                </c:pt>
                <c:pt idx="4903">
                  <c:v>39979</c:v>
                </c:pt>
                <c:pt idx="4904">
                  <c:v>39980</c:v>
                </c:pt>
                <c:pt idx="4905">
                  <c:v>39981</c:v>
                </c:pt>
                <c:pt idx="4906">
                  <c:v>39982</c:v>
                </c:pt>
                <c:pt idx="4907">
                  <c:v>39983</c:v>
                </c:pt>
                <c:pt idx="4908">
                  <c:v>39986</c:v>
                </c:pt>
                <c:pt idx="4909">
                  <c:v>39987</c:v>
                </c:pt>
                <c:pt idx="4910">
                  <c:v>39988</c:v>
                </c:pt>
                <c:pt idx="4911">
                  <c:v>39989</c:v>
                </c:pt>
                <c:pt idx="4912">
                  <c:v>39990</c:v>
                </c:pt>
                <c:pt idx="4913">
                  <c:v>39993</c:v>
                </c:pt>
                <c:pt idx="4914">
                  <c:v>39994</c:v>
                </c:pt>
                <c:pt idx="4915">
                  <c:v>39995</c:v>
                </c:pt>
                <c:pt idx="4916">
                  <c:v>39996</c:v>
                </c:pt>
                <c:pt idx="4917">
                  <c:v>40000</c:v>
                </c:pt>
                <c:pt idx="4918">
                  <c:v>40001</c:v>
                </c:pt>
                <c:pt idx="4919">
                  <c:v>40002</c:v>
                </c:pt>
                <c:pt idx="4920">
                  <c:v>40003</c:v>
                </c:pt>
                <c:pt idx="4921">
                  <c:v>40004</c:v>
                </c:pt>
                <c:pt idx="4922">
                  <c:v>40007</c:v>
                </c:pt>
                <c:pt idx="4923">
                  <c:v>40008</c:v>
                </c:pt>
                <c:pt idx="4924">
                  <c:v>40009</c:v>
                </c:pt>
                <c:pt idx="4925">
                  <c:v>40010</c:v>
                </c:pt>
                <c:pt idx="4926">
                  <c:v>40011</c:v>
                </c:pt>
                <c:pt idx="4927">
                  <c:v>40014</c:v>
                </c:pt>
                <c:pt idx="4928">
                  <c:v>40015</c:v>
                </c:pt>
                <c:pt idx="4929">
                  <c:v>40016</c:v>
                </c:pt>
                <c:pt idx="4930">
                  <c:v>40017</c:v>
                </c:pt>
                <c:pt idx="4931">
                  <c:v>40018</c:v>
                </c:pt>
                <c:pt idx="4932">
                  <c:v>40021</c:v>
                </c:pt>
                <c:pt idx="4933">
                  <c:v>40022</c:v>
                </c:pt>
                <c:pt idx="4934">
                  <c:v>40023</c:v>
                </c:pt>
                <c:pt idx="4935">
                  <c:v>40024</c:v>
                </c:pt>
                <c:pt idx="4936">
                  <c:v>40025</c:v>
                </c:pt>
                <c:pt idx="4937">
                  <c:v>40028</c:v>
                </c:pt>
                <c:pt idx="4938">
                  <c:v>40029</c:v>
                </c:pt>
                <c:pt idx="4939">
                  <c:v>40030</c:v>
                </c:pt>
                <c:pt idx="4940">
                  <c:v>40031</c:v>
                </c:pt>
                <c:pt idx="4941">
                  <c:v>40032</c:v>
                </c:pt>
                <c:pt idx="4942">
                  <c:v>40035</c:v>
                </c:pt>
                <c:pt idx="4943">
                  <c:v>40036</c:v>
                </c:pt>
                <c:pt idx="4944">
                  <c:v>40037</c:v>
                </c:pt>
                <c:pt idx="4945">
                  <c:v>40038</c:v>
                </c:pt>
                <c:pt idx="4946">
                  <c:v>40039</c:v>
                </c:pt>
                <c:pt idx="4947">
                  <c:v>40042</c:v>
                </c:pt>
                <c:pt idx="4948">
                  <c:v>40043</c:v>
                </c:pt>
                <c:pt idx="4949">
                  <c:v>40044</c:v>
                </c:pt>
                <c:pt idx="4950">
                  <c:v>40045</c:v>
                </c:pt>
                <c:pt idx="4951">
                  <c:v>40046</c:v>
                </c:pt>
                <c:pt idx="4952">
                  <c:v>40049</c:v>
                </c:pt>
                <c:pt idx="4953">
                  <c:v>40050</c:v>
                </c:pt>
                <c:pt idx="4954">
                  <c:v>40051</c:v>
                </c:pt>
                <c:pt idx="4955">
                  <c:v>40052</c:v>
                </c:pt>
                <c:pt idx="4956">
                  <c:v>40053</c:v>
                </c:pt>
                <c:pt idx="4957">
                  <c:v>40056</c:v>
                </c:pt>
                <c:pt idx="4958">
                  <c:v>40057</c:v>
                </c:pt>
                <c:pt idx="4959">
                  <c:v>40058</c:v>
                </c:pt>
                <c:pt idx="4960">
                  <c:v>40059</c:v>
                </c:pt>
                <c:pt idx="4961">
                  <c:v>40060</c:v>
                </c:pt>
                <c:pt idx="4962">
                  <c:v>40064</c:v>
                </c:pt>
                <c:pt idx="4963">
                  <c:v>40065</c:v>
                </c:pt>
                <c:pt idx="4964">
                  <c:v>40066</c:v>
                </c:pt>
                <c:pt idx="4965">
                  <c:v>40067</c:v>
                </c:pt>
                <c:pt idx="4966">
                  <c:v>40070</c:v>
                </c:pt>
                <c:pt idx="4967">
                  <c:v>40071</c:v>
                </c:pt>
                <c:pt idx="4968">
                  <c:v>40072</c:v>
                </c:pt>
                <c:pt idx="4969">
                  <c:v>40073</c:v>
                </c:pt>
                <c:pt idx="4970">
                  <c:v>40074</c:v>
                </c:pt>
                <c:pt idx="4971">
                  <c:v>40077</c:v>
                </c:pt>
                <c:pt idx="4972">
                  <c:v>40078</c:v>
                </c:pt>
                <c:pt idx="4973">
                  <c:v>40079</c:v>
                </c:pt>
                <c:pt idx="4974">
                  <c:v>40080</c:v>
                </c:pt>
                <c:pt idx="4975">
                  <c:v>40081</c:v>
                </c:pt>
                <c:pt idx="4976">
                  <c:v>40084</c:v>
                </c:pt>
                <c:pt idx="4977">
                  <c:v>40085</c:v>
                </c:pt>
                <c:pt idx="4978">
                  <c:v>40086</c:v>
                </c:pt>
                <c:pt idx="4979">
                  <c:v>40087</c:v>
                </c:pt>
                <c:pt idx="4980">
                  <c:v>40088</c:v>
                </c:pt>
                <c:pt idx="4981">
                  <c:v>40091</c:v>
                </c:pt>
                <c:pt idx="4982">
                  <c:v>40092</c:v>
                </c:pt>
                <c:pt idx="4983">
                  <c:v>40093</c:v>
                </c:pt>
                <c:pt idx="4984">
                  <c:v>40094</c:v>
                </c:pt>
                <c:pt idx="4985">
                  <c:v>40095</c:v>
                </c:pt>
                <c:pt idx="4986">
                  <c:v>40098</c:v>
                </c:pt>
                <c:pt idx="4987">
                  <c:v>40099</c:v>
                </c:pt>
                <c:pt idx="4988">
                  <c:v>40100</c:v>
                </c:pt>
                <c:pt idx="4989">
                  <c:v>40101</c:v>
                </c:pt>
                <c:pt idx="4990">
                  <c:v>40102</c:v>
                </c:pt>
                <c:pt idx="4991">
                  <c:v>40105</c:v>
                </c:pt>
                <c:pt idx="4992">
                  <c:v>40106</c:v>
                </c:pt>
                <c:pt idx="4993">
                  <c:v>40107</c:v>
                </c:pt>
                <c:pt idx="4994">
                  <c:v>40108</c:v>
                </c:pt>
                <c:pt idx="4995">
                  <c:v>40109</c:v>
                </c:pt>
                <c:pt idx="4996">
                  <c:v>40112</c:v>
                </c:pt>
                <c:pt idx="4997">
                  <c:v>40113</c:v>
                </c:pt>
                <c:pt idx="4998">
                  <c:v>40114</c:v>
                </c:pt>
                <c:pt idx="4999">
                  <c:v>40115</c:v>
                </c:pt>
                <c:pt idx="5000">
                  <c:v>40116</c:v>
                </c:pt>
                <c:pt idx="5001">
                  <c:v>40119</c:v>
                </c:pt>
                <c:pt idx="5002">
                  <c:v>40120</c:v>
                </c:pt>
                <c:pt idx="5003">
                  <c:v>40121</c:v>
                </c:pt>
                <c:pt idx="5004">
                  <c:v>40122</c:v>
                </c:pt>
                <c:pt idx="5005">
                  <c:v>40123</c:v>
                </c:pt>
                <c:pt idx="5006">
                  <c:v>40126</c:v>
                </c:pt>
                <c:pt idx="5007">
                  <c:v>40127</c:v>
                </c:pt>
                <c:pt idx="5008">
                  <c:v>40128</c:v>
                </c:pt>
                <c:pt idx="5009">
                  <c:v>40129</c:v>
                </c:pt>
                <c:pt idx="5010">
                  <c:v>40130</c:v>
                </c:pt>
                <c:pt idx="5011">
                  <c:v>40133</c:v>
                </c:pt>
                <c:pt idx="5012">
                  <c:v>40134</c:v>
                </c:pt>
                <c:pt idx="5013">
                  <c:v>40135</c:v>
                </c:pt>
                <c:pt idx="5014">
                  <c:v>40136</c:v>
                </c:pt>
                <c:pt idx="5015">
                  <c:v>40137</c:v>
                </c:pt>
                <c:pt idx="5016">
                  <c:v>40140</c:v>
                </c:pt>
                <c:pt idx="5017">
                  <c:v>40141</c:v>
                </c:pt>
                <c:pt idx="5018">
                  <c:v>40142</c:v>
                </c:pt>
                <c:pt idx="5019">
                  <c:v>40144</c:v>
                </c:pt>
                <c:pt idx="5020">
                  <c:v>40147</c:v>
                </c:pt>
                <c:pt idx="5021">
                  <c:v>40148</c:v>
                </c:pt>
                <c:pt idx="5022">
                  <c:v>40149</c:v>
                </c:pt>
                <c:pt idx="5023">
                  <c:v>40150</c:v>
                </c:pt>
                <c:pt idx="5024">
                  <c:v>40151</c:v>
                </c:pt>
                <c:pt idx="5025">
                  <c:v>40154</c:v>
                </c:pt>
                <c:pt idx="5026">
                  <c:v>40155</c:v>
                </c:pt>
                <c:pt idx="5027">
                  <c:v>40156</c:v>
                </c:pt>
                <c:pt idx="5028">
                  <c:v>40157</c:v>
                </c:pt>
                <c:pt idx="5029">
                  <c:v>40158</c:v>
                </c:pt>
                <c:pt idx="5030">
                  <c:v>40161</c:v>
                </c:pt>
                <c:pt idx="5031">
                  <c:v>40162</c:v>
                </c:pt>
                <c:pt idx="5032">
                  <c:v>40163</c:v>
                </c:pt>
                <c:pt idx="5033">
                  <c:v>40164</c:v>
                </c:pt>
                <c:pt idx="5034">
                  <c:v>40165</c:v>
                </c:pt>
                <c:pt idx="5035">
                  <c:v>40168</c:v>
                </c:pt>
                <c:pt idx="5036">
                  <c:v>40169</c:v>
                </c:pt>
                <c:pt idx="5037">
                  <c:v>40170</c:v>
                </c:pt>
                <c:pt idx="5038">
                  <c:v>40171</c:v>
                </c:pt>
                <c:pt idx="5039">
                  <c:v>40175</c:v>
                </c:pt>
                <c:pt idx="5040">
                  <c:v>40176</c:v>
                </c:pt>
                <c:pt idx="5041">
                  <c:v>40177</c:v>
                </c:pt>
                <c:pt idx="5042">
                  <c:v>40178</c:v>
                </c:pt>
                <c:pt idx="5043">
                  <c:v>40182</c:v>
                </c:pt>
                <c:pt idx="5044">
                  <c:v>40183</c:v>
                </c:pt>
                <c:pt idx="5045">
                  <c:v>40184</c:v>
                </c:pt>
                <c:pt idx="5046">
                  <c:v>40185</c:v>
                </c:pt>
                <c:pt idx="5047">
                  <c:v>40186</c:v>
                </c:pt>
                <c:pt idx="5048">
                  <c:v>40189</c:v>
                </c:pt>
                <c:pt idx="5049">
                  <c:v>40190</c:v>
                </c:pt>
                <c:pt idx="5050">
                  <c:v>40191</c:v>
                </c:pt>
                <c:pt idx="5051">
                  <c:v>40192</c:v>
                </c:pt>
                <c:pt idx="5052">
                  <c:v>40193</c:v>
                </c:pt>
                <c:pt idx="5053">
                  <c:v>40197</c:v>
                </c:pt>
                <c:pt idx="5054">
                  <c:v>40198</c:v>
                </c:pt>
                <c:pt idx="5055">
                  <c:v>40199</c:v>
                </c:pt>
                <c:pt idx="5056">
                  <c:v>40200</c:v>
                </c:pt>
                <c:pt idx="5057">
                  <c:v>40203</c:v>
                </c:pt>
                <c:pt idx="5058">
                  <c:v>40204</c:v>
                </c:pt>
                <c:pt idx="5059">
                  <c:v>40205</c:v>
                </c:pt>
                <c:pt idx="5060">
                  <c:v>40206</c:v>
                </c:pt>
                <c:pt idx="5061">
                  <c:v>40207</c:v>
                </c:pt>
                <c:pt idx="5062">
                  <c:v>40210</c:v>
                </c:pt>
                <c:pt idx="5063">
                  <c:v>40211</c:v>
                </c:pt>
                <c:pt idx="5064">
                  <c:v>40212</c:v>
                </c:pt>
                <c:pt idx="5065">
                  <c:v>40213</c:v>
                </c:pt>
                <c:pt idx="5066">
                  <c:v>40214</c:v>
                </c:pt>
                <c:pt idx="5067">
                  <c:v>40217</c:v>
                </c:pt>
                <c:pt idx="5068">
                  <c:v>40218</c:v>
                </c:pt>
                <c:pt idx="5069">
                  <c:v>40219</c:v>
                </c:pt>
                <c:pt idx="5070">
                  <c:v>40220</c:v>
                </c:pt>
                <c:pt idx="5071">
                  <c:v>40221</c:v>
                </c:pt>
                <c:pt idx="5072">
                  <c:v>40225</c:v>
                </c:pt>
                <c:pt idx="5073">
                  <c:v>40226</c:v>
                </c:pt>
                <c:pt idx="5074">
                  <c:v>40227</c:v>
                </c:pt>
                <c:pt idx="5075">
                  <c:v>40228</c:v>
                </c:pt>
                <c:pt idx="5076">
                  <c:v>40231</c:v>
                </c:pt>
                <c:pt idx="5077">
                  <c:v>40232</c:v>
                </c:pt>
                <c:pt idx="5078">
                  <c:v>40233</c:v>
                </c:pt>
                <c:pt idx="5079">
                  <c:v>40234</c:v>
                </c:pt>
                <c:pt idx="5080">
                  <c:v>40235</c:v>
                </c:pt>
                <c:pt idx="5081">
                  <c:v>40238</c:v>
                </c:pt>
                <c:pt idx="5082">
                  <c:v>40239</c:v>
                </c:pt>
                <c:pt idx="5083">
                  <c:v>40240</c:v>
                </c:pt>
                <c:pt idx="5084">
                  <c:v>40241</c:v>
                </c:pt>
                <c:pt idx="5085">
                  <c:v>40242</c:v>
                </c:pt>
                <c:pt idx="5086">
                  <c:v>40245</c:v>
                </c:pt>
                <c:pt idx="5087">
                  <c:v>40246</c:v>
                </c:pt>
                <c:pt idx="5088">
                  <c:v>40247</c:v>
                </c:pt>
                <c:pt idx="5089">
                  <c:v>40248</c:v>
                </c:pt>
                <c:pt idx="5090">
                  <c:v>40249</c:v>
                </c:pt>
                <c:pt idx="5091">
                  <c:v>40252</c:v>
                </c:pt>
                <c:pt idx="5092">
                  <c:v>40253</c:v>
                </c:pt>
                <c:pt idx="5093">
                  <c:v>40254</c:v>
                </c:pt>
                <c:pt idx="5094">
                  <c:v>40255</c:v>
                </c:pt>
                <c:pt idx="5095">
                  <c:v>40256</c:v>
                </c:pt>
                <c:pt idx="5096">
                  <c:v>40259</c:v>
                </c:pt>
                <c:pt idx="5097">
                  <c:v>40260</c:v>
                </c:pt>
                <c:pt idx="5098">
                  <c:v>40261</c:v>
                </c:pt>
                <c:pt idx="5099">
                  <c:v>40262</c:v>
                </c:pt>
                <c:pt idx="5100">
                  <c:v>40263</c:v>
                </c:pt>
                <c:pt idx="5101">
                  <c:v>40266</c:v>
                </c:pt>
                <c:pt idx="5102">
                  <c:v>40267</c:v>
                </c:pt>
                <c:pt idx="5103">
                  <c:v>40268</c:v>
                </c:pt>
                <c:pt idx="5104">
                  <c:v>40269</c:v>
                </c:pt>
                <c:pt idx="5105">
                  <c:v>40273</c:v>
                </c:pt>
                <c:pt idx="5106">
                  <c:v>40274</c:v>
                </c:pt>
                <c:pt idx="5107">
                  <c:v>40275</c:v>
                </c:pt>
                <c:pt idx="5108">
                  <c:v>40276</c:v>
                </c:pt>
                <c:pt idx="5109">
                  <c:v>40277</c:v>
                </c:pt>
                <c:pt idx="5110">
                  <c:v>40280</c:v>
                </c:pt>
                <c:pt idx="5111">
                  <c:v>40281</c:v>
                </c:pt>
                <c:pt idx="5112">
                  <c:v>40282</c:v>
                </c:pt>
                <c:pt idx="5113">
                  <c:v>40283</c:v>
                </c:pt>
                <c:pt idx="5114">
                  <c:v>40284</c:v>
                </c:pt>
                <c:pt idx="5115">
                  <c:v>40287</c:v>
                </c:pt>
                <c:pt idx="5116">
                  <c:v>40288</c:v>
                </c:pt>
                <c:pt idx="5117">
                  <c:v>40289</c:v>
                </c:pt>
                <c:pt idx="5118">
                  <c:v>40290</c:v>
                </c:pt>
                <c:pt idx="5119">
                  <c:v>40291</c:v>
                </c:pt>
                <c:pt idx="5120">
                  <c:v>40294</c:v>
                </c:pt>
                <c:pt idx="5121">
                  <c:v>40295</c:v>
                </c:pt>
                <c:pt idx="5122">
                  <c:v>40296</c:v>
                </c:pt>
                <c:pt idx="5123">
                  <c:v>40297</c:v>
                </c:pt>
                <c:pt idx="5124">
                  <c:v>40298</c:v>
                </c:pt>
                <c:pt idx="5125">
                  <c:v>40301</c:v>
                </c:pt>
                <c:pt idx="5126">
                  <c:v>40302</c:v>
                </c:pt>
                <c:pt idx="5127">
                  <c:v>40303</c:v>
                </c:pt>
                <c:pt idx="5128">
                  <c:v>40304</c:v>
                </c:pt>
                <c:pt idx="5129">
                  <c:v>40305</c:v>
                </c:pt>
                <c:pt idx="5130">
                  <c:v>40308</c:v>
                </c:pt>
                <c:pt idx="5131">
                  <c:v>40309</c:v>
                </c:pt>
                <c:pt idx="5132">
                  <c:v>40310</c:v>
                </c:pt>
                <c:pt idx="5133">
                  <c:v>40311</c:v>
                </c:pt>
                <c:pt idx="5134">
                  <c:v>40312</c:v>
                </c:pt>
                <c:pt idx="5135">
                  <c:v>40315</c:v>
                </c:pt>
                <c:pt idx="5136">
                  <c:v>40316</c:v>
                </c:pt>
                <c:pt idx="5137">
                  <c:v>40317</c:v>
                </c:pt>
                <c:pt idx="5138">
                  <c:v>40318</c:v>
                </c:pt>
                <c:pt idx="5139">
                  <c:v>40319</c:v>
                </c:pt>
                <c:pt idx="5140">
                  <c:v>40322</c:v>
                </c:pt>
                <c:pt idx="5141">
                  <c:v>40323</c:v>
                </c:pt>
                <c:pt idx="5142">
                  <c:v>40324</c:v>
                </c:pt>
                <c:pt idx="5143">
                  <c:v>40325</c:v>
                </c:pt>
                <c:pt idx="5144">
                  <c:v>40326</c:v>
                </c:pt>
                <c:pt idx="5145">
                  <c:v>40330</c:v>
                </c:pt>
                <c:pt idx="5146">
                  <c:v>40331</c:v>
                </c:pt>
                <c:pt idx="5147">
                  <c:v>40332</c:v>
                </c:pt>
                <c:pt idx="5148">
                  <c:v>40333</c:v>
                </c:pt>
                <c:pt idx="5149">
                  <c:v>40336</c:v>
                </c:pt>
                <c:pt idx="5150">
                  <c:v>40337</c:v>
                </c:pt>
                <c:pt idx="5151">
                  <c:v>40338</c:v>
                </c:pt>
                <c:pt idx="5152">
                  <c:v>40339</c:v>
                </c:pt>
                <c:pt idx="5153">
                  <c:v>40340</c:v>
                </c:pt>
                <c:pt idx="5154">
                  <c:v>40343</c:v>
                </c:pt>
                <c:pt idx="5155">
                  <c:v>40344</c:v>
                </c:pt>
                <c:pt idx="5156">
                  <c:v>40345</c:v>
                </c:pt>
                <c:pt idx="5157">
                  <c:v>40346</c:v>
                </c:pt>
                <c:pt idx="5158">
                  <c:v>40347</c:v>
                </c:pt>
                <c:pt idx="5159">
                  <c:v>40350</c:v>
                </c:pt>
                <c:pt idx="5160">
                  <c:v>40351</c:v>
                </c:pt>
                <c:pt idx="5161">
                  <c:v>40352</c:v>
                </c:pt>
                <c:pt idx="5162">
                  <c:v>40353</c:v>
                </c:pt>
                <c:pt idx="5163">
                  <c:v>40354</c:v>
                </c:pt>
                <c:pt idx="5164">
                  <c:v>40357</c:v>
                </c:pt>
                <c:pt idx="5165">
                  <c:v>40358</c:v>
                </c:pt>
                <c:pt idx="5166">
                  <c:v>40359</c:v>
                </c:pt>
                <c:pt idx="5167">
                  <c:v>40360</c:v>
                </c:pt>
                <c:pt idx="5168">
                  <c:v>40361</c:v>
                </c:pt>
                <c:pt idx="5169">
                  <c:v>40365</c:v>
                </c:pt>
                <c:pt idx="5170">
                  <c:v>40366</c:v>
                </c:pt>
                <c:pt idx="5171">
                  <c:v>40367</c:v>
                </c:pt>
                <c:pt idx="5172">
                  <c:v>40368</c:v>
                </c:pt>
                <c:pt idx="5173">
                  <c:v>40371</c:v>
                </c:pt>
                <c:pt idx="5174">
                  <c:v>40372</c:v>
                </c:pt>
                <c:pt idx="5175">
                  <c:v>40373</c:v>
                </c:pt>
                <c:pt idx="5176">
                  <c:v>40374</c:v>
                </c:pt>
                <c:pt idx="5177">
                  <c:v>40375</c:v>
                </c:pt>
                <c:pt idx="5178">
                  <c:v>40378</c:v>
                </c:pt>
                <c:pt idx="5179">
                  <c:v>40379</c:v>
                </c:pt>
                <c:pt idx="5180">
                  <c:v>40380</c:v>
                </c:pt>
                <c:pt idx="5181">
                  <c:v>40381</c:v>
                </c:pt>
                <c:pt idx="5182">
                  <c:v>40382</c:v>
                </c:pt>
                <c:pt idx="5183">
                  <c:v>40385</c:v>
                </c:pt>
                <c:pt idx="5184">
                  <c:v>40386</c:v>
                </c:pt>
                <c:pt idx="5185">
                  <c:v>40387</c:v>
                </c:pt>
                <c:pt idx="5186">
                  <c:v>40388</c:v>
                </c:pt>
                <c:pt idx="5187">
                  <c:v>40389</c:v>
                </c:pt>
                <c:pt idx="5188">
                  <c:v>40392</c:v>
                </c:pt>
                <c:pt idx="5189">
                  <c:v>40393</c:v>
                </c:pt>
                <c:pt idx="5190">
                  <c:v>40394</c:v>
                </c:pt>
                <c:pt idx="5191">
                  <c:v>40395</c:v>
                </c:pt>
                <c:pt idx="5192">
                  <c:v>40396</c:v>
                </c:pt>
                <c:pt idx="5193">
                  <c:v>40399</c:v>
                </c:pt>
                <c:pt idx="5194">
                  <c:v>40400</c:v>
                </c:pt>
                <c:pt idx="5195">
                  <c:v>40401</c:v>
                </c:pt>
                <c:pt idx="5196">
                  <c:v>40402</c:v>
                </c:pt>
                <c:pt idx="5197">
                  <c:v>40403</c:v>
                </c:pt>
                <c:pt idx="5198">
                  <c:v>40406</c:v>
                </c:pt>
                <c:pt idx="5199">
                  <c:v>40407</c:v>
                </c:pt>
                <c:pt idx="5200">
                  <c:v>40408</c:v>
                </c:pt>
                <c:pt idx="5201">
                  <c:v>40409</c:v>
                </c:pt>
                <c:pt idx="5202">
                  <c:v>40410</c:v>
                </c:pt>
                <c:pt idx="5203">
                  <c:v>40413</c:v>
                </c:pt>
                <c:pt idx="5204">
                  <c:v>40414</c:v>
                </c:pt>
                <c:pt idx="5205">
                  <c:v>40415</c:v>
                </c:pt>
                <c:pt idx="5206">
                  <c:v>40416</c:v>
                </c:pt>
                <c:pt idx="5207">
                  <c:v>40417</c:v>
                </c:pt>
                <c:pt idx="5208">
                  <c:v>40420</c:v>
                </c:pt>
                <c:pt idx="5209">
                  <c:v>40421</c:v>
                </c:pt>
                <c:pt idx="5210">
                  <c:v>40422</c:v>
                </c:pt>
                <c:pt idx="5211">
                  <c:v>40423</c:v>
                </c:pt>
                <c:pt idx="5212">
                  <c:v>40424</c:v>
                </c:pt>
                <c:pt idx="5213">
                  <c:v>40428</c:v>
                </c:pt>
                <c:pt idx="5214">
                  <c:v>40429</c:v>
                </c:pt>
                <c:pt idx="5215">
                  <c:v>40430</c:v>
                </c:pt>
                <c:pt idx="5216">
                  <c:v>40431</c:v>
                </c:pt>
                <c:pt idx="5217">
                  <c:v>40434</c:v>
                </c:pt>
                <c:pt idx="5218">
                  <c:v>40435</c:v>
                </c:pt>
                <c:pt idx="5219">
                  <c:v>40436</c:v>
                </c:pt>
                <c:pt idx="5220">
                  <c:v>40437</c:v>
                </c:pt>
                <c:pt idx="5221">
                  <c:v>40438</c:v>
                </c:pt>
                <c:pt idx="5222">
                  <c:v>40441</c:v>
                </c:pt>
                <c:pt idx="5223">
                  <c:v>40442</c:v>
                </c:pt>
                <c:pt idx="5224">
                  <c:v>40443</c:v>
                </c:pt>
                <c:pt idx="5225">
                  <c:v>40444</c:v>
                </c:pt>
                <c:pt idx="5226">
                  <c:v>40445</c:v>
                </c:pt>
                <c:pt idx="5227">
                  <c:v>40448</c:v>
                </c:pt>
                <c:pt idx="5228">
                  <c:v>40449</c:v>
                </c:pt>
                <c:pt idx="5229">
                  <c:v>40450</c:v>
                </c:pt>
                <c:pt idx="5230">
                  <c:v>40451</c:v>
                </c:pt>
                <c:pt idx="5231">
                  <c:v>40452</c:v>
                </c:pt>
                <c:pt idx="5232">
                  <c:v>40455</c:v>
                </c:pt>
                <c:pt idx="5233">
                  <c:v>40456</c:v>
                </c:pt>
                <c:pt idx="5234">
                  <c:v>40457</c:v>
                </c:pt>
                <c:pt idx="5235">
                  <c:v>40458</c:v>
                </c:pt>
                <c:pt idx="5236">
                  <c:v>40459</c:v>
                </c:pt>
                <c:pt idx="5237">
                  <c:v>40462</c:v>
                </c:pt>
                <c:pt idx="5238">
                  <c:v>40463</c:v>
                </c:pt>
                <c:pt idx="5239">
                  <c:v>40464</c:v>
                </c:pt>
                <c:pt idx="5240">
                  <c:v>40465</c:v>
                </c:pt>
                <c:pt idx="5241">
                  <c:v>40466</c:v>
                </c:pt>
                <c:pt idx="5242">
                  <c:v>40469</c:v>
                </c:pt>
                <c:pt idx="5243">
                  <c:v>40470</c:v>
                </c:pt>
                <c:pt idx="5244">
                  <c:v>40471</c:v>
                </c:pt>
                <c:pt idx="5245">
                  <c:v>40472</c:v>
                </c:pt>
                <c:pt idx="5246">
                  <c:v>40473</c:v>
                </c:pt>
                <c:pt idx="5247">
                  <c:v>40476</c:v>
                </c:pt>
                <c:pt idx="5248">
                  <c:v>40477</c:v>
                </c:pt>
                <c:pt idx="5249">
                  <c:v>40478</c:v>
                </c:pt>
                <c:pt idx="5250">
                  <c:v>40479</c:v>
                </c:pt>
                <c:pt idx="5251">
                  <c:v>40480</c:v>
                </c:pt>
                <c:pt idx="5252">
                  <c:v>40483</c:v>
                </c:pt>
                <c:pt idx="5253">
                  <c:v>40484</c:v>
                </c:pt>
                <c:pt idx="5254">
                  <c:v>40485</c:v>
                </c:pt>
                <c:pt idx="5255">
                  <c:v>40486</c:v>
                </c:pt>
                <c:pt idx="5256">
                  <c:v>40487</c:v>
                </c:pt>
                <c:pt idx="5257">
                  <c:v>40490</c:v>
                </c:pt>
                <c:pt idx="5258">
                  <c:v>40491</c:v>
                </c:pt>
                <c:pt idx="5259">
                  <c:v>40492</c:v>
                </c:pt>
                <c:pt idx="5260">
                  <c:v>40493</c:v>
                </c:pt>
                <c:pt idx="5261">
                  <c:v>40494</c:v>
                </c:pt>
                <c:pt idx="5262">
                  <c:v>40497</c:v>
                </c:pt>
                <c:pt idx="5263">
                  <c:v>40498</c:v>
                </c:pt>
                <c:pt idx="5264">
                  <c:v>40499</c:v>
                </c:pt>
                <c:pt idx="5265">
                  <c:v>40500</c:v>
                </c:pt>
                <c:pt idx="5266">
                  <c:v>40501</c:v>
                </c:pt>
                <c:pt idx="5267">
                  <c:v>40504</c:v>
                </c:pt>
                <c:pt idx="5268">
                  <c:v>40505</c:v>
                </c:pt>
                <c:pt idx="5269">
                  <c:v>40506</c:v>
                </c:pt>
                <c:pt idx="5270">
                  <c:v>40508</c:v>
                </c:pt>
                <c:pt idx="5271">
                  <c:v>40511</c:v>
                </c:pt>
                <c:pt idx="5272">
                  <c:v>40512</c:v>
                </c:pt>
                <c:pt idx="5273">
                  <c:v>40513</c:v>
                </c:pt>
                <c:pt idx="5274">
                  <c:v>40514</c:v>
                </c:pt>
                <c:pt idx="5275">
                  <c:v>40515</c:v>
                </c:pt>
                <c:pt idx="5276">
                  <c:v>40518</c:v>
                </c:pt>
                <c:pt idx="5277">
                  <c:v>40519</c:v>
                </c:pt>
                <c:pt idx="5278">
                  <c:v>40520</c:v>
                </c:pt>
                <c:pt idx="5279">
                  <c:v>40521</c:v>
                </c:pt>
                <c:pt idx="5280">
                  <c:v>40522</c:v>
                </c:pt>
                <c:pt idx="5281">
                  <c:v>40525</c:v>
                </c:pt>
                <c:pt idx="5282">
                  <c:v>40526</c:v>
                </c:pt>
                <c:pt idx="5283">
                  <c:v>40527</c:v>
                </c:pt>
                <c:pt idx="5284">
                  <c:v>40528</c:v>
                </c:pt>
                <c:pt idx="5285">
                  <c:v>40529</c:v>
                </c:pt>
                <c:pt idx="5286">
                  <c:v>40532</c:v>
                </c:pt>
                <c:pt idx="5287">
                  <c:v>40533</c:v>
                </c:pt>
                <c:pt idx="5288">
                  <c:v>40534</c:v>
                </c:pt>
                <c:pt idx="5289">
                  <c:v>40535</c:v>
                </c:pt>
                <c:pt idx="5290">
                  <c:v>40539</c:v>
                </c:pt>
                <c:pt idx="5291">
                  <c:v>40540</c:v>
                </c:pt>
                <c:pt idx="5292">
                  <c:v>40541</c:v>
                </c:pt>
                <c:pt idx="5293">
                  <c:v>40542</c:v>
                </c:pt>
                <c:pt idx="5294">
                  <c:v>40543</c:v>
                </c:pt>
                <c:pt idx="5295">
                  <c:v>40546</c:v>
                </c:pt>
                <c:pt idx="5296">
                  <c:v>40547</c:v>
                </c:pt>
                <c:pt idx="5297">
                  <c:v>40548</c:v>
                </c:pt>
                <c:pt idx="5298">
                  <c:v>40549</c:v>
                </c:pt>
                <c:pt idx="5299">
                  <c:v>40550</c:v>
                </c:pt>
                <c:pt idx="5300">
                  <c:v>40553</c:v>
                </c:pt>
                <c:pt idx="5301">
                  <c:v>40554</c:v>
                </c:pt>
                <c:pt idx="5302">
                  <c:v>40555</c:v>
                </c:pt>
                <c:pt idx="5303">
                  <c:v>40556</c:v>
                </c:pt>
                <c:pt idx="5304">
                  <c:v>40557</c:v>
                </c:pt>
                <c:pt idx="5305">
                  <c:v>40561</c:v>
                </c:pt>
                <c:pt idx="5306">
                  <c:v>40562</c:v>
                </c:pt>
                <c:pt idx="5307">
                  <c:v>40563</c:v>
                </c:pt>
                <c:pt idx="5308">
                  <c:v>40564</c:v>
                </c:pt>
                <c:pt idx="5309">
                  <c:v>40567</c:v>
                </c:pt>
                <c:pt idx="5310">
                  <c:v>40568</c:v>
                </c:pt>
                <c:pt idx="5311">
                  <c:v>40569</c:v>
                </c:pt>
                <c:pt idx="5312">
                  <c:v>40570</c:v>
                </c:pt>
                <c:pt idx="5313">
                  <c:v>40571</c:v>
                </c:pt>
                <c:pt idx="5314">
                  <c:v>40574</c:v>
                </c:pt>
                <c:pt idx="5315">
                  <c:v>40575</c:v>
                </c:pt>
                <c:pt idx="5316">
                  <c:v>40576</c:v>
                </c:pt>
                <c:pt idx="5317">
                  <c:v>40577</c:v>
                </c:pt>
                <c:pt idx="5318">
                  <c:v>40578</c:v>
                </c:pt>
                <c:pt idx="5319">
                  <c:v>40581</c:v>
                </c:pt>
                <c:pt idx="5320">
                  <c:v>40582</c:v>
                </c:pt>
                <c:pt idx="5321">
                  <c:v>40583</c:v>
                </c:pt>
                <c:pt idx="5322">
                  <c:v>40584</c:v>
                </c:pt>
                <c:pt idx="5323">
                  <c:v>40585</c:v>
                </c:pt>
                <c:pt idx="5324">
                  <c:v>40588</c:v>
                </c:pt>
                <c:pt idx="5325">
                  <c:v>40589</c:v>
                </c:pt>
                <c:pt idx="5326">
                  <c:v>40590</c:v>
                </c:pt>
                <c:pt idx="5327">
                  <c:v>40591</c:v>
                </c:pt>
                <c:pt idx="5328">
                  <c:v>40592</c:v>
                </c:pt>
                <c:pt idx="5329">
                  <c:v>40596</c:v>
                </c:pt>
                <c:pt idx="5330">
                  <c:v>40597</c:v>
                </c:pt>
                <c:pt idx="5331">
                  <c:v>40598</c:v>
                </c:pt>
                <c:pt idx="5332">
                  <c:v>40599</c:v>
                </c:pt>
                <c:pt idx="5333">
                  <c:v>40602</c:v>
                </c:pt>
                <c:pt idx="5334">
                  <c:v>40603</c:v>
                </c:pt>
                <c:pt idx="5335">
                  <c:v>40604</c:v>
                </c:pt>
                <c:pt idx="5336">
                  <c:v>40605</c:v>
                </c:pt>
                <c:pt idx="5337">
                  <c:v>40606</c:v>
                </c:pt>
                <c:pt idx="5338">
                  <c:v>40609</c:v>
                </c:pt>
                <c:pt idx="5339">
                  <c:v>40610</c:v>
                </c:pt>
                <c:pt idx="5340">
                  <c:v>40611</c:v>
                </c:pt>
                <c:pt idx="5341">
                  <c:v>40612</c:v>
                </c:pt>
                <c:pt idx="5342">
                  <c:v>40613</c:v>
                </c:pt>
                <c:pt idx="5343">
                  <c:v>40616</c:v>
                </c:pt>
                <c:pt idx="5344">
                  <c:v>40617</c:v>
                </c:pt>
                <c:pt idx="5345">
                  <c:v>40618</c:v>
                </c:pt>
                <c:pt idx="5346">
                  <c:v>40619</c:v>
                </c:pt>
                <c:pt idx="5347">
                  <c:v>40620</c:v>
                </c:pt>
                <c:pt idx="5348">
                  <c:v>40623</c:v>
                </c:pt>
                <c:pt idx="5349">
                  <c:v>40624</c:v>
                </c:pt>
                <c:pt idx="5350">
                  <c:v>40625</c:v>
                </c:pt>
                <c:pt idx="5351">
                  <c:v>40626</c:v>
                </c:pt>
                <c:pt idx="5352">
                  <c:v>40627</c:v>
                </c:pt>
                <c:pt idx="5353">
                  <c:v>40630</c:v>
                </c:pt>
                <c:pt idx="5354">
                  <c:v>40631</c:v>
                </c:pt>
                <c:pt idx="5355">
                  <c:v>40632</c:v>
                </c:pt>
                <c:pt idx="5356">
                  <c:v>40633</c:v>
                </c:pt>
                <c:pt idx="5357">
                  <c:v>40634</c:v>
                </c:pt>
                <c:pt idx="5358">
                  <c:v>40637</c:v>
                </c:pt>
                <c:pt idx="5359">
                  <c:v>40638</c:v>
                </c:pt>
                <c:pt idx="5360">
                  <c:v>40639</c:v>
                </c:pt>
                <c:pt idx="5361">
                  <c:v>40640</c:v>
                </c:pt>
                <c:pt idx="5362">
                  <c:v>40641</c:v>
                </c:pt>
                <c:pt idx="5363">
                  <c:v>40644</c:v>
                </c:pt>
                <c:pt idx="5364">
                  <c:v>40645</c:v>
                </c:pt>
                <c:pt idx="5365">
                  <c:v>40646</c:v>
                </c:pt>
                <c:pt idx="5366">
                  <c:v>40647</c:v>
                </c:pt>
                <c:pt idx="5367">
                  <c:v>40648</c:v>
                </c:pt>
                <c:pt idx="5368">
                  <c:v>40651</c:v>
                </c:pt>
                <c:pt idx="5369">
                  <c:v>40652</c:v>
                </c:pt>
                <c:pt idx="5370">
                  <c:v>40653</c:v>
                </c:pt>
                <c:pt idx="5371">
                  <c:v>40654</c:v>
                </c:pt>
                <c:pt idx="5372">
                  <c:v>40658</c:v>
                </c:pt>
                <c:pt idx="5373">
                  <c:v>40659</c:v>
                </c:pt>
                <c:pt idx="5374">
                  <c:v>40660</c:v>
                </c:pt>
                <c:pt idx="5375">
                  <c:v>40661</c:v>
                </c:pt>
                <c:pt idx="5376">
                  <c:v>40662</c:v>
                </c:pt>
                <c:pt idx="5377">
                  <c:v>40665</c:v>
                </c:pt>
                <c:pt idx="5378">
                  <c:v>40666</c:v>
                </c:pt>
                <c:pt idx="5379">
                  <c:v>40667</c:v>
                </c:pt>
                <c:pt idx="5380">
                  <c:v>40668</c:v>
                </c:pt>
                <c:pt idx="5381">
                  <c:v>40669</c:v>
                </c:pt>
                <c:pt idx="5382">
                  <c:v>40672</c:v>
                </c:pt>
                <c:pt idx="5383">
                  <c:v>40673</c:v>
                </c:pt>
                <c:pt idx="5384">
                  <c:v>40674</c:v>
                </c:pt>
                <c:pt idx="5385">
                  <c:v>40675</c:v>
                </c:pt>
                <c:pt idx="5386">
                  <c:v>40676</c:v>
                </c:pt>
                <c:pt idx="5387">
                  <c:v>40679</c:v>
                </c:pt>
                <c:pt idx="5388">
                  <c:v>40680</c:v>
                </c:pt>
                <c:pt idx="5389">
                  <c:v>40681</c:v>
                </c:pt>
                <c:pt idx="5390">
                  <c:v>40682</c:v>
                </c:pt>
                <c:pt idx="5391">
                  <c:v>40683</c:v>
                </c:pt>
                <c:pt idx="5392">
                  <c:v>40686</c:v>
                </c:pt>
                <c:pt idx="5393">
                  <c:v>40687</c:v>
                </c:pt>
                <c:pt idx="5394">
                  <c:v>40688</c:v>
                </c:pt>
                <c:pt idx="5395">
                  <c:v>40689</c:v>
                </c:pt>
                <c:pt idx="5396">
                  <c:v>40690</c:v>
                </c:pt>
                <c:pt idx="5397">
                  <c:v>40694</c:v>
                </c:pt>
                <c:pt idx="5398">
                  <c:v>40695</c:v>
                </c:pt>
                <c:pt idx="5399">
                  <c:v>40696</c:v>
                </c:pt>
                <c:pt idx="5400">
                  <c:v>40697</c:v>
                </c:pt>
                <c:pt idx="5401">
                  <c:v>40700</c:v>
                </c:pt>
                <c:pt idx="5402">
                  <c:v>40701</c:v>
                </c:pt>
                <c:pt idx="5403">
                  <c:v>40702</c:v>
                </c:pt>
                <c:pt idx="5404">
                  <c:v>40703</c:v>
                </c:pt>
                <c:pt idx="5405">
                  <c:v>40704</c:v>
                </c:pt>
                <c:pt idx="5406">
                  <c:v>40707</c:v>
                </c:pt>
                <c:pt idx="5407">
                  <c:v>40708</c:v>
                </c:pt>
                <c:pt idx="5408">
                  <c:v>40709</c:v>
                </c:pt>
                <c:pt idx="5409">
                  <c:v>40710</c:v>
                </c:pt>
                <c:pt idx="5410">
                  <c:v>40711</c:v>
                </c:pt>
                <c:pt idx="5411">
                  <c:v>40714</c:v>
                </c:pt>
                <c:pt idx="5412">
                  <c:v>40715</c:v>
                </c:pt>
                <c:pt idx="5413">
                  <c:v>40716</c:v>
                </c:pt>
                <c:pt idx="5414">
                  <c:v>40717</c:v>
                </c:pt>
                <c:pt idx="5415">
                  <c:v>40718</c:v>
                </c:pt>
                <c:pt idx="5416">
                  <c:v>40721</c:v>
                </c:pt>
                <c:pt idx="5417">
                  <c:v>40722</c:v>
                </c:pt>
                <c:pt idx="5418">
                  <c:v>40723</c:v>
                </c:pt>
                <c:pt idx="5419">
                  <c:v>40724</c:v>
                </c:pt>
                <c:pt idx="5420">
                  <c:v>40725</c:v>
                </c:pt>
                <c:pt idx="5421">
                  <c:v>40729</c:v>
                </c:pt>
                <c:pt idx="5422">
                  <c:v>40730</c:v>
                </c:pt>
                <c:pt idx="5423">
                  <c:v>40731</c:v>
                </c:pt>
                <c:pt idx="5424">
                  <c:v>40732</c:v>
                </c:pt>
                <c:pt idx="5425">
                  <c:v>40735</c:v>
                </c:pt>
                <c:pt idx="5426">
                  <c:v>40736</c:v>
                </c:pt>
                <c:pt idx="5427">
                  <c:v>40737</c:v>
                </c:pt>
                <c:pt idx="5428">
                  <c:v>40738</c:v>
                </c:pt>
                <c:pt idx="5429">
                  <c:v>40739</c:v>
                </c:pt>
                <c:pt idx="5430">
                  <c:v>40742</c:v>
                </c:pt>
                <c:pt idx="5431">
                  <c:v>40743</c:v>
                </c:pt>
                <c:pt idx="5432">
                  <c:v>40744</c:v>
                </c:pt>
                <c:pt idx="5433">
                  <c:v>40745</c:v>
                </c:pt>
                <c:pt idx="5434">
                  <c:v>40746</c:v>
                </c:pt>
                <c:pt idx="5435">
                  <c:v>40749</c:v>
                </c:pt>
                <c:pt idx="5436">
                  <c:v>40750</c:v>
                </c:pt>
                <c:pt idx="5437">
                  <c:v>40751</c:v>
                </c:pt>
                <c:pt idx="5438">
                  <c:v>40752</c:v>
                </c:pt>
                <c:pt idx="5439">
                  <c:v>40753</c:v>
                </c:pt>
                <c:pt idx="5440">
                  <c:v>40756</c:v>
                </c:pt>
                <c:pt idx="5441">
                  <c:v>40757</c:v>
                </c:pt>
                <c:pt idx="5442">
                  <c:v>40758</c:v>
                </c:pt>
                <c:pt idx="5443">
                  <c:v>40759</c:v>
                </c:pt>
                <c:pt idx="5444">
                  <c:v>40760</c:v>
                </c:pt>
                <c:pt idx="5445">
                  <c:v>40763</c:v>
                </c:pt>
                <c:pt idx="5446">
                  <c:v>40764</c:v>
                </c:pt>
                <c:pt idx="5447">
                  <c:v>40765</c:v>
                </c:pt>
                <c:pt idx="5448">
                  <c:v>40766</c:v>
                </c:pt>
                <c:pt idx="5449">
                  <c:v>40767</c:v>
                </c:pt>
                <c:pt idx="5450">
                  <c:v>40770</c:v>
                </c:pt>
                <c:pt idx="5451">
                  <c:v>40771</c:v>
                </c:pt>
                <c:pt idx="5452">
                  <c:v>40772</c:v>
                </c:pt>
                <c:pt idx="5453">
                  <c:v>40773</c:v>
                </c:pt>
                <c:pt idx="5454">
                  <c:v>40774</c:v>
                </c:pt>
                <c:pt idx="5455">
                  <c:v>40777</c:v>
                </c:pt>
                <c:pt idx="5456">
                  <c:v>40778</c:v>
                </c:pt>
                <c:pt idx="5457">
                  <c:v>40779</c:v>
                </c:pt>
                <c:pt idx="5458">
                  <c:v>40780</c:v>
                </c:pt>
                <c:pt idx="5459">
                  <c:v>40781</c:v>
                </c:pt>
                <c:pt idx="5460">
                  <c:v>40784</c:v>
                </c:pt>
                <c:pt idx="5461">
                  <c:v>40785</c:v>
                </c:pt>
                <c:pt idx="5462">
                  <c:v>40786</c:v>
                </c:pt>
                <c:pt idx="5463">
                  <c:v>40787</c:v>
                </c:pt>
                <c:pt idx="5464">
                  <c:v>40788</c:v>
                </c:pt>
                <c:pt idx="5465">
                  <c:v>40792</c:v>
                </c:pt>
                <c:pt idx="5466">
                  <c:v>40793</c:v>
                </c:pt>
                <c:pt idx="5467">
                  <c:v>40794</c:v>
                </c:pt>
                <c:pt idx="5468">
                  <c:v>40795</c:v>
                </c:pt>
                <c:pt idx="5469">
                  <c:v>40798</c:v>
                </c:pt>
                <c:pt idx="5470">
                  <c:v>40799</c:v>
                </c:pt>
                <c:pt idx="5471">
                  <c:v>40800</c:v>
                </c:pt>
                <c:pt idx="5472">
                  <c:v>40801</c:v>
                </c:pt>
                <c:pt idx="5473">
                  <c:v>40802</c:v>
                </c:pt>
                <c:pt idx="5474">
                  <c:v>40805</c:v>
                </c:pt>
                <c:pt idx="5475">
                  <c:v>40806</c:v>
                </c:pt>
                <c:pt idx="5476">
                  <c:v>40807</c:v>
                </c:pt>
                <c:pt idx="5477">
                  <c:v>40808</c:v>
                </c:pt>
                <c:pt idx="5478">
                  <c:v>40809</c:v>
                </c:pt>
                <c:pt idx="5479">
                  <c:v>40812</c:v>
                </c:pt>
                <c:pt idx="5480">
                  <c:v>40813</c:v>
                </c:pt>
                <c:pt idx="5481">
                  <c:v>40814</c:v>
                </c:pt>
                <c:pt idx="5482">
                  <c:v>40815</c:v>
                </c:pt>
                <c:pt idx="5483">
                  <c:v>40816</c:v>
                </c:pt>
                <c:pt idx="5484">
                  <c:v>40819</c:v>
                </c:pt>
                <c:pt idx="5485">
                  <c:v>40820</c:v>
                </c:pt>
                <c:pt idx="5486">
                  <c:v>40821</c:v>
                </c:pt>
                <c:pt idx="5487">
                  <c:v>40822</c:v>
                </c:pt>
                <c:pt idx="5488">
                  <c:v>40823</c:v>
                </c:pt>
                <c:pt idx="5489">
                  <c:v>40826</c:v>
                </c:pt>
                <c:pt idx="5490">
                  <c:v>40827</c:v>
                </c:pt>
                <c:pt idx="5491">
                  <c:v>40828</c:v>
                </c:pt>
                <c:pt idx="5492">
                  <c:v>40829</c:v>
                </c:pt>
                <c:pt idx="5493">
                  <c:v>40830</c:v>
                </c:pt>
                <c:pt idx="5494">
                  <c:v>40833</c:v>
                </c:pt>
                <c:pt idx="5495">
                  <c:v>40834</c:v>
                </c:pt>
                <c:pt idx="5496">
                  <c:v>40835</c:v>
                </c:pt>
                <c:pt idx="5497">
                  <c:v>40836</c:v>
                </c:pt>
                <c:pt idx="5498">
                  <c:v>40837</c:v>
                </c:pt>
                <c:pt idx="5499">
                  <c:v>40840</c:v>
                </c:pt>
                <c:pt idx="5500">
                  <c:v>40841</c:v>
                </c:pt>
                <c:pt idx="5501">
                  <c:v>40842</c:v>
                </c:pt>
                <c:pt idx="5502">
                  <c:v>40843</c:v>
                </c:pt>
                <c:pt idx="5503">
                  <c:v>40844</c:v>
                </c:pt>
                <c:pt idx="5504">
                  <c:v>40847</c:v>
                </c:pt>
                <c:pt idx="5505">
                  <c:v>40848</c:v>
                </c:pt>
                <c:pt idx="5506">
                  <c:v>40849</c:v>
                </c:pt>
                <c:pt idx="5507">
                  <c:v>40850</c:v>
                </c:pt>
                <c:pt idx="5508">
                  <c:v>40851</c:v>
                </c:pt>
                <c:pt idx="5509">
                  <c:v>40854</c:v>
                </c:pt>
                <c:pt idx="5510">
                  <c:v>40855</c:v>
                </c:pt>
                <c:pt idx="5511">
                  <c:v>40856</c:v>
                </c:pt>
                <c:pt idx="5512">
                  <c:v>40857</c:v>
                </c:pt>
                <c:pt idx="5513">
                  <c:v>40858</c:v>
                </c:pt>
                <c:pt idx="5514">
                  <c:v>40861</c:v>
                </c:pt>
                <c:pt idx="5515">
                  <c:v>40862</c:v>
                </c:pt>
                <c:pt idx="5516">
                  <c:v>40863</c:v>
                </c:pt>
                <c:pt idx="5517">
                  <c:v>40864</c:v>
                </c:pt>
                <c:pt idx="5518">
                  <c:v>40865</c:v>
                </c:pt>
                <c:pt idx="5519">
                  <c:v>40868</c:v>
                </c:pt>
                <c:pt idx="5520">
                  <c:v>40869</c:v>
                </c:pt>
                <c:pt idx="5521">
                  <c:v>40870</c:v>
                </c:pt>
                <c:pt idx="5522">
                  <c:v>40872</c:v>
                </c:pt>
                <c:pt idx="5523">
                  <c:v>40875</c:v>
                </c:pt>
                <c:pt idx="5524">
                  <c:v>40876</c:v>
                </c:pt>
                <c:pt idx="5525">
                  <c:v>40877</c:v>
                </c:pt>
                <c:pt idx="5526">
                  <c:v>40878</c:v>
                </c:pt>
                <c:pt idx="5527">
                  <c:v>40879</c:v>
                </c:pt>
                <c:pt idx="5528">
                  <c:v>40882</c:v>
                </c:pt>
                <c:pt idx="5529">
                  <c:v>40883</c:v>
                </c:pt>
                <c:pt idx="5530">
                  <c:v>40884</c:v>
                </c:pt>
                <c:pt idx="5531">
                  <c:v>40885</c:v>
                </c:pt>
                <c:pt idx="5532">
                  <c:v>40886</c:v>
                </c:pt>
                <c:pt idx="5533">
                  <c:v>40889</c:v>
                </c:pt>
                <c:pt idx="5534">
                  <c:v>40890</c:v>
                </c:pt>
                <c:pt idx="5535">
                  <c:v>40891</c:v>
                </c:pt>
                <c:pt idx="5536">
                  <c:v>40892</c:v>
                </c:pt>
                <c:pt idx="5537">
                  <c:v>40893</c:v>
                </c:pt>
                <c:pt idx="5538">
                  <c:v>40896</c:v>
                </c:pt>
                <c:pt idx="5539">
                  <c:v>40897</c:v>
                </c:pt>
                <c:pt idx="5540">
                  <c:v>40898</c:v>
                </c:pt>
                <c:pt idx="5541">
                  <c:v>40899</c:v>
                </c:pt>
                <c:pt idx="5542">
                  <c:v>40900</c:v>
                </c:pt>
                <c:pt idx="5543">
                  <c:v>40904</c:v>
                </c:pt>
                <c:pt idx="5544">
                  <c:v>40905</c:v>
                </c:pt>
                <c:pt idx="5545">
                  <c:v>40906</c:v>
                </c:pt>
                <c:pt idx="5546">
                  <c:v>40907</c:v>
                </c:pt>
                <c:pt idx="5547">
                  <c:v>40911</c:v>
                </c:pt>
                <c:pt idx="5548">
                  <c:v>40912</c:v>
                </c:pt>
                <c:pt idx="5549">
                  <c:v>40913</c:v>
                </c:pt>
                <c:pt idx="5550">
                  <c:v>40914</c:v>
                </c:pt>
                <c:pt idx="5551">
                  <c:v>40917</c:v>
                </c:pt>
                <c:pt idx="5552">
                  <c:v>40918</c:v>
                </c:pt>
                <c:pt idx="5553">
                  <c:v>40919</c:v>
                </c:pt>
                <c:pt idx="5554">
                  <c:v>40920</c:v>
                </c:pt>
                <c:pt idx="5555">
                  <c:v>40921</c:v>
                </c:pt>
                <c:pt idx="5556">
                  <c:v>40925</c:v>
                </c:pt>
                <c:pt idx="5557">
                  <c:v>40926</c:v>
                </c:pt>
                <c:pt idx="5558">
                  <c:v>40927</c:v>
                </c:pt>
                <c:pt idx="5559">
                  <c:v>40928</c:v>
                </c:pt>
                <c:pt idx="5560">
                  <c:v>40931</c:v>
                </c:pt>
                <c:pt idx="5561">
                  <c:v>40932</c:v>
                </c:pt>
                <c:pt idx="5562">
                  <c:v>40933</c:v>
                </c:pt>
                <c:pt idx="5563">
                  <c:v>40934</c:v>
                </c:pt>
                <c:pt idx="5564">
                  <c:v>40935</c:v>
                </c:pt>
                <c:pt idx="5565">
                  <c:v>40938</c:v>
                </c:pt>
                <c:pt idx="5566">
                  <c:v>40939</c:v>
                </c:pt>
                <c:pt idx="5567">
                  <c:v>40940</c:v>
                </c:pt>
                <c:pt idx="5568">
                  <c:v>40941</c:v>
                </c:pt>
                <c:pt idx="5569">
                  <c:v>40942</c:v>
                </c:pt>
                <c:pt idx="5570">
                  <c:v>40945</c:v>
                </c:pt>
                <c:pt idx="5571">
                  <c:v>40946</c:v>
                </c:pt>
                <c:pt idx="5572">
                  <c:v>40947</c:v>
                </c:pt>
                <c:pt idx="5573">
                  <c:v>40948</c:v>
                </c:pt>
                <c:pt idx="5574">
                  <c:v>40949</c:v>
                </c:pt>
                <c:pt idx="5575">
                  <c:v>40952</c:v>
                </c:pt>
                <c:pt idx="5576">
                  <c:v>40953</c:v>
                </c:pt>
                <c:pt idx="5577">
                  <c:v>40954</c:v>
                </c:pt>
                <c:pt idx="5578">
                  <c:v>40955</c:v>
                </c:pt>
                <c:pt idx="5579">
                  <c:v>40956</c:v>
                </c:pt>
                <c:pt idx="5580">
                  <c:v>40960</c:v>
                </c:pt>
                <c:pt idx="5581">
                  <c:v>40961</c:v>
                </c:pt>
                <c:pt idx="5582">
                  <c:v>40962</c:v>
                </c:pt>
                <c:pt idx="5583">
                  <c:v>40963</c:v>
                </c:pt>
                <c:pt idx="5584">
                  <c:v>40966</c:v>
                </c:pt>
                <c:pt idx="5585">
                  <c:v>40967</c:v>
                </c:pt>
                <c:pt idx="5586">
                  <c:v>40968</c:v>
                </c:pt>
                <c:pt idx="5587">
                  <c:v>40969</c:v>
                </c:pt>
                <c:pt idx="5588">
                  <c:v>40970</c:v>
                </c:pt>
                <c:pt idx="5589">
                  <c:v>40973</c:v>
                </c:pt>
                <c:pt idx="5590">
                  <c:v>40974</c:v>
                </c:pt>
                <c:pt idx="5591">
                  <c:v>40975</c:v>
                </c:pt>
                <c:pt idx="5592">
                  <c:v>40976</c:v>
                </c:pt>
                <c:pt idx="5593">
                  <c:v>40977</c:v>
                </c:pt>
                <c:pt idx="5594">
                  <c:v>40980</c:v>
                </c:pt>
                <c:pt idx="5595">
                  <c:v>40981</c:v>
                </c:pt>
                <c:pt idx="5596">
                  <c:v>40982</c:v>
                </c:pt>
                <c:pt idx="5597">
                  <c:v>40983</c:v>
                </c:pt>
                <c:pt idx="5598">
                  <c:v>40984</c:v>
                </c:pt>
                <c:pt idx="5599">
                  <c:v>40987</c:v>
                </c:pt>
                <c:pt idx="5600">
                  <c:v>40988</c:v>
                </c:pt>
                <c:pt idx="5601">
                  <c:v>40989</c:v>
                </c:pt>
                <c:pt idx="5602">
                  <c:v>40990</c:v>
                </c:pt>
                <c:pt idx="5603">
                  <c:v>40991</c:v>
                </c:pt>
                <c:pt idx="5604">
                  <c:v>40994</c:v>
                </c:pt>
                <c:pt idx="5605">
                  <c:v>40995</c:v>
                </c:pt>
                <c:pt idx="5606">
                  <c:v>40996</c:v>
                </c:pt>
                <c:pt idx="5607">
                  <c:v>40997</c:v>
                </c:pt>
                <c:pt idx="5608">
                  <c:v>40998</c:v>
                </c:pt>
                <c:pt idx="5609">
                  <c:v>41001</c:v>
                </c:pt>
                <c:pt idx="5610">
                  <c:v>41002</c:v>
                </c:pt>
                <c:pt idx="5611">
                  <c:v>41003</c:v>
                </c:pt>
                <c:pt idx="5612">
                  <c:v>41004</c:v>
                </c:pt>
                <c:pt idx="5613">
                  <c:v>41008</c:v>
                </c:pt>
                <c:pt idx="5614">
                  <c:v>41009</c:v>
                </c:pt>
                <c:pt idx="5615">
                  <c:v>41010</c:v>
                </c:pt>
                <c:pt idx="5616">
                  <c:v>41011</c:v>
                </c:pt>
                <c:pt idx="5617">
                  <c:v>41012</c:v>
                </c:pt>
                <c:pt idx="5618">
                  <c:v>41015</c:v>
                </c:pt>
                <c:pt idx="5619">
                  <c:v>41016</c:v>
                </c:pt>
                <c:pt idx="5620">
                  <c:v>41017</c:v>
                </c:pt>
                <c:pt idx="5621">
                  <c:v>41018</c:v>
                </c:pt>
                <c:pt idx="5622">
                  <c:v>41019</c:v>
                </c:pt>
                <c:pt idx="5623">
                  <c:v>41022</c:v>
                </c:pt>
                <c:pt idx="5624">
                  <c:v>41023</c:v>
                </c:pt>
                <c:pt idx="5625">
                  <c:v>41024</c:v>
                </c:pt>
                <c:pt idx="5626">
                  <c:v>41025</c:v>
                </c:pt>
                <c:pt idx="5627">
                  <c:v>41026</c:v>
                </c:pt>
                <c:pt idx="5628">
                  <c:v>41029</c:v>
                </c:pt>
                <c:pt idx="5629">
                  <c:v>41030</c:v>
                </c:pt>
                <c:pt idx="5630">
                  <c:v>41031</c:v>
                </c:pt>
                <c:pt idx="5631">
                  <c:v>41032</c:v>
                </c:pt>
                <c:pt idx="5632">
                  <c:v>41033</c:v>
                </c:pt>
                <c:pt idx="5633">
                  <c:v>41036</c:v>
                </c:pt>
                <c:pt idx="5634">
                  <c:v>41037</c:v>
                </c:pt>
                <c:pt idx="5635">
                  <c:v>41038</c:v>
                </c:pt>
                <c:pt idx="5636">
                  <c:v>41039</c:v>
                </c:pt>
                <c:pt idx="5637">
                  <c:v>41040</c:v>
                </c:pt>
                <c:pt idx="5638">
                  <c:v>41043</c:v>
                </c:pt>
                <c:pt idx="5639">
                  <c:v>41044</c:v>
                </c:pt>
                <c:pt idx="5640">
                  <c:v>41045</c:v>
                </c:pt>
                <c:pt idx="5641">
                  <c:v>41046</c:v>
                </c:pt>
                <c:pt idx="5642">
                  <c:v>41047</c:v>
                </c:pt>
                <c:pt idx="5643">
                  <c:v>41050</c:v>
                </c:pt>
                <c:pt idx="5644">
                  <c:v>41051</c:v>
                </c:pt>
                <c:pt idx="5645">
                  <c:v>41052</c:v>
                </c:pt>
                <c:pt idx="5646">
                  <c:v>41053</c:v>
                </c:pt>
                <c:pt idx="5647">
                  <c:v>41054</c:v>
                </c:pt>
                <c:pt idx="5648">
                  <c:v>41058</c:v>
                </c:pt>
                <c:pt idx="5649">
                  <c:v>41059</c:v>
                </c:pt>
                <c:pt idx="5650">
                  <c:v>41060</c:v>
                </c:pt>
                <c:pt idx="5651">
                  <c:v>41061</c:v>
                </c:pt>
                <c:pt idx="5652">
                  <c:v>41064</c:v>
                </c:pt>
                <c:pt idx="5653">
                  <c:v>41065</c:v>
                </c:pt>
                <c:pt idx="5654">
                  <c:v>41066</c:v>
                </c:pt>
                <c:pt idx="5655">
                  <c:v>41067</c:v>
                </c:pt>
                <c:pt idx="5656">
                  <c:v>41068</c:v>
                </c:pt>
                <c:pt idx="5657">
                  <c:v>41071</c:v>
                </c:pt>
                <c:pt idx="5658">
                  <c:v>41072</c:v>
                </c:pt>
                <c:pt idx="5659">
                  <c:v>41073</c:v>
                </c:pt>
                <c:pt idx="5660">
                  <c:v>41074</c:v>
                </c:pt>
                <c:pt idx="5661">
                  <c:v>41075</c:v>
                </c:pt>
                <c:pt idx="5662">
                  <c:v>41078</c:v>
                </c:pt>
                <c:pt idx="5663">
                  <c:v>41079</c:v>
                </c:pt>
                <c:pt idx="5664">
                  <c:v>41080</c:v>
                </c:pt>
                <c:pt idx="5665">
                  <c:v>41081</c:v>
                </c:pt>
                <c:pt idx="5666">
                  <c:v>41082</c:v>
                </c:pt>
                <c:pt idx="5667">
                  <c:v>41085</c:v>
                </c:pt>
                <c:pt idx="5668">
                  <c:v>41086</c:v>
                </c:pt>
                <c:pt idx="5669">
                  <c:v>41087</c:v>
                </c:pt>
                <c:pt idx="5670">
                  <c:v>41088</c:v>
                </c:pt>
                <c:pt idx="5671">
                  <c:v>41089</c:v>
                </c:pt>
                <c:pt idx="5672">
                  <c:v>41092</c:v>
                </c:pt>
                <c:pt idx="5673">
                  <c:v>41093</c:v>
                </c:pt>
                <c:pt idx="5674">
                  <c:v>41095</c:v>
                </c:pt>
                <c:pt idx="5675">
                  <c:v>41096</c:v>
                </c:pt>
                <c:pt idx="5676">
                  <c:v>41099</c:v>
                </c:pt>
                <c:pt idx="5677">
                  <c:v>41100</c:v>
                </c:pt>
                <c:pt idx="5678">
                  <c:v>41101</c:v>
                </c:pt>
                <c:pt idx="5679">
                  <c:v>41102</c:v>
                </c:pt>
                <c:pt idx="5680">
                  <c:v>41103</c:v>
                </c:pt>
                <c:pt idx="5681">
                  <c:v>41106</c:v>
                </c:pt>
                <c:pt idx="5682">
                  <c:v>41107</c:v>
                </c:pt>
                <c:pt idx="5683">
                  <c:v>41108</c:v>
                </c:pt>
                <c:pt idx="5684">
                  <c:v>41109</c:v>
                </c:pt>
                <c:pt idx="5685">
                  <c:v>41110</c:v>
                </c:pt>
                <c:pt idx="5686">
                  <c:v>41113</c:v>
                </c:pt>
                <c:pt idx="5687">
                  <c:v>41114</c:v>
                </c:pt>
                <c:pt idx="5688">
                  <c:v>41115</c:v>
                </c:pt>
                <c:pt idx="5689">
                  <c:v>41116</c:v>
                </c:pt>
                <c:pt idx="5690">
                  <c:v>41117</c:v>
                </c:pt>
                <c:pt idx="5691">
                  <c:v>41120</c:v>
                </c:pt>
                <c:pt idx="5692">
                  <c:v>41121</c:v>
                </c:pt>
                <c:pt idx="5693">
                  <c:v>41122</c:v>
                </c:pt>
                <c:pt idx="5694">
                  <c:v>41123</c:v>
                </c:pt>
                <c:pt idx="5695">
                  <c:v>41124</c:v>
                </c:pt>
                <c:pt idx="5696">
                  <c:v>41127</c:v>
                </c:pt>
                <c:pt idx="5697">
                  <c:v>41128</c:v>
                </c:pt>
                <c:pt idx="5698">
                  <c:v>41129</c:v>
                </c:pt>
                <c:pt idx="5699">
                  <c:v>41130</c:v>
                </c:pt>
                <c:pt idx="5700">
                  <c:v>41131</c:v>
                </c:pt>
                <c:pt idx="5701">
                  <c:v>41134</c:v>
                </c:pt>
                <c:pt idx="5702">
                  <c:v>41135</c:v>
                </c:pt>
                <c:pt idx="5703">
                  <c:v>41136</c:v>
                </c:pt>
                <c:pt idx="5704">
                  <c:v>41137</c:v>
                </c:pt>
                <c:pt idx="5705">
                  <c:v>41138</c:v>
                </c:pt>
                <c:pt idx="5706">
                  <c:v>41141</c:v>
                </c:pt>
                <c:pt idx="5707">
                  <c:v>41142</c:v>
                </c:pt>
                <c:pt idx="5708">
                  <c:v>41143</c:v>
                </c:pt>
                <c:pt idx="5709">
                  <c:v>41144</c:v>
                </c:pt>
                <c:pt idx="5710">
                  <c:v>41145</c:v>
                </c:pt>
                <c:pt idx="5711">
                  <c:v>41148</c:v>
                </c:pt>
                <c:pt idx="5712">
                  <c:v>41149</c:v>
                </c:pt>
                <c:pt idx="5713">
                  <c:v>41150</c:v>
                </c:pt>
                <c:pt idx="5714">
                  <c:v>41151</c:v>
                </c:pt>
                <c:pt idx="5715">
                  <c:v>41152</c:v>
                </c:pt>
                <c:pt idx="5716">
                  <c:v>41156</c:v>
                </c:pt>
                <c:pt idx="5717">
                  <c:v>41157</c:v>
                </c:pt>
                <c:pt idx="5718">
                  <c:v>41158</c:v>
                </c:pt>
                <c:pt idx="5719">
                  <c:v>41159</c:v>
                </c:pt>
                <c:pt idx="5720">
                  <c:v>41162</c:v>
                </c:pt>
                <c:pt idx="5721">
                  <c:v>41163</c:v>
                </c:pt>
                <c:pt idx="5722">
                  <c:v>41164</c:v>
                </c:pt>
                <c:pt idx="5723">
                  <c:v>41165</c:v>
                </c:pt>
                <c:pt idx="5724">
                  <c:v>41166</c:v>
                </c:pt>
                <c:pt idx="5725">
                  <c:v>41169</c:v>
                </c:pt>
                <c:pt idx="5726">
                  <c:v>41170</c:v>
                </c:pt>
                <c:pt idx="5727">
                  <c:v>41171</c:v>
                </c:pt>
                <c:pt idx="5728">
                  <c:v>41172</c:v>
                </c:pt>
                <c:pt idx="5729">
                  <c:v>41173</c:v>
                </c:pt>
                <c:pt idx="5730">
                  <c:v>41176</c:v>
                </c:pt>
                <c:pt idx="5731">
                  <c:v>41177</c:v>
                </c:pt>
                <c:pt idx="5732">
                  <c:v>41178</c:v>
                </c:pt>
                <c:pt idx="5733">
                  <c:v>41179</c:v>
                </c:pt>
                <c:pt idx="5734">
                  <c:v>41180</c:v>
                </c:pt>
                <c:pt idx="5735">
                  <c:v>41183</c:v>
                </c:pt>
                <c:pt idx="5736">
                  <c:v>41184</c:v>
                </c:pt>
                <c:pt idx="5737">
                  <c:v>41185</c:v>
                </c:pt>
                <c:pt idx="5738">
                  <c:v>41186</c:v>
                </c:pt>
                <c:pt idx="5739">
                  <c:v>41187</c:v>
                </c:pt>
                <c:pt idx="5740">
                  <c:v>41190</c:v>
                </c:pt>
                <c:pt idx="5741">
                  <c:v>41191</c:v>
                </c:pt>
                <c:pt idx="5742">
                  <c:v>41192</c:v>
                </c:pt>
                <c:pt idx="5743">
                  <c:v>41193</c:v>
                </c:pt>
                <c:pt idx="5744">
                  <c:v>41194</c:v>
                </c:pt>
                <c:pt idx="5745">
                  <c:v>41197</c:v>
                </c:pt>
                <c:pt idx="5746">
                  <c:v>41198</c:v>
                </c:pt>
                <c:pt idx="5747">
                  <c:v>41199</c:v>
                </c:pt>
                <c:pt idx="5748">
                  <c:v>41200</c:v>
                </c:pt>
                <c:pt idx="5749">
                  <c:v>41201</c:v>
                </c:pt>
                <c:pt idx="5750">
                  <c:v>41204</c:v>
                </c:pt>
                <c:pt idx="5751">
                  <c:v>41205</c:v>
                </c:pt>
                <c:pt idx="5752">
                  <c:v>41206</c:v>
                </c:pt>
                <c:pt idx="5753">
                  <c:v>41207</c:v>
                </c:pt>
                <c:pt idx="5754">
                  <c:v>41208</c:v>
                </c:pt>
                <c:pt idx="5755">
                  <c:v>41213</c:v>
                </c:pt>
                <c:pt idx="5756">
                  <c:v>41214</c:v>
                </c:pt>
                <c:pt idx="5757">
                  <c:v>41215</c:v>
                </c:pt>
                <c:pt idx="5758">
                  <c:v>41218</c:v>
                </c:pt>
                <c:pt idx="5759">
                  <c:v>41219</c:v>
                </c:pt>
                <c:pt idx="5760">
                  <c:v>41220</c:v>
                </c:pt>
                <c:pt idx="5761">
                  <c:v>41221</c:v>
                </c:pt>
                <c:pt idx="5762">
                  <c:v>41222</c:v>
                </c:pt>
                <c:pt idx="5763">
                  <c:v>41225</c:v>
                </c:pt>
                <c:pt idx="5764">
                  <c:v>41226</c:v>
                </c:pt>
                <c:pt idx="5765">
                  <c:v>41227</c:v>
                </c:pt>
                <c:pt idx="5766">
                  <c:v>41228</c:v>
                </c:pt>
                <c:pt idx="5767">
                  <c:v>41229</c:v>
                </c:pt>
                <c:pt idx="5768">
                  <c:v>41232</c:v>
                </c:pt>
                <c:pt idx="5769">
                  <c:v>41233</c:v>
                </c:pt>
                <c:pt idx="5770">
                  <c:v>41234</c:v>
                </c:pt>
                <c:pt idx="5771">
                  <c:v>41236</c:v>
                </c:pt>
                <c:pt idx="5772">
                  <c:v>41239</c:v>
                </c:pt>
                <c:pt idx="5773">
                  <c:v>41240</c:v>
                </c:pt>
                <c:pt idx="5774">
                  <c:v>41241</c:v>
                </c:pt>
                <c:pt idx="5775">
                  <c:v>41242</c:v>
                </c:pt>
                <c:pt idx="5776">
                  <c:v>41243</c:v>
                </c:pt>
                <c:pt idx="5777">
                  <c:v>41246</c:v>
                </c:pt>
                <c:pt idx="5778">
                  <c:v>41247</c:v>
                </c:pt>
                <c:pt idx="5779">
                  <c:v>41248</c:v>
                </c:pt>
                <c:pt idx="5780">
                  <c:v>41249</c:v>
                </c:pt>
                <c:pt idx="5781">
                  <c:v>41250</c:v>
                </c:pt>
                <c:pt idx="5782">
                  <c:v>41253</c:v>
                </c:pt>
                <c:pt idx="5783">
                  <c:v>41254</c:v>
                </c:pt>
                <c:pt idx="5784">
                  <c:v>41255</c:v>
                </c:pt>
                <c:pt idx="5785">
                  <c:v>41256</c:v>
                </c:pt>
                <c:pt idx="5786">
                  <c:v>41257</c:v>
                </c:pt>
                <c:pt idx="5787">
                  <c:v>41260</c:v>
                </c:pt>
                <c:pt idx="5788">
                  <c:v>41261</c:v>
                </c:pt>
                <c:pt idx="5789">
                  <c:v>41262</c:v>
                </c:pt>
                <c:pt idx="5790">
                  <c:v>41263</c:v>
                </c:pt>
                <c:pt idx="5791">
                  <c:v>41264</c:v>
                </c:pt>
                <c:pt idx="5792">
                  <c:v>41267</c:v>
                </c:pt>
                <c:pt idx="5793">
                  <c:v>41269</c:v>
                </c:pt>
                <c:pt idx="5794">
                  <c:v>41270</c:v>
                </c:pt>
                <c:pt idx="5795">
                  <c:v>41271</c:v>
                </c:pt>
                <c:pt idx="5796">
                  <c:v>41274</c:v>
                </c:pt>
                <c:pt idx="5797">
                  <c:v>41276</c:v>
                </c:pt>
                <c:pt idx="5798">
                  <c:v>41277</c:v>
                </c:pt>
                <c:pt idx="5799">
                  <c:v>41278</c:v>
                </c:pt>
                <c:pt idx="5800">
                  <c:v>41281</c:v>
                </c:pt>
                <c:pt idx="5801">
                  <c:v>41282</c:v>
                </c:pt>
                <c:pt idx="5802">
                  <c:v>41283</c:v>
                </c:pt>
                <c:pt idx="5803">
                  <c:v>41284</c:v>
                </c:pt>
                <c:pt idx="5804">
                  <c:v>41285</c:v>
                </c:pt>
                <c:pt idx="5805">
                  <c:v>41288</c:v>
                </c:pt>
                <c:pt idx="5806">
                  <c:v>41289</c:v>
                </c:pt>
                <c:pt idx="5807">
                  <c:v>41290</c:v>
                </c:pt>
                <c:pt idx="5808">
                  <c:v>41291</c:v>
                </c:pt>
                <c:pt idx="5809">
                  <c:v>41292</c:v>
                </c:pt>
                <c:pt idx="5810">
                  <c:v>41296</c:v>
                </c:pt>
                <c:pt idx="5811">
                  <c:v>41297</c:v>
                </c:pt>
                <c:pt idx="5812">
                  <c:v>41298</c:v>
                </c:pt>
                <c:pt idx="5813">
                  <c:v>41299</c:v>
                </c:pt>
                <c:pt idx="5814">
                  <c:v>41302</c:v>
                </c:pt>
                <c:pt idx="5815">
                  <c:v>41303</c:v>
                </c:pt>
                <c:pt idx="5816">
                  <c:v>41304</c:v>
                </c:pt>
                <c:pt idx="5817">
                  <c:v>41305</c:v>
                </c:pt>
                <c:pt idx="5818">
                  <c:v>41306</c:v>
                </c:pt>
                <c:pt idx="5819">
                  <c:v>41309</c:v>
                </c:pt>
                <c:pt idx="5820">
                  <c:v>41310</c:v>
                </c:pt>
                <c:pt idx="5821">
                  <c:v>41311</c:v>
                </c:pt>
                <c:pt idx="5822">
                  <c:v>41312</c:v>
                </c:pt>
                <c:pt idx="5823">
                  <c:v>41313</c:v>
                </c:pt>
                <c:pt idx="5824">
                  <c:v>41316</c:v>
                </c:pt>
                <c:pt idx="5825">
                  <c:v>41317</c:v>
                </c:pt>
                <c:pt idx="5826">
                  <c:v>41318</c:v>
                </c:pt>
                <c:pt idx="5827">
                  <c:v>41319</c:v>
                </c:pt>
                <c:pt idx="5828">
                  <c:v>41320</c:v>
                </c:pt>
                <c:pt idx="5829">
                  <c:v>41324</c:v>
                </c:pt>
                <c:pt idx="5830">
                  <c:v>41325</c:v>
                </c:pt>
                <c:pt idx="5831">
                  <c:v>41326</c:v>
                </c:pt>
                <c:pt idx="5832">
                  <c:v>41327</c:v>
                </c:pt>
                <c:pt idx="5833">
                  <c:v>41330</c:v>
                </c:pt>
                <c:pt idx="5834">
                  <c:v>41331</c:v>
                </c:pt>
                <c:pt idx="5835">
                  <c:v>41332</c:v>
                </c:pt>
                <c:pt idx="5836">
                  <c:v>41333</c:v>
                </c:pt>
                <c:pt idx="5837">
                  <c:v>41334</c:v>
                </c:pt>
                <c:pt idx="5838">
                  <c:v>41337</c:v>
                </c:pt>
                <c:pt idx="5839">
                  <c:v>41338</c:v>
                </c:pt>
                <c:pt idx="5840">
                  <c:v>41339</c:v>
                </c:pt>
                <c:pt idx="5841">
                  <c:v>41340</c:v>
                </c:pt>
                <c:pt idx="5842">
                  <c:v>41341</c:v>
                </c:pt>
                <c:pt idx="5843">
                  <c:v>41344</c:v>
                </c:pt>
                <c:pt idx="5844">
                  <c:v>41345</c:v>
                </c:pt>
                <c:pt idx="5845">
                  <c:v>41346</c:v>
                </c:pt>
                <c:pt idx="5846">
                  <c:v>41347</c:v>
                </c:pt>
                <c:pt idx="5847">
                  <c:v>41348</c:v>
                </c:pt>
                <c:pt idx="5848">
                  <c:v>41351</c:v>
                </c:pt>
                <c:pt idx="5849">
                  <c:v>41352</c:v>
                </c:pt>
                <c:pt idx="5850">
                  <c:v>41353</c:v>
                </c:pt>
                <c:pt idx="5851">
                  <c:v>41354</c:v>
                </c:pt>
                <c:pt idx="5852">
                  <c:v>41355</c:v>
                </c:pt>
                <c:pt idx="5853">
                  <c:v>41358</c:v>
                </c:pt>
                <c:pt idx="5854">
                  <c:v>41359</c:v>
                </c:pt>
                <c:pt idx="5855">
                  <c:v>41360</c:v>
                </c:pt>
                <c:pt idx="5856">
                  <c:v>41361</c:v>
                </c:pt>
                <c:pt idx="5857">
                  <c:v>41365</c:v>
                </c:pt>
                <c:pt idx="5858">
                  <c:v>41366</c:v>
                </c:pt>
                <c:pt idx="5859">
                  <c:v>41367</c:v>
                </c:pt>
                <c:pt idx="5860">
                  <c:v>41368</c:v>
                </c:pt>
                <c:pt idx="5861">
                  <c:v>41369</c:v>
                </c:pt>
                <c:pt idx="5862">
                  <c:v>41372</c:v>
                </c:pt>
                <c:pt idx="5863">
                  <c:v>41373</c:v>
                </c:pt>
                <c:pt idx="5864">
                  <c:v>41374</c:v>
                </c:pt>
                <c:pt idx="5865">
                  <c:v>41375</c:v>
                </c:pt>
                <c:pt idx="5866">
                  <c:v>41376</c:v>
                </c:pt>
                <c:pt idx="5867">
                  <c:v>41379</c:v>
                </c:pt>
                <c:pt idx="5868">
                  <c:v>41380</c:v>
                </c:pt>
                <c:pt idx="5869">
                  <c:v>41381</c:v>
                </c:pt>
                <c:pt idx="5870">
                  <c:v>41382</c:v>
                </c:pt>
                <c:pt idx="5871">
                  <c:v>41383</c:v>
                </c:pt>
                <c:pt idx="5872">
                  <c:v>41386</c:v>
                </c:pt>
                <c:pt idx="5873">
                  <c:v>41387</c:v>
                </c:pt>
                <c:pt idx="5874">
                  <c:v>41388</c:v>
                </c:pt>
                <c:pt idx="5875">
                  <c:v>41389</c:v>
                </c:pt>
                <c:pt idx="5876">
                  <c:v>41390</c:v>
                </c:pt>
                <c:pt idx="5877">
                  <c:v>41393</c:v>
                </c:pt>
                <c:pt idx="5878">
                  <c:v>41394</c:v>
                </c:pt>
                <c:pt idx="5879">
                  <c:v>41395</c:v>
                </c:pt>
                <c:pt idx="5880">
                  <c:v>41396</c:v>
                </c:pt>
                <c:pt idx="5881">
                  <c:v>41397</c:v>
                </c:pt>
                <c:pt idx="5882">
                  <c:v>41400</c:v>
                </c:pt>
                <c:pt idx="5883">
                  <c:v>41401</c:v>
                </c:pt>
                <c:pt idx="5884">
                  <c:v>41402</c:v>
                </c:pt>
                <c:pt idx="5885">
                  <c:v>41403</c:v>
                </c:pt>
                <c:pt idx="5886">
                  <c:v>41404</c:v>
                </c:pt>
                <c:pt idx="5887">
                  <c:v>41407</c:v>
                </c:pt>
                <c:pt idx="5888">
                  <c:v>41408</c:v>
                </c:pt>
                <c:pt idx="5889">
                  <c:v>41409</c:v>
                </c:pt>
                <c:pt idx="5890">
                  <c:v>41410</c:v>
                </c:pt>
                <c:pt idx="5891">
                  <c:v>41411</c:v>
                </c:pt>
                <c:pt idx="5892">
                  <c:v>41414</c:v>
                </c:pt>
                <c:pt idx="5893">
                  <c:v>41415</c:v>
                </c:pt>
                <c:pt idx="5894">
                  <c:v>41416</c:v>
                </c:pt>
                <c:pt idx="5895">
                  <c:v>41417</c:v>
                </c:pt>
                <c:pt idx="5896">
                  <c:v>41418</c:v>
                </c:pt>
                <c:pt idx="5897">
                  <c:v>41422</c:v>
                </c:pt>
                <c:pt idx="5898">
                  <c:v>41423</c:v>
                </c:pt>
                <c:pt idx="5899">
                  <c:v>41424</c:v>
                </c:pt>
                <c:pt idx="5900">
                  <c:v>41425</c:v>
                </c:pt>
                <c:pt idx="5901">
                  <c:v>41428</c:v>
                </c:pt>
                <c:pt idx="5902">
                  <c:v>41429</c:v>
                </c:pt>
                <c:pt idx="5903">
                  <c:v>41430</c:v>
                </c:pt>
                <c:pt idx="5904">
                  <c:v>41431</c:v>
                </c:pt>
                <c:pt idx="5905">
                  <c:v>41432</c:v>
                </c:pt>
                <c:pt idx="5906">
                  <c:v>41435</c:v>
                </c:pt>
                <c:pt idx="5907">
                  <c:v>41436</c:v>
                </c:pt>
                <c:pt idx="5908">
                  <c:v>41437</c:v>
                </c:pt>
                <c:pt idx="5909">
                  <c:v>41438</c:v>
                </c:pt>
                <c:pt idx="5910">
                  <c:v>41439</c:v>
                </c:pt>
                <c:pt idx="5911">
                  <c:v>41442</c:v>
                </c:pt>
                <c:pt idx="5912">
                  <c:v>41443</c:v>
                </c:pt>
                <c:pt idx="5913">
                  <c:v>41444</c:v>
                </c:pt>
                <c:pt idx="5914">
                  <c:v>41445</c:v>
                </c:pt>
                <c:pt idx="5915">
                  <c:v>41446</c:v>
                </c:pt>
                <c:pt idx="5916">
                  <c:v>41449</c:v>
                </c:pt>
                <c:pt idx="5917">
                  <c:v>41450</c:v>
                </c:pt>
                <c:pt idx="5918">
                  <c:v>41451</c:v>
                </c:pt>
                <c:pt idx="5919">
                  <c:v>41452</c:v>
                </c:pt>
                <c:pt idx="5920">
                  <c:v>41453</c:v>
                </c:pt>
                <c:pt idx="5921">
                  <c:v>41456</c:v>
                </c:pt>
                <c:pt idx="5922">
                  <c:v>41457</c:v>
                </c:pt>
                <c:pt idx="5923">
                  <c:v>41458</c:v>
                </c:pt>
                <c:pt idx="5924">
                  <c:v>41460</c:v>
                </c:pt>
                <c:pt idx="5925">
                  <c:v>41463</c:v>
                </c:pt>
                <c:pt idx="5926">
                  <c:v>41464</c:v>
                </c:pt>
                <c:pt idx="5927">
                  <c:v>41465</c:v>
                </c:pt>
                <c:pt idx="5928">
                  <c:v>41466</c:v>
                </c:pt>
                <c:pt idx="5929">
                  <c:v>41467</c:v>
                </c:pt>
                <c:pt idx="5930">
                  <c:v>41470</c:v>
                </c:pt>
                <c:pt idx="5931">
                  <c:v>41471</c:v>
                </c:pt>
                <c:pt idx="5932">
                  <c:v>41472</c:v>
                </c:pt>
                <c:pt idx="5933">
                  <c:v>41473</c:v>
                </c:pt>
                <c:pt idx="5934">
                  <c:v>41474</c:v>
                </c:pt>
                <c:pt idx="5935">
                  <c:v>41477</c:v>
                </c:pt>
                <c:pt idx="5936">
                  <c:v>41478</c:v>
                </c:pt>
                <c:pt idx="5937">
                  <c:v>41479</c:v>
                </c:pt>
                <c:pt idx="5938">
                  <c:v>41480</c:v>
                </c:pt>
                <c:pt idx="5939">
                  <c:v>41481</c:v>
                </c:pt>
                <c:pt idx="5940">
                  <c:v>41484</c:v>
                </c:pt>
                <c:pt idx="5941">
                  <c:v>41485</c:v>
                </c:pt>
                <c:pt idx="5942">
                  <c:v>41486</c:v>
                </c:pt>
                <c:pt idx="5943">
                  <c:v>41487</c:v>
                </c:pt>
                <c:pt idx="5944">
                  <c:v>41488</c:v>
                </c:pt>
                <c:pt idx="5945">
                  <c:v>41491</c:v>
                </c:pt>
                <c:pt idx="5946">
                  <c:v>41492</c:v>
                </c:pt>
                <c:pt idx="5947">
                  <c:v>41493</c:v>
                </c:pt>
                <c:pt idx="5948">
                  <c:v>41494</c:v>
                </c:pt>
                <c:pt idx="5949">
                  <c:v>41495</c:v>
                </c:pt>
                <c:pt idx="5950">
                  <c:v>41498</c:v>
                </c:pt>
                <c:pt idx="5951">
                  <c:v>41499</c:v>
                </c:pt>
                <c:pt idx="5952">
                  <c:v>41500</c:v>
                </c:pt>
                <c:pt idx="5953">
                  <c:v>41501</c:v>
                </c:pt>
                <c:pt idx="5954">
                  <c:v>41502</c:v>
                </c:pt>
                <c:pt idx="5955">
                  <c:v>41505</c:v>
                </c:pt>
                <c:pt idx="5956">
                  <c:v>41506</c:v>
                </c:pt>
                <c:pt idx="5957">
                  <c:v>41507</c:v>
                </c:pt>
                <c:pt idx="5958">
                  <c:v>41508</c:v>
                </c:pt>
                <c:pt idx="5959">
                  <c:v>41509</c:v>
                </c:pt>
                <c:pt idx="5960">
                  <c:v>41512</c:v>
                </c:pt>
                <c:pt idx="5961">
                  <c:v>41513</c:v>
                </c:pt>
                <c:pt idx="5962">
                  <c:v>41514</c:v>
                </c:pt>
                <c:pt idx="5963">
                  <c:v>41515</c:v>
                </c:pt>
                <c:pt idx="5964">
                  <c:v>41516</c:v>
                </c:pt>
                <c:pt idx="5965">
                  <c:v>41520</c:v>
                </c:pt>
                <c:pt idx="5966">
                  <c:v>41521</c:v>
                </c:pt>
                <c:pt idx="5967">
                  <c:v>41522</c:v>
                </c:pt>
                <c:pt idx="5968">
                  <c:v>41523</c:v>
                </c:pt>
                <c:pt idx="5969">
                  <c:v>41526</c:v>
                </c:pt>
                <c:pt idx="5970">
                  <c:v>41527</c:v>
                </c:pt>
                <c:pt idx="5971">
                  <c:v>41528</c:v>
                </c:pt>
                <c:pt idx="5972">
                  <c:v>41529</c:v>
                </c:pt>
                <c:pt idx="5973">
                  <c:v>41530</c:v>
                </c:pt>
                <c:pt idx="5974">
                  <c:v>41533</c:v>
                </c:pt>
                <c:pt idx="5975">
                  <c:v>41534</c:v>
                </c:pt>
                <c:pt idx="5976">
                  <c:v>41535</c:v>
                </c:pt>
                <c:pt idx="5977">
                  <c:v>41536</c:v>
                </c:pt>
                <c:pt idx="5978">
                  <c:v>41537</c:v>
                </c:pt>
                <c:pt idx="5979">
                  <c:v>41540</c:v>
                </c:pt>
                <c:pt idx="5980">
                  <c:v>41541</c:v>
                </c:pt>
                <c:pt idx="5981">
                  <c:v>41542</c:v>
                </c:pt>
                <c:pt idx="5982">
                  <c:v>41543</c:v>
                </c:pt>
                <c:pt idx="5983">
                  <c:v>41544</c:v>
                </c:pt>
                <c:pt idx="5984">
                  <c:v>41547</c:v>
                </c:pt>
                <c:pt idx="5985">
                  <c:v>41548</c:v>
                </c:pt>
                <c:pt idx="5986">
                  <c:v>41549</c:v>
                </c:pt>
                <c:pt idx="5987">
                  <c:v>41550</c:v>
                </c:pt>
                <c:pt idx="5988">
                  <c:v>41551</c:v>
                </c:pt>
                <c:pt idx="5989">
                  <c:v>41554</c:v>
                </c:pt>
                <c:pt idx="5990">
                  <c:v>41555</c:v>
                </c:pt>
                <c:pt idx="5991">
                  <c:v>41556</c:v>
                </c:pt>
                <c:pt idx="5992">
                  <c:v>41557</c:v>
                </c:pt>
                <c:pt idx="5993">
                  <c:v>41558</c:v>
                </c:pt>
                <c:pt idx="5994">
                  <c:v>41561</c:v>
                </c:pt>
                <c:pt idx="5995">
                  <c:v>41562</c:v>
                </c:pt>
                <c:pt idx="5996">
                  <c:v>41563</c:v>
                </c:pt>
                <c:pt idx="5997">
                  <c:v>41564</c:v>
                </c:pt>
                <c:pt idx="5998">
                  <c:v>41565</c:v>
                </c:pt>
                <c:pt idx="5999">
                  <c:v>41568</c:v>
                </c:pt>
                <c:pt idx="6000">
                  <c:v>41569</c:v>
                </c:pt>
                <c:pt idx="6001">
                  <c:v>41570</c:v>
                </c:pt>
                <c:pt idx="6002">
                  <c:v>41571</c:v>
                </c:pt>
                <c:pt idx="6003">
                  <c:v>41572</c:v>
                </c:pt>
                <c:pt idx="6004">
                  <c:v>41575</c:v>
                </c:pt>
                <c:pt idx="6005">
                  <c:v>41576</c:v>
                </c:pt>
                <c:pt idx="6006">
                  <c:v>41577</c:v>
                </c:pt>
                <c:pt idx="6007">
                  <c:v>41578</c:v>
                </c:pt>
                <c:pt idx="6008">
                  <c:v>41579</c:v>
                </c:pt>
                <c:pt idx="6009">
                  <c:v>41582</c:v>
                </c:pt>
                <c:pt idx="6010">
                  <c:v>41583</c:v>
                </c:pt>
                <c:pt idx="6011">
                  <c:v>41584</c:v>
                </c:pt>
                <c:pt idx="6012">
                  <c:v>41585</c:v>
                </c:pt>
                <c:pt idx="6013">
                  <c:v>41586</c:v>
                </c:pt>
                <c:pt idx="6014">
                  <c:v>41589</c:v>
                </c:pt>
                <c:pt idx="6015">
                  <c:v>41590</c:v>
                </c:pt>
                <c:pt idx="6016">
                  <c:v>41591</c:v>
                </c:pt>
                <c:pt idx="6017">
                  <c:v>41592</c:v>
                </c:pt>
                <c:pt idx="6018">
                  <c:v>41593</c:v>
                </c:pt>
                <c:pt idx="6019">
                  <c:v>41596</c:v>
                </c:pt>
                <c:pt idx="6020">
                  <c:v>41597</c:v>
                </c:pt>
                <c:pt idx="6021">
                  <c:v>41598</c:v>
                </c:pt>
                <c:pt idx="6022">
                  <c:v>41599</c:v>
                </c:pt>
                <c:pt idx="6023">
                  <c:v>41600</c:v>
                </c:pt>
                <c:pt idx="6024">
                  <c:v>41603</c:v>
                </c:pt>
                <c:pt idx="6025">
                  <c:v>41604</c:v>
                </c:pt>
                <c:pt idx="6026">
                  <c:v>41605</c:v>
                </c:pt>
                <c:pt idx="6027">
                  <c:v>41607</c:v>
                </c:pt>
                <c:pt idx="6028">
                  <c:v>41610</c:v>
                </c:pt>
                <c:pt idx="6029">
                  <c:v>41611</c:v>
                </c:pt>
                <c:pt idx="6030">
                  <c:v>41612</c:v>
                </c:pt>
                <c:pt idx="6031">
                  <c:v>41613</c:v>
                </c:pt>
                <c:pt idx="6032">
                  <c:v>41614</c:v>
                </c:pt>
                <c:pt idx="6033">
                  <c:v>41617</c:v>
                </c:pt>
                <c:pt idx="6034">
                  <c:v>41618</c:v>
                </c:pt>
                <c:pt idx="6035">
                  <c:v>41619</c:v>
                </c:pt>
                <c:pt idx="6036">
                  <c:v>41620</c:v>
                </c:pt>
                <c:pt idx="6037">
                  <c:v>41621</c:v>
                </c:pt>
                <c:pt idx="6038">
                  <c:v>41624</c:v>
                </c:pt>
                <c:pt idx="6039">
                  <c:v>41625</c:v>
                </c:pt>
                <c:pt idx="6040">
                  <c:v>41626</c:v>
                </c:pt>
                <c:pt idx="6041">
                  <c:v>41627</c:v>
                </c:pt>
                <c:pt idx="6042">
                  <c:v>41628</c:v>
                </c:pt>
                <c:pt idx="6043">
                  <c:v>41631</c:v>
                </c:pt>
                <c:pt idx="6044">
                  <c:v>41632</c:v>
                </c:pt>
                <c:pt idx="6045">
                  <c:v>41634</c:v>
                </c:pt>
                <c:pt idx="6046">
                  <c:v>41635</c:v>
                </c:pt>
                <c:pt idx="6047">
                  <c:v>41638</c:v>
                </c:pt>
                <c:pt idx="6048">
                  <c:v>41639</c:v>
                </c:pt>
                <c:pt idx="6049">
                  <c:v>41641</c:v>
                </c:pt>
                <c:pt idx="6050">
                  <c:v>41642</c:v>
                </c:pt>
                <c:pt idx="6051">
                  <c:v>41645</c:v>
                </c:pt>
                <c:pt idx="6052">
                  <c:v>41646</c:v>
                </c:pt>
                <c:pt idx="6053">
                  <c:v>41647</c:v>
                </c:pt>
                <c:pt idx="6054">
                  <c:v>41648</c:v>
                </c:pt>
                <c:pt idx="6055">
                  <c:v>41649</c:v>
                </c:pt>
                <c:pt idx="6056">
                  <c:v>41652</c:v>
                </c:pt>
                <c:pt idx="6057">
                  <c:v>41653</c:v>
                </c:pt>
                <c:pt idx="6058">
                  <c:v>41654</c:v>
                </c:pt>
                <c:pt idx="6059">
                  <c:v>41655</c:v>
                </c:pt>
                <c:pt idx="6060">
                  <c:v>41656</c:v>
                </c:pt>
                <c:pt idx="6061">
                  <c:v>41660</c:v>
                </c:pt>
                <c:pt idx="6062">
                  <c:v>41661</c:v>
                </c:pt>
                <c:pt idx="6063">
                  <c:v>41662</c:v>
                </c:pt>
                <c:pt idx="6064">
                  <c:v>41663</c:v>
                </c:pt>
                <c:pt idx="6065">
                  <c:v>41666</c:v>
                </c:pt>
                <c:pt idx="6066">
                  <c:v>41667</c:v>
                </c:pt>
                <c:pt idx="6067">
                  <c:v>41668</c:v>
                </c:pt>
                <c:pt idx="6068">
                  <c:v>41669</c:v>
                </c:pt>
                <c:pt idx="6069">
                  <c:v>41670</c:v>
                </c:pt>
                <c:pt idx="6070">
                  <c:v>41673</c:v>
                </c:pt>
                <c:pt idx="6071">
                  <c:v>41674</c:v>
                </c:pt>
                <c:pt idx="6072">
                  <c:v>41675</c:v>
                </c:pt>
                <c:pt idx="6073">
                  <c:v>41676</c:v>
                </c:pt>
                <c:pt idx="6074">
                  <c:v>41677</c:v>
                </c:pt>
                <c:pt idx="6075">
                  <c:v>41680</c:v>
                </c:pt>
                <c:pt idx="6076">
                  <c:v>41681</c:v>
                </c:pt>
                <c:pt idx="6077">
                  <c:v>41682</c:v>
                </c:pt>
                <c:pt idx="6078">
                  <c:v>41683</c:v>
                </c:pt>
                <c:pt idx="6079">
                  <c:v>41684</c:v>
                </c:pt>
                <c:pt idx="6080">
                  <c:v>41688</c:v>
                </c:pt>
                <c:pt idx="6081">
                  <c:v>41689</c:v>
                </c:pt>
                <c:pt idx="6082">
                  <c:v>41690</c:v>
                </c:pt>
                <c:pt idx="6083">
                  <c:v>41691</c:v>
                </c:pt>
                <c:pt idx="6084">
                  <c:v>41694</c:v>
                </c:pt>
                <c:pt idx="6085">
                  <c:v>41695</c:v>
                </c:pt>
                <c:pt idx="6086">
                  <c:v>41696</c:v>
                </c:pt>
                <c:pt idx="6087">
                  <c:v>41697</c:v>
                </c:pt>
                <c:pt idx="6088">
                  <c:v>41698</c:v>
                </c:pt>
                <c:pt idx="6089">
                  <c:v>41701</c:v>
                </c:pt>
                <c:pt idx="6090">
                  <c:v>41702</c:v>
                </c:pt>
                <c:pt idx="6091">
                  <c:v>41703</c:v>
                </c:pt>
                <c:pt idx="6092">
                  <c:v>41704</c:v>
                </c:pt>
                <c:pt idx="6093">
                  <c:v>41705</c:v>
                </c:pt>
                <c:pt idx="6094">
                  <c:v>41708</c:v>
                </c:pt>
                <c:pt idx="6095">
                  <c:v>41709</c:v>
                </c:pt>
                <c:pt idx="6096">
                  <c:v>41710</c:v>
                </c:pt>
                <c:pt idx="6097">
                  <c:v>41711</c:v>
                </c:pt>
                <c:pt idx="6098">
                  <c:v>41712</c:v>
                </c:pt>
                <c:pt idx="6099">
                  <c:v>41715</c:v>
                </c:pt>
                <c:pt idx="6100">
                  <c:v>41716</c:v>
                </c:pt>
                <c:pt idx="6101">
                  <c:v>41717</c:v>
                </c:pt>
                <c:pt idx="6102">
                  <c:v>41718</c:v>
                </c:pt>
                <c:pt idx="6103">
                  <c:v>41719</c:v>
                </c:pt>
                <c:pt idx="6104">
                  <c:v>41722</c:v>
                </c:pt>
                <c:pt idx="6105">
                  <c:v>41723</c:v>
                </c:pt>
                <c:pt idx="6106">
                  <c:v>41724</c:v>
                </c:pt>
                <c:pt idx="6107">
                  <c:v>41725</c:v>
                </c:pt>
                <c:pt idx="6108">
                  <c:v>41726</c:v>
                </c:pt>
                <c:pt idx="6109">
                  <c:v>41729</c:v>
                </c:pt>
                <c:pt idx="6110">
                  <c:v>41730</c:v>
                </c:pt>
                <c:pt idx="6111">
                  <c:v>41731</c:v>
                </c:pt>
                <c:pt idx="6112">
                  <c:v>41732</c:v>
                </c:pt>
                <c:pt idx="6113">
                  <c:v>41733</c:v>
                </c:pt>
                <c:pt idx="6114">
                  <c:v>41736</c:v>
                </c:pt>
                <c:pt idx="6115">
                  <c:v>41737</c:v>
                </c:pt>
                <c:pt idx="6116">
                  <c:v>41738</c:v>
                </c:pt>
                <c:pt idx="6117">
                  <c:v>41739</c:v>
                </c:pt>
                <c:pt idx="6118">
                  <c:v>41740</c:v>
                </c:pt>
                <c:pt idx="6119">
                  <c:v>41743</c:v>
                </c:pt>
                <c:pt idx="6120">
                  <c:v>41744</c:v>
                </c:pt>
                <c:pt idx="6121">
                  <c:v>41745</c:v>
                </c:pt>
                <c:pt idx="6122">
                  <c:v>41746</c:v>
                </c:pt>
                <c:pt idx="6123">
                  <c:v>41750</c:v>
                </c:pt>
                <c:pt idx="6124">
                  <c:v>41751</c:v>
                </c:pt>
                <c:pt idx="6125">
                  <c:v>41752</c:v>
                </c:pt>
                <c:pt idx="6126">
                  <c:v>41753</c:v>
                </c:pt>
                <c:pt idx="6127">
                  <c:v>41754</c:v>
                </c:pt>
                <c:pt idx="6128">
                  <c:v>41757</c:v>
                </c:pt>
                <c:pt idx="6129">
                  <c:v>41758</c:v>
                </c:pt>
                <c:pt idx="6130">
                  <c:v>41759</c:v>
                </c:pt>
                <c:pt idx="6131">
                  <c:v>41760</c:v>
                </c:pt>
                <c:pt idx="6132">
                  <c:v>41761</c:v>
                </c:pt>
                <c:pt idx="6133">
                  <c:v>41764</c:v>
                </c:pt>
                <c:pt idx="6134">
                  <c:v>41765</c:v>
                </c:pt>
                <c:pt idx="6135">
                  <c:v>41766</c:v>
                </c:pt>
                <c:pt idx="6136">
                  <c:v>41767</c:v>
                </c:pt>
                <c:pt idx="6137">
                  <c:v>41768</c:v>
                </c:pt>
                <c:pt idx="6138">
                  <c:v>41771</c:v>
                </c:pt>
                <c:pt idx="6139">
                  <c:v>41772</c:v>
                </c:pt>
                <c:pt idx="6140">
                  <c:v>41773</c:v>
                </c:pt>
                <c:pt idx="6141">
                  <c:v>41774</c:v>
                </c:pt>
                <c:pt idx="6142">
                  <c:v>41775</c:v>
                </c:pt>
                <c:pt idx="6143">
                  <c:v>41778</c:v>
                </c:pt>
                <c:pt idx="6144">
                  <c:v>41779</c:v>
                </c:pt>
                <c:pt idx="6145">
                  <c:v>41780</c:v>
                </c:pt>
                <c:pt idx="6146">
                  <c:v>41781</c:v>
                </c:pt>
                <c:pt idx="6147">
                  <c:v>41782</c:v>
                </c:pt>
                <c:pt idx="6148">
                  <c:v>41786</c:v>
                </c:pt>
                <c:pt idx="6149">
                  <c:v>41787</c:v>
                </c:pt>
                <c:pt idx="6150">
                  <c:v>41788</c:v>
                </c:pt>
                <c:pt idx="6151">
                  <c:v>41789</c:v>
                </c:pt>
                <c:pt idx="6152">
                  <c:v>41792</c:v>
                </c:pt>
                <c:pt idx="6153">
                  <c:v>41793</c:v>
                </c:pt>
                <c:pt idx="6154">
                  <c:v>41794</c:v>
                </c:pt>
                <c:pt idx="6155">
                  <c:v>41795</c:v>
                </c:pt>
                <c:pt idx="6156">
                  <c:v>41796</c:v>
                </c:pt>
                <c:pt idx="6157">
                  <c:v>41799</c:v>
                </c:pt>
                <c:pt idx="6158">
                  <c:v>41800</c:v>
                </c:pt>
                <c:pt idx="6159">
                  <c:v>41801</c:v>
                </c:pt>
                <c:pt idx="6160">
                  <c:v>41802</c:v>
                </c:pt>
                <c:pt idx="6161">
                  <c:v>41803</c:v>
                </c:pt>
                <c:pt idx="6162">
                  <c:v>41806</c:v>
                </c:pt>
                <c:pt idx="6163">
                  <c:v>41807</c:v>
                </c:pt>
                <c:pt idx="6164">
                  <c:v>41808</c:v>
                </c:pt>
                <c:pt idx="6165">
                  <c:v>41809</c:v>
                </c:pt>
                <c:pt idx="6166">
                  <c:v>41810</c:v>
                </c:pt>
                <c:pt idx="6167">
                  <c:v>41813</c:v>
                </c:pt>
                <c:pt idx="6168">
                  <c:v>41814</c:v>
                </c:pt>
                <c:pt idx="6169">
                  <c:v>41815</c:v>
                </c:pt>
                <c:pt idx="6170">
                  <c:v>41816</c:v>
                </c:pt>
                <c:pt idx="6171">
                  <c:v>41817</c:v>
                </c:pt>
                <c:pt idx="6172">
                  <c:v>41820</c:v>
                </c:pt>
                <c:pt idx="6173">
                  <c:v>41821</c:v>
                </c:pt>
                <c:pt idx="6174">
                  <c:v>41822</c:v>
                </c:pt>
                <c:pt idx="6175">
                  <c:v>41823</c:v>
                </c:pt>
                <c:pt idx="6176">
                  <c:v>41827</c:v>
                </c:pt>
                <c:pt idx="6177">
                  <c:v>41828</c:v>
                </c:pt>
                <c:pt idx="6178">
                  <c:v>41829</c:v>
                </c:pt>
                <c:pt idx="6179">
                  <c:v>41830</c:v>
                </c:pt>
                <c:pt idx="6180">
                  <c:v>41831</c:v>
                </c:pt>
                <c:pt idx="6181">
                  <c:v>41834</c:v>
                </c:pt>
                <c:pt idx="6182">
                  <c:v>41835</c:v>
                </c:pt>
                <c:pt idx="6183">
                  <c:v>41836</c:v>
                </c:pt>
                <c:pt idx="6184">
                  <c:v>41837</c:v>
                </c:pt>
                <c:pt idx="6185">
                  <c:v>41838</c:v>
                </c:pt>
                <c:pt idx="6186">
                  <c:v>41841</c:v>
                </c:pt>
                <c:pt idx="6187">
                  <c:v>41842</c:v>
                </c:pt>
                <c:pt idx="6188">
                  <c:v>41843</c:v>
                </c:pt>
                <c:pt idx="6189">
                  <c:v>41844</c:v>
                </c:pt>
                <c:pt idx="6190">
                  <c:v>41845</c:v>
                </c:pt>
                <c:pt idx="6191">
                  <c:v>41848</c:v>
                </c:pt>
                <c:pt idx="6192">
                  <c:v>41849</c:v>
                </c:pt>
                <c:pt idx="6193">
                  <c:v>41850</c:v>
                </c:pt>
                <c:pt idx="6194">
                  <c:v>41851</c:v>
                </c:pt>
                <c:pt idx="6195">
                  <c:v>41852</c:v>
                </c:pt>
                <c:pt idx="6196">
                  <c:v>41855</c:v>
                </c:pt>
                <c:pt idx="6197">
                  <c:v>41856</c:v>
                </c:pt>
                <c:pt idx="6198">
                  <c:v>41857</c:v>
                </c:pt>
                <c:pt idx="6199">
                  <c:v>41858</c:v>
                </c:pt>
                <c:pt idx="6200">
                  <c:v>41859</c:v>
                </c:pt>
                <c:pt idx="6201">
                  <c:v>41862</c:v>
                </c:pt>
                <c:pt idx="6202">
                  <c:v>41863</c:v>
                </c:pt>
                <c:pt idx="6203">
                  <c:v>41864</c:v>
                </c:pt>
                <c:pt idx="6204">
                  <c:v>41865</c:v>
                </c:pt>
                <c:pt idx="6205">
                  <c:v>41866</c:v>
                </c:pt>
                <c:pt idx="6206">
                  <c:v>41869</c:v>
                </c:pt>
                <c:pt idx="6207">
                  <c:v>41870</c:v>
                </c:pt>
                <c:pt idx="6208">
                  <c:v>41871</c:v>
                </c:pt>
                <c:pt idx="6209">
                  <c:v>41872</c:v>
                </c:pt>
                <c:pt idx="6210">
                  <c:v>41873</c:v>
                </c:pt>
                <c:pt idx="6211">
                  <c:v>41876</c:v>
                </c:pt>
                <c:pt idx="6212">
                  <c:v>41877</c:v>
                </c:pt>
                <c:pt idx="6213">
                  <c:v>41878</c:v>
                </c:pt>
                <c:pt idx="6214">
                  <c:v>41879</c:v>
                </c:pt>
                <c:pt idx="6215">
                  <c:v>41880</c:v>
                </c:pt>
                <c:pt idx="6216">
                  <c:v>41884</c:v>
                </c:pt>
                <c:pt idx="6217">
                  <c:v>41885</c:v>
                </c:pt>
                <c:pt idx="6218">
                  <c:v>41886</c:v>
                </c:pt>
                <c:pt idx="6219">
                  <c:v>41887</c:v>
                </c:pt>
                <c:pt idx="6220">
                  <c:v>41890</c:v>
                </c:pt>
                <c:pt idx="6221">
                  <c:v>41891</c:v>
                </c:pt>
                <c:pt idx="6222">
                  <c:v>41892</c:v>
                </c:pt>
                <c:pt idx="6223">
                  <c:v>41893</c:v>
                </c:pt>
                <c:pt idx="6224">
                  <c:v>41894</c:v>
                </c:pt>
                <c:pt idx="6225">
                  <c:v>41897</c:v>
                </c:pt>
                <c:pt idx="6226">
                  <c:v>41898</c:v>
                </c:pt>
                <c:pt idx="6227">
                  <c:v>41899</c:v>
                </c:pt>
                <c:pt idx="6228">
                  <c:v>41900</c:v>
                </c:pt>
                <c:pt idx="6229">
                  <c:v>41901</c:v>
                </c:pt>
                <c:pt idx="6230">
                  <c:v>41904</c:v>
                </c:pt>
                <c:pt idx="6231">
                  <c:v>41905</c:v>
                </c:pt>
                <c:pt idx="6232">
                  <c:v>41906</c:v>
                </c:pt>
                <c:pt idx="6233">
                  <c:v>41907</c:v>
                </c:pt>
                <c:pt idx="6234">
                  <c:v>41908</c:v>
                </c:pt>
                <c:pt idx="6235">
                  <c:v>41911</c:v>
                </c:pt>
                <c:pt idx="6236">
                  <c:v>41912</c:v>
                </c:pt>
                <c:pt idx="6237">
                  <c:v>41913</c:v>
                </c:pt>
                <c:pt idx="6238">
                  <c:v>41914</c:v>
                </c:pt>
                <c:pt idx="6239">
                  <c:v>41915</c:v>
                </c:pt>
                <c:pt idx="6240">
                  <c:v>41918</c:v>
                </c:pt>
                <c:pt idx="6241">
                  <c:v>41919</c:v>
                </c:pt>
                <c:pt idx="6242">
                  <c:v>41920</c:v>
                </c:pt>
                <c:pt idx="6243">
                  <c:v>41921</c:v>
                </c:pt>
                <c:pt idx="6244">
                  <c:v>41922</c:v>
                </c:pt>
                <c:pt idx="6245">
                  <c:v>41925</c:v>
                </c:pt>
                <c:pt idx="6246">
                  <c:v>41926</c:v>
                </c:pt>
                <c:pt idx="6247">
                  <c:v>41927</c:v>
                </c:pt>
                <c:pt idx="6248">
                  <c:v>41928</c:v>
                </c:pt>
                <c:pt idx="6249">
                  <c:v>41929</c:v>
                </c:pt>
                <c:pt idx="6250">
                  <c:v>41932</c:v>
                </c:pt>
                <c:pt idx="6251">
                  <c:v>41933</c:v>
                </c:pt>
                <c:pt idx="6252">
                  <c:v>41934</c:v>
                </c:pt>
                <c:pt idx="6253">
                  <c:v>41935</c:v>
                </c:pt>
                <c:pt idx="6254">
                  <c:v>41936</c:v>
                </c:pt>
                <c:pt idx="6255">
                  <c:v>41939</c:v>
                </c:pt>
                <c:pt idx="6256">
                  <c:v>41940</c:v>
                </c:pt>
                <c:pt idx="6257">
                  <c:v>41941</c:v>
                </c:pt>
                <c:pt idx="6258">
                  <c:v>41942</c:v>
                </c:pt>
                <c:pt idx="6259">
                  <c:v>41943</c:v>
                </c:pt>
                <c:pt idx="6260">
                  <c:v>41946</c:v>
                </c:pt>
                <c:pt idx="6261">
                  <c:v>41947</c:v>
                </c:pt>
                <c:pt idx="6262">
                  <c:v>41948</c:v>
                </c:pt>
                <c:pt idx="6263">
                  <c:v>41949</c:v>
                </c:pt>
                <c:pt idx="6264">
                  <c:v>41950</c:v>
                </c:pt>
                <c:pt idx="6265">
                  <c:v>41953</c:v>
                </c:pt>
                <c:pt idx="6266">
                  <c:v>41954</c:v>
                </c:pt>
                <c:pt idx="6267">
                  <c:v>41955</c:v>
                </c:pt>
                <c:pt idx="6268">
                  <c:v>41956</c:v>
                </c:pt>
                <c:pt idx="6269">
                  <c:v>41957</c:v>
                </c:pt>
                <c:pt idx="6270">
                  <c:v>41960</c:v>
                </c:pt>
                <c:pt idx="6271">
                  <c:v>41961</c:v>
                </c:pt>
                <c:pt idx="6272">
                  <c:v>41962</c:v>
                </c:pt>
                <c:pt idx="6273">
                  <c:v>41963</c:v>
                </c:pt>
                <c:pt idx="6274">
                  <c:v>41964</c:v>
                </c:pt>
                <c:pt idx="6275">
                  <c:v>41967</c:v>
                </c:pt>
                <c:pt idx="6276">
                  <c:v>41968</c:v>
                </c:pt>
                <c:pt idx="6277">
                  <c:v>41969</c:v>
                </c:pt>
                <c:pt idx="6278">
                  <c:v>41971</c:v>
                </c:pt>
                <c:pt idx="6279">
                  <c:v>41974</c:v>
                </c:pt>
                <c:pt idx="6280">
                  <c:v>41975</c:v>
                </c:pt>
                <c:pt idx="6281">
                  <c:v>41976</c:v>
                </c:pt>
                <c:pt idx="6282">
                  <c:v>41977</c:v>
                </c:pt>
                <c:pt idx="6283">
                  <c:v>41978</c:v>
                </c:pt>
                <c:pt idx="6284">
                  <c:v>41981</c:v>
                </c:pt>
                <c:pt idx="6285">
                  <c:v>41982</c:v>
                </c:pt>
                <c:pt idx="6286">
                  <c:v>41983</c:v>
                </c:pt>
                <c:pt idx="6287">
                  <c:v>41984</c:v>
                </c:pt>
                <c:pt idx="6288">
                  <c:v>41985</c:v>
                </c:pt>
                <c:pt idx="6289">
                  <c:v>41988</c:v>
                </c:pt>
                <c:pt idx="6290">
                  <c:v>41989</c:v>
                </c:pt>
                <c:pt idx="6291">
                  <c:v>41990</c:v>
                </c:pt>
                <c:pt idx="6292">
                  <c:v>41991</c:v>
                </c:pt>
                <c:pt idx="6293">
                  <c:v>41992</c:v>
                </c:pt>
                <c:pt idx="6294">
                  <c:v>41995</c:v>
                </c:pt>
                <c:pt idx="6295">
                  <c:v>41996</c:v>
                </c:pt>
                <c:pt idx="6296">
                  <c:v>41997</c:v>
                </c:pt>
                <c:pt idx="6297">
                  <c:v>41999</c:v>
                </c:pt>
                <c:pt idx="6298">
                  <c:v>42002</c:v>
                </c:pt>
                <c:pt idx="6299">
                  <c:v>42003</c:v>
                </c:pt>
                <c:pt idx="6300">
                  <c:v>42004</c:v>
                </c:pt>
                <c:pt idx="6301">
                  <c:v>42006</c:v>
                </c:pt>
                <c:pt idx="6302">
                  <c:v>42009</c:v>
                </c:pt>
                <c:pt idx="6303">
                  <c:v>42010</c:v>
                </c:pt>
                <c:pt idx="6304">
                  <c:v>42011</c:v>
                </c:pt>
                <c:pt idx="6305">
                  <c:v>42012</c:v>
                </c:pt>
                <c:pt idx="6306">
                  <c:v>42013</c:v>
                </c:pt>
                <c:pt idx="6307">
                  <c:v>42016</c:v>
                </c:pt>
                <c:pt idx="6308">
                  <c:v>42017</c:v>
                </c:pt>
                <c:pt idx="6309">
                  <c:v>42018</c:v>
                </c:pt>
                <c:pt idx="6310">
                  <c:v>42019</c:v>
                </c:pt>
                <c:pt idx="6311">
                  <c:v>42020</c:v>
                </c:pt>
                <c:pt idx="6312">
                  <c:v>42024</c:v>
                </c:pt>
                <c:pt idx="6313">
                  <c:v>42025</c:v>
                </c:pt>
                <c:pt idx="6314">
                  <c:v>42026</c:v>
                </c:pt>
                <c:pt idx="6315">
                  <c:v>42027</c:v>
                </c:pt>
                <c:pt idx="6316">
                  <c:v>42030</c:v>
                </c:pt>
                <c:pt idx="6317">
                  <c:v>42031</c:v>
                </c:pt>
                <c:pt idx="6318">
                  <c:v>42032</c:v>
                </c:pt>
                <c:pt idx="6319">
                  <c:v>42033</c:v>
                </c:pt>
                <c:pt idx="6320">
                  <c:v>42034</c:v>
                </c:pt>
                <c:pt idx="6321">
                  <c:v>42037</c:v>
                </c:pt>
                <c:pt idx="6322">
                  <c:v>42038</c:v>
                </c:pt>
                <c:pt idx="6323">
                  <c:v>42039</c:v>
                </c:pt>
                <c:pt idx="6324">
                  <c:v>42040</c:v>
                </c:pt>
                <c:pt idx="6325">
                  <c:v>42041</c:v>
                </c:pt>
                <c:pt idx="6326">
                  <c:v>42044</c:v>
                </c:pt>
                <c:pt idx="6327">
                  <c:v>42045</c:v>
                </c:pt>
                <c:pt idx="6328">
                  <c:v>42046</c:v>
                </c:pt>
                <c:pt idx="6329">
                  <c:v>42047</c:v>
                </c:pt>
                <c:pt idx="6330">
                  <c:v>42048</c:v>
                </c:pt>
                <c:pt idx="6331">
                  <c:v>42052</c:v>
                </c:pt>
                <c:pt idx="6332">
                  <c:v>42053</c:v>
                </c:pt>
                <c:pt idx="6333">
                  <c:v>42054</c:v>
                </c:pt>
                <c:pt idx="6334">
                  <c:v>42055</c:v>
                </c:pt>
                <c:pt idx="6335">
                  <c:v>42058</c:v>
                </c:pt>
                <c:pt idx="6336">
                  <c:v>42059</c:v>
                </c:pt>
                <c:pt idx="6337">
                  <c:v>42060</c:v>
                </c:pt>
                <c:pt idx="6338">
                  <c:v>42061</c:v>
                </c:pt>
                <c:pt idx="6339">
                  <c:v>42062</c:v>
                </c:pt>
                <c:pt idx="6340">
                  <c:v>42065</c:v>
                </c:pt>
                <c:pt idx="6341">
                  <c:v>42066</c:v>
                </c:pt>
                <c:pt idx="6342">
                  <c:v>42067</c:v>
                </c:pt>
                <c:pt idx="6343">
                  <c:v>42068</c:v>
                </c:pt>
                <c:pt idx="6344">
                  <c:v>42069</c:v>
                </c:pt>
                <c:pt idx="6345">
                  <c:v>42072</c:v>
                </c:pt>
                <c:pt idx="6346">
                  <c:v>42073</c:v>
                </c:pt>
                <c:pt idx="6347">
                  <c:v>42074</c:v>
                </c:pt>
                <c:pt idx="6348">
                  <c:v>42075</c:v>
                </c:pt>
                <c:pt idx="6349">
                  <c:v>42076</c:v>
                </c:pt>
                <c:pt idx="6350">
                  <c:v>42079</c:v>
                </c:pt>
                <c:pt idx="6351">
                  <c:v>42080</c:v>
                </c:pt>
                <c:pt idx="6352">
                  <c:v>42081</c:v>
                </c:pt>
                <c:pt idx="6353">
                  <c:v>42082</c:v>
                </c:pt>
                <c:pt idx="6354">
                  <c:v>42083</c:v>
                </c:pt>
                <c:pt idx="6355">
                  <c:v>42086</c:v>
                </c:pt>
                <c:pt idx="6356">
                  <c:v>42087</c:v>
                </c:pt>
                <c:pt idx="6357">
                  <c:v>42088</c:v>
                </c:pt>
                <c:pt idx="6358">
                  <c:v>42089</c:v>
                </c:pt>
                <c:pt idx="6359">
                  <c:v>42090</c:v>
                </c:pt>
                <c:pt idx="6360">
                  <c:v>42093</c:v>
                </c:pt>
                <c:pt idx="6361">
                  <c:v>42094</c:v>
                </c:pt>
                <c:pt idx="6362">
                  <c:v>42095</c:v>
                </c:pt>
                <c:pt idx="6363">
                  <c:v>42096</c:v>
                </c:pt>
                <c:pt idx="6364">
                  <c:v>42100</c:v>
                </c:pt>
                <c:pt idx="6365">
                  <c:v>42101</c:v>
                </c:pt>
                <c:pt idx="6366">
                  <c:v>42102</c:v>
                </c:pt>
                <c:pt idx="6367">
                  <c:v>42103</c:v>
                </c:pt>
                <c:pt idx="6368">
                  <c:v>42104</c:v>
                </c:pt>
                <c:pt idx="6369">
                  <c:v>42107</c:v>
                </c:pt>
                <c:pt idx="6370">
                  <c:v>42108</c:v>
                </c:pt>
                <c:pt idx="6371">
                  <c:v>42109</c:v>
                </c:pt>
                <c:pt idx="6372">
                  <c:v>42110</c:v>
                </c:pt>
                <c:pt idx="6373">
                  <c:v>42111</c:v>
                </c:pt>
                <c:pt idx="6374">
                  <c:v>42114</c:v>
                </c:pt>
                <c:pt idx="6375">
                  <c:v>42115</c:v>
                </c:pt>
                <c:pt idx="6376">
                  <c:v>42116</c:v>
                </c:pt>
                <c:pt idx="6377">
                  <c:v>42117</c:v>
                </c:pt>
                <c:pt idx="6378">
                  <c:v>42118</c:v>
                </c:pt>
                <c:pt idx="6379">
                  <c:v>42121</c:v>
                </c:pt>
                <c:pt idx="6380">
                  <c:v>42122</c:v>
                </c:pt>
                <c:pt idx="6381">
                  <c:v>42123</c:v>
                </c:pt>
                <c:pt idx="6382">
                  <c:v>42124</c:v>
                </c:pt>
                <c:pt idx="6383">
                  <c:v>42125</c:v>
                </c:pt>
                <c:pt idx="6384">
                  <c:v>42128</c:v>
                </c:pt>
                <c:pt idx="6385">
                  <c:v>42129</c:v>
                </c:pt>
                <c:pt idx="6386">
                  <c:v>42130</c:v>
                </c:pt>
                <c:pt idx="6387">
                  <c:v>42131</c:v>
                </c:pt>
                <c:pt idx="6388">
                  <c:v>42132</c:v>
                </c:pt>
                <c:pt idx="6389">
                  <c:v>42135</c:v>
                </c:pt>
                <c:pt idx="6390">
                  <c:v>42136</c:v>
                </c:pt>
                <c:pt idx="6391">
                  <c:v>42137</c:v>
                </c:pt>
                <c:pt idx="6392">
                  <c:v>42138</c:v>
                </c:pt>
                <c:pt idx="6393">
                  <c:v>42139</c:v>
                </c:pt>
                <c:pt idx="6394">
                  <c:v>42142</c:v>
                </c:pt>
                <c:pt idx="6395">
                  <c:v>42143</c:v>
                </c:pt>
                <c:pt idx="6396">
                  <c:v>42144</c:v>
                </c:pt>
                <c:pt idx="6397">
                  <c:v>42145</c:v>
                </c:pt>
                <c:pt idx="6398">
                  <c:v>42146</c:v>
                </c:pt>
                <c:pt idx="6399">
                  <c:v>42150</c:v>
                </c:pt>
                <c:pt idx="6400">
                  <c:v>42151</c:v>
                </c:pt>
                <c:pt idx="6401">
                  <c:v>42152</c:v>
                </c:pt>
                <c:pt idx="6402">
                  <c:v>42153</c:v>
                </c:pt>
                <c:pt idx="6403">
                  <c:v>42156</c:v>
                </c:pt>
                <c:pt idx="6404">
                  <c:v>42157</c:v>
                </c:pt>
                <c:pt idx="6405">
                  <c:v>42158</c:v>
                </c:pt>
                <c:pt idx="6406">
                  <c:v>42159</c:v>
                </c:pt>
                <c:pt idx="6407">
                  <c:v>42160</c:v>
                </c:pt>
                <c:pt idx="6408">
                  <c:v>42163</c:v>
                </c:pt>
                <c:pt idx="6409">
                  <c:v>42164</c:v>
                </c:pt>
                <c:pt idx="6410">
                  <c:v>42165</c:v>
                </c:pt>
                <c:pt idx="6411">
                  <c:v>42166</c:v>
                </c:pt>
                <c:pt idx="6412">
                  <c:v>42167</c:v>
                </c:pt>
                <c:pt idx="6413">
                  <c:v>42170</c:v>
                </c:pt>
                <c:pt idx="6414">
                  <c:v>42171</c:v>
                </c:pt>
                <c:pt idx="6415">
                  <c:v>42172</c:v>
                </c:pt>
                <c:pt idx="6416">
                  <c:v>42173</c:v>
                </c:pt>
                <c:pt idx="6417">
                  <c:v>42174</c:v>
                </c:pt>
                <c:pt idx="6418">
                  <c:v>42177</c:v>
                </c:pt>
                <c:pt idx="6419">
                  <c:v>42178</c:v>
                </c:pt>
                <c:pt idx="6420">
                  <c:v>42179</c:v>
                </c:pt>
                <c:pt idx="6421">
                  <c:v>42180</c:v>
                </c:pt>
                <c:pt idx="6422">
                  <c:v>42181</c:v>
                </c:pt>
                <c:pt idx="6423">
                  <c:v>42184</c:v>
                </c:pt>
                <c:pt idx="6424">
                  <c:v>42185</c:v>
                </c:pt>
                <c:pt idx="6425">
                  <c:v>42186</c:v>
                </c:pt>
                <c:pt idx="6426">
                  <c:v>42187</c:v>
                </c:pt>
                <c:pt idx="6427">
                  <c:v>42191</c:v>
                </c:pt>
                <c:pt idx="6428">
                  <c:v>42192</c:v>
                </c:pt>
                <c:pt idx="6429">
                  <c:v>42193</c:v>
                </c:pt>
                <c:pt idx="6430">
                  <c:v>42194</c:v>
                </c:pt>
                <c:pt idx="6431">
                  <c:v>42195</c:v>
                </c:pt>
                <c:pt idx="6432">
                  <c:v>42198</c:v>
                </c:pt>
                <c:pt idx="6433">
                  <c:v>42199</c:v>
                </c:pt>
                <c:pt idx="6434">
                  <c:v>42200</c:v>
                </c:pt>
                <c:pt idx="6435">
                  <c:v>42201</c:v>
                </c:pt>
                <c:pt idx="6436">
                  <c:v>42202</c:v>
                </c:pt>
                <c:pt idx="6437">
                  <c:v>42205</c:v>
                </c:pt>
                <c:pt idx="6438">
                  <c:v>42206</c:v>
                </c:pt>
                <c:pt idx="6439">
                  <c:v>42207</c:v>
                </c:pt>
                <c:pt idx="6440">
                  <c:v>42208</c:v>
                </c:pt>
                <c:pt idx="6441">
                  <c:v>42209</c:v>
                </c:pt>
                <c:pt idx="6442">
                  <c:v>42212</c:v>
                </c:pt>
                <c:pt idx="6443">
                  <c:v>42213</c:v>
                </c:pt>
                <c:pt idx="6444">
                  <c:v>42214</c:v>
                </c:pt>
                <c:pt idx="6445">
                  <c:v>42215</c:v>
                </c:pt>
                <c:pt idx="6446">
                  <c:v>42216</c:v>
                </c:pt>
                <c:pt idx="6447">
                  <c:v>42219</c:v>
                </c:pt>
                <c:pt idx="6448">
                  <c:v>42220</c:v>
                </c:pt>
                <c:pt idx="6449">
                  <c:v>42221</c:v>
                </c:pt>
                <c:pt idx="6450">
                  <c:v>42222</c:v>
                </c:pt>
                <c:pt idx="6451">
                  <c:v>42223</c:v>
                </c:pt>
                <c:pt idx="6452">
                  <c:v>42226</c:v>
                </c:pt>
                <c:pt idx="6453">
                  <c:v>42227</c:v>
                </c:pt>
                <c:pt idx="6454">
                  <c:v>42228</c:v>
                </c:pt>
                <c:pt idx="6455">
                  <c:v>42229</c:v>
                </c:pt>
                <c:pt idx="6456">
                  <c:v>42230</c:v>
                </c:pt>
                <c:pt idx="6457">
                  <c:v>42233</c:v>
                </c:pt>
                <c:pt idx="6458">
                  <c:v>42234</c:v>
                </c:pt>
                <c:pt idx="6459">
                  <c:v>42235</c:v>
                </c:pt>
                <c:pt idx="6460">
                  <c:v>42236</c:v>
                </c:pt>
                <c:pt idx="6461">
                  <c:v>42237</c:v>
                </c:pt>
                <c:pt idx="6462">
                  <c:v>42240</c:v>
                </c:pt>
                <c:pt idx="6463">
                  <c:v>42241</c:v>
                </c:pt>
                <c:pt idx="6464">
                  <c:v>42242</c:v>
                </c:pt>
                <c:pt idx="6465">
                  <c:v>42243</c:v>
                </c:pt>
                <c:pt idx="6466">
                  <c:v>42244</c:v>
                </c:pt>
                <c:pt idx="6467">
                  <c:v>42247</c:v>
                </c:pt>
                <c:pt idx="6468">
                  <c:v>42248</c:v>
                </c:pt>
                <c:pt idx="6469">
                  <c:v>42249</c:v>
                </c:pt>
                <c:pt idx="6470">
                  <c:v>42250</c:v>
                </c:pt>
                <c:pt idx="6471">
                  <c:v>42251</c:v>
                </c:pt>
                <c:pt idx="6472">
                  <c:v>42255</c:v>
                </c:pt>
                <c:pt idx="6473">
                  <c:v>42256</c:v>
                </c:pt>
                <c:pt idx="6474">
                  <c:v>42257</c:v>
                </c:pt>
                <c:pt idx="6475">
                  <c:v>42258</c:v>
                </c:pt>
                <c:pt idx="6476">
                  <c:v>42261</c:v>
                </c:pt>
                <c:pt idx="6477">
                  <c:v>42262</c:v>
                </c:pt>
                <c:pt idx="6478">
                  <c:v>42263</c:v>
                </c:pt>
                <c:pt idx="6479">
                  <c:v>42264</c:v>
                </c:pt>
                <c:pt idx="6480">
                  <c:v>42265</c:v>
                </c:pt>
                <c:pt idx="6481">
                  <c:v>42268</c:v>
                </c:pt>
                <c:pt idx="6482">
                  <c:v>42269</c:v>
                </c:pt>
                <c:pt idx="6483">
                  <c:v>42270</c:v>
                </c:pt>
                <c:pt idx="6484">
                  <c:v>42271</c:v>
                </c:pt>
                <c:pt idx="6485">
                  <c:v>42272</c:v>
                </c:pt>
                <c:pt idx="6486">
                  <c:v>42275</c:v>
                </c:pt>
                <c:pt idx="6487">
                  <c:v>42276</c:v>
                </c:pt>
                <c:pt idx="6488">
                  <c:v>42277</c:v>
                </c:pt>
                <c:pt idx="6489">
                  <c:v>42278</c:v>
                </c:pt>
                <c:pt idx="6490">
                  <c:v>42279</c:v>
                </c:pt>
                <c:pt idx="6491">
                  <c:v>42282</c:v>
                </c:pt>
                <c:pt idx="6492">
                  <c:v>42283</c:v>
                </c:pt>
                <c:pt idx="6493">
                  <c:v>42284</c:v>
                </c:pt>
                <c:pt idx="6494">
                  <c:v>42285</c:v>
                </c:pt>
                <c:pt idx="6495">
                  <c:v>42286</c:v>
                </c:pt>
                <c:pt idx="6496">
                  <c:v>42289</c:v>
                </c:pt>
                <c:pt idx="6497">
                  <c:v>42290</c:v>
                </c:pt>
                <c:pt idx="6498">
                  <c:v>42291</c:v>
                </c:pt>
                <c:pt idx="6499">
                  <c:v>42292</c:v>
                </c:pt>
                <c:pt idx="6500">
                  <c:v>42293</c:v>
                </c:pt>
                <c:pt idx="6501">
                  <c:v>42296</c:v>
                </c:pt>
                <c:pt idx="6502">
                  <c:v>42297</c:v>
                </c:pt>
                <c:pt idx="6503">
                  <c:v>42298</c:v>
                </c:pt>
                <c:pt idx="6504">
                  <c:v>42299</c:v>
                </c:pt>
                <c:pt idx="6505">
                  <c:v>42300</c:v>
                </c:pt>
                <c:pt idx="6506">
                  <c:v>42303</c:v>
                </c:pt>
                <c:pt idx="6507">
                  <c:v>42304</c:v>
                </c:pt>
                <c:pt idx="6508">
                  <c:v>42305</c:v>
                </c:pt>
                <c:pt idx="6509">
                  <c:v>42306</c:v>
                </c:pt>
                <c:pt idx="6510">
                  <c:v>42307</c:v>
                </c:pt>
                <c:pt idx="6511">
                  <c:v>42310</c:v>
                </c:pt>
                <c:pt idx="6512">
                  <c:v>42311</c:v>
                </c:pt>
                <c:pt idx="6513">
                  <c:v>42312</c:v>
                </c:pt>
                <c:pt idx="6514">
                  <c:v>42313</c:v>
                </c:pt>
                <c:pt idx="6515">
                  <c:v>42314</c:v>
                </c:pt>
                <c:pt idx="6516">
                  <c:v>42317</c:v>
                </c:pt>
                <c:pt idx="6517">
                  <c:v>42318</c:v>
                </c:pt>
                <c:pt idx="6518">
                  <c:v>42319</c:v>
                </c:pt>
                <c:pt idx="6519">
                  <c:v>42320</c:v>
                </c:pt>
                <c:pt idx="6520">
                  <c:v>42321</c:v>
                </c:pt>
                <c:pt idx="6521">
                  <c:v>42324</c:v>
                </c:pt>
                <c:pt idx="6522">
                  <c:v>42325</c:v>
                </c:pt>
                <c:pt idx="6523">
                  <c:v>42326</c:v>
                </c:pt>
                <c:pt idx="6524">
                  <c:v>42327</c:v>
                </c:pt>
                <c:pt idx="6525">
                  <c:v>42328</c:v>
                </c:pt>
                <c:pt idx="6526">
                  <c:v>42331</c:v>
                </c:pt>
                <c:pt idx="6527">
                  <c:v>42332</c:v>
                </c:pt>
                <c:pt idx="6528">
                  <c:v>42333</c:v>
                </c:pt>
                <c:pt idx="6529">
                  <c:v>42335</c:v>
                </c:pt>
                <c:pt idx="6530">
                  <c:v>42338</c:v>
                </c:pt>
                <c:pt idx="6531">
                  <c:v>42339</c:v>
                </c:pt>
                <c:pt idx="6532">
                  <c:v>42340</c:v>
                </c:pt>
                <c:pt idx="6533">
                  <c:v>42341</c:v>
                </c:pt>
                <c:pt idx="6534">
                  <c:v>42342</c:v>
                </c:pt>
                <c:pt idx="6535">
                  <c:v>42345</c:v>
                </c:pt>
                <c:pt idx="6536">
                  <c:v>42346</c:v>
                </c:pt>
                <c:pt idx="6537">
                  <c:v>42347</c:v>
                </c:pt>
                <c:pt idx="6538">
                  <c:v>42348</c:v>
                </c:pt>
                <c:pt idx="6539">
                  <c:v>42349</c:v>
                </c:pt>
                <c:pt idx="6540">
                  <c:v>42352</c:v>
                </c:pt>
                <c:pt idx="6541">
                  <c:v>42353</c:v>
                </c:pt>
                <c:pt idx="6542">
                  <c:v>42354</c:v>
                </c:pt>
                <c:pt idx="6543">
                  <c:v>42355</c:v>
                </c:pt>
                <c:pt idx="6544">
                  <c:v>42356</c:v>
                </c:pt>
                <c:pt idx="6545">
                  <c:v>42359</c:v>
                </c:pt>
                <c:pt idx="6546">
                  <c:v>42360</c:v>
                </c:pt>
                <c:pt idx="6547">
                  <c:v>42361</c:v>
                </c:pt>
                <c:pt idx="6548">
                  <c:v>42362</c:v>
                </c:pt>
                <c:pt idx="6549">
                  <c:v>42366</c:v>
                </c:pt>
                <c:pt idx="6550">
                  <c:v>42367</c:v>
                </c:pt>
                <c:pt idx="6551">
                  <c:v>42368</c:v>
                </c:pt>
                <c:pt idx="6552">
                  <c:v>42369</c:v>
                </c:pt>
                <c:pt idx="6553">
                  <c:v>42373</c:v>
                </c:pt>
                <c:pt idx="6554">
                  <c:v>42374</c:v>
                </c:pt>
                <c:pt idx="6555">
                  <c:v>42375</c:v>
                </c:pt>
                <c:pt idx="6556">
                  <c:v>42376</c:v>
                </c:pt>
                <c:pt idx="6557">
                  <c:v>42377</c:v>
                </c:pt>
                <c:pt idx="6558">
                  <c:v>42380</c:v>
                </c:pt>
                <c:pt idx="6559">
                  <c:v>42381</c:v>
                </c:pt>
                <c:pt idx="6560">
                  <c:v>42382</c:v>
                </c:pt>
                <c:pt idx="6561">
                  <c:v>42383</c:v>
                </c:pt>
                <c:pt idx="6562">
                  <c:v>42384</c:v>
                </c:pt>
                <c:pt idx="6563">
                  <c:v>42388</c:v>
                </c:pt>
                <c:pt idx="6564">
                  <c:v>42389</c:v>
                </c:pt>
                <c:pt idx="6565">
                  <c:v>42390</c:v>
                </c:pt>
                <c:pt idx="6566">
                  <c:v>42391</c:v>
                </c:pt>
                <c:pt idx="6567">
                  <c:v>42394</c:v>
                </c:pt>
                <c:pt idx="6568">
                  <c:v>42395</c:v>
                </c:pt>
                <c:pt idx="6569">
                  <c:v>42396</c:v>
                </c:pt>
                <c:pt idx="6570">
                  <c:v>42397</c:v>
                </c:pt>
                <c:pt idx="6571">
                  <c:v>42398</c:v>
                </c:pt>
                <c:pt idx="6572">
                  <c:v>42401</c:v>
                </c:pt>
                <c:pt idx="6573">
                  <c:v>42402</c:v>
                </c:pt>
                <c:pt idx="6574">
                  <c:v>42403</c:v>
                </c:pt>
                <c:pt idx="6575">
                  <c:v>42404</c:v>
                </c:pt>
                <c:pt idx="6576">
                  <c:v>42405</c:v>
                </c:pt>
                <c:pt idx="6577">
                  <c:v>42408</c:v>
                </c:pt>
                <c:pt idx="6578">
                  <c:v>42409</c:v>
                </c:pt>
                <c:pt idx="6579">
                  <c:v>42410</c:v>
                </c:pt>
                <c:pt idx="6580">
                  <c:v>42411</c:v>
                </c:pt>
                <c:pt idx="6581">
                  <c:v>42412</c:v>
                </c:pt>
                <c:pt idx="6582">
                  <c:v>42416</c:v>
                </c:pt>
                <c:pt idx="6583">
                  <c:v>42417</c:v>
                </c:pt>
                <c:pt idx="6584">
                  <c:v>42418</c:v>
                </c:pt>
                <c:pt idx="6585">
                  <c:v>42419</c:v>
                </c:pt>
                <c:pt idx="6586">
                  <c:v>42422</c:v>
                </c:pt>
                <c:pt idx="6587">
                  <c:v>42423</c:v>
                </c:pt>
                <c:pt idx="6588">
                  <c:v>42424</c:v>
                </c:pt>
                <c:pt idx="6589">
                  <c:v>42425</c:v>
                </c:pt>
                <c:pt idx="6590">
                  <c:v>42426</c:v>
                </c:pt>
                <c:pt idx="6591">
                  <c:v>42429</c:v>
                </c:pt>
                <c:pt idx="6592">
                  <c:v>42430</c:v>
                </c:pt>
                <c:pt idx="6593">
                  <c:v>42431</c:v>
                </c:pt>
                <c:pt idx="6594">
                  <c:v>42432</c:v>
                </c:pt>
                <c:pt idx="6595">
                  <c:v>42433</c:v>
                </c:pt>
                <c:pt idx="6596">
                  <c:v>42436</c:v>
                </c:pt>
                <c:pt idx="6597">
                  <c:v>42437</c:v>
                </c:pt>
                <c:pt idx="6598">
                  <c:v>42438</c:v>
                </c:pt>
                <c:pt idx="6599">
                  <c:v>42439</c:v>
                </c:pt>
                <c:pt idx="6600">
                  <c:v>42440</c:v>
                </c:pt>
                <c:pt idx="6601">
                  <c:v>42443</c:v>
                </c:pt>
                <c:pt idx="6602">
                  <c:v>42444</c:v>
                </c:pt>
                <c:pt idx="6603">
                  <c:v>42445</c:v>
                </c:pt>
                <c:pt idx="6604">
                  <c:v>42446</c:v>
                </c:pt>
                <c:pt idx="6605">
                  <c:v>42447</c:v>
                </c:pt>
                <c:pt idx="6606">
                  <c:v>42450</c:v>
                </c:pt>
                <c:pt idx="6607">
                  <c:v>42451</c:v>
                </c:pt>
                <c:pt idx="6608">
                  <c:v>42452</c:v>
                </c:pt>
                <c:pt idx="6609">
                  <c:v>42453</c:v>
                </c:pt>
                <c:pt idx="6610">
                  <c:v>42457</c:v>
                </c:pt>
                <c:pt idx="6611">
                  <c:v>42458</c:v>
                </c:pt>
                <c:pt idx="6612">
                  <c:v>42459</c:v>
                </c:pt>
                <c:pt idx="6613">
                  <c:v>42460</c:v>
                </c:pt>
                <c:pt idx="6614">
                  <c:v>42461</c:v>
                </c:pt>
                <c:pt idx="6615">
                  <c:v>42464</c:v>
                </c:pt>
                <c:pt idx="6616">
                  <c:v>42465</c:v>
                </c:pt>
                <c:pt idx="6617">
                  <c:v>42466</c:v>
                </c:pt>
                <c:pt idx="6618">
                  <c:v>42467</c:v>
                </c:pt>
                <c:pt idx="6619">
                  <c:v>42468</c:v>
                </c:pt>
                <c:pt idx="6620">
                  <c:v>42471</c:v>
                </c:pt>
                <c:pt idx="6621">
                  <c:v>42472</c:v>
                </c:pt>
                <c:pt idx="6622">
                  <c:v>42473</c:v>
                </c:pt>
                <c:pt idx="6623">
                  <c:v>42474</c:v>
                </c:pt>
                <c:pt idx="6624">
                  <c:v>42475</c:v>
                </c:pt>
                <c:pt idx="6625">
                  <c:v>42478</c:v>
                </c:pt>
                <c:pt idx="6626">
                  <c:v>42479</c:v>
                </c:pt>
                <c:pt idx="6627">
                  <c:v>42480</c:v>
                </c:pt>
                <c:pt idx="6628">
                  <c:v>42481</c:v>
                </c:pt>
                <c:pt idx="6629">
                  <c:v>42482</c:v>
                </c:pt>
                <c:pt idx="6630">
                  <c:v>42485</c:v>
                </c:pt>
                <c:pt idx="6631">
                  <c:v>42486</c:v>
                </c:pt>
                <c:pt idx="6632">
                  <c:v>42487</c:v>
                </c:pt>
                <c:pt idx="6633">
                  <c:v>42488</c:v>
                </c:pt>
                <c:pt idx="6634">
                  <c:v>42489</c:v>
                </c:pt>
                <c:pt idx="6635">
                  <c:v>42492</c:v>
                </c:pt>
                <c:pt idx="6636">
                  <c:v>42493</c:v>
                </c:pt>
                <c:pt idx="6637">
                  <c:v>42494</c:v>
                </c:pt>
                <c:pt idx="6638">
                  <c:v>42495</c:v>
                </c:pt>
                <c:pt idx="6639">
                  <c:v>42496</c:v>
                </c:pt>
                <c:pt idx="6640">
                  <c:v>42499</c:v>
                </c:pt>
                <c:pt idx="6641">
                  <c:v>42500</c:v>
                </c:pt>
                <c:pt idx="6642">
                  <c:v>42501</c:v>
                </c:pt>
              </c:numCache>
            </c:numRef>
          </c:cat>
          <c:val>
            <c:numRef>
              <c:f>SPX!$AO$4:$AO$6646</c:f>
              <c:numCache>
                <c:formatCode>General</c:formatCode>
                <c:ptCount val="6643"/>
                <c:pt idx="0">
                  <c:v>100</c:v>
                </c:pt>
                <c:pt idx="1">
                  <c:v>99.741444021240511</c:v>
                </c:pt>
                <c:pt idx="2">
                  <c:v>98.882370930523507</c:v>
                </c:pt>
                <c:pt idx="3">
                  <c:v>97.917651310851014</c:v>
                </c:pt>
                <c:pt idx="4">
                  <c:v>98.359698629375302</c:v>
                </c:pt>
                <c:pt idx="5">
                  <c:v>97.20036698267954</c:v>
                </c:pt>
                <c:pt idx="6">
                  <c:v>96.558147293502742</c:v>
                </c:pt>
                <c:pt idx="7">
                  <c:v>96.897328254886148</c:v>
                </c:pt>
                <c:pt idx="8">
                  <c:v>94.506380494314556</c:v>
                </c:pt>
                <c:pt idx="9">
                  <c:v>93.691790152631441</c:v>
                </c:pt>
                <c:pt idx="10">
                  <c:v>94.73435458311323</c:v>
                </c:pt>
                <c:pt idx="11">
                  <c:v>93.802997025216143</c:v>
                </c:pt>
                <c:pt idx="12">
                  <c:v>94.02263059857097</c:v>
                </c:pt>
                <c:pt idx="13">
                  <c:v>94.289527092774307</c:v>
                </c:pt>
                <c:pt idx="14">
                  <c:v>91.85131641135419</c:v>
                </c:pt>
                <c:pt idx="15">
                  <c:v>92.193277544552231</c:v>
                </c:pt>
                <c:pt idx="16">
                  <c:v>91.81795434957877</c:v>
                </c:pt>
                <c:pt idx="17">
                  <c:v>90.655842531068387</c:v>
                </c:pt>
                <c:pt idx="18">
                  <c:v>90.577997720259091</c:v>
                </c:pt>
                <c:pt idx="19">
                  <c:v>90.411187411381988</c:v>
                </c:pt>
                <c:pt idx="20">
                  <c:v>89.793989268536777</c:v>
                </c:pt>
                <c:pt idx="21">
                  <c:v>91.489894075453833</c:v>
                </c:pt>
                <c:pt idx="22">
                  <c:v>91.409269092829916</c:v>
                </c:pt>
                <c:pt idx="23">
                  <c:v>92.001445689343569</c:v>
                </c:pt>
                <c:pt idx="24">
                  <c:v>92.260001668103058</c:v>
                </c:pt>
                <c:pt idx="25">
                  <c:v>91.651144040701681</c:v>
                </c:pt>
                <c:pt idx="26">
                  <c:v>92.788234312880491</c:v>
                </c:pt>
                <c:pt idx="27">
                  <c:v>92.56860073952565</c:v>
                </c:pt>
                <c:pt idx="28">
                  <c:v>92.752092079290449</c:v>
                </c:pt>
                <c:pt idx="29">
                  <c:v>91.767911256915625</c:v>
                </c:pt>
                <c:pt idx="30">
                  <c:v>92.02924740748972</c:v>
                </c:pt>
                <c:pt idx="31">
                  <c:v>92.304484417136905</c:v>
                </c:pt>
                <c:pt idx="32">
                  <c:v>93.10517389974693</c:v>
                </c:pt>
                <c:pt idx="33">
                  <c:v>92.501876615974794</c:v>
                </c:pt>
                <c:pt idx="34">
                  <c:v>91.186855347660412</c:v>
                </c:pt>
                <c:pt idx="35">
                  <c:v>91.097889849592633</c:v>
                </c:pt>
                <c:pt idx="36">
                  <c:v>90.550196002112855</c:v>
                </c:pt>
                <c:pt idx="37">
                  <c:v>90.119269370847036</c:v>
                </c:pt>
                <c:pt idx="38">
                  <c:v>91.375907031054453</c:v>
                </c:pt>
                <c:pt idx="39">
                  <c:v>91.817954349578727</c:v>
                </c:pt>
                <c:pt idx="40">
                  <c:v>92.271122355361484</c:v>
                </c:pt>
                <c:pt idx="41">
                  <c:v>92.507436959604036</c:v>
                </c:pt>
                <c:pt idx="42">
                  <c:v>93.285885067697123</c:v>
                </c:pt>
                <c:pt idx="43">
                  <c:v>92.785454141065856</c:v>
                </c:pt>
                <c:pt idx="44">
                  <c:v>93.950346131390845</c:v>
                </c:pt>
                <c:pt idx="45">
                  <c:v>93.677889293558252</c:v>
                </c:pt>
                <c:pt idx="46">
                  <c:v>94.600906336011477</c:v>
                </c:pt>
                <c:pt idx="47">
                  <c:v>93.95034613139083</c:v>
                </c:pt>
                <c:pt idx="48">
                  <c:v>94.156078845672567</c:v>
                </c:pt>
                <c:pt idx="49">
                  <c:v>93.413772971169507</c:v>
                </c:pt>
                <c:pt idx="50">
                  <c:v>93.655647919041286</c:v>
                </c:pt>
                <c:pt idx="51">
                  <c:v>93.989268536795436</c:v>
                </c:pt>
                <c:pt idx="52">
                  <c:v>95.056854513608812</c:v>
                </c:pt>
                <c:pt idx="53">
                  <c:v>95.507242347576934</c:v>
                </c:pt>
                <c:pt idx="54">
                  <c:v>94.962328671911777</c:v>
                </c:pt>
                <c:pt idx="55">
                  <c:v>94.453557229836662</c:v>
                </c:pt>
                <c:pt idx="56">
                  <c:v>93.327587644916306</c:v>
                </c:pt>
                <c:pt idx="57">
                  <c:v>93.752953932552884</c:v>
                </c:pt>
                <c:pt idx="58">
                  <c:v>93.866940976952222</c:v>
                </c:pt>
                <c:pt idx="59">
                  <c:v>94.942867469209446</c:v>
                </c:pt>
                <c:pt idx="60">
                  <c:v>95.08187605994037</c:v>
                </c:pt>
                <c:pt idx="61">
                  <c:v>94.745475270371585</c:v>
                </c:pt>
                <c:pt idx="62">
                  <c:v>94.509160666129034</c:v>
                </c:pt>
                <c:pt idx="63">
                  <c:v>94.164419361116387</c:v>
                </c:pt>
                <c:pt idx="64">
                  <c:v>95.537824237537748</c:v>
                </c:pt>
                <c:pt idx="65">
                  <c:v>94.828880424810123</c:v>
                </c:pt>
                <c:pt idx="66">
                  <c:v>94.728794239483875</c:v>
                </c:pt>
                <c:pt idx="67">
                  <c:v>94.548083071533682</c:v>
                </c:pt>
                <c:pt idx="68">
                  <c:v>94.906725235619405</c:v>
                </c:pt>
                <c:pt idx="69">
                  <c:v>95.101337262642673</c:v>
                </c:pt>
                <c:pt idx="70">
                  <c:v>95.059634685423404</c:v>
                </c:pt>
                <c:pt idx="71">
                  <c:v>95.732436264561002</c:v>
                </c:pt>
                <c:pt idx="72">
                  <c:v>95.843643137145733</c:v>
                </c:pt>
                <c:pt idx="73">
                  <c:v>95.826962106258023</c:v>
                </c:pt>
                <c:pt idx="74">
                  <c:v>94.72601406766924</c:v>
                </c:pt>
                <c:pt idx="75">
                  <c:v>93.994828880424649</c:v>
                </c:pt>
                <c:pt idx="76">
                  <c:v>93.169117851483065</c:v>
                </c:pt>
                <c:pt idx="77">
                  <c:v>92.037587922933483</c:v>
                </c:pt>
                <c:pt idx="78">
                  <c:v>91.845756067724835</c:v>
                </c:pt>
                <c:pt idx="79">
                  <c:v>92.310044760766047</c:v>
                </c:pt>
                <c:pt idx="80">
                  <c:v>92.557480052267067</c:v>
                </c:pt>
                <c:pt idx="81">
                  <c:v>91.498234590897553</c:v>
                </c:pt>
                <c:pt idx="82">
                  <c:v>91.968083627568006</c:v>
                </c:pt>
                <c:pt idx="83">
                  <c:v>92.371208540687618</c:v>
                </c:pt>
                <c:pt idx="84">
                  <c:v>92.991186855347479</c:v>
                </c:pt>
                <c:pt idx="85">
                  <c:v>93.294225583140843</c:v>
                </c:pt>
                <c:pt idx="86">
                  <c:v>94.078234034863172</c:v>
                </c:pt>
                <c:pt idx="87">
                  <c:v>94.673190803191446</c:v>
                </c:pt>
                <c:pt idx="88">
                  <c:v>95.08465623175492</c:v>
                </c:pt>
                <c:pt idx="89">
                  <c:v>95.320970835997471</c:v>
                </c:pt>
                <c:pt idx="90">
                  <c:v>95.587867330200822</c:v>
                </c:pt>
                <c:pt idx="91">
                  <c:v>97.862047874558442</c:v>
                </c:pt>
                <c:pt idx="92">
                  <c:v>98.626595123578426</c:v>
                </c:pt>
                <c:pt idx="93">
                  <c:v>98.495927048291364</c:v>
                </c:pt>
                <c:pt idx="94">
                  <c:v>98.418082237482068</c:v>
                </c:pt>
                <c:pt idx="95">
                  <c:v>98.54875031276913</c:v>
                </c:pt>
                <c:pt idx="96">
                  <c:v>98.59601323361764</c:v>
                </c:pt>
                <c:pt idx="97">
                  <c:v>99.530150963329362</c:v>
                </c:pt>
                <c:pt idx="98">
                  <c:v>99.649698351357927</c:v>
                </c:pt>
                <c:pt idx="99">
                  <c:v>99.88879312741507</c:v>
                </c:pt>
                <c:pt idx="100">
                  <c:v>99.644138007728671</c:v>
                </c:pt>
                <c:pt idx="101">
                  <c:v>98.579332202729915</c:v>
                </c:pt>
                <c:pt idx="102">
                  <c:v>100.26689649420312</c:v>
                </c:pt>
                <c:pt idx="103">
                  <c:v>100.32528010231013</c:v>
                </c:pt>
                <c:pt idx="104">
                  <c:v>100.42814645945101</c:v>
                </c:pt>
                <c:pt idx="105">
                  <c:v>100.96471961967232</c:v>
                </c:pt>
                <c:pt idx="106">
                  <c:v>102.1435124690704</c:v>
                </c:pt>
                <c:pt idx="107">
                  <c:v>101.93221941115942</c:v>
                </c:pt>
                <c:pt idx="108">
                  <c:v>101.46515054630358</c:v>
                </c:pt>
                <c:pt idx="109">
                  <c:v>100.96193944785769</c:v>
                </c:pt>
                <c:pt idx="110">
                  <c:v>99.727543162167237</c:v>
                </c:pt>
                <c:pt idx="111">
                  <c:v>100.53935333203572</c:v>
                </c:pt>
                <c:pt idx="112">
                  <c:v>101.8237927103893</c:v>
                </c:pt>
                <c:pt idx="113">
                  <c:v>101.44846951541584</c:v>
                </c:pt>
                <c:pt idx="114">
                  <c:v>100.89243515249221</c:v>
                </c:pt>
                <c:pt idx="115">
                  <c:v>100.89521532430683</c:v>
                </c:pt>
                <c:pt idx="116">
                  <c:v>99.218771720092079</c:v>
                </c:pt>
                <c:pt idx="117">
                  <c:v>99.660819038616381</c:v>
                </c:pt>
                <c:pt idx="118">
                  <c:v>99.835969862937318</c:v>
                </c:pt>
                <c:pt idx="119">
                  <c:v>100.21685340154001</c:v>
                </c:pt>
                <c:pt idx="120">
                  <c:v>98.815646806972453</c:v>
                </c:pt>
                <c:pt idx="121">
                  <c:v>97.948233200811586</c:v>
                </c:pt>
                <c:pt idx="122">
                  <c:v>97.878728905446124</c:v>
                </c:pt>
                <c:pt idx="123">
                  <c:v>98.735021824348493</c:v>
                </c:pt>
                <c:pt idx="124">
                  <c:v>99.427284606188394</c:v>
                </c:pt>
                <c:pt idx="125">
                  <c:v>99.535711306958504</c:v>
                </c:pt>
                <c:pt idx="126">
                  <c:v>99.958297422780475</c:v>
                </c:pt>
                <c:pt idx="127">
                  <c:v>100.13066807528679</c:v>
                </c:pt>
                <c:pt idx="128">
                  <c:v>98.885151102337858</c:v>
                </c:pt>
                <c:pt idx="129">
                  <c:v>99.646918179543235</c:v>
                </c:pt>
                <c:pt idx="130">
                  <c:v>99.952737079151206</c:v>
                </c:pt>
                <c:pt idx="131">
                  <c:v>99.110345019321926</c:v>
                </c:pt>
                <c:pt idx="132">
                  <c:v>100.42814645945094</c:v>
                </c:pt>
                <c:pt idx="133">
                  <c:v>101.59859879340516</c:v>
                </c:pt>
                <c:pt idx="134">
                  <c:v>102.11849092273876</c:v>
                </c:pt>
                <c:pt idx="135">
                  <c:v>102.57443910033612</c:v>
                </c:pt>
                <c:pt idx="136">
                  <c:v>102.17687453084572</c:v>
                </c:pt>
                <c:pt idx="137">
                  <c:v>101.25941783202174</c:v>
                </c:pt>
                <c:pt idx="138">
                  <c:v>101.56523673162971</c:v>
                </c:pt>
                <c:pt idx="139">
                  <c:v>100.53379298840638</c:v>
                </c:pt>
                <c:pt idx="140">
                  <c:v>98.782284745196947</c:v>
                </c:pt>
                <c:pt idx="141">
                  <c:v>98.915732992298629</c:v>
                </c:pt>
                <c:pt idx="142">
                  <c:v>99.277155328198972</c:v>
                </c:pt>
                <c:pt idx="143">
                  <c:v>98.94909505407405</c:v>
                </c:pt>
                <c:pt idx="144">
                  <c:v>98.262392615863362</c:v>
                </c:pt>
                <c:pt idx="145">
                  <c:v>98.849008868747774</c:v>
                </c:pt>
                <c:pt idx="146">
                  <c:v>99.015819177624834</c:v>
                </c:pt>
                <c:pt idx="147">
                  <c:v>98.840668353303897</c:v>
                </c:pt>
                <c:pt idx="148">
                  <c:v>97.717478940198177</c:v>
                </c:pt>
                <c:pt idx="149">
                  <c:v>95.877005198920983</c:v>
                </c:pt>
                <c:pt idx="150">
                  <c:v>92.977285996274261</c:v>
                </c:pt>
                <c:pt idx="151">
                  <c:v>93.088492868858978</c:v>
                </c:pt>
                <c:pt idx="152">
                  <c:v>94.067113347604575</c:v>
                </c:pt>
                <c:pt idx="153">
                  <c:v>94.509160666128864</c:v>
                </c:pt>
                <c:pt idx="154">
                  <c:v>93.28032472406764</c:v>
                </c:pt>
                <c:pt idx="155">
                  <c:v>94.203341766520865</c:v>
                </c:pt>
                <c:pt idx="156">
                  <c:v>94.356251216324864</c:v>
                </c:pt>
                <c:pt idx="157">
                  <c:v>94.542522727904284</c:v>
                </c:pt>
                <c:pt idx="158">
                  <c:v>92.410130946092167</c:v>
                </c:pt>
                <c:pt idx="159">
                  <c:v>91.142372598626295</c:v>
                </c:pt>
                <c:pt idx="160">
                  <c:v>91.331424282020336</c:v>
                </c:pt>
                <c:pt idx="161">
                  <c:v>89.48261002529928</c:v>
                </c:pt>
                <c:pt idx="162">
                  <c:v>88.006338791737051</c:v>
                </c:pt>
                <c:pt idx="163">
                  <c:v>85.367955739664438</c:v>
                </c:pt>
                <c:pt idx="164">
                  <c:v>86.605132197169496</c:v>
                </c:pt>
                <c:pt idx="165">
                  <c:v>89.365842809085308</c:v>
                </c:pt>
                <c:pt idx="166">
                  <c:v>89.338041090939114</c:v>
                </c:pt>
                <c:pt idx="167">
                  <c:v>90.130390058105291</c:v>
                </c:pt>
                <c:pt idx="168">
                  <c:v>88.606855903694552</c:v>
                </c:pt>
                <c:pt idx="169">
                  <c:v>89.677222052322534</c:v>
                </c:pt>
                <c:pt idx="170">
                  <c:v>89.824571158497307</c:v>
                </c:pt>
                <c:pt idx="171">
                  <c:v>90.185993494397664</c:v>
                </c:pt>
                <c:pt idx="172">
                  <c:v>89.093385971252744</c:v>
                </c:pt>
                <c:pt idx="173">
                  <c:v>89.910756484750465</c:v>
                </c:pt>
                <c:pt idx="174">
                  <c:v>89.41866607356306</c:v>
                </c:pt>
                <c:pt idx="175">
                  <c:v>89.254635936500605</c:v>
                </c:pt>
                <c:pt idx="176">
                  <c:v>89.671661708693335</c:v>
                </c:pt>
                <c:pt idx="177">
                  <c:v>88.590174872806855</c:v>
                </c:pt>
                <c:pt idx="178">
                  <c:v>88.084183602546346</c:v>
                </c:pt>
                <c:pt idx="179">
                  <c:v>88.345519753120456</c:v>
                </c:pt>
                <c:pt idx="180">
                  <c:v>88.57627401373378</c:v>
                </c:pt>
                <c:pt idx="181">
                  <c:v>88.020239650810154</c:v>
                </c:pt>
                <c:pt idx="182">
                  <c:v>86.596791681725662</c:v>
                </c:pt>
                <c:pt idx="183">
                  <c:v>86.552308932691759</c:v>
                </c:pt>
                <c:pt idx="184">
                  <c:v>84.681253301453751</c:v>
                </c:pt>
                <c:pt idx="185">
                  <c:v>85.701576357418617</c:v>
                </c:pt>
                <c:pt idx="186">
                  <c:v>84.811921376740813</c:v>
                </c:pt>
                <c:pt idx="187">
                  <c:v>83.674831104562003</c:v>
                </c:pt>
                <c:pt idx="188">
                  <c:v>85.087158386387998</c:v>
                </c:pt>
                <c:pt idx="189">
                  <c:v>87.558731129583521</c:v>
                </c:pt>
                <c:pt idx="190">
                  <c:v>87.63379576857821</c:v>
                </c:pt>
                <c:pt idx="191">
                  <c:v>86.574550307208696</c:v>
                </c:pt>
                <c:pt idx="192">
                  <c:v>86.933192471294447</c:v>
                </c:pt>
                <c:pt idx="193">
                  <c:v>86.60235202535489</c:v>
                </c:pt>
                <c:pt idx="194">
                  <c:v>87.152826044649288</c:v>
                </c:pt>
                <c:pt idx="195">
                  <c:v>84.823042063999281</c:v>
                </c:pt>
                <c:pt idx="196">
                  <c:v>83.513581139314127</c:v>
                </c:pt>
                <c:pt idx="197">
                  <c:v>82.142956434707386</c:v>
                </c:pt>
                <c:pt idx="198">
                  <c:v>83.413494953987851</c:v>
                </c:pt>
                <c:pt idx="199">
                  <c:v>84.303149934665655</c:v>
                </c:pt>
                <c:pt idx="200">
                  <c:v>83.104895882565231</c:v>
                </c:pt>
                <c:pt idx="201">
                  <c:v>83.060413133531327</c:v>
                </c:pt>
                <c:pt idx="202">
                  <c:v>85.000973060134783</c:v>
                </c:pt>
                <c:pt idx="203">
                  <c:v>86.874808863187411</c:v>
                </c:pt>
                <c:pt idx="204">
                  <c:v>87.508688036920347</c:v>
                </c:pt>
                <c:pt idx="205">
                  <c:v>86.841446801412005</c:v>
                </c:pt>
                <c:pt idx="206">
                  <c:v>86.908170924962846</c:v>
                </c:pt>
                <c:pt idx="207">
                  <c:v>86.232589174010641</c:v>
                </c:pt>
                <c:pt idx="208">
                  <c:v>84.714615363229143</c:v>
                </c:pt>
                <c:pt idx="209">
                  <c:v>83.927826739692208</c:v>
                </c:pt>
                <c:pt idx="210">
                  <c:v>84.533904195278964</c:v>
                </c:pt>
                <c:pt idx="211">
                  <c:v>84.517223164391254</c:v>
                </c:pt>
                <c:pt idx="212">
                  <c:v>85.356835052405927</c:v>
                </c:pt>
                <c:pt idx="213">
                  <c:v>86.699658038866474</c:v>
                </c:pt>
                <c:pt idx="214">
                  <c:v>87.461425116071823</c:v>
                </c:pt>
                <c:pt idx="215">
                  <c:v>86.635714087130239</c:v>
                </c:pt>
                <c:pt idx="216">
                  <c:v>85.076037699129458</c:v>
                </c:pt>
                <c:pt idx="217">
                  <c:v>85.520865189468367</c:v>
                </c:pt>
                <c:pt idx="218">
                  <c:v>87.225110511829286</c:v>
                </c:pt>
                <c:pt idx="219">
                  <c:v>88.820929133420108</c:v>
                </c:pt>
                <c:pt idx="220">
                  <c:v>88.31771803497422</c:v>
                </c:pt>
                <c:pt idx="221">
                  <c:v>89.076704940364962</c:v>
                </c:pt>
                <c:pt idx="222">
                  <c:v>88.137006867024041</c:v>
                </c:pt>
                <c:pt idx="223">
                  <c:v>88.164808585170235</c:v>
                </c:pt>
                <c:pt idx="224">
                  <c:v>88.78200672801546</c:v>
                </c:pt>
                <c:pt idx="225">
                  <c:v>87.661597486724361</c:v>
                </c:pt>
                <c:pt idx="226">
                  <c:v>87.861769857376856</c:v>
                </c:pt>
                <c:pt idx="227">
                  <c:v>87.603213878617382</c:v>
                </c:pt>
                <c:pt idx="228">
                  <c:v>87.995218104478525</c:v>
                </c:pt>
                <c:pt idx="229">
                  <c:v>88.437265423002827</c:v>
                </c:pt>
                <c:pt idx="230">
                  <c:v>88.395562845783545</c:v>
                </c:pt>
                <c:pt idx="231">
                  <c:v>87.970196558146981</c:v>
                </c:pt>
                <c:pt idx="232">
                  <c:v>89.5826962106255</c:v>
                </c:pt>
                <c:pt idx="233">
                  <c:v>90.105368511773705</c:v>
                </c:pt>
                <c:pt idx="234">
                  <c:v>90.730907170062792</c:v>
                </c:pt>
                <c:pt idx="235">
                  <c:v>91.723428507881451</c:v>
                </c:pt>
                <c:pt idx="236">
                  <c:v>91.4871139036389</c:v>
                </c:pt>
                <c:pt idx="237">
                  <c:v>91.120131224109301</c:v>
                </c:pt>
                <c:pt idx="238">
                  <c:v>91.437070810975769</c:v>
                </c:pt>
                <c:pt idx="239">
                  <c:v>90.755928716394337</c:v>
                </c:pt>
                <c:pt idx="240">
                  <c:v>91.798493146876126</c:v>
                </c:pt>
                <c:pt idx="241">
                  <c:v>91.562178542633575</c:v>
                </c:pt>
                <c:pt idx="242">
                  <c:v>90.861575245349812</c:v>
                </c:pt>
                <c:pt idx="243">
                  <c:v>90.639161500180364</c:v>
                </c:pt>
                <c:pt idx="244">
                  <c:v>91.759570741471478</c:v>
                </c:pt>
                <c:pt idx="245">
                  <c:v>91.801273318690747</c:v>
                </c:pt>
                <c:pt idx="246">
                  <c:v>91.779031944173809</c:v>
                </c:pt>
                <c:pt idx="247">
                  <c:v>92.232199949956552</c:v>
                </c:pt>
                <c:pt idx="248">
                  <c:v>91.717868164252181</c:v>
                </c:pt>
                <c:pt idx="249">
                  <c:v>91.981984486640911</c:v>
                </c:pt>
                <c:pt idx="250">
                  <c:v>91.270260502098665</c:v>
                </c:pt>
                <c:pt idx="251">
                  <c:v>91.389807890127244</c:v>
                </c:pt>
                <c:pt idx="252">
                  <c:v>91.80683366231996</c:v>
                </c:pt>
                <c:pt idx="253">
                  <c:v>90.758708888208915</c:v>
                </c:pt>
                <c:pt idx="254">
                  <c:v>89.496510884372285</c:v>
                </c:pt>
                <c:pt idx="255">
                  <c:v>89.243515249242023</c:v>
                </c:pt>
                <c:pt idx="256">
                  <c:v>87.697739720314331</c:v>
                </c:pt>
                <c:pt idx="257">
                  <c:v>87.547610442324938</c:v>
                </c:pt>
                <c:pt idx="258">
                  <c:v>86.599571853540169</c:v>
                </c:pt>
                <c:pt idx="259">
                  <c:v>87.444744085184084</c:v>
                </c:pt>
                <c:pt idx="260">
                  <c:v>87.639356112207366</c:v>
                </c:pt>
                <c:pt idx="261">
                  <c:v>86.877589035001989</c:v>
                </c:pt>
                <c:pt idx="262">
                  <c:v>87.222330340014636</c:v>
                </c:pt>
                <c:pt idx="263">
                  <c:v>87.900692262781462</c:v>
                </c:pt>
                <c:pt idx="264">
                  <c:v>91.181295004030844</c:v>
                </c:pt>
                <c:pt idx="265">
                  <c:v>92.365648197058164</c:v>
                </c:pt>
                <c:pt idx="266">
                  <c:v>92.040368094747834</c:v>
                </c:pt>
                <c:pt idx="267">
                  <c:v>91.27582084572785</c:v>
                </c:pt>
                <c:pt idx="268">
                  <c:v>91.804053490505282</c:v>
                </c:pt>
                <c:pt idx="269">
                  <c:v>93.074592009785761</c:v>
                </c:pt>
                <c:pt idx="270">
                  <c:v>93.433234173871512</c:v>
                </c:pt>
                <c:pt idx="271">
                  <c:v>93.422113486613028</c:v>
                </c:pt>
                <c:pt idx="272">
                  <c:v>93.369290222135291</c:v>
                </c:pt>
                <c:pt idx="273">
                  <c:v>94.778837332146693</c:v>
                </c:pt>
                <c:pt idx="274">
                  <c:v>95.618449220161381</c:v>
                </c:pt>
                <c:pt idx="275">
                  <c:v>95.373794100474996</c:v>
                </c:pt>
                <c:pt idx="276">
                  <c:v>96.844504990407984</c:v>
                </c:pt>
                <c:pt idx="277">
                  <c:v>97.656315160276478</c:v>
                </c:pt>
                <c:pt idx="278">
                  <c:v>99.549612166031437</c:v>
                </c:pt>
                <c:pt idx="279">
                  <c:v>99.118685534765618</c:v>
                </c:pt>
                <c:pt idx="280">
                  <c:v>99.905474158302567</c:v>
                </c:pt>
                <c:pt idx="281">
                  <c:v>102.4715727431951</c:v>
                </c:pt>
                <c:pt idx="282">
                  <c:v>101.61527982429271</c:v>
                </c:pt>
                <c:pt idx="283">
                  <c:v>102.59390030303828</c:v>
                </c:pt>
                <c:pt idx="284">
                  <c:v>101.25941783202158</c:v>
                </c:pt>
                <c:pt idx="285">
                  <c:v>102.60502099029677</c:v>
                </c:pt>
                <c:pt idx="286">
                  <c:v>102.69676666017915</c:v>
                </c:pt>
                <c:pt idx="287">
                  <c:v>101.51519363896644</c:v>
                </c:pt>
                <c:pt idx="288">
                  <c:v>101.46793071811794</c:v>
                </c:pt>
                <c:pt idx="289">
                  <c:v>101.65698240151195</c:v>
                </c:pt>
                <c:pt idx="290">
                  <c:v>102.10459006366547</c:v>
                </c:pt>
                <c:pt idx="291">
                  <c:v>100.86741360616041</c:v>
                </c:pt>
                <c:pt idx="292">
                  <c:v>102.23803831076714</c:v>
                </c:pt>
                <c:pt idx="293">
                  <c:v>102.05176679918772</c:v>
                </c:pt>
                <c:pt idx="294">
                  <c:v>102.99702521615788</c:v>
                </c:pt>
                <c:pt idx="295">
                  <c:v>102.6800856292914</c:v>
                </c:pt>
                <c:pt idx="296">
                  <c:v>104.7346326002942</c:v>
                </c:pt>
                <c:pt idx="297">
                  <c:v>104.58172315049021</c:v>
                </c:pt>
                <c:pt idx="298">
                  <c:v>104.50943868331014</c:v>
                </c:pt>
                <c:pt idx="299">
                  <c:v>104.24254218910679</c:v>
                </c:pt>
                <c:pt idx="300">
                  <c:v>103.68928799799777</c:v>
                </c:pt>
                <c:pt idx="301">
                  <c:v>102.87469765631464</c:v>
                </c:pt>
                <c:pt idx="302">
                  <c:v>104.13689566015127</c:v>
                </c:pt>
                <c:pt idx="303">
                  <c:v>103.83941727598712</c:v>
                </c:pt>
                <c:pt idx="304">
                  <c:v>103.86443882231866</c:v>
                </c:pt>
                <c:pt idx="305">
                  <c:v>103.45297339375517</c:v>
                </c:pt>
                <c:pt idx="306">
                  <c:v>101.91831855208596</c:v>
                </c:pt>
                <c:pt idx="307">
                  <c:v>102.28808140343017</c:v>
                </c:pt>
                <c:pt idx="308">
                  <c:v>101.91553838027133</c:v>
                </c:pt>
                <c:pt idx="309">
                  <c:v>102.16575384358697</c:v>
                </c:pt>
                <c:pt idx="310">
                  <c:v>102.81909422002222</c:v>
                </c:pt>
                <c:pt idx="311">
                  <c:v>104.61786538408016</c:v>
                </c:pt>
                <c:pt idx="312">
                  <c:v>104.35374906169143</c:v>
                </c:pt>
                <c:pt idx="313">
                  <c:v>104.3176068281014</c:v>
                </c:pt>
                <c:pt idx="314">
                  <c:v>103.22777947677109</c:v>
                </c:pt>
                <c:pt idx="315">
                  <c:v>105.50752036475794</c:v>
                </c:pt>
                <c:pt idx="316">
                  <c:v>105.35183074313932</c:v>
                </c:pt>
                <c:pt idx="317">
                  <c:v>105.58258500375261</c:v>
                </c:pt>
                <c:pt idx="318">
                  <c:v>104.35652923350602</c:v>
                </c:pt>
                <c:pt idx="319">
                  <c:v>105.27398593233001</c:v>
                </c:pt>
                <c:pt idx="320">
                  <c:v>103.85609830687476</c:v>
                </c:pt>
                <c:pt idx="321">
                  <c:v>103.7421112624754</c:v>
                </c:pt>
                <c:pt idx="322">
                  <c:v>104.98762823542434</c:v>
                </c:pt>
                <c:pt idx="323">
                  <c:v>105.75773582807355</c:v>
                </c:pt>
                <c:pt idx="324">
                  <c:v>105.97736940142838</c:v>
                </c:pt>
                <c:pt idx="325">
                  <c:v>107.76501987822783</c:v>
                </c:pt>
                <c:pt idx="326">
                  <c:v>108.55180850176477</c:v>
                </c:pt>
                <c:pt idx="327">
                  <c:v>107.99855431065575</c:v>
                </c:pt>
                <c:pt idx="328">
                  <c:v>106.81420111762841</c:v>
                </c:pt>
                <c:pt idx="329">
                  <c:v>105.91064527787752</c:v>
                </c:pt>
                <c:pt idx="330">
                  <c:v>106.1358391948616</c:v>
                </c:pt>
                <c:pt idx="331">
                  <c:v>106.41385637632341</c:v>
                </c:pt>
                <c:pt idx="332">
                  <c:v>105.43801606939245</c:v>
                </c:pt>
                <c:pt idx="333">
                  <c:v>105.37407211765621</c:v>
                </c:pt>
                <c:pt idx="334">
                  <c:v>103.88390002502089</c:v>
                </c:pt>
                <c:pt idx="335">
                  <c:v>104.35374906169136</c:v>
                </c:pt>
                <c:pt idx="336">
                  <c:v>105.72715393811271</c:v>
                </c:pt>
                <c:pt idx="337">
                  <c:v>105.79109788984893</c:v>
                </c:pt>
                <c:pt idx="338">
                  <c:v>105.86894270065825</c:v>
                </c:pt>
                <c:pt idx="339">
                  <c:v>105.66877033000573</c:v>
                </c:pt>
                <c:pt idx="340">
                  <c:v>104.90144290917114</c:v>
                </c:pt>
                <c:pt idx="341">
                  <c:v>105.23228335511067</c:v>
                </c:pt>
                <c:pt idx="342">
                  <c:v>106.55008479523966</c:v>
                </c:pt>
                <c:pt idx="343">
                  <c:v>104.46217576246144</c:v>
                </c:pt>
                <c:pt idx="344">
                  <c:v>104.74575328755249</c:v>
                </c:pt>
                <c:pt idx="345">
                  <c:v>103.3167449748388</c:v>
                </c:pt>
                <c:pt idx="346">
                  <c:v>102.46879257138028</c:v>
                </c:pt>
                <c:pt idx="347">
                  <c:v>103.47521476827205</c:v>
                </c:pt>
                <c:pt idx="348">
                  <c:v>103.53081820456443</c:v>
                </c:pt>
                <c:pt idx="349">
                  <c:v>103.50023631460363</c:v>
                </c:pt>
                <c:pt idx="350">
                  <c:v>104.3537490616914</c:v>
                </c:pt>
                <c:pt idx="351">
                  <c:v>104.58728349411932</c:v>
                </c:pt>
                <c:pt idx="352">
                  <c:v>104.24810253273591</c:v>
                </c:pt>
                <c:pt idx="353">
                  <c:v>104.94870583001969</c:v>
                </c:pt>
                <c:pt idx="354">
                  <c:v>106.18588228752475</c:v>
                </c:pt>
                <c:pt idx="355">
                  <c:v>106.4221968917673</c:v>
                </c:pt>
                <c:pt idx="356">
                  <c:v>107.58152853846305</c:v>
                </c:pt>
                <c:pt idx="357">
                  <c:v>108.37943784925844</c:v>
                </c:pt>
                <c:pt idx="358">
                  <c:v>107.88734743807103</c:v>
                </c:pt>
                <c:pt idx="359">
                  <c:v>107.79838194000325</c:v>
                </c:pt>
                <c:pt idx="360">
                  <c:v>107.06163640912943</c:v>
                </c:pt>
                <c:pt idx="361">
                  <c:v>106.6557313241952</c:v>
                </c:pt>
                <c:pt idx="362">
                  <c:v>105.48805916205561</c:v>
                </c:pt>
                <c:pt idx="363">
                  <c:v>105.24896438599845</c:v>
                </c:pt>
                <c:pt idx="364">
                  <c:v>105.93844699602373</c:v>
                </c:pt>
                <c:pt idx="365">
                  <c:v>104.71517139759173</c:v>
                </c:pt>
                <c:pt idx="366">
                  <c:v>104.98762823542432</c:v>
                </c:pt>
                <c:pt idx="367">
                  <c:v>106.28318830103636</c:v>
                </c:pt>
                <c:pt idx="368">
                  <c:v>105.68267118907885</c:v>
                </c:pt>
                <c:pt idx="369">
                  <c:v>105.25452472962765</c:v>
                </c:pt>
                <c:pt idx="370">
                  <c:v>104.28146459451131</c:v>
                </c:pt>
                <c:pt idx="371">
                  <c:v>104.37321026439372</c:v>
                </c:pt>
                <c:pt idx="372">
                  <c:v>105.02099029719975</c:v>
                </c:pt>
                <c:pt idx="373">
                  <c:v>103.1276932914448</c:v>
                </c:pt>
                <c:pt idx="374">
                  <c:v>103.04706830882088</c:v>
                </c:pt>
                <c:pt idx="375">
                  <c:v>103.30840445939498</c:v>
                </c:pt>
                <c:pt idx="376">
                  <c:v>104.08963273930267</c:v>
                </c:pt>
                <c:pt idx="377">
                  <c:v>103.18885707136641</c:v>
                </c:pt>
                <c:pt idx="378">
                  <c:v>105.06825321804826</c:v>
                </c:pt>
                <c:pt idx="379">
                  <c:v>104.94314548639043</c:v>
                </c:pt>
                <c:pt idx="380">
                  <c:v>103.79215435513851</c:v>
                </c:pt>
                <c:pt idx="381">
                  <c:v>104.00066724123489</c:v>
                </c:pt>
                <c:pt idx="382">
                  <c:v>105.0738135616775</c:v>
                </c:pt>
                <c:pt idx="383">
                  <c:v>104.56504211960238</c:v>
                </c:pt>
                <c:pt idx="384">
                  <c:v>104.46217576246151</c:v>
                </c:pt>
                <c:pt idx="385">
                  <c:v>104.80413689565952</c:v>
                </c:pt>
                <c:pt idx="386">
                  <c:v>105.71603325085427</c:v>
                </c:pt>
                <c:pt idx="387">
                  <c:v>106.31099001918254</c:v>
                </c:pt>
                <c:pt idx="388">
                  <c:v>106.07467541494002</c:v>
                </c:pt>
                <c:pt idx="389">
                  <c:v>105.97458922961376</c:v>
                </c:pt>
                <c:pt idx="390">
                  <c:v>107.13948121993874</c:v>
                </c:pt>
                <c:pt idx="391">
                  <c:v>106.81976146125766</c:v>
                </c:pt>
                <c:pt idx="392">
                  <c:v>106.44721843809883</c:v>
                </c:pt>
                <c:pt idx="393">
                  <c:v>105.48527899024096</c:v>
                </c:pt>
                <c:pt idx="394">
                  <c:v>105.26842558870074</c:v>
                </c:pt>
                <c:pt idx="395">
                  <c:v>105.91342544969214</c:v>
                </c:pt>
                <c:pt idx="396">
                  <c:v>105.90508493424829</c:v>
                </c:pt>
                <c:pt idx="397">
                  <c:v>106.5222830770935</c:v>
                </c:pt>
                <c:pt idx="398">
                  <c:v>107.50646389946833</c:v>
                </c:pt>
                <c:pt idx="399">
                  <c:v>107.81784314270557</c:v>
                </c:pt>
                <c:pt idx="400">
                  <c:v>107.62601128749691</c:v>
                </c:pt>
                <c:pt idx="401">
                  <c:v>107.64269231838462</c:v>
                </c:pt>
                <c:pt idx="402">
                  <c:v>107.05329589368557</c:v>
                </c:pt>
                <c:pt idx="403">
                  <c:v>108.59907142261325</c:v>
                </c:pt>
                <c:pt idx="404">
                  <c:v>108.58239039172555</c:v>
                </c:pt>
                <c:pt idx="405">
                  <c:v>108.23764908671291</c:v>
                </c:pt>
                <c:pt idx="406">
                  <c:v>107.62601128749692</c:v>
                </c:pt>
                <c:pt idx="407">
                  <c:v>107.87622675081255</c:v>
                </c:pt>
                <c:pt idx="408">
                  <c:v>108.32105424115144</c:v>
                </c:pt>
                <c:pt idx="409">
                  <c:v>108.39889905196075</c:v>
                </c:pt>
                <c:pt idx="410">
                  <c:v>108.24042925852751</c:v>
                </c:pt>
                <c:pt idx="411">
                  <c:v>107.19786482804571</c:v>
                </c:pt>
                <c:pt idx="412">
                  <c:v>104.66512830492861</c:v>
                </c:pt>
                <c:pt idx="413">
                  <c:v>105.48805916205558</c:v>
                </c:pt>
                <c:pt idx="414">
                  <c:v>108.59073090716939</c:v>
                </c:pt>
                <c:pt idx="415">
                  <c:v>108.79646362145112</c:v>
                </c:pt>
                <c:pt idx="416">
                  <c:v>109.58603241680268</c:v>
                </c:pt>
                <c:pt idx="417">
                  <c:v>109.4970669187349</c:v>
                </c:pt>
                <c:pt idx="418">
                  <c:v>109.27743334538006</c:v>
                </c:pt>
                <c:pt idx="419">
                  <c:v>110.27273485501335</c:v>
                </c:pt>
                <c:pt idx="420">
                  <c:v>110.22547193416486</c:v>
                </c:pt>
                <c:pt idx="421">
                  <c:v>109.93633406544456</c:v>
                </c:pt>
                <c:pt idx="422">
                  <c:v>109.0244377102498</c:v>
                </c:pt>
                <c:pt idx="423">
                  <c:v>108.41836025466306</c:v>
                </c:pt>
                <c:pt idx="424">
                  <c:v>108.18760599404973</c:v>
                </c:pt>
                <c:pt idx="425">
                  <c:v>108.17648530679128</c:v>
                </c:pt>
                <c:pt idx="426">
                  <c:v>108.02913620061652</c:v>
                </c:pt>
                <c:pt idx="427">
                  <c:v>106.91428730295466</c:v>
                </c:pt>
                <c:pt idx="428">
                  <c:v>107.06163640912942</c:v>
                </c:pt>
                <c:pt idx="429">
                  <c:v>107.68717506741851</c:v>
                </c:pt>
                <c:pt idx="430">
                  <c:v>106.6446106369367</c:v>
                </c:pt>
                <c:pt idx="431">
                  <c:v>107.25346826433807</c:v>
                </c:pt>
                <c:pt idx="432">
                  <c:v>107.17562345352877</c:v>
                </c:pt>
                <c:pt idx="433">
                  <c:v>107.57596819483379</c:v>
                </c:pt>
                <c:pt idx="434">
                  <c:v>107.74833884734014</c:v>
                </c:pt>
                <c:pt idx="435">
                  <c:v>107.8484250326664</c:v>
                </c:pt>
                <c:pt idx="436">
                  <c:v>107.29239066974276</c:v>
                </c:pt>
                <c:pt idx="437">
                  <c:v>107.7900414245594</c:v>
                </c:pt>
                <c:pt idx="438">
                  <c:v>107.55928716394611</c:v>
                </c:pt>
                <c:pt idx="439">
                  <c:v>107.45086046317601</c:v>
                </c:pt>
                <c:pt idx="440">
                  <c:v>107.28683032611353</c:v>
                </c:pt>
                <c:pt idx="441">
                  <c:v>107.8317440017787</c:v>
                </c:pt>
                <c:pt idx="442">
                  <c:v>108.20428702493753</c:v>
                </c:pt>
                <c:pt idx="443">
                  <c:v>107.94295087436342</c:v>
                </c:pt>
                <c:pt idx="444">
                  <c:v>106.88926575662315</c:v>
                </c:pt>
                <c:pt idx="445">
                  <c:v>105.99127026050148</c:v>
                </c:pt>
                <c:pt idx="446">
                  <c:v>105.50752036475792</c:v>
                </c:pt>
                <c:pt idx="447">
                  <c:v>105.83280046706827</c:v>
                </c:pt>
                <c:pt idx="448">
                  <c:v>104.75687397481106</c:v>
                </c:pt>
                <c:pt idx="449">
                  <c:v>105.79943840529285</c:v>
                </c:pt>
                <c:pt idx="450">
                  <c:v>106.04965386860847</c:v>
                </c:pt>
                <c:pt idx="451">
                  <c:v>107.44530011954677</c:v>
                </c:pt>
                <c:pt idx="452">
                  <c:v>108.70749812338339</c:v>
                </c:pt>
                <c:pt idx="453">
                  <c:v>109.20514887820002</c:v>
                </c:pt>
                <c:pt idx="454">
                  <c:v>108.96049375851364</c:v>
                </c:pt>
                <c:pt idx="455">
                  <c:v>109.12174372376148</c:v>
                </c:pt>
                <c:pt idx="456">
                  <c:v>108.43226111373619</c:v>
                </c:pt>
                <c:pt idx="457">
                  <c:v>107.82340348633483</c:v>
                </c:pt>
                <c:pt idx="458">
                  <c:v>107.85398537629564</c:v>
                </c:pt>
                <c:pt idx="459">
                  <c:v>107.05607606550024</c:v>
                </c:pt>
                <c:pt idx="460">
                  <c:v>106.81420111762846</c:v>
                </c:pt>
                <c:pt idx="461">
                  <c:v>108.29325252300531</c:v>
                </c:pt>
                <c:pt idx="462">
                  <c:v>108.83816619867048</c:v>
                </c:pt>
                <c:pt idx="463">
                  <c:v>109.24963162723395</c:v>
                </c:pt>
                <c:pt idx="464">
                  <c:v>109.11062303650306</c:v>
                </c:pt>
                <c:pt idx="465">
                  <c:v>108.79368344963659</c:v>
                </c:pt>
                <c:pt idx="466">
                  <c:v>108.5045455809163</c:v>
                </c:pt>
                <c:pt idx="467">
                  <c:v>108.06805860602125</c:v>
                </c:pt>
                <c:pt idx="468">
                  <c:v>108.41836025466314</c:v>
                </c:pt>
                <c:pt idx="469">
                  <c:v>109.46092468514495</c:v>
                </c:pt>
                <c:pt idx="470">
                  <c:v>109.23017042453164</c:v>
                </c:pt>
                <c:pt idx="471">
                  <c:v>109.29411437626786</c:v>
                </c:pt>
                <c:pt idx="472">
                  <c:v>110.3005365731596</c:v>
                </c:pt>
                <c:pt idx="473">
                  <c:v>110.48680808473901</c:v>
                </c:pt>
                <c:pt idx="474">
                  <c:v>110.41452361755893</c:v>
                </c:pt>
                <c:pt idx="475">
                  <c:v>106.37493397091879</c:v>
                </c:pt>
                <c:pt idx="476">
                  <c:v>107.10333898634873</c:v>
                </c:pt>
                <c:pt idx="477">
                  <c:v>105.48527899024099</c:v>
                </c:pt>
                <c:pt idx="478">
                  <c:v>105.23784369873997</c:v>
                </c:pt>
                <c:pt idx="479">
                  <c:v>105.66320998637654</c:v>
                </c:pt>
                <c:pt idx="480">
                  <c:v>104.57338263504624</c:v>
                </c:pt>
                <c:pt idx="481">
                  <c:v>104.35096888987678</c:v>
                </c:pt>
                <c:pt idx="482">
                  <c:v>105.07937390530672</c:v>
                </c:pt>
                <c:pt idx="483">
                  <c:v>104.68736967944557</c:v>
                </c:pt>
                <c:pt idx="484">
                  <c:v>104.31760682810136</c:v>
                </c:pt>
                <c:pt idx="485">
                  <c:v>106.03575300953536</c:v>
                </c:pt>
                <c:pt idx="486">
                  <c:v>105.91342544969217</c:v>
                </c:pt>
                <c:pt idx="487">
                  <c:v>105.66599015819116</c:v>
                </c:pt>
                <c:pt idx="488">
                  <c:v>104.92368428368812</c:v>
                </c:pt>
                <c:pt idx="489">
                  <c:v>105.39353332035856</c:v>
                </c:pt>
                <c:pt idx="490">
                  <c:v>105.16277905974525</c:v>
                </c:pt>
                <c:pt idx="491">
                  <c:v>105.06269287441899</c:v>
                </c:pt>
                <c:pt idx="492">
                  <c:v>105.00708943812663</c:v>
                </c:pt>
                <c:pt idx="493">
                  <c:v>106.07745558675461</c:v>
                </c:pt>
                <c:pt idx="494">
                  <c:v>106.8892657566231</c:v>
                </c:pt>
                <c:pt idx="495">
                  <c:v>106.88648558480847</c:v>
                </c:pt>
                <c:pt idx="496">
                  <c:v>106.40829603269415</c:v>
                </c:pt>
                <c:pt idx="497">
                  <c:v>106.6140287469759</c:v>
                </c:pt>
                <c:pt idx="498">
                  <c:v>106.34713225277255</c:v>
                </c:pt>
                <c:pt idx="499">
                  <c:v>107.60376991297996</c:v>
                </c:pt>
                <c:pt idx="500">
                  <c:v>110.32277794767649</c:v>
                </c:pt>
                <c:pt idx="501">
                  <c:v>111.02060107314563</c:v>
                </c:pt>
                <c:pt idx="502">
                  <c:v>112.55247574300023</c:v>
                </c:pt>
                <c:pt idx="503">
                  <c:v>113.00286357696835</c:v>
                </c:pt>
                <c:pt idx="504">
                  <c:v>115.4160527120569</c:v>
                </c:pt>
                <c:pt idx="505">
                  <c:v>115.9581862159074</c:v>
                </c:pt>
                <c:pt idx="506">
                  <c:v>116.00544913675591</c:v>
                </c:pt>
                <c:pt idx="507">
                  <c:v>116.58372487419649</c:v>
                </c:pt>
                <c:pt idx="508">
                  <c:v>116.2000611637792</c:v>
                </c:pt>
                <c:pt idx="509">
                  <c:v>116.04437154216059</c:v>
                </c:pt>
                <c:pt idx="510">
                  <c:v>116.23898356918387</c:v>
                </c:pt>
                <c:pt idx="511">
                  <c:v>116.10275515026758</c:v>
                </c:pt>
                <c:pt idx="512">
                  <c:v>115.40493202479844</c:v>
                </c:pt>
                <c:pt idx="513">
                  <c:v>115.19363896688745</c:v>
                </c:pt>
                <c:pt idx="514">
                  <c:v>116.88954377380452</c:v>
                </c:pt>
                <c:pt idx="515">
                  <c:v>116.98128944368693</c:v>
                </c:pt>
                <c:pt idx="516">
                  <c:v>116.2695654591447</c:v>
                </c:pt>
                <c:pt idx="517">
                  <c:v>116.45027662709489</c:v>
                </c:pt>
                <c:pt idx="518">
                  <c:v>115.75523367344036</c:v>
                </c:pt>
                <c:pt idx="519">
                  <c:v>114.7210097584024</c:v>
                </c:pt>
                <c:pt idx="520">
                  <c:v>116.24732408462775</c:v>
                </c:pt>
                <c:pt idx="521">
                  <c:v>115.36600961939379</c:v>
                </c:pt>
                <c:pt idx="522">
                  <c:v>115.51057855375393</c:v>
                </c:pt>
                <c:pt idx="523">
                  <c:v>115.37435013483764</c:v>
                </c:pt>
                <c:pt idx="524">
                  <c:v>115.36600961939378</c:v>
                </c:pt>
                <c:pt idx="525">
                  <c:v>114.0815702410402</c:v>
                </c:pt>
                <c:pt idx="526">
                  <c:v>114.44021240512595</c:v>
                </c:pt>
                <c:pt idx="527">
                  <c:v>113.65064360977441</c:v>
                </c:pt>
                <c:pt idx="528">
                  <c:v>113.85637632405616</c:v>
                </c:pt>
                <c:pt idx="529">
                  <c:v>115.05741054797119</c:v>
                </c:pt>
                <c:pt idx="530">
                  <c:v>115.05463037615657</c:v>
                </c:pt>
                <c:pt idx="531">
                  <c:v>115.04907003252734</c:v>
                </c:pt>
                <c:pt idx="532">
                  <c:v>114.29008312713658</c:v>
                </c:pt>
                <c:pt idx="533">
                  <c:v>115.03516917345425</c:v>
                </c:pt>
                <c:pt idx="534">
                  <c:v>115.03238900163964</c:v>
                </c:pt>
                <c:pt idx="535">
                  <c:v>115.96930690316596</c:v>
                </c:pt>
                <c:pt idx="536">
                  <c:v>115.01292779893733</c:v>
                </c:pt>
                <c:pt idx="537">
                  <c:v>114.67652700936854</c:v>
                </c:pt>
                <c:pt idx="538">
                  <c:v>113.25863938391331</c:v>
                </c:pt>
                <c:pt idx="539">
                  <c:v>113.5032945035997</c:v>
                </c:pt>
                <c:pt idx="540">
                  <c:v>115.07131140704432</c:v>
                </c:pt>
                <c:pt idx="541">
                  <c:v>114.39294948427749</c:v>
                </c:pt>
                <c:pt idx="542">
                  <c:v>114.61814340126159</c:v>
                </c:pt>
                <c:pt idx="543">
                  <c:v>114.1121521310011</c:v>
                </c:pt>
                <c:pt idx="544">
                  <c:v>115.47443632016397</c:v>
                </c:pt>
                <c:pt idx="545">
                  <c:v>115.06019071978588</c:v>
                </c:pt>
                <c:pt idx="546">
                  <c:v>114.73769078929017</c:v>
                </c:pt>
                <c:pt idx="547">
                  <c:v>114.66818649392471</c:v>
                </c:pt>
                <c:pt idx="548">
                  <c:v>114.77939336650945</c:v>
                </c:pt>
                <c:pt idx="549">
                  <c:v>113.80077288776387</c:v>
                </c:pt>
                <c:pt idx="550">
                  <c:v>113.01676443604156</c:v>
                </c:pt>
                <c:pt idx="551">
                  <c:v>112.4412688704156</c:v>
                </c:pt>
                <c:pt idx="552">
                  <c:v>112.65534210014118</c:v>
                </c:pt>
                <c:pt idx="553">
                  <c:v>113.12241096499703</c:v>
                </c:pt>
                <c:pt idx="554">
                  <c:v>112.32728182601625</c:v>
                </c:pt>
                <c:pt idx="555">
                  <c:v>112.2883594206116</c:v>
                </c:pt>
                <c:pt idx="556">
                  <c:v>112.83049292446213</c:v>
                </c:pt>
                <c:pt idx="557">
                  <c:v>112.98340237426612</c:v>
                </c:pt>
                <c:pt idx="558">
                  <c:v>113.87027718312932</c:v>
                </c:pt>
                <c:pt idx="559">
                  <c:v>113.75072979510074</c:v>
                </c:pt>
                <c:pt idx="560">
                  <c:v>113.93144096305093</c:v>
                </c:pt>
                <c:pt idx="561">
                  <c:v>114.34846673524365</c:v>
                </c:pt>
                <c:pt idx="562">
                  <c:v>113.96202285301173</c:v>
                </c:pt>
                <c:pt idx="563">
                  <c:v>113.67566515610605</c:v>
                </c:pt>
                <c:pt idx="564">
                  <c:v>113.29756178931798</c:v>
                </c:pt>
                <c:pt idx="565">
                  <c:v>113.39208763101499</c:v>
                </c:pt>
                <c:pt idx="566">
                  <c:v>112.17993271984147</c:v>
                </c:pt>
                <c:pt idx="567">
                  <c:v>112.04092412911058</c:v>
                </c:pt>
                <c:pt idx="568">
                  <c:v>112.23275598431924</c:v>
                </c:pt>
                <c:pt idx="569">
                  <c:v>112.38288526230862</c:v>
                </c:pt>
                <c:pt idx="570">
                  <c:v>111.34588117545606</c:v>
                </c:pt>
                <c:pt idx="571">
                  <c:v>111.63779921599097</c:v>
                </c:pt>
                <c:pt idx="572">
                  <c:v>112.76098862909669</c:v>
                </c:pt>
                <c:pt idx="573">
                  <c:v>110.66751925268925</c:v>
                </c:pt>
                <c:pt idx="574">
                  <c:v>109.67777808668519</c:v>
                </c:pt>
                <c:pt idx="575">
                  <c:v>111.38480358086071</c:v>
                </c:pt>
                <c:pt idx="576">
                  <c:v>112.39956629319633</c:v>
                </c:pt>
                <c:pt idx="577">
                  <c:v>112.89721704801295</c:v>
                </c:pt>
                <c:pt idx="578">
                  <c:v>114.65150546303698</c:v>
                </c:pt>
                <c:pt idx="579">
                  <c:v>115.73299229892343</c:v>
                </c:pt>
                <c:pt idx="580">
                  <c:v>115.66904834718724</c:v>
                </c:pt>
                <c:pt idx="581">
                  <c:v>114.03152714837717</c:v>
                </c:pt>
                <c:pt idx="582">
                  <c:v>114.05932886652334</c:v>
                </c:pt>
                <c:pt idx="583">
                  <c:v>113.93422113486552</c:v>
                </c:pt>
                <c:pt idx="584">
                  <c:v>114.43187188968217</c:v>
                </c:pt>
                <c:pt idx="585">
                  <c:v>113.71458756151067</c:v>
                </c:pt>
                <c:pt idx="586">
                  <c:v>113.55611776807744</c:v>
                </c:pt>
                <c:pt idx="587">
                  <c:v>113.73960910784223</c:v>
                </c:pt>
                <c:pt idx="588">
                  <c:v>114.54863910589607</c:v>
                </c:pt>
                <c:pt idx="589">
                  <c:v>115.36322944757919</c:v>
                </c:pt>
                <c:pt idx="590">
                  <c:v>114.69042786844162</c:v>
                </c:pt>
                <c:pt idx="591">
                  <c:v>115.90814312324437</c:v>
                </c:pt>
                <c:pt idx="592">
                  <c:v>115.88868192054203</c:v>
                </c:pt>
                <c:pt idx="593">
                  <c:v>115.87478106146895</c:v>
                </c:pt>
                <c:pt idx="594">
                  <c:v>115.61344491089484</c:v>
                </c:pt>
                <c:pt idx="595">
                  <c:v>115.66904834718719</c:v>
                </c:pt>
                <c:pt idx="596">
                  <c:v>116.34741026995401</c:v>
                </c:pt>
                <c:pt idx="597">
                  <c:v>115.73577247073803</c:v>
                </c:pt>
                <c:pt idx="598">
                  <c:v>115.78025521977192</c:v>
                </c:pt>
                <c:pt idx="599">
                  <c:v>114.86001834913331</c:v>
                </c:pt>
                <c:pt idx="600">
                  <c:v>114.01206594567478</c:v>
                </c:pt>
                <c:pt idx="601">
                  <c:v>114.76827267925093</c:v>
                </c:pt>
                <c:pt idx="602">
                  <c:v>115.75801384525498</c:v>
                </c:pt>
                <c:pt idx="603">
                  <c:v>115.4855570074224</c:v>
                </c:pt>
                <c:pt idx="604">
                  <c:v>114.70988907114396</c:v>
                </c:pt>
                <c:pt idx="605">
                  <c:v>115.10467346881973</c:v>
                </c:pt>
                <c:pt idx="606">
                  <c:v>114.37904862520442</c:v>
                </c:pt>
                <c:pt idx="607">
                  <c:v>114.5903416831154</c:v>
                </c:pt>
                <c:pt idx="608">
                  <c:v>115.86088020239588</c:v>
                </c:pt>
                <c:pt idx="609">
                  <c:v>115.47443632016397</c:v>
                </c:pt>
                <c:pt idx="610">
                  <c:v>116.01656982401451</c:v>
                </c:pt>
                <c:pt idx="611">
                  <c:v>114.96010453445963</c:v>
                </c:pt>
                <c:pt idx="612">
                  <c:v>115.263143262253</c:v>
                </c:pt>
                <c:pt idx="613">
                  <c:v>114.89338041090879</c:v>
                </c:pt>
                <c:pt idx="614">
                  <c:v>114.9545441908304</c:v>
                </c:pt>
                <c:pt idx="615">
                  <c:v>114.92118212905498</c:v>
                </c:pt>
                <c:pt idx="616">
                  <c:v>114.003725430231</c:v>
                </c:pt>
                <c:pt idx="617">
                  <c:v>113.22249715032332</c:v>
                </c:pt>
                <c:pt idx="618">
                  <c:v>113.72292807695459</c:v>
                </c:pt>
                <c:pt idx="619">
                  <c:v>113.92032027579246</c:v>
                </c:pt>
                <c:pt idx="620">
                  <c:v>114.06766938196725</c:v>
                </c:pt>
                <c:pt idx="621">
                  <c:v>113.51997553448747</c:v>
                </c:pt>
                <c:pt idx="622">
                  <c:v>111.8351914148289</c:v>
                </c:pt>
                <c:pt idx="623">
                  <c:v>111.47376907892854</c:v>
                </c:pt>
                <c:pt idx="624">
                  <c:v>112.22719564069007</c:v>
                </c:pt>
                <c:pt idx="625">
                  <c:v>112.15213100169537</c:v>
                </c:pt>
                <c:pt idx="626">
                  <c:v>112.33006199783092</c:v>
                </c:pt>
                <c:pt idx="627">
                  <c:v>112.27167838972393</c:v>
                </c:pt>
                <c:pt idx="628">
                  <c:v>112.07428619088606</c:v>
                </c:pt>
                <c:pt idx="629">
                  <c:v>112.16603186076844</c:v>
                </c:pt>
                <c:pt idx="630">
                  <c:v>113.6923461869938</c:v>
                </c:pt>
                <c:pt idx="631">
                  <c:v>113.46993244182435</c:v>
                </c:pt>
                <c:pt idx="632">
                  <c:v>114.78773388195336</c:v>
                </c:pt>
                <c:pt idx="633">
                  <c:v>114.47913481053074</c:v>
                </c:pt>
                <c:pt idx="634">
                  <c:v>115.05463037615669</c:v>
                </c:pt>
                <c:pt idx="635">
                  <c:v>113.75350996691542</c:v>
                </c:pt>
                <c:pt idx="636">
                  <c:v>114.06488921015264</c:v>
                </c:pt>
                <c:pt idx="637">
                  <c:v>115.1630570769268</c:v>
                </c:pt>
                <c:pt idx="638">
                  <c:v>115.27148377769691</c:v>
                </c:pt>
                <c:pt idx="639">
                  <c:v>115.34098807306236</c:v>
                </c:pt>
                <c:pt idx="640">
                  <c:v>116.12221635297004</c:v>
                </c:pt>
                <c:pt idx="641">
                  <c:v>115.96096638772219</c:v>
                </c:pt>
                <c:pt idx="642">
                  <c:v>116.08329394756539</c:v>
                </c:pt>
                <c:pt idx="643">
                  <c:v>115.54950095915871</c:v>
                </c:pt>
                <c:pt idx="644">
                  <c:v>115.02960882982512</c:v>
                </c:pt>
                <c:pt idx="645">
                  <c:v>115.03238900163976</c:v>
                </c:pt>
                <c:pt idx="646">
                  <c:v>114.24560037810282</c:v>
                </c:pt>
                <c:pt idx="647">
                  <c:v>114.5653201367839</c:v>
                </c:pt>
                <c:pt idx="648">
                  <c:v>114.43187188968224</c:v>
                </c:pt>
                <c:pt idx="649">
                  <c:v>114.41519085879453</c:v>
                </c:pt>
                <c:pt idx="650">
                  <c:v>116.07773360393617</c:v>
                </c:pt>
                <c:pt idx="651">
                  <c:v>117.38719452862131</c:v>
                </c:pt>
                <c:pt idx="652">
                  <c:v>117.85704356529178</c:v>
                </c:pt>
                <c:pt idx="653">
                  <c:v>117.93766854791569</c:v>
                </c:pt>
                <c:pt idx="654">
                  <c:v>118.18232366760209</c:v>
                </c:pt>
                <c:pt idx="655">
                  <c:v>117.97937112513497</c:v>
                </c:pt>
                <c:pt idx="656">
                  <c:v>117.37607384136284</c:v>
                </c:pt>
                <c:pt idx="657">
                  <c:v>116.93124635102393</c:v>
                </c:pt>
                <c:pt idx="658">
                  <c:v>116.45583697072425</c:v>
                </c:pt>
                <c:pt idx="659">
                  <c:v>116.60596624871364</c:v>
                </c:pt>
                <c:pt idx="660">
                  <c:v>116.46139731435349</c:v>
                </c:pt>
                <c:pt idx="661">
                  <c:v>116.15001807111625</c:v>
                </c:pt>
                <c:pt idx="662">
                  <c:v>116.13611721204317</c:v>
                </c:pt>
                <c:pt idx="663">
                  <c:v>116.74219466762995</c:v>
                </c:pt>
                <c:pt idx="664">
                  <c:v>116.97294892824324</c:v>
                </c:pt>
                <c:pt idx="665">
                  <c:v>117.1397592371203</c:v>
                </c:pt>
                <c:pt idx="666">
                  <c:v>116.26122494370098</c:v>
                </c:pt>
                <c:pt idx="667">
                  <c:v>116.28346631821795</c:v>
                </c:pt>
                <c:pt idx="668">
                  <c:v>115.33542772943316</c:v>
                </c:pt>
                <c:pt idx="669">
                  <c:v>114.18721676999587</c:v>
                </c:pt>
                <c:pt idx="670">
                  <c:v>114.43465206149688</c:v>
                </c:pt>
                <c:pt idx="671">
                  <c:v>114.96288470627429</c:v>
                </c:pt>
                <c:pt idx="672">
                  <c:v>114.96844504990351</c:v>
                </c:pt>
                <c:pt idx="673">
                  <c:v>115.33264755761847</c:v>
                </c:pt>
                <c:pt idx="674">
                  <c:v>115.1074536406344</c:v>
                </c:pt>
                <c:pt idx="675">
                  <c:v>115.67460869081651</c:v>
                </c:pt>
                <c:pt idx="676">
                  <c:v>116.20562150740859</c:v>
                </c:pt>
                <c:pt idx="677">
                  <c:v>116.20562150740859</c:v>
                </c:pt>
                <c:pt idx="678">
                  <c:v>115.95540604409295</c:v>
                </c:pt>
                <c:pt idx="679">
                  <c:v>115.22144068503376</c:v>
                </c:pt>
                <c:pt idx="680">
                  <c:v>115.75523367344043</c:v>
                </c:pt>
                <c:pt idx="681">
                  <c:v>116.75331535488833</c:v>
                </c:pt>
                <c:pt idx="682">
                  <c:v>116.65044899774746</c:v>
                </c:pt>
                <c:pt idx="683">
                  <c:v>118.23236676026519</c:v>
                </c:pt>
                <c:pt idx="684">
                  <c:v>116.70327226222523</c:v>
                </c:pt>
                <c:pt idx="685">
                  <c:v>116.74497483944451</c:v>
                </c:pt>
                <c:pt idx="686">
                  <c:v>116.74775501125913</c:v>
                </c:pt>
                <c:pt idx="687">
                  <c:v>117.58180655564456</c:v>
                </c:pt>
                <c:pt idx="688">
                  <c:v>117.36217298228972</c:v>
                </c:pt>
                <c:pt idx="689">
                  <c:v>115.97208707498065</c:v>
                </c:pt>
                <c:pt idx="690">
                  <c:v>116.0554922294192</c:v>
                </c:pt>
                <c:pt idx="691">
                  <c:v>116.34184992632488</c:v>
                </c:pt>
                <c:pt idx="692">
                  <c:v>115.19641913870221</c:v>
                </c:pt>
                <c:pt idx="693">
                  <c:v>115.82751814062053</c:v>
                </c:pt>
                <c:pt idx="694">
                  <c:v>115.87756123328364</c:v>
                </c:pt>
                <c:pt idx="695">
                  <c:v>116.15557841474546</c:v>
                </c:pt>
                <c:pt idx="696">
                  <c:v>115.73577247073814</c:v>
                </c:pt>
                <c:pt idx="697">
                  <c:v>114.11771247463039</c:v>
                </c:pt>
                <c:pt idx="698">
                  <c:v>113.31146264839111</c:v>
                </c:pt>
                <c:pt idx="699">
                  <c:v>113.203035947621</c:v>
                </c:pt>
                <c:pt idx="700">
                  <c:v>112.38844560593789</c:v>
                </c:pt>
                <c:pt idx="701">
                  <c:v>113.36150574105423</c:v>
                </c:pt>
                <c:pt idx="702">
                  <c:v>111.9463982874136</c:v>
                </c:pt>
                <c:pt idx="703">
                  <c:v>113.27532041480104</c:v>
                </c:pt>
                <c:pt idx="704">
                  <c:v>113.79243237232002</c:v>
                </c:pt>
                <c:pt idx="705">
                  <c:v>113.81189357502234</c:v>
                </c:pt>
                <c:pt idx="706">
                  <c:v>113.87583752675857</c:v>
                </c:pt>
                <c:pt idx="707">
                  <c:v>114.46801412327221</c:v>
                </c:pt>
                <c:pt idx="708">
                  <c:v>115.37156996302309</c:v>
                </c:pt>
                <c:pt idx="709">
                  <c:v>115.510578553754</c:v>
                </c:pt>
                <c:pt idx="710">
                  <c:v>115.56340181823174</c:v>
                </c:pt>
                <c:pt idx="711">
                  <c:v>115.34932858850613</c:v>
                </c:pt>
                <c:pt idx="712">
                  <c:v>115.12691484333669</c:v>
                </c:pt>
                <c:pt idx="713">
                  <c:v>116.25566460007165</c:v>
                </c:pt>
                <c:pt idx="714">
                  <c:v>116.34741026995404</c:v>
                </c:pt>
                <c:pt idx="715">
                  <c:v>116.80335844755142</c:v>
                </c:pt>
                <c:pt idx="716">
                  <c:v>117.00631099001855</c:v>
                </c:pt>
                <c:pt idx="717">
                  <c:v>116.40023353443179</c:v>
                </c:pt>
                <c:pt idx="718">
                  <c:v>117.53176346298137</c:v>
                </c:pt>
                <c:pt idx="719">
                  <c:v>116.74497483944445</c:v>
                </c:pt>
                <c:pt idx="720">
                  <c:v>115.96374655953676</c:v>
                </c:pt>
                <c:pt idx="721">
                  <c:v>116.30570769273479</c:v>
                </c:pt>
                <c:pt idx="722">
                  <c:v>116.09441463482381</c:v>
                </c:pt>
                <c:pt idx="723">
                  <c:v>116.37521198810026</c:v>
                </c:pt>
                <c:pt idx="724">
                  <c:v>116.38355250354414</c:v>
                </c:pt>
                <c:pt idx="725">
                  <c:v>117.3788540131774</c:v>
                </c:pt>
                <c:pt idx="726">
                  <c:v>117.56512552475682</c:v>
                </c:pt>
                <c:pt idx="727">
                  <c:v>117.44279796491362</c:v>
                </c:pt>
                <c:pt idx="728">
                  <c:v>116.95626789735545</c:v>
                </c:pt>
                <c:pt idx="729">
                  <c:v>116.56426367149429</c:v>
                </c:pt>
                <c:pt idx="730">
                  <c:v>117.5595651811276</c:v>
                </c:pt>
                <c:pt idx="731">
                  <c:v>117.77085823903857</c:v>
                </c:pt>
                <c:pt idx="732">
                  <c:v>118.61603047068246</c:v>
                </c:pt>
                <c:pt idx="733">
                  <c:v>118.19066418304591</c:v>
                </c:pt>
                <c:pt idx="734">
                  <c:v>118.87736662125658</c:v>
                </c:pt>
                <c:pt idx="735">
                  <c:v>119.32219411159548</c:v>
                </c:pt>
                <c:pt idx="736">
                  <c:v>119.59187077761345</c:v>
                </c:pt>
                <c:pt idx="737">
                  <c:v>119.92271122355299</c:v>
                </c:pt>
                <c:pt idx="738">
                  <c:v>119.76424143011975</c:v>
                </c:pt>
                <c:pt idx="739">
                  <c:v>119.51680613861875</c:v>
                </c:pt>
                <c:pt idx="740">
                  <c:v>119.52236648224799</c:v>
                </c:pt>
                <c:pt idx="741">
                  <c:v>120.1201034223909</c:v>
                </c:pt>
                <c:pt idx="742">
                  <c:v>121.02365926214178</c:v>
                </c:pt>
                <c:pt idx="743">
                  <c:v>121.49072812699764</c:v>
                </c:pt>
                <c:pt idx="744">
                  <c:v>121.1181851038388</c:v>
                </c:pt>
                <c:pt idx="745">
                  <c:v>120.83738775056236</c:v>
                </c:pt>
                <c:pt idx="746">
                  <c:v>120.58439211543211</c:v>
                </c:pt>
                <c:pt idx="747">
                  <c:v>120.33695682393109</c:v>
                </c:pt>
                <c:pt idx="748">
                  <c:v>120.26189218493641</c:v>
                </c:pt>
                <c:pt idx="749">
                  <c:v>119.9699741444015</c:v>
                </c:pt>
                <c:pt idx="750">
                  <c:v>121.0570213239172</c:v>
                </c:pt>
                <c:pt idx="751">
                  <c:v>122.68342183546879</c:v>
                </c:pt>
                <c:pt idx="752">
                  <c:v>122.52217187022094</c:v>
                </c:pt>
                <c:pt idx="753">
                  <c:v>122.41374516945085</c:v>
                </c:pt>
                <c:pt idx="754">
                  <c:v>122.05788317717972</c:v>
                </c:pt>
                <c:pt idx="755">
                  <c:v>122.26361589146144</c:v>
                </c:pt>
                <c:pt idx="756">
                  <c:v>122.09124523895511</c:v>
                </c:pt>
                <c:pt idx="757">
                  <c:v>121.76596513664479</c:v>
                </c:pt>
                <c:pt idx="758">
                  <c:v>121.99949956907271</c:v>
                </c:pt>
                <c:pt idx="759">
                  <c:v>121.13486613472647</c:v>
                </c:pt>
                <c:pt idx="760">
                  <c:v>121.04312046484408</c:v>
                </c:pt>
                <c:pt idx="761">
                  <c:v>120.75398259612379</c:v>
                </c:pt>
                <c:pt idx="762">
                  <c:v>120.80402568878691</c:v>
                </c:pt>
                <c:pt idx="763">
                  <c:v>119.75034057104664</c:v>
                </c:pt>
                <c:pt idx="764">
                  <c:v>119.28327170619079</c:v>
                </c:pt>
                <c:pt idx="765">
                  <c:v>119.81150435096824</c:v>
                </c:pt>
                <c:pt idx="766">
                  <c:v>119.83652589729978</c:v>
                </c:pt>
                <c:pt idx="767">
                  <c:v>120.38978008840877</c:v>
                </c:pt>
                <c:pt idx="768">
                  <c:v>121.19881008646266</c:v>
                </c:pt>
                <c:pt idx="769">
                  <c:v>121.53521087603143</c:v>
                </c:pt>
                <c:pt idx="770">
                  <c:v>121.44902554977827</c:v>
                </c:pt>
                <c:pt idx="771">
                  <c:v>120.97361616947857</c:v>
                </c:pt>
                <c:pt idx="772">
                  <c:v>120.48430593010579</c:v>
                </c:pt>
                <c:pt idx="773">
                  <c:v>121.07370235480484</c:v>
                </c:pt>
                <c:pt idx="774">
                  <c:v>121.24607300731117</c:v>
                </c:pt>
                <c:pt idx="775">
                  <c:v>122.33034001501221</c:v>
                </c:pt>
                <c:pt idx="776">
                  <c:v>122.3136589841245</c:v>
                </c:pt>
                <c:pt idx="777">
                  <c:v>121.80210737023476</c:v>
                </c:pt>
                <c:pt idx="778">
                  <c:v>121.95501682003876</c:v>
                </c:pt>
                <c:pt idx="779">
                  <c:v>121.98837888181417</c:v>
                </c:pt>
                <c:pt idx="780">
                  <c:v>123.02816314048137</c:v>
                </c:pt>
                <c:pt idx="781">
                  <c:v>123.03928382773984</c:v>
                </c:pt>
                <c:pt idx="782">
                  <c:v>124.32928354972265</c:v>
                </c:pt>
                <c:pt idx="783">
                  <c:v>124.98540409797253</c:v>
                </c:pt>
                <c:pt idx="784">
                  <c:v>124.81025327365158</c:v>
                </c:pt>
                <c:pt idx="785">
                  <c:v>124.50999471767283</c:v>
                </c:pt>
                <c:pt idx="786">
                  <c:v>123.80939142038905</c:v>
                </c:pt>
                <c:pt idx="787">
                  <c:v>124.05960688370469</c:v>
                </c:pt>
                <c:pt idx="788">
                  <c:v>124.45717145319507</c:v>
                </c:pt>
                <c:pt idx="789">
                  <c:v>123.60087853429266</c:v>
                </c:pt>
                <c:pt idx="790">
                  <c:v>120.63443520809513</c:v>
                </c:pt>
                <c:pt idx="791">
                  <c:v>120.46484472740342</c:v>
                </c:pt>
                <c:pt idx="792">
                  <c:v>120.07562067335687</c:v>
                </c:pt>
                <c:pt idx="793">
                  <c:v>120.7206205343483</c:v>
                </c:pt>
                <c:pt idx="794">
                  <c:v>121.00419805943933</c:v>
                </c:pt>
                <c:pt idx="795">
                  <c:v>120.88187049959615</c:v>
                </c:pt>
                <c:pt idx="796">
                  <c:v>122.56943479106934</c:v>
                </c:pt>
                <c:pt idx="797">
                  <c:v>122.97812004781822</c:v>
                </c:pt>
                <c:pt idx="798">
                  <c:v>123.26725791653854</c:v>
                </c:pt>
                <c:pt idx="799">
                  <c:v>122.88637437793587</c:v>
                </c:pt>
                <c:pt idx="800">
                  <c:v>124.52389557674594</c:v>
                </c:pt>
                <c:pt idx="801">
                  <c:v>124.90199894353401</c:v>
                </c:pt>
                <c:pt idx="802">
                  <c:v>124.36820595512732</c:v>
                </c:pt>
                <c:pt idx="803">
                  <c:v>124.0262448219293</c:v>
                </c:pt>
                <c:pt idx="804">
                  <c:v>126.41719258250087</c:v>
                </c:pt>
                <c:pt idx="805">
                  <c:v>126.33100725624772</c:v>
                </c:pt>
                <c:pt idx="806">
                  <c:v>126.86758041646902</c:v>
                </c:pt>
                <c:pt idx="807">
                  <c:v>126.14195557285369</c:v>
                </c:pt>
                <c:pt idx="808">
                  <c:v>125.06046873696722</c:v>
                </c:pt>
                <c:pt idx="809">
                  <c:v>125.50529622730613</c:v>
                </c:pt>
                <c:pt idx="810">
                  <c:v>125.48861519641844</c:v>
                </c:pt>
                <c:pt idx="811">
                  <c:v>124.63788262114531</c:v>
                </c:pt>
                <c:pt idx="812">
                  <c:v>125.63318413077857</c:v>
                </c:pt>
                <c:pt idx="813">
                  <c:v>125.15777475047888</c:v>
                </c:pt>
                <c:pt idx="814">
                  <c:v>124.79635241457852</c:v>
                </c:pt>
                <c:pt idx="815">
                  <c:v>124.7629903528031</c:v>
                </c:pt>
                <c:pt idx="816">
                  <c:v>124.57115849759445</c:v>
                </c:pt>
                <c:pt idx="817">
                  <c:v>125.35238677750216</c:v>
                </c:pt>
                <c:pt idx="818">
                  <c:v>124.49053351497054</c:v>
                </c:pt>
                <c:pt idx="819">
                  <c:v>125.32180488754135</c:v>
                </c:pt>
                <c:pt idx="820">
                  <c:v>125.65542550529554</c:v>
                </c:pt>
                <c:pt idx="821">
                  <c:v>125.57202035085699</c:v>
                </c:pt>
                <c:pt idx="822">
                  <c:v>125.19113681225431</c:v>
                </c:pt>
                <c:pt idx="823">
                  <c:v>122.71400372542955</c:v>
                </c:pt>
                <c:pt idx="824">
                  <c:v>122.96421918874519</c:v>
                </c:pt>
                <c:pt idx="825">
                  <c:v>122.65005977369334</c:v>
                </c:pt>
                <c:pt idx="826">
                  <c:v>123.08654674858839</c:v>
                </c:pt>
                <c:pt idx="827">
                  <c:v>122.83911145708737</c:v>
                </c:pt>
                <c:pt idx="828">
                  <c:v>124.65456365203302</c:v>
                </c:pt>
                <c:pt idx="829">
                  <c:v>124.89087825627557</c:v>
                </c:pt>
                <c:pt idx="830">
                  <c:v>124.73518863465696</c:v>
                </c:pt>
                <c:pt idx="831">
                  <c:v>124.66290416747688</c:v>
                </c:pt>
                <c:pt idx="832">
                  <c:v>124.81303344546626</c:v>
                </c:pt>
                <c:pt idx="833">
                  <c:v>124.40156801690277</c:v>
                </c:pt>
                <c:pt idx="834">
                  <c:v>123.7454474686529</c:v>
                </c:pt>
                <c:pt idx="835">
                  <c:v>123.33676221190403</c:v>
                </c:pt>
                <c:pt idx="836">
                  <c:v>122.17743056520825</c:v>
                </c:pt>
                <c:pt idx="837">
                  <c:v>121.50184881425605</c:v>
                </c:pt>
                <c:pt idx="838">
                  <c:v>120.53156885095434</c:v>
                </c:pt>
                <c:pt idx="839">
                  <c:v>121.77430565208863</c:v>
                </c:pt>
                <c:pt idx="840">
                  <c:v>121.77708582390325</c:v>
                </c:pt>
                <c:pt idx="841">
                  <c:v>122.01896077177503</c:v>
                </c:pt>
                <c:pt idx="842">
                  <c:v>122.38038310767537</c:v>
                </c:pt>
                <c:pt idx="843">
                  <c:v>123.01148210959367</c:v>
                </c:pt>
                <c:pt idx="844">
                  <c:v>123.45352942811796</c:v>
                </c:pt>
                <c:pt idx="845">
                  <c:v>123.58419750340499</c:v>
                </c:pt>
                <c:pt idx="846">
                  <c:v>123.23389585476312</c:v>
                </c:pt>
                <c:pt idx="847">
                  <c:v>122.9697795323744</c:v>
                </c:pt>
                <c:pt idx="848">
                  <c:v>123.10600795129069</c:v>
                </c:pt>
                <c:pt idx="849">
                  <c:v>123.53971475437113</c:v>
                </c:pt>
                <c:pt idx="850">
                  <c:v>123.66204231421432</c:v>
                </c:pt>
                <c:pt idx="851">
                  <c:v>122.11348661347203</c:v>
                </c:pt>
                <c:pt idx="852">
                  <c:v>122.20523228335442</c:v>
                </c:pt>
                <c:pt idx="853">
                  <c:v>122.43042620033847</c:v>
                </c:pt>
                <c:pt idx="854">
                  <c:v>122.41652534126538</c:v>
                </c:pt>
                <c:pt idx="855">
                  <c:v>124.43214990686353</c:v>
                </c:pt>
                <c:pt idx="856">
                  <c:v>125.27176179487819</c:v>
                </c:pt>
                <c:pt idx="857">
                  <c:v>123.95118018293458</c:v>
                </c:pt>
                <c:pt idx="858">
                  <c:v>124.55169729489209</c:v>
                </c:pt>
                <c:pt idx="859">
                  <c:v>124.78801189913466</c:v>
                </c:pt>
                <c:pt idx="860">
                  <c:v>126.06411076204436</c:v>
                </c:pt>
                <c:pt idx="861">
                  <c:v>125.77775306513871</c:v>
                </c:pt>
                <c:pt idx="862">
                  <c:v>125.16055492229347</c:v>
                </c:pt>
                <c:pt idx="863">
                  <c:v>126.17253746281446</c:v>
                </c:pt>
                <c:pt idx="864">
                  <c:v>126.1780978064437</c:v>
                </c:pt>
                <c:pt idx="865">
                  <c:v>125.79999443965563</c:v>
                </c:pt>
                <c:pt idx="866">
                  <c:v>125.12441268870342</c:v>
                </c:pt>
                <c:pt idx="867">
                  <c:v>124.46551196863892</c:v>
                </c:pt>
                <c:pt idx="868">
                  <c:v>123.63702076788272</c:v>
                </c:pt>
                <c:pt idx="869">
                  <c:v>123.93449915204685</c:v>
                </c:pt>
                <c:pt idx="870">
                  <c:v>123.82329227946212</c:v>
                </c:pt>
                <c:pt idx="871">
                  <c:v>124.34596458061031</c:v>
                </c:pt>
                <c:pt idx="872">
                  <c:v>124.47107231226811</c:v>
                </c:pt>
                <c:pt idx="873">
                  <c:v>124.07072757096309</c:v>
                </c:pt>
                <c:pt idx="874">
                  <c:v>124.39322750145878</c:v>
                </c:pt>
                <c:pt idx="875">
                  <c:v>124.7018265728814</c:v>
                </c:pt>
                <c:pt idx="876">
                  <c:v>123.35066307097701</c:v>
                </c:pt>
                <c:pt idx="877">
                  <c:v>124.05682671189001</c:v>
                </c:pt>
                <c:pt idx="878">
                  <c:v>123.97620172926608</c:v>
                </c:pt>
                <c:pt idx="879">
                  <c:v>123.21443465206073</c:v>
                </c:pt>
                <c:pt idx="880">
                  <c:v>124.16803358447476</c:v>
                </c:pt>
                <c:pt idx="881">
                  <c:v>124.44049042230733</c:v>
                </c:pt>
                <c:pt idx="882">
                  <c:v>125.62206344352005</c:v>
                </c:pt>
                <c:pt idx="883">
                  <c:v>125.29956351302434</c:v>
                </c:pt>
                <c:pt idx="884">
                  <c:v>125.25508076399045</c:v>
                </c:pt>
                <c:pt idx="885">
                  <c:v>124.83527481998311</c:v>
                </c:pt>
                <c:pt idx="886">
                  <c:v>123.95118018293455</c:v>
                </c:pt>
                <c:pt idx="887">
                  <c:v>122.72512441268796</c:v>
                </c:pt>
                <c:pt idx="888">
                  <c:v>123.1143484667345</c:v>
                </c:pt>
                <c:pt idx="889">
                  <c:v>124.72962829102762</c:v>
                </c:pt>
                <c:pt idx="890">
                  <c:v>124.58783952848211</c:v>
                </c:pt>
                <c:pt idx="891">
                  <c:v>124.82415413272466</c:v>
                </c:pt>
                <c:pt idx="892">
                  <c:v>124.57671884122362</c:v>
                </c:pt>
                <c:pt idx="893">
                  <c:v>125.12997303233263</c:v>
                </c:pt>
                <c:pt idx="894">
                  <c:v>124.89087825627549</c:v>
                </c:pt>
                <c:pt idx="895">
                  <c:v>123.92615863660298</c:v>
                </c:pt>
                <c:pt idx="896">
                  <c:v>124.00400344741226</c:v>
                </c:pt>
                <c:pt idx="897">
                  <c:v>124.35986543968339</c:v>
                </c:pt>
                <c:pt idx="898">
                  <c:v>124.32372320609336</c:v>
                </c:pt>
                <c:pt idx="899">
                  <c:v>123.58141733159033</c:v>
                </c:pt>
                <c:pt idx="900">
                  <c:v>124.30148183157642</c:v>
                </c:pt>
                <c:pt idx="901">
                  <c:v>124.85473602268542</c:v>
                </c:pt>
                <c:pt idx="902">
                  <c:v>124.61842141844288</c:v>
                </c:pt>
                <c:pt idx="903">
                  <c:v>124.32650337790797</c:v>
                </c:pt>
                <c:pt idx="904">
                  <c:v>125.1744557813665</c:v>
                </c:pt>
                <c:pt idx="905">
                  <c:v>124.58783952848208</c:v>
                </c:pt>
                <c:pt idx="906">
                  <c:v>125.14943423503493</c:v>
                </c:pt>
                <c:pt idx="907">
                  <c:v>124.90477911534853</c:v>
                </c:pt>
                <c:pt idx="908">
                  <c:v>124.70182657288142</c:v>
                </c:pt>
                <c:pt idx="909">
                  <c:v>124.58783952848206</c:v>
                </c:pt>
                <c:pt idx="910">
                  <c:v>124.74074897828606</c:v>
                </c:pt>
                <c:pt idx="911">
                  <c:v>125.30790402846814</c:v>
                </c:pt>
                <c:pt idx="912">
                  <c:v>124.95482220801162</c:v>
                </c:pt>
                <c:pt idx="913">
                  <c:v>125.23561956128803</c:v>
                </c:pt>
                <c:pt idx="914">
                  <c:v>124.8185937890953</c:v>
                </c:pt>
                <c:pt idx="915">
                  <c:v>125.14665406322024</c:v>
                </c:pt>
                <c:pt idx="916">
                  <c:v>125.76941254969472</c:v>
                </c:pt>
                <c:pt idx="917">
                  <c:v>125.97792543579109</c:v>
                </c:pt>
                <c:pt idx="918">
                  <c:v>126.78695543384497</c:v>
                </c:pt>
                <c:pt idx="919">
                  <c:v>126.89538213461508</c:v>
                </c:pt>
                <c:pt idx="920">
                  <c:v>126.8203174956204</c:v>
                </c:pt>
                <c:pt idx="921">
                  <c:v>126.56176151686091</c:v>
                </c:pt>
                <c:pt idx="922">
                  <c:v>127.82395952069753</c:v>
                </c:pt>
                <c:pt idx="923">
                  <c:v>127.92404570602378</c:v>
                </c:pt>
                <c:pt idx="924">
                  <c:v>128.17704134115402</c:v>
                </c:pt>
                <c:pt idx="925">
                  <c:v>128.0380327504231</c:v>
                </c:pt>
                <c:pt idx="926">
                  <c:v>128.41613611721115</c:v>
                </c:pt>
                <c:pt idx="927">
                  <c:v>128.87764463843774</c:v>
                </c:pt>
                <c:pt idx="928">
                  <c:v>128.76365759403839</c:v>
                </c:pt>
                <c:pt idx="929">
                  <c:v>128.24932580833405</c:v>
                </c:pt>
                <c:pt idx="930">
                  <c:v>128.2604464955925</c:v>
                </c:pt>
                <c:pt idx="931">
                  <c:v>127.47643804387019</c:v>
                </c:pt>
                <c:pt idx="932">
                  <c:v>126.9565459145366</c:v>
                </c:pt>
                <c:pt idx="933">
                  <c:v>127.19286051877917</c:v>
                </c:pt>
                <c:pt idx="934">
                  <c:v>128.36609302454804</c:v>
                </c:pt>
                <c:pt idx="935">
                  <c:v>128.46061886624506</c:v>
                </c:pt>
                <c:pt idx="936">
                  <c:v>127.86010175428753</c:v>
                </c:pt>
                <c:pt idx="937">
                  <c:v>128.33273096277259</c:v>
                </c:pt>
                <c:pt idx="938">
                  <c:v>127.72943367900045</c:v>
                </c:pt>
                <c:pt idx="939">
                  <c:v>127.56262337012335</c:v>
                </c:pt>
                <c:pt idx="940">
                  <c:v>126.51171842419771</c:v>
                </c:pt>
                <c:pt idx="941">
                  <c:v>125.92788234312789</c:v>
                </c:pt>
                <c:pt idx="942">
                  <c:v>126.83143818287877</c:v>
                </c:pt>
                <c:pt idx="943">
                  <c:v>127.25958464232997</c:v>
                </c:pt>
                <c:pt idx="944">
                  <c:v>127.22900275236917</c:v>
                </c:pt>
                <c:pt idx="945">
                  <c:v>128.38833439906492</c:v>
                </c:pt>
                <c:pt idx="946">
                  <c:v>128.3132697600702</c:v>
                </c:pt>
                <c:pt idx="947">
                  <c:v>127.91848536239443</c:v>
                </c:pt>
                <c:pt idx="948">
                  <c:v>127.5904250882695</c:v>
                </c:pt>
                <c:pt idx="949">
                  <c:v>128.24654563651939</c:v>
                </c:pt>
                <c:pt idx="950">
                  <c:v>128.26044649559245</c:v>
                </c:pt>
                <c:pt idx="951">
                  <c:v>128.22152409018778</c:v>
                </c:pt>
                <c:pt idx="952">
                  <c:v>128.09363618671537</c:v>
                </c:pt>
                <c:pt idx="953">
                  <c:v>127.65992938363495</c:v>
                </c:pt>
                <c:pt idx="954">
                  <c:v>127.97408879868681</c:v>
                </c:pt>
                <c:pt idx="955">
                  <c:v>128.13255859212003</c:v>
                </c:pt>
                <c:pt idx="956">
                  <c:v>128.19928271567088</c:v>
                </c:pt>
                <c:pt idx="957">
                  <c:v>128.30214907281174</c:v>
                </c:pt>
                <c:pt idx="958">
                  <c:v>129.78676082181781</c:v>
                </c:pt>
                <c:pt idx="959">
                  <c:v>130.52906669632085</c:v>
                </c:pt>
                <c:pt idx="960">
                  <c:v>130.23714865578594</c:v>
                </c:pt>
                <c:pt idx="961">
                  <c:v>129.61439016931149</c:v>
                </c:pt>
                <c:pt idx="962">
                  <c:v>129.57546776390683</c:v>
                </c:pt>
                <c:pt idx="963">
                  <c:v>129.37807556506894</c:v>
                </c:pt>
                <c:pt idx="964">
                  <c:v>128.79701965581373</c:v>
                </c:pt>
                <c:pt idx="965">
                  <c:v>129.05557563457322</c:v>
                </c:pt>
                <c:pt idx="966">
                  <c:v>129.0833773527194</c:v>
                </c:pt>
                <c:pt idx="967">
                  <c:v>129.16956267897254</c:v>
                </c:pt>
                <c:pt idx="968">
                  <c:v>130.03697628513339</c:v>
                </c:pt>
                <c:pt idx="969">
                  <c:v>130.06477800327957</c:v>
                </c:pt>
                <c:pt idx="970">
                  <c:v>130.41785982373608</c:v>
                </c:pt>
                <c:pt idx="971">
                  <c:v>130.23436848397128</c:v>
                </c:pt>
                <c:pt idx="972">
                  <c:v>128.72751536044825</c:v>
                </c:pt>
                <c:pt idx="973">
                  <c:v>127.19008034696444</c:v>
                </c:pt>
                <c:pt idx="974">
                  <c:v>127.76835608440501</c:v>
                </c:pt>
                <c:pt idx="975">
                  <c:v>127.94628708054056</c:v>
                </c:pt>
                <c:pt idx="976">
                  <c:v>127.97964914231598</c:v>
                </c:pt>
                <c:pt idx="977">
                  <c:v>128.92212738747153</c:v>
                </c:pt>
                <c:pt idx="978">
                  <c:v>128.62186883149278</c:v>
                </c:pt>
                <c:pt idx="979">
                  <c:v>129.38641608051273</c:v>
                </c:pt>
                <c:pt idx="980">
                  <c:v>128.93046790291535</c:v>
                </c:pt>
                <c:pt idx="981">
                  <c:v>129.76173927548618</c:v>
                </c:pt>
                <c:pt idx="982">
                  <c:v>129.22516611526487</c:v>
                </c:pt>
                <c:pt idx="983">
                  <c:v>128.89432566932533</c:v>
                </c:pt>
                <c:pt idx="984">
                  <c:v>128.61074814423429</c:v>
                </c:pt>
                <c:pt idx="985">
                  <c:v>127.6460285245618</c:v>
                </c:pt>
                <c:pt idx="986">
                  <c:v>128.17426116933925</c:v>
                </c:pt>
                <c:pt idx="987">
                  <c:v>128.54402402068348</c:v>
                </c:pt>
                <c:pt idx="988">
                  <c:v>128.73863604770676</c:v>
                </c:pt>
                <c:pt idx="989">
                  <c:v>128.41613611721107</c:v>
                </c:pt>
                <c:pt idx="990">
                  <c:v>128.38555422725028</c:v>
                </c:pt>
                <c:pt idx="991">
                  <c:v>128.41335594539646</c:v>
                </c:pt>
                <c:pt idx="992">
                  <c:v>128.75253690677988</c:v>
                </c:pt>
                <c:pt idx="993">
                  <c:v>129.24740748978189</c:v>
                </c:pt>
                <c:pt idx="994">
                  <c:v>129.67555394923309</c:v>
                </c:pt>
                <c:pt idx="995">
                  <c:v>129.76729961911548</c:v>
                </c:pt>
                <c:pt idx="996">
                  <c:v>129.63663154382843</c:v>
                </c:pt>
                <c:pt idx="997">
                  <c:v>129.050015290944</c:v>
                </c:pt>
                <c:pt idx="998">
                  <c:v>128.98051099557856</c:v>
                </c:pt>
                <c:pt idx="999">
                  <c:v>129.47260140676596</c:v>
                </c:pt>
                <c:pt idx="1000">
                  <c:v>128.73863604770676</c:v>
                </c:pt>
                <c:pt idx="1001">
                  <c:v>128.39945508632334</c:v>
                </c:pt>
                <c:pt idx="1002">
                  <c:v>128.81648085851606</c:v>
                </c:pt>
                <c:pt idx="1003">
                  <c:v>129.66165309015997</c:v>
                </c:pt>
                <c:pt idx="1004">
                  <c:v>129.5143039839852</c:v>
                </c:pt>
                <c:pt idx="1005">
                  <c:v>129.36139453418119</c:v>
                </c:pt>
                <c:pt idx="1006">
                  <c:v>129.92298924073404</c:v>
                </c:pt>
                <c:pt idx="1007">
                  <c:v>129.93967027162174</c:v>
                </c:pt>
                <c:pt idx="1008">
                  <c:v>130.81820456504107</c:v>
                </c:pt>
                <c:pt idx="1009">
                  <c:v>130.92941143762579</c:v>
                </c:pt>
                <c:pt idx="1010">
                  <c:v>130.82932525229953</c:v>
                </c:pt>
                <c:pt idx="1011">
                  <c:v>130.28997192026361</c:v>
                </c:pt>
                <c:pt idx="1012">
                  <c:v>129.68111429286225</c:v>
                </c:pt>
                <c:pt idx="1013">
                  <c:v>129.40031693958582</c:v>
                </c:pt>
                <c:pt idx="1014">
                  <c:v>129.80344185270545</c:v>
                </c:pt>
                <c:pt idx="1015">
                  <c:v>129.98693319247025</c:v>
                </c:pt>
                <c:pt idx="1016">
                  <c:v>129.86738580444165</c:v>
                </c:pt>
                <c:pt idx="1017">
                  <c:v>130.64027356890549</c:v>
                </c:pt>
                <c:pt idx="1018">
                  <c:v>132.13322583335543</c:v>
                </c:pt>
                <c:pt idx="1019">
                  <c:v>131.81628624648897</c:v>
                </c:pt>
                <c:pt idx="1020">
                  <c:v>131.82740693374745</c:v>
                </c:pt>
                <c:pt idx="1021">
                  <c:v>131.35477772526238</c:v>
                </c:pt>
                <c:pt idx="1022">
                  <c:v>132.03313964802922</c:v>
                </c:pt>
                <c:pt idx="1023">
                  <c:v>131.58553198587569</c:v>
                </c:pt>
                <c:pt idx="1024">
                  <c:v>131.84964830826442</c:v>
                </c:pt>
                <c:pt idx="1025">
                  <c:v>131.86354916733751</c:v>
                </c:pt>
                <c:pt idx="1026">
                  <c:v>132.05260085073155</c:v>
                </c:pt>
                <c:pt idx="1027">
                  <c:v>131.98031638355147</c:v>
                </c:pt>
                <c:pt idx="1028">
                  <c:v>131.21576913453148</c:v>
                </c:pt>
                <c:pt idx="1029">
                  <c:v>130.92385109399657</c:v>
                </c:pt>
                <c:pt idx="1030">
                  <c:v>131.55773026772951</c:v>
                </c:pt>
                <c:pt idx="1031">
                  <c:v>132.62809641635747</c:v>
                </c:pt>
                <c:pt idx="1032">
                  <c:v>133.08682476576945</c:v>
                </c:pt>
                <c:pt idx="1033">
                  <c:v>133.89585476382334</c:v>
                </c:pt>
                <c:pt idx="1034">
                  <c:v>133.34260057271433</c:v>
                </c:pt>
                <c:pt idx="1035">
                  <c:v>134.00428146459345</c:v>
                </c:pt>
                <c:pt idx="1036">
                  <c:v>133.6456393005077</c:v>
                </c:pt>
                <c:pt idx="1037">
                  <c:v>130.61525202257397</c:v>
                </c:pt>
                <c:pt idx="1038">
                  <c:v>131.15738552642449</c:v>
                </c:pt>
                <c:pt idx="1039">
                  <c:v>130.9599933275866</c:v>
                </c:pt>
                <c:pt idx="1040">
                  <c:v>131.43818287970092</c:v>
                </c:pt>
                <c:pt idx="1041">
                  <c:v>130.37059690288757</c:v>
                </c:pt>
                <c:pt idx="1042">
                  <c:v>130.71811837971484</c:v>
                </c:pt>
                <c:pt idx="1043">
                  <c:v>130.73201923878793</c:v>
                </c:pt>
                <c:pt idx="1044">
                  <c:v>131.36867858433547</c:v>
                </c:pt>
                <c:pt idx="1045">
                  <c:v>131.44374322333016</c:v>
                </c:pt>
                <c:pt idx="1046">
                  <c:v>130.76260112874871</c:v>
                </c:pt>
                <c:pt idx="1047">
                  <c:v>130.02585559787491</c:v>
                </c:pt>
                <c:pt idx="1048">
                  <c:v>131.07398037198595</c:v>
                </c:pt>
                <c:pt idx="1049">
                  <c:v>130.85990714226037</c:v>
                </c:pt>
                <c:pt idx="1050">
                  <c:v>129.07225666546091</c:v>
                </c:pt>
                <c:pt idx="1051">
                  <c:v>129.5754677639068</c:v>
                </c:pt>
                <c:pt idx="1052">
                  <c:v>129.87294614807095</c:v>
                </c:pt>
                <c:pt idx="1053">
                  <c:v>129.12229975812406</c:v>
                </c:pt>
                <c:pt idx="1054">
                  <c:v>129.22516611526493</c:v>
                </c:pt>
                <c:pt idx="1055">
                  <c:v>128.72473518863367</c:v>
                </c:pt>
                <c:pt idx="1056">
                  <c:v>129.20570491256262</c:v>
                </c:pt>
                <c:pt idx="1057">
                  <c:v>129.80900219633475</c:v>
                </c:pt>
                <c:pt idx="1058">
                  <c:v>129.52264449942908</c:v>
                </c:pt>
                <c:pt idx="1059">
                  <c:v>129.85070477355401</c:v>
                </c:pt>
                <c:pt idx="1060">
                  <c:v>128.97217048013468</c:v>
                </c:pt>
                <c:pt idx="1061">
                  <c:v>129.6783341210477</c:v>
                </c:pt>
                <c:pt idx="1062">
                  <c:v>129.94245044343643</c:v>
                </c:pt>
                <c:pt idx="1063">
                  <c:v>129.83680391448095</c:v>
                </c:pt>
                <c:pt idx="1064">
                  <c:v>130.50682532180394</c:v>
                </c:pt>
                <c:pt idx="1065">
                  <c:v>130.91829075036742</c:v>
                </c:pt>
                <c:pt idx="1066">
                  <c:v>130.96277349940132</c:v>
                </c:pt>
                <c:pt idx="1067">
                  <c:v>130.26217020211757</c:v>
                </c:pt>
                <c:pt idx="1068">
                  <c:v>130.33445466929763</c:v>
                </c:pt>
                <c:pt idx="1069">
                  <c:v>130.26217020211755</c:v>
                </c:pt>
                <c:pt idx="1070">
                  <c:v>129.09727821179254</c:v>
                </c:pt>
                <c:pt idx="1071">
                  <c:v>128.0491534376815</c:v>
                </c:pt>
                <c:pt idx="1072">
                  <c:v>127.88790347243366</c:v>
                </c:pt>
                <c:pt idx="1073">
                  <c:v>125.79721426784084</c:v>
                </c:pt>
                <c:pt idx="1074">
                  <c:v>123.87055520031048</c:v>
                </c:pt>
                <c:pt idx="1075">
                  <c:v>123.93171898023206</c:v>
                </c:pt>
                <c:pt idx="1076">
                  <c:v>122.02730128721865</c:v>
                </c:pt>
                <c:pt idx="1077">
                  <c:v>124.63232227751585</c:v>
                </c:pt>
                <c:pt idx="1078">
                  <c:v>124.56559815396501</c:v>
                </c:pt>
                <c:pt idx="1079">
                  <c:v>125.35238677750193</c:v>
                </c:pt>
                <c:pt idx="1080">
                  <c:v>124.30148183157628</c:v>
                </c:pt>
                <c:pt idx="1081">
                  <c:v>125.07158942422549</c:v>
                </c:pt>
                <c:pt idx="1082">
                  <c:v>124.43214990686332</c:v>
                </c:pt>
                <c:pt idx="1083">
                  <c:v>124.06794739914834</c:v>
                </c:pt>
                <c:pt idx="1084">
                  <c:v>124.10130946092377</c:v>
                </c:pt>
                <c:pt idx="1085">
                  <c:v>124.04570602463141</c:v>
                </c:pt>
                <c:pt idx="1086">
                  <c:v>123.01148210959347</c:v>
                </c:pt>
                <c:pt idx="1087">
                  <c:v>123.03372348411044</c:v>
                </c:pt>
                <c:pt idx="1088">
                  <c:v>122.87247351886258</c:v>
                </c:pt>
                <c:pt idx="1089">
                  <c:v>124.75464983735905</c:v>
                </c:pt>
                <c:pt idx="1090">
                  <c:v>124.44883093775105</c:v>
                </c:pt>
                <c:pt idx="1091">
                  <c:v>125.86115821957705</c:v>
                </c:pt>
                <c:pt idx="1092">
                  <c:v>125.62762378714913</c:v>
                </c:pt>
                <c:pt idx="1093">
                  <c:v>124.85751619449992</c:v>
                </c:pt>
                <c:pt idx="1094">
                  <c:v>125.3607272929458</c:v>
                </c:pt>
                <c:pt idx="1095">
                  <c:v>125.94734354583021</c:v>
                </c:pt>
                <c:pt idx="1096">
                  <c:v>125.95012371764481</c:v>
                </c:pt>
                <c:pt idx="1097">
                  <c:v>125.58592120992986</c:v>
                </c:pt>
                <c:pt idx="1098">
                  <c:v>125.49139536823284</c:v>
                </c:pt>
                <c:pt idx="1099">
                  <c:v>124.50165420222879</c:v>
                </c:pt>
                <c:pt idx="1100">
                  <c:v>122.97255970418884</c:v>
                </c:pt>
                <c:pt idx="1101">
                  <c:v>123.99844310378293</c:v>
                </c:pt>
                <c:pt idx="1102">
                  <c:v>122.74180544357556</c:v>
                </c:pt>
                <c:pt idx="1103">
                  <c:v>123.37012427367927</c:v>
                </c:pt>
                <c:pt idx="1104">
                  <c:v>123.47855097444938</c:v>
                </c:pt>
                <c:pt idx="1105">
                  <c:v>123.575856987961</c:v>
                </c:pt>
                <c:pt idx="1106">
                  <c:v>124.93258083349464</c:v>
                </c:pt>
                <c:pt idx="1107">
                  <c:v>126.13361505740967</c:v>
                </c:pt>
                <c:pt idx="1108">
                  <c:v>126.90928299368814</c:v>
                </c:pt>
                <c:pt idx="1109">
                  <c:v>126.47557619060771</c:v>
                </c:pt>
                <c:pt idx="1110">
                  <c:v>125.99738663849341</c:v>
                </c:pt>
                <c:pt idx="1111">
                  <c:v>126.44499430064694</c:v>
                </c:pt>
                <c:pt idx="1112">
                  <c:v>126.87036058828352</c:v>
                </c:pt>
                <c:pt idx="1113">
                  <c:v>127.07053295893604</c:v>
                </c:pt>
                <c:pt idx="1114">
                  <c:v>127.14559759793073</c:v>
                </c:pt>
                <c:pt idx="1115">
                  <c:v>126.91484333731742</c:v>
                </c:pt>
                <c:pt idx="1116">
                  <c:v>127.22900275236925</c:v>
                </c:pt>
                <c:pt idx="1117">
                  <c:v>127.23456309599848</c:v>
                </c:pt>
                <c:pt idx="1118">
                  <c:v>127.92404570602376</c:v>
                </c:pt>
                <c:pt idx="1119">
                  <c:v>127.57652422919649</c:v>
                </c:pt>
                <c:pt idx="1120">
                  <c:v>127.39025271761707</c:v>
                </c:pt>
                <c:pt idx="1121">
                  <c:v>127.07053295893598</c:v>
                </c:pt>
                <c:pt idx="1122">
                  <c:v>127.29294670410543</c:v>
                </c:pt>
                <c:pt idx="1123">
                  <c:v>127.5181406210895</c:v>
                </c:pt>
                <c:pt idx="1124">
                  <c:v>127.63768800911807</c:v>
                </c:pt>
                <c:pt idx="1125">
                  <c:v>128.54680419249817</c:v>
                </c:pt>
                <c:pt idx="1126">
                  <c:v>128.05749395312537</c:v>
                </c:pt>
                <c:pt idx="1127">
                  <c:v>128.42447663265497</c:v>
                </c:pt>
                <c:pt idx="1128">
                  <c:v>127.45697684116787</c:v>
                </c:pt>
                <c:pt idx="1129">
                  <c:v>126.63126581222629</c:v>
                </c:pt>
                <c:pt idx="1130">
                  <c:v>125.48027468097439</c:v>
                </c:pt>
                <c:pt idx="1131">
                  <c:v>125.96680474853255</c:v>
                </c:pt>
                <c:pt idx="1132">
                  <c:v>125.00486530067469</c:v>
                </c:pt>
                <c:pt idx="1133">
                  <c:v>123.10600795129051</c:v>
                </c:pt>
                <c:pt idx="1134">
                  <c:v>124.35986543968329</c:v>
                </c:pt>
                <c:pt idx="1135">
                  <c:v>124.01512413467063</c:v>
                </c:pt>
                <c:pt idx="1136">
                  <c:v>124.44883093775105</c:v>
                </c:pt>
                <c:pt idx="1137">
                  <c:v>123.51469320803935</c:v>
                </c:pt>
                <c:pt idx="1138">
                  <c:v>124.05126636826063</c:v>
                </c:pt>
                <c:pt idx="1139">
                  <c:v>124.09852928910915</c:v>
                </c:pt>
                <c:pt idx="1140">
                  <c:v>124.03180516555832</c:v>
                </c:pt>
                <c:pt idx="1141">
                  <c:v>124.6573438238474</c:v>
                </c:pt>
                <c:pt idx="1142">
                  <c:v>124.98262392615771</c:v>
                </c:pt>
                <c:pt idx="1143">
                  <c:v>124.56837832577961</c:v>
                </c:pt>
                <c:pt idx="1144">
                  <c:v>124.53779643581879</c:v>
                </c:pt>
                <c:pt idx="1145">
                  <c:v>124.754649837359</c:v>
                </c:pt>
                <c:pt idx="1146">
                  <c:v>126.05577024660028</c:v>
                </c:pt>
                <c:pt idx="1147">
                  <c:v>126.26428313269663</c:v>
                </c:pt>
                <c:pt idx="1148">
                  <c:v>126.55898134504618</c:v>
                </c:pt>
                <c:pt idx="1149">
                  <c:v>126.18087797825811</c:v>
                </c:pt>
                <c:pt idx="1150">
                  <c:v>125.55255914815442</c:v>
                </c:pt>
                <c:pt idx="1151">
                  <c:v>125.83335650143086</c:v>
                </c:pt>
                <c:pt idx="1152">
                  <c:v>125.97236509216178</c:v>
                </c:pt>
                <c:pt idx="1153">
                  <c:v>126.28930467902825</c:v>
                </c:pt>
                <c:pt idx="1154">
                  <c:v>126.04186938752723</c:v>
                </c:pt>
                <c:pt idx="1155">
                  <c:v>125.82223581417239</c:v>
                </c:pt>
                <c:pt idx="1156">
                  <c:v>126.28374433539902</c:v>
                </c:pt>
                <c:pt idx="1157">
                  <c:v>127.40415357669013</c:v>
                </c:pt>
                <c:pt idx="1158">
                  <c:v>128.16870082571012</c:v>
                </c:pt>
                <c:pt idx="1159">
                  <c:v>128.04359309405231</c:v>
                </c:pt>
                <c:pt idx="1160">
                  <c:v>128.29102838555332</c:v>
                </c:pt>
                <c:pt idx="1161">
                  <c:v>127.4430759820948</c:v>
                </c:pt>
                <c:pt idx="1162">
                  <c:v>127.07887347437983</c:v>
                </c:pt>
                <c:pt idx="1163">
                  <c:v>127.30128721954928</c:v>
                </c:pt>
                <c:pt idx="1164">
                  <c:v>127.31240790680778</c:v>
                </c:pt>
                <c:pt idx="1165">
                  <c:v>127.97130862687226</c:v>
                </c:pt>
                <c:pt idx="1166">
                  <c:v>127.57652422919648</c:v>
                </c:pt>
                <c:pt idx="1167">
                  <c:v>128.42725680446964</c:v>
                </c:pt>
                <c:pt idx="1168">
                  <c:v>128.22986460563175</c:v>
                </c:pt>
                <c:pt idx="1169">
                  <c:v>129.28076955155737</c:v>
                </c:pt>
                <c:pt idx="1170">
                  <c:v>129.32525230059127</c:v>
                </c:pt>
                <c:pt idx="1171">
                  <c:v>128.76921793766763</c:v>
                </c:pt>
                <c:pt idx="1172">
                  <c:v>128.91100670021314</c:v>
                </c:pt>
                <c:pt idx="1173">
                  <c:v>128.53290333342505</c:v>
                </c:pt>
                <c:pt idx="1174">
                  <c:v>129.14176096082642</c:v>
                </c:pt>
                <c:pt idx="1175">
                  <c:v>130.39839862103381</c:v>
                </c:pt>
                <c:pt idx="1176">
                  <c:v>130.13428229864508</c:v>
                </c:pt>
                <c:pt idx="1177">
                  <c:v>131.72454057660667</c:v>
                </c:pt>
                <c:pt idx="1178">
                  <c:v>131.94417414996147</c:v>
                </c:pt>
                <c:pt idx="1179">
                  <c:v>132.35563957852494</c:v>
                </c:pt>
                <c:pt idx="1180">
                  <c:v>132.19438961327711</c:v>
                </c:pt>
                <c:pt idx="1181">
                  <c:v>131.54938975228572</c:v>
                </c:pt>
                <c:pt idx="1182">
                  <c:v>130.94331229669896</c:v>
                </c:pt>
                <c:pt idx="1183">
                  <c:v>131.18518724457076</c:v>
                </c:pt>
                <c:pt idx="1184">
                  <c:v>130.93497178125511</c:v>
                </c:pt>
                <c:pt idx="1185">
                  <c:v>131.54104923684187</c:v>
                </c:pt>
                <c:pt idx="1186">
                  <c:v>130.16208401679128</c:v>
                </c:pt>
                <c:pt idx="1187">
                  <c:v>129.61439016931149</c:v>
                </c:pt>
                <c:pt idx="1188">
                  <c:v>129.97581250521185</c:v>
                </c:pt>
                <c:pt idx="1189">
                  <c:v>130.3344546692976</c:v>
                </c:pt>
                <c:pt idx="1190">
                  <c:v>132.0053379298831</c:v>
                </c:pt>
                <c:pt idx="1191">
                  <c:v>130.99891573299132</c:v>
                </c:pt>
                <c:pt idx="1192">
                  <c:v>130.9043898912943</c:v>
                </c:pt>
                <c:pt idx="1193">
                  <c:v>128.8220412021453</c:v>
                </c:pt>
                <c:pt idx="1194">
                  <c:v>128.29380855736784</c:v>
                </c:pt>
                <c:pt idx="1195">
                  <c:v>128.24098529289012</c:v>
                </c:pt>
                <c:pt idx="1196">
                  <c:v>127.79615780255124</c:v>
                </c:pt>
                <c:pt idx="1197">
                  <c:v>128.11587756123231</c:v>
                </c:pt>
                <c:pt idx="1198">
                  <c:v>128.45783869443034</c:v>
                </c:pt>
                <c:pt idx="1199">
                  <c:v>129.23350663070877</c:v>
                </c:pt>
                <c:pt idx="1200">
                  <c:v>128.51066195890809</c:v>
                </c:pt>
                <c:pt idx="1201">
                  <c:v>128.63576969056589</c:v>
                </c:pt>
                <c:pt idx="1202">
                  <c:v>128.37165336817719</c:v>
                </c:pt>
                <c:pt idx="1203">
                  <c:v>126.38383052072523</c:v>
                </c:pt>
                <c:pt idx="1204">
                  <c:v>126.08635213656109</c:v>
                </c:pt>
                <c:pt idx="1205">
                  <c:v>125.76385220606539</c:v>
                </c:pt>
                <c:pt idx="1206">
                  <c:v>126.52561928327077</c:v>
                </c:pt>
                <c:pt idx="1207">
                  <c:v>127.6210069782303</c:v>
                </c:pt>
                <c:pt idx="1208">
                  <c:v>129.49762295309753</c:v>
                </c:pt>
                <c:pt idx="1209">
                  <c:v>129.40865745502975</c:v>
                </c:pt>
                <c:pt idx="1210">
                  <c:v>130.04809697239193</c:v>
                </c:pt>
                <c:pt idx="1211">
                  <c:v>130.41785982373617</c:v>
                </c:pt>
                <c:pt idx="1212">
                  <c:v>130.3789374183315</c:v>
                </c:pt>
                <c:pt idx="1213">
                  <c:v>130.01751508243115</c:v>
                </c:pt>
                <c:pt idx="1214">
                  <c:v>130.7459200978611</c:v>
                </c:pt>
                <c:pt idx="1215">
                  <c:v>129.79232116544711</c:v>
                </c:pt>
                <c:pt idx="1216">
                  <c:v>129.24740748978195</c:v>
                </c:pt>
                <c:pt idx="1217">
                  <c:v>128.11865773304697</c:v>
                </c:pt>
                <c:pt idx="1218">
                  <c:v>128.31326976007026</c:v>
                </c:pt>
                <c:pt idx="1219">
                  <c:v>128.61630848786365</c:v>
                </c:pt>
                <c:pt idx="1220">
                  <c:v>129.51430398398531</c:v>
                </c:pt>
                <c:pt idx="1221">
                  <c:v>131.71620006116288</c:v>
                </c:pt>
                <c:pt idx="1222">
                  <c:v>131.3214156634871</c:v>
                </c:pt>
                <c:pt idx="1223">
                  <c:v>130.22880814034215</c:v>
                </c:pt>
                <c:pt idx="1224">
                  <c:v>129.69501515193545</c:v>
                </c:pt>
                <c:pt idx="1225">
                  <c:v>130.08701937779662</c:v>
                </c:pt>
                <c:pt idx="1226">
                  <c:v>128.5217826461666</c:v>
                </c:pt>
                <c:pt idx="1227">
                  <c:v>128.74141621952143</c:v>
                </c:pt>
                <c:pt idx="1228">
                  <c:v>129.45870054769287</c:v>
                </c:pt>
                <c:pt idx="1229">
                  <c:v>129.38919625232742</c:v>
                </c:pt>
                <c:pt idx="1230">
                  <c:v>129.10283855542176</c:v>
                </c:pt>
                <c:pt idx="1231">
                  <c:v>128.5412438488689</c:v>
                </c:pt>
                <c:pt idx="1232">
                  <c:v>129.56712724846298</c:v>
                </c:pt>
                <c:pt idx="1233">
                  <c:v>129.28632989518653</c:v>
                </c:pt>
                <c:pt idx="1234">
                  <c:v>129.44479968861978</c:v>
                </c:pt>
                <c:pt idx="1235">
                  <c:v>128.87764463843769</c:v>
                </c:pt>
                <c:pt idx="1236">
                  <c:v>128.2965887291825</c:v>
                </c:pt>
                <c:pt idx="1237">
                  <c:v>127.41527426394856</c:v>
                </c:pt>
                <c:pt idx="1238">
                  <c:v>125.13275320414708</c:v>
                </c:pt>
                <c:pt idx="1239">
                  <c:v>125.08827045511319</c:v>
                </c:pt>
                <c:pt idx="1240">
                  <c:v>125.74439100336308</c:v>
                </c:pt>
                <c:pt idx="1241">
                  <c:v>126.26428313269665</c:v>
                </c:pt>
                <c:pt idx="1242">
                  <c:v>126.54508048597309</c:v>
                </c:pt>
                <c:pt idx="1243">
                  <c:v>126.1336150574096</c:v>
                </c:pt>
                <c:pt idx="1244">
                  <c:v>124.80747310183676</c:v>
                </c:pt>
                <c:pt idx="1245">
                  <c:v>126.0251883566395</c:v>
                </c:pt>
                <c:pt idx="1246">
                  <c:v>126.03074870026875</c:v>
                </c:pt>
                <c:pt idx="1247">
                  <c:v>125.97236509216177</c:v>
                </c:pt>
                <c:pt idx="1248">
                  <c:v>125.44969279101358</c:v>
                </c:pt>
                <c:pt idx="1249">
                  <c:v>123.8427534821643</c:v>
                </c:pt>
                <c:pt idx="1250">
                  <c:v>124.26255942617163</c:v>
                </c:pt>
                <c:pt idx="1251">
                  <c:v>124.96038255164078</c:v>
                </c:pt>
                <c:pt idx="1252">
                  <c:v>125.14943423503479</c:v>
                </c:pt>
                <c:pt idx="1253">
                  <c:v>126.48947704968073</c:v>
                </c:pt>
                <c:pt idx="1254">
                  <c:v>126.5923434068216</c:v>
                </c:pt>
                <c:pt idx="1255">
                  <c:v>127.55428285467949</c:v>
                </c:pt>
                <c:pt idx="1256">
                  <c:v>127.30684756317848</c:v>
                </c:pt>
                <c:pt idx="1257">
                  <c:v>127.0816536461944</c:v>
                </c:pt>
                <c:pt idx="1258">
                  <c:v>127.77947677166355</c:v>
                </c:pt>
                <c:pt idx="1259">
                  <c:v>127.79615780255128</c:v>
                </c:pt>
                <c:pt idx="1260">
                  <c:v>127.84064055158515</c:v>
                </c:pt>
                <c:pt idx="1261">
                  <c:v>128.57460591064432</c:v>
                </c:pt>
                <c:pt idx="1262">
                  <c:v>128.12699824849079</c:v>
                </c:pt>
                <c:pt idx="1263">
                  <c:v>128.21040340292933</c:v>
                </c:pt>
                <c:pt idx="1264">
                  <c:v>127.6849509299665</c:v>
                </c:pt>
                <c:pt idx="1265">
                  <c:v>127.64046818093263</c:v>
                </c:pt>
                <c:pt idx="1266">
                  <c:v>128.08529567127152</c:v>
                </c:pt>
                <c:pt idx="1267">
                  <c:v>127.98242931413066</c:v>
                </c:pt>
                <c:pt idx="1268">
                  <c:v>128.07695515582768</c:v>
                </c:pt>
                <c:pt idx="1269">
                  <c:v>128.11865773304694</c:v>
                </c:pt>
                <c:pt idx="1270">
                  <c:v>128.3549723372895</c:v>
                </c:pt>
                <c:pt idx="1271">
                  <c:v>128.34941199366025</c:v>
                </c:pt>
                <c:pt idx="1272">
                  <c:v>128.34385165003101</c:v>
                </c:pt>
                <c:pt idx="1273">
                  <c:v>129.54766604576065</c:v>
                </c:pt>
                <c:pt idx="1274">
                  <c:v>130.49570463454543</c:v>
                </c:pt>
                <c:pt idx="1275">
                  <c:v>130.68197614612487</c:v>
                </c:pt>
                <c:pt idx="1276">
                  <c:v>130.59023047624248</c:v>
                </c:pt>
                <c:pt idx="1277">
                  <c:v>129.82012288359326</c:v>
                </c:pt>
                <c:pt idx="1278">
                  <c:v>129.21682559982111</c:v>
                </c:pt>
                <c:pt idx="1279">
                  <c:v>129.50318329672677</c:v>
                </c:pt>
                <c:pt idx="1280">
                  <c:v>129.51708415579986</c:v>
                </c:pt>
                <c:pt idx="1281">
                  <c:v>129.95635130250952</c:v>
                </c:pt>
                <c:pt idx="1282">
                  <c:v>130.20100642219592</c:v>
                </c:pt>
                <c:pt idx="1283">
                  <c:v>130.77650198782186</c:v>
                </c:pt>
                <c:pt idx="1284">
                  <c:v>130.25382968667364</c:v>
                </c:pt>
                <c:pt idx="1285">
                  <c:v>130.78484250326571</c:v>
                </c:pt>
                <c:pt idx="1286">
                  <c:v>130.77928215963647</c:v>
                </c:pt>
                <c:pt idx="1287">
                  <c:v>131.44096305151558</c:v>
                </c:pt>
                <c:pt idx="1288">
                  <c:v>133.07014373488181</c:v>
                </c:pt>
                <c:pt idx="1289">
                  <c:v>133.76518668853632</c:v>
                </c:pt>
                <c:pt idx="1290">
                  <c:v>133.67344101865393</c:v>
                </c:pt>
                <c:pt idx="1291">
                  <c:v>133.77908754760941</c:v>
                </c:pt>
                <c:pt idx="1292">
                  <c:v>133.50107036614759</c:v>
                </c:pt>
                <c:pt idx="1293">
                  <c:v>133.85415218660407</c:v>
                </c:pt>
                <c:pt idx="1294">
                  <c:v>133.90697545108182</c:v>
                </c:pt>
                <c:pt idx="1295">
                  <c:v>134.15719091439746</c:v>
                </c:pt>
                <c:pt idx="1296">
                  <c:v>134.71044510550647</c:v>
                </c:pt>
                <c:pt idx="1297">
                  <c:v>134.89949678890051</c:v>
                </c:pt>
                <c:pt idx="1298">
                  <c:v>133.99594094914963</c:v>
                </c:pt>
                <c:pt idx="1299">
                  <c:v>134.21001417887521</c:v>
                </c:pt>
                <c:pt idx="1300">
                  <c:v>134.85779421168124</c:v>
                </c:pt>
                <c:pt idx="1301">
                  <c:v>135.36934582557097</c:v>
                </c:pt>
                <c:pt idx="1302">
                  <c:v>135.70296644332515</c:v>
                </c:pt>
                <c:pt idx="1303">
                  <c:v>134.50749256303934</c:v>
                </c:pt>
                <c:pt idx="1304">
                  <c:v>135.5027940726726</c:v>
                </c:pt>
                <c:pt idx="1305">
                  <c:v>135.01904417692904</c:v>
                </c:pt>
                <c:pt idx="1306">
                  <c:v>134.87447524256891</c:v>
                </c:pt>
                <c:pt idx="1307">
                  <c:v>134.95510022519284</c:v>
                </c:pt>
                <c:pt idx="1308">
                  <c:v>135.01348383329983</c:v>
                </c:pt>
                <c:pt idx="1309">
                  <c:v>134.03764352636887</c:v>
                </c:pt>
                <c:pt idx="1310">
                  <c:v>134.3212210514599</c:v>
                </c:pt>
                <c:pt idx="1311">
                  <c:v>134.32678139508917</c:v>
                </c:pt>
                <c:pt idx="1312">
                  <c:v>136.10887152825939</c:v>
                </c:pt>
                <c:pt idx="1313">
                  <c:v>136.24231977536107</c:v>
                </c:pt>
                <c:pt idx="1314">
                  <c:v>137.03188857071262</c:v>
                </c:pt>
                <c:pt idx="1315">
                  <c:v>136.7510912174362</c:v>
                </c:pt>
                <c:pt idx="1316">
                  <c:v>137.73249186799643</c:v>
                </c:pt>
                <c:pt idx="1317">
                  <c:v>137.76307375795722</c:v>
                </c:pt>
                <c:pt idx="1318">
                  <c:v>137.93822458227817</c:v>
                </c:pt>
                <c:pt idx="1319">
                  <c:v>137.63796602629941</c:v>
                </c:pt>
                <c:pt idx="1320">
                  <c:v>137.80477633517651</c:v>
                </c:pt>
                <c:pt idx="1321">
                  <c:v>137.88262114598581</c:v>
                </c:pt>
                <c:pt idx="1322">
                  <c:v>139.27826739692412</c:v>
                </c:pt>
                <c:pt idx="1323">
                  <c:v>139.89824571158394</c:v>
                </c:pt>
                <c:pt idx="1324">
                  <c:v>140.09285773860719</c:v>
                </c:pt>
                <c:pt idx="1325">
                  <c:v>139.876004337067</c:v>
                </c:pt>
                <c:pt idx="1326">
                  <c:v>139.62578887375136</c:v>
                </c:pt>
                <c:pt idx="1327">
                  <c:v>139.20598292974401</c:v>
                </c:pt>
                <c:pt idx="1328">
                  <c:v>139.52292251661049</c:v>
                </c:pt>
                <c:pt idx="1329">
                  <c:v>140.46540076176606</c:v>
                </c:pt>
                <c:pt idx="1330">
                  <c:v>140.55714643164848</c:v>
                </c:pt>
                <c:pt idx="1331">
                  <c:v>140.69893519419398</c:v>
                </c:pt>
                <c:pt idx="1332">
                  <c:v>140.79346103589103</c:v>
                </c:pt>
                <c:pt idx="1333">
                  <c:v>140.9574911729535</c:v>
                </c:pt>
                <c:pt idx="1334">
                  <c:v>140.54602574439002</c:v>
                </c:pt>
                <c:pt idx="1335">
                  <c:v>141.00197392198737</c:v>
                </c:pt>
                <c:pt idx="1336">
                  <c:v>141.57468931579871</c:v>
                </c:pt>
                <c:pt idx="1337">
                  <c:v>140.7128360532671</c:v>
                </c:pt>
                <c:pt idx="1338">
                  <c:v>140.50154299535612</c:v>
                </c:pt>
                <c:pt idx="1339">
                  <c:v>140.37643526369831</c:v>
                </c:pt>
                <c:pt idx="1340">
                  <c:v>140.47930162083921</c:v>
                </c:pt>
                <c:pt idx="1341">
                  <c:v>141.36895660151703</c:v>
                </c:pt>
                <c:pt idx="1342">
                  <c:v>142.59223219994902</c:v>
                </c:pt>
                <c:pt idx="1343">
                  <c:v>142.3725986265942</c:v>
                </c:pt>
                <c:pt idx="1344">
                  <c:v>142.52828824821279</c:v>
                </c:pt>
                <c:pt idx="1345">
                  <c:v>142.77572353971379</c:v>
                </c:pt>
                <c:pt idx="1346">
                  <c:v>143.09822347020952</c:v>
                </c:pt>
                <c:pt idx="1347">
                  <c:v>142.97311573855168</c:v>
                </c:pt>
                <c:pt idx="1348">
                  <c:v>143.13992604742876</c:v>
                </c:pt>
                <c:pt idx="1349">
                  <c:v>144.70238260724415</c:v>
                </c:pt>
                <c:pt idx="1350">
                  <c:v>144.71906363813181</c:v>
                </c:pt>
                <c:pt idx="1351">
                  <c:v>144.60229642191786</c:v>
                </c:pt>
                <c:pt idx="1352">
                  <c:v>145.66988239873123</c:v>
                </c:pt>
                <c:pt idx="1353">
                  <c:v>145.55867552614649</c:v>
                </c:pt>
                <c:pt idx="1354">
                  <c:v>145.78108927131595</c:v>
                </c:pt>
                <c:pt idx="1355">
                  <c:v>145.78386944313058</c:v>
                </c:pt>
                <c:pt idx="1356">
                  <c:v>146.11192971725552</c:v>
                </c:pt>
                <c:pt idx="1357">
                  <c:v>146.72078734465691</c:v>
                </c:pt>
                <c:pt idx="1358">
                  <c:v>146.84589507631475</c:v>
                </c:pt>
                <c:pt idx="1359">
                  <c:v>146.53451583307751</c:v>
                </c:pt>
                <c:pt idx="1360">
                  <c:v>144.45216714392851</c:v>
                </c:pt>
                <c:pt idx="1361">
                  <c:v>144.3437404431584</c:v>
                </c:pt>
                <c:pt idx="1362">
                  <c:v>145.58369707247806</c:v>
                </c:pt>
                <c:pt idx="1363">
                  <c:v>146.95710194889941</c:v>
                </c:pt>
                <c:pt idx="1364">
                  <c:v>146.96266229252862</c:v>
                </c:pt>
                <c:pt idx="1365">
                  <c:v>146.95710194889941</c:v>
                </c:pt>
                <c:pt idx="1366">
                  <c:v>145.58369707247806</c:v>
                </c:pt>
                <c:pt idx="1367">
                  <c:v>145.56423586977576</c:v>
                </c:pt>
                <c:pt idx="1368">
                  <c:v>148.29436459173075</c:v>
                </c:pt>
                <c:pt idx="1369">
                  <c:v>148.31938613806233</c:v>
                </c:pt>
                <c:pt idx="1370">
                  <c:v>148.04692930022975</c:v>
                </c:pt>
                <c:pt idx="1371">
                  <c:v>148.90600239094675</c:v>
                </c:pt>
                <c:pt idx="1372">
                  <c:v>148.89210153187364</c:v>
                </c:pt>
                <c:pt idx="1373">
                  <c:v>148.21929995273607</c:v>
                </c:pt>
                <c:pt idx="1374">
                  <c:v>148.00244655119585</c:v>
                </c:pt>
                <c:pt idx="1375">
                  <c:v>146.77639078094927</c:v>
                </c:pt>
                <c:pt idx="1376">
                  <c:v>147.59376129444701</c:v>
                </c:pt>
                <c:pt idx="1377">
                  <c:v>149.03111012260453</c:v>
                </c:pt>
                <c:pt idx="1378">
                  <c:v>149.14787733881852</c:v>
                </c:pt>
                <c:pt idx="1379">
                  <c:v>149.32858850676871</c:v>
                </c:pt>
                <c:pt idx="1380">
                  <c:v>150.08201506853021</c:v>
                </c:pt>
                <c:pt idx="1381">
                  <c:v>151.58052767660939</c:v>
                </c:pt>
                <c:pt idx="1382">
                  <c:v>151.51380355305855</c:v>
                </c:pt>
                <c:pt idx="1383">
                  <c:v>151.23578637159673</c:v>
                </c:pt>
                <c:pt idx="1384">
                  <c:v>153.20692818816099</c:v>
                </c:pt>
                <c:pt idx="1385">
                  <c:v>152.8288248213729</c:v>
                </c:pt>
                <c:pt idx="1386">
                  <c:v>151.277488948816</c:v>
                </c:pt>
                <c:pt idx="1387">
                  <c:v>150.80485974033093</c:v>
                </c:pt>
                <c:pt idx="1388">
                  <c:v>151.44429925769313</c:v>
                </c:pt>
                <c:pt idx="1389">
                  <c:v>151.20520448163597</c:v>
                </c:pt>
                <c:pt idx="1390">
                  <c:v>151.44985960132237</c:v>
                </c:pt>
                <c:pt idx="1391">
                  <c:v>152.10041980594301</c:v>
                </c:pt>
                <c:pt idx="1392">
                  <c:v>152.14768272679149</c:v>
                </c:pt>
                <c:pt idx="1393">
                  <c:v>154.01873835802948</c:v>
                </c:pt>
                <c:pt idx="1394">
                  <c:v>154.6804192499086</c:v>
                </c:pt>
                <c:pt idx="1395">
                  <c:v>154.9083933387073</c:v>
                </c:pt>
                <c:pt idx="1396">
                  <c:v>154.23837193138431</c:v>
                </c:pt>
                <c:pt idx="1397">
                  <c:v>155.93705691011601</c:v>
                </c:pt>
                <c:pt idx="1398">
                  <c:v>155.9676388000768</c:v>
                </c:pt>
                <c:pt idx="1399">
                  <c:v>155.65903972865419</c:v>
                </c:pt>
                <c:pt idx="1400">
                  <c:v>156.44582835219114</c:v>
                </c:pt>
                <c:pt idx="1401">
                  <c:v>155.26147515916381</c:v>
                </c:pt>
                <c:pt idx="1402">
                  <c:v>153.18190664182944</c:v>
                </c:pt>
                <c:pt idx="1403">
                  <c:v>153.89363062637167</c:v>
                </c:pt>
                <c:pt idx="1404">
                  <c:v>153.91587200088867</c:v>
                </c:pt>
                <c:pt idx="1405">
                  <c:v>154.75270371708871</c:v>
                </c:pt>
                <c:pt idx="1406">
                  <c:v>155.99544051822301</c:v>
                </c:pt>
                <c:pt idx="1407">
                  <c:v>156.13722928076854</c:v>
                </c:pt>
                <c:pt idx="1408">
                  <c:v>157.14087130584568</c:v>
                </c:pt>
                <c:pt idx="1409">
                  <c:v>156.50421196029811</c:v>
                </c:pt>
                <c:pt idx="1410">
                  <c:v>156.26233701242631</c:v>
                </c:pt>
                <c:pt idx="1411">
                  <c:v>155.58953543328872</c:v>
                </c:pt>
                <c:pt idx="1412">
                  <c:v>155.3560010008608</c:v>
                </c:pt>
                <c:pt idx="1413">
                  <c:v>155.34210014178771</c:v>
                </c:pt>
                <c:pt idx="1414">
                  <c:v>155.39492340626546</c:v>
                </c:pt>
                <c:pt idx="1415">
                  <c:v>155.6979621340588</c:v>
                </c:pt>
                <c:pt idx="1416">
                  <c:v>155.79804831938503</c:v>
                </c:pt>
                <c:pt idx="1417">
                  <c:v>155.60899663599102</c:v>
                </c:pt>
                <c:pt idx="1418">
                  <c:v>154.98067780588732</c:v>
                </c:pt>
                <c:pt idx="1419">
                  <c:v>154.33011760126666</c:v>
                </c:pt>
                <c:pt idx="1420">
                  <c:v>155.61733715143484</c:v>
                </c:pt>
                <c:pt idx="1421">
                  <c:v>155.29205704912454</c:v>
                </c:pt>
                <c:pt idx="1422">
                  <c:v>155.68128110317105</c:v>
                </c:pt>
                <c:pt idx="1423">
                  <c:v>155.42272512441156</c:v>
                </c:pt>
                <c:pt idx="1424">
                  <c:v>155.46998804526007</c:v>
                </c:pt>
                <c:pt idx="1425">
                  <c:v>155.16416914565207</c:v>
                </c:pt>
                <c:pt idx="1426">
                  <c:v>155.55617337151321</c:v>
                </c:pt>
                <c:pt idx="1427">
                  <c:v>154.8944924796341</c:v>
                </c:pt>
                <c:pt idx="1428">
                  <c:v>154.9834579777019</c:v>
                </c:pt>
                <c:pt idx="1429">
                  <c:v>155.7174233367611</c:v>
                </c:pt>
                <c:pt idx="1430">
                  <c:v>155.42550529622616</c:v>
                </c:pt>
                <c:pt idx="1431">
                  <c:v>155.68962161861486</c:v>
                </c:pt>
                <c:pt idx="1432">
                  <c:v>155.94539742555972</c:v>
                </c:pt>
                <c:pt idx="1433">
                  <c:v>156.21229391976306</c:v>
                </c:pt>
                <c:pt idx="1434">
                  <c:v>156.75720759542821</c:v>
                </c:pt>
                <c:pt idx="1435">
                  <c:v>158.23903917261964</c:v>
                </c:pt>
                <c:pt idx="1436">
                  <c:v>158.51705635408149</c:v>
                </c:pt>
                <c:pt idx="1437">
                  <c:v>158.55041841585694</c:v>
                </c:pt>
                <c:pt idx="1438">
                  <c:v>159.21487947955066</c:v>
                </c:pt>
                <c:pt idx="1439">
                  <c:v>159.55684061274872</c:v>
                </c:pt>
                <c:pt idx="1440">
                  <c:v>160.27968528454943</c:v>
                </c:pt>
                <c:pt idx="1441">
                  <c:v>160.9080041146531</c:v>
                </c:pt>
                <c:pt idx="1442">
                  <c:v>162.25360727292826</c:v>
                </c:pt>
                <c:pt idx="1443">
                  <c:v>162.18132280574818</c:v>
                </c:pt>
                <c:pt idx="1444">
                  <c:v>162.02007284050032</c:v>
                </c:pt>
                <c:pt idx="1445">
                  <c:v>162.41763740999073</c:v>
                </c:pt>
                <c:pt idx="1446">
                  <c:v>163.13214156634757</c:v>
                </c:pt>
                <c:pt idx="1447">
                  <c:v>162.08401679223653</c:v>
                </c:pt>
                <c:pt idx="1448">
                  <c:v>161.73093497178002</c:v>
                </c:pt>
                <c:pt idx="1449">
                  <c:v>161.75317634629695</c:v>
                </c:pt>
                <c:pt idx="1450">
                  <c:v>161.64196947371224</c:v>
                </c:pt>
                <c:pt idx="1451">
                  <c:v>161.53910311657137</c:v>
                </c:pt>
                <c:pt idx="1452">
                  <c:v>162.88192610303193</c:v>
                </c:pt>
                <c:pt idx="1453">
                  <c:v>162.47602101809767</c:v>
                </c:pt>
                <c:pt idx="1454">
                  <c:v>161.72815479996541</c:v>
                </c:pt>
                <c:pt idx="1455">
                  <c:v>161.90052545247175</c:v>
                </c:pt>
                <c:pt idx="1456">
                  <c:v>161.65865050459999</c:v>
                </c:pt>
                <c:pt idx="1457">
                  <c:v>161.98115043509569</c:v>
                </c:pt>
                <c:pt idx="1458">
                  <c:v>161.94222802969102</c:v>
                </c:pt>
                <c:pt idx="1459">
                  <c:v>160.79679724206835</c:v>
                </c:pt>
                <c:pt idx="1460">
                  <c:v>160.5604826378258</c:v>
                </c:pt>
                <c:pt idx="1461">
                  <c:v>161.09983596986174</c:v>
                </c:pt>
                <c:pt idx="1462">
                  <c:v>162.1118185103827</c:v>
                </c:pt>
                <c:pt idx="1463">
                  <c:v>162.50104256442924</c:v>
                </c:pt>
                <c:pt idx="1464">
                  <c:v>162.09235730768035</c:v>
                </c:pt>
                <c:pt idx="1465">
                  <c:v>163.13492173816215</c:v>
                </c:pt>
                <c:pt idx="1466">
                  <c:v>163.31841307792698</c:v>
                </c:pt>
                <c:pt idx="1467">
                  <c:v>164.21084823041937</c:v>
                </c:pt>
                <c:pt idx="1468">
                  <c:v>163.32397342155622</c:v>
                </c:pt>
                <c:pt idx="1469">
                  <c:v>162.65673218604783</c:v>
                </c:pt>
                <c:pt idx="1470">
                  <c:v>163.06819761461131</c:v>
                </c:pt>
                <c:pt idx="1471">
                  <c:v>161.93666768606172</c:v>
                </c:pt>
                <c:pt idx="1472">
                  <c:v>160.33806889265628</c:v>
                </c:pt>
                <c:pt idx="1473">
                  <c:v>161.16656009341247</c:v>
                </c:pt>
                <c:pt idx="1474">
                  <c:v>162.15352108760186</c:v>
                </c:pt>
                <c:pt idx="1475">
                  <c:v>161.66699102004367</c:v>
                </c:pt>
                <c:pt idx="1476">
                  <c:v>162.42319775361977</c:v>
                </c:pt>
                <c:pt idx="1477">
                  <c:v>163.95229225165977</c:v>
                </c:pt>
                <c:pt idx="1478">
                  <c:v>164.18860685590229</c:v>
                </c:pt>
                <c:pt idx="1479">
                  <c:v>163.60199060301787</c:v>
                </c:pt>
                <c:pt idx="1480">
                  <c:v>163.00703383468959</c:v>
                </c:pt>
                <c:pt idx="1481">
                  <c:v>164.50554644276875</c:v>
                </c:pt>
                <c:pt idx="1482">
                  <c:v>164.93647307403452</c:v>
                </c:pt>
                <c:pt idx="1483">
                  <c:v>164.78634379604514</c:v>
                </c:pt>
                <c:pt idx="1484">
                  <c:v>164.66957657983116</c:v>
                </c:pt>
                <c:pt idx="1485">
                  <c:v>163.83274486363112</c:v>
                </c:pt>
                <c:pt idx="1486">
                  <c:v>165.13108510105778</c:v>
                </c:pt>
                <c:pt idx="1487">
                  <c:v>166.07078317439871</c:v>
                </c:pt>
                <c:pt idx="1488">
                  <c:v>166.82977007978945</c:v>
                </c:pt>
                <c:pt idx="1489">
                  <c:v>165.9345547554824</c:v>
                </c:pt>
                <c:pt idx="1490">
                  <c:v>166.87703300063791</c:v>
                </c:pt>
                <c:pt idx="1491">
                  <c:v>166.36548138674817</c:v>
                </c:pt>
                <c:pt idx="1492">
                  <c:v>166.80196836164322</c:v>
                </c:pt>
                <c:pt idx="1493">
                  <c:v>167.17729155661667</c:v>
                </c:pt>
                <c:pt idx="1494">
                  <c:v>168.60351969751576</c:v>
                </c:pt>
                <c:pt idx="1495">
                  <c:v>168.93436014345531</c:v>
                </c:pt>
                <c:pt idx="1496">
                  <c:v>168.30326114153701</c:v>
                </c:pt>
                <c:pt idx="1497">
                  <c:v>168.75086880369054</c:v>
                </c:pt>
                <c:pt idx="1498">
                  <c:v>170.61358391948465</c:v>
                </c:pt>
                <c:pt idx="1499">
                  <c:v>171.72565264533188</c:v>
                </c:pt>
                <c:pt idx="1500">
                  <c:v>172.42069559898638</c:v>
                </c:pt>
                <c:pt idx="1501">
                  <c:v>171.30584670132455</c:v>
                </c:pt>
                <c:pt idx="1502">
                  <c:v>171.67004920903955</c:v>
                </c:pt>
                <c:pt idx="1503">
                  <c:v>172.23720425922164</c:v>
                </c:pt>
                <c:pt idx="1504">
                  <c:v>172.0314715449399</c:v>
                </c:pt>
                <c:pt idx="1505">
                  <c:v>172.84050154299382</c:v>
                </c:pt>
                <c:pt idx="1506">
                  <c:v>171.51435958742093</c:v>
                </c:pt>
                <c:pt idx="1507">
                  <c:v>171.35310962217309</c:v>
                </c:pt>
                <c:pt idx="1508">
                  <c:v>168.70360588284203</c:v>
                </c:pt>
                <c:pt idx="1509">
                  <c:v>170.12705385192649</c:v>
                </c:pt>
                <c:pt idx="1510">
                  <c:v>168.46173093497026</c:v>
                </c:pt>
                <c:pt idx="1511">
                  <c:v>169.7267091106215</c:v>
                </c:pt>
                <c:pt idx="1512">
                  <c:v>170.1353943673704</c:v>
                </c:pt>
                <c:pt idx="1513">
                  <c:v>170.785954571991</c:v>
                </c:pt>
                <c:pt idx="1514">
                  <c:v>170.84989852372723</c:v>
                </c:pt>
                <c:pt idx="1515">
                  <c:v>170.73591147932791</c:v>
                </c:pt>
                <c:pt idx="1516">
                  <c:v>171.23912257777377</c:v>
                </c:pt>
                <c:pt idx="1517">
                  <c:v>172.57360504879048</c:v>
                </c:pt>
                <c:pt idx="1518">
                  <c:v>172.73763518585295</c:v>
                </c:pt>
                <c:pt idx="1519">
                  <c:v>171.73121298896118</c:v>
                </c:pt>
                <c:pt idx="1520">
                  <c:v>171.45597597931396</c:v>
                </c:pt>
                <c:pt idx="1521">
                  <c:v>171.9425060468721</c:v>
                </c:pt>
                <c:pt idx="1522">
                  <c:v>169.4375712419012</c:v>
                </c:pt>
                <c:pt idx="1523">
                  <c:v>166.38772276126511</c:v>
                </c:pt>
                <c:pt idx="1524">
                  <c:v>167.55817509521935</c:v>
                </c:pt>
                <c:pt idx="1525">
                  <c:v>167.31351997553293</c:v>
                </c:pt>
                <c:pt idx="1526">
                  <c:v>166.76026578442395</c:v>
                </c:pt>
                <c:pt idx="1527">
                  <c:v>169.15677388862477</c:v>
                </c:pt>
                <c:pt idx="1528">
                  <c:v>168.5812783229988</c:v>
                </c:pt>
                <c:pt idx="1529">
                  <c:v>169.10117045233235</c:v>
                </c:pt>
                <c:pt idx="1530">
                  <c:v>170.09925213378025</c:v>
                </c:pt>
                <c:pt idx="1531">
                  <c:v>170.53573910867524</c:v>
                </c:pt>
                <c:pt idx="1532">
                  <c:v>170.36614862798353</c:v>
                </c:pt>
                <c:pt idx="1533">
                  <c:v>172.35953181906476</c:v>
                </c:pt>
                <c:pt idx="1534">
                  <c:v>171.54494147738166</c:v>
                </c:pt>
                <c:pt idx="1535">
                  <c:v>172.82104034029138</c:v>
                </c:pt>
                <c:pt idx="1536">
                  <c:v>173.54388501209209</c:v>
                </c:pt>
                <c:pt idx="1537">
                  <c:v>175.19252689816059</c:v>
                </c:pt>
                <c:pt idx="1538">
                  <c:v>176.8244877533414</c:v>
                </c:pt>
                <c:pt idx="1539">
                  <c:v>177.50284967610824</c:v>
                </c:pt>
                <c:pt idx="1540">
                  <c:v>176.77444466067828</c:v>
                </c:pt>
                <c:pt idx="1541">
                  <c:v>178.3285607050498</c:v>
                </c:pt>
                <c:pt idx="1542">
                  <c:v>179.69084489421272</c:v>
                </c:pt>
                <c:pt idx="1543">
                  <c:v>180.69170674747519</c:v>
                </c:pt>
                <c:pt idx="1544">
                  <c:v>182.39873224165075</c:v>
                </c:pt>
                <c:pt idx="1545">
                  <c:v>182.48213739608929</c:v>
                </c:pt>
                <c:pt idx="1546">
                  <c:v>183.89446467791532</c:v>
                </c:pt>
                <c:pt idx="1547">
                  <c:v>183.6331285273412</c:v>
                </c:pt>
                <c:pt idx="1548">
                  <c:v>182.26250382273449</c:v>
                </c:pt>
                <c:pt idx="1549">
                  <c:v>181.07815062970718</c:v>
                </c:pt>
                <c:pt idx="1550">
                  <c:v>180.1495732436247</c:v>
                </c:pt>
                <c:pt idx="1551">
                  <c:v>178.1117073035096</c:v>
                </c:pt>
                <c:pt idx="1552">
                  <c:v>180.18293530540009</c:v>
                </c:pt>
                <c:pt idx="1553">
                  <c:v>183.17440017792919</c:v>
                </c:pt>
                <c:pt idx="1554">
                  <c:v>183.23556395785079</c:v>
                </c:pt>
                <c:pt idx="1555">
                  <c:v>180.83905585364994</c:v>
                </c:pt>
                <c:pt idx="1556">
                  <c:v>179.94384052934288</c:v>
                </c:pt>
                <c:pt idx="1557">
                  <c:v>179.25157774750295</c:v>
                </c:pt>
                <c:pt idx="1558">
                  <c:v>178.05054352358789</c:v>
                </c:pt>
                <c:pt idx="1559">
                  <c:v>179.14593121854745</c:v>
                </c:pt>
                <c:pt idx="1560">
                  <c:v>180.93636186716148</c:v>
                </c:pt>
                <c:pt idx="1561">
                  <c:v>182.32088743084131</c:v>
                </c:pt>
                <c:pt idx="1562">
                  <c:v>181.26720231310108</c:v>
                </c:pt>
                <c:pt idx="1563">
                  <c:v>181.72593066251304</c:v>
                </c:pt>
                <c:pt idx="1564">
                  <c:v>176.12388445605757</c:v>
                </c:pt>
                <c:pt idx="1565">
                  <c:v>177.9365564791886</c:v>
                </c:pt>
                <c:pt idx="1566">
                  <c:v>177.1219661375055</c:v>
                </c:pt>
                <c:pt idx="1567">
                  <c:v>177.5278712224397</c:v>
                </c:pt>
                <c:pt idx="1568">
                  <c:v>178.17287108343112</c:v>
                </c:pt>
                <c:pt idx="1569">
                  <c:v>178.32856070504971</c:v>
                </c:pt>
                <c:pt idx="1570">
                  <c:v>181.44791348105124</c:v>
                </c:pt>
                <c:pt idx="1571">
                  <c:v>181.18101698684791</c:v>
                </c:pt>
                <c:pt idx="1572">
                  <c:v>180.7056076065482</c:v>
                </c:pt>
                <c:pt idx="1573">
                  <c:v>180.48597403319337</c:v>
                </c:pt>
                <c:pt idx="1574">
                  <c:v>180.88353860268376</c:v>
                </c:pt>
                <c:pt idx="1575">
                  <c:v>180.72228863743589</c:v>
                </c:pt>
                <c:pt idx="1576">
                  <c:v>181.53687897911902</c:v>
                </c:pt>
                <c:pt idx="1577">
                  <c:v>180.40812922238405</c:v>
                </c:pt>
                <c:pt idx="1578">
                  <c:v>180.41646973782792</c:v>
                </c:pt>
                <c:pt idx="1579">
                  <c:v>179.46009063359926</c:v>
                </c:pt>
                <c:pt idx="1580">
                  <c:v>181.74817203702997</c:v>
                </c:pt>
                <c:pt idx="1581">
                  <c:v>182.17353832466654</c:v>
                </c:pt>
                <c:pt idx="1582">
                  <c:v>182.34590897717288</c:v>
                </c:pt>
                <c:pt idx="1583">
                  <c:v>182.34034863354367</c:v>
                </c:pt>
                <c:pt idx="1584">
                  <c:v>179.10978898495742</c:v>
                </c:pt>
                <c:pt idx="1585">
                  <c:v>178.53985376296072</c:v>
                </c:pt>
                <c:pt idx="1586">
                  <c:v>176.12388445605757</c:v>
                </c:pt>
                <c:pt idx="1587">
                  <c:v>175.47888459506615</c:v>
                </c:pt>
                <c:pt idx="1588">
                  <c:v>177.01631960854996</c:v>
                </c:pt>
                <c:pt idx="1589">
                  <c:v>178.62325891739926</c:v>
                </c:pt>
                <c:pt idx="1590">
                  <c:v>179.32108204286843</c:v>
                </c:pt>
                <c:pt idx="1591">
                  <c:v>178.37860379771291</c:v>
                </c:pt>
                <c:pt idx="1592">
                  <c:v>178.93463816063652</c:v>
                </c:pt>
                <c:pt idx="1593">
                  <c:v>179.34054324557079</c:v>
                </c:pt>
                <c:pt idx="1594">
                  <c:v>180.12455169729307</c:v>
                </c:pt>
                <c:pt idx="1595">
                  <c:v>181.15043509688718</c:v>
                </c:pt>
                <c:pt idx="1596">
                  <c:v>180.75843087102601</c:v>
                </c:pt>
                <c:pt idx="1597">
                  <c:v>181.5090772609729</c:v>
                </c:pt>
                <c:pt idx="1598">
                  <c:v>181.6731073980354</c:v>
                </c:pt>
                <c:pt idx="1599">
                  <c:v>181.86771942505865</c:v>
                </c:pt>
                <c:pt idx="1600">
                  <c:v>181.87049959687323</c:v>
                </c:pt>
                <c:pt idx="1601">
                  <c:v>181.98448664127261</c:v>
                </c:pt>
                <c:pt idx="1602">
                  <c:v>178.87069420890029</c:v>
                </c:pt>
                <c:pt idx="1603">
                  <c:v>178.3841641413421</c:v>
                </c:pt>
                <c:pt idx="1604">
                  <c:v>178.15619005254339</c:v>
                </c:pt>
                <c:pt idx="1605">
                  <c:v>177.44724623981577</c:v>
                </c:pt>
                <c:pt idx="1606">
                  <c:v>179.25713809113216</c:v>
                </c:pt>
                <c:pt idx="1607">
                  <c:v>179.4434096027116</c:v>
                </c:pt>
                <c:pt idx="1608">
                  <c:v>181.29222385943265</c:v>
                </c:pt>
                <c:pt idx="1609">
                  <c:v>183.91114570880291</c:v>
                </c:pt>
                <c:pt idx="1610">
                  <c:v>185.0482359809817</c:v>
                </c:pt>
                <c:pt idx="1611">
                  <c:v>184.99819288831856</c:v>
                </c:pt>
                <c:pt idx="1612">
                  <c:v>184.83972309488533</c:v>
                </c:pt>
                <c:pt idx="1613">
                  <c:v>185.96847285162025</c:v>
                </c:pt>
                <c:pt idx="1614">
                  <c:v>187.14726570101831</c:v>
                </c:pt>
                <c:pt idx="1615">
                  <c:v>187.0388390002482</c:v>
                </c:pt>
                <c:pt idx="1616">
                  <c:v>188.61241624732205</c:v>
                </c:pt>
                <c:pt idx="1617">
                  <c:v>187.93961466818448</c:v>
                </c:pt>
                <c:pt idx="1618">
                  <c:v>188.63743779365362</c:v>
                </c:pt>
                <c:pt idx="1619">
                  <c:v>186.89148989407346</c:v>
                </c:pt>
                <c:pt idx="1620">
                  <c:v>185.69601601378764</c:v>
                </c:pt>
                <c:pt idx="1621">
                  <c:v>186.74414078789871</c:v>
                </c:pt>
                <c:pt idx="1622">
                  <c:v>186.02685645972721</c:v>
                </c:pt>
                <c:pt idx="1623">
                  <c:v>185.62651171842219</c:v>
                </c:pt>
                <c:pt idx="1624">
                  <c:v>186.98323556395584</c:v>
                </c:pt>
                <c:pt idx="1625">
                  <c:v>188.61797659095134</c:v>
                </c:pt>
                <c:pt idx="1626">
                  <c:v>187.11390363924295</c:v>
                </c:pt>
                <c:pt idx="1627">
                  <c:v>187.19174845005224</c:v>
                </c:pt>
                <c:pt idx="1628">
                  <c:v>186.87202869137118</c:v>
                </c:pt>
                <c:pt idx="1629">
                  <c:v>186.54118824543164</c:v>
                </c:pt>
                <c:pt idx="1630">
                  <c:v>186.00461508521033</c:v>
                </c:pt>
                <c:pt idx="1631">
                  <c:v>185.69323584197309</c:v>
                </c:pt>
                <c:pt idx="1632">
                  <c:v>185.11774027634715</c:v>
                </c:pt>
                <c:pt idx="1633">
                  <c:v>184.92590842113847</c:v>
                </c:pt>
                <c:pt idx="1634">
                  <c:v>184.06405515860683</c:v>
                </c:pt>
                <c:pt idx="1635">
                  <c:v>184.03625344046068</c:v>
                </c:pt>
                <c:pt idx="1636">
                  <c:v>184.07517584586535</c:v>
                </c:pt>
                <c:pt idx="1637">
                  <c:v>185.39297728599433</c:v>
                </c:pt>
                <c:pt idx="1638">
                  <c:v>185.95179182073255</c:v>
                </c:pt>
                <c:pt idx="1639">
                  <c:v>185.84892546359168</c:v>
                </c:pt>
                <c:pt idx="1640">
                  <c:v>184.71183519141289</c:v>
                </c:pt>
                <c:pt idx="1641">
                  <c:v>185.86838666629401</c:v>
                </c:pt>
                <c:pt idx="1642">
                  <c:v>186.44666240373462</c:v>
                </c:pt>
                <c:pt idx="1643">
                  <c:v>187.90625260640914</c:v>
                </c:pt>
                <c:pt idx="1644">
                  <c:v>187.27515360449084</c:v>
                </c:pt>
                <c:pt idx="1645">
                  <c:v>186.93875281492205</c:v>
                </c:pt>
                <c:pt idx="1646">
                  <c:v>182.77961578025335</c:v>
                </c:pt>
                <c:pt idx="1647">
                  <c:v>181.41733159109046</c:v>
                </c:pt>
                <c:pt idx="1648">
                  <c:v>182.03174956212106</c:v>
                </c:pt>
                <c:pt idx="1649">
                  <c:v>182.39595206983603</c:v>
                </c:pt>
                <c:pt idx="1650">
                  <c:v>179.50735355444783</c:v>
                </c:pt>
                <c:pt idx="1651">
                  <c:v>179.651922488808</c:v>
                </c:pt>
                <c:pt idx="1652">
                  <c:v>175.09522088464888</c:v>
                </c:pt>
                <c:pt idx="1653">
                  <c:v>174.6976563151585</c:v>
                </c:pt>
                <c:pt idx="1654">
                  <c:v>176.28235424949082</c:v>
                </c:pt>
                <c:pt idx="1655">
                  <c:v>178.92073730156338</c:v>
                </c:pt>
                <c:pt idx="1656">
                  <c:v>177.57791431510287</c:v>
                </c:pt>
                <c:pt idx="1657">
                  <c:v>176.19894909505231</c:v>
                </c:pt>
                <c:pt idx="1658">
                  <c:v>174.28063054296584</c:v>
                </c:pt>
                <c:pt idx="1659">
                  <c:v>174.21946676304424</c:v>
                </c:pt>
                <c:pt idx="1660">
                  <c:v>175.47610442325166</c:v>
                </c:pt>
                <c:pt idx="1661">
                  <c:v>176.79112569156601</c:v>
                </c:pt>
                <c:pt idx="1662">
                  <c:v>175.40381995607157</c:v>
                </c:pt>
                <c:pt idx="1663">
                  <c:v>176.61319469543042</c:v>
                </c:pt>
                <c:pt idx="1664">
                  <c:v>177.91709527648632</c:v>
                </c:pt>
                <c:pt idx="1665">
                  <c:v>180.71672829380674</c:v>
                </c:pt>
                <c:pt idx="1666">
                  <c:v>184.18360254663551</c:v>
                </c:pt>
                <c:pt idx="1667">
                  <c:v>183.55528371653185</c:v>
                </c:pt>
                <c:pt idx="1668">
                  <c:v>184.15302065667473</c:v>
                </c:pt>
                <c:pt idx="1669">
                  <c:v>184.64789123967677</c:v>
                </c:pt>
                <c:pt idx="1670">
                  <c:v>184.21140426478172</c:v>
                </c:pt>
                <c:pt idx="1671">
                  <c:v>184.07517584586543</c:v>
                </c:pt>
                <c:pt idx="1672">
                  <c:v>185.09549890183024</c:v>
                </c:pt>
                <c:pt idx="1673">
                  <c:v>183.54694320108797</c:v>
                </c:pt>
                <c:pt idx="1674">
                  <c:v>184.06127498679231</c:v>
                </c:pt>
                <c:pt idx="1675">
                  <c:v>184.12521893852855</c:v>
                </c:pt>
                <c:pt idx="1676">
                  <c:v>184.93980928021165</c:v>
                </c:pt>
                <c:pt idx="1677">
                  <c:v>185.32069281881434</c:v>
                </c:pt>
                <c:pt idx="1678">
                  <c:v>185.07325752731333</c:v>
                </c:pt>
                <c:pt idx="1679">
                  <c:v>184.90088687480701</c:v>
                </c:pt>
                <c:pt idx="1680">
                  <c:v>186.46056326280774</c:v>
                </c:pt>
                <c:pt idx="1681">
                  <c:v>185.44580055047211</c:v>
                </c:pt>
                <c:pt idx="1682">
                  <c:v>184.57004642886739</c:v>
                </c:pt>
                <c:pt idx="1683">
                  <c:v>185.27064972615113</c:v>
                </c:pt>
                <c:pt idx="1684">
                  <c:v>184.82860240762682</c:v>
                </c:pt>
                <c:pt idx="1685">
                  <c:v>182.76849509299478</c:v>
                </c:pt>
                <c:pt idx="1686">
                  <c:v>181.26442214128642</c:v>
                </c:pt>
                <c:pt idx="1687">
                  <c:v>182.02340904667716</c:v>
                </c:pt>
                <c:pt idx="1688">
                  <c:v>182.27084433817814</c:v>
                </c:pt>
                <c:pt idx="1689">
                  <c:v>180.55547832855876</c:v>
                </c:pt>
                <c:pt idx="1690">
                  <c:v>182.29030554088044</c:v>
                </c:pt>
                <c:pt idx="1691">
                  <c:v>184.53668436709188</c:v>
                </c:pt>
                <c:pt idx="1692">
                  <c:v>184.550585226165</c:v>
                </c:pt>
                <c:pt idx="1693">
                  <c:v>185.51530484583748</c:v>
                </c:pt>
                <c:pt idx="1694">
                  <c:v>186.59123133809467</c:v>
                </c:pt>
                <c:pt idx="1695">
                  <c:v>189.20181267202111</c:v>
                </c:pt>
                <c:pt idx="1696">
                  <c:v>190.15819177624977</c:v>
                </c:pt>
                <c:pt idx="1697">
                  <c:v>189.86905390752949</c:v>
                </c:pt>
                <c:pt idx="1698">
                  <c:v>189.46036865078062</c:v>
                </c:pt>
                <c:pt idx="1699">
                  <c:v>189.88573493841719</c:v>
                </c:pt>
                <c:pt idx="1700">
                  <c:v>191.00614417970829</c:v>
                </c:pt>
                <c:pt idx="1701">
                  <c:v>190.8532347299043</c:v>
                </c:pt>
                <c:pt idx="1702">
                  <c:v>190.61135978203251</c:v>
                </c:pt>
                <c:pt idx="1703">
                  <c:v>190.67252356195414</c:v>
                </c:pt>
                <c:pt idx="1704">
                  <c:v>190.68086407739801</c:v>
                </c:pt>
                <c:pt idx="1705">
                  <c:v>190.77260974728043</c:v>
                </c:pt>
                <c:pt idx="1706">
                  <c:v>191.08398899051761</c:v>
                </c:pt>
                <c:pt idx="1707">
                  <c:v>191.57607940170504</c:v>
                </c:pt>
                <c:pt idx="1708">
                  <c:v>192.94670410631176</c:v>
                </c:pt>
                <c:pt idx="1709">
                  <c:v>192.60474297311373</c:v>
                </c:pt>
                <c:pt idx="1710">
                  <c:v>195.01793210820225</c:v>
                </c:pt>
                <c:pt idx="1711">
                  <c:v>195.54060440935046</c:v>
                </c:pt>
                <c:pt idx="1712">
                  <c:v>194.78995801940354</c:v>
                </c:pt>
                <c:pt idx="1713">
                  <c:v>193.70569101170247</c:v>
                </c:pt>
                <c:pt idx="1714">
                  <c:v>193.1135144151888</c:v>
                </c:pt>
                <c:pt idx="1715">
                  <c:v>194.79551836303273</c:v>
                </c:pt>
                <c:pt idx="1716">
                  <c:v>195.59620784564274</c:v>
                </c:pt>
                <c:pt idx="1717">
                  <c:v>195.32653117962482</c:v>
                </c:pt>
                <c:pt idx="1718">
                  <c:v>195.83808279351453</c:v>
                </c:pt>
                <c:pt idx="1719">
                  <c:v>196.55536712168598</c:v>
                </c:pt>
                <c:pt idx="1720">
                  <c:v>197.62017292668475</c:v>
                </c:pt>
                <c:pt idx="1721">
                  <c:v>197.35049626066677</c:v>
                </c:pt>
                <c:pt idx="1722">
                  <c:v>196.43859990547205</c:v>
                </c:pt>
                <c:pt idx="1723">
                  <c:v>196.6332119324953</c:v>
                </c:pt>
                <c:pt idx="1724">
                  <c:v>195.24868636881547</c:v>
                </c:pt>
                <c:pt idx="1725">
                  <c:v>194.86780283021278</c:v>
                </c:pt>
                <c:pt idx="1726">
                  <c:v>193.85025994606258</c:v>
                </c:pt>
                <c:pt idx="1727">
                  <c:v>195.02905279546061</c:v>
                </c:pt>
                <c:pt idx="1728">
                  <c:v>194.86224248658354</c:v>
                </c:pt>
                <c:pt idx="1729">
                  <c:v>196.07717756957166</c:v>
                </c:pt>
                <c:pt idx="1730">
                  <c:v>195.66015179737894</c:v>
                </c:pt>
                <c:pt idx="1731">
                  <c:v>196.48308265450595</c:v>
                </c:pt>
                <c:pt idx="1732">
                  <c:v>198.54318996913798</c:v>
                </c:pt>
                <c:pt idx="1733">
                  <c:v>201.44846951541393</c:v>
                </c:pt>
                <c:pt idx="1734">
                  <c:v>202.29920209068706</c:v>
                </c:pt>
                <c:pt idx="1735">
                  <c:v>203.18051655592103</c:v>
                </c:pt>
                <c:pt idx="1736">
                  <c:v>203.47243459645591</c:v>
                </c:pt>
                <c:pt idx="1737">
                  <c:v>202.83021490727913</c:v>
                </c:pt>
                <c:pt idx="1738">
                  <c:v>203.2667018821742</c:v>
                </c:pt>
                <c:pt idx="1739">
                  <c:v>204.58728349411783</c:v>
                </c:pt>
                <c:pt idx="1740">
                  <c:v>205.07103338986136</c:v>
                </c:pt>
                <c:pt idx="1741">
                  <c:v>204.90422308098425</c:v>
                </c:pt>
                <c:pt idx="1742">
                  <c:v>206.33323139369796</c:v>
                </c:pt>
                <c:pt idx="1743">
                  <c:v>206.83088214851463</c:v>
                </c:pt>
                <c:pt idx="1744">
                  <c:v>206.49726153076045</c:v>
                </c:pt>
                <c:pt idx="1745">
                  <c:v>208.1598042759021</c:v>
                </c:pt>
                <c:pt idx="1746">
                  <c:v>210.46734688203512</c:v>
                </c:pt>
                <c:pt idx="1747">
                  <c:v>210.16986849787102</c:v>
                </c:pt>
                <c:pt idx="1748">
                  <c:v>209.90297200366766</c:v>
                </c:pt>
                <c:pt idx="1749">
                  <c:v>210.46456671022057</c:v>
                </c:pt>
                <c:pt idx="1750">
                  <c:v>210.3366788067481</c:v>
                </c:pt>
                <c:pt idx="1751">
                  <c:v>208.0346965442443</c:v>
                </c:pt>
                <c:pt idx="1752">
                  <c:v>207.15060190719575</c:v>
                </c:pt>
                <c:pt idx="1753">
                  <c:v>206.95042953654325</c:v>
                </c:pt>
                <c:pt idx="1754">
                  <c:v>205.62150740915581</c:v>
                </c:pt>
                <c:pt idx="1755">
                  <c:v>208.46006283188089</c:v>
                </c:pt>
                <c:pt idx="1756">
                  <c:v>207.82896382996259</c:v>
                </c:pt>
                <c:pt idx="1757">
                  <c:v>205.93566682420766</c:v>
                </c:pt>
                <c:pt idx="1758">
                  <c:v>202.76627095554301</c:v>
                </c:pt>
                <c:pt idx="1759">
                  <c:v>202.57443910033433</c:v>
                </c:pt>
                <c:pt idx="1760">
                  <c:v>200.44482749033688</c:v>
                </c:pt>
                <c:pt idx="1761">
                  <c:v>201.85159442853362</c:v>
                </c:pt>
                <c:pt idx="1762">
                  <c:v>203.38068892657355</c:v>
                </c:pt>
                <c:pt idx="1763">
                  <c:v>207.33409324696052</c:v>
                </c:pt>
                <c:pt idx="1764">
                  <c:v>208.19872668130674</c:v>
                </c:pt>
                <c:pt idx="1765">
                  <c:v>207.65659317745619</c:v>
                </c:pt>
                <c:pt idx="1766">
                  <c:v>208.79924379326425</c:v>
                </c:pt>
                <c:pt idx="1767">
                  <c:v>210.13094609246633</c:v>
                </c:pt>
                <c:pt idx="1768">
                  <c:v>210.40062275848427</c:v>
                </c:pt>
                <c:pt idx="1769">
                  <c:v>209.5832522449866</c:v>
                </c:pt>
                <c:pt idx="1770">
                  <c:v>205.93844699602224</c:v>
                </c:pt>
                <c:pt idx="1771">
                  <c:v>204.9014429091697</c:v>
                </c:pt>
                <c:pt idx="1772">
                  <c:v>207.96519224887885</c:v>
                </c:pt>
                <c:pt idx="1773">
                  <c:v>207.85954571992335</c:v>
                </c:pt>
                <c:pt idx="1774">
                  <c:v>209.41088159248031</c:v>
                </c:pt>
                <c:pt idx="1775">
                  <c:v>208.07083877783435</c:v>
                </c:pt>
                <c:pt idx="1776">
                  <c:v>209.86126942644842</c:v>
                </c:pt>
                <c:pt idx="1777">
                  <c:v>211.15404932024586</c:v>
                </c:pt>
                <c:pt idx="1778">
                  <c:v>211.1568294920605</c:v>
                </c:pt>
                <c:pt idx="1779">
                  <c:v>213.75629013872847</c:v>
                </c:pt>
                <c:pt idx="1780">
                  <c:v>213.29478161750185</c:v>
                </c:pt>
                <c:pt idx="1781">
                  <c:v>214.00372543022951</c:v>
                </c:pt>
                <c:pt idx="1782">
                  <c:v>215.7885957352143</c:v>
                </c:pt>
                <c:pt idx="1783">
                  <c:v>215.93594484138904</c:v>
                </c:pt>
                <c:pt idx="1784">
                  <c:v>217.60960827378915</c:v>
                </c:pt>
                <c:pt idx="1785">
                  <c:v>218.58544858072008</c:v>
                </c:pt>
                <c:pt idx="1786">
                  <c:v>216.17503961744615</c:v>
                </c:pt>
                <c:pt idx="1787">
                  <c:v>214.21779865995498</c:v>
                </c:pt>
                <c:pt idx="1788">
                  <c:v>212.68870416191504</c:v>
                </c:pt>
                <c:pt idx="1789">
                  <c:v>212.68870416191504</c:v>
                </c:pt>
                <c:pt idx="1790">
                  <c:v>214.76827267924938</c:v>
                </c:pt>
                <c:pt idx="1791">
                  <c:v>218.01273318690869</c:v>
                </c:pt>
                <c:pt idx="1792">
                  <c:v>218.5659873780177</c:v>
                </c:pt>
                <c:pt idx="1793">
                  <c:v>218.72445717145092</c:v>
                </c:pt>
                <c:pt idx="1794">
                  <c:v>219.42784064054928</c:v>
                </c:pt>
                <c:pt idx="1795">
                  <c:v>216.37521198809861</c:v>
                </c:pt>
                <c:pt idx="1796">
                  <c:v>216.89510411743223</c:v>
                </c:pt>
                <c:pt idx="1797">
                  <c:v>219.51124579498787</c:v>
                </c:pt>
                <c:pt idx="1798">
                  <c:v>218.36303483555062</c:v>
                </c:pt>
                <c:pt idx="1799">
                  <c:v>219.51958631043181</c:v>
                </c:pt>
                <c:pt idx="1800">
                  <c:v>223.18385276209847</c:v>
                </c:pt>
                <c:pt idx="1801">
                  <c:v>225.69990825432791</c:v>
                </c:pt>
                <c:pt idx="1802">
                  <c:v>224.77133086824546</c:v>
                </c:pt>
                <c:pt idx="1803">
                  <c:v>226.94264505546218</c:v>
                </c:pt>
                <c:pt idx="1804">
                  <c:v>225.88617976590731</c:v>
                </c:pt>
                <c:pt idx="1805">
                  <c:v>223.19219327754237</c:v>
                </c:pt>
                <c:pt idx="1806">
                  <c:v>222.9058355806367</c:v>
                </c:pt>
                <c:pt idx="1807">
                  <c:v>225.27176179487671</c:v>
                </c:pt>
                <c:pt idx="1808">
                  <c:v>225.7777530651372</c:v>
                </c:pt>
                <c:pt idx="1809">
                  <c:v>223.99288276015233</c:v>
                </c:pt>
                <c:pt idx="1810">
                  <c:v>221.04312046484253</c:v>
                </c:pt>
                <c:pt idx="1811">
                  <c:v>219.86154744362986</c:v>
                </c:pt>
                <c:pt idx="1812">
                  <c:v>221.10984458839337</c:v>
                </c:pt>
                <c:pt idx="1813">
                  <c:v>219.89768967721989</c:v>
                </c:pt>
                <c:pt idx="1814">
                  <c:v>222.96699936055828</c:v>
                </c:pt>
                <c:pt idx="1815">
                  <c:v>222.01340042814422</c:v>
                </c:pt>
                <c:pt idx="1816">
                  <c:v>223.79549056131449</c:v>
                </c:pt>
                <c:pt idx="1817">
                  <c:v>226.20867969640301</c:v>
                </c:pt>
                <c:pt idx="1818">
                  <c:v>225.56646000722625</c:v>
                </c:pt>
                <c:pt idx="1819">
                  <c:v>223.59809836247661</c:v>
                </c:pt>
                <c:pt idx="1820">
                  <c:v>219.51124579498799</c:v>
                </c:pt>
                <c:pt idx="1821">
                  <c:v>220.51488782006513</c:v>
                </c:pt>
                <c:pt idx="1822">
                  <c:v>221.22105146097815</c:v>
                </c:pt>
                <c:pt idx="1823">
                  <c:v>219.53904751313416</c:v>
                </c:pt>
                <c:pt idx="1824">
                  <c:v>218.45756067724773</c:v>
                </c:pt>
                <c:pt idx="1825">
                  <c:v>217.59014707108688</c:v>
                </c:pt>
                <c:pt idx="1826">
                  <c:v>217.9932719842065</c:v>
                </c:pt>
                <c:pt idx="1827">
                  <c:v>219.88100864633219</c:v>
                </c:pt>
                <c:pt idx="1828">
                  <c:v>219.37501737607172</c:v>
                </c:pt>
                <c:pt idx="1829">
                  <c:v>219.77258194556208</c:v>
                </c:pt>
                <c:pt idx="1830">
                  <c:v>215.15193638966679</c:v>
                </c:pt>
                <c:pt idx="1831">
                  <c:v>210.49236842836683</c:v>
                </c:pt>
                <c:pt idx="1832">
                  <c:v>211.19297172565058</c:v>
                </c:pt>
                <c:pt idx="1833">
                  <c:v>208.54346798631951</c:v>
                </c:pt>
                <c:pt idx="1834">
                  <c:v>208.60185159442651</c:v>
                </c:pt>
                <c:pt idx="1835">
                  <c:v>210.70922182990705</c:v>
                </c:pt>
                <c:pt idx="1836">
                  <c:v>211.88523450749054</c:v>
                </c:pt>
                <c:pt idx="1837">
                  <c:v>212.99452306152315</c:v>
                </c:pt>
                <c:pt idx="1838">
                  <c:v>211.45986821985394</c:v>
                </c:pt>
                <c:pt idx="1839">
                  <c:v>210.83154938975022</c:v>
                </c:pt>
                <c:pt idx="1840">
                  <c:v>205.07937390530532</c:v>
                </c:pt>
                <c:pt idx="1841">
                  <c:v>206.76971836859317</c:v>
                </c:pt>
                <c:pt idx="1842">
                  <c:v>209.8251271928585</c:v>
                </c:pt>
                <c:pt idx="1843">
                  <c:v>212.27445856153705</c:v>
                </c:pt>
                <c:pt idx="1844">
                  <c:v>211.78514832216425</c:v>
                </c:pt>
                <c:pt idx="1845">
                  <c:v>213.05568684144473</c:v>
                </c:pt>
                <c:pt idx="1846">
                  <c:v>211.39592426811774</c:v>
                </c:pt>
                <c:pt idx="1847">
                  <c:v>215.35488893213395</c:v>
                </c:pt>
                <c:pt idx="1848">
                  <c:v>215.08521226611597</c:v>
                </c:pt>
                <c:pt idx="1849">
                  <c:v>214.40128999971995</c:v>
                </c:pt>
                <c:pt idx="1850">
                  <c:v>212.78601017542684</c:v>
                </c:pt>
                <c:pt idx="1851">
                  <c:v>214.89616058272199</c:v>
                </c:pt>
                <c:pt idx="1852">
                  <c:v>220.75954293975155</c:v>
                </c:pt>
                <c:pt idx="1853">
                  <c:v>222.78628819260817</c:v>
                </c:pt>
                <c:pt idx="1854">
                  <c:v>222.00505991270049</c:v>
                </c:pt>
                <c:pt idx="1855">
                  <c:v>226.01962801300905</c:v>
                </c:pt>
                <c:pt idx="1856">
                  <c:v>230.82098473685457</c:v>
                </c:pt>
                <c:pt idx="1857">
                  <c:v>230.1315021268293</c:v>
                </c:pt>
                <c:pt idx="1858">
                  <c:v>226.75637354388292</c:v>
                </c:pt>
                <c:pt idx="1859">
                  <c:v>228.04637326586572</c:v>
                </c:pt>
                <c:pt idx="1860">
                  <c:v>229.30301092607309</c:v>
                </c:pt>
                <c:pt idx="1861">
                  <c:v>232.88387222330121</c:v>
                </c:pt>
                <c:pt idx="1862">
                  <c:v>231.62445439127922</c:v>
                </c:pt>
                <c:pt idx="1863">
                  <c:v>232.43348438933305</c:v>
                </c:pt>
                <c:pt idx="1864">
                  <c:v>234.05710472907003</c:v>
                </c:pt>
                <c:pt idx="1865">
                  <c:v>230.68475631793825</c:v>
                </c:pt>
                <c:pt idx="1866">
                  <c:v>231.66337679668379</c:v>
                </c:pt>
                <c:pt idx="1867">
                  <c:v>233.99594094914838</c:v>
                </c:pt>
                <c:pt idx="1868">
                  <c:v>233.35372125997159</c:v>
                </c:pt>
                <c:pt idx="1869">
                  <c:v>232.32783786037749</c:v>
                </c:pt>
                <c:pt idx="1870">
                  <c:v>235.48889321359829</c:v>
                </c:pt>
                <c:pt idx="1871">
                  <c:v>236.23397925991597</c:v>
                </c:pt>
                <c:pt idx="1872">
                  <c:v>235.53893630626143</c:v>
                </c:pt>
                <c:pt idx="1873">
                  <c:v>234.66874252828597</c:v>
                </c:pt>
                <c:pt idx="1874">
                  <c:v>235.83641469042558</c:v>
                </c:pt>
                <c:pt idx="1875">
                  <c:v>235.30262170201891</c:v>
                </c:pt>
                <c:pt idx="1876">
                  <c:v>235.05796658233251</c:v>
                </c:pt>
                <c:pt idx="1877">
                  <c:v>233.56501431788254</c:v>
                </c:pt>
                <c:pt idx="1878">
                  <c:v>234.48803136033578</c:v>
                </c:pt>
                <c:pt idx="1879">
                  <c:v>238.54152186604901</c:v>
                </c:pt>
                <c:pt idx="1880">
                  <c:v>239.90380605521187</c:v>
                </c:pt>
                <c:pt idx="1881">
                  <c:v>240.55992660346175</c:v>
                </c:pt>
                <c:pt idx="1882">
                  <c:v>241.75540048374756</c:v>
                </c:pt>
                <c:pt idx="1883">
                  <c:v>245.62261947788133</c:v>
                </c:pt>
                <c:pt idx="1884">
                  <c:v>248.34440768439245</c:v>
                </c:pt>
                <c:pt idx="1885">
                  <c:v>248.51955850871335</c:v>
                </c:pt>
                <c:pt idx="1886">
                  <c:v>248.66412744307348</c:v>
                </c:pt>
                <c:pt idx="1887">
                  <c:v>247.17395535043818</c:v>
                </c:pt>
                <c:pt idx="1888">
                  <c:v>249.65664878089217</c:v>
                </c:pt>
                <c:pt idx="1889">
                  <c:v>249.85404097973006</c:v>
                </c:pt>
                <c:pt idx="1890">
                  <c:v>244.27145597597686</c:v>
                </c:pt>
                <c:pt idx="1891">
                  <c:v>249.19792043148016</c:v>
                </c:pt>
                <c:pt idx="1892">
                  <c:v>247.15449414773585</c:v>
                </c:pt>
                <c:pt idx="1893">
                  <c:v>245.6782229141736</c:v>
                </c:pt>
                <c:pt idx="1894">
                  <c:v>246.68464511106541</c:v>
                </c:pt>
                <c:pt idx="1895">
                  <c:v>246.08412799910789</c:v>
                </c:pt>
                <c:pt idx="1896">
                  <c:v>247.72164919791797</c:v>
                </c:pt>
                <c:pt idx="1897">
                  <c:v>251.33587255692149</c:v>
                </c:pt>
                <c:pt idx="1898">
                  <c:v>254.91951402596428</c:v>
                </c:pt>
                <c:pt idx="1899">
                  <c:v>253.60727292946456</c:v>
                </c:pt>
                <c:pt idx="1900">
                  <c:v>255.42828546803941</c:v>
                </c:pt>
                <c:pt idx="1901">
                  <c:v>252.31171286385251</c:v>
                </c:pt>
                <c:pt idx="1902">
                  <c:v>254.04654007617421</c:v>
                </c:pt>
                <c:pt idx="1903">
                  <c:v>254.85278990241343</c:v>
                </c:pt>
                <c:pt idx="1904">
                  <c:v>255.32541911089851</c:v>
                </c:pt>
                <c:pt idx="1905">
                  <c:v>257.37718591008667</c:v>
                </c:pt>
                <c:pt idx="1906">
                  <c:v>260.38811198531806</c:v>
                </c:pt>
                <c:pt idx="1907">
                  <c:v>259.00358642163826</c:v>
                </c:pt>
                <c:pt idx="1908">
                  <c:v>254.46912619199611</c:v>
                </c:pt>
                <c:pt idx="1909">
                  <c:v>253.81300564374627</c:v>
                </c:pt>
                <c:pt idx="1910">
                  <c:v>259.66248714170274</c:v>
                </c:pt>
                <c:pt idx="1911">
                  <c:v>260.37977146987419</c:v>
                </c:pt>
                <c:pt idx="1912">
                  <c:v>261.41955572854135</c:v>
                </c:pt>
                <c:pt idx="1913">
                  <c:v>260.999749784534</c:v>
                </c:pt>
                <c:pt idx="1914">
                  <c:v>260.3491895799134</c:v>
                </c:pt>
                <c:pt idx="1915">
                  <c:v>261.97280991965039</c:v>
                </c:pt>
                <c:pt idx="1916">
                  <c:v>264.75298173426847</c:v>
                </c:pt>
                <c:pt idx="1917">
                  <c:v>265.30901609719211</c:v>
                </c:pt>
                <c:pt idx="1918">
                  <c:v>263.32119324974013</c:v>
                </c:pt>
                <c:pt idx="1919">
                  <c:v>264.19972754315944</c:v>
                </c:pt>
                <c:pt idx="1920">
                  <c:v>264.77522310878533</c:v>
                </c:pt>
                <c:pt idx="1921">
                  <c:v>266.9854597014068</c:v>
                </c:pt>
                <c:pt idx="1922">
                  <c:v>264.44716283466045</c:v>
                </c:pt>
                <c:pt idx="1923">
                  <c:v>259.54015958185943</c:v>
                </c:pt>
                <c:pt idx="1924">
                  <c:v>260.50209902971733</c:v>
                </c:pt>
                <c:pt idx="1925">
                  <c:v>257.59125913981217</c:v>
                </c:pt>
                <c:pt idx="1926">
                  <c:v>256.33740165141938</c:v>
                </c:pt>
                <c:pt idx="1927">
                  <c:v>257.10194890043937</c:v>
                </c:pt>
                <c:pt idx="1928">
                  <c:v>250.44065723261437</c:v>
                </c:pt>
                <c:pt idx="1929">
                  <c:v>253.68789791208837</c:v>
                </c:pt>
                <c:pt idx="1930">
                  <c:v>257.44669020545206</c:v>
                </c:pt>
                <c:pt idx="1931">
                  <c:v>261.15543940615265</c:v>
                </c:pt>
                <c:pt idx="1932">
                  <c:v>257.17979371124875</c:v>
                </c:pt>
                <c:pt idx="1933">
                  <c:v>256.762767939056</c:v>
                </c:pt>
                <c:pt idx="1934">
                  <c:v>255.82028969390049</c:v>
                </c:pt>
                <c:pt idx="1935">
                  <c:v>253.83524701826315</c:v>
                </c:pt>
                <c:pt idx="1936">
                  <c:v>254.02429870165719</c:v>
                </c:pt>
                <c:pt idx="1937">
                  <c:v>251.2357863715952</c:v>
                </c:pt>
                <c:pt idx="1938">
                  <c:v>250.06811420945562</c:v>
                </c:pt>
                <c:pt idx="1939">
                  <c:v>257.88317718034716</c:v>
                </c:pt>
                <c:pt idx="1940">
                  <c:v>257.96102199115649</c:v>
                </c:pt>
                <c:pt idx="1941">
                  <c:v>258.79785370735652</c:v>
                </c:pt>
                <c:pt idx="1942">
                  <c:v>258.29186243709603</c:v>
                </c:pt>
                <c:pt idx="1943">
                  <c:v>258.88959937723888</c:v>
                </c:pt>
                <c:pt idx="1944">
                  <c:v>259.56240095637645</c:v>
                </c:pt>
                <c:pt idx="1945">
                  <c:v>255.50613027884859</c:v>
                </c:pt>
                <c:pt idx="1946">
                  <c:v>253.71569963023452</c:v>
                </c:pt>
                <c:pt idx="1947">
                  <c:v>256.86285412438218</c:v>
                </c:pt>
                <c:pt idx="1948">
                  <c:v>255.7118629931303</c:v>
                </c:pt>
                <c:pt idx="1949">
                  <c:v>262.90416747754739</c:v>
                </c:pt>
                <c:pt idx="1950">
                  <c:v>262.17020211848819</c:v>
                </c:pt>
                <c:pt idx="1951">
                  <c:v>263.36289582695935</c:v>
                </c:pt>
                <c:pt idx="1952">
                  <c:v>264.25811115126641</c:v>
                </c:pt>
                <c:pt idx="1953">
                  <c:v>265.62595568405845</c:v>
                </c:pt>
                <c:pt idx="1954">
                  <c:v>264.65289554894213</c:v>
                </c:pt>
                <c:pt idx="1955">
                  <c:v>262.58166754705167</c:v>
                </c:pt>
                <c:pt idx="1956">
                  <c:v>260.7550946648476</c:v>
                </c:pt>
                <c:pt idx="1957">
                  <c:v>262.7874002613334</c:v>
                </c:pt>
                <c:pt idx="1958">
                  <c:v>265.04489977480335</c:v>
                </c:pt>
                <c:pt idx="1959">
                  <c:v>263.36011565514474</c:v>
                </c:pt>
                <c:pt idx="1960">
                  <c:v>265.62039534042924</c:v>
                </c:pt>
                <c:pt idx="1961">
                  <c:v>267.0243821068114</c:v>
                </c:pt>
                <c:pt idx="1962">
                  <c:v>268.29492062609188</c:v>
                </c:pt>
                <c:pt idx="1963">
                  <c:v>270.42453223608942</c:v>
                </c:pt>
                <c:pt idx="1964">
                  <c:v>273.32425143873616</c:v>
                </c:pt>
                <c:pt idx="1965">
                  <c:v>270.74425199477054</c:v>
                </c:pt>
                <c:pt idx="1966">
                  <c:v>269.84903667046348</c:v>
                </c:pt>
                <c:pt idx="1967">
                  <c:v>268.83705412994249</c:v>
                </c:pt>
                <c:pt idx="1968">
                  <c:v>269.14843337317973</c:v>
                </c:pt>
                <c:pt idx="1969">
                  <c:v>269.75451082876646</c:v>
                </c:pt>
                <c:pt idx="1970">
                  <c:v>268.48675248130064</c:v>
                </c:pt>
                <c:pt idx="1971">
                  <c:v>265.57035224776621</c:v>
                </c:pt>
                <c:pt idx="1972">
                  <c:v>262.49270204898392</c:v>
                </c:pt>
                <c:pt idx="1973">
                  <c:v>265.67599877672166</c:v>
                </c:pt>
                <c:pt idx="1974">
                  <c:v>270.3105451916901</c:v>
                </c:pt>
                <c:pt idx="1975">
                  <c:v>269.25686007394984</c:v>
                </c:pt>
                <c:pt idx="1976">
                  <c:v>264.30815424392961</c:v>
                </c:pt>
                <c:pt idx="1977">
                  <c:v>261.79209875170017</c:v>
                </c:pt>
                <c:pt idx="1978">
                  <c:v>243.81828797019406</c:v>
                </c:pt>
                <c:pt idx="1979">
                  <c:v>256.29013873057096</c:v>
                </c:pt>
                <c:pt idx="1980">
                  <c:v>255.54227251243867</c:v>
                </c:pt>
                <c:pt idx="1981">
                  <c:v>251.2385665434098</c:v>
                </c:pt>
                <c:pt idx="1982">
                  <c:v>254.28007450860201</c:v>
                </c:pt>
                <c:pt idx="1983">
                  <c:v>261.05535322082631</c:v>
                </c:pt>
                <c:pt idx="1984">
                  <c:v>261.54744363201371</c:v>
                </c:pt>
                <c:pt idx="1985">
                  <c:v>262.10347799493735</c:v>
                </c:pt>
                <c:pt idx="1986">
                  <c:v>260.78845672662294</c:v>
                </c:pt>
                <c:pt idx="1987">
                  <c:v>257.86371597764469</c:v>
                </c:pt>
                <c:pt idx="1988">
                  <c:v>256.08996635991832</c:v>
                </c:pt>
                <c:pt idx="1989">
                  <c:v>256.82671189079213</c:v>
                </c:pt>
                <c:pt idx="1990">
                  <c:v>251.87244571714268</c:v>
                </c:pt>
                <c:pt idx="1991">
                  <c:v>254.84722955878399</c:v>
                </c:pt>
                <c:pt idx="1992">
                  <c:v>258.09725041007255</c:v>
                </c:pt>
                <c:pt idx="1993">
                  <c:v>263.05985709916587</c:v>
                </c:pt>
                <c:pt idx="1994">
                  <c:v>260.84406016291518</c:v>
                </c:pt>
                <c:pt idx="1995">
                  <c:v>262.61224943701234</c:v>
                </c:pt>
                <c:pt idx="1996">
                  <c:v>266.61291667824776</c:v>
                </c:pt>
                <c:pt idx="1997">
                  <c:v>267.75556729405582</c:v>
                </c:pt>
                <c:pt idx="1998">
                  <c:v>263.19052517445289</c:v>
                </c:pt>
                <c:pt idx="1999">
                  <c:v>264.34429647751944</c:v>
                </c:pt>
                <c:pt idx="2000">
                  <c:v>264.57227056631808</c:v>
                </c:pt>
                <c:pt idx="2001">
                  <c:v>265.61761516861452</c:v>
                </c:pt>
                <c:pt idx="2002">
                  <c:v>271.0055881453444</c:v>
                </c:pt>
                <c:pt idx="2003">
                  <c:v>270.14373488281279</c:v>
                </c:pt>
                <c:pt idx="2004">
                  <c:v>271.55884233645338</c:v>
                </c:pt>
                <c:pt idx="2005">
                  <c:v>270.53851928048852</c:v>
                </c:pt>
                <c:pt idx="2006">
                  <c:v>273.51052295031531</c:v>
                </c:pt>
                <c:pt idx="2007">
                  <c:v>273.11573855263953</c:v>
                </c:pt>
                <c:pt idx="2008">
                  <c:v>271.28360532680614</c:v>
                </c:pt>
                <c:pt idx="2009">
                  <c:v>269.61828240984983</c:v>
                </c:pt>
                <c:pt idx="2010">
                  <c:v>265.48972726514199</c:v>
                </c:pt>
                <c:pt idx="2011">
                  <c:v>265.05880063387616</c:v>
                </c:pt>
                <c:pt idx="2012">
                  <c:v>267.8389724484943</c:v>
                </c:pt>
                <c:pt idx="2013">
                  <c:v>269.13175234229169</c:v>
                </c:pt>
                <c:pt idx="2014">
                  <c:v>268.43670938863715</c:v>
                </c:pt>
                <c:pt idx="2015">
                  <c:v>265.58981345046817</c:v>
                </c:pt>
                <c:pt idx="2016">
                  <c:v>263.2211070644135</c:v>
                </c:pt>
                <c:pt idx="2017">
                  <c:v>265.1449859601293</c:v>
                </c:pt>
                <c:pt idx="2018">
                  <c:v>261.09427562623074</c:v>
                </c:pt>
                <c:pt idx="2019">
                  <c:v>259.30662514943128</c:v>
                </c:pt>
                <c:pt idx="2020">
                  <c:v>260.35196975172761</c:v>
                </c:pt>
                <c:pt idx="2021">
                  <c:v>265.04767994661756</c:v>
                </c:pt>
                <c:pt idx="2022">
                  <c:v>269.91020045038465</c:v>
                </c:pt>
                <c:pt idx="2023">
                  <c:v>269.79621340598527</c:v>
                </c:pt>
                <c:pt idx="2024">
                  <c:v>271.07787261252417</c:v>
                </c:pt>
                <c:pt idx="2025">
                  <c:v>271.64224749089169</c:v>
                </c:pt>
                <c:pt idx="2026">
                  <c:v>268.72584725735732</c:v>
                </c:pt>
                <c:pt idx="2027">
                  <c:v>268.00856292918581</c:v>
                </c:pt>
                <c:pt idx="2028">
                  <c:v>265.7983263365644</c:v>
                </c:pt>
                <c:pt idx="2029">
                  <c:v>257.91375907030749</c:v>
                </c:pt>
                <c:pt idx="2030">
                  <c:v>261.11651700074759</c:v>
                </c:pt>
                <c:pt idx="2031">
                  <c:v>264.70571881341954</c:v>
                </c:pt>
                <c:pt idx="2032">
                  <c:v>266.32377880952731</c:v>
                </c:pt>
                <c:pt idx="2033">
                  <c:v>264.31927493118764</c:v>
                </c:pt>
                <c:pt idx="2034">
                  <c:v>267.316300147346</c:v>
                </c:pt>
                <c:pt idx="2035">
                  <c:v>272.06761377852837</c:v>
                </c:pt>
                <c:pt idx="2036">
                  <c:v>269.90185993494083</c:v>
                </c:pt>
                <c:pt idx="2037">
                  <c:v>267.74166643498256</c:v>
                </c:pt>
                <c:pt idx="2038">
                  <c:v>266.22647279601568</c:v>
                </c:pt>
                <c:pt idx="2039">
                  <c:v>266.04854179988013</c:v>
                </c:pt>
                <c:pt idx="2040">
                  <c:v>269.40420918012416</c:v>
                </c:pt>
                <c:pt idx="2041">
                  <c:v>271.7506741916618</c:v>
                </c:pt>
                <c:pt idx="2042">
                  <c:v>273.98315215880012</c:v>
                </c:pt>
                <c:pt idx="2043">
                  <c:v>272.53468264338403</c:v>
                </c:pt>
                <c:pt idx="2044">
                  <c:v>278.37026328226744</c:v>
                </c:pt>
                <c:pt idx="2045">
                  <c:v>279.6852845505818</c:v>
                </c:pt>
                <c:pt idx="2046">
                  <c:v>279.93550001389741</c:v>
                </c:pt>
                <c:pt idx="2047">
                  <c:v>279.00136228418575</c:v>
                </c:pt>
                <c:pt idx="2048">
                  <c:v>281.48127554282507</c:v>
                </c:pt>
                <c:pt idx="2049">
                  <c:v>281.0030859907107</c:v>
                </c:pt>
                <c:pt idx="2050">
                  <c:v>283.30228808139987</c:v>
                </c:pt>
                <c:pt idx="2051">
                  <c:v>283.58030526286166</c:v>
                </c:pt>
                <c:pt idx="2052">
                  <c:v>284.72851622229899</c:v>
                </c:pt>
                <c:pt idx="2053">
                  <c:v>283.60254663737862</c:v>
                </c:pt>
                <c:pt idx="2054">
                  <c:v>284.34485251188164</c:v>
                </c:pt>
                <c:pt idx="2055">
                  <c:v>286.93597264310574</c:v>
                </c:pt>
                <c:pt idx="2056">
                  <c:v>285.87950735355082</c:v>
                </c:pt>
                <c:pt idx="2057">
                  <c:v>287.52814923961944</c:v>
                </c:pt>
                <c:pt idx="2058">
                  <c:v>288.62075676276436</c:v>
                </c:pt>
                <c:pt idx="2059">
                  <c:v>286.51338652728373</c:v>
                </c:pt>
                <c:pt idx="2060">
                  <c:v>289.94411854652259</c:v>
                </c:pt>
                <c:pt idx="2061">
                  <c:v>291.54827768355727</c:v>
                </c:pt>
                <c:pt idx="2062">
                  <c:v>291.73454919513665</c:v>
                </c:pt>
                <c:pt idx="2063">
                  <c:v>291.2786010175393</c:v>
                </c:pt>
                <c:pt idx="2064">
                  <c:v>292.47963524145433</c:v>
                </c:pt>
                <c:pt idx="2065">
                  <c:v>291.1757346603984</c:v>
                </c:pt>
                <c:pt idx="2066">
                  <c:v>287.76168367204741</c:v>
                </c:pt>
                <c:pt idx="2067">
                  <c:v>293.4999582974192</c:v>
                </c:pt>
                <c:pt idx="2068">
                  <c:v>292.56026022407826</c:v>
                </c:pt>
                <c:pt idx="2069">
                  <c:v>295.87978537073229</c:v>
                </c:pt>
                <c:pt idx="2070">
                  <c:v>297.05301787650114</c:v>
                </c:pt>
                <c:pt idx="2071">
                  <c:v>297.4561427896208</c:v>
                </c:pt>
                <c:pt idx="2072">
                  <c:v>297.09194028190581</c:v>
                </c:pt>
                <c:pt idx="2073">
                  <c:v>300.05560343628872</c:v>
                </c:pt>
                <c:pt idx="2074">
                  <c:v>300.38366371041366</c:v>
                </c:pt>
                <c:pt idx="2075">
                  <c:v>301.79321082042503</c:v>
                </c:pt>
                <c:pt idx="2076">
                  <c:v>302.96644332619388</c:v>
                </c:pt>
                <c:pt idx="2077">
                  <c:v>305.58536517556416</c:v>
                </c:pt>
                <c:pt idx="2078">
                  <c:v>304.58172315048699</c:v>
                </c:pt>
                <c:pt idx="2079">
                  <c:v>307.38969668325126</c:v>
                </c:pt>
                <c:pt idx="2080">
                  <c:v>306.3554727682133</c:v>
                </c:pt>
                <c:pt idx="2081">
                  <c:v>306.0413133531614</c:v>
                </c:pt>
                <c:pt idx="2082">
                  <c:v>304.55114126052609</c:v>
                </c:pt>
                <c:pt idx="2083">
                  <c:v>304.02568878756324</c:v>
                </c:pt>
                <c:pt idx="2084">
                  <c:v>306.3054296755501</c:v>
                </c:pt>
                <c:pt idx="2085">
                  <c:v>308.08473963690574</c:v>
                </c:pt>
                <c:pt idx="2086">
                  <c:v>311.38202340904274</c:v>
                </c:pt>
                <c:pt idx="2087">
                  <c:v>312.12988962717503</c:v>
                </c:pt>
                <c:pt idx="2088">
                  <c:v>311.76290694764549</c:v>
                </c:pt>
                <c:pt idx="2089">
                  <c:v>308.47118351913764</c:v>
                </c:pt>
                <c:pt idx="2090">
                  <c:v>306.27762795740398</c:v>
                </c:pt>
                <c:pt idx="2091">
                  <c:v>308.78534293418949</c:v>
                </c:pt>
                <c:pt idx="2092">
                  <c:v>308.51288609635691</c:v>
                </c:pt>
                <c:pt idx="2093">
                  <c:v>310.19767021601541</c:v>
                </c:pt>
                <c:pt idx="2094">
                  <c:v>311.19019155383404</c:v>
                </c:pt>
                <c:pt idx="2095">
                  <c:v>308.09029998053484</c:v>
                </c:pt>
                <c:pt idx="2096">
                  <c:v>312.13544997080419</c:v>
                </c:pt>
                <c:pt idx="2097">
                  <c:v>312.39400594956368</c:v>
                </c:pt>
                <c:pt idx="2098">
                  <c:v>313.23361783757832</c:v>
                </c:pt>
                <c:pt idx="2099">
                  <c:v>314.30954432983549</c:v>
                </c:pt>
                <c:pt idx="2100">
                  <c:v>311.26247602101404</c:v>
                </c:pt>
                <c:pt idx="2101">
                  <c:v>308.01523534154012</c:v>
                </c:pt>
                <c:pt idx="2102">
                  <c:v>302.07678834551581</c:v>
                </c:pt>
                <c:pt idx="2103">
                  <c:v>301.67922377602542</c:v>
                </c:pt>
                <c:pt idx="2104">
                  <c:v>304.32594734354194</c:v>
                </c:pt>
                <c:pt idx="2105">
                  <c:v>309.08560149016819</c:v>
                </c:pt>
                <c:pt idx="2106">
                  <c:v>311.65726041868999</c:v>
                </c:pt>
                <c:pt idx="2107">
                  <c:v>311.95473880285414</c:v>
                </c:pt>
                <c:pt idx="2108">
                  <c:v>310.12816592065008</c:v>
                </c:pt>
                <c:pt idx="2109">
                  <c:v>307.18674414078413</c:v>
                </c:pt>
                <c:pt idx="2110">
                  <c:v>304.46773610608756</c:v>
                </c:pt>
                <c:pt idx="2111">
                  <c:v>308.08195946509107</c:v>
                </c:pt>
                <c:pt idx="2112">
                  <c:v>307.66493369289833</c:v>
                </c:pt>
                <c:pt idx="2113">
                  <c:v>310.20879090327389</c:v>
                </c:pt>
                <c:pt idx="2114">
                  <c:v>311.06230365036163</c:v>
                </c:pt>
                <c:pt idx="2115">
                  <c:v>310.64805804998355</c:v>
                </c:pt>
                <c:pt idx="2116">
                  <c:v>308.2459896021536</c:v>
                </c:pt>
                <c:pt idx="2117">
                  <c:v>307.43695960409968</c:v>
                </c:pt>
                <c:pt idx="2118">
                  <c:v>308.46562317550843</c:v>
                </c:pt>
                <c:pt idx="2119">
                  <c:v>311.11790708665404</c:v>
                </c:pt>
                <c:pt idx="2120">
                  <c:v>309.88907114459289</c:v>
                </c:pt>
                <c:pt idx="2121">
                  <c:v>308.72973949789713</c:v>
                </c:pt>
                <c:pt idx="2122">
                  <c:v>304.15635686285037</c:v>
                </c:pt>
                <c:pt idx="2123">
                  <c:v>303.6587061080337</c:v>
                </c:pt>
                <c:pt idx="2124">
                  <c:v>305.15165837248361</c:v>
                </c:pt>
                <c:pt idx="2125">
                  <c:v>303.26670188217253</c:v>
                </c:pt>
                <c:pt idx="2126">
                  <c:v>303.31118463120652</c:v>
                </c:pt>
                <c:pt idx="2127">
                  <c:v>303.933943117681</c:v>
                </c:pt>
                <c:pt idx="2128">
                  <c:v>301.01754288414662</c:v>
                </c:pt>
                <c:pt idx="2129">
                  <c:v>304.38155077983447</c:v>
                </c:pt>
                <c:pt idx="2130">
                  <c:v>309.67221774305273</c:v>
                </c:pt>
                <c:pt idx="2131">
                  <c:v>310.1893297005717</c:v>
                </c:pt>
                <c:pt idx="2132">
                  <c:v>310.93719591870405</c:v>
                </c:pt>
                <c:pt idx="2133">
                  <c:v>309.23295059634307</c:v>
                </c:pt>
                <c:pt idx="2134">
                  <c:v>304.31204648446902</c:v>
                </c:pt>
                <c:pt idx="2135">
                  <c:v>305.49639967749636</c:v>
                </c:pt>
                <c:pt idx="2136">
                  <c:v>299.42728460618503</c:v>
                </c:pt>
                <c:pt idx="2137">
                  <c:v>302.36870638605103</c:v>
                </c:pt>
                <c:pt idx="2138">
                  <c:v>307.79560176818558</c:v>
                </c:pt>
                <c:pt idx="2139">
                  <c:v>307.58986905390384</c:v>
                </c:pt>
                <c:pt idx="2140">
                  <c:v>305.99961077594236</c:v>
                </c:pt>
                <c:pt idx="2141">
                  <c:v>306.71133476048459</c:v>
                </c:pt>
                <c:pt idx="2142">
                  <c:v>311.23745447468286</c:v>
                </c:pt>
                <c:pt idx="2143">
                  <c:v>314.9601045344566</c:v>
                </c:pt>
                <c:pt idx="2144">
                  <c:v>313.95924268119404</c:v>
                </c:pt>
                <c:pt idx="2145">
                  <c:v>315.04907003252436</c:v>
                </c:pt>
                <c:pt idx="2146">
                  <c:v>316.51978092245736</c:v>
                </c:pt>
                <c:pt idx="2147">
                  <c:v>315.22700102865991</c:v>
                </c:pt>
                <c:pt idx="2148">
                  <c:v>319.31941393977775</c:v>
                </c:pt>
                <c:pt idx="2149">
                  <c:v>318.7244571714495</c:v>
                </c:pt>
                <c:pt idx="2150">
                  <c:v>321.75762462119781</c:v>
                </c:pt>
                <c:pt idx="2151">
                  <c:v>321.01531874669479</c:v>
                </c:pt>
                <c:pt idx="2152">
                  <c:v>324.27368011342725</c:v>
                </c:pt>
                <c:pt idx="2153">
                  <c:v>322.09958575439578</c:v>
                </c:pt>
                <c:pt idx="2154">
                  <c:v>323.70374489143046</c:v>
                </c:pt>
                <c:pt idx="2155">
                  <c:v>323.94283966748765</c:v>
                </c:pt>
                <c:pt idx="2156">
                  <c:v>327.38747254579943</c:v>
                </c:pt>
                <c:pt idx="2157">
                  <c:v>326.61736495315023</c:v>
                </c:pt>
                <c:pt idx="2158">
                  <c:v>329.16956267896973</c:v>
                </c:pt>
                <c:pt idx="2159">
                  <c:v>329.93689009980432</c:v>
                </c:pt>
                <c:pt idx="2160">
                  <c:v>329.20014456893051</c:v>
                </c:pt>
                <c:pt idx="2161">
                  <c:v>323.90947760571225</c:v>
                </c:pt>
                <c:pt idx="2162">
                  <c:v>323.63424059606507</c:v>
                </c:pt>
                <c:pt idx="2163">
                  <c:v>316.8700825710992</c:v>
                </c:pt>
                <c:pt idx="2164">
                  <c:v>317.16200061163414</c:v>
                </c:pt>
                <c:pt idx="2165">
                  <c:v>318.96077177569208</c:v>
                </c:pt>
                <c:pt idx="2166">
                  <c:v>314.22613917539746</c:v>
                </c:pt>
                <c:pt idx="2167">
                  <c:v>312.82771275264463</c:v>
                </c:pt>
                <c:pt idx="2168">
                  <c:v>317.75973755177722</c:v>
                </c:pt>
                <c:pt idx="2169">
                  <c:v>311.56551474880808</c:v>
                </c:pt>
                <c:pt idx="2170">
                  <c:v>309.27743334537735</c:v>
                </c:pt>
                <c:pt idx="2171">
                  <c:v>298.06778058883708</c:v>
                </c:pt>
                <c:pt idx="2172">
                  <c:v>300.65612054824663</c:v>
                </c:pt>
                <c:pt idx="2173">
                  <c:v>302.93586143623349</c:v>
                </c:pt>
                <c:pt idx="2174">
                  <c:v>302.88581834357035</c:v>
                </c:pt>
                <c:pt idx="2175">
                  <c:v>301.13152992854634</c:v>
                </c:pt>
                <c:pt idx="2176">
                  <c:v>297.1948066390471</c:v>
                </c:pt>
                <c:pt idx="2177">
                  <c:v>301.43178848452504</c:v>
                </c:pt>
                <c:pt idx="2178">
                  <c:v>298.8434485251156</c:v>
                </c:pt>
                <c:pt idx="2179">
                  <c:v>295.46275959854</c:v>
                </c:pt>
                <c:pt idx="2180">
                  <c:v>301.27887903472111</c:v>
                </c:pt>
                <c:pt idx="2181">
                  <c:v>306.15252022574663</c:v>
                </c:pt>
                <c:pt idx="2182">
                  <c:v>305.27954627595648</c:v>
                </c:pt>
                <c:pt idx="2183">
                  <c:v>303.48355528371314</c:v>
                </c:pt>
                <c:pt idx="2184">
                  <c:v>300.60329728376877</c:v>
                </c:pt>
                <c:pt idx="2185">
                  <c:v>302.5216158358553</c:v>
                </c:pt>
                <c:pt idx="2186">
                  <c:v>303.83107676054038</c:v>
                </c:pt>
                <c:pt idx="2187">
                  <c:v>301.42344796908111</c:v>
                </c:pt>
                <c:pt idx="2188">
                  <c:v>289.85793322026973</c:v>
                </c:pt>
                <c:pt idx="2189">
                  <c:v>285.56256776668482</c:v>
                </c:pt>
                <c:pt idx="2190">
                  <c:v>266.14028746976265</c:v>
                </c:pt>
                <c:pt idx="2191">
                  <c:v>276.42136284022047</c:v>
                </c:pt>
                <c:pt idx="2192">
                  <c:v>275.36767772248021</c:v>
                </c:pt>
                <c:pt idx="2193">
                  <c:v>273.0851566626788</c:v>
                </c:pt>
                <c:pt idx="2194">
                  <c:v>270.7581528538434</c:v>
                </c:pt>
                <c:pt idx="2195">
                  <c:v>284.53946453890546</c:v>
                </c:pt>
                <c:pt idx="2196">
                  <c:v>279.74088798687461</c:v>
                </c:pt>
                <c:pt idx="2197">
                  <c:v>272.50966109705291</c:v>
                </c:pt>
                <c:pt idx="2198">
                  <c:v>280.53601712585532</c:v>
                </c:pt>
                <c:pt idx="2199">
                  <c:v>286.27985209485638</c:v>
                </c:pt>
                <c:pt idx="2200">
                  <c:v>288.4928688592924</c:v>
                </c:pt>
                <c:pt idx="2201">
                  <c:v>290.66140287469455</c:v>
                </c:pt>
                <c:pt idx="2202">
                  <c:v>283.26336567599577</c:v>
                </c:pt>
                <c:pt idx="2203">
                  <c:v>283.60254663737919</c:v>
                </c:pt>
                <c:pt idx="2204">
                  <c:v>284.65901192693406</c:v>
                </c:pt>
                <c:pt idx="2205">
                  <c:v>286.25483054852486</c:v>
                </c:pt>
                <c:pt idx="2206">
                  <c:v>296.39133698462246</c:v>
                </c:pt>
                <c:pt idx="2207">
                  <c:v>289.89407545385995</c:v>
                </c:pt>
                <c:pt idx="2208">
                  <c:v>290.45845033222736</c:v>
                </c:pt>
                <c:pt idx="2209">
                  <c:v>291.55383802718688</c:v>
                </c:pt>
                <c:pt idx="2210">
                  <c:v>291.64558369706924</c:v>
                </c:pt>
                <c:pt idx="2211">
                  <c:v>282.74625371847668</c:v>
                </c:pt>
                <c:pt idx="2212">
                  <c:v>274.23336762211596</c:v>
                </c:pt>
                <c:pt idx="2213">
                  <c:v>278.74002613361188</c:v>
                </c:pt>
                <c:pt idx="2214">
                  <c:v>274.83666490588803</c:v>
                </c:pt>
                <c:pt idx="2215">
                  <c:v>273.73293669548468</c:v>
                </c:pt>
                <c:pt idx="2216">
                  <c:v>269.86571770135089</c:v>
                </c:pt>
                <c:pt idx="2217">
                  <c:v>266.74080458172017</c:v>
                </c:pt>
                <c:pt idx="2218">
                  <c:v>273.67733325919232</c:v>
                </c:pt>
                <c:pt idx="2219">
                  <c:v>277.38052211626365</c:v>
                </c:pt>
                <c:pt idx="2220">
                  <c:v>276.57149211820973</c:v>
                </c:pt>
                <c:pt idx="2221">
                  <c:v>279.55461647529501</c:v>
                </c:pt>
                <c:pt idx="2222">
                  <c:v>291.22021740943262</c:v>
                </c:pt>
                <c:pt idx="2223">
                  <c:v>293.70291083988661</c:v>
                </c:pt>
                <c:pt idx="2224">
                  <c:v>295.36267341321366</c:v>
                </c:pt>
                <c:pt idx="2225">
                  <c:v>295.79081987266483</c:v>
                </c:pt>
                <c:pt idx="2226">
                  <c:v>297.45614278962108</c:v>
                </c:pt>
                <c:pt idx="2227">
                  <c:v>299.83596986293423</c:v>
                </c:pt>
                <c:pt idx="2228">
                  <c:v>297.66465567571754</c:v>
                </c:pt>
                <c:pt idx="2229">
                  <c:v>298.1233840251295</c:v>
                </c:pt>
                <c:pt idx="2230">
                  <c:v>296.182824098526</c:v>
                </c:pt>
                <c:pt idx="2231">
                  <c:v>296.94737134754592</c:v>
                </c:pt>
                <c:pt idx="2232">
                  <c:v>301.90719786482464</c:v>
                </c:pt>
                <c:pt idx="2233">
                  <c:v>305.4491367566481</c:v>
                </c:pt>
                <c:pt idx="2234">
                  <c:v>309.04389891294932</c:v>
                </c:pt>
                <c:pt idx="2235">
                  <c:v>308.83260585503837</c:v>
                </c:pt>
                <c:pt idx="2236">
                  <c:v>311.00948038588433</c:v>
                </c:pt>
                <c:pt idx="2237">
                  <c:v>315.22978120047458</c:v>
                </c:pt>
                <c:pt idx="2238">
                  <c:v>317.22038421974116</c:v>
                </c:pt>
                <c:pt idx="2239">
                  <c:v>314.21501848813904</c:v>
                </c:pt>
                <c:pt idx="2240">
                  <c:v>313.67566515610315</c:v>
                </c:pt>
                <c:pt idx="2241">
                  <c:v>311.64891990324662</c:v>
                </c:pt>
                <c:pt idx="2242">
                  <c:v>310.73702354805187</c:v>
                </c:pt>
                <c:pt idx="2243">
                  <c:v>312.96950151519019</c:v>
                </c:pt>
                <c:pt idx="2244">
                  <c:v>315.79137590702754</c:v>
                </c:pt>
                <c:pt idx="2245">
                  <c:v>316.75053518307084</c:v>
                </c:pt>
                <c:pt idx="2246">
                  <c:v>318.18510383941384</c:v>
                </c:pt>
                <c:pt idx="2247">
                  <c:v>320.44538352469829</c:v>
                </c:pt>
                <c:pt idx="2248">
                  <c:v>323.48689148989052</c:v>
                </c:pt>
                <c:pt idx="2249">
                  <c:v>330.34279518473875</c:v>
                </c:pt>
                <c:pt idx="2250">
                  <c:v>328.89154549750805</c:v>
                </c:pt>
                <c:pt idx="2251">
                  <c:v>329.97025216157988</c:v>
                </c:pt>
                <c:pt idx="2252">
                  <c:v>331.48822597236131</c:v>
                </c:pt>
                <c:pt idx="2253">
                  <c:v>323.50913286440743</c:v>
                </c:pt>
                <c:pt idx="2254">
                  <c:v>326.74803302843753</c:v>
                </c:pt>
                <c:pt idx="2255">
                  <c:v>325.62762378714643</c:v>
                </c:pt>
                <c:pt idx="2256">
                  <c:v>319.75868108648763</c:v>
                </c:pt>
                <c:pt idx="2257">
                  <c:v>327.15393811337179</c:v>
                </c:pt>
                <c:pt idx="2258">
                  <c:v>330.2010064221933</c:v>
                </c:pt>
                <c:pt idx="2259">
                  <c:v>328.44393783535469</c:v>
                </c:pt>
                <c:pt idx="2260">
                  <c:v>329.03055408823906</c:v>
                </c:pt>
                <c:pt idx="2261">
                  <c:v>323.89557674663939</c:v>
                </c:pt>
                <c:pt idx="2262">
                  <c:v>324.29592148794438</c:v>
                </c:pt>
                <c:pt idx="2263">
                  <c:v>317.27320748421903</c:v>
                </c:pt>
                <c:pt idx="2264">
                  <c:v>323.28671911923794</c:v>
                </c:pt>
                <c:pt idx="2265">
                  <c:v>323.03928382773699</c:v>
                </c:pt>
                <c:pt idx="2266">
                  <c:v>328.05471378130812</c:v>
                </c:pt>
                <c:pt idx="2267">
                  <c:v>330.29275209207572</c:v>
                </c:pt>
                <c:pt idx="2268">
                  <c:v>334.41018654952518</c:v>
                </c:pt>
                <c:pt idx="2269">
                  <c:v>334.61313909199231</c:v>
                </c:pt>
                <c:pt idx="2270">
                  <c:v>341.55522811309373</c:v>
                </c:pt>
                <c:pt idx="2271">
                  <c:v>340.92412911117543</c:v>
                </c:pt>
                <c:pt idx="2272">
                  <c:v>340.70727570963527</c:v>
                </c:pt>
                <c:pt idx="2273">
                  <c:v>345.24451611109203</c:v>
                </c:pt>
                <c:pt idx="2274">
                  <c:v>342.49770635824933</c:v>
                </c:pt>
                <c:pt idx="2275">
                  <c:v>341.74705996830238</c:v>
                </c:pt>
                <c:pt idx="2276">
                  <c:v>341.43290055325053</c:v>
                </c:pt>
                <c:pt idx="2277">
                  <c:v>346.07022714003358</c:v>
                </c:pt>
                <c:pt idx="2278">
                  <c:v>353.73238066112111</c:v>
                </c:pt>
                <c:pt idx="2279">
                  <c:v>353.00675581750585</c:v>
                </c:pt>
                <c:pt idx="2280">
                  <c:v>354.4969279101411</c:v>
                </c:pt>
                <c:pt idx="2281">
                  <c:v>351.3803553059542</c:v>
                </c:pt>
                <c:pt idx="2282">
                  <c:v>344.60507659372985</c:v>
                </c:pt>
                <c:pt idx="2283">
                  <c:v>343.18440879645999</c:v>
                </c:pt>
                <c:pt idx="2284">
                  <c:v>337.0096471961931</c:v>
                </c:pt>
                <c:pt idx="2285">
                  <c:v>345.64764102421157</c:v>
                </c:pt>
                <c:pt idx="2286">
                  <c:v>348.07751119018781</c:v>
                </c:pt>
                <c:pt idx="2287">
                  <c:v>349.36195056854132</c:v>
                </c:pt>
                <c:pt idx="2288">
                  <c:v>343.39570185437088</c:v>
                </c:pt>
                <c:pt idx="2289">
                  <c:v>340.62387055519662</c:v>
                </c:pt>
                <c:pt idx="2290">
                  <c:v>343.06764158024595</c:v>
                </c:pt>
                <c:pt idx="2291">
                  <c:v>348.16369651644089</c:v>
                </c:pt>
                <c:pt idx="2292">
                  <c:v>345.62261947787994</c:v>
                </c:pt>
                <c:pt idx="2293">
                  <c:v>351.79460090633211</c:v>
                </c:pt>
                <c:pt idx="2294">
                  <c:v>355.76190608579225</c:v>
                </c:pt>
                <c:pt idx="2295">
                  <c:v>353.91587200088577</c:v>
                </c:pt>
                <c:pt idx="2296">
                  <c:v>350.85490283299117</c:v>
                </c:pt>
                <c:pt idx="2297">
                  <c:v>353.65731602212622</c:v>
                </c:pt>
                <c:pt idx="2298">
                  <c:v>347.10167088325682</c:v>
                </c:pt>
                <c:pt idx="2299">
                  <c:v>344.57449470376901</c:v>
                </c:pt>
                <c:pt idx="2300">
                  <c:v>345.78942978675707</c:v>
                </c:pt>
                <c:pt idx="2301">
                  <c:v>338.10781506296723</c:v>
                </c:pt>
                <c:pt idx="2302">
                  <c:v>340.16792237759921</c:v>
                </c:pt>
                <c:pt idx="2303">
                  <c:v>348.64466624036987</c:v>
                </c:pt>
                <c:pt idx="2304">
                  <c:v>341.99727543161799</c:v>
                </c:pt>
                <c:pt idx="2305">
                  <c:v>345.26119714197955</c:v>
                </c:pt>
                <c:pt idx="2306">
                  <c:v>340.30137062470089</c:v>
                </c:pt>
                <c:pt idx="2307">
                  <c:v>343.98509827906992</c:v>
                </c:pt>
                <c:pt idx="2308">
                  <c:v>344.52445161110586</c:v>
                </c:pt>
                <c:pt idx="2309">
                  <c:v>353.67677722482875</c:v>
                </c:pt>
                <c:pt idx="2310">
                  <c:v>353.40988073062539</c:v>
                </c:pt>
                <c:pt idx="2311">
                  <c:v>348.46951541604903</c:v>
                </c:pt>
                <c:pt idx="2312">
                  <c:v>346.13695126358442</c:v>
                </c:pt>
                <c:pt idx="2313">
                  <c:v>344.27701631960491</c:v>
                </c:pt>
                <c:pt idx="2314">
                  <c:v>343.67371903583285</c:v>
                </c:pt>
                <c:pt idx="2315">
                  <c:v>340.71005588144993</c:v>
                </c:pt>
                <c:pt idx="2316">
                  <c:v>341.32169368066593</c:v>
                </c:pt>
                <c:pt idx="2317">
                  <c:v>346.58733909755267</c:v>
                </c:pt>
                <c:pt idx="2318">
                  <c:v>354.60257443909671</c:v>
                </c:pt>
                <c:pt idx="2319">
                  <c:v>356.62097917650948</c:v>
                </c:pt>
                <c:pt idx="2320">
                  <c:v>355.81750952208478</c:v>
                </c:pt>
                <c:pt idx="2321">
                  <c:v>357.76362979231749</c:v>
                </c:pt>
                <c:pt idx="2322">
                  <c:v>360.7773360393636</c:v>
                </c:pt>
                <c:pt idx="2323">
                  <c:v>359.91826294864654</c:v>
                </c:pt>
                <c:pt idx="2324">
                  <c:v>363.4407406377677</c:v>
                </c:pt>
                <c:pt idx="2325">
                  <c:v>363.1960855180813</c:v>
                </c:pt>
                <c:pt idx="2326">
                  <c:v>360.81625844476815</c:v>
                </c:pt>
                <c:pt idx="2327">
                  <c:v>366.02352025354787</c:v>
                </c:pt>
                <c:pt idx="2328">
                  <c:v>361.22494370151702</c:v>
                </c:pt>
                <c:pt idx="2329">
                  <c:v>360.59106452778406</c:v>
                </c:pt>
                <c:pt idx="2330">
                  <c:v>350.89660541021073</c:v>
                </c:pt>
                <c:pt idx="2331">
                  <c:v>352.68981623063934</c:v>
                </c:pt>
                <c:pt idx="2332">
                  <c:v>358.63938391392213</c:v>
                </c:pt>
                <c:pt idx="2333">
                  <c:v>356.64044037921173</c:v>
                </c:pt>
                <c:pt idx="2334">
                  <c:v>364.24977063582151</c:v>
                </c:pt>
                <c:pt idx="2335">
                  <c:v>361.63084878645122</c:v>
                </c:pt>
                <c:pt idx="2336">
                  <c:v>357.63296171703035</c:v>
                </c:pt>
                <c:pt idx="2337">
                  <c:v>359.67638800077475</c:v>
                </c:pt>
                <c:pt idx="2338">
                  <c:v>367.29405877282829</c:v>
                </c:pt>
                <c:pt idx="2339">
                  <c:v>366.39606327670668</c:v>
                </c:pt>
                <c:pt idx="2340">
                  <c:v>368.89821790986298</c:v>
                </c:pt>
                <c:pt idx="2341">
                  <c:v>373.64953154104529</c:v>
                </c:pt>
                <c:pt idx="2342">
                  <c:v>374.8644666240333</c:v>
                </c:pt>
                <c:pt idx="2343">
                  <c:v>377.72526342127543</c:v>
                </c:pt>
                <c:pt idx="2344">
                  <c:v>375.27315188078228</c:v>
                </c:pt>
                <c:pt idx="2345">
                  <c:v>369.32914454112876</c:v>
                </c:pt>
                <c:pt idx="2346">
                  <c:v>367.77780866857177</c:v>
                </c:pt>
                <c:pt idx="2347">
                  <c:v>366.7046623481292</c:v>
                </c:pt>
                <c:pt idx="2348">
                  <c:v>358.49759515137652</c:v>
                </c:pt>
                <c:pt idx="2349">
                  <c:v>363.13770190997411</c:v>
                </c:pt>
                <c:pt idx="2350">
                  <c:v>371.46431649475528</c:v>
                </c:pt>
                <c:pt idx="2351">
                  <c:v>377.7753065139384</c:v>
                </c:pt>
                <c:pt idx="2352">
                  <c:v>377.22761266645858</c:v>
                </c:pt>
                <c:pt idx="2353">
                  <c:v>378.11448747532182</c:v>
                </c:pt>
                <c:pt idx="2354">
                  <c:v>378.88181489615641</c:v>
                </c:pt>
                <c:pt idx="2355">
                  <c:v>375.57619060857553</c:v>
                </c:pt>
                <c:pt idx="2356">
                  <c:v>373.32981178236406</c:v>
                </c:pt>
                <c:pt idx="2357">
                  <c:v>371.20298034418124</c:v>
                </c:pt>
                <c:pt idx="2358">
                  <c:v>376.61041452361349</c:v>
                </c:pt>
                <c:pt idx="2359">
                  <c:v>370.31888570713267</c:v>
                </c:pt>
                <c:pt idx="2360">
                  <c:v>374.57532875531297</c:v>
                </c:pt>
                <c:pt idx="2361">
                  <c:v>370.33278656620575</c:v>
                </c:pt>
                <c:pt idx="2362">
                  <c:v>373.93310906613624</c:v>
                </c:pt>
                <c:pt idx="2363">
                  <c:v>372.62642831326571</c:v>
                </c:pt>
                <c:pt idx="2364">
                  <c:v>376.88287136144601</c:v>
                </c:pt>
                <c:pt idx="2365">
                  <c:v>379.21543551391062</c:v>
                </c:pt>
                <c:pt idx="2366">
                  <c:v>380.20517667991459</c:v>
                </c:pt>
                <c:pt idx="2367">
                  <c:v>371.93138535961111</c:v>
                </c:pt>
                <c:pt idx="2368">
                  <c:v>372.40123439628155</c:v>
                </c:pt>
                <c:pt idx="2369">
                  <c:v>370.68586838666215</c:v>
                </c:pt>
                <c:pt idx="2370">
                  <c:v>373.71903583641051</c:v>
                </c:pt>
                <c:pt idx="2371">
                  <c:v>372.21774305651672</c:v>
                </c:pt>
                <c:pt idx="2372">
                  <c:v>369.84347632683284</c:v>
                </c:pt>
                <c:pt idx="2373">
                  <c:v>363.27115015707568</c:v>
                </c:pt>
                <c:pt idx="2374">
                  <c:v>357.08526786955036</c:v>
                </c:pt>
                <c:pt idx="2375">
                  <c:v>362.74569768411277</c:v>
                </c:pt>
                <c:pt idx="2376">
                  <c:v>356.25399649697948</c:v>
                </c:pt>
                <c:pt idx="2377">
                  <c:v>361.93388751424425</c:v>
                </c:pt>
                <c:pt idx="2378">
                  <c:v>359.82651727876367</c:v>
                </c:pt>
                <c:pt idx="2379">
                  <c:v>359.97942672856766</c:v>
                </c:pt>
                <c:pt idx="2380">
                  <c:v>361.29444799688201</c:v>
                </c:pt>
                <c:pt idx="2381">
                  <c:v>369.13731268591971</c:v>
                </c:pt>
                <c:pt idx="2382">
                  <c:v>371.01948900441619</c:v>
                </c:pt>
                <c:pt idx="2383">
                  <c:v>366.24037365508764</c:v>
                </c:pt>
                <c:pt idx="2384">
                  <c:v>366.60457616280263</c:v>
                </c:pt>
                <c:pt idx="2385">
                  <c:v>362.20634435207677</c:v>
                </c:pt>
                <c:pt idx="2386">
                  <c:v>359.65414662625733</c:v>
                </c:pt>
                <c:pt idx="2387">
                  <c:v>359.75423281158356</c:v>
                </c:pt>
                <c:pt idx="2388">
                  <c:v>361.74483583085015</c:v>
                </c:pt>
                <c:pt idx="2389">
                  <c:v>369.87683838860806</c:v>
                </c:pt>
                <c:pt idx="2390">
                  <c:v>372.51522144068059</c:v>
                </c:pt>
                <c:pt idx="2391">
                  <c:v>373.33259195417821</c:v>
                </c:pt>
                <c:pt idx="2392">
                  <c:v>375.04517779198295</c:v>
                </c:pt>
                <c:pt idx="2393">
                  <c:v>371.39759237120404</c:v>
                </c:pt>
                <c:pt idx="2394">
                  <c:v>370.6135839194817</c:v>
                </c:pt>
                <c:pt idx="2395">
                  <c:v>365.80944702382158</c:v>
                </c:pt>
                <c:pt idx="2396">
                  <c:v>365.6787789485345</c:v>
                </c:pt>
                <c:pt idx="2397">
                  <c:v>370.13817453918193</c:v>
                </c:pt>
                <c:pt idx="2398">
                  <c:v>375.7263198865644</c:v>
                </c:pt>
                <c:pt idx="2399">
                  <c:v>381.63696516444253</c:v>
                </c:pt>
                <c:pt idx="2400">
                  <c:v>383.93060691150242</c:v>
                </c:pt>
                <c:pt idx="2401">
                  <c:v>386.78306319330056</c:v>
                </c:pt>
                <c:pt idx="2402">
                  <c:v>385.92120993076895</c:v>
                </c:pt>
                <c:pt idx="2403">
                  <c:v>388.0730629152834</c:v>
                </c:pt>
                <c:pt idx="2404">
                  <c:v>387.67271817397847</c:v>
                </c:pt>
                <c:pt idx="2405">
                  <c:v>390.1359504017301</c:v>
                </c:pt>
                <c:pt idx="2406">
                  <c:v>388.97383858321967</c:v>
                </c:pt>
                <c:pt idx="2407">
                  <c:v>387.43362339792122</c:v>
                </c:pt>
                <c:pt idx="2408">
                  <c:v>388.71528260446019</c:v>
                </c:pt>
                <c:pt idx="2409">
                  <c:v>391.89857933219793</c:v>
                </c:pt>
                <c:pt idx="2410">
                  <c:v>394.44521671438815</c:v>
                </c:pt>
                <c:pt idx="2411">
                  <c:v>391.35088548471828</c:v>
                </c:pt>
                <c:pt idx="2412">
                  <c:v>382.85746059105992</c:v>
                </c:pt>
                <c:pt idx="2413">
                  <c:v>383.46631821846131</c:v>
                </c:pt>
                <c:pt idx="2414">
                  <c:v>378.37304345408091</c:v>
                </c:pt>
                <c:pt idx="2415">
                  <c:v>377.25263421278987</c:v>
                </c:pt>
                <c:pt idx="2416">
                  <c:v>374.70043648697043</c:v>
                </c:pt>
                <c:pt idx="2417">
                  <c:v>378.89293558341456</c:v>
                </c:pt>
                <c:pt idx="2418">
                  <c:v>379.60465956795684</c:v>
                </c:pt>
                <c:pt idx="2419">
                  <c:v>372.82938085573244</c:v>
                </c:pt>
                <c:pt idx="2420">
                  <c:v>369.40698935193763</c:v>
                </c:pt>
                <c:pt idx="2421">
                  <c:v>369.22071784035819</c:v>
                </c:pt>
                <c:pt idx="2422">
                  <c:v>367.58875698517738</c:v>
                </c:pt>
                <c:pt idx="2423">
                  <c:v>362.90416747754585</c:v>
                </c:pt>
                <c:pt idx="2424">
                  <c:v>365.23395145819586</c:v>
                </c:pt>
                <c:pt idx="2425">
                  <c:v>361.50296088297836</c:v>
                </c:pt>
                <c:pt idx="2426">
                  <c:v>360.81069810113848</c:v>
                </c:pt>
                <c:pt idx="2427">
                  <c:v>356.2595568406087</c:v>
                </c:pt>
                <c:pt idx="2428">
                  <c:v>361.95890906057582</c:v>
                </c:pt>
                <c:pt idx="2429">
                  <c:v>360.91078428646478</c:v>
                </c:pt>
                <c:pt idx="2430">
                  <c:v>369.11785148321741</c:v>
                </c:pt>
                <c:pt idx="2431">
                  <c:v>369.97692457393435</c:v>
                </c:pt>
                <c:pt idx="2432">
                  <c:v>373.69957463370798</c:v>
                </c:pt>
                <c:pt idx="2433">
                  <c:v>370.55242013956018</c:v>
                </c:pt>
                <c:pt idx="2434">
                  <c:v>367.98076121103838</c:v>
                </c:pt>
                <c:pt idx="2435">
                  <c:v>371.60054491367117</c:v>
                </c:pt>
                <c:pt idx="2436">
                  <c:v>378.16453056798457</c:v>
                </c:pt>
                <c:pt idx="2437">
                  <c:v>379.07642692317933</c:v>
                </c:pt>
                <c:pt idx="2438">
                  <c:v>384.16136117211585</c:v>
                </c:pt>
                <c:pt idx="2439">
                  <c:v>378.66218132280125</c:v>
                </c:pt>
                <c:pt idx="2440">
                  <c:v>374.84222524951593</c:v>
                </c:pt>
                <c:pt idx="2441">
                  <c:v>368.10030859906698</c:v>
                </c:pt>
                <c:pt idx="2442">
                  <c:v>367.09666657398986</c:v>
                </c:pt>
                <c:pt idx="2443">
                  <c:v>370.06032972837278</c:v>
                </c:pt>
                <c:pt idx="2444">
                  <c:v>366.73524423808948</c:v>
                </c:pt>
                <c:pt idx="2445">
                  <c:v>377.33603936722835</c:v>
                </c:pt>
                <c:pt idx="2446">
                  <c:v>375.44830270510272</c:v>
                </c:pt>
                <c:pt idx="2447">
                  <c:v>373.69679446189332</c:v>
                </c:pt>
                <c:pt idx="2448">
                  <c:v>374.67263476882431</c:v>
                </c:pt>
                <c:pt idx="2449">
                  <c:v>375.78470349467159</c:v>
                </c:pt>
                <c:pt idx="2450">
                  <c:v>373.69123411826411</c:v>
                </c:pt>
                <c:pt idx="2451">
                  <c:v>371.51157941560342</c:v>
                </c:pt>
                <c:pt idx="2452">
                  <c:v>366.41830465122308</c:v>
                </c:pt>
                <c:pt idx="2453">
                  <c:v>366.56009341376858</c:v>
                </c:pt>
                <c:pt idx="2454">
                  <c:v>371.26970446773169</c:v>
                </c:pt>
                <c:pt idx="2455">
                  <c:v>371.30028635769247</c:v>
                </c:pt>
                <c:pt idx="2456">
                  <c:v>363.52970613583483</c:v>
                </c:pt>
                <c:pt idx="2457">
                  <c:v>364.3442964775179</c:v>
                </c:pt>
                <c:pt idx="2458">
                  <c:v>355.97597931551741</c:v>
                </c:pt>
                <c:pt idx="2459">
                  <c:v>355.12802691205883</c:v>
                </c:pt>
                <c:pt idx="2460">
                  <c:v>356.7822291417566</c:v>
                </c:pt>
                <c:pt idx="2461">
                  <c:v>356.47363007033402</c:v>
                </c:pt>
                <c:pt idx="2462">
                  <c:v>352.62865245071714</c:v>
                </c:pt>
                <c:pt idx="2463">
                  <c:v>356.61541883287958</c:v>
                </c:pt>
                <c:pt idx="2464">
                  <c:v>356.64322055102576</c:v>
                </c:pt>
                <c:pt idx="2465">
                  <c:v>362.70121493507867</c:v>
                </c:pt>
                <c:pt idx="2466">
                  <c:v>361.79765909532779</c:v>
                </c:pt>
                <c:pt idx="2467">
                  <c:v>368.48397230948433</c:v>
                </c:pt>
                <c:pt idx="2468">
                  <c:v>366.32655898134072</c:v>
                </c:pt>
                <c:pt idx="2469">
                  <c:v>371.43651477660882</c:v>
                </c:pt>
                <c:pt idx="2470">
                  <c:v>371.21132085962478</c:v>
                </c:pt>
                <c:pt idx="2471">
                  <c:v>365.04767994661637</c:v>
                </c:pt>
                <c:pt idx="2472">
                  <c:v>357.40498762823114</c:v>
                </c:pt>
                <c:pt idx="2473">
                  <c:v>356.8128110317175</c:v>
                </c:pt>
                <c:pt idx="2474">
                  <c:v>346.80141232727766</c:v>
                </c:pt>
                <c:pt idx="2475">
                  <c:v>348.66968778670099</c:v>
                </c:pt>
                <c:pt idx="2476">
                  <c:v>350.66863132141134</c:v>
                </c:pt>
                <c:pt idx="2477">
                  <c:v>358.48369429230286</c:v>
                </c:pt>
                <c:pt idx="2478">
                  <c:v>356.86563429619503</c:v>
                </c:pt>
                <c:pt idx="2479">
                  <c:v>361.88106424976615</c:v>
                </c:pt>
                <c:pt idx="2480">
                  <c:v>359.65136645444244</c:v>
                </c:pt>
                <c:pt idx="2481">
                  <c:v>356.39300508771004</c:v>
                </c:pt>
                <c:pt idx="2482">
                  <c:v>360.50765937334489</c:v>
                </c:pt>
                <c:pt idx="2483">
                  <c:v>373.2213850815935</c:v>
                </c:pt>
                <c:pt idx="2484">
                  <c:v>378.91795712974601</c:v>
                </c:pt>
                <c:pt idx="2485">
                  <c:v>376.46862576106741</c:v>
                </c:pt>
                <c:pt idx="2486">
                  <c:v>374.69487614334116</c:v>
                </c:pt>
                <c:pt idx="2487">
                  <c:v>376.69381967805163</c:v>
                </c:pt>
                <c:pt idx="2488">
                  <c:v>378.8373321471222</c:v>
                </c:pt>
                <c:pt idx="2489">
                  <c:v>380.94748255441732</c:v>
                </c:pt>
                <c:pt idx="2490">
                  <c:v>382.83243904472846</c:v>
                </c:pt>
                <c:pt idx="2491">
                  <c:v>379.57129750618139</c:v>
                </c:pt>
                <c:pt idx="2492">
                  <c:v>381.84547805053899</c:v>
                </c:pt>
                <c:pt idx="2493">
                  <c:v>384.06961550223355</c:v>
                </c:pt>
                <c:pt idx="2494">
                  <c:v>388.12866635157593</c:v>
                </c:pt>
                <c:pt idx="2495">
                  <c:v>387.66437765853476</c:v>
                </c:pt>
                <c:pt idx="2496">
                  <c:v>394.80385887847405</c:v>
                </c:pt>
                <c:pt idx="2497">
                  <c:v>392.20161805999152</c:v>
                </c:pt>
                <c:pt idx="2498">
                  <c:v>396.15780255219306</c:v>
                </c:pt>
                <c:pt idx="2499">
                  <c:v>395.34043203869533</c:v>
                </c:pt>
                <c:pt idx="2500">
                  <c:v>395.04573382634578</c:v>
                </c:pt>
                <c:pt idx="2501">
                  <c:v>390.51405376851824</c:v>
                </c:pt>
                <c:pt idx="2502">
                  <c:v>393.97258750590311</c:v>
                </c:pt>
                <c:pt idx="2503">
                  <c:v>393.84469960243069</c:v>
                </c:pt>
                <c:pt idx="2504">
                  <c:v>391.40092857738136</c:v>
                </c:pt>
                <c:pt idx="2505">
                  <c:v>386.14084350412389</c:v>
                </c:pt>
                <c:pt idx="2506">
                  <c:v>388.59017487280238</c:v>
                </c:pt>
                <c:pt idx="2507">
                  <c:v>391.73732936695001</c:v>
                </c:pt>
                <c:pt idx="2508">
                  <c:v>398.48202618921357</c:v>
                </c:pt>
                <c:pt idx="2509">
                  <c:v>395.7101948900393</c:v>
                </c:pt>
                <c:pt idx="2510">
                  <c:v>391.77347160054012</c:v>
                </c:pt>
                <c:pt idx="2511">
                  <c:v>390.30276071060712</c:v>
                </c:pt>
                <c:pt idx="2512">
                  <c:v>391.47877338819046</c:v>
                </c:pt>
                <c:pt idx="2513">
                  <c:v>393.96146681864445</c:v>
                </c:pt>
                <c:pt idx="2514">
                  <c:v>393.45547554838396</c:v>
                </c:pt>
                <c:pt idx="2515">
                  <c:v>390.1053685117692</c:v>
                </c:pt>
                <c:pt idx="2516">
                  <c:v>392.92724290360661</c:v>
                </c:pt>
                <c:pt idx="2517">
                  <c:v>394.4452167143881</c:v>
                </c:pt>
                <c:pt idx="2518">
                  <c:v>395.07075537267713</c:v>
                </c:pt>
                <c:pt idx="2519">
                  <c:v>394.25338485917939</c:v>
                </c:pt>
                <c:pt idx="2520">
                  <c:v>398.51816842280363</c:v>
                </c:pt>
                <c:pt idx="2521">
                  <c:v>399.26881481275058</c:v>
                </c:pt>
                <c:pt idx="2522">
                  <c:v>405.4435764130173</c:v>
                </c:pt>
                <c:pt idx="2523">
                  <c:v>405.09883510800466</c:v>
                </c:pt>
                <c:pt idx="2524">
                  <c:v>405.25452472962337</c:v>
                </c:pt>
                <c:pt idx="2525">
                  <c:v>406.86702438210182</c:v>
                </c:pt>
                <c:pt idx="2526">
                  <c:v>407.14782173537827</c:v>
                </c:pt>
                <c:pt idx="2527">
                  <c:v>408.47674386276572</c:v>
                </c:pt>
                <c:pt idx="2528">
                  <c:v>404.57616280685647</c:v>
                </c:pt>
                <c:pt idx="2529">
                  <c:v>389.06280408128748</c:v>
                </c:pt>
                <c:pt idx="2530">
                  <c:v>389.81067029941971</c:v>
                </c:pt>
                <c:pt idx="2531">
                  <c:v>390.18321332257858</c:v>
                </c:pt>
                <c:pt idx="2532">
                  <c:v>400.75342656175661</c:v>
                </c:pt>
                <c:pt idx="2533">
                  <c:v>405.2378436987355</c:v>
                </c:pt>
                <c:pt idx="2534">
                  <c:v>399.94439656370264</c:v>
                </c:pt>
                <c:pt idx="2535">
                  <c:v>398.19010814867863</c:v>
                </c:pt>
                <c:pt idx="2536">
                  <c:v>403.03594762155797</c:v>
                </c:pt>
                <c:pt idx="2537">
                  <c:v>407.33687341877214</c:v>
                </c:pt>
                <c:pt idx="2538">
                  <c:v>404.55392143233939</c:v>
                </c:pt>
                <c:pt idx="2539">
                  <c:v>404.76521449025029</c:v>
                </c:pt>
                <c:pt idx="2540">
                  <c:v>401.89329700574979</c:v>
                </c:pt>
                <c:pt idx="2541">
                  <c:v>400.72284467179554</c:v>
                </c:pt>
                <c:pt idx="2542">
                  <c:v>389.64942033417162</c:v>
                </c:pt>
                <c:pt idx="2543">
                  <c:v>392.01256637659702</c:v>
                </c:pt>
                <c:pt idx="2544">
                  <c:v>390.36114431871385</c:v>
                </c:pt>
                <c:pt idx="2545">
                  <c:v>388.82370930523007</c:v>
                </c:pt>
                <c:pt idx="2546">
                  <c:v>378.14784953709665</c:v>
                </c:pt>
                <c:pt idx="2547">
                  <c:v>387.68383886123678</c:v>
                </c:pt>
                <c:pt idx="2548">
                  <c:v>391.80405349050079</c:v>
                </c:pt>
                <c:pt idx="2549">
                  <c:v>391.75957074146686</c:v>
                </c:pt>
                <c:pt idx="2550">
                  <c:v>396.1661430676366</c:v>
                </c:pt>
                <c:pt idx="2551">
                  <c:v>395.99933275875946</c:v>
                </c:pt>
                <c:pt idx="2552">
                  <c:v>395.96319052516941</c:v>
                </c:pt>
                <c:pt idx="2553">
                  <c:v>400.82293085712189</c:v>
                </c:pt>
                <c:pt idx="2554">
                  <c:v>392.4768550696383</c:v>
                </c:pt>
                <c:pt idx="2555">
                  <c:v>393.90308321053737</c:v>
                </c:pt>
                <c:pt idx="2556">
                  <c:v>385.64319274930699</c:v>
                </c:pt>
                <c:pt idx="2557">
                  <c:v>386.42720120102939</c:v>
                </c:pt>
                <c:pt idx="2558">
                  <c:v>389.7939892685319</c:v>
                </c:pt>
                <c:pt idx="2559">
                  <c:v>385.79610219911115</c:v>
                </c:pt>
                <c:pt idx="2560">
                  <c:v>385.96013233617367</c:v>
                </c:pt>
                <c:pt idx="2561">
                  <c:v>374.23614779392909</c:v>
                </c:pt>
                <c:pt idx="2562">
                  <c:v>375.92649225721698</c:v>
                </c:pt>
                <c:pt idx="2563">
                  <c:v>378.29519864327159</c:v>
                </c:pt>
                <c:pt idx="2564">
                  <c:v>376.27679390585882</c:v>
                </c:pt>
                <c:pt idx="2565">
                  <c:v>370.69698907392024</c:v>
                </c:pt>
                <c:pt idx="2566">
                  <c:v>374.78106146959431</c:v>
                </c:pt>
                <c:pt idx="2567">
                  <c:v>379.88823709304774</c:v>
                </c:pt>
                <c:pt idx="2568">
                  <c:v>383.43851650031507</c:v>
                </c:pt>
                <c:pt idx="2569">
                  <c:v>384.15302065667186</c:v>
                </c:pt>
                <c:pt idx="2570">
                  <c:v>391.77347160054012</c:v>
                </c:pt>
                <c:pt idx="2571">
                  <c:v>386.79974422418826</c:v>
                </c:pt>
                <c:pt idx="2572">
                  <c:v>376.88565153326005</c:v>
                </c:pt>
                <c:pt idx="2573">
                  <c:v>379.966081903857</c:v>
                </c:pt>
                <c:pt idx="2574">
                  <c:v>389.69390308320584</c:v>
                </c:pt>
                <c:pt idx="2575">
                  <c:v>387.85342934192857</c:v>
                </c:pt>
                <c:pt idx="2576">
                  <c:v>384.67013261419083</c:v>
                </c:pt>
                <c:pt idx="2577">
                  <c:v>377.86705218382036</c:v>
                </c:pt>
                <c:pt idx="2578">
                  <c:v>387.04161917206017</c:v>
                </c:pt>
                <c:pt idx="2579">
                  <c:v>405.47971864660747</c:v>
                </c:pt>
                <c:pt idx="2580">
                  <c:v>407.14782173537833</c:v>
                </c:pt>
                <c:pt idx="2581">
                  <c:v>404.96816703271776</c:v>
                </c:pt>
                <c:pt idx="2582">
                  <c:v>415.32152687035551</c:v>
                </c:pt>
                <c:pt idx="2583">
                  <c:v>417.20370318885199</c:v>
                </c:pt>
                <c:pt idx="2584">
                  <c:v>424.62954210569694</c:v>
                </c:pt>
                <c:pt idx="2585">
                  <c:v>424.66012399565773</c:v>
                </c:pt>
                <c:pt idx="2586">
                  <c:v>423.65926214239511</c:v>
                </c:pt>
                <c:pt idx="2587">
                  <c:v>419.1748450054161</c:v>
                </c:pt>
                <c:pt idx="2588">
                  <c:v>419.39447857877093</c:v>
                </c:pt>
                <c:pt idx="2589">
                  <c:v>413.66732464065768</c:v>
                </c:pt>
                <c:pt idx="2590">
                  <c:v>416.63098779504048</c:v>
                </c:pt>
                <c:pt idx="2591">
                  <c:v>418.6855347660433</c:v>
                </c:pt>
                <c:pt idx="2592">
                  <c:v>415.56062164641259</c:v>
                </c:pt>
                <c:pt idx="2593">
                  <c:v>413.51441519085358</c:v>
                </c:pt>
                <c:pt idx="2594">
                  <c:v>417.39831521587513</c:v>
                </c:pt>
                <c:pt idx="2595">
                  <c:v>421.57135310961689</c:v>
                </c:pt>
                <c:pt idx="2596">
                  <c:v>418.26572882203601</c:v>
                </c:pt>
                <c:pt idx="2597">
                  <c:v>417.18980232977879</c:v>
                </c:pt>
                <c:pt idx="2598">
                  <c:v>407.89846812532511</c:v>
                </c:pt>
                <c:pt idx="2599">
                  <c:v>400.48653006755319</c:v>
                </c:pt>
                <c:pt idx="2600">
                  <c:v>377.14698768383414</c:v>
                </c:pt>
                <c:pt idx="2601">
                  <c:v>389.62439878784022</c:v>
                </c:pt>
                <c:pt idx="2602">
                  <c:v>400.7923489671611</c:v>
                </c:pt>
                <c:pt idx="2603">
                  <c:v>396.86118602129113</c:v>
                </c:pt>
                <c:pt idx="2604">
                  <c:v>398.82676749422615</c:v>
                </c:pt>
                <c:pt idx="2605">
                  <c:v>397.52564708498488</c:v>
                </c:pt>
                <c:pt idx="2606">
                  <c:v>410.75370457893786</c:v>
                </c:pt>
                <c:pt idx="2607">
                  <c:v>406.1803219438911</c:v>
                </c:pt>
                <c:pt idx="2608">
                  <c:v>407.27292946703602</c:v>
                </c:pt>
                <c:pt idx="2609">
                  <c:v>403.80049487057806</c:v>
                </c:pt>
                <c:pt idx="2610">
                  <c:v>408.19872668130392</c:v>
                </c:pt>
                <c:pt idx="2611">
                  <c:v>402.09346937640254</c:v>
                </c:pt>
                <c:pt idx="2612">
                  <c:v>393.42211348660862</c:v>
                </c:pt>
                <c:pt idx="2613">
                  <c:v>391.88467847312478</c:v>
                </c:pt>
                <c:pt idx="2614">
                  <c:v>398.29575467763419</c:v>
                </c:pt>
                <c:pt idx="2615">
                  <c:v>395.94372932246722</c:v>
                </c:pt>
                <c:pt idx="2616">
                  <c:v>392.59918262948167</c:v>
                </c:pt>
                <c:pt idx="2617">
                  <c:v>384.51166282075758</c:v>
                </c:pt>
                <c:pt idx="2618">
                  <c:v>391.39536823375198</c:v>
                </c:pt>
                <c:pt idx="2619">
                  <c:v>395.05129416997482</c:v>
                </c:pt>
                <c:pt idx="2620">
                  <c:v>403.7810336678757</c:v>
                </c:pt>
                <c:pt idx="2621">
                  <c:v>407.58430871027332</c:v>
                </c:pt>
                <c:pt idx="2622">
                  <c:v>402.51327532040989</c:v>
                </c:pt>
                <c:pt idx="2623">
                  <c:v>399.56907336872933</c:v>
                </c:pt>
                <c:pt idx="2624">
                  <c:v>391.15627345769497</c:v>
                </c:pt>
                <c:pt idx="2625">
                  <c:v>389.42422641718792</c:v>
                </c:pt>
                <c:pt idx="2626">
                  <c:v>381.9566849231237</c:v>
                </c:pt>
                <c:pt idx="2627">
                  <c:v>388.95993772414676</c:v>
                </c:pt>
                <c:pt idx="2628">
                  <c:v>384.08629653312119</c:v>
                </c:pt>
                <c:pt idx="2629">
                  <c:v>383.1132363980048</c:v>
                </c:pt>
                <c:pt idx="2630">
                  <c:v>395.46553977035313</c:v>
                </c:pt>
                <c:pt idx="2631">
                  <c:v>394.9512079846487</c:v>
                </c:pt>
                <c:pt idx="2632">
                  <c:v>402.79407267368634</c:v>
                </c:pt>
                <c:pt idx="2633">
                  <c:v>410.70366148627488</c:v>
                </c:pt>
                <c:pt idx="2634">
                  <c:v>408.02635602879775</c:v>
                </c:pt>
                <c:pt idx="2635">
                  <c:v>405.30456782228657</c:v>
                </c:pt>
                <c:pt idx="2636">
                  <c:v>409.06336011565031</c:v>
                </c:pt>
                <c:pt idx="2637">
                  <c:v>406.36937362728543</c:v>
                </c:pt>
                <c:pt idx="2638">
                  <c:v>405.05713253078562</c:v>
                </c:pt>
                <c:pt idx="2639">
                  <c:v>402.01284439377872</c:v>
                </c:pt>
                <c:pt idx="2640">
                  <c:v>408.52956712724364</c:v>
                </c:pt>
                <c:pt idx="2641">
                  <c:v>408.83538602685161</c:v>
                </c:pt>
                <c:pt idx="2642">
                  <c:v>411.11234674302392</c:v>
                </c:pt>
                <c:pt idx="2643">
                  <c:v>407.14504156356389</c:v>
                </c:pt>
                <c:pt idx="2644">
                  <c:v>413.13353165225135</c:v>
                </c:pt>
                <c:pt idx="2645">
                  <c:v>410.33945897856017</c:v>
                </c:pt>
                <c:pt idx="2646">
                  <c:v>411.22355361560869</c:v>
                </c:pt>
                <c:pt idx="2647">
                  <c:v>403.7309905752129</c:v>
                </c:pt>
                <c:pt idx="2648">
                  <c:v>400.75620673357156</c:v>
                </c:pt>
                <c:pt idx="2649">
                  <c:v>404.60118435318833</c:v>
                </c:pt>
                <c:pt idx="2650">
                  <c:v>403.2778225694301</c:v>
                </c:pt>
                <c:pt idx="2651">
                  <c:v>404.46495593427204</c:v>
                </c:pt>
                <c:pt idx="2652">
                  <c:v>401.00920236870178</c:v>
                </c:pt>
                <c:pt idx="2653">
                  <c:v>404.40379215435041</c:v>
                </c:pt>
                <c:pt idx="2654">
                  <c:v>408.55736884538987</c:v>
                </c:pt>
                <c:pt idx="2655">
                  <c:v>402.07678834551507</c:v>
                </c:pt>
                <c:pt idx="2656">
                  <c:v>404.97928771997641</c:v>
                </c:pt>
                <c:pt idx="2657">
                  <c:v>411.15960966387246</c:v>
                </c:pt>
                <c:pt idx="2658">
                  <c:v>410.24771330867765</c:v>
                </c:pt>
                <c:pt idx="2659">
                  <c:v>411.71008368316689</c:v>
                </c:pt>
                <c:pt idx="2660">
                  <c:v>415.05741054796709</c:v>
                </c:pt>
                <c:pt idx="2661">
                  <c:v>415.86922071783562</c:v>
                </c:pt>
                <c:pt idx="2662">
                  <c:v>419.80038366370576</c:v>
                </c:pt>
                <c:pt idx="2663">
                  <c:v>419.94217242625132</c:v>
                </c:pt>
                <c:pt idx="2664">
                  <c:v>415.28538463676597</c:v>
                </c:pt>
                <c:pt idx="2665">
                  <c:v>412.01034223914581</c:v>
                </c:pt>
                <c:pt idx="2666">
                  <c:v>415.79415607884107</c:v>
                </c:pt>
                <c:pt idx="2667">
                  <c:v>411.51825182795847</c:v>
                </c:pt>
                <c:pt idx="2668">
                  <c:v>407.09777864271564</c:v>
                </c:pt>
                <c:pt idx="2669">
                  <c:v>409.92799354999687</c:v>
                </c:pt>
                <c:pt idx="2670">
                  <c:v>403.79771469876397</c:v>
                </c:pt>
                <c:pt idx="2671">
                  <c:v>403.01926659067084</c:v>
                </c:pt>
                <c:pt idx="2672">
                  <c:v>394.7538157858113</c:v>
                </c:pt>
                <c:pt idx="2673">
                  <c:v>397.79532375100348</c:v>
                </c:pt>
                <c:pt idx="2674">
                  <c:v>399.81650866023085</c:v>
                </c:pt>
                <c:pt idx="2675">
                  <c:v>399.98331896910798</c:v>
                </c:pt>
                <c:pt idx="2676">
                  <c:v>403.83663710416863</c:v>
                </c:pt>
                <c:pt idx="2677">
                  <c:v>406.71967527592761</c:v>
                </c:pt>
                <c:pt idx="2678">
                  <c:v>411.27637688008667</c:v>
                </c:pt>
                <c:pt idx="2679">
                  <c:v>412.24387667157379</c:v>
                </c:pt>
                <c:pt idx="2680">
                  <c:v>409.483166059658</c:v>
                </c:pt>
                <c:pt idx="2681">
                  <c:v>405.97458922960993</c:v>
                </c:pt>
                <c:pt idx="2682">
                  <c:v>409.19680836275228</c:v>
                </c:pt>
                <c:pt idx="2683">
                  <c:v>414.67930718117918</c:v>
                </c:pt>
                <c:pt idx="2684">
                  <c:v>412.69704467735653</c:v>
                </c:pt>
                <c:pt idx="2685">
                  <c:v>411.42372598626133</c:v>
                </c:pt>
                <c:pt idx="2686">
                  <c:v>415.93316466957191</c:v>
                </c:pt>
                <c:pt idx="2687">
                  <c:v>414.72378993021306</c:v>
                </c:pt>
                <c:pt idx="2688">
                  <c:v>416.88120325835672</c:v>
                </c:pt>
                <c:pt idx="2689">
                  <c:v>416.5058800633833</c:v>
                </c:pt>
                <c:pt idx="2690">
                  <c:v>418.68553476604393</c:v>
                </c:pt>
                <c:pt idx="2691">
                  <c:v>419.33609497066465</c:v>
                </c:pt>
                <c:pt idx="2692">
                  <c:v>418.81898301314567</c:v>
                </c:pt>
                <c:pt idx="2693">
                  <c:v>420.94303427951382</c:v>
                </c:pt>
                <c:pt idx="2694">
                  <c:v>419.7614612583011</c:v>
                </c:pt>
                <c:pt idx="2695">
                  <c:v>417.74583669270294</c:v>
                </c:pt>
                <c:pt idx="2696">
                  <c:v>421.94111596096178</c:v>
                </c:pt>
                <c:pt idx="2697">
                  <c:v>422.80018905167879</c:v>
                </c:pt>
                <c:pt idx="2698">
                  <c:v>418.99413383746651</c:v>
                </c:pt>
                <c:pt idx="2699">
                  <c:v>414.87113903638783</c:v>
                </c:pt>
                <c:pt idx="2700">
                  <c:v>417.72359531818603</c:v>
                </c:pt>
                <c:pt idx="2701">
                  <c:v>415.49667769467686</c:v>
                </c:pt>
                <c:pt idx="2702">
                  <c:v>414.03986766381695</c:v>
                </c:pt>
                <c:pt idx="2703">
                  <c:v>412.01868275458958</c:v>
                </c:pt>
                <c:pt idx="2704">
                  <c:v>412.83049292445804</c:v>
                </c:pt>
                <c:pt idx="2705">
                  <c:v>411.70730351135228</c:v>
                </c:pt>
                <c:pt idx="2706">
                  <c:v>407.52036475853743</c:v>
                </c:pt>
                <c:pt idx="2707">
                  <c:v>401.59859879340087</c:v>
                </c:pt>
                <c:pt idx="2708">
                  <c:v>405.87728321609814</c:v>
                </c:pt>
                <c:pt idx="2709">
                  <c:v>403.49745614278498</c:v>
                </c:pt>
                <c:pt idx="2710">
                  <c:v>402.86079679723747</c:v>
                </c:pt>
                <c:pt idx="2711">
                  <c:v>402.76905112735511</c:v>
                </c:pt>
                <c:pt idx="2712">
                  <c:v>400.07506463899017</c:v>
                </c:pt>
                <c:pt idx="2713">
                  <c:v>396.78890155411159</c:v>
                </c:pt>
                <c:pt idx="2714">
                  <c:v>396.61097055797603</c:v>
                </c:pt>
                <c:pt idx="2715">
                  <c:v>405.42967555394466</c:v>
                </c:pt>
                <c:pt idx="2716">
                  <c:v>399.37446134170636</c:v>
                </c:pt>
                <c:pt idx="2717">
                  <c:v>399.29661653089704</c:v>
                </c:pt>
                <c:pt idx="2718">
                  <c:v>396.58038866801519</c:v>
                </c:pt>
                <c:pt idx="2719">
                  <c:v>398.76560371430503</c:v>
                </c:pt>
                <c:pt idx="2720">
                  <c:v>399.31051738997019</c:v>
                </c:pt>
                <c:pt idx="2721">
                  <c:v>391.72342850787743</c:v>
                </c:pt>
                <c:pt idx="2722">
                  <c:v>389.7884289249032</c:v>
                </c:pt>
                <c:pt idx="2723">
                  <c:v>385.61539103116138</c:v>
                </c:pt>
                <c:pt idx="2724">
                  <c:v>379.37946565097292</c:v>
                </c:pt>
                <c:pt idx="2725">
                  <c:v>369.70168756428734</c:v>
                </c:pt>
                <c:pt idx="2726">
                  <c:v>382.04287024937713</c:v>
                </c:pt>
                <c:pt idx="2727">
                  <c:v>382.16797798103499</c:v>
                </c:pt>
                <c:pt idx="2728">
                  <c:v>375.31485445800138</c:v>
                </c:pt>
                <c:pt idx="2729">
                  <c:v>373.13519975534086</c:v>
                </c:pt>
                <c:pt idx="2730">
                  <c:v>386.09914092690514</c:v>
                </c:pt>
                <c:pt idx="2731">
                  <c:v>388.37054129944806</c:v>
                </c:pt>
                <c:pt idx="2732">
                  <c:v>388.050821540767</c:v>
                </c:pt>
                <c:pt idx="2733">
                  <c:v>388.70416191720233</c:v>
                </c:pt>
                <c:pt idx="2734">
                  <c:v>379.46565097722629</c:v>
                </c:pt>
                <c:pt idx="2735">
                  <c:v>379.33776307375382</c:v>
                </c:pt>
                <c:pt idx="2736">
                  <c:v>383.54694320108564</c:v>
                </c:pt>
                <c:pt idx="2737">
                  <c:v>388.85151102337716</c:v>
                </c:pt>
                <c:pt idx="2738">
                  <c:v>397.39775918151321</c:v>
                </c:pt>
                <c:pt idx="2739">
                  <c:v>395.12357863715556</c:v>
                </c:pt>
                <c:pt idx="2740">
                  <c:v>397.09750062553434</c:v>
                </c:pt>
                <c:pt idx="2741">
                  <c:v>396.64433261975165</c:v>
                </c:pt>
                <c:pt idx="2742">
                  <c:v>398.17342711779168</c:v>
                </c:pt>
                <c:pt idx="2743">
                  <c:v>398.08446161972387</c:v>
                </c:pt>
                <c:pt idx="2744">
                  <c:v>391.80405349050153</c:v>
                </c:pt>
                <c:pt idx="2745">
                  <c:v>389.26297645194063</c:v>
                </c:pt>
                <c:pt idx="2746">
                  <c:v>379.7659095332051</c:v>
                </c:pt>
                <c:pt idx="2747">
                  <c:v>375.67349662208721</c:v>
                </c:pt>
                <c:pt idx="2748">
                  <c:v>384.48386110261197</c:v>
                </c:pt>
                <c:pt idx="2749">
                  <c:v>386.39105896744002</c:v>
                </c:pt>
                <c:pt idx="2750">
                  <c:v>381.52853846367293</c:v>
                </c:pt>
                <c:pt idx="2751">
                  <c:v>380.24965942894869</c:v>
                </c:pt>
                <c:pt idx="2752">
                  <c:v>373.27142817425721</c:v>
                </c:pt>
                <c:pt idx="2753">
                  <c:v>374.58644944257162</c:v>
                </c:pt>
                <c:pt idx="2754">
                  <c:v>367.63880007784093</c:v>
                </c:pt>
                <c:pt idx="2755">
                  <c:v>373.03511357001474</c:v>
                </c:pt>
                <c:pt idx="2756">
                  <c:v>375.03683727653976</c:v>
                </c:pt>
                <c:pt idx="2757">
                  <c:v>371.45597597931157</c:v>
                </c:pt>
                <c:pt idx="2758">
                  <c:v>373.07403597541941</c:v>
                </c:pt>
                <c:pt idx="2759">
                  <c:v>365.57869276320895</c:v>
                </c:pt>
                <c:pt idx="2760">
                  <c:v>365.65653757401827</c:v>
                </c:pt>
                <c:pt idx="2761">
                  <c:v>368.3644249214563</c:v>
                </c:pt>
                <c:pt idx="2762">
                  <c:v>382.7017709694419</c:v>
                </c:pt>
                <c:pt idx="2763">
                  <c:v>375.72910005837969</c:v>
                </c:pt>
                <c:pt idx="2764">
                  <c:v>373.52998415301676</c:v>
                </c:pt>
                <c:pt idx="2765">
                  <c:v>380.85295671272092</c:v>
                </c:pt>
                <c:pt idx="2766">
                  <c:v>383.71931385359221</c:v>
                </c:pt>
                <c:pt idx="2767">
                  <c:v>381.2115988768067</c:v>
                </c:pt>
                <c:pt idx="2768">
                  <c:v>378.10058661624907</c:v>
                </c:pt>
                <c:pt idx="2769">
                  <c:v>372.80157913758694</c:v>
                </c:pt>
                <c:pt idx="2770">
                  <c:v>364.80024465511605</c:v>
                </c:pt>
                <c:pt idx="2771">
                  <c:v>367.7444466067966</c:v>
                </c:pt>
                <c:pt idx="2772">
                  <c:v>362.97923211654114</c:v>
                </c:pt>
                <c:pt idx="2773">
                  <c:v>351.6194500820115</c:v>
                </c:pt>
                <c:pt idx="2774">
                  <c:v>354.43298395840498</c:v>
                </c:pt>
                <c:pt idx="2775">
                  <c:v>363.08209847368198</c:v>
                </c:pt>
                <c:pt idx="2776">
                  <c:v>365.64541688675985</c:v>
                </c:pt>
                <c:pt idx="2777">
                  <c:v>369.46259278823055</c:v>
                </c:pt>
                <c:pt idx="2778">
                  <c:v>370.93608384997816</c:v>
                </c:pt>
                <c:pt idx="2779">
                  <c:v>367.06052434040049</c:v>
                </c:pt>
                <c:pt idx="2780">
                  <c:v>356.77110845449886</c:v>
                </c:pt>
                <c:pt idx="2781">
                  <c:v>374.64483305067876</c:v>
                </c:pt>
                <c:pt idx="2782">
                  <c:v>370.69142873029176</c:v>
                </c:pt>
                <c:pt idx="2783">
                  <c:v>360.96360755094298</c:v>
                </c:pt>
                <c:pt idx="2784">
                  <c:v>360.27134476910305</c:v>
                </c:pt>
                <c:pt idx="2785">
                  <c:v>361.64474964552443</c:v>
                </c:pt>
                <c:pt idx="2786">
                  <c:v>365.11162389835329</c:v>
                </c:pt>
                <c:pt idx="2787">
                  <c:v>368.87875670716079</c:v>
                </c:pt>
                <c:pt idx="2788">
                  <c:v>366.51561066473539</c:v>
                </c:pt>
                <c:pt idx="2789">
                  <c:v>368.83149378631231</c:v>
                </c:pt>
                <c:pt idx="2790">
                  <c:v>369.61550223803465</c:v>
                </c:pt>
                <c:pt idx="2791">
                  <c:v>374.75882009507819</c:v>
                </c:pt>
                <c:pt idx="2792">
                  <c:v>373.24918679974053</c:v>
                </c:pt>
                <c:pt idx="2793">
                  <c:v>373.34927298506676</c:v>
                </c:pt>
                <c:pt idx="2794">
                  <c:v>378.21457366064845</c:v>
                </c:pt>
                <c:pt idx="2795">
                  <c:v>379.2988406683495</c:v>
                </c:pt>
                <c:pt idx="2796">
                  <c:v>377.41110400622387</c:v>
                </c:pt>
                <c:pt idx="2797">
                  <c:v>376.69938002168163</c:v>
                </c:pt>
                <c:pt idx="2798">
                  <c:v>379.2626984347595</c:v>
                </c:pt>
                <c:pt idx="2799">
                  <c:v>381.92054268953444</c:v>
                </c:pt>
                <c:pt idx="2800">
                  <c:v>379.77425004864926</c:v>
                </c:pt>
                <c:pt idx="2801">
                  <c:v>381.84825822235433</c:v>
                </c:pt>
                <c:pt idx="2802">
                  <c:v>375.17584586727088</c:v>
                </c:pt>
                <c:pt idx="2803">
                  <c:v>376.52144902554602</c:v>
                </c:pt>
                <c:pt idx="2804">
                  <c:v>375.95151380354935</c:v>
                </c:pt>
                <c:pt idx="2805">
                  <c:v>372.79045845032863</c:v>
                </c:pt>
                <c:pt idx="2806">
                  <c:v>370.46623481330784</c:v>
                </c:pt>
                <c:pt idx="2807">
                  <c:v>365.52586949873148</c:v>
                </c:pt>
                <c:pt idx="2808">
                  <c:v>369.84903667046262</c:v>
                </c:pt>
                <c:pt idx="2809">
                  <c:v>366.64905891183719</c:v>
                </c:pt>
                <c:pt idx="2810">
                  <c:v>365.8483694292272</c:v>
                </c:pt>
                <c:pt idx="2811">
                  <c:v>368.82037309905394</c:v>
                </c:pt>
                <c:pt idx="2812">
                  <c:v>361.84770218799173</c:v>
                </c:pt>
                <c:pt idx="2813">
                  <c:v>355.56729405876939</c:v>
                </c:pt>
                <c:pt idx="2814">
                  <c:v>348.98662737356835</c:v>
                </c:pt>
                <c:pt idx="2815">
                  <c:v>348.30548527898691</c:v>
                </c:pt>
                <c:pt idx="2816">
                  <c:v>346.37048569601274</c:v>
                </c:pt>
                <c:pt idx="2817">
                  <c:v>352.42848008006564</c:v>
                </c:pt>
                <c:pt idx="2818">
                  <c:v>349.72893324807148</c:v>
                </c:pt>
                <c:pt idx="2819">
                  <c:v>344.7246239817589</c:v>
                </c:pt>
                <c:pt idx="2820">
                  <c:v>345.08326614584468</c:v>
                </c:pt>
                <c:pt idx="2821">
                  <c:v>343.12324501653887</c:v>
                </c:pt>
                <c:pt idx="2822">
                  <c:v>345.13330923850782</c:v>
                </c:pt>
                <c:pt idx="2823">
                  <c:v>348.57794211681966</c:v>
                </c:pt>
                <c:pt idx="2824">
                  <c:v>350.82710111484568</c:v>
                </c:pt>
                <c:pt idx="2825">
                  <c:v>351.61945008201184</c:v>
                </c:pt>
                <c:pt idx="2826">
                  <c:v>342.91195195862792</c:v>
                </c:pt>
                <c:pt idx="2827">
                  <c:v>328.10475687397184</c:v>
                </c:pt>
                <c:pt idx="2828">
                  <c:v>332.97005754955353</c:v>
                </c:pt>
                <c:pt idx="2829">
                  <c:v>324.3654257833104</c:v>
                </c:pt>
                <c:pt idx="2830">
                  <c:v>326.26984347632379</c:v>
                </c:pt>
                <c:pt idx="2831">
                  <c:v>319.86710778725825</c:v>
                </c:pt>
                <c:pt idx="2832">
                  <c:v>325.5052962273038</c:v>
                </c:pt>
                <c:pt idx="2833">
                  <c:v>317.66799188189532</c:v>
                </c:pt>
                <c:pt idx="2834">
                  <c:v>311.97420000555746</c:v>
                </c:pt>
                <c:pt idx="2835">
                  <c:v>310.70644165809153</c:v>
                </c:pt>
                <c:pt idx="2836">
                  <c:v>316.89232394561685</c:v>
                </c:pt>
                <c:pt idx="2837">
                  <c:v>320.46762489921582</c:v>
                </c:pt>
                <c:pt idx="2838">
                  <c:v>328.66357140871008</c:v>
                </c:pt>
                <c:pt idx="2839">
                  <c:v>320.6344352080929</c:v>
                </c:pt>
                <c:pt idx="2840">
                  <c:v>319.1498234590868</c:v>
                </c:pt>
                <c:pt idx="2841">
                  <c:v>322.59167616558398</c:v>
                </c:pt>
                <c:pt idx="2842">
                  <c:v>318.5715477216462</c:v>
                </c:pt>
                <c:pt idx="2843">
                  <c:v>307.61489060023627</c:v>
                </c:pt>
                <c:pt idx="2844">
                  <c:v>306.72245544774387</c:v>
                </c:pt>
                <c:pt idx="2845">
                  <c:v>320.12010342238864</c:v>
                </c:pt>
                <c:pt idx="2846">
                  <c:v>313.72292807695237</c:v>
                </c:pt>
                <c:pt idx="2847">
                  <c:v>316.2695654591426</c:v>
                </c:pt>
                <c:pt idx="2848">
                  <c:v>324.82971447635185</c:v>
                </c:pt>
                <c:pt idx="2849">
                  <c:v>324.13745169451192</c:v>
                </c:pt>
                <c:pt idx="2850">
                  <c:v>329.0333342600544</c:v>
                </c:pt>
                <c:pt idx="2851">
                  <c:v>327.97130862687027</c:v>
                </c:pt>
                <c:pt idx="2852">
                  <c:v>331.34365703800199</c:v>
                </c:pt>
                <c:pt idx="2853">
                  <c:v>344.22975339875694</c:v>
                </c:pt>
                <c:pt idx="2854">
                  <c:v>348.55014039867353</c:v>
                </c:pt>
                <c:pt idx="2855">
                  <c:v>345.56979621340292</c:v>
                </c:pt>
                <c:pt idx="2856">
                  <c:v>340.39311629458393</c:v>
                </c:pt>
                <c:pt idx="2857">
                  <c:v>336.25344046261762</c:v>
                </c:pt>
                <c:pt idx="2858">
                  <c:v>341.61361172120138</c:v>
                </c:pt>
                <c:pt idx="2859">
                  <c:v>343.21777085823607</c:v>
                </c:pt>
                <c:pt idx="2860">
                  <c:v>348.36942923072343</c:v>
                </c:pt>
                <c:pt idx="2861">
                  <c:v>347.37134754927553</c:v>
                </c:pt>
                <c:pt idx="2862">
                  <c:v>352.09207929049705</c:v>
                </c:pt>
                <c:pt idx="2863">
                  <c:v>352.36731630014424</c:v>
                </c:pt>
                <c:pt idx="2864">
                  <c:v>347.12669242958907</c:v>
                </c:pt>
                <c:pt idx="2865">
                  <c:v>352.13934221134554</c:v>
                </c:pt>
                <c:pt idx="2866">
                  <c:v>351.27748894881398</c:v>
                </c:pt>
                <c:pt idx="2867">
                  <c:v>350.6352692596372</c:v>
                </c:pt>
                <c:pt idx="2868">
                  <c:v>349.06169201256336</c:v>
                </c:pt>
                <c:pt idx="2869">
                  <c:v>348.96160582723712</c:v>
                </c:pt>
                <c:pt idx="2870">
                  <c:v>346.31766243153527</c:v>
                </c:pt>
                <c:pt idx="2871">
                  <c:v>347.22121827128615</c:v>
                </c:pt>
                <c:pt idx="2872">
                  <c:v>347.36578720564631</c:v>
                </c:pt>
                <c:pt idx="2873">
                  <c:v>357.24929800661369</c:v>
                </c:pt>
                <c:pt idx="2874">
                  <c:v>358.22235814173007</c:v>
                </c:pt>
                <c:pt idx="2875">
                  <c:v>359.18707776140258</c:v>
                </c:pt>
                <c:pt idx="2876">
                  <c:v>364.9892963385106</c:v>
                </c:pt>
                <c:pt idx="2877">
                  <c:v>364.03013706246742</c:v>
                </c:pt>
                <c:pt idx="2878">
                  <c:v>358.37804776334872</c:v>
                </c:pt>
                <c:pt idx="2879">
                  <c:v>359.52347855097145</c:v>
                </c:pt>
                <c:pt idx="2880">
                  <c:v>355.27537601823497</c:v>
                </c:pt>
                <c:pt idx="2881">
                  <c:v>352.50632489087531</c:v>
                </c:pt>
                <c:pt idx="2882">
                  <c:v>346.98768383885835</c:v>
                </c:pt>
                <c:pt idx="2883">
                  <c:v>349.13953682337274</c:v>
                </c:pt>
                <c:pt idx="2884">
                  <c:v>350.48792015346254</c:v>
                </c:pt>
                <c:pt idx="2885">
                  <c:v>352.27835080207649</c:v>
                </c:pt>
                <c:pt idx="2886">
                  <c:v>356.85451360893796</c:v>
                </c:pt>
                <c:pt idx="2887">
                  <c:v>353.09016097194507</c:v>
                </c:pt>
                <c:pt idx="2888">
                  <c:v>355.01682003947548</c:v>
                </c:pt>
                <c:pt idx="2889">
                  <c:v>351.68061386193375</c:v>
                </c:pt>
                <c:pt idx="2890">
                  <c:v>348.74197225388241</c:v>
                </c:pt>
                <c:pt idx="2891">
                  <c:v>349.14787733881661</c:v>
                </c:pt>
                <c:pt idx="2892">
                  <c:v>345.1861325029858</c:v>
                </c:pt>
                <c:pt idx="2893">
                  <c:v>339.14481914982065</c:v>
                </c:pt>
                <c:pt idx="2894">
                  <c:v>337.61294447996607</c:v>
                </c:pt>
                <c:pt idx="2895">
                  <c:v>335.96430259389757</c:v>
                </c:pt>
                <c:pt idx="2896">
                  <c:v>337.11807389696406</c:v>
                </c:pt>
                <c:pt idx="2897">
                  <c:v>340.05393533320085</c:v>
                </c:pt>
                <c:pt idx="2898">
                  <c:v>343.91837415552004</c:v>
                </c:pt>
                <c:pt idx="2899">
                  <c:v>340.66835330423146</c:v>
                </c:pt>
                <c:pt idx="2900">
                  <c:v>338.79173732936425</c:v>
                </c:pt>
                <c:pt idx="2901">
                  <c:v>338.28018571547454</c:v>
                </c:pt>
                <c:pt idx="2902">
                  <c:v>336.69826795295677</c:v>
                </c:pt>
                <c:pt idx="2903">
                  <c:v>340.90466790847404</c:v>
                </c:pt>
                <c:pt idx="2904">
                  <c:v>340.40979732547203</c:v>
                </c:pt>
                <c:pt idx="2905">
                  <c:v>343.82662848563763</c:v>
                </c:pt>
                <c:pt idx="2906">
                  <c:v>343.19830965553393</c:v>
                </c:pt>
                <c:pt idx="2907">
                  <c:v>338.96966832549981</c:v>
                </c:pt>
                <c:pt idx="2908">
                  <c:v>331.00447607661886</c:v>
                </c:pt>
                <c:pt idx="2909">
                  <c:v>333.28143679279106</c:v>
                </c:pt>
                <c:pt idx="2910">
                  <c:v>328.4828602407602</c:v>
                </c:pt>
                <c:pt idx="2911">
                  <c:v>328.11031721760139</c:v>
                </c:pt>
                <c:pt idx="2912">
                  <c:v>335.88367761127364</c:v>
                </c:pt>
                <c:pt idx="2913">
                  <c:v>337.97992715949573</c:v>
                </c:pt>
                <c:pt idx="2914">
                  <c:v>334.30175984875592</c:v>
                </c:pt>
                <c:pt idx="2915">
                  <c:v>337.63518585448304</c:v>
                </c:pt>
                <c:pt idx="2916">
                  <c:v>335.76413022324505</c:v>
                </c:pt>
                <c:pt idx="2917">
                  <c:v>337.79643581973085</c:v>
                </c:pt>
                <c:pt idx="2918">
                  <c:v>336.63710417303503</c:v>
                </c:pt>
                <c:pt idx="2919">
                  <c:v>331.12680363646194</c:v>
                </c:pt>
                <c:pt idx="2920">
                  <c:v>325.73883065973206</c:v>
                </c:pt>
                <c:pt idx="2921">
                  <c:v>330.97667435847262</c:v>
                </c:pt>
                <c:pt idx="2922">
                  <c:v>334.43520809585755</c:v>
                </c:pt>
                <c:pt idx="2923">
                  <c:v>335.23867775028214</c:v>
                </c:pt>
                <c:pt idx="2924">
                  <c:v>334.87725541438181</c:v>
                </c:pt>
                <c:pt idx="2925">
                  <c:v>336.74275070199059</c:v>
                </c:pt>
                <c:pt idx="2926">
                  <c:v>338.04943145486112</c:v>
                </c:pt>
                <c:pt idx="2927">
                  <c:v>339.38947426950705</c:v>
                </c:pt>
                <c:pt idx="2928">
                  <c:v>337.61016430815141</c:v>
                </c:pt>
                <c:pt idx="2929">
                  <c:v>333.75406600127616</c:v>
                </c:pt>
                <c:pt idx="2930">
                  <c:v>334.84389335260647</c:v>
                </c:pt>
                <c:pt idx="2931">
                  <c:v>329.04167477549845</c:v>
                </c:pt>
                <c:pt idx="2932">
                  <c:v>329.01387305735227</c:v>
                </c:pt>
                <c:pt idx="2933">
                  <c:v>330.88492868859032</c:v>
                </c:pt>
                <c:pt idx="2934">
                  <c:v>331.19908810364217</c:v>
                </c:pt>
                <c:pt idx="2935">
                  <c:v>329.9313297561763</c:v>
                </c:pt>
                <c:pt idx="2936">
                  <c:v>327.50980010564388</c:v>
                </c:pt>
                <c:pt idx="2937">
                  <c:v>328.52178264616481</c:v>
                </c:pt>
                <c:pt idx="2938">
                  <c:v>323.04762434318172</c:v>
                </c:pt>
                <c:pt idx="2939">
                  <c:v>325.67210653618122</c:v>
                </c:pt>
                <c:pt idx="2940">
                  <c:v>321.73816341849658</c:v>
                </c:pt>
                <c:pt idx="2941">
                  <c:v>323.97620172926418</c:v>
                </c:pt>
                <c:pt idx="2942">
                  <c:v>323.08098640495712</c:v>
                </c:pt>
                <c:pt idx="2943">
                  <c:v>329.43089882954496</c:v>
                </c:pt>
                <c:pt idx="2944">
                  <c:v>327.84064055158336</c:v>
                </c:pt>
                <c:pt idx="2945">
                  <c:v>322.91973643970925</c:v>
                </c:pt>
                <c:pt idx="2946">
                  <c:v>319.3305346270372</c:v>
                </c:pt>
                <c:pt idx="2947">
                  <c:v>313.88973838582956</c:v>
                </c:pt>
                <c:pt idx="2948">
                  <c:v>315.15471656148077</c:v>
                </c:pt>
                <c:pt idx="2949">
                  <c:v>314.97678556534521</c:v>
                </c:pt>
                <c:pt idx="2950">
                  <c:v>314.643164947591</c:v>
                </c:pt>
                <c:pt idx="2951">
                  <c:v>307.59820956934868</c:v>
                </c:pt>
                <c:pt idx="2952">
                  <c:v>301.86549528760605</c:v>
                </c:pt>
                <c:pt idx="2953">
                  <c:v>303.74489143428792</c:v>
                </c:pt>
                <c:pt idx="2954">
                  <c:v>288.79590758708633</c:v>
                </c:pt>
                <c:pt idx="2955">
                  <c:v>287.11946398287159</c:v>
                </c:pt>
                <c:pt idx="2956">
                  <c:v>282.49325808334709</c:v>
                </c:pt>
                <c:pt idx="2957">
                  <c:v>273.71903583641233</c:v>
                </c:pt>
                <c:pt idx="2958">
                  <c:v>268.50899385581795</c:v>
                </c:pt>
                <c:pt idx="2959">
                  <c:v>278.9763407378552</c:v>
                </c:pt>
                <c:pt idx="2960">
                  <c:v>281.4284522783484</c:v>
                </c:pt>
                <c:pt idx="2961">
                  <c:v>279.97442241930315</c:v>
                </c:pt>
                <c:pt idx="2962">
                  <c:v>283.19108120881634</c:v>
                </c:pt>
                <c:pt idx="2963">
                  <c:v>289.39920487085863</c:v>
                </c:pt>
                <c:pt idx="2964">
                  <c:v>288.73474380716488</c:v>
                </c:pt>
                <c:pt idx="2965">
                  <c:v>292.28780338624688</c:v>
                </c:pt>
                <c:pt idx="2966">
                  <c:v>298.11226333787187</c:v>
                </c:pt>
                <c:pt idx="2967">
                  <c:v>297.37551780699812</c:v>
                </c:pt>
                <c:pt idx="2968">
                  <c:v>297.86204787455631</c:v>
                </c:pt>
                <c:pt idx="2969">
                  <c:v>295.37657427228766</c:v>
                </c:pt>
                <c:pt idx="2970">
                  <c:v>293.79465650976988</c:v>
                </c:pt>
                <c:pt idx="2971">
                  <c:v>300.53379298840417</c:v>
                </c:pt>
                <c:pt idx="2972">
                  <c:v>305.10439545163638</c:v>
                </c:pt>
                <c:pt idx="2973">
                  <c:v>303.49745614278709</c:v>
                </c:pt>
                <c:pt idx="2974">
                  <c:v>303.03316744974586</c:v>
                </c:pt>
                <c:pt idx="2975">
                  <c:v>305.13497734159716</c:v>
                </c:pt>
                <c:pt idx="2976">
                  <c:v>299.44952598070313</c:v>
                </c:pt>
                <c:pt idx="2977">
                  <c:v>297.091940281907</c:v>
                </c:pt>
                <c:pt idx="2978">
                  <c:v>298.44588395562602</c:v>
                </c:pt>
                <c:pt idx="2979">
                  <c:v>303.01092607522907</c:v>
                </c:pt>
                <c:pt idx="2980">
                  <c:v>301.5874781061446</c:v>
                </c:pt>
                <c:pt idx="2981">
                  <c:v>301.70424532235859</c:v>
                </c:pt>
                <c:pt idx="2982">
                  <c:v>305.84392115432502</c:v>
                </c:pt>
                <c:pt idx="2983">
                  <c:v>307.10055881453235</c:v>
                </c:pt>
                <c:pt idx="2984">
                  <c:v>299.78592677027206</c:v>
                </c:pt>
                <c:pt idx="2985">
                  <c:v>294.63982874141391</c:v>
                </c:pt>
                <c:pt idx="2986">
                  <c:v>294.6370485695993</c:v>
                </c:pt>
                <c:pt idx="2987">
                  <c:v>301.3984264227505</c:v>
                </c:pt>
                <c:pt idx="2988">
                  <c:v>302.26027968528217</c:v>
                </c:pt>
                <c:pt idx="2989">
                  <c:v>306.60846840334494</c:v>
                </c:pt>
                <c:pt idx="2990">
                  <c:v>311.06230365036311</c:v>
                </c:pt>
                <c:pt idx="2991">
                  <c:v>310.21157107508998</c:v>
                </c:pt>
                <c:pt idx="2992">
                  <c:v>310.9733381522953</c:v>
                </c:pt>
                <c:pt idx="2993">
                  <c:v>311.46542856348265</c:v>
                </c:pt>
                <c:pt idx="2994">
                  <c:v>310.91495454418822</c:v>
                </c:pt>
                <c:pt idx="2995">
                  <c:v>316.68659123133546</c:v>
                </c:pt>
                <c:pt idx="2996">
                  <c:v>317.27598765603454</c:v>
                </c:pt>
                <c:pt idx="2997">
                  <c:v>317.56234535294021</c:v>
                </c:pt>
                <c:pt idx="2998">
                  <c:v>316.56426367149231</c:v>
                </c:pt>
                <c:pt idx="2999">
                  <c:v>320.01445689343336</c:v>
                </c:pt>
                <c:pt idx="3000">
                  <c:v>317.67911256915426</c:v>
                </c:pt>
                <c:pt idx="3001">
                  <c:v>316.11387583752423</c:v>
                </c:pt>
                <c:pt idx="3002">
                  <c:v>319.81428452278101</c:v>
                </c:pt>
                <c:pt idx="3003">
                  <c:v>321.78264616753063</c:v>
                </c:pt>
                <c:pt idx="3004">
                  <c:v>319.58075009035304</c:v>
                </c:pt>
                <c:pt idx="3005">
                  <c:v>313.74794962328423</c:v>
                </c:pt>
                <c:pt idx="3006">
                  <c:v>316.9951903027582</c:v>
                </c:pt>
                <c:pt idx="3007">
                  <c:v>316.7866774166618</c:v>
                </c:pt>
                <c:pt idx="3008">
                  <c:v>314.13161333370147</c:v>
                </c:pt>
                <c:pt idx="3009">
                  <c:v>318.27406933748244</c:v>
                </c:pt>
                <c:pt idx="3010">
                  <c:v>325.37740832383173</c:v>
                </c:pt>
                <c:pt idx="3011">
                  <c:v>324.47385248408085</c:v>
                </c:pt>
                <c:pt idx="3012">
                  <c:v>322.03008145903146</c:v>
                </c:pt>
                <c:pt idx="3013">
                  <c:v>316.92012566376343</c:v>
                </c:pt>
                <c:pt idx="3014">
                  <c:v>316.03881119852946</c:v>
                </c:pt>
                <c:pt idx="3015">
                  <c:v>316.1249965247826</c:v>
                </c:pt>
                <c:pt idx="3016">
                  <c:v>311.20687258472321</c:v>
                </c:pt>
                <c:pt idx="3017">
                  <c:v>312.23831632794645</c:v>
                </c:pt>
                <c:pt idx="3018">
                  <c:v>315.37156996302105</c:v>
                </c:pt>
                <c:pt idx="3019">
                  <c:v>317.7513970363342</c:v>
                </c:pt>
                <c:pt idx="3020">
                  <c:v>319.59743112124062</c:v>
                </c:pt>
                <c:pt idx="3021">
                  <c:v>316.92012566376337</c:v>
                </c:pt>
                <c:pt idx="3022">
                  <c:v>318.29909088381396</c:v>
                </c:pt>
                <c:pt idx="3023">
                  <c:v>318.23236676026312</c:v>
                </c:pt>
                <c:pt idx="3024">
                  <c:v>319.54460785676281</c:v>
                </c:pt>
                <c:pt idx="3025">
                  <c:v>321.70202118490658</c:v>
                </c:pt>
                <c:pt idx="3026">
                  <c:v>322.78350802079302</c:v>
                </c:pt>
                <c:pt idx="3027">
                  <c:v>319.18596569267714</c:v>
                </c:pt>
                <c:pt idx="3028">
                  <c:v>321.01809891851053</c:v>
                </c:pt>
                <c:pt idx="3029">
                  <c:v>323.96508104200575</c:v>
                </c:pt>
                <c:pt idx="3030">
                  <c:v>325.97792543578925</c:v>
                </c:pt>
                <c:pt idx="3031">
                  <c:v>323.85943451305025</c:v>
                </c:pt>
                <c:pt idx="3032">
                  <c:v>322.69732269453988</c:v>
                </c:pt>
                <c:pt idx="3033">
                  <c:v>321.14876699379755</c:v>
                </c:pt>
                <c:pt idx="3034">
                  <c:v>321.54077121965867</c:v>
                </c:pt>
                <c:pt idx="3035">
                  <c:v>318.49648308265176</c:v>
                </c:pt>
                <c:pt idx="3036">
                  <c:v>316.49753954794141</c:v>
                </c:pt>
                <c:pt idx="3037">
                  <c:v>318.66051321971429</c:v>
                </c:pt>
                <c:pt idx="3038">
                  <c:v>313.48383330089536</c:v>
                </c:pt>
                <c:pt idx="3039">
                  <c:v>316.62820762322855</c:v>
                </c:pt>
                <c:pt idx="3040">
                  <c:v>313.48661347271008</c:v>
                </c:pt>
                <c:pt idx="3041">
                  <c:v>311.18741138202085</c:v>
                </c:pt>
                <c:pt idx="3042">
                  <c:v>313.65342378158721</c:v>
                </c:pt>
                <c:pt idx="3043">
                  <c:v>314.75715199199061</c:v>
                </c:pt>
                <c:pt idx="3044">
                  <c:v>315.07131140704234</c:v>
                </c:pt>
                <c:pt idx="3045">
                  <c:v>315.01014762712072</c:v>
                </c:pt>
                <c:pt idx="3046">
                  <c:v>305.99683060412877</c:v>
                </c:pt>
                <c:pt idx="3047">
                  <c:v>309.59159276042993</c:v>
                </c:pt>
                <c:pt idx="3048">
                  <c:v>314.21501848813989</c:v>
                </c:pt>
                <c:pt idx="3049">
                  <c:v>311.99088103644539</c:v>
                </c:pt>
                <c:pt idx="3050">
                  <c:v>304.2731240790655</c:v>
                </c:pt>
                <c:pt idx="3051">
                  <c:v>303.04428813700423</c:v>
                </c:pt>
                <c:pt idx="3052">
                  <c:v>301.23439628568781</c:v>
                </c:pt>
                <c:pt idx="3053">
                  <c:v>300.30581889960541</c:v>
                </c:pt>
                <c:pt idx="3054">
                  <c:v>304.76799466206751</c:v>
                </c:pt>
                <c:pt idx="3055">
                  <c:v>309.13842475464719</c:v>
                </c:pt>
                <c:pt idx="3056">
                  <c:v>307.90402846895671</c:v>
                </c:pt>
                <c:pt idx="3057">
                  <c:v>310.96499763685131</c:v>
                </c:pt>
                <c:pt idx="3058">
                  <c:v>310.40062275848385</c:v>
                </c:pt>
                <c:pt idx="3059">
                  <c:v>306.98101142650358</c:v>
                </c:pt>
                <c:pt idx="3060">
                  <c:v>301.18713336483938</c:v>
                </c:pt>
                <c:pt idx="3061">
                  <c:v>305.25730490144036</c:v>
                </c:pt>
                <c:pt idx="3062">
                  <c:v>300.52267230114569</c:v>
                </c:pt>
                <c:pt idx="3063">
                  <c:v>302.99424504434114</c:v>
                </c:pt>
                <c:pt idx="3064">
                  <c:v>308.44060162917805</c:v>
                </c:pt>
                <c:pt idx="3065">
                  <c:v>308.42670077010496</c:v>
                </c:pt>
                <c:pt idx="3066">
                  <c:v>308.56848953265046</c:v>
                </c:pt>
                <c:pt idx="3067">
                  <c:v>307.6899552392311</c:v>
                </c:pt>
                <c:pt idx="3068">
                  <c:v>314.65428563484943</c:v>
                </c:pt>
                <c:pt idx="3069">
                  <c:v>320.78734465789699</c:v>
                </c:pt>
                <c:pt idx="3070">
                  <c:v>318.64661236064109</c:v>
                </c:pt>
                <c:pt idx="3071">
                  <c:v>323.27003808835099</c:v>
                </c:pt>
                <c:pt idx="3072">
                  <c:v>321.81600822930568</c:v>
                </c:pt>
                <c:pt idx="3073">
                  <c:v>323.6981845478021</c:v>
                </c:pt>
                <c:pt idx="3074">
                  <c:v>324.79635241457629</c:v>
                </c:pt>
                <c:pt idx="3075">
                  <c:v>324.05126636825861</c:v>
                </c:pt>
                <c:pt idx="3076">
                  <c:v>320.85684895326244</c:v>
                </c:pt>
                <c:pt idx="3077">
                  <c:v>320.56493091272756</c:v>
                </c:pt>
                <c:pt idx="3078">
                  <c:v>324.21251633350653</c:v>
                </c:pt>
                <c:pt idx="3079">
                  <c:v>324.04292585281479</c:v>
                </c:pt>
                <c:pt idx="3080">
                  <c:v>325.36072729294381</c:v>
                </c:pt>
                <c:pt idx="3081">
                  <c:v>320.23409046678796</c:v>
                </c:pt>
                <c:pt idx="3082">
                  <c:v>320.71784036253155</c:v>
                </c:pt>
                <c:pt idx="3083">
                  <c:v>319.35833634518332</c:v>
                </c:pt>
                <c:pt idx="3084">
                  <c:v>314.679307181181</c:v>
                </c:pt>
                <c:pt idx="3085">
                  <c:v>316.51978092245815</c:v>
                </c:pt>
                <c:pt idx="3086">
                  <c:v>318.21290555756059</c:v>
                </c:pt>
                <c:pt idx="3087">
                  <c:v>318.99413383746833</c:v>
                </c:pt>
                <c:pt idx="3088">
                  <c:v>318.75781923322575</c:v>
                </c:pt>
                <c:pt idx="3089">
                  <c:v>316.03881119852917</c:v>
                </c:pt>
                <c:pt idx="3090">
                  <c:v>312.88053601712306</c:v>
                </c:pt>
                <c:pt idx="3091">
                  <c:v>313.14187216769716</c:v>
                </c:pt>
                <c:pt idx="3092">
                  <c:v>312.13823014262005</c:v>
                </c:pt>
                <c:pt idx="3093">
                  <c:v>312.84995412716228</c:v>
                </c:pt>
                <c:pt idx="3094">
                  <c:v>310.76760543801333</c:v>
                </c:pt>
                <c:pt idx="3095">
                  <c:v>314.28730295531989</c:v>
                </c:pt>
                <c:pt idx="3096">
                  <c:v>306.84478300758718</c:v>
                </c:pt>
                <c:pt idx="3097">
                  <c:v>308.87986877588764</c:v>
                </c:pt>
                <c:pt idx="3098">
                  <c:v>306.52784342072073</c:v>
                </c:pt>
                <c:pt idx="3099">
                  <c:v>313.70624704606462</c:v>
                </c:pt>
                <c:pt idx="3100">
                  <c:v>313.06680752870244</c:v>
                </c:pt>
                <c:pt idx="3101">
                  <c:v>312.62198003836357</c:v>
                </c:pt>
                <c:pt idx="3102">
                  <c:v>312.81659206538683</c:v>
                </c:pt>
                <c:pt idx="3103">
                  <c:v>307.99577413883895</c:v>
                </c:pt>
                <c:pt idx="3104">
                  <c:v>306.0857961021963</c:v>
                </c:pt>
                <c:pt idx="3105">
                  <c:v>303.91170174316488</c:v>
                </c:pt>
                <c:pt idx="3106">
                  <c:v>303.45019322193826</c:v>
                </c:pt>
                <c:pt idx="3107">
                  <c:v>299.23545275097723</c:v>
                </c:pt>
                <c:pt idx="3108">
                  <c:v>296.21340598848735</c:v>
                </c:pt>
                <c:pt idx="3109">
                  <c:v>299.40226305985436</c:v>
                </c:pt>
                <c:pt idx="3110">
                  <c:v>302.05454697100004</c:v>
                </c:pt>
                <c:pt idx="3111">
                  <c:v>301.52631432622258</c:v>
                </c:pt>
                <c:pt idx="3112">
                  <c:v>298.43198309655264</c:v>
                </c:pt>
                <c:pt idx="3113">
                  <c:v>292.66034640940541</c:v>
                </c:pt>
                <c:pt idx="3114">
                  <c:v>291.77625177235677</c:v>
                </c:pt>
                <c:pt idx="3115">
                  <c:v>302.71900803469367</c:v>
                </c:pt>
                <c:pt idx="3116">
                  <c:v>298.3152158803386</c:v>
                </c:pt>
                <c:pt idx="3117">
                  <c:v>293.3053462703968</c:v>
                </c:pt>
                <c:pt idx="3118">
                  <c:v>298.74614251160443</c:v>
                </c:pt>
                <c:pt idx="3119">
                  <c:v>305.06269287441677</c:v>
                </c:pt>
                <c:pt idx="3120">
                  <c:v>303.33620617753888</c:v>
                </c:pt>
                <c:pt idx="3121">
                  <c:v>305.32680919680547</c:v>
                </c:pt>
                <c:pt idx="3122">
                  <c:v>307.65103283382621</c:v>
                </c:pt>
                <c:pt idx="3123">
                  <c:v>303.56140009452304</c:v>
                </c:pt>
                <c:pt idx="3124">
                  <c:v>300.22519391698131</c:v>
                </c:pt>
                <c:pt idx="3125">
                  <c:v>301.93221941115684</c:v>
                </c:pt>
                <c:pt idx="3126">
                  <c:v>305.00708943812447</c:v>
                </c:pt>
                <c:pt idx="3127">
                  <c:v>301.3205816119409</c:v>
                </c:pt>
                <c:pt idx="3128">
                  <c:v>298.74336233978994</c:v>
                </c:pt>
                <c:pt idx="3129">
                  <c:v>296.82782395951807</c:v>
                </c:pt>
                <c:pt idx="3130">
                  <c:v>295.99377241513264</c:v>
                </c:pt>
                <c:pt idx="3131">
                  <c:v>296.68325502515791</c:v>
                </c:pt>
                <c:pt idx="3132">
                  <c:v>289.3269204036784</c:v>
                </c:pt>
                <c:pt idx="3133">
                  <c:v>289.32970057549301</c:v>
                </c:pt>
                <c:pt idx="3134">
                  <c:v>291.89023881675632</c:v>
                </c:pt>
                <c:pt idx="3135">
                  <c:v>286.12138230142369</c:v>
                </c:pt>
                <c:pt idx="3136">
                  <c:v>285.67099446745556</c:v>
                </c:pt>
                <c:pt idx="3137">
                  <c:v>286.56342961994795</c:v>
                </c:pt>
                <c:pt idx="3138">
                  <c:v>281.79821512969249</c:v>
                </c:pt>
                <c:pt idx="3139">
                  <c:v>283.64980955822813</c:v>
                </c:pt>
                <c:pt idx="3140">
                  <c:v>280.67502571658667</c:v>
                </c:pt>
                <c:pt idx="3141">
                  <c:v>280.03836637103916</c:v>
                </c:pt>
                <c:pt idx="3142">
                  <c:v>288.07306291528556</c:v>
                </c:pt>
                <c:pt idx="3143">
                  <c:v>288.34273958130353</c:v>
                </c:pt>
                <c:pt idx="3144">
                  <c:v>283.57474491923341</c:v>
                </c:pt>
                <c:pt idx="3145">
                  <c:v>279.76590953320658</c:v>
                </c:pt>
                <c:pt idx="3146">
                  <c:v>274.99791487113652</c:v>
                </c:pt>
                <c:pt idx="3147">
                  <c:v>275.99321638076981</c:v>
                </c:pt>
                <c:pt idx="3148">
                  <c:v>271.38369151213294</c:v>
                </c:pt>
                <c:pt idx="3149">
                  <c:v>270.65806666851756</c:v>
                </c:pt>
                <c:pt idx="3150">
                  <c:v>275.41494064332915</c:v>
                </c:pt>
                <c:pt idx="3151">
                  <c:v>275.18418638271584</c:v>
                </c:pt>
                <c:pt idx="3152">
                  <c:v>269.30134282298394</c:v>
                </c:pt>
                <c:pt idx="3153">
                  <c:v>263.58530957212912</c:v>
                </c:pt>
                <c:pt idx="3154">
                  <c:v>265.22561094275375</c:v>
                </c:pt>
                <c:pt idx="3155">
                  <c:v>274.96733298117562</c:v>
                </c:pt>
                <c:pt idx="3156">
                  <c:v>271.6172259445608</c:v>
                </c:pt>
                <c:pt idx="3157">
                  <c:v>264.90311101225802</c:v>
                </c:pt>
                <c:pt idx="3158">
                  <c:v>255.90647502015378</c:v>
                </c:pt>
                <c:pt idx="3159">
                  <c:v>257.82479357224025</c:v>
                </c:pt>
                <c:pt idx="3160">
                  <c:v>256.1622508270986</c:v>
                </c:pt>
                <c:pt idx="3161">
                  <c:v>255.2003113792407</c:v>
                </c:pt>
                <c:pt idx="3162">
                  <c:v>250.50738135616533</c:v>
                </c:pt>
                <c:pt idx="3163">
                  <c:v>251.89468709165979</c:v>
                </c:pt>
                <c:pt idx="3164">
                  <c:v>245.08882648947466</c:v>
                </c:pt>
                <c:pt idx="3165">
                  <c:v>235.69184575606539</c:v>
                </c:pt>
                <c:pt idx="3166">
                  <c:v>227.93238622146623</c:v>
                </c:pt>
                <c:pt idx="3167">
                  <c:v>221.77430565208709</c:v>
                </c:pt>
                <c:pt idx="3168">
                  <c:v>234.48525118852109</c:v>
                </c:pt>
                <c:pt idx="3169">
                  <c:v>233.16744974839207</c:v>
                </c:pt>
                <c:pt idx="3170">
                  <c:v>237.10417303789134</c:v>
                </c:pt>
                <c:pt idx="3171">
                  <c:v>249.92632544691014</c:v>
                </c:pt>
                <c:pt idx="3172">
                  <c:v>250.98835108009425</c:v>
                </c:pt>
                <c:pt idx="3173">
                  <c:v>253.44602296421667</c:v>
                </c:pt>
                <c:pt idx="3174">
                  <c:v>245.95067975200624</c:v>
                </c:pt>
                <c:pt idx="3175">
                  <c:v>240.27356890655605</c:v>
                </c:pt>
                <c:pt idx="3176">
                  <c:v>232.03313964802794</c:v>
                </c:pt>
                <c:pt idx="3177">
                  <c:v>238.97522866912939</c:v>
                </c:pt>
                <c:pt idx="3178">
                  <c:v>243.75712419027252</c:v>
                </c:pt>
                <c:pt idx="3179">
                  <c:v>251.73343712641193</c:v>
                </c:pt>
                <c:pt idx="3180">
                  <c:v>252.61753176346048</c:v>
                </c:pt>
                <c:pt idx="3181">
                  <c:v>251.27192860518528</c:v>
                </c:pt>
                <c:pt idx="3182">
                  <c:v>245.8255720203484</c:v>
                </c:pt>
                <c:pt idx="3183">
                  <c:v>255.67016041591117</c:v>
                </c:pt>
                <c:pt idx="3184">
                  <c:v>258.62548305485029</c:v>
                </c:pt>
                <c:pt idx="3185">
                  <c:v>258.21401762628682</c:v>
                </c:pt>
                <c:pt idx="3186">
                  <c:v>264.31649475937354</c:v>
                </c:pt>
                <c:pt idx="3187">
                  <c:v>260.62164641774604</c:v>
                </c:pt>
                <c:pt idx="3188">
                  <c:v>263.93839139258552</c:v>
                </c:pt>
                <c:pt idx="3189">
                  <c:v>267.64714059328605</c:v>
                </c:pt>
                <c:pt idx="3190">
                  <c:v>261.57524535016006</c:v>
                </c:pt>
                <c:pt idx="3191">
                  <c:v>263.54638716672434</c:v>
                </c:pt>
                <c:pt idx="3192">
                  <c:v>259.89602157413077</c:v>
                </c:pt>
                <c:pt idx="3193">
                  <c:v>255.18363034835303</c:v>
                </c:pt>
                <c:pt idx="3194">
                  <c:v>255.1641691456507</c:v>
                </c:pt>
                <c:pt idx="3195">
                  <c:v>254.68319942172181</c:v>
                </c:pt>
                <c:pt idx="3196">
                  <c:v>244.10464566709987</c:v>
                </c:pt>
                <c:pt idx="3197">
                  <c:v>248.38054991798251</c:v>
                </c:pt>
                <c:pt idx="3198">
                  <c:v>244.41880508215166</c:v>
                </c:pt>
                <c:pt idx="3199">
                  <c:v>248.52511885234264</c:v>
                </c:pt>
                <c:pt idx="3200">
                  <c:v>251.03839417275742</c:v>
                </c:pt>
                <c:pt idx="3201">
                  <c:v>252.87886791403463</c:v>
                </c:pt>
                <c:pt idx="3202">
                  <c:v>252.84272568044457</c:v>
                </c:pt>
                <c:pt idx="3203">
                  <c:v>246.5762184102953</c:v>
                </c:pt>
                <c:pt idx="3204">
                  <c:v>247.38246823653452</c:v>
                </c:pt>
                <c:pt idx="3205">
                  <c:v>247.74111040062027</c:v>
                </c:pt>
                <c:pt idx="3206">
                  <c:v>242.85356835052161</c:v>
                </c:pt>
                <c:pt idx="3207">
                  <c:v>241.72481859378667</c:v>
                </c:pt>
                <c:pt idx="3208">
                  <c:v>234.45744947037491</c:v>
                </c:pt>
                <c:pt idx="3209">
                  <c:v>235.03294503600085</c:v>
                </c:pt>
                <c:pt idx="3210">
                  <c:v>231.7829241847123</c:v>
                </c:pt>
                <c:pt idx="3211">
                  <c:v>227.77669659984758</c:v>
                </c:pt>
                <c:pt idx="3212">
                  <c:v>233.43990658622471</c:v>
                </c:pt>
                <c:pt idx="3213">
                  <c:v>237.69078929077583</c:v>
                </c:pt>
                <c:pt idx="3214">
                  <c:v>230.02307542605905</c:v>
                </c:pt>
                <c:pt idx="3215">
                  <c:v>226.66184770218572</c:v>
                </c:pt>
                <c:pt idx="3216">
                  <c:v>235.7335483332846</c:v>
                </c:pt>
                <c:pt idx="3217">
                  <c:v>230.17320470404837</c:v>
                </c:pt>
                <c:pt idx="3218">
                  <c:v>227.68217075815056</c:v>
                </c:pt>
                <c:pt idx="3219">
                  <c:v>222.57499513469708</c:v>
                </c:pt>
                <c:pt idx="3220">
                  <c:v>218.32133225833135</c:v>
                </c:pt>
                <c:pt idx="3221">
                  <c:v>222.01062025632962</c:v>
                </c:pt>
                <c:pt idx="3222">
                  <c:v>215.95262587227674</c:v>
                </c:pt>
                <c:pt idx="3223">
                  <c:v>223.50357252077953</c:v>
                </c:pt>
                <c:pt idx="3224">
                  <c:v>232.23331201868044</c:v>
                </c:pt>
                <c:pt idx="3225">
                  <c:v>233.93477716922675</c:v>
                </c:pt>
                <c:pt idx="3226">
                  <c:v>245.00820150685064</c:v>
                </c:pt>
                <c:pt idx="3227">
                  <c:v>239.10033640078714</c:v>
                </c:pt>
                <c:pt idx="3228">
                  <c:v>244.4327059412247</c:v>
                </c:pt>
                <c:pt idx="3229">
                  <c:v>245.87561511301146</c:v>
                </c:pt>
                <c:pt idx="3230">
                  <c:v>250.13761850482106</c:v>
                </c:pt>
                <c:pt idx="3231">
                  <c:v>247.47977425004615</c:v>
                </c:pt>
                <c:pt idx="3232">
                  <c:v>249.14231699518774</c:v>
                </c:pt>
                <c:pt idx="3233">
                  <c:v>245.35016264004864</c:v>
                </c:pt>
                <c:pt idx="3234">
                  <c:v>249.56212293919504</c:v>
                </c:pt>
                <c:pt idx="3235">
                  <c:v>247.49923545274839</c:v>
                </c:pt>
                <c:pt idx="3236">
                  <c:v>245.25285662653695</c:v>
                </c:pt>
                <c:pt idx="3237">
                  <c:v>247.63268369985005</c:v>
                </c:pt>
                <c:pt idx="3238">
                  <c:v>246.25649865161407</c:v>
                </c:pt>
                <c:pt idx="3239">
                  <c:v>250.48235980983361</c:v>
                </c:pt>
                <c:pt idx="3240">
                  <c:v>252.5369067808364</c:v>
                </c:pt>
                <c:pt idx="3241">
                  <c:v>254.49414773832757</c:v>
                </c:pt>
                <c:pt idx="3242">
                  <c:v>256.82115154716291</c:v>
                </c:pt>
                <c:pt idx="3243">
                  <c:v>250.95220884650411</c:v>
                </c:pt>
                <c:pt idx="3244">
                  <c:v>248.75309294114118</c:v>
                </c:pt>
                <c:pt idx="3245">
                  <c:v>243.5958742250246</c:v>
                </c:pt>
                <c:pt idx="3246">
                  <c:v>245.47527037170647</c:v>
                </c:pt>
                <c:pt idx="3247">
                  <c:v>245.35850315549249</c:v>
                </c:pt>
                <c:pt idx="3248">
                  <c:v>251.40259668047227</c:v>
                </c:pt>
                <c:pt idx="3249">
                  <c:v>252.94837220939996</c:v>
                </c:pt>
                <c:pt idx="3250">
                  <c:v>250.31554950095659</c:v>
                </c:pt>
                <c:pt idx="3251">
                  <c:v>249.30912730406484</c:v>
                </c:pt>
                <c:pt idx="3252">
                  <c:v>254.14940643331499</c:v>
                </c:pt>
                <c:pt idx="3253">
                  <c:v>259.60132336178111</c:v>
                </c:pt>
                <c:pt idx="3254">
                  <c:v>258.70888820928872</c:v>
                </c:pt>
                <c:pt idx="3255">
                  <c:v>259.35666824209477</c:v>
                </c:pt>
                <c:pt idx="3256">
                  <c:v>253.91587200088711</c:v>
                </c:pt>
                <c:pt idx="3257">
                  <c:v>261.02199115905103</c:v>
                </c:pt>
                <c:pt idx="3258">
                  <c:v>260.31026717450874</c:v>
                </c:pt>
                <c:pt idx="3259">
                  <c:v>259.81539659150673</c:v>
                </c:pt>
                <c:pt idx="3260">
                  <c:v>255.98431983096299</c:v>
                </c:pt>
                <c:pt idx="3261">
                  <c:v>255.10022519391444</c:v>
                </c:pt>
                <c:pt idx="3262">
                  <c:v>252.03647585420524</c:v>
                </c:pt>
                <c:pt idx="3263">
                  <c:v>253.61561344490835</c:v>
                </c:pt>
                <c:pt idx="3264">
                  <c:v>247.99132586393594</c:v>
                </c:pt>
                <c:pt idx="3265">
                  <c:v>251.45263977313553</c:v>
                </c:pt>
                <c:pt idx="3266">
                  <c:v>251.59442853568103</c:v>
                </c:pt>
                <c:pt idx="3267">
                  <c:v>250.65751063415473</c:v>
                </c:pt>
                <c:pt idx="3268">
                  <c:v>247.29072256665219</c:v>
                </c:pt>
                <c:pt idx="3269">
                  <c:v>253.10684200283328</c:v>
                </c:pt>
                <c:pt idx="3270">
                  <c:v>251.04673468820124</c:v>
                </c:pt>
                <c:pt idx="3271">
                  <c:v>247.74667074424954</c:v>
                </c:pt>
                <c:pt idx="3272">
                  <c:v>245.83669270760691</c:v>
                </c:pt>
                <c:pt idx="3273">
                  <c:v>249.03389029441774</c:v>
                </c:pt>
                <c:pt idx="3274">
                  <c:v>249.48705830020052</c:v>
                </c:pt>
                <c:pt idx="3275">
                  <c:v>248.12199393922302</c:v>
                </c:pt>
                <c:pt idx="3276">
                  <c:v>247.34076565931531</c:v>
                </c:pt>
                <c:pt idx="3277">
                  <c:v>243.37624065166986</c:v>
                </c:pt>
                <c:pt idx="3278">
                  <c:v>244.48552920570248</c:v>
                </c:pt>
                <c:pt idx="3279">
                  <c:v>244.6050765937311</c:v>
                </c:pt>
                <c:pt idx="3280">
                  <c:v>252.72595846423059</c:v>
                </c:pt>
                <c:pt idx="3281">
                  <c:v>252.60363090438739</c:v>
                </c:pt>
                <c:pt idx="3282">
                  <c:v>258.28074174983755</c:v>
                </c:pt>
                <c:pt idx="3283">
                  <c:v>256.59039728654977</c:v>
                </c:pt>
                <c:pt idx="3284">
                  <c:v>252.9761739275462</c:v>
                </c:pt>
                <c:pt idx="3285">
                  <c:v>257.88317718034716</c:v>
                </c:pt>
                <c:pt idx="3286">
                  <c:v>257.88039700853255</c:v>
                </c:pt>
                <c:pt idx="3287">
                  <c:v>257.51619450081756</c:v>
                </c:pt>
                <c:pt idx="3288">
                  <c:v>259.01748728071135</c:v>
                </c:pt>
                <c:pt idx="3289">
                  <c:v>255.2809363618646</c:v>
                </c:pt>
                <c:pt idx="3290">
                  <c:v>254.27451416497283</c:v>
                </c:pt>
                <c:pt idx="3291">
                  <c:v>250.7103338986324</c:v>
                </c:pt>
                <c:pt idx="3292">
                  <c:v>246.77361060913313</c:v>
                </c:pt>
                <c:pt idx="3293">
                  <c:v>244.19917150879675</c:v>
                </c:pt>
                <c:pt idx="3294">
                  <c:v>246.69576579832381</c:v>
                </c:pt>
                <c:pt idx="3295">
                  <c:v>239.48400011120441</c:v>
                </c:pt>
                <c:pt idx="3296">
                  <c:v>235.61400094525604</c:v>
                </c:pt>
                <c:pt idx="3297">
                  <c:v>238.68887097222364</c:v>
                </c:pt>
                <c:pt idx="3298">
                  <c:v>240.30693096833141</c:v>
                </c:pt>
                <c:pt idx="3299">
                  <c:v>234.81609163446063</c:v>
                </c:pt>
                <c:pt idx="3300">
                  <c:v>237.89930217687214</c:v>
                </c:pt>
                <c:pt idx="3301">
                  <c:v>239.18374155522571</c:v>
                </c:pt>
                <c:pt idx="3302">
                  <c:v>235.81417331590856</c:v>
                </c:pt>
                <c:pt idx="3303">
                  <c:v>234.53251410936963</c:v>
                </c:pt>
                <c:pt idx="3304">
                  <c:v>233.02010064221736</c:v>
                </c:pt>
                <c:pt idx="3305">
                  <c:v>230.66807528705044</c:v>
                </c:pt>
                <c:pt idx="3306">
                  <c:v>232.4140231866306</c:v>
                </c:pt>
                <c:pt idx="3307">
                  <c:v>230.53184686813415</c:v>
                </c:pt>
                <c:pt idx="3308">
                  <c:v>227.60710611915587</c:v>
                </c:pt>
                <c:pt idx="3309">
                  <c:v>227.24290361144091</c:v>
                </c:pt>
                <c:pt idx="3310">
                  <c:v>232.11376463065181</c:v>
                </c:pt>
                <c:pt idx="3311">
                  <c:v>236.63988434485006</c:v>
                </c:pt>
                <c:pt idx="3312">
                  <c:v>234.96066056882074</c:v>
                </c:pt>
                <c:pt idx="3313">
                  <c:v>232.72818260168239</c:v>
                </c:pt>
                <c:pt idx="3314">
                  <c:v>235.80583280046466</c:v>
                </c:pt>
                <c:pt idx="3315">
                  <c:v>231.47154494147503</c:v>
                </c:pt>
                <c:pt idx="3316">
                  <c:v>233.13686785843132</c:v>
                </c:pt>
                <c:pt idx="3317">
                  <c:v>230.07311851872211</c:v>
                </c:pt>
                <c:pt idx="3318">
                  <c:v>232.77822569434551</c:v>
                </c:pt>
                <c:pt idx="3319">
                  <c:v>233.85415218660273</c:v>
                </c:pt>
                <c:pt idx="3320">
                  <c:v>232.09152325613485</c:v>
                </c:pt>
                <c:pt idx="3321">
                  <c:v>228.52734298979448</c:v>
                </c:pt>
                <c:pt idx="3322">
                  <c:v>230.71255803608432</c:v>
                </c:pt>
                <c:pt idx="3323">
                  <c:v>228.55792487975529</c:v>
                </c:pt>
                <c:pt idx="3324">
                  <c:v>230.44566154188098</c:v>
                </c:pt>
                <c:pt idx="3325">
                  <c:v>224.49331368678358</c:v>
                </c:pt>
                <c:pt idx="3326">
                  <c:v>222.61669771191634</c:v>
                </c:pt>
                <c:pt idx="3327">
                  <c:v>223.57863715977419</c:v>
                </c:pt>
                <c:pt idx="3328">
                  <c:v>231.28249325808099</c:v>
                </c:pt>
                <c:pt idx="3329">
                  <c:v>231.66337679668365</c:v>
                </c:pt>
                <c:pt idx="3330">
                  <c:v>239.87044399343634</c:v>
                </c:pt>
                <c:pt idx="3331">
                  <c:v>240.8879868775866</c:v>
                </c:pt>
                <c:pt idx="3332">
                  <c:v>242.99257694125248</c:v>
                </c:pt>
                <c:pt idx="3333">
                  <c:v>243.45130529066444</c:v>
                </c:pt>
                <c:pt idx="3334">
                  <c:v>249.04501098167609</c:v>
                </c:pt>
                <c:pt idx="3335">
                  <c:v>240.27078873474133</c:v>
                </c:pt>
                <c:pt idx="3336">
                  <c:v>243.19274931190492</c:v>
                </c:pt>
                <c:pt idx="3337">
                  <c:v>241.86104701270284</c:v>
                </c:pt>
                <c:pt idx="3338">
                  <c:v>241.46348244321243</c:v>
                </c:pt>
                <c:pt idx="3339">
                  <c:v>240.06783619227414</c:v>
                </c:pt>
                <c:pt idx="3340">
                  <c:v>235.80861297227915</c:v>
                </c:pt>
                <c:pt idx="3341">
                  <c:v>238.6721899413358</c:v>
                </c:pt>
                <c:pt idx="3342">
                  <c:v>244.9053351497096</c:v>
                </c:pt>
                <c:pt idx="3343">
                  <c:v>243.66815869220457</c:v>
                </c:pt>
                <c:pt idx="3344">
                  <c:v>244.33539992771293</c:v>
                </c:pt>
                <c:pt idx="3345">
                  <c:v>244.63565848369163</c:v>
                </c:pt>
                <c:pt idx="3346">
                  <c:v>244.17971030609428</c:v>
                </c:pt>
                <c:pt idx="3347">
                  <c:v>240.76009897411404</c:v>
                </c:pt>
                <c:pt idx="3348">
                  <c:v>242.31421501848558</c:v>
                </c:pt>
                <c:pt idx="3349">
                  <c:v>241.4023186632908</c:v>
                </c:pt>
                <c:pt idx="3350">
                  <c:v>246.10914954543927</c:v>
                </c:pt>
                <c:pt idx="3351">
                  <c:v>247.66048541799614</c:v>
                </c:pt>
                <c:pt idx="3352">
                  <c:v>244.63009814006239</c:v>
                </c:pt>
                <c:pt idx="3353">
                  <c:v>248.43059301064537</c:v>
                </c:pt>
                <c:pt idx="3354">
                  <c:v>247.99410603575032</c:v>
                </c:pt>
                <c:pt idx="3355">
                  <c:v>253.37651866885099</c:v>
                </c:pt>
                <c:pt idx="3356">
                  <c:v>255.50335010703387</c:v>
                </c:pt>
                <c:pt idx="3357">
                  <c:v>253.39319969973872</c:v>
                </c:pt>
                <c:pt idx="3358">
                  <c:v>249.88462286969065</c:v>
                </c:pt>
                <c:pt idx="3359">
                  <c:v>254.3412382885235</c:v>
                </c:pt>
                <c:pt idx="3360">
                  <c:v>255.1752898329089</c:v>
                </c:pt>
                <c:pt idx="3361">
                  <c:v>254.91951402596402</c:v>
                </c:pt>
                <c:pt idx="3362">
                  <c:v>254.7471433734577</c:v>
                </c:pt>
                <c:pt idx="3363">
                  <c:v>258.57822013400147</c:v>
                </c:pt>
                <c:pt idx="3364">
                  <c:v>257.59681948344127</c:v>
                </c:pt>
                <c:pt idx="3365">
                  <c:v>259.77647418610189</c:v>
                </c:pt>
                <c:pt idx="3366">
                  <c:v>258.45033223052906</c:v>
                </c:pt>
                <c:pt idx="3367">
                  <c:v>255.85087158386114</c:v>
                </c:pt>
                <c:pt idx="3368">
                  <c:v>259.50401734826937</c:v>
                </c:pt>
                <c:pt idx="3369">
                  <c:v>262.75681837137262</c:v>
                </c:pt>
                <c:pt idx="3370">
                  <c:v>261.97559009146494</c:v>
                </c:pt>
                <c:pt idx="3371">
                  <c:v>261.13597820345029</c:v>
                </c:pt>
                <c:pt idx="3372">
                  <c:v>263.19052517445311</c:v>
                </c:pt>
                <c:pt idx="3373">
                  <c:v>262.53162445438863</c:v>
                </c:pt>
                <c:pt idx="3374">
                  <c:v>255.98988017459223</c:v>
                </c:pt>
                <c:pt idx="3375">
                  <c:v>255.70074230587196</c:v>
                </c:pt>
                <c:pt idx="3376">
                  <c:v>256.72662570546601</c:v>
                </c:pt>
                <c:pt idx="3377">
                  <c:v>259.07587088881832</c:v>
                </c:pt>
                <c:pt idx="3378">
                  <c:v>259.45119408379179</c:v>
                </c:pt>
                <c:pt idx="3379">
                  <c:v>264.52778781728449</c:v>
                </c:pt>
                <c:pt idx="3380">
                  <c:v>265.01153771302808</c:v>
                </c:pt>
                <c:pt idx="3381">
                  <c:v>264.01623620339473</c:v>
                </c:pt>
                <c:pt idx="3382">
                  <c:v>267.894575884787</c:v>
                </c:pt>
                <c:pt idx="3383">
                  <c:v>268.84261447357176</c:v>
                </c:pt>
                <c:pt idx="3384">
                  <c:v>270.11037282103757</c:v>
                </c:pt>
                <c:pt idx="3385">
                  <c:v>274.19166504489698</c:v>
                </c:pt>
                <c:pt idx="3386">
                  <c:v>275.27593205259802</c:v>
                </c:pt>
                <c:pt idx="3387">
                  <c:v>274.61425116071894</c:v>
                </c:pt>
                <c:pt idx="3388">
                  <c:v>271.32530790402575</c:v>
                </c:pt>
                <c:pt idx="3389">
                  <c:v>273.80244099085047</c:v>
                </c:pt>
                <c:pt idx="3390">
                  <c:v>277.31657816452775</c:v>
                </c:pt>
                <c:pt idx="3391">
                  <c:v>277.60293586143342</c:v>
                </c:pt>
                <c:pt idx="3392">
                  <c:v>274.85056576496152</c:v>
                </c:pt>
                <c:pt idx="3393">
                  <c:v>281.00308599071144</c:v>
                </c:pt>
                <c:pt idx="3394">
                  <c:v>281.25886179765627</c:v>
                </c:pt>
                <c:pt idx="3395">
                  <c:v>280.82237482276122</c:v>
                </c:pt>
                <c:pt idx="3396">
                  <c:v>276.54369040006395</c:v>
                </c:pt>
                <c:pt idx="3397">
                  <c:v>276.81892740971119</c:v>
                </c:pt>
                <c:pt idx="3398">
                  <c:v>272.91278601017274</c:v>
                </c:pt>
                <c:pt idx="3399">
                  <c:v>273.41599710861857</c:v>
                </c:pt>
                <c:pt idx="3400">
                  <c:v>271.15571742333401</c:v>
                </c:pt>
                <c:pt idx="3401">
                  <c:v>274.07489782868299</c:v>
                </c:pt>
                <c:pt idx="3402">
                  <c:v>271.40593288664957</c:v>
                </c:pt>
                <c:pt idx="3403">
                  <c:v>270.92774333453525</c:v>
                </c:pt>
                <c:pt idx="3404">
                  <c:v>273.10183769356661</c:v>
                </c:pt>
                <c:pt idx="3405">
                  <c:v>276.27957407767514</c:v>
                </c:pt>
                <c:pt idx="3406">
                  <c:v>274.0415357669076</c:v>
                </c:pt>
                <c:pt idx="3407">
                  <c:v>279.24601740387266</c:v>
                </c:pt>
                <c:pt idx="3408">
                  <c:v>280.19683616447213</c:v>
                </c:pt>
                <c:pt idx="3409">
                  <c:v>278.63159943284211</c:v>
                </c:pt>
                <c:pt idx="3410">
                  <c:v>274.87558731129309</c:v>
                </c:pt>
                <c:pt idx="3411">
                  <c:v>277.50006950429253</c:v>
                </c:pt>
                <c:pt idx="3412">
                  <c:v>279.09032778225406</c:v>
                </c:pt>
                <c:pt idx="3413">
                  <c:v>278.13394867802543</c:v>
                </c:pt>
                <c:pt idx="3414">
                  <c:v>276.34907837304064</c:v>
                </c:pt>
                <c:pt idx="3415">
                  <c:v>272.93780755650425</c:v>
                </c:pt>
                <c:pt idx="3416">
                  <c:v>276.16002668964666</c:v>
                </c:pt>
                <c:pt idx="3417">
                  <c:v>272.12321721482112</c:v>
                </c:pt>
                <c:pt idx="3418">
                  <c:v>274.71155717423056</c:v>
                </c:pt>
                <c:pt idx="3419">
                  <c:v>274.85056576496152</c:v>
                </c:pt>
                <c:pt idx="3420">
                  <c:v>272.90166532291414</c:v>
                </c:pt>
                <c:pt idx="3421">
                  <c:v>277.65019878228185</c:v>
                </c:pt>
                <c:pt idx="3422">
                  <c:v>277.04968167032433</c:v>
                </c:pt>
                <c:pt idx="3423">
                  <c:v>275.03683727654078</c:v>
                </c:pt>
                <c:pt idx="3424">
                  <c:v>274.53918652172416</c:v>
                </c:pt>
                <c:pt idx="3425">
                  <c:v>275.3231949734465</c:v>
                </c:pt>
                <c:pt idx="3426">
                  <c:v>272.49854040979449</c:v>
                </c:pt>
                <c:pt idx="3427">
                  <c:v>273.2408462842975</c:v>
                </c:pt>
                <c:pt idx="3428">
                  <c:v>268.41446801412047</c:v>
                </c:pt>
                <c:pt idx="3429">
                  <c:v>268.86485584808861</c:v>
                </c:pt>
                <c:pt idx="3430">
                  <c:v>270.8220968055798</c:v>
                </c:pt>
                <c:pt idx="3431">
                  <c:v>271.78681642525225</c:v>
                </c:pt>
                <c:pt idx="3432">
                  <c:v>272.62086796963763</c:v>
                </c:pt>
                <c:pt idx="3433">
                  <c:v>275.33431566070493</c:v>
                </c:pt>
                <c:pt idx="3434">
                  <c:v>273.57724707386626</c:v>
                </c:pt>
                <c:pt idx="3435">
                  <c:v>275.37879840973881</c:v>
                </c:pt>
                <c:pt idx="3436">
                  <c:v>275.42328115877268</c:v>
                </c:pt>
                <c:pt idx="3437">
                  <c:v>277.94489699463139</c:v>
                </c:pt>
                <c:pt idx="3438">
                  <c:v>278.67052183824671</c:v>
                </c:pt>
                <c:pt idx="3439">
                  <c:v>278.10058661624993</c:v>
                </c:pt>
                <c:pt idx="3440">
                  <c:v>278.92629764519148</c:v>
                </c:pt>
                <c:pt idx="3441">
                  <c:v>276.08774222246637</c:v>
                </c:pt>
                <c:pt idx="3442">
                  <c:v>276.26845339041654</c:v>
                </c:pt>
                <c:pt idx="3443">
                  <c:v>277.10806527843118</c:v>
                </c:pt>
                <c:pt idx="3444">
                  <c:v>277.12474630931888</c:v>
                </c:pt>
                <c:pt idx="3445">
                  <c:v>278.80675025716289</c:v>
                </c:pt>
                <c:pt idx="3446">
                  <c:v>280.24409908532044</c:v>
                </c:pt>
                <c:pt idx="3447">
                  <c:v>284.1307792821566</c:v>
                </c:pt>
                <c:pt idx="3448">
                  <c:v>285.32069281881314</c:v>
                </c:pt>
                <c:pt idx="3449">
                  <c:v>285.79332202729825</c:v>
                </c:pt>
                <c:pt idx="3450">
                  <c:v>283.96396897327952</c:v>
                </c:pt>
                <c:pt idx="3451">
                  <c:v>286.81364508326317</c:v>
                </c:pt>
                <c:pt idx="3452">
                  <c:v>284.45883955628159</c:v>
                </c:pt>
                <c:pt idx="3453">
                  <c:v>281.05312908337442</c:v>
                </c:pt>
                <c:pt idx="3454">
                  <c:v>282.58222358141438</c:v>
                </c:pt>
                <c:pt idx="3455">
                  <c:v>283.19664155244504</c:v>
                </c:pt>
                <c:pt idx="3456">
                  <c:v>282.13461591926091</c:v>
                </c:pt>
                <c:pt idx="3457">
                  <c:v>286.16864522227178</c:v>
                </c:pt>
                <c:pt idx="3458">
                  <c:v>285.23728766437472</c:v>
                </c:pt>
                <c:pt idx="3459">
                  <c:v>289.02110150406992</c:v>
                </c:pt>
                <c:pt idx="3460">
                  <c:v>288.10920514887516</c:v>
                </c:pt>
                <c:pt idx="3461">
                  <c:v>284.36153354277002</c:v>
                </c:pt>
                <c:pt idx="3462">
                  <c:v>286.08802023964785</c:v>
                </c:pt>
                <c:pt idx="3463">
                  <c:v>280.62498262392324</c:v>
                </c:pt>
                <c:pt idx="3464">
                  <c:v>278.92629764519154</c:v>
                </c:pt>
                <c:pt idx="3465">
                  <c:v>277.1414273402068</c:v>
                </c:pt>
                <c:pt idx="3466">
                  <c:v>279.84653451583017</c:v>
                </c:pt>
                <c:pt idx="3467">
                  <c:v>276.89677222052035</c:v>
                </c:pt>
                <c:pt idx="3468">
                  <c:v>283.08265450804561</c:v>
                </c:pt>
                <c:pt idx="3469">
                  <c:v>283.64424921459846</c:v>
                </c:pt>
                <c:pt idx="3470">
                  <c:v>286.31599432844644</c:v>
                </c:pt>
                <c:pt idx="3471">
                  <c:v>287.56707164502461</c:v>
                </c:pt>
                <c:pt idx="3472">
                  <c:v>288.9293558341875</c:v>
                </c:pt>
                <c:pt idx="3473">
                  <c:v>287.40860185159136</c:v>
                </c:pt>
                <c:pt idx="3474">
                  <c:v>288.78478689982734</c:v>
                </c:pt>
                <c:pt idx="3475">
                  <c:v>288.5985153882479</c:v>
                </c:pt>
                <c:pt idx="3476">
                  <c:v>290.62526064110443</c:v>
                </c:pt>
                <c:pt idx="3477">
                  <c:v>291.77347160054177</c:v>
                </c:pt>
                <c:pt idx="3478">
                  <c:v>291.01726486696566</c:v>
                </c:pt>
                <c:pt idx="3479">
                  <c:v>291.93750173760424</c:v>
                </c:pt>
                <c:pt idx="3480">
                  <c:v>288.94881703688981</c:v>
                </c:pt>
                <c:pt idx="3481">
                  <c:v>290.43898912952517</c:v>
                </c:pt>
                <c:pt idx="3482">
                  <c:v>290.81431232449859</c:v>
                </c:pt>
                <c:pt idx="3483">
                  <c:v>286.457783090992</c:v>
                </c:pt>
                <c:pt idx="3484">
                  <c:v>287.40582167977675</c:v>
                </c:pt>
                <c:pt idx="3485">
                  <c:v>286.0546581778724</c:v>
                </c:pt>
                <c:pt idx="3486">
                  <c:v>286.67185632071767</c:v>
                </c:pt>
                <c:pt idx="3487">
                  <c:v>291.02560538240954</c:v>
                </c:pt>
                <c:pt idx="3488">
                  <c:v>291.39258806193914</c:v>
                </c:pt>
                <c:pt idx="3489">
                  <c:v>291.06730795962886</c:v>
                </c:pt>
                <c:pt idx="3490">
                  <c:v>292.11543273373985</c:v>
                </c:pt>
                <c:pt idx="3491">
                  <c:v>294.42575551168744</c:v>
                </c:pt>
                <c:pt idx="3492">
                  <c:v>292.82159637465281</c:v>
                </c:pt>
                <c:pt idx="3493">
                  <c:v>292.42125163334777</c:v>
                </c:pt>
                <c:pt idx="3494">
                  <c:v>294.15607884566947</c:v>
                </c:pt>
                <c:pt idx="3495">
                  <c:v>292.81047568739433</c:v>
                </c:pt>
                <c:pt idx="3496">
                  <c:v>291.11457088047717</c:v>
                </c:pt>
                <c:pt idx="3497">
                  <c:v>290.9644416024878</c:v>
                </c:pt>
                <c:pt idx="3498">
                  <c:v>294.29786760821491</c:v>
                </c:pt>
                <c:pt idx="3499">
                  <c:v>294.2561650309957</c:v>
                </c:pt>
                <c:pt idx="3500">
                  <c:v>292.01534654841339</c:v>
                </c:pt>
                <c:pt idx="3501">
                  <c:v>290.14707108899012</c:v>
                </c:pt>
                <c:pt idx="3502">
                  <c:v>287.5114682087322</c:v>
                </c:pt>
                <c:pt idx="3503">
                  <c:v>289.81623064305057</c:v>
                </c:pt>
                <c:pt idx="3504">
                  <c:v>287.37245961800124</c:v>
                </c:pt>
                <c:pt idx="3505">
                  <c:v>287.82562762378399</c:v>
                </c:pt>
                <c:pt idx="3506">
                  <c:v>292.49631627234237</c:v>
                </c:pt>
                <c:pt idx="3507">
                  <c:v>292.99952737078831</c:v>
                </c:pt>
                <c:pt idx="3508">
                  <c:v>294.26728571825413</c:v>
                </c:pt>
                <c:pt idx="3509">
                  <c:v>294.19778142288868</c:v>
                </c:pt>
                <c:pt idx="3510">
                  <c:v>297.51174622591338</c:v>
                </c:pt>
                <c:pt idx="3511">
                  <c:v>296.53868609079706</c:v>
                </c:pt>
                <c:pt idx="3512">
                  <c:v>296.01323361783426</c:v>
                </c:pt>
                <c:pt idx="3513">
                  <c:v>297.40053935332872</c:v>
                </c:pt>
                <c:pt idx="3514">
                  <c:v>295.11523812171259</c:v>
                </c:pt>
                <c:pt idx="3515">
                  <c:v>297.28377213711474</c:v>
                </c:pt>
                <c:pt idx="3516">
                  <c:v>294.74825544218305</c:v>
                </c:pt>
                <c:pt idx="3517">
                  <c:v>294.4340960271312</c:v>
                </c:pt>
                <c:pt idx="3518">
                  <c:v>297.81478495370681</c:v>
                </c:pt>
                <c:pt idx="3519">
                  <c:v>298.62937529538993</c:v>
                </c:pt>
                <c:pt idx="3520">
                  <c:v>296.93347048847289</c:v>
                </c:pt>
                <c:pt idx="3521">
                  <c:v>298.90461230503718</c:v>
                </c:pt>
                <c:pt idx="3522">
                  <c:v>299.27993550001059</c:v>
                </c:pt>
                <c:pt idx="3523">
                  <c:v>302.81075370457557</c:v>
                </c:pt>
                <c:pt idx="3524">
                  <c:v>302.66896494203007</c:v>
                </c:pt>
                <c:pt idx="3525">
                  <c:v>303.85609830687201</c:v>
                </c:pt>
                <c:pt idx="3526">
                  <c:v>304.71239122577435</c:v>
                </c:pt>
                <c:pt idx="3527">
                  <c:v>304.16191720647993</c:v>
                </c:pt>
                <c:pt idx="3528">
                  <c:v>304.6762489921843</c:v>
                </c:pt>
                <c:pt idx="3529">
                  <c:v>308.45450248825034</c:v>
                </c:pt>
                <c:pt idx="3530">
                  <c:v>308.49898523728427</c:v>
                </c:pt>
                <c:pt idx="3531">
                  <c:v>309.13286441101718</c:v>
                </c:pt>
                <c:pt idx="3532">
                  <c:v>308.17648530678855</c:v>
                </c:pt>
                <c:pt idx="3533">
                  <c:v>311.99644138007386</c:v>
                </c:pt>
                <c:pt idx="3534">
                  <c:v>312.39956629319346</c:v>
                </c:pt>
                <c:pt idx="3535">
                  <c:v>313.13909199588187</c:v>
                </c:pt>
                <c:pt idx="3536">
                  <c:v>314.69320804025347</c:v>
                </c:pt>
                <c:pt idx="3537">
                  <c:v>311.89635519474757</c:v>
                </c:pt>
                <c:pt idx="3538">
                  <c:v>313.38930745919754</c:v>
                </c:pt>
                <c:pt idx="3539">
                  <c:v>311.71842419861213</c:v>
                </c:pt>
                <c:pt idx="3540">
                  <c:v>314.30398398620696</c:v>
                </c:pt>
                <c:pt idx="3541">
                  <c:v>314.72935027384352</c:v>
                </c:pt>
                <c:pt idx="3542">
                  <c:v>316.8923239456164</c:v>
                </c:pt>
                <c:pt idx="3543">
                  <c:v>316.59762573326691</c:v>
                </c:pt>
                <c:pt idx="3544">
                  <c:v>319.05807778920399</c:v>
                </c:pt>
                <c:pt idx="3545">
                  <c:v>318.03497456142458</c:v>
                </c:pt>
                <c:pt idx="3546">
                  <c:v>317.37051349773083</c:v>
                </c:pt>
                <c:pt idx="3547">
                  <c:v>321.21271094553305</c:v>
                </c:pt>
                <c:pt idx="3548">
                  <c:v>318.06555645138536</c:v>
                </c:pt>
                <c:pt idx="3549">
                  <c:v>313.73682893602495</c:v>
                </c:pt>
                <c:pt idx="3550">
                  <c:v>315.30206566765492</c:v>
                </c:pt>
                <c:pt idx="3551">
                  <c:v>314.47357446689875</c:v>
                </c:pt>
                <c:pt idx="3552">
                  <c:v>315.62178542633598</c:v>
                </c:pt>
                <c:pt idx="3553">
                  <c:v>315.83585865606159</c:v>
                </c:pt>
                <c:pt idx="3554">
                  <c:v>313.19191526035979</c:v>
                </c:pt>
                <c:pt idx="3555">
                  <c:v>313.76741082598573</c:v>
                </c:pt>
                <c:pt idx="3556">
                  <c:v>317.70691428729958</c:v>
                </c:pt>
                <c:pt idx="3557">
                  <c:v>316.88676360198724</c:v>
                </c:pt>
                <c:pt idx="3558">
                  <c:v>318.47980205176339</c:v>
                </c:pt>
                <c:pt idx="3559">
                  <c:v>321.87717200922674</c:v>
                </c:pt>
                <c:pt idx="3560">
                  <c:v>320.30637493396745</c:v>
                </c:pt>
                <c:pt idx="3561">
                  <c:v>318.55486669075799</c:v>
                </c:pt>
                <c:pt idx="3562">
                  <c:v>321.66309877950113</c:v>
                </c:pt>
                <c:pt idx="3563">
                  <c:v>320.22574995134357</c:v>
                </c:pt>
                <c:pt idx="3564">
                  <c:v>318.9023881675854</c:v>
                </c:pt>
                <c:pt idx="3565">
                  <c:v>318.08223748227306</c:v>
                </c:pt>
                <c:pt idx="3566">
                  <c:v>317.21482387611223</c:v>
                </c:pt>
                <c:pt idx="3567">
                  <c:v>316.68659123133477</c:v>
                </c:pt>
                <c:pt idx="3568">
                  <c:v>317.95990992242997</c:v>
                </c:pt>
                <c:pt idx="3569">
                  <c:v>318.3046512274426</c:v>
                </c:pt>
                <c:pt idx="3570">
                  <c:v>318.31299174288642</c:v>
                </c:pt>
                <c:pt idx="3571">
                  <c:v>321.37674108259557</c:v>
                </c:pt>
                <c:pt idx="3572">
                  <c:v>319.46954321776747</c:v>
                </c:pt>
                <c:pt idx="3573">
                  <c:v>320.00889654980341</c:v>
                </c:pt>
                <c:pt idx="3574">
                  <c:v>321.07648252661681</c:v>
                </c:pt>
                <c:pt idx="3575">
                  <c:v>321.62973671772579</c:v>
                </c:pt>
                <c:pt idx="3576">
                  <c:v>318.94409074480467</c:v>
                </c:pt>
                <c:pt idx="3577">
                  <c:v>317.1008368317128</c:v>
                </c:pt>
                <c:pt idx="3578">
                  <c:v>312.46073007311526</c:v>
                </c:pt>
                <c:pt idx="3579">
                  <c:v>307.70385609830362</c:v>
                </c:pt>
                <c:pt idx="3580">
                  <c:v>311.53771303066196</c:v>
                </c:pt>
                <c:pt idx="3581">
                  <c:v>307.06719675275605</c:v>
                </c:pt>
                <c:pt idx="3582">
                  <c:v>308.79368344963393</c:v>
                </c:pt>
                <c:pt idx="3583">
                  <c:v>312.42180766771054</c:v>
                </c:pt>
                <c:pt idx="3584">
                  <c:v>312.0242430982201</c:v>
                </c:pt>
                <c:pt idx="3585">
                  <c:v>308.53790764268899</c:v>
                </c:pt>
                <c:pt idx="3586">
                  <c:v>304.54002057326818</c:v>
                </c:pt>
                <c:pt idx="3587">
                  <c:v>304.13689566014853</c:v>
                </c:pt>
                <c:pt idx="3588">
                  <c:v>303.40849064471854</c:v>
                </c:pt>
                <c:pt idx="3589">
                  <c:v>308.37387750562647</c:v>
                </c:pt>
                <c:pt idx="3590">
                  <c:v>308.05971809057456</c:v>
                </c:pt>
                <c:pt idx="3591">
                  <c:v>312.06594567543925</c:v>
                </c:pt>
                <c:pt idx="3592">
                  <c:v>313.32536350746125</c:v>
                </c:pt>
                <c:pt idx="3593">
                  <c:v>313.10572993410642</c:v>
                </c:pt>
                <c:pt idx="3594">
                  <c:v>314.7627123356188</c:v>
                </c:pt>
                <c:pt idx="3595">
                  <c:v>317.44279796491071</c:v>
                </c:pt>
                <c:pt idx="3596">
                  <c:v>319.87822847451622</c:v>
                </c:pt>
                <c:pt idx="3597">
                  <c:v>319.20820706719326</c:v>
                </c:pt>
                <c:pt idx="3598">
                  <c:v>317.08693597263965</c:v>
                </c:pt>
                <c:pt idx="3599">
                  <c:v>316.75053518307084</c:v>
                </c:pt>
                <c:pt idx="3600">
                  <c:v>318.38527621006637</c:v>
                </c:pt>
                <c:pt idx="3601">
                  <c:v>314.0037254302282</c:v>
                </c:pt>
                <c:pt idx="3602">
                  <c:v>313.65064360977175</c:v>
                </c:pt>
                <c:pt idx="3603">
                  <c:v>313.83691512135113</c:v>
                </c:pt>
                <c:pt idx="3604">
                  <c:v>315.44107425838575</c:v>
                </c:pt>
                <c:pt idx="3605">
                  <c:v>315.77747504795457</c:v>
                </c:pt>
                <c:pt idx="3606">
                  <c:v>310.86491145152439</c:v>
                </c:pt>
                <c:pt idx="3607">
                  <c:v>312.5163335094075</c:v>
                </c:pt>
                <c:pt idx="3608">
                  <c:v>316.92012566376263</c:v>
                </c:pt>
                <c:pt idx="3609">
                  <c:v>317.10639717534195</c:v>
                </c:pt>
                <c:pt idx="3610">
                  <c:v>315.69685006533058</c:v>
                </c:pt>
                <c:pt idx="3611">
                  <c:v>316.41413439350208</c:v>
                </c:pt>
                <c:pt idx="3612">
                  <c:v>312.04926464455173</c:v>
                </c:pt>
                <c:pt idx="3613">
                  <c:v>309.68055825849711</c:v>
                </c:pt>
                <c:pt idx="3614">
                  <c:v>307.84842503266378</c:v>
                </c:pt>
                <c:pt idx="3615">
                  <c:v>310.68142011175968</c:v>
                </c:pt>
                <c:pt idx="3616">
                  <c:v>311.25413550557101</c:v>
                </c:pt>
                <c:pt idx="3617">
                  <c:v>311.80460952486544</c:v>
                </c:pt>
                <c:pt idx="3618">
                  <c:v>309.70835997664335</c:v>
                </c:pt>
                <c:pt idx="3619">
                  <c:v>305.45747727209226</c:v>
                </c:pt>
                <c:pt idx="3620">
                  <c:v>302.23803831076447</c:v>
                </c:pt>
                <c:pt idx="3621">
                  <c:v>304.55392143234138</c:v>
                </c:pt>
                <c:pt idx="3622">
                  <c:v>305.06269287441648</c:v>
                </c:pt>
                <c:pt idx="3623">
                  <c:v>304.82915844198857</c:v>
                </c:pt>
                <c:pt idx="3624">
                  <c:v>304.62342572770683</c:v>
                </c:pt>
                <c:pt idx="3625">
                  <c:v>301.39842642274982</c:v>
                </c:pt>
                <c:pt idx="3626">
                  <c:v>303.45297339375259</c:v>
                </c:pt>
                <c:pt idx="3627">
                  <c:v>302.67174511384491</c:v>
                </c:pt>
                <c:pt idx="3628">
                  <c:v>302.81353387639041</c:v>
                </c:pt>
                <c:pt idx="3629">
                  <c:v>304.02846895937847</c:v>
                </c:pt>
                <c:pt idx="3630">
                  <c:v>304.54280074508284</c:v>
                </c:pt>
                <c:pt idx="3631">
                  <c:v>309.44702382606914</c:v>
                </c:pt>
                <c:pt idx="3632">
                  <c:v>309.972476299032</c:v>
                </c:pt>
                <c:pt idx="3633">
                  <c:v>311.73510522949988</c:v>
                </c:pt>
                <c:pt idx="3634">
                  <c:v>311.5682949206228</c:v>
                </c:pt>
                <c:pt idx="3635">
                  <c:v>311.71286385498291</c:v>
                </c:pt>
                <c:pt idx="3636">
                  <c:v>312.76654897272323</c:v>
                </c:pt>
                <c:pt idx="3637">
                  <c:v>310.44510550751716</c:v>
                </c:pt>
                <c:pt idx="3638">
                  <c:v>312.0742861908833</c:v>
                </c:pt>
                <c:pt idx="3639">
                  <c:v>317.05635408267904</c:v>
                </c:pt>
                <c:pt idx="3640">
                  <c:v>317.54566432205183</c:v>
                </c:pt>
                <c:pt idx="3641">
                  <c:v>314.52917790319117</c:v>
                </c:pt>
                <c:pt idx="3642">
                  <c:v>315.9581862159049</c:v>
                </c:pt>
                <c:pt idx="3643">
                  <c:v>312.84995412716188</c:v>
                </c:pt>
                <c:pt idx="3644">
                  <c:v>314.71822958658527</c:v>
                </c:pt>
                <c:pt idx="3645">
                  <c:v>315.14915621785104</c:v>
                </c:pt>
                <c:pt idx="3646">
                  <c:v>314.72935027384369</c:v>
                </c:pt>
                <c:pt idx="3647">
                  <c:v>315.55506130278525</c:v>
                </c:pt>
                <c:pt idx="3648">
                  <c:v>314.24282020628544</c:v>
                </c:pt>
                <c:pt idx="3649">
                  <c:v>315.38547082209351</c:v>
                </c:pt>
                <c:pt idx="3650">
                  <c:v>318.06833662319997</c:v>
                </c:pt>
                <c:pt idx="3651">
                  <c:v>317.12029803441521</c:v>
                </c:pt>
                <c:pt idx="3652">
                  <c:v>315.39103116572278</c:v>
                </c:pt>
                <c:pt idx="3653">
                  <c:v>315.09077260974396</c:v>
                </c:pt>
                <c:pt idx="3654">
                  <c:v>315.88312157691013</c:v>
                </c:pt>
                <c:pt idx="3655">
                  <c:v>317.17312129889291</c:v>
                </c:pt>
                <c:pt idx="3656">
                  <c:v>313.86471683949736</c:v>
                </c:pt>
                <c:pt idx="3657">
                  <c:v>312.87497567349334</c:v>
                </c:pt>
                <c:pt idx="3658">
                  <c:v>310.32555811948851</c:v>
                </c:pt>
                <c:pt idx="3659">
                  <c:v>310.91495454418754</c:v>
                </c:pt>
                <c:pt idx="3660">
                  <c:v>308.35163613110967</c:v>
                </c:pt>
                <c:pt idx="3661">
                  <c:v>309.38029970251841</c:v>
                </c:pt>
                <c:pt idx="3662">
                  <c:v>309.80844616196964</c:v>
                </c:pt>
                <c:pt idx="3663">
                  <c:v>310.02807973532447</c:v>
                </c:pt>
                <c:pt idx="3664">
                  <c:v>309.00775667935955</c:v>
                </c:pt>
                <c:pt idx="3665">
                  <c:v>307.67883455197205</c:v>
                </c:pt>
                <c:pt idx="3666">
                  <c:v>306.20534349022444</c:v>
                </c:pt>
                <c:pt idx="3667">
                  <c:v>306.06911507130815</c:v>
                </c:pt>
                <c:pt idx="3668">
                  <c:v>308.22930857126642</c:v>
                </c:pt>
                <c:pt idx="3669">
                  <c:v>304.11743445744622</c:v>
                </c:pt>
                <c:pt idx="3670">
                  <c:v>304.94036531457317</c:v>
                </c:pt>
                <c:pt idx="3671">
                  <c:v>301.98226250381953</c:v>
                </c:pt>
                <c:pt idx="3672">
                  <c:v>301.39008590730583</c:v>
                </c:pt>
                <c:pt idx="3673">
                  <c:v>304.38155077983492</c:v>
                </c:pt>
                <c:pt idx="3674">
                  <c:v>304.54558091689745</c:v>
                </c:pt>
                <c:pt idx="3675">
                  <c:v>305.93844699602107</c:v>
                </c:pt>
                <c:pt idx="3676">
                  <c:v>306.29708916010685</c:v>
                </c:pt>
                <c:pt idx="3677">
                  <c:v>307.65937334926969</c:v>
                </c:pt>
                <c:pt idx="3678">
                  <c:v>305.73271428173939</c:v>
                </c:pt>
                <c:pt idx="3679">
                  <c:v>305.4380160693899</c:v>
                </c:pt>
                <c:pt idx="3680">
                  <c:v>300.45316800577956</c:v>
                </c:pt>
                <c:pt idx="3681">
                  <c:v>295.80194055992342</c:v>
                </c:pt>
                <c:pt idx="3682">
                  <c:v>296.14946203675061</c:v>
                </c:pt>
                <c:pt idx="3683">
                  <c:v>299.99165948455283</c:v>
                </c:pt>
                <c:pt idx="3684">
                  <c:v>299.08810364480195</c:v>
                </c:pt>
                <c:pt idx="3685">
                  <c:v>295.59620784564163</c:v>
                </c:pt>
                <c:pt idx="3686">
                  <c:v>296.03269482053662</c:v>
                </c:pt>
                <c:pt idx="3687">
                  <c:v>300.07506463899131</c:v>
                </c:pt>
                <c:pt idx="3688">
                  <c:v>300.73396535905584</c:v>
                </c:pt>
                <c:pt idx="3689">
                  <c:v>304.47607662153183</c:v>
                </c:pt>
                <c:pt idx="3690">
                  <c:v>303.3806889265723</c:v>
                </c:pt>
                <c:pt idx="3691">
                  <c:v>305.36017125858041</c:v>
                </c:pt>
                <c:pt idx="3692">
                  <c:v>304.61786538407739</c:v>
                </c:pt>
                <c:pt idx="3693">
                  <c:v>304.75965414662295</c:v>
                </c:pt>
                <c:pt idx="3694">
                  <c:v>307.19786482804301</c:v>
                </c:pt>
                <c:pt idx="3695">
                  <c:v>307.23400706163306</c:v>
                </c:pt>
                <c:pt idx="3696">
                  <c:v>307.97909310795069</c:v>
                </c:pt>
                <c:pt idx="3697">
                  <c:v>305.5825850037499</c:v>
                </c:pt>
                <c:pt idx="3698">
                  <c:v>306.99769245739043</c:v>
                </c:pt>
                <c:pt idx="3699">
                  <c:v>307.46198115043165</c:v>
                </c:pt>
                <c:pt idx="3700">
                  <c:v>310.90939420055804</c:v>
                </c:pt>
                <c:pt idx="3701">
                  <c:v>309.60827379131678</c:v>
                </c:pt>
                <c:pt idx="3702">
                  <c:v>311.74066557312887</c:v>
                </c:pt>
                <c:pt idx="3703">
                  <c:v>310.34223915037597</c:v>
                </c:pt>
                <c:pt idx="3704">
                  <c:v>310.9288554032604</c:v>
                </c:pt>
                <c:pt idx="3705">
                  <c:v>312.46907058855885</c:v>
                </c:pt>
                <c:pt idx="3706">
                  <c:v>312.99730323333631</c:v>
                </c:pt>
                <c:pt idx="3707">
                  <c:v>313.69512635880545</c:v>
                </c:pt>
                <c:pt idx="3708">
                  <c:v>311.48210959436938</c:v>
                </c:pt>
                <c:pt idx="3709">
                  <c:v>312.35230337234492</c:v>
                </c:pt>
                <c:pt idx="3710">
                  <c:v>313.75629013872697</c:v>
                </c:pt>
                <c:pt idx="3711">
                  <c:v>311.99088103644448</c:v>
                </c:pt>
                <c:pt idx="3712">
                  <c:v>313.96480302482331</c:v>
                </c:pt>
                <c:pt idx="3713">
                  <c:v>309.58881258861442</c:v>
                </c:pt>
                <c:pt idx="3714">
                  <c:v>308.14312324501293</c:v>
                </c:pt>
                <c:pt idx="3715">
                  <c:v>308.62965331257107</c:v>
                </c:pt>
                <c:pt idx="3716">
                  <c:v>306.79752008673773</c:v>
                </c:pt>
                <c:pt idx="3717">
                  <c:v>308.61575245349798</c:v>
                </c:pt>
                <c:pt idx="3718">
                  <c:v>309.93355389362699</c:v>
                </c:pt>
                <c:pt idx="3719">
                  <c:v>309.87239011370542</c:v>
                </c:pt>
                <c:pt idx="3720">
                  <c:v>314.57644082403925</c:v>
                </c:pt>
                <c:pt idx="3721">
                  <c:v>315.59676388000412</c:v>
                </c:pt>
                <c:pt idx="3722">
                  <c:v>315.40493202479547</c:v>
                </c:pt>
                <c:pt idx="3723">
                  <c:v>317.50952208846132</c:v>
                </c:pt>
                <c:pt idx="3724">
                  <c:v>314.34012621979673</c:v>
                </c:pt>
                <c:pt idx="3725">
                  <c:v>311.97420000555672</c:v>
                </c:pt>
                <c:pt idx="3726">
                  <c:v>312.59973866384576</c:v>
                </c:pt>
                <c:pt idx="3727">
                  <c:v>311.89079485111807</c:v>
                </c:pt>
                <c:pt idx="3728">
                  <c:v>309.61383413494582</c:v>
                </c:pt>
                <c:pt idx="3729">
                  <c:v>306.73357613500144</c:v>
                </c:pt>
                <c:pt idx="3730">
                  <c:v>308.09864049597894</c:v>
                </c:pt>
                <c:pt idx="3731">
                  <c:v>309.71670049208666</c:v>
                </c:pt>
                <c:pt idx="3732">
                  <c:v>306.71689510411375</c:v>
                </c:pt>
                <c:pt idx="3733">
                  <c:v>306.8364424921424</c:v>
                </c:pt>
                <c:pt idx="3734">
                  <c:v>307.62323111567935</c:v>
                </c:pt>
                <c:pt idx="3735">
                  <c:v>304.63454641496486</c:v>
                </c:pt>
                <c:pt idx="3736">
                  <c:v>304.37599043620537</c:v>
                </c:pt>
                <c:pt idx="3737">
                  <c:v>308.90211015040359</c:v>
                </c:pt>
                <c:pt idx="3738">
                  <c:v>312.88053601712215</c:v>
                </c:pt>
                <c:pt idx="3739">
                  <c:v>313.44769106730422</c:v>
                </c:pt>
                <c:pt idx="3740">
                  <c:v>314.21501848813887</c:v>
                </c:pt>
                <c:pt idx="3741">
                  <c:v>314.30120381439201</c:v>
                </c:pt>
                <c:pt idx="3742">
                  <c:v>314.30954432983589</c:v>
                </c:pt>
                <c:pt idx="3743">
                  <c:v>317.82924184714244</c:v>
                </c:pt>
                <c:pt idx="3744">
                  <c:v>322.96421918874205</c:v>
                </c:pt>
                <c:pt idx="3745">
                  <c:v>324.21529650532023</c:v>
                </c:pt>
                <c:pt idx="3746">
                  <c:v>323.85943451304911</c:v>
                </c:pt>
                <c:pt idx="3747">
                  <c:v>323.63424059606496</c:v>
                </c:pt>
                <c:pt idx="3748">
                  <c:v>323.30896049375463</c:v>
                </c:pt>
                <c:pt idx="3749">
                  <c:v>326.24760210180597</c:v>
                </c:pt>
                <c:pt idx="3750">
                  <c:v>329.2196057716327</c:v>
                </c:pt>
                <c:pt idx="3751">
                  <c:v>329.11951958630641</c:v>
                </c:pt>
                <c:pt idx="3752">
                  <c:v>326.78973560565652</c:v>
                </c:pt>
                <c:pt idx="3753">
                  <c:v>328.59962745697294</c:v>
                </c:pt>
                <c:pt idx="3754">
                  <c:v>329.04723511912641</c:v>
                </c:pt>
                <c:pt idx="3755">
                  <c:v>325.37462815201587</c:v>
                </c:pt>
                <c:pt idx="3756">
                  <c:v>327.29294670410235</c:v>
                </c:pt>
                <c:pt idx="3757">
                  <c:v>327.20954154966381</c:v>
                </c:pt>
                <c:pt idx="3758">
                  <c:v>328.54958436430968</c:v>
                </c:pt>
                <c:pt idx="3759">
                  <c:v>328.79701965581074</c:v>
                </c:pt>
                <c:pt idx="3760">
                  <c:v>327.6627095554465</c:v>
                </c:pt>
                <c:pt idx="3761">
                  <c:v>326.34212794350293</c:v>
                </c:pt>
                <c:pt idx="3762">
                  <c:v>331.22132947815766</c:v>
                </c:pt>
                <c:pt idx="3763">
                  <c:v>330.93219160943738</c:v>
                </c:pt>
                <c:pt idx="3764">
                  <c:v>331.16572604186536</c:v>
                </c:pt>
                <c:pt idx="3765">
                  <c:v>330.90995023492047</c:v>
                </c:pt>
                <c:pt idx="3766">
                  <c:v>327.24568378325381</c:v>
                </c:pt>
                <c:pt idx="3767">
                  <c:v>328.84150240484456</c:v>
                </c:pt>
                <c:pt idx="3768">
                  <c:v>330.62915288164396</c:v>
                </c:pt>
                <c:pt idx="3769">
                  <c:v>330.28441157663133</c:v>
                </c:pt>
                <c:pt idx="3770">
                  <c:v>333.25363507464346</c:v>
                </c:pt>
                <c:pt idx="3771">
                  <c:v>334.56031582751399</c:v>
                </c:pt>
                <c:pt idx="3772">
                  <c:v>335.21087603213454</c:v>
                </c:pt>
                <c:pt idx="3773">
                  <c:v>334.51305290666539</c:v>
                </c:pt>
                <c:pt idx="3774">
                  <c:v>332.01367844532376</c:v>
                </c:pt>
                <c:pt idx="3775">
                  <c:v>332.13322583335236</c:v>
                </c:pt>
                <c:pt idx="3776">
                  <c:v>335.13581139313987</c:v>
                </c:pt>
                <c:pt idx="3777">
                  <c:v>336.28124218076249</c:v>
                </c:pt>
                <c:pt idx="3778">
                  <c:v>336.4369318023812</c:v>
                </c:pt>
                <c:pt idx="3779">
                  <c:v>334.9884622869651</c:v>
                </c:pt>
                <c:pt idx="3780">
                  <c:v>337.38497039116589</c:v>
                </c:pt>
                <c:pt idx="3781">
                  <c:v>337.35994884483438</c:v>
                </c:pt>
                <c:pt idx="3782">
                  <c:v>337.38775056298056</c:v>
                </c:pt>
                <c:pt idx="3783">
                  <c:v>336.93458255719787</c:v>
                </c:pt>
                <c:pt idx="3784">
                  <c:v>334.19889349161366</c:v>
                </c:pt>
                <c:pt idx="3785">
                  <c:v>330.29831243570447</c:v>
                </c:pt>
                <c:pt idx="3786">
                  <c:v>329.10005838360411</c:v>
                </c:pt>
                <c:pt idx="3787">
                  <c:v>330.2538296866706</c:v>
                </c:pt>
                <c:pt idx="3788">
                  <c:v>329.7812004781855</c:v>
                </c:pt>
                <c:pt idx="3789">
                  <c:v>330.90995023492042</c:v>
                </c:pt>
                <c:pt idx="3790">
                  <c:v>328.89154549750765</c:v>
                </c:pt>
                <c:pt idx="3791">
                  <c:v>330.20100642219273</c:v>
                </c:pt>
                <c:pt idx="3792">
                  <c:v>327.3513303122092</c:v>
                </c:pt>
                <c:pt idx="3793">
                  <c:v>329.31691178514416</c:v>
                </c:pt>
                <c:pt idx="3794">
                  <c:v>332.5029886846965</c:v>
                </c:pt>
                <c:pt idx="3795">
                  <c:v>329.34749367510494</c:v>
                </c:pt>
                <c:pt idx="3796">
                  <c:v>326.78417526202708</c:v>
                </c:pt>
                <c:pt idx="3797">
                  <c:v>324.68792571380493</c:v>
                </c:pt>
                <c:pt idx="3798">
                  <c:v>323.54249492618231</c:v>
                </c:pt>
                <c:pt idx="3799">
                  <c:v>324.83805499179437</c:v>
                </c:pt>
                <c:pt idx="3800">
                  <c:v>326.41163223886815</c:v>
                </c:pt>
                <c:pt idx="3801">
                  <c:v>326.54508048596983</c:v>
                </c:pt>
                <c:pt idx="3802">
                  <c:v>325.65820567710665</c:v>
                </c:pt>
                <c:pt idx="3803">
                  <c:v>328.41335594539322</c:v>
                </c:pt>
                <c:pt idx="3804">
                  <c:v>330.67641580249239</c:v>
                </c:pt>
                <c:pt idx="3805">
                  <c:v>331.72732074841804</c:v>
                </c:pt>
                <c:pt idx="3806">
                  <c:v>330.80986404959407</c:v>
                </c:pt>
                <c:pt idx="3807">
                  <c:v>334.46300981400219</c:v>
                </c:pt>
                <c:pt idx="3808">
                  <c:v>334.0988073062872</c:v>
                </c:pt>
                <c:pt idx="3809">
                  <c:v>334.260057271535</c:v>
                </c:pt>
                <c:pt idx="3810">
                  <c:v>331.39370013066377</c:v>
                </c:pt>
                <c:pt idx="3811">
                  <c:v>332.78934638160206</c:v>
                </c:pt>
                <c:pt idx="3812">
                  <c:v>335.09410881592044</c:v>
                </c:pt>
                <c:pt idx="3813">
                  <c:v>335.32764324834841</c:v>
                </c:pt>
                <c:pt idx="3814">
                  <c:v>336.43415163056636</c:v>
                </c:pt>
                <c:pt idx="3815">
                  <c:v>336.49531541048799</c:v>
                </c:pt>
                <c:pt idx="3816">
                  <c:v>333.82913064026923</c:v>
                </c:pt>
                <c:pt idx="3817">
                  <c:v>334.06266507269714</c:v>
                </c:pt>
                <c:pt idx="3818">
                  <c:v>329.21682559981787</c:v>
                </c:pt>
                <c:pt idx="3819">
                  <c:v>331.06285968472423</c:v>
                </c:pt>
                <c:pt idx="3820">
                  <c:v>333.67622119046524</c:v>
                </c:pt>
                <c:pt idx="3821">
                  <c:v>336.78167310739366</c:v>
                </c:pt>
                <c:pt idx="3822">
                  <c:v>334.62147960743539</c:v>
                </c:pt>
                <c:pt idx="3823">
                  <c:v>336.51477661319035</c:v>
                </c:pt>
                <c:pt idx="3824">
                  <c:v>336.42303094330788</c:v>
                </c:pt>
                <c:pt idx="3825">
                  <c:v>336.53145764407799</c:v>
                </c:pt>
                <c:pt idx="3826">
                  <c:v>339.77035780810809</c:v>
                </c:pt>
                <c:pt idx="3827">
                  <c:v>340.65723261697127</c:v>
                </c:pt>
                <c:pt idx="3828">
                  <c:v>339.02249158997591</c:v>
                </c:pt>
                <c:pt idx="3829">
                  <c:v>335.5695181962202</c:v>
                </c:pt>
                <c:pt idx="3830">
                  <c:v>336.19227668269463</c:v>
                </c:pt>
                <c:pt idx="3831">
                  <c:v>333.64285912868974</c:v>
                </c:pt>
                <c:pt idx="3832">
                  <c:v>335.51947510355694</c:v>
                </c:pt>
                <c:pt idx="3833">
                  <c:v>332.99507909588374</c:v>
                </c:pt>
                <c:pt idx="3834">
                  <c:v>330.3038727793334</c:v>
                </c:pt>
                <c:pt idx="3835">
                  <c:v>330.89882954766171</c:v>
                </c:pt>
                <c:pt idx="3836">
                  <c:v>330.74313992604311</c:v>
                </c:pt>
                <c:pt idx="3837">
                  <c:v>329.11117907086231</c:v>
                </c:pt>
                <c:pt idx="3838">
                  <c:v>325.75551169061828</c:v>
                </c:pt>
                <c:pt idx="3839">
                  <c:v>325.98348577941698</c:v>
                </c:pt>
                <c:pt idx="3840">
                  <c:v>325.6748867079944</c:v>
                </c:pt>
                <c:pt idx="3841">
                  <c:v>326.47001584697517</c:v>
                </c:pt>
                <c:pt idx="3842">
                  <c:v>323.99010258833579</c:v>
                </c:pt>
                <c:pt idx="3843">
                  <c:v>328.45227835079794</c:v>
                </c:pt>
                <c:pt idx="3844">
                  <c:v>328.22430426199924</c:v>
                </c:pt>
                <c:pt idx="3845">
                  <c:v>326.09191248018715</c:v>
                </c:pt>
                <c:pt idx="3846">
                  <c:v>326.98156746086494</c:v>
                </c:pt>
                <c:pt idx="3847">
                  <c:v>328.44671800716867</c:v>
                </c:pt>
                <c:pt idx="3848">
                  <c:v>329.19180405348629</c:v>
                </c:pt>
                <c:pt idx="3849">
                  <c:v>331.15738552642136</c:v>
                </c:pt>
                <c:pt idx="3850">
                  <c:v>328.39389474269092</c:v>
                </c:pt>
                <c:pt idx="3851">
                  <c:v>328.39667491450558</c:v>
                </c:pt>
                <c:pt idx="3852">
                  <c:v>330.21768745308049</c:v>
                </c:pt>
                <c:pt idx="3853">
                  <c:v>326.33378742805894</c:v>
                </c:pt>
                <c:pt idx="3854">
                  <c:v>323.06986571769733</c:v>
                </c:pt>
                <c:pt idx="3855">
                  <c:v>317.6679918818943</c:v>
                </c:pt>
                <c:pt idx="3856">
                  <c:v>318.60212961160596</c:v>
                </c:pt>
                <c:pt idx="3857">
                  <c:v>320.49264644554626</c:v>
                </c:pt>
                <c:pt idx="3858">
                  <c:v>316.24454391280977</c:v>
                </c:pt>
                <c:pt idx="3859">
                  <c:v>322.48602963662751</c:v>
                </c:pt>
                <c:pt idx="3860">
                  <c:v>320.30915510578149</c:v>
                </c:pt>
                <c:pt idx="3861">
                  <c:v>323.0837665767703</c:v>
                </c:pt>
                <c:pt idx="3862">
                  <c:v>320.20350857682598</c:v>
                </c:pt>
                <c:pt idx="3863">
                  <c:v>321.49350829880882</c:v>
                </c:pt>
                <c:pt idx="3864">
                  <c:v>317.83480219077137</c:v>
                </c:pt>
                <c:pt idx="3865">
                  <c:v>321.62417637409578</c:v>
                </c:pt>
                <c:pt idx="3866">
                  <c:v>323.10044760765805</c:v>
                </c:pt>
                <c:pt idx="3867">
                  <c:v>322.82521059801087</c:v>
                </c:pt>
                <c:pt idx="3868">
                  <c:v>326.85089938557792</c:v>
                </c:pt>
                <c:pt idx="3869">
                  <c:v>326.01128749756322</c:v>
                </c:pt>
                <c:pt idx="3870">
                  <c:v>325.65542550529204</c:v>
                </c:pt>
                <c:pt idx="3871">
                  <c:v>327.73777419444104</c:v>
                </c:pt>
                <c:pt idx="3872">
                  <c:v>324.22919736439303</c:v>
                </c:pt>
                <c:pt idx="3873">
                  <c:v>325.58870138174126</c:v>
                </c:pt>
                <c:pt idx="3874">
                  <c:v>322.32199949956498</c:v>
                </c:pt>
                <c:pt idx="3875">
                  <c:v>320.84572826600277</c:v>
                </c:pt>
                <c:pt idx="3876">
                  <c:v>324.08184825821826</c:v>
                </c:pt>
                <c:pt idx="3877">
                  <c:v>326.33656759987355</c:v>
                </c:pt>
                <c:pt idx="3878">
                  <c:v>329.60604965386443</c:v>
                </c:pt>
                <c:pt idx="3879">
                  <c:v>331.14070449553356</c:v>
                </c:pt>
                <c:pt idx="3880">
                  <c:v>330.64027356890227</c:v>
                </c:pt>
                <c:pt idx="3881">
                  <c:v>331.91359225999736</c:v>
                </c:pt>
                <c:pt idx="3882">
                  <c:v>331.97197586810438</c:v>
                </c:pt>
                <c:pt idx="3883">
                  <c:v>330.84322611136946</c:v>
                </c:pt>
                <c:pt idx="3884">
                  <c:v>332.95893686229385</c:v>
                </c:pt>
                <c:pt idx="3885">
                  <c:v>333.28143679278958</c:v>
                </c:pt>
                <c:pt idx="3886">
                  <c:v>331.2574717117476</c:v>
                </c:pt>
                <c:pt idx="3887">
                  <c:v>334.2517167560913</c:v>
                </c:pt>
                <c:pt idx="3888">
                  <c:v>334.81331146264415</c:v>
                </c:pt>
                <c:pt idx="3889">
                  <c:v>332.51410937195499</c:v>
                </c:pt>
                <c:pt idx="3890">
                  <c:v>332.92835497233312</c:v>
                </c:pt>
                <c:pt idx="3891">
                  <c:v>332.85885067696768</c:v>
                </c:pt>
                <c:pt idx="3892">
                  <c:v>332.13878617698157</c:v>
                </c:pt>
                <c:pt idx="3893">
                  <c:v>333.87917373293249</c:v>
                </c:pt>
                <c:pt idx="3894">
                  <c:v>333.09516528121014</c:v>
                </c:pt>
                <c:pt idx="3895">
                  <c:v>333.84859184297164</c:v>
                </c:pt>
                <c:pt idx="3896">
                  <c:v>334.70766493368865</c:v>
                </c:pt>
                <c:pt idx="3897">
                  <c:v>335.44997080819167</c:v>
                </c:pt>
                <c:pt idx="3898">
                  <c:v>336.66768606299439</c:v>
                </c:pt>
                <c:pt idx="3899">
                  <c:v>338.33578915176525</c:v>
                </c:pt>
                <c:pt idx="3900">
                  <c:v>338.09669437570807</c:v>
                </c:pt>
                <c:pt idx="3901">
                  <c:v>337.40443159386814</c:v>
                </c:pt>
                <c:pt idx="3902">
                  <c:v>337.47949623286286</c:v>
                </c:pt>
                <c:pt idx="3903">
                  <c:v>333.82357029664001</c:v>
                </c:pt>
                <c:pt idx="3904">
                  <c:v>331.27693291444979</c:v>
                </c:pt>
                <c:pt idx="3905">
                  <c:v>331.03227779476344</c:v>
                </c:pt>
                <c:pt idx="3906">
                  <c:v>334.05710472906793</c:v>
                </c:pt>
                <c:pt idx="3907">
                  <c:v>333.57891517695361</c:v>
                </c:pt>
                <c:pt idx="3908">
                  <c:v>331.210208790899</c:v>
                </c:pt>
                <c:pt idx="3909">
                  <c:v>332.07484222524528</c:v>
                </c:pt>
                <c:pt idx="3910">
                  <c:v>335.00792348966741</c:v>
                </c:pt>
                <c:pt idx="3911">
                  <c:v>332.21385081597623</c:v>
                </c:pt>
                <c:pt idx="3912">
                  <c:v>333.0284411576593</c:v>
                </c:pt>
                <c:pt idx="3913">
                  <c:v>336.91790152631</c:v>
                </c:pt>
                <c:pt idx="3914">
                  <c:v>339.02527176179058</c:v>
                </c:pt>
                <c:pt idx="3915">
                  <c:v>339.79537935443972</c:v>
                </c:pt>
                <c:pt idx="3916">
                  <c:v>340.09563791041847</c:v>
                </c:pt>
                <c:pt idx="3917">
                  <c:v>340.98807306291087</c:v>
                </c:pt>
                <c:pt idx="3918">
                  <c:v>341.38285746058665</c:v>
                </c:pt>
                <c:pt idx="3919">
                  <c:v>339.49512079846102</c:v>
                </c:pt>
                <c:pt idx="3920">
                  <c:v>341.78042203007709</c:v>
                </c:pt>
                <c:pt idx="3921">
                  <c:v>343.40682254162869</c:v>
                </c:pt>
                <c:pt idx="3922">
                  <c:v>341.13820234090025</c:v>
                </c:pt>
                <c:pt idx="3923">
                  <c:v>342.98423642580673</c:v>
                </c:pt>
                <c:pt idx="3924">
                  <c:v>341.69145653200934</c:v>
                </c:pt>
                <c:pt idx="3925">
                  <c:v>342.28363312852304</c:v>
                </c:pt>
                <c:pt idx="3926">
                  <c:v>343.848869860153</c:v>
                </c:pt>
                <c:pt idx="3927">
                  <c:v>345.77552892768335</c:v>
                </c:pt>
                <c:pt idx="3928">
                  <c:v>343.12324501653774</c:v>
                </c:pt>
                <c:pt idx="3929">
                  <c:v>343.44852511884801</c:v>
                </c:pt>
                <c:pt idx="3930">
                  <c:v>345.88673580026807</c:v>
                </c:pt>
                <c:pt idx="3931">
                  <c:v>346.1425116072129</c:v>
                </c:pt>
                <c:pt idx="3932">
                  <c:v>343.59031388139346</c:v>
                </c:pt>
                <c:pt idx="3933">
                  <c:v>340.96583168839396</c:v>
                </c:pt>
                <c:pt idx="3934">
                  <c:v>340.0511551613846</c:v>
                </c:pt>
                <c:pt idx="3935">
                  <c:v>342.34479690844449</c:v>
                </c:pt>
                <c:pt idx="3936">
                  <c:v>341.71925825015541</c:v>
                </c:pt>
                <c:pt idx="3937">
                  <c:v>344.13244738524395</c:v>
                </c:pt>
                <c:pt idx="3938">
                  <c:v>342.06955989879731</c:v>
                </c:pt>
                <c:pt idx="3939">
                  <c:v>343.03705969028431</c:v>
                </c:pt>
                <c:pt idx="3940">
                  <c:v>338.99747004364417</c:v>
                </c:pt>
                <c:pt idx="3941">
                  <c:v>339.24768550695984</c:v>
                </c:pt>
                <c:pt idx="3942">
                  <c:v>338.90850454557642</c:v>
                </c:pt>
                <c:pt idx="3943">
                  <c:v>339.10033640078507</c:v>
                </c:pt>
                <c:pt idx="3944">
                  <c:v>339.66193110733792</c:v>
                </c:pt>
                <c:pt idx="3945">
                  <c:v>338.50537963245677</c:v>
                </c:pt>
                <c:pt idx="3946">
                  <c:v>336.28680252439148</c:v>
                </c:pt>
                <c:pt idx="3947">
                  <c:v>337.06803080429921</c:v>
                </c:pt>
                <c:pt idx="3948">
                  <c:v>335.03850537962796</c:v>
                </c:pt>
                <c:pt idx="3949">
                  <c:v>337.03466874252376</c:v>
                </c:pt>
                <c:pt idx="3950">
                  <c:v>335.95874225026654</c:v>
                </c:pt>
                <c:pt idx="3951">
                  <c:v>339.2727070532913</c:v>
                </c:pt>
                <c:pt idx="3952">
                  <c:v>339.6230087019332</c:v>
                </c:pt>
                <c:pt idx="3953">
                  <c:v>338.63048736411457</c:v>
                </c:pt>
                <c:pt idx="3954">
                  <c:v>342.90361144318268</c:v>
                </c:pt>
                <c:pt idx="3955">
                  <c:v>343.72932247212418</c:v>
                </c:pt>
                <c:pt idx="3956">
                  <c:v>342.42542189106837</c:v>
                </c:pt>
                <c:pt idx="3957">
                  <c:v>345.15277044120876</c:v>
                </c:pt>
                <c:pt idx="3958">
                  <c:v>344.89699463426388</c:v>
                </c:pt>
                <c:pt idx="3959">
                  <c:v>342.29475381578129</c:v>
                </c:pt>
                <c:pt idx="3960">
                  <c:v>341.17156440267559</c:v>
                </c:pt>
                <c:pt idx="3961">
                  <c:v>341.33003419610878</c:v>
                </c:pt>
                <c:pt idx="3962">
                  <c:v>344.16024910339002</c:v>
                </c:pt>
                <c:pt idx="3963">
                  <c:v>342.24471072311809</c:v>
                </c:pt>
                <c:pt idx="3964">
                  <c:v>339.55350440656775</c:v>
                </c:pt>
                <c:pt idx="3965">
                  <c:v>336.45639300508321</c:v>
                </c:pt>
                <c:pt idx="3966">
                  <c:v>337.68522894714431</c:v>
                </c:pt>
                <c:pt idx="3967">
                  <c:v>337.87150045872374</c:v>
                </c:pt>
                <c:pt idx="3968">
                  <c:v>337.96602630042082</c:v>
                </c:pt>
                <c:pt idx="3969">
                  <c:v>337.9743668158647</c:v>
                </c:pt>
                <c:pt idx="3970">
                  <c:v>338.31632794906272</c:v>
                </c:pt>
                <c:pt idx="3971">
                  <c:v>341.31613333703558</c:v>
                </c:pt>
                <c:pt idx="3972">
                  <c:v>341.63029275208737</c:v>
                </c:pt>
                <c:pt idx="3973">
                  <c:v>341.043676499203</c:v>
                </c:pt>
                <c:pt idx="3974">
                  <c:v>337.64352636992504</c:v>
                </c:pt>
                <c:pt idx="3975">
                  <c:v>332.61697572909549</c:v>
                </c:pt>
                <c:pt idx="3976">
                  <c:v>331.25469153993265</c:v>
                </c:pt>
                <c:pt idx="3977">
                  <c:v>332.4807473101792</c:v>
                </c:pt>
                <c:pt idx="3978">
                  <c:v>330.09814006505144</c:v>
                </c:pt>
                <c:pt idx="3979">
                  <c:v>329.41421779865539</c:v>
                </c:pt>
                <c:pt idx="3980">
                  <c:v>327.41527426394504</c:v>
                </c:pt>
                <c:pt idx="3981">
                  <c:v>327.18173983151706</c:v>
                </c:pt>
                <c:pt idx="3982">
                  <c:v>329.88684700714049</c:v>
                </c:pt>
                <c:pt idx="3983">
                  <c:v>330.86824765770069</c:v>
                </c:pt>
                <c:pt idx="3984">
                  <c:v>327.54316216741751</c:v>
                </c:pt>
                <c:pt idx="3985">
                  <c:v>332.44182490477459</c:v>
                </c:pt>
                <c:pt idx="3986">
                  <c:v>327.44863632572043</c:v>
                </c:pt>
                <c:pt idx="3987">
                  <c:v>327.9462870805371</c:v>
                </c:pt>
                <c:pt idx="3988">
                  <c:v>333.44824710166637</c:v>
                </c:pt>
                <c:pt idx="3989">
                  <c:v>332.65867830631481</c:v>
                </c:pt>
                <c:pt idx="3990">
                  <c:v>331.22410964997187</c:v>
                </c:pt>
                <c:pt idx="3991">
                  <c:v>327.75445522532846</c:v>
                </c:pt>
                <c:pt idx="3992">
                  <c:v>333.17857043564834</c:v>
                </c:pt>
                <c:pt idx="3993">
                  <c:v>335.56951819621997</c:v>
                </c:pt>
                <c:pt idx="3994">
                  <c:v>334.38794517500725</c:v>
                </c:pt>
                <c:pt idx="3995">
                  <c:v>337.72415135254897</c:v>
                </c:pt>
                <c:pt idx="3996">
                  <c:v>339.16428035252119</c:v>
                </c:pt>
                <c:pt idx="3997">
                  <c:v>339.21988378881355</c:v>
                </c:pt>
                <c:pt idx="3998">
                  <c:v>339.96218966331651</c:v>
                </c:pt>
                <c:pt idx="3999">
                  <c:v>338.78895715754766</c:v>
                </c:pt>
                <c:pt idx="4000">
                  <c:v>339.36167255135905</c:v>
                </c:pt>
                <c:pt idx="4001">
                  <c:v>342.22802969223028</c:v>
                </c:pt>
                <c:pt idx="4002">
                  <c:v>343.2733742945266</c:v>
                </c:pt>
                <c:pt idx="4003">
                  <c:v>343.00647780032324</c:v>
                </c:pt>
                <c:pt idx="4004">
                  <c:v>341.68589618837962</c:v>
                </c:pt>
                <c:pt idx="4005">
                  <c:v>342.29753398759561</c:v>
                </c:pt>
                <c:pt idx="4006">
                  <c:v>345.51975312073802</c:v>
                </c:pt>
                <c:pt idx="4007">
                  <c:v>347.04050710333405</c:v>
                </c:pt>
                <c:pt idx="4008">
                  <c:v>348.86986015735278</c:v>
                </c:pt>
                <c:pt idx="4009">
                  <c:v>350.6436097750792</c:v>
                </c:pt>
                <c:pt idx="4010">
                  <c:v>351.86132502988193</c:v>
                </c:pt>
                <c:pt idx="4011">
                  <c:v>352.59529038894112</c:v>
                </c:pt>
                <c:pt idx="4012">
                  <c:v>349.59548500096821</c:v>
                </c:pt>
                <c:pt idx="4013">
                  <c:v>349.60104534459748</c:v>
                </c:pt>
                <c:pt idx="4014">
                  <c:v>347.37690789290303</c:v>
                </c:pt>
                <c:pt idx="4015">
                  <c:v>351.59998887930789</c:v>
                </c:pt>
                <c:pt idx="4016">
                  <c:v>351.71397592370721</c:v>
                </c:pt>
                <c:pt idx="4017">
                  <c:v>350.88270455113638</c:v>
                </c:pt>
                <c:pt idx="4018">
                  <c:v>351.33031221328997</c:v>
                </c:pt>
                <c:pt idx="4019">
                  <c:v>349.57046345463664</c:v>
                </c:pt>
                <c:pt idx="4020">
                  <c:v>349.14509716700007</c:v>
                </c:pt>
                <c:pt idx="4021">
                  <c:v>350.12649781756022</c:v>
                </c:pt>
                <c:pt idx="4022">
                  <c:v>350.42119602990982</c:v>
                </c:pt>
                <c:pt idx="4023">
                  <c:v>352.36731630014253</c:v>
                </c:pt>
                <c:pt idx="4024">
                  <c:v>353.84358753370469</c:v>
                </c:pt>
                <c:pt idx="4025">
                  <c:v>353.34315660707347</c:v>
                </c:pt>
                <c:pt idx="4026">
                  <c:v>352.33673441018175</c:v>
                </c:pt>
                <c:pt idx="4027">
                  <c:v>350.27940726736438</c:v>
                </c:pt>
                <c:pt idx="4028">
                  <c:v>350.19600211292578</c:v>
                </c:pt>
                <c:pt idx="4029">
                  <c:v>351.07731657815975</c:v>
                </c:pt>
                <c:pt idx="4030">
                  <c:v>352.55914815535118</c:v>
                </c:pt>
                <c:pt idx="4031">
                  <c:v>352.70927743334062</c:v>
                </c:pt>
                <c:pt idx="4032">
                  <c:v>349.33970919402344</c:v>
                </c:pt>
                <c:pt idx="4033">
                  <c:v>349.79287719980624</c:v>
                </c:pt>
                <c:pt idx="4034">
                  <c:v>348.75031276932447</c:v>
                </c:pt>
                <c:pt idx="4035">
                  <c:v>347.0460674469636</c:v>
                </c:pt>
                <c:pt idx="4036">
                  <c:v>352.74819983874539</c:v>
                </c:pt>
                <c:pt idx="4037">
                  <c:v>354.04375990435739</c:v>
                </c:pt>
                <c:pt idx="4038">
                  <c:v>354.0493202479866</c:v>
                </c:pt>
                <c:pt idx="4039">
                  <c:v>357.37718591008445</c:v>
                </c:pt>
                <c:pt idx="4040">
                  <c:v>358.68386666295493</c:v>
                </c:pt>
                <c:pt idx="4041">
                  <c:v>358.55597875948246</c:v>
                </c:pt>
                <c:pt idx="4042">
                  <c:v>359.80427590424603</c:v>
                </c:pt>
                <c:pt idx="4043">
                  <c:v>357.54677639077607</c:v>
                </c:pt>
                <c:pt idx="4044">
                  <c:v>357.97770302204185</c:v>
                </c:pt>
                <c:pt idx="4045">
                  <c:v>356.67658261280064</c:v>
                </c:pt>
                <c:pt idx="4046">
                  <c:v>355.28649670549157</c:v>
                </c:pt>
                <c:pt idx="4047">
                  <c:v>357.26319886568501</c:v>
                </c:pt>
                <c:pt idx="4048">
                  <c:v>350.71589424225937</c:v>
                </c:pt>
                <c:pt idx="4049">
                  <c:v>351.36367427506542</c:v>
                </c:pt>
                <c:pt idx="4050">
                  <c:v>352.20884650670934</c:v>
                </c:pt>
                <c:pt idx="4051">
                  <c:v>351.60276905112261</c:v>
                </c:pt>
                <c:pt idx="4052">
                  <c:v>354.14662626149811</c:v>
                </c:pt>
                <c:pt idx="4053">
                  <c:v>356.89621618615553</c:v>
                </c:pt>
                <c:pt idx="4054">
                  <c:v>357.307681614719</c:v>
                </c:pt>
                <c:pt idx="4055">
                  <c:v>355.88423364563454</c:v>
                </c:pt>
                <c:pt idx="4056">
                  <c:v>356.54591453751368</c:v>
                </c:pt>
                <c:pt idx="4057">
                  <c:v>353.3153548889274</c:v>
                </c:pt>
                <c:pt idx="4058">
                  <c:v>351.4220578831725</c:v>
                </c:pt>
                <c:pt idx="4059">
                  <c:v>351.69729489281974</c:v>
                </c:pt>
                <c:pt idx="4060">
                  <c:v>348.85039895465076</c:v>
                </c:pt>
                <c:pt idx="4061">
                  <c:v>351.87244571714064</c:v>
                </c:pt>
                <c:pt idx="4062">
                  <c:v>351.35255358780699</c:v>
                </c:pt>
                <c:pt idx="4063">
                  <c:v>352.24498874029945</c:v>
                </c:pt>
                <c:pt idx="4064">
                  <c:v>351.09677778086211</c:v>
                </c:pt>
                <c:pt idx="4065">
                  <c:v>354.61925546998322</c:v>
                </c:pt>
                <c:pt idx="4066">
                  <c:v>355.86199227111751</c:v>
                </c:pt>
                <c:pt idx="4067">
                  <c:v>358.46979343322937</c:v>
                </c:pt>
                <c:pt idx="4068">
                  <c:v>357.87483666490107</c:v>
                </c:pt>
                <c:pt idx="4069">
                  <c:v>356.70438433094682</c:v>
                </c:pt>
                <c:pt idx="4070">
                  <c:v>359.38446996023868</c:v>
                </c:pt>
                <c:pt idx="4071">
                  <c:v>358.027746114705</c:v>
                </c:pt>
                <c:pt idx="4072">
                  <c:v>358.4836942923024</c:v>
                </c:pt>
                <c:pt idx="4073">
                  <c:v>359.78759487335827</c:v>
                </c:pt>
                <c:pt idx="4074">
                  <c:v>356.04548361088234</c:v>
                </c:pt>
                <c:pt idx="4075">
                  <c:v>358.98690539074829</c:v>
                </c:pt>
                <c:pt idx="4076">
                  <c:v>358.40306930967853</c:v>
                </c:pt>
                <c:pt idx="4077">
                  <c:v>357.87205649308646</c:v>
                </c:pt>
                <c:pt idx="4078">
                  <c:v>355.37824237537404</c:v>
                </c:pt>
                <c:pt idx="4079">
                  <c:v>354.71656148349496</c:v>
                </c:pt>
                <c:pt idx="4080">
                  <c:v>355.43662598348106</c:v>
                </c:pt>
                <c:pt idx="4081">
                  <c:v>353.70179877115936</c:v>
                </c:pt>
                <c:pt idx="4082">
                  <c:v>356.30125941782728</c:v>
                </c:pt>
                <c:pt idx="4083">
                  <c:v>357.01020323055496</c:v>
                </c:pt>
                <c:pt idx="4084">
                  <c:v>360.72173260307011</c:v>
                </c:pt>
                <c:pt idx="4085">
                  <c:v>362.2619477883685</c:v>
                </c:pt>
                <c:pt idx="4086">
                  <c:v>362.90416747754529</c:v>
                </c:pt>
                <c:pt idx="4087">
                  <c:v>363.4379604659519</c:v>
                </c:pt>
                <c:pt idx="4088">
                  <c:v>362.83466318217978</c:v>
                </c:pt>
                <c:pt idx="4089">
                  <c:v>360.6522283077046</c:v>
                </c:pt>
                <c:pt idx="4090">
                  <c:v>362.8235424949213</c:v>
                </c:pt>
                <c:pt idx="4091">
                  <c:v>361.88662459339503</c:v>
                </c:pt>
                <c:pt idx="4092">
                  <c:v>362.24248658566614</c:v>
                </c:pt>
                <c:pt idx="4093">
                  <c:v>361.86994356250727</c:v>
                </c:pt>
                <c:pt idx="4094">
                  <c:v>359.54015958185732</c:v>
                </c:pt>
                <c:pt idx="4095">
                  <c:v>362.22580555477845</c:v>
                </c:pt>
                <c:pt idx="4096">
                  <c:v>361.49184019571925</c:v>
                </c:pt>
                <c:pt idx="4097">
                  <c:v>359.98498707219619</c:v>
                </c:pt>
                <c:pt idx="4098">
                  <c:v>360.81347827295235</c:v>
                </c:pt>
                <c:pt idx="4099">
                  <c:v>363.0709777864223</c:v>
                </c:pt>
                <c:pt idx="4100">
                  <c:v>364.63621451805221</c:v>
                </c:pt>
                <c:pt idx="4101">
                  <c:v>363.93561122076841</c:v>
                </c:pt>
                <c:pt idx="4102">
                  <c:v>360.17125858377551</c:v>
                </c:pt>
                <c:pt idx="4103">
                  <c:v>360.47707748338348</c:v>
                </c:pt>
                <c:pt idx="4104">
                  <c:v>357.68856515332152</c:v>
                </c:pt>
                <c:pt idx="4105">
                  <c:v>358.11949178458724</c:v>
                </c:pt>
                <c:pt idx="4106">
                  <c:v>358.39750896604903</c:v>
                </c:pt>
                <c:pt idx="4107">
                  <c:v>357.34382384830877</c:v>
                </c:pt>
                <c:pt idx="4108">
                  <c:v>363.54916733853645</c:v>
                </c:pt>
                <c:pt idx="4109">
                  <c:v>364.18304651226941</c:v>
                </c:pt>
                <c:pt idx="4110">
                  <c:v>364.60841279990598</c:v>
                </c:pt>
                <c:pt idx="4111">
                  <c:v>364.55836970724283</c:v>
                </c:pt>
                <c:pt idx="4112">
                  <c:v>363.67705524200886</c:v>
                </c:pt>
                <c:pt idx="4113">
                  <c:v>361.90608579609716</c:v>
                </c:pt>
                <c:pt idx="4114">
                  <c:v>362.92640885206202</c:v>
                </c:pt>
                <c:pt idx="4115">
                  <c:v>364.12466290416245</c:v>
                </c:pt>
                <c:pt idx="4116">
                  <c:v>364.3720981956634</c:v>
                </c:pt>
                <c:pt idx="4117">
                  <c:v>362.86524507214045</c:v>
                </c:pt>
                <c:pt idx="4118">
                  <c:v>365.09494286746423</c:v>
                </c:pt>
                <c:pt idx="4119">
                  <c:v>363.60477077482886</c:v>
                </c:pt>
                <c:pt idx="4120">
                  <c:v>364.82804637326086</c:v>
                </c:pt>
                <c:pt idx="4121">
                  <c:v>368.58405849480988</c:v>
                </c:pt>
                <c:pt idx="4122">
                  <c:v>368.27823959520191</c:v>
                </c:pt>
                <c:pt idx="4123">
                  <c:v>368.41168784230359</c:v>
                </c:pt>
                <c:pt idx="4124">
                  <c:v>367.77502849675602</c:v>
                </c:pt>
                <c:pt idx="4125">
                  <c:v>363.06819761460764</c:v>
                </c:pt>
                <c:pt idx="4126">
                  <c:v>358.98690539074823</c:v>
                </c:pt>
                <c:pt idx="4127">
                  <c:v>359.89324140231366</c:v>
                </c:pt>
                <c:pt idx="4128">
                  <c:v>359.22043982317604</c:v>
                </c:pt>
                <c:pt idx="4129">
                  <c:v>353.17078595456707</c:v>
                </c:pt>
                <c:pt idx="4130">
                  <c:v>350.80485974032706</c:v>
                </c:pt>
                <c:pt idx="4131">
                  <c:v>352.25610942755765</c:v>
                </c:pt>
                <c:pt idx="4132">
                  <c:v>350.877144207507</c:v>
                </c:pt>
                <c:pt idx="4133">
                  <c:v>349.3508298812817</c:v>
                </c:pt>
                <c:pt idx="4134">
                  <c:v>349.90408407239067</c:v>
                </c:pt>
                <c:pt idx="4135">
                  <c:v>353.88250993910924</c:v>
                </c:pt>
                <c:pt idx="4136">
                  <c:v>355.90647502015116</c:v>
                </c:pt>
                <c:pt idx="4137">
                  <c:v>350.25716589284713</c:v>
                </c:pt>
                <c:pt idx="4138">
                  <c:v>353.10684200283066</c:v>
                </c:pt>
                <c:pt idx="4139">
                  <c:v>357.44947037726416</c:v>
                </c:pt>
                <c:pt idx="4140">
                  <c:v>358.14729350273325</c:v>
                </c:pt>
                <c:pt idx="4141">
                  <c:v>351.77235953181389</c:v>
                </c:pt>
                <c:pt idx="4142">
                  <c:v>351.37201479050884</c:v>
                </c:pt>
                <c:pt idx="4143">
                  <c:v>349.23128249325299</c:v>
                </c:pt>
                <c:pt idx="4144">
                  <c:v>349.726153076255</c:v>
                </c:pt>
                <c:pt idx="4145">
                  <c:v>348.16091634462492</c:v>
                </c:pt>
                <c:pt idx="4146">
                  <c:v>343.74044315938221</c:v>
                </c:pt>
                <c:pt idx="4147">
                  <c:v>340.20684478300262</c:v>
                </c:pt>
                <c:pt idx="4148">
                  <c:v>341.97225388528511</c:v>
                </c:pt>
                <c:pt idx="4149">
                  <c:v>349.23406266506765</c:v>
                </c:pt>
                <c:pt idx="4150">
                  <c:v>347.94962328671409</c:v>
                </c:pt>
                <c:pt idx="4151">
                  <c:v>344.78022741804949</c:v>
                </c:pt>
                <c:pt idx="4152">
                  <c:v>344.77466707442022</c:v>
                </c:pt>
                <c:pt idx="4153">
                  <c:v>348.13311462647891</c:v>
                </c:pt>
                <c:pt idx="4154">
                  <c:v>346.29820122883098</c:v>
                </c:pt>
                <c:pt idx="4155">
                  <c:v>345.99238232922301</c:v>
                </c:pt>
                <c:pt idx="4156">
                  <c:v>347.67716644888151</c:v>
                </c:pt>
                <c:pt idx="4157">
                  <c:v>344.5188912674754</c:v>
                </c:pt>
                <c:pt idx="4158">
                  <c:v>346.40940810141575</c:v>
                </c:pt>
                <c:pt idx="4159">
                  <c:v>353.87972976729452</c:v>
                </c:pt>
                <c:pt idx="4160">
                  <c:v>353.13742389279156</c:v>
                </c:pt>
                <c:pt idx="4161">
                  <c:v>355.91481553559504</c:v>
                </c:pt>
                <c:pt idx="4162">
                  <c:v>353.33481609162948</c:v>
                </c:pt>
                <c:pt idx="4163">
                  <c:v>354.21613055686333</c:v>
                </c:pt>
                <c:pt idx="4164">
                  <c:v>351.82518279629181</c:v>
                </c:pt>
                <c:pt idx="4165">
                  <c:v>352.34229475381073</c:v>
                </c:pt>
                <c:pt idx="4166">
                  <c:v>353.78242375378289</c:v>
                </c:pt>
                <c:pt idx="4167">
                  <c:v>349.91242458783444</c:v>
                </c:pt>
                <c:pt idx="4168">
                  <c:v>345.37796435819234</c:v>
                </c:pt>
                <c:pt idx="4169">
                  <c:v>343.68483972308996</c:v>
                </c:pt>
                <c:pt idx="4170">
                  <c:v>343.20943034279026</c:v>
                </c:pt>
                <c:pt idx="4171">
                  <c:v>343.86833106285474</c:v>
                </c:pt>
                <c:pt idx="4172">
                  <c:v>350.24882537740325</c:v>
                </c:pt>
                <c:pt idx="4173">
                  <c:v>347.27960187939118</c:v>
                </c:pt>
                <c:pt idx="4174">
                  <c:v>344.82192999526876</c:v>
                </c:pt>
                <c:pt idx="4175">
                  <c:v>350.55464427701139</c:v>
                </c:pt>
                <c:pt idx="4176">
                  <c:v>352.77044121326207</c:v>
                </c:pt>
                <c:pt idx="4177">
                  <c:v>352.63699296616039</c:v>
                </c:pt>
                <c:pt idx="4178">
                  <c:v>351.19130362255891</c:v>
                </c:pt>
                <c:pt idx="4179">
                  <c:v>355.45886735799769</c:v>
                </c:pt>
                <c:pt idx="4180">
                  <c:v>354.93341488503489</c:v>
                </c:pt>
                <c:pt idx="4181">
                  <c:v>353.33759626344408</c:v>
                </c:pt>
                <c:pt idx="4182">
                  <c:v>355.45886735799763</c:v>
                </c:pt>
                <c:pt idx="4183">
                  <c:v>355.93705691011195</c:v>
                </c:pt>
                <c:pt idx="4184">
                  <c:v>355.68406127498167</c:v>
                </c:pt>
                <c:pt idx="4185">
                  <c:v>354.68597959353377</c:v>
                </c:pt>
                <c:pt idx="4186">
                  <c:v>353.49328588506262</c:v>
                </c:pt>
                <c:pt idx="4187">
                  <c:v>351.95585087157883</c:v>
                </c:pt>
                <c:pt idx="4188">
                  <c:v>353.58503155494503</c:v>
                </c:pt>
                <c:pt idx="4189">
                  <c:v>352.17548444493366</c:v>
                </c:pt>
                <c:pt idx="4190">
                  <c:v>352.58416970168253</c:v>
                </c:pt>
                <c:pt idx="4191">
                  <c:v>357.41332814367416</c:v>
                </c:pt>
                <c:pt idx="4192">
                  <c:v>360.15179738107304</c:v>
                </c:pt>
                <c:pt idx="4193">
                  <c:v>360.72173260306971</c:v>
                </c:pt>
                <c:pt idx="4194">
                  <c:v>362.06177541771558</c:v>
                </c:pt>
                <c:pt idx="4195">
                  <c:v>360.73285329032808</c:v>
                </c:pt>
                <c:pt idx="4196">
                  <c:v>361.09427562622841</c:v>
                </c:pt>
                <c:pt idx="4197">
                  <c:v>359.47343545830614</c:v>
                </c:pt>
                <c:pt idx="4198">
                  <c:v>360.32694820539382</c:v>
                </c:pt>
                <c:pt idx="4199">
                  <c:v>360.05727153937585</c:v>
                </c:pt>
                <c:pt idx="4200">
                  <c:v>361.91720648335541</c:v>
                </c:pt>
                <c:pt idx="4201">
                  <c:v>362.61224943700995</c:v>
                </c:pt>
                <c:pt idx="4202">
                  <c:v>362.60946926519534</c:v>
                </c:pt>
                <c:pt idx="4203">
                  <c:v>362.48436153353754</c:v>
                </c:pt>
                <c:pt idx="4204">
                  <c:v>364.483305068248</c:v>
                </c:pt>
                <c:pt idx="4205">
                  <c:v>365.10606355472248</c:v>
                </c:pt>
                <c:pt idx="4206">
                  <c:v>361.49462036753363</c:v>
                </c:pt>
                <c:pt idx="4207">
                  <c:v>359.75979315521198</c:v>
                </c:pt>
                <c:pt idx="4208">
                  <c:v>361.12207734437487</c:v>
                </c:pt>
                <c:pt idx="4209">
                  <c:v>361.2944479968811</c:v>
                </c:pt>
                <c:pt idx="4210">
                  <c:v>365.06714114931788</c:v>
                </c:pt>
                <c:pt idx="4211">
                  <c:v>366.44610636936852</c:v>
                </c:pt>
                <c:pt idx="4212">
                  <c:v>365.9484556145519</c:v>
                </c:pt>
                <c:pt idx="4213">
                  <c:v>366.9465372959998</c:v>
                </c:pt>
                <c:pt idx="4214">
                  <c:v>367.3107398037148</c:v>
                </c:pt>
                <c:pt idx="4215">
                  <c:v>366.51283049291936</c:v>
                </c:pt>
                <c:pt idx="4216">
                  <c:v>368.42280852956202</c:v>
                </c:pt>
                <c:pt idx="4217">
                  <c:v>366.43498568211004</c:v>
                </c:pt>
                <c:pt idx="4218">
                  <c:v>365.5314298423591</c:v>
                </c:pt>
                <c:pt idx="4219">
                  <c:v>368.75364897550156</c:v>
                </c:pt>
                <c:pt idx="4220">
                  <c:v>371.52548027467589</c:v>
                </c:pt>
                <c:pt idx="4221">
                  <c:v>371.59498457004133</c:v>
                </c:pt>
                <c:pt idx="4222">
                  <c:v>372.30670855458357</c:v>
                </c:pt>
                <c:pt idx="4223">
                  <c:v>371.38925185575954</c:v>
                </c:pt>
                <c:pt idx="4224">
                  <c:v>370.12983402373749</c:v>
                </c:pt>
                <c:pt idx="4225">
                  <c:v>370.90550196001584</c:v>
                </c:pt>
                <c:pt idx="4226">
                  <c:v>375.38435875336563</c:v>
                </c:pt>
                <c:pt idx="4227">
                  <c:v>376.21841029775101</c:v>
                </c:pt>
                <c:pt idx="4228">
                  <c:v>375.20642775723002</c:v>
                </c:pt>
                <c:pt idx="4229">
                  <c:v>375.50668631320883</c:v>
                </c:pt>
                <c:pt idx="4230">
                  <c:v>376.27401373404342</c:v>
                </c:pt>
                <c:pt idx="4231">
                  <c:v>375.30929411437097</c:v>
                </c:pt>
                <c:pt idx="4232">
                  <c:v>378.8901554115991</c:v>
                </c:pt>
                <c:pt idx="4233">
                  <c:v>379.66582334787751</c:v>
                </c:pt>
                <c:pt idx="4234">
                  <c:v>380.61942228029153</c:v>
                </c:pt>
                <c:pt idx="4235">
                  <c:v>379.22933637298246</c:v>
                </c:pt>
                <c:pt idx="4236">
                  <c:v>379.76034918957458</c:v>
                </c:pt>
                <c:pt idx="4237">
                  <c:v>380.03836637103632</c:v>
                </c:pt>
                <c:pt idx="4238">
                  <c:v>380.49431454863361</c:v>
                </c:pt>
                <c:pt idx="4239">
                  <c:v>382.83521921654204</c:v>
                </c:pt>
                <c:pt idx="4240">
                  <c:v>382.93530540186833</c:v>
                </c:pt>
                <c:pt idx="4241">
                  <c:v>384.28090856014353</c:v>
                </c:pt>
                <c:pt idx="4242">
                  <c:v>386.18810642497152</c:v>
                </c:pt>
                <c:pt idx="4243">
                  <c:v>382.92418471460985</c:v>
                </c:pt>
                <c:pt idx="4244">
                  <c:v>383.08821485167232</c:v>
                </c:pt>
                <c:pt idx="4245">
                  <c:v>383.09099502348693</c:v>
                </c:pt>
                <c:pt idx="4246">
                  <c:v>380.27468097527878</c:v>
                </c:pt>
                <c:pt idx="4247">
                  <c:v>380.14401289999176</c:v>
                </c:pt>
                <c:pt idx="4248">
                  <c:v>379.29884066834785</c:v>
                </c:pt>
                <c:pt idx="4249">
                  <c:v>383.60254663737675</c:v>
                </c:pt>
                <c:pt idx="4250">
                  <c:v>384.45327921264993</c:v>
                </c:pt>
                <c:pt idx="4251">
                  <c:v>385.25396869525997</c:v>
                </c:pt>
                <c:pt idx="4252">
                  <c:v>383.19942172425721</c:v>
                </c:pt>
                <c:pt idx="4253">
                  <c:v>383.91392588061416</c:v>
                </c:pt>
                <c:pt idx="4254">
                  <c:v>384.8925463593597</c:v>
                </c:pt>
                <c:pt idx="4255">
                  <c:v>387.33909755622358</c:v>
                </c:pt>
                <c:pt idx="4256">
                  <c:v>388.27045511412052</c:v>
                </c:pt>
                <c:pt idx="4257">
                  <c:v>389.15732992298371</c:v>
                </c:pt>
                <c:pt idx="4258">
                  <c:v>389.55767466428875</c:v>
                </c:pt>
                <c:pt idx="4259">
                  <c:v>389.3630626372655</c:v>
                </c:pt>
                <c:pt idx="4260">
                  <c:v>390.00528232644223</c:v>
                </c:pt>
                <c:pt idx="4261">
                  <c:v>390.91717868163693</c:v>
                </c:pt>
                <c:pt idx="4262">
                  <c:v>389.48817036892325</c:v>
                </c:pt>
                <c:pt idx="4263">
                  <c:v>384.19194306207572</c:v>
                </c:pt>
                <c:pt idx="4264">
                  <c:v>385.53198587672165</c:v>
                </c:pt>
                <c:pt idx="4265">
                  <c:v>389.07948511217427</c:v>
                </c:pt>
                <c:pt idx="4266">
                  <c:v>389.39920487085539</c:v>
                </c:pt>
                <c:pt idx="4267">
                  <c:v>388.30937751952501</c:v>
                </c:pt>
                <c:pt idx="4268">
                  <c:v>391.75957074146601</c:v>
                </c:pt>
                <c:pt idx="4269">
                  <c:v>393.32758764491064</c:v>
                </c:pt>
                <c:pt idx="4270">
                  <c:v>392.81047568739166</c:v>
                </c:pt>
                <c:pt idx="4271">
                  <c:v>391.25079929939079</c:v>
                </c:pt>
                <c:pt idx="4272">
                  <c:v>391.95974311211836</c:v>
                </c:pt>
                <c:pt idx="4273">
                  <c:v>392.84939809279615</c:v>
                </c:pt>
                <c:pt idx="4274">
                  <c:v>392.43793266423262</c:v>
                </c:pt>
                <c:pt idx="4275">
                  <c:v>392.89666101364463</c:v>
                </c:pt>
                <c:pt idx="4276">
                  <c:v>396.31071200199568</c:v>
                </c:pt>
                <c:pt idx="4277">
                  <c:v>396.75553949233455</c:v>
                </c:pt>
                <c:pt idx="4278">
                  <c:v>395.47388028579559</c:v>
                </c:pt>
                <c:pt idx="4279">
                  <c:v>396.32739303288332</c:v>
                </c:pt>
                <c:pt idx="4280">
                  <c:v>395.76579832633047</c:v>
                </c:pt>
                <c:pt idx="4281">
                  <c:v>394.31176846728522</c:v>
                </c:pt>
                <c:pt idx="4282">
                  <c:v>392.21551891906319</c:v>
                </c:pt>
                <c:pt idx="4283">
                  <c:v>393.92254441323882</c:v>
                </c:pt>
                <c:pt idx="4284">
                  <c:v>396.68603519696916</c:v>
                </c:pt>
                <c:pt idx="4285">
                  <c:v>396.09941894408473</c:v>
                </c:pt>
                <c:pt idx="4286">
                  <c:v>394.31176846728528</c:v>
                </c:pt>
                <c:pt idx="4287">
                  <c:v>393.83913925880017</c:v>
                </c:pt>
                <c:pt idx="4288">
                  <c:v>394.32288915454376</c:v>
                </c:pt>
                <c:pt idx="4289">
                  <c:v>391.92360087852836</c:v>
                </c:pt>
                <c:pt idx="4290">
                  <c:v>392.79379465650379</c:v>
                </c:pt>
                <c:pt idx="4291">
                  <c:v>392.59084211403666</c:v>
                </c:pt>
                <c:pt idx="4292">
                  <c:v>393.35260919124204</c:v>
                </c:pt>
                <c:pt idx="4293">
                  <c:v>395.84642330895451</c:v>
                </c:pt>
                <c:pt idx="4294">
                  <c:v>397.76752203285565</c:v>
                </c:pt>
                <c:pt idx="4295">
                  <c:v>398.09280213516593</c:v>
                </c:pt>
                <c:pt idx="4296">
                  <c:v>397.73694014289475</c:v>
                </c:pt>
                <c:pt idx="4297">
                  <c:v>396.55536712168202</c:v>
                </c:pt>
                <c:pt idx="4298">
                  <c:v>397.70357808111925</c:v>
                </c:pt>
                <c:pt idx="4299">
                  <c:v>395.60454836108266</c:v>
                </c:pt>
                <c:pt idx="4300">
                  <c:v>397.00575495565022</c:v>
                </c:pt>
                <c:pt idx="4301">
                  <c:v>400.38088353859666</c:v>
                </c:pt>
                <c:pt idx="4302">
                  <c:v>395.86866468347148</c:v>
                </c:pt>
                <c:pt idx="4303">
                  <c:v>395.39047513135716</c:v>
                </c:pt>
                <c:pt idx="4304">
                  <c:v>394.95676832827667</c:v>
                </c:pt>
                <c:pt idx="4305">
                  <c:v>397.23650921626347</c:v>
                </c:pt>
                <c:pt idx="4306">
                  <c:v>399.85543106563375</c:v>
                </c:pt>
                <c:pt idx="4307">
                  <c:v>401.99616336288977</c:v>
                </c:pt>
                <c:pt idx="4308">
                  <c:v>402.67730545747122</c:v>
                </c:pt>
                <c:pt idx="4309">
                  <c:v>402.2880814034246</c:v>
                </c:pt>
                <c:pt idx="4310">
                  <c:v>402.56887875670105</c:v>
                </c:pt>
                <c:pt idx="4311">
                  <c:v>403.13047346325391</c:v>
                </c:pt>
                <c:pt idx="4312">
                  <c:v>402.65506408295414</c:v>
                </c:pt>
                <c:pt idx="4313">
                  <c:v>399.80538797297061</c:v>
                </c:pt>
                <c:pt idx="4314">
                  <c:v>398.50148739191474</c:v>
                </c:pt>
                <c:pt idx="4315">
                  <c:v>401.52909449803388</c:v>
                </c:pt>
                <c:pt idx="4316">
                  <c:v>404.59840418137225</c:v>
                </c:pt>
                <c:pt idx="4317">
                  <c:v>405.01821012537954</c:v>
                </c:pt>
                <c:pt idx="4318">
                  <c:v>404.66512830492303</c:v>
                </c:pt>
                <c:pt idx="4319">
                  <c:v>405.81611943617492</c:v>
                </c:pt>
                <c:pt idx="4320">
                  <c:v>405.24618421417824</c:v>
                </c:pt>
                <c:pt idx="4321">
                  <c:v>404.898662737351</c:v>
                </c:pt>
                <c:pt idx="4322">
                  <c:v>403.45575356556418</c:v>
                </c:pt>
                <c:pt idx="4323">
                  <c:v>402.94976229530369</c:v>
                </c:pt>
                <c:pt idx="4324">
                  <c:v>388.95715755233084</c:v>
                </c:pt>
                <c:pt idx="4325">
                  <c:v>391.12013122410377</c:v>
                </c:pt>
                <c:pt idx="4326">
                  <c:v>390.10536851176829</c:v>
                </c:pt>
                <c:pt idx="4327">
                  <c:v>385.65709360837928</c:v>
                </c:pt>
                <c:pt idx="4328">
                  <c:v>382.02896939030256</c:v>
                </c:pt>
                <c:pt idx="4329">
                  <c:v>387.94795518362452</c:v>
                </c:pt>
                <c:pt idx="4330">
                  <c:v>386.99157607939588</c:v>
                </c:pt>
                <c:pt idx="4331">
                  <c:v>389.74950651949712</c:v>
                </c:pt>
                <c:pt idx="4332">
                  <c:v>390.01640301370037</c:v>
                </c:pt>
                <c:pt idx="4333">
                  <c:v>391.05896744418209</c:v>
                </c:pt>
                <c:pt idx="4334">
                  <c:v>383.0937751953013</c:v>
                </c:pt>
                <c:pt idx="4335">
                  <c:v>385.65709360837917</c:v>
                </c:pt>
                <c:pt idx="4336">
                  <c:v>387.07776140564891</c:v>
                </c:pt>
                <c:pt idx="4337">
                  <c:v>385.59592982845743</c:v>
                </c:pt>
                <c:pt idx="4338">
                  <c:v>389.79676944034532</c:v>
                </c:pt>
                <c:pt idx="4339">
                  <c:v>392.26556201172622</c:v>
                </c:pt>
                <c:pt idx="4340">
                  <c:v>398.96577608495579</c:v>
                </c:pt>
                <c:pt idx="4341">
                  <c:v>398.8267674942249</c:v>
                </c:pt>
                <c:pt idx="4342">
                  <c:v>399.26325446911989</c:v>
                </c:pt>
                <c:pt idx="4343">
                  <c:v>399.64969835135173</c:v>
                </c:pt>
                <c:pt idx="4344">
                  <c:v>397.17812560815628</c:v>
                </c:pt>
                <c:pt idx="4345">
                  <c:v>394.01429008312095</c:v>
                </c:pt>
                <c:pt idx="4346">
                  <c:v>395.48778114486856</c:v>
                </c:pt>
                <c:pt idx="4347">
                  <c:v>395.02349245182734</c:v>
                </c:pt>
                <c:pt idx="4348">
                  <c:v>396.04937585142136</c:v>
                </c:pt>
                <c:pt idx="4349">
                  <c:v>399.72476299034651</c:v>
                </c:pt>
                <c:pt idx="4350">
                  <c:v>400.16959048068532</c:v>
                </c:pt>
                <c:pt idx="4351">
                  <c:v>401.39008590730265</c:v>
                </c:pt>
                <c:pt idx="4352">
                  <c:v>401.62640051154506</c:v>
                </c:pt>
                <c:pt idx="4353">
                  <c:v>402.67730545747077</c:v>
                </c:pt>
                <c:pt idx="4354">
                  <c:v>400.03058188995431</c:v>
                </c:pt>
                <c:pt idx="4355">
                  <c:v>402.5132753204083</c:v>
                </c:pt>
                <c:pt idx="4356">
                  <c:v>403.9172620867904</c:v>
                </c:pt>
                <c:pt idx="4357">
                  <c:v>408.2598904612239</c:v>
                </c:pt>
                <c:pt idx="4358">
                  <c:v>409.09672217742389</c:v>
                </c:pt>
                <c:pt idx="4359">
                  <c:v>409.38029970251495</c:v>
                </c:pt>
                <c:pt idx="4360">
                  <c:v>408.88820929132754</c:v>
                </c:pt>
                <c:pt idx="4361">
                  <c:v>412.6748033028374</c:v>
                </c:pt>
                <c:pt idx="4362">
                  <c:v>411.72398454223804</c:v>
                </c:pt>
                <c:pt idx="4363">
                  <c:v>411.57941560787793</c:v>
                </c:pt>
                <c:pt idx="4364">
                  <c:v>415.7524535016197</c:v>
                </c:pt>
                <c:pt idx="4365">
                  <c:v>415.42717339930937</c:v>
                </c:pt>
                <c:pt idx="4366">
                  <c:v>415.37713030664622</c:v>
                </c:pt>
                <c:pt idx="4367">
                  <c:v>412.12432928354303</c:v>
                </c:pt>
                <c:pt idx="4368">
                  <c:v>413.21693680668795</c:v>
                </c:pt>
                <c:pt idx="4369">
                  <c:v>415.89146209235059</c:v>
                </c:pt>
                <c:pt idx="4370">
                  <c:v>417.69023325640848</c:v>
                </c:pt>
                <c:pt idx="4371">
                  <c:v>418.58822875253009</c:v>
                </c:pt>
                <c:pt idx="4372">
                  <c:v>419.6613750729727</c:v>
                </c:pt>
                <c:pt idx="4373">
                  <c:v>419.1720648335999</c:v>
                </c:pt>
                <c:pt idx="4374">
                  <c:v>420.5232283355042</c:v>
                </c:pt>
                <c:pt idx="4375">
                  <c:v>414.65428563484539</c:v>
                </c:pt>
                <c:pt idx="4376">
                  <c:v>418.65217270426626</c:v>
                </c:pt>
                <c:pt idx="4377">
                  <c:v>417.90152631431937</c:v>
                </c:pt>
                <c:pt idx="4378">
                  <c:v>417.35661263865421</c:v>
                </c:pt>
                <c:pt idx="4379">
                  <c:v>420.95693513858464</c:v>
                </c:pt>
                <c:pt idx="4380">
                  <c:v>420.57049125635268</c:v>
                </c:pt>
                <c:pt idx="4381">
                  <c:v>423.35066307097082</c:v>
                </c:pt>
                <c:pt idx="4382">
                  <c:v>424.00400344740598</c:v>
                </c:pt>
                <c:pt idx="4383">
                  <c:v>423.7315466095734</c:v>
                </c:pt>
                <c:pt idx="4384">
                  <c:v>423.21999499568369</c:v>
                </c:pt>
                <c:pt idx="4385">
                  <c:v>419.11368122549271</c:v>
                </c:pt>
                <c:pt idx="4386">
                  <c:v>421.39898245710879</c:v>
                </c:pt>
                <c:pt idx="4387">
                  <c:v>422.06066334898787</c:v>
                </c:pt>
                <c:pt idx="4388">
                  <c:v>425.43023158830499</c:v>
                </c:pt>
                <c:pt idx="4389">
                  <c:v>425.53865828907504</c:v>
                </c:pt>
                <c:pt idx="4390">
                  <c:v>427.12891656703664</c:v>
                </c:pt>
                <c:pt idx="4391">
                  <c:v>427.91848536238825</c:v>
                </c:pt>
                <c:pt idx="4392">
                  <c:v>425.63040395895757</c:v>
                </c:pt>
                <c:pt idx="4393">
                  <c:v>421.8577108065208</c:v>
                </c:pt>
                <c:pt idx="4394">
                  <c:v>414.44577274874894</c:v>
                </c:pt>
                <c:pt idx="4395">
                  <c:v>419.15816397452664</c:v>
                </c:pt>
                <c:pt idx="4396">
                  <c:v>419.56128888764624</c:v>
                </c:pt>
                <c:pt idx="4397">
                  <c:v>415.07965192248196</c:v>
                </c:pt>
                <c:pt idx="4398">
                  <c:v>421.3823014262212</c:v>
                </c:pt>
                <c:pt idx="4399">
                  <c:v>423.41182685089245</c:v>
                </c:pt>
                <c:pt idx="4400">
                  <c:v>426.1753176346229</c:v>
                </c:pt>
                <c:pt idx="4401">
                  <c:v>425.65820567710387</c:v>
                </c:pt>
                <c:pt idx="4402">
                  <c:v>426.39495120797767</c:v>
                </c:pt>
                <c:pt idx="4403">
                  <c:v>420.59551280268431</c:v>
                </c:pt>
                <c:pt idx="4404">
                  <c:v>423.19497344935218</c:v>
                </c:pt>
                <c:pt idx="4405">
                  <c:v>417.73749617725679</c:v>
                </c:pt>
                <c:pt idx="4406">
                  <c:v>416.39745336261086</c:v>
                </c:pt>
                <c:pt idx="4407">
                  <c:v>415.04907003252106</c:v>
                </c:pt>
                <c:pt idx="4408">
                  <c:v>418.78840112318233</c:v>
                </c:pt>
                <c:pt idx="4409">
                  <c:v>418.61325029886143</c:v>
                </c:pt>
                <c:pt idx="4410">
                  <c:v>417.9571297506115</c:v>
                </c:pt>
                <c:pt idx="4411">
                  <c:v>422.42764602851742</c:v>
                </c:pt>
                <c:pt idx="4412">
                  <c:v>423.94005949566963</c:v>
                </c:pt>
                <c:pt idx="4413">
                  <c:v>424.08740860184452</c:v>
                </c:pt>
                <c:pt idx="4414">
                  <c:v>425.48861519641196</c:v>
                </c:pt>
                <c:pt idx="4415">
                  <c:v>425.88061942227313</c:v>
                </c:pt>
                <c:pt idx="4416">
                  <c:v>419.83930606910803</c:v>
                </c:pt>
                <c:pt idx="4417">
                  <c:v>422.24137451693809</c:v>
                </c:pt>
                <c:pt idx="4418">
                  <c:v>430.28719174844292</c:v>
                </c:pt>
                <c:pt idx="4419">
                  <c:v>431.62167421945963</c:v>
                </c:pt>
                <c:pt idx="4420">
                  <c:v>430.79318301870342</c:v>
                </c:pt>
                <c:pt idx="4421">
                  <c:v>430.75148044148415</c:v>
                </c:pt>
                <c:pt idx="4422">
                  <c:v>429.86182546080641</c:v>
                </c:pt>
                <c:pt idx="4423">
                  <c:v>431.7829241847075</c:v>
                </c:pt>
                <c:pt idx="4424">
                  <c:v>426.50615808056233</c:v>
                </c:pt>
                <c:pt idx="4425">
                  <c:v>428.58294642608212</c:v>
                </c:pt>
                <c:pt idx="4426">
                  <c:v>420.09508187605309</c:v>
                </c:pt>
                <c:pt idx="4427">
                  <c:v>422.05510300535889</c:v>
                </c:pt>
                <c:pt idx="4428">
                  <c:v>412.20495426616702</c:v>
                </c:pt>
                <c:pt idx="4429">
                  <c:v>405.61316689370744</c:v>
                </c:pt>
                <c:pt idx="4430">
                  <c:v>409.77230392837618</c:v>
                </c:pt>
                <c:pt idx="4431">
                  <c:v>404.59006366592797</c:v>
                </c:pt>
                <c:pt idx="4432">
                  <c:v>407.52036475853544</c:v>
                </c:pt>
                <c:pt idx="4433">
                  <c:v>409.29689454807641</c:v>
                </c:pt>
                <c:pt idx="4434">
                  <c:v>398.41530206566119</c:v>
                </c:pt>
                <c:pt idx="4435">
                  <c:v>408.03747671605441</c:v>
                </c:pt>
                <c:pt idx="4436">
                  <c:v>410.55075203646919</c:v>
                </c:pt>
                <c:pt idx="4437">
                  <c:v>416.32794906724564</c:v>
                </c:pt>
                <c:pt idx="4438">
                  <c:v>403.9839862103413</c:v>
                </c:pt>
                <c:pt idx="4439">
                  <c:v>404.13689566014534</c:v>
                </c:pt>
                <c:pt idx="4440">
                  <c:v>403.93672328949276</c:v>
                </c:pt>
                <c:pt idx="4441">
                  <c:v>396.60263004253017</c:v>
                </c:pt>
                <c:pt idx="4442">
                  <c:v>391.08676916232787</c:v>
                </c:pt>
                <c:pt idx="4443">
                  <c:v>392.35730768160829</c:v>
                </c:pt>
                <c:pt idx="4444">
                  <c:v>401.99616336288926</c:v>
                </c:pt>
                <c:pt idx="4445">
                  <c:v>401.8877366621191</c:v>
                </c:pt>
                <c:pt idx="4446">
                  <c:v>402.32422363701414</c:v>
                </c:pt>
                <c:pt idx="4447">
                  <c:v>407.03661486279191</c:v>
                </c:pt>
                <c:pt idx="4448">
                  <c:v>406.60012788789692</c:v>
                </c:pt>
                <c:pt idx="4449">
                  <c:v>411.29027773915766</c:v>
                </c:pt>
                <c:pt idx="4450">
                  <c:v>407.79282159636813</c:v>
                </c:pt>
                <c:pt idx="4451">
                  <c:v>398.22069003863794</c:v>
                </c:pt>
                <c:pt idx="4452">
                  <c:v>406.95042953653876</c:v>
                </c:pt>
                <c:pt idx="4453">
                  <c:v>405.24896438599251</c:v>
                </c:pt>
                <c:pt idx="4454">
                  <c:v>409.79454530289314</c:v>
                </c:pt>
                <c:pt idx="4455">
                  <c:v>414.08435041284883</c:v>
                </c:pt>
                <c:pt idx="4456">
                  <c:v>409.32191609440804</c:v>
                </c:pt>
                <c:pt idx="4457">
                  <c:v>411.06230365035901</c:v>
                </c:pt>
                <c:pt idx="4458">
                  <c:v>404.11187411381383</c:v>
                </c:pt>
                <c:pt idx="4459">
                  <c:v>403.59754232810945</c:v>
                </c:pt>
                <c:pt idx="4460">
                  <c:v>409.09950234923855</c:v>
                </c:pt>
                <c:pt idx="4461">
                  <c:v>409.11896355194085</c:v>
                </c:pt>
                <c:pt idx="4462">
                  <c:v>412.56359643025274</c:v>
                </c:pt>
                <c:pt idx="4463">
                  <c:v>412.64700158469128</c:v>
                </c:pt>
                <c:pt idx="4464">
                  <c:v>410.53407100558155</c:v>
                </c:pt>
                <c:pt idx="4465">
                  <c:v>422.52495204202938</c:v>
                </c:pt>
                <c:pt idx="4466">
                  <c:v>425.09661097055113</c:v>
                </c:pt>
                <c:pt idx="4467">
                  <c:v>422.23859434512372</c:v>
                </c:pt>
                <c:pt idx="4468">
                  <c:v>424.18471461535637</c:v>
                </c:pt>
                <c:pt idx="4469">
                  <c:v>421.95501682003271</c:v>
                </c:pt>
                <c:pt idx="4470">
                  <c:v>421.8104478856726</c:v>
                </c:pt>
                <c:pt idx="4471">
                  <c:v>424.09296894547413</c:v>
                </c:pt>
                <c:pt idx="4472">
                  <c:v>425.74995134698656</c:v>
                </c:pt>
                <c:pt idx="4473">
                  <c:v>424.46273179681839</c:v>
                </c:pt>
                <c:pt idx="4474">
                  <c:v>430.10370040867849</c:v>
                </c:pt>
                <c:pt idx="4475">
                  <c:v>429.98971336427917</c:v>
                </c:pt>
                <c:pt idx="4476">
                  <c:v>428.03247240678797</c:v>
                </c:pt>
                <c:pt idx="4477">
                  <c:v>428.9360282465388</c:v>
                </c:pt>
                <c:pt idx="4478">
                  <c:v>433.03678167310056</c:v>
                </c:pt>
                <c:pt idx="4479">
                  <c:v>431.64391559397689</c:v>
                </c:pt>
                <c:pt idx="4480">
                  <c:v>435.13859156495187</c:v>
                </c:pt>
                <c:pt idx="4481">
                  <c:v>434.39350551863419</c:v>
                </c:pt>
                <c:pt idx="4482">
                  <c:v>432.15268703605204</c:v>
                </c:pt>
                <c:pt idx="4483">
                  <c:v>434.20723400705475</c:v>
                </c:pt>
                <c:pt idx="4484">
                  <c:v>430.56798910171966</c:v>
                </c:pt>
                <c:pt idx="4485">
                  <c:v>427.73777419443843</c:v>
                </c:pt>
                <c:pt idx="4486">
                  <c:v>428.49120075619993</c:v>
                </c:pt>
                <c:pt idx="4487">
                  <c:v>428.16870082570421</c:v>
                </c:pt>
                <c:pt idx="4488">
                  <c:v>417.20092301703585</c:v>
                </c:pt>
                <c:pt idx="4489">
                  <c:v>418.78562095136817</c:v>
                </c:pt>
                <c:pt idx="4490">
                  <c:v>422.4721287775518</c:v>
                </c:pt>
                <c:pt idx="4491">
                  <c:v>421.44068503432857</c:v>
                </c:pt>
                <c:pt idx="4492">
                  <c:v>421.02921960576509</c:v>
                </c:pt>
                <c:pt idx="4493">
                  <c:v>426.83421835468766</c:v>
                </c:pt>
                <c:pt idx="4494">
                  <c:v>428.41891628902005</c:v>
                </c:pt>
                <c:pt idx="4495">
                  <c:v>425.64986516166039</c:v>
                </c:pt>
                <c:pt idx="4496">
                  <c:v>430.75426061329921</c:v>
                </c:pt>
                <c:pt idx="4497">
                  <c:v>419.37223720425271</c:v>
                </c:pt>
                <c:pt idx="4498">
                  <c:v>419.70863799382158</c:v>
                </c:pt>
                <c:pt idx="4499">
                  <c:v>417.62906947648725</c:v>
                </c:pt>
                <c:pt idx="4500">
                  <c:v>422.66118046094601</c:v>
                </c:pt>
                <c:pt idx="4501">
                  <c:v>410.24771330867611</c:v>
                </c:pt>
                <c:pt idx="4502">
                  <c:v>410.01139870443365</c:v>
                </c:pt>
                <c:pt idx="4503">
                  <c:v>404.15357669103338</c:v>
                </c:pt>
                <c:pt idx="4504">
                  <c:v>400.1167672162079</c:v>
                </c:pt>
                <c:pt idx="4505">
                  <c:v>411.75734660401383</c:v>
                </c:pt>
                <c:pt idx="4506">
                  <c:v>408.84650671410867</c:v>
                </c:pt>
                <c:pt idx="4507">
                  <c:v>403.44463287830575</c:v>
                </c:pt>
                <c:pt idx="4508">
                  <c:v>405.55478328560088</c:v>
                </c:pt>
                <c:pt idx="4509">
                  <c:v>398.47368567376856</c:v>
                </c:pt>
                <c:pt idx="4510">
                  <c:v>400.26133615056801</c:v>
                </c:pt>
                <c:pt idx="4511">
                  <c:v>393.88640217964866</c:v>
                </c:pt>
                <c:pt idx="4512">
                  <c:v>400.5393533320298</c:v>
                </c:pt>
                <c:pt idx="4513">
                  <c:v>391.23133809668843</c:v>
                </c:pt>
                <c:pt idx="4514">
                  <c:v>397.07247907920106</c:v>
                </c:pt>
                <c:pt idx="4515">
                  <c:v>408.41279991102823</c:v>
                </c:pt>
                <c:pt idx="4516">
                  <c:v>408.60741193805148</c:v>
                </c:pt>
                <c:pt idx="4517">
                  <c:v>411.78236815034535</c:v>
                </c:pt>
                <c:pt idx="4518">
                  <c:v>409.35805832799832</c:v>
                </c:pt>
                <c:pt idx="4519">
                  <c:v>406.68075287052108</c:v>
                </c:pt>
                <c:pt idx="4520">
                  <c:v>412.85829464260252</c:v>
                </c:pt>
                <c:pt idx="4521">
                  <c:v>419.06641830464469</c:v>
                </c:pt>
                <c:pt idx="4522">
                  <c:v>418.321332258327</c:v>
                </c:pt>
                <c:pt idx="4523">
                  <c:v>421.46292640884553</c:v>
                </c:pt>
                <c:pt idx="4524">
                  <c:v>410.81208818704363</c:v>
                </c:pt>
                <c:pt idx="4525">
                  <c:v>413.29756178931217</c:v>
                </c:pt>
                <c:pt idx="4526">
                  <c:v>413.80355305957266</c:v>
                </c:pt>
                <c:pt idx="4527">
                  <c:v>408.11532152686402</c:v>
                </c:pt>
                <c:pt idx="4528">
                  <c:v>401.98504267563112</c:v>
                </c:pt>
                <c:pt idx="4529">
                  <c:v>404.50943868330438</c:v>
                </c:pt>
                <c:pt idx="4530">
                  <c:v>403.95896466400995</c:v>
                </c:pt>
                <c:pt idx="4531">
                  <c:v>405.93844699601806</c:v>
                </c:pt>
                <c:pt idx="4532">
                  <c:v>412.70538519279859</c:v>
                </c:pt>
                <c:pt idx="4533">
                  <c:v>416.03881119852571</c:v>
                </c:pt>
                <c:pt idx="4534">
                  <c:v>416.37521198809452</c:v>
                </c:pt>
                <c:pt idx="4535">
                  <c:v>410.45622619477251</c:v>
                </c:pt>
                <c:pt idx="4536">
                  <c:v>411.04562261947154</c:v>
                </c:pt>
                <c:pt idx="4537">
                  <c:v>408.2293085712634</c:v>
                </c:pt>
                <c:pt idx="4538">
                  <c:v>402.33534432427308</c:v>
                </c:pt>
                <c:pt idx="4539">
                  <c:v>402.33534432427308</c:v>
                </c:pt>
                <c:pt idx="4540">
                  <c:v>392.45739386693498</c:v>
                </c:pt>
                <c:pt idx="4541">
                  <c:v>393.72237204258624</c:v>
                </c:pt>
                <c:pt idx="4542">
                  <c:v>386.49670549639382</c:v>
                </c:pt>
                <c:pt idx="4543">
                  <c:v>391.76235091328044</c:v>
                </c:pt>
                <c:pt idx="4544">
                  <c:v>394.87614334565268</c:v>
                </c:pt>
                <c:pt idx="4545">
                  <c:v>389.5076315716251</c:v>
                </c:pt>
                <c:pt idx="4546">
                  <c:v>393.74183324528849</c:v>
                </c:pt>
                <c:pt idx="4547">
                  <c:v>383.92782673968662</c:v>
                </c:pt>
                <c:pt idx="4548">
                  <c:v>381.77319358335762</c:v>
                </c:pt>
                <c:pt idx="4549">
                  <c:v>370.66640718395831</c:v>
                </c:pt>
                <c:pt idx="4550">
                  <c:v>368.42558870137611</c:v>
                </c:pt>
                <c:pt idx="4551">
                  <c:v>364.3415163057021</c:v>
                </c:pt>
                <c:pt idx="4552">
                  <c:v>372.15379910477901</c:v>
                </c:pt>
                <c:pt idx="4553">
                  <c:v>375.89869053906961</c:v>
                </c:pt>
                <c:pt idx="4554">
                  <c:v>369.93244182489912</c:v>
                </c:pt>
                <c:pt idx="4555">
                  <c:v>376.42692318384701</c:v>
                </c:pt>
                <c:pt idx="4556">
                  <c:v>378.74280630542381</c:v>
                </c:pt>
                <c:pt idx="4557">
                  <c:v>376.93847479773666</c:v>
                </c:pt>
                <c:pt idx="4558">
                  <c:v>383.26058550417821</c:v>
                </c:pt>
                <c:pt idx="4559">
                  <c:v>387.95073535543901</c:v>
                </c:pt>
                <c:pt idx="4560">
                  <c:v>383.89168450609651</c:v>
                </c:pt>
                <c:pt idx="4561">
                  <c:v>371.6088854291138</c:v>
                </c:pt>
                <c:pt idx="4562">
                  <c:v>368.77589035001796</c:v>
                </c:pt>
                <c:pt idx="4563">
                  <c:v>371.68395006810852</c:v>
                </c:pt>
                <c:pt idx="4564">
                  <c:v>370.1214935082931</c:v>
                </c:pt>
                <c:pt idx="4565">
                  <c:v>372.30114821095373</c:v>
                </c:pt>
                <c:pt idx="4566">
                  <c:v>375.00625538657704</c:v>
                </c:pt>
                <c:pt idx="4567">
                  <c:v>380.10787066640131</c:v>
                </c:pt>
                <c:pt idx="4568">
                  <c:v>375.00625538657704</c:v>
                </c:pt>
                <c:pt idx="4569">
                  <c:v>375.32041480162894</c:v>
                </c:pt>
                <c:pt idx="4570">
                  <c:v>374.98401401206013</c:v>
                </c:pt>
                <c:pt idx="4571">
                  <c:v>378.11170730350545</c:v>
                </c:pt>
                <c:pt idx="4572">
                  <c:v>373.24640662792382</c:v>
                </c:pt>
                <c:pt idx="4573">
                  <c:v>376.18782840778971</c:v>
                </c:pt>
                <c:pt idx="4574">
                  <c:v>381.38396952931095</c:v>
                </c:pt>
                <c:pt idx="4575">
                  <c:v>384.02235258138359</c:v>
                </c:pt>
                <c:pt idx="4576">
                  <c:v>383.66927076092708</c:v>
                </c:pt>
                <c:pt idx="4577">
                  <c:v>380.23853874168833</c:v>
                </c:pt>
                <c:pt idx="4578">
                  <c:v>369.93800216852833</c:v>
                </c:pt>
                <c:pt idx="4579">
                  <c:v>370.13539436736619</c:v>
                </c:pt>
                <c:pt idx="4580">
                  <c:v>368.8592955044565</c:v>
                </c:pt>
                <c:pt idx="4581">
                  <c:v>370.79151491561606</c:v>
                </c:pt>
                <c:pt idx="4582">
                  <c:v>362.62893046789731</c:v>
                </c:pt>
                <c:pt idx="4583">
                  <c:v>359.57908198726125</c:v>
                </c:pt>
                <c:pt idx="4584">
                  <c:v>354.01873835802508</c:v>
                </c:pt>
                <c:pt idx="4585">
                  <c:v>367.16339069753951</c:v>
                </c:pt>
                <c:pt idx="4586">
                  <c:v>363.86054658177318</c:v>
                </c:pt>
                <c:pt idx="4587">
                  <c:v>365.72604186938196</c:v>
                </c:pt>
                <c:pt idx="4588">
                  <c:v>358.12505212821611</c:v>
                </c:pt>
                <c:pt idx="4589">
                  <c:v>354.91673385414674</c:v>
                </c:pt>
                <c:pt idx="4590">
                  <c:v>369.96858405848917</c:v>
                </c:pt>
                <c:pt idx="4591">
                  <c:v>360.98306875364347</c:v>
                </c:pt>
                <c:pt idx="4592">
                  <c:v>369.62662292529114</c:v>
                </c:pt>
                <c:pt idx="4593">
                  <c:v>375.28983291166821</c:v>
                </c:pt>
                <c:pt idx="4594">
                  <c:v>376.15446634601437</c:v>
                </c:pt>
                <c:pt idx="4595">
                  <c:v>372.85718257387737</c:v>
                </c:pt>
                <c:pt idx="4596">
                  <c:v>368.58405849480931</c:v>
                </c:pt>
                <c:pt idx="4597">
                  <c:v>365.65375740220185</c:v>
                </c:pt>
                <c:pt idx="4598">
                  <c:v>367.73332591953624</c:v>
                </c:pt>
                <c:pt idx="4599">
                  <c:v>380.93358169534304</c:v>
                </c:pt>
                <c:pt idx="4600">
                  <c:v>380.19683616446923</c:v>
                </c:pt>
                <c:pt idx="4601">
                  <c:v>380.69170674747124</c:v>
                </c:pt>
                <c:pt idx="4602">
                  <c:v>380.99474547526466</c:v>
                </c:pt>
                <c:pt idx="4603">
                  <c:v>381.58970224359285</c:v>
                </c:pt>
                <c:pt idx="4604">
                  <c:v>379.6435819733602</c:v>
                </c:pt>
                <c:pt idx="4605">
                  <c:v>376.57149211820723</c:v>
                </c:pt>
                <c:pt idx="4606">
                  <c:v>378.25627623786573</c:v>
                </c:pt>
                <c:pt idx="4607">
                  <c:v>370.54963996774438</c:v>
                </c:pt>
                <c:pt idx="4608">
                  <c:v>369.2957824793516</c:v>
                </c:pt>
                <c:pt idx="4609">
                  <c:v>370.99446745808331</c:v>
                </c:pt>
                <c:pt idx="4610">
                  <c:v>379.41282771274689</c:v>
                </c:pt>
                <c:pt idx="4611">
                  <c:v>379.64914231698941</c:v>
                </c:pt>
                <c:pt idx="4612">
                  <c:v>386.53562790179848</c:v>
                </c:pt>
                <c:pt idx="4613">
                  <c:v>385.93511078984102</c:v>
                </c:pt>
                <c:pt idx="4614">
                  <c:v>382.53496066056312</c:v>
                </c:pt>
                <c:pt idx="4615">
                  <c:v>383.64424921459573</c:v>
                </c:pt>
                <c:pt idx="4616">
                  <c:v>386.11582195779118</c:v>
                </c:pt>
                <c:pt idx="4617">
                  <c:v>388.62353693457675</c:v>
                </c:pt>
                <c:pt idx="4618">
                  <c:v>388.21485167782788</c:v>
                </c:pt>
                <c:pt idx="4619">
                  <c:v>386.70521838249033</c:v>
                </c:pt>
                <c:pt idx="4620">
                  <c:v>385.21782646166957</c:v>
                </c:pt>
                <c:pt idx="4621">
                  <c:v>391.82073452138758</c:v>
                </c:pt>
                <c:pt idx="4622">
                  <c:v>393.08849286885351</c:v>
                </c:pt>
                <c:pt idx="4623">
                  <c:v>391.30640273568326</c:v>
                </c:pt>
                <c:pt idx="4624">
                  <c:v>394.30064778002691</c:v>
                </c:pt>
                <c:pt idx="4625">
                  <c:v>387.15838638827302</c:v>
                </c:pt>
                <c:pt idx="4626">
                  <c:v>388.57905418554287</c:v>
                </c:pt>
                <c:pt idx="4627">
                  <c:v>385.9656926798018</c:v>
                </c:pt>
                <c:pt idx="4628">
                  <c:v>390.21935555616744</c:v>
                </c:pt>
                <c:pt idx="4629">
                  <c:v>390.06922627817806</c:v>
                </c:pt>
                <c:pt idx="4630">
                  <c:v>391.63168283799354</c:v>
                </c:pt>
                <c:pt idx="4631">
                  <c:v>395.77691901358912</c:v>
                </c:pt>
                <c:pt idx="4632">
                  <c:v>396.27178959659119</c:v>
                </c:pt>
                <c:pt idx="4633">
                  <c:v>396.62765158886242</c:v>
                </c:pt>
                <c:pt idx="4634">
                  <c:v>392.94948427812272</c:v>
                </c:pt>
                <c:pt idx="4635">
                  <c:v>386.64127443075427</c:v>
                </c:pt>
                <c:pt idx="4636">
                  <c:v>387.65325697127525</c:v>
                </c:pt>
                <c:pt idx="4637">
                  <c:v>382.53218048874874</c:v>
                </c:pt>
                <c:pt idx="4638">
                  <c:v>385.15110233811902</c:v>
                </c:pt>
                <c:pt idx="4639">
                  <c:v>386.67741666434438</c:v>
                </c:pt>
                <c:pt idx="4640">
                  <c:v>388.74030415079102</c:v>
                </c:pt>
                <c:pt idx="4641">
                  <c:v>389.32970057549005</c:v>
                </c:pt>
                <c:pt idx="4642">
                  <c:v>385.24006783618682</c:v>
                </c:pt>
                <c:pt idx="4643">
                  <c:v>383.01037004086311</c:v>
                </c:pt>
                <c:pt idx="4644">
                  <c:v>382.8852623092053</c:v>
                </c:pt>
                <c:pt idx="4645">
                  <c:v>390.35002363145492</c:v>
                </c:pt>
                <c:pt idx="4646">
                  <c:v>378.29241847145619</c:v>
                </c:pt>
                <c:pt idx="4647">
                  <c:v>378.59267702743495</c:v>
                </c:pt>
                <c:pt idx="4648">
                  <c:v>377.66965998498176</c:v>
                </c:pt>
                <c:pt idx="4649">
                  <c:v>371.28916567043319</c:v>
                </c:pt>
                <c:pt idx="4650">
                  <c:v>372.50688092523586</c:v>
                </c:pt>
                <c:pt idx="4651">
                  <c:v>378.11170730350602</c:v>
                </c:pt>
                <c:pt idx="4652">
                  <c:v>378.14228919346687</c:v>
                </c:pt>
                <c:pt idx="4653">
                  <c:v>375.58175095220361</c:v>
                </c:pt>
                <c:pt idx="4654">
                  <c:v>371.93416553142458</c:v>
                </c:pt>
                <c:pt idx="4655">
                  <c:v>373.32981178236292</c:v>
                </c:pt>
                <c:pt idx="4656">
                  <c:v>366.40718396396392</c:v>
                </c:pt>
                <c:pt idx="4657">
                  <c:v>366.42664516666622</c:v>
                </c:pt>
                <c:pt idx="4658">
                  <c:v>365.39520142344287</c:v>
                </c:pt>
                <c:pt idx="4659">
                  <c:v>367.53037337706962</c:v>
                </c:pt>
                <c:pt idx="4660">
                  <c:v>356.73774639272216</c:v>
                </c:pt>
                <c:pt idx="4661">
                  <c:v>355.41160443714932</c:v>
                </c:pt>
                <c:pt idx="4662">
                  <c:v>355.8619922711174</c:v>
                </c:pt>
                <c:pt idx="4663">
                  <c:v>357.22705663209496</c:v>
                </c:pt>
                <c:pt idx="4664">
                  <c:v>350.72423475770319</c:v>
                </c:pt>
                <c:pt idx="4665">
                  <c:v>351.10789846812048</c:v>
                </c:pt>
                <c:pt idx="4666">
                  <c:v>348.16369651643987</c:v>
                </c:pt>
                <c:pt idx="4667">
                  <c:v>354.11048402790806</c:v>
                </c:pt>
                <c:pt idx="4668">
                  <c:v>346.04520559370093</c:v>
                </c:pt>
                <c:pt idx="4669">
                  <c:v>348.46395507241868</c:v>
                </c:pt>
                <c:pt idx="4670">
                  <c:v>344.5995162500995</c:v>
                </c:pt>
                <c:pt idx="4671">
                  <c:v>341.48850398954181</c:v>
                </c:pt>
                <c:pt idx="4672">
                  <c:v>337.76585392976818</c:v>
                </c:pt>
                <c:pt idx="4673">
                  <c:v>346.23147710528031</c:v>
                </c:pt>
                <c:pt idx="4674">
                  <c:v>350.39061413994904</c:v>
                </c:pt>
                <c:pt idx="4675">
                  <c:v>350.49070032527533</c:v>
                </c:pt>
                <c:pt idx="4676">
                  <c:v>350.30164864188129</c:v>
                </c:pt>
                <c:pt idx="4677">
                  <c:v>355.02794072673214</c:v>
                </c:pt>
                <c:pt idx="4678">
                  <c:v>356.47084989851896</c:v>
                </c:pt>
                <c:pt idx="4679">
                  <c:v>348.22764046817622</c:v>
                </c:pt>
                <c:pt idx="4680">
                  <c:v>349.67889015540692</c:v>
                </c:pt>
                <c:pt idx="4681">
                  <c:v>343.17606828101515</c:v>
                </c:pt>
                <c:pt idx="4682">
                  <c:v>351.19130362255919</c:v>
                </c:pt>
                <c:pt idx="4683">
                  <c:v>357.04634546414491</c:v>
                </c:pt>
                <c:pt idx="4684">
                  <c:v>352.35341544106961</c:v>
                </c:pt>
                <c:pt idx="4685">
                  <c:v>350.3878339681346</c:v>
                </c:pt>
                <c:pt idx="4686">
                  <c:v>347.24623981761619</c:v>
                </c:pt>
                <c:pt idx="4687">
                  <c:v>357.21871611665142</c:v>
                </c:pt>
                <c:pt idx="4688">
                  <c:v>358.41697016875179</c:v>
                </c:pt>
                <c:pt idx="4689">
                  <c:v>351.98921293335468</c:v>
                </c:pt>
                <c:pt idx="4690">
                  <c:v>360.39923267257444</c:v>
                </c:pt>
                <c:pt idx="4691">
                  <c:v>362.90138730573079</c:v>
                </c:pt>
                <c:pt idx="4692">
                  <c:v>358.52817704133651</c:v>
                </c:pt>
                <c:pt idx="4693">
                  <c:v>357.48283243904012</c:v>
                </c:pt>
                <c:pt idx="4694">
                  <c:v>359.45675442741907</c:v>
                </c:pt>
                <c:pt idx="4695">
                  <c:v>360.9219049737228</c:v>
                </c:pt>
                <c:pt idx="4696">
                  <c:v>355.47276821707129</c:v>
                </c:pt>
                <c:pt idx="4697">
                  <c:v>352.16158358586114</c:v>
                </c:pt>
                <c:pt idx="4698">
                  <c:v>354.34401846033637</c:v>
                </c:pt>
                <c:pt idx="4699">
                  <c:v>355.22811309738495</c:v>
                </c:pt>
                <c:pt idx="4700">
                  <c:v>359.253801884952</c:v>
                </c:pt>
                <c:pt idx="4701">
                  <c:v>352.20328616308041</c:v>
                </c:pt>
                <c:pt idx="4702">
                  <c:v>353.50162640050706</c:v>
                </c:pt>
                <c:pt idx="4703">
                  <c:v>356.32350079234442</c:v>
                </c:pt>
                <c:pt idx="4704">
                  <c:v>361.61138758374801</c:v>
                </c:pt>
                <c:pt idx="4705">
                  <c:v>356.64878089465464</c:v>
                </c:pt>
                <c:pt idx="4706">
                  <c:v>355.18919069198012</c:v>
                </c:pt>
                <c:pt idx="4707">
                  <c:v>354.4663460201794</c:v>
                </c:pt>
                <c:pt idx="4708">
                  <c:v>343.85999054741131</c:v>
                </c:pt>
                <c:pt idx="4709">
                  <c:v>345.38352470182207</c:v>
                </c:pt>
                <c:pt idx="4710">
                  <c:v>352.46740248546899</c:v>
                </c:pt>
                <c:pt idx="4711">
                  <c:v>340.43481887180189</c:v>
                </c:pt>
                <c:pt idx="4712">
                  <c:v>342.52828824820932</c:v>
                </c:pt>
                <c:pt idx="4713">
                  <c:v>347.25736050487473</c:v>
                </c:pt>
                <c:pt idx="4714">
                  <c:v>347.99410603574853</c:v>
                </c:pt>
                <c:pt idx="4715">
                  <c:v>331.59109232950169</c:v>
                </c:pt>
                <c:pt idx="4716">
                  <c:v>337.39887125023887</c:v>
                </c:pt>
                <c:pt idx="4717">
                  <c:v>321.49628847062337</c:v>
                </c:pt>
                <c:pt idx="4718">
                  <c:v>335.43050960548931</c:v>
                </c:pt>
                <c:pt idx="4719">
                  <c:v>348.93380410908946</c:v>
                </c:pt>
                <c:pt idx="4720">
                  <c:v>335.59175957073717</c:v>
                </c:pt>
                <c:pt idx="4721">
                  <c:v>330.34557535655284</c:v>
                </c:pt>
                <c:pt idx="4722">
                  <c:v>329.69223498011752</c:v>
                </c:pt>
                <c:pt idx="4723">
                  <c:v>336.17281547999232</c:v>
                </c:pt>
                <c:pt idx="4724">
                  <c:v>337.23762128499106</c:v>
                </c:pt>
                <c:pt idx="4725">
                  <c:v>307.59542939753283</c:v>
                </c:pt>
                <c:pt idx="4726">
                  <c:v>324.26811976979758</c:v>
                </c:pt>
                <c:pt idx="4727">
                  <c:v>322.79462870805003</c:v>
                </c:pt>
                <c:pt idx="4728">
                  <c:v>309.78898495926654</c:v>
                </c:pt>
                <c:pt idx="4729">
                  <c:v>305.6048263782663</c:v>
                </c:pt>
                <c:pt idx="4730">
                  <c:v>293.83357891517323</c:v>
                </c:pt>
                <c:pt idx="4731">
                  <c:v>276.96905668769978</c:v>
                </c:pt>
                <c:pt idx="4732">
                  <c:v>273.83024270899591</c:v>
                </c:pt>
                <c:pt idx="4733">
                  <c:v>252.97339375573083</c:v>
                </c:pt>
                <c:pt idx="4734">
                  <c:v>249.99860991408949</c:v>
                </c:pt>
                <c:pt idx="4735">
                  <c:v>278.94853901970782</c:v>
                </c:pt>
                <c:pt idx="4736">
                  <c:v>277.46392727070179</c:v>
                </c:pt>
                <c:pt idx="4737">
                  <c:v>252.39511801829033</c:v>
                </c:pt>
                <c:pt idx="4738">
                  <c:v>263.12380105090165</c:v>
                </c:pt>
                <c:pt idx="4739">
                  <c:v>261.48906002390618</c:v>
                </c:pt>
                <c:pt idx="4740">
                  <c:v>273.95813061246844</c:v>
                </c:pt>
                <c:pt idx="4741">
                  <c:v>265.5203091551025</c:v>
                </c:pt>
                <c:pt idx="4742">
                  <c:v>249.32024799132276</c:v>
                </c:pt>
                <c:pt idx="4743">
                  <c:v>252.47018265728511</c:v>
                </c:pt>
                <c:pt idx="4744">
                  <c:v>243.75712419027195</c:v>
                </c:pt>
                <c:pt idx="4745">
                  <c:v>236.01434568656049</c:v>
                </c:pt>
                <c:pt idx="4746">
                  <c:v>261.47793933664775</c:v>
                </c:pt>
                <c:pt idx="4747">
                  <c:v>258.58100030581568</c:v>
                </c:pt>
                <c:pt idx="4748">
                  <c:v>265.25341266089919</c:v>
                </c:pt>
                <c:pt idx="4749">
                  <c:v>269.32914454112927</c:v>
                </c:pt>
                <c:pt idx="4750">
                  <c:v>268.64800244654782</c:v>
                </c:pt>
                <c:pt idx="4751">
                  <c:v>279.61578025521629</c:v>
                </c:pt>
                <c:pt idx="4752">
                  <c:v>264.88642998136959</c:v>
                </c:pt>
                <c:pt idx="4753">
                  <c:v>251.57218716116347</c:v>
                </c:pt>
                <c:pt idx="4754">
                  <c:v>258.8312157691314</c:v>
                </c:pt>
                <c:pt idx="4755">
                  <c:v>255.55617337151128</c:v>
                </c:pt>
                <c:pt idx="4756">
                  <c:v>249.92354527509499</c:v>
                </c:pt>
                <c:pt idx="4757">
                  <c:v>236.95404375990148</c:v>
                </c:pt>
                <c:pt idx="4758">
                  <c:v>253.35427729433371</c:v>
                </c:pt>
                <c:pt idx="4759">
                  <c:v>242.78962439878489</c:v>
                </c:pt>
                <c:pt idx="4760">
                  <c:v>236.5231171286357</c:v>
                </c:pt>
                <c:pt idx="4761">
                  <c:v>238.85012093747108</c:v>
                </c:pt>
                <c:pt idx="4762">
                  <c:v>224.24309822346754</c:v>
                </c:pt>
                <c:pt idx="4763">
                  <c:v>209.19124801912508</c:v>
                </c:pt>
                <c:pt idx="4764">
                  <c:v>222.42208568489261</c:v>
                </c:pt>
                <c:pt idx="4765">
                  <c:v>236.81781534098519</c:v>
                </c:pt>
                <c:pt idx="4766">
                  <c:v>238.3691512135421</c:v>
                </c:pt>
                <c:pt idx="4767">
                  <c:v>246.79029164002037</c:v>
                </c:pt>
                <c:pt idx="4768">
                  <c:v>249.17011871333352</c:v>
                </c:pt>
                <c:pt idx="4769">
                  <c:v>226.92040368094479</c:v>
                </c:pt>
                <c:pt idx="4770">
                  <c:v>235.98376379659982</c:v>
                </c:pt>
                <c:pt idx="4771">
                  <c:v>242.08068058605735</c:v>
                </c:pt>
                <c:pt idx="4772">
                  <c:v>234.98568211515195</c:v>
                </c:pt>
                <c:pt idx="4773">
                  <c:v>243.56251216324887</c:v>
                </c:pt>
                <c:pt idx="4774">
                  <c:v>252.91222997580957</c:v>
                </c:pt>
                <c:pt idx="4775">
                  <c:v>247.06552864966764</c:v>
                </c:pt>
                <c:pt idx="4776">
                  <c:v>250.00417025771901</c:v>
                </c:pt>
                <c:pt idx="4777">
                  <c:v>242.87302955322357</c:v>
                </c:pt>
                <c:pt idx="4778">
                  <c:v>244.58005504739904</c:v>
                </c:pt>
                <c:pt idx="4779">
                  <c:v>241.47738330228523</c:v>
                </c:pt>
                <c:pt idx="4780">
                  <c:v>253.8797297672966</c:v>
                </c:pt>
                <c:pt idx="4781">
                  <c:v>251.44429925769114</c:v>
                </c:pt>
                <c:pt idx="4782">
                  <c:v>246.1230504045121</c:v>
                </c:pt>
                <c:pt idx="4783">
                  <c:v>246.84589507631281</c:v>
                </c:pt>
                <c:pt idx="4784">
                  <c:v>242.32811587755842</c:v>
                </c:pt>
                <c:pt idx="4785">
                  <c:v>239.97331035057687</c:v>
                </c:pt>
                <c:pt idx="4786">
                  <c:v>241.36061608607133</c:v>
                </c:pt>
                <c:pt idx="4787">
                  <c:v>242.65339597986878</c:v>
                </c:pt>
                <c:pt idx="4788">
                  <c:v>241.71369790652787</c:v>
                </c:pt>
                <c:pt idx="4789">
                  <c:v>247.61322249714746</c:v>
                </c:pt>
                <c:pt idx="4790">
                  <c:v>251.11901915538093</c:v>
                </c:pt>
                <c:pt idx="4791">
                  <c:v>259.05640968611561</c:v>
                </c:pt>
                <c:pt idx="4792">
                  <c:v>257.84703494675676</c:v>
                </c:pt>
                <c:pt idx="4793">
                  <c:v>259.86265951235487</c:v>
                </c:pt>
                <c:pt idx="4794">
                  <c:v>252.06427757235105</c:v>
                </c:pt>
                <c:pt idx="4795">
                  <c:v>252.92057049125344</c:v>
                </c:pt>
                <c:pt idx="4796">
                  <c:v>247.5325975145235</c:v>
                </c:pt>
                <c:pt idx="4797">
                  <c:v>241.94723233895573</c:v>
                </c:pt>
                <c:pt idx="4798">
                  <c:v>242.37259862659232</c:v>
                </c:pt>
                <c:pt idx="4799">
                  <c:v>234.26283744335132</c:v>
                </c:pt>
                <c:pt idx="4800">
                  <c:v>234.57421668658853</c:v>
                </c:pt>
                <c:pt idx="4801">
                  <c:v>236.34796630431489</c:v>
                </c:pt>
                <c:pt idx="4802">
                  <c:v>223.86499485667957</c:v>
                </c:pt>
                <c:pt idx="4803">
                  <c:v>233.6011565514722</c:v>
                </c:pt>
                <c:pt idx="4804">
                  <c:v>230.05921765964871</c:v>
                </c:pt>
                <c:pt idx="4805">
                  <c:v>231.2963941171538</c:v>
                </c:pt>
                <c:pt idx="4806">
                  <c:v>232.58083349550736</c:v>
                </c:pt>
                <c:pt idx="4807">
                  <c:v>235.12191053406832</c:v>
                </c:pt>
                <c:pt idx="4808">
                  <c:v>243.0120381439545</c:v>
                </c:pt>
                <c:pt idx="4809">
                  <c:v>234.96344074063506</c:v>
                </c:pt>
                <c:pt idx="4810">
                  <c:v>229.6088298256806</c:v>
                </c:pt>
                <c:pt idx="4811">
                  <c:v>229.48650226583746</c:v>
                </c:pt>
                <c:pt idx="4812">
                  <c:v>233.12018682754331</c:v>
                </c:pt>
                <c:pt idx="4813">
                  <c:v>231.37423892796315</c:v>
                </c:pt>
                <c:pt idx="4814">
                  <c:v>235.16083293947298</c:v>
                </c:pt>
                <c:pt idx="4815">
                  <c:v>241.48572381772917</c:v>
                </c:pt>
                <c:pt idx="4816">
                  <c:v>241.84436598181492</c:v>
                </c:pt>
                <c:pt idx="4817">
                  <c:v>229.96469181795172</c:v>
                </c:pt>
                <c:pt idx="4818">
                  <c:v>231.79404487197041</c:v>
                </c:pt>
                <c:pt idx="4819">
                  <c:v>232.19716978509004</c:v>
                </c:pt>
                <c:pt idx="4820">
                  <c:v>229.87572631988391</c:v>
                </c:pt>
                <c:pt idx="4821">
                  <c:v>219.40281909421745</c:v>
                </c:pt>
                <c:pt idx="4822">
                  <c:v>219.19430620812111</c:v>
                </c:pt>
                <c:pt idx="4823">
                  <c:v>216.55870332786316</c:v>
                </c:pt>
                <c:pt idx="4824">
                  <c:v>214.08713058466765</c:v>
                </c:pt>
                <c:pt idx="4825">
                  <c:v>206.65851149600809</c:v>
                </c:pt>
                <c:pt idx="4826">
                  <c:v>214.94620367538468</c:v>
                </c:pt>
                <c:pt idx="4827">
                  <c:v>212.65534210013936</c:v>
                </c:pt>
                <c:pt idx="4828">
                  <c:v>209.29967471989531</c:v>
                </c:pt>
                <c:pt idx="4829">
                  <c:v>204.36764992076277</c:v>
                </c:pt>
                <c:pt idx="4830">
                  <c:v>194.84000111206649</c:v>
                </c:pt>
                <c:pt idx="4831">
                  <c:v>193.59170396730298</c:v>
                </c:pt>
                <c:pt idx="4832">
                  <c:v>198.1901081486813</c:v>
                </c:pt>
                <c:pt idx="4833">
                  <c:v>189.76062720675915</c:v>
                </c:pt>
                <c:pt idx="4834">
                  <c:v>189.99138146737243</c:v>
                </c:pt>
                <c:pt idx="4835">
                  <c:v>188.08696377435902</c:v>
                </c:pt>
                <c:pt idx="4836">
                  <c:v>200.06116377991924</c:v>
                </c:pt>
                <c:pt idx="4837">
                  <c:v>200.55047401929204</c:v>
                </c:pt>
                <c:pt idx="4838">
                  <c:v>208.71861881064004</c:v>
                </c:pt>
                <c:pt idx="4839">
                  <c:v>210.33389863493315</c:v>
                </c:pt>
                <c:pt idx="4840">
                  <c:v>209.59437293224474</c:v>
                </c:pt>
                <c:pt idx="4841">
                  <c:v>216.33072923906442</c:v>
                </c:pt>
                <c:pt idx="4842">
                  <c:v>220.84294809418964</c:v>
                </c:pt>
                <c:pt idx="4843">
                  <c:v>217.97659095331835</c:v>
                </c:pt>
                <c:pt idx="4844">
                  <c:v>213.6673246406603</c:v>
                </c:pt>
                <c:pt idx="4845">
                  <c:v>228.7858989685536</c:v>
                </c:pt>
                <c:pt idx="4846">
                  <c:v>224.11521031999516</c:v>
                </c:pt>
                <c:pt idx="4847">
                  <c:v>226.27262364813885</c:v>
                </c:pt>
                <c:pt idx="4848">
                  <c:v>231.54938975228401</c:v>
                </c:pt>
                <c:pt idx="4849">
                  <c:v>226.84533904195015</c:v>
                </c:pt>
                <c:pt idx="4850">
                  <c:v>218.94687091662007</c:v>
                </c:pt>
                <c:pt idx="4851">
                  <c:v>221.82156857293521</c:v>
                </c:pt>
                <c:pt idx="4852">
                  <c:v>225.49417554004575</c:v>
                </c:pt>
                <c:pt idx="4853">
                  <c:v>231.97197586810594</c:v>
                </c:pt>
                <c:pt idx="4854">
                  <c:v>234.22947538157584</c:v>
                </c:pt>
                <c:pt idx="4855">
                  <c:v>232.27779476771394</c:v>
                </c:pt>
                <c:pt idx="4856">
                  <c:v>226.73691234118002</c:v>
                </c:pt>
                <c:pt idx="4857">
                  <c:v>229.40865745502805</c:v>
                </c:pt>
                <c:pt idx="4858">
                  <c:v>238.13839695292893</c:v>
                </c:pt>
                <c:pt idx="4859">
                  <c:v>238.74169423670111</c:v>
                </c:pt>
                <c:pt idx="4860">
                  <c:v>233.95145820011408</c:v>
                </c:pt>
                <c:pt idx="4861">
                  <c:v>236.88731963635084</c:v>
                </c:pt>
                <c:pt idx="4862">
                  <c:v>240.56826711890525</c:v>
                </c:pt>
                <c:pt idx="4863">
                  <c:v>241.76374099919104</c:v>
                </c:pt>
                <c:pt idx="4864">
                  <c:v>231.41872167699705</c:v>
                </c:pt>
                <c:pt idx="4865">
                  <c:v>236.3368456170565</c:v>
                </c:pt>
                <c:pt idx="4866">
                  <c:v>234.52139342211083</c:v>
                </c:pt>
                <c:pt idx="4867">
                  <c:v>236.84839723094618</c:v>
                </c:pt>
                <c:pt idx="4868">
                  <c:v>240.82682309766474</c:v>
                </c:pt>
                <c:pt idx="4869">
                  <c:v>238.40251327531774</c:v>
                </c:pt>
                <c:pt idx="4870">
                  <c:v>237.74917289888251</c:v>
                </c:pt>
                <c:pt idx="4871">
                  <c:v>242.88693041229681</c:v>
                </c:pt>
                <c:pt idx="4872">
                  <c:v>242.65617615168347</c:v>
                </c:pt>
                <c:pt idx="4873">
                  <c:v>243.96563707636858</c:v>
                </c:pt>
                <c:pt idx="4874">
                  <c:v>252.22830770941363</c:v>
                </c:pt>
                <c:pt idx="4875">
                  <c:v>251.271928605185</c:v>
                </c:pt>
                <c:pt idx="4876">
                  <c:v>255.64513886957928</c:v>
                </c:pt>
                <c:pt idx="4877">
                  <c:v>252.2700102866329</c:v>
                </c:pt>
                <c:pt idx="4878">
                  <c:v>258.34190552975883</c:v>
                </c:pt>
                <c:pt idx="4879">
                  <c:v>252.78434207233724</c:v>
                </c:pt>
                <c:pt idx="4880">
                  <c:v>252.53690678083623</c:v>
                </c:pt>
                <c:pt idx="4881">
                  <c:v>245.74494703772419</c:v>
                </c:pt>
                <c:pt idx="4882">
                  <c:v>248.28880424809981</c:v>
                </c:pt>
                <c:pt idx="4883">
                  <c:v>245.45580916900394</c:v>
                </c:pt>
                <c:pt idx="4884">
                  <c:v>252.91501014762437</c:v>
                </c:pt>
                <c:pt idx="4885">
                  <c:v>252.47574300091472</c:v>
                </c:pt>
                <c:pt idx="4886">
                  <c:v>251.1801829353027</c:v>
                </c:pt>
                <c:pt idx="4887">
                  <c:v>246.97100280797088</c:v>
                </c:pt>
                <c:pt idx="4888">
                  <c:v>246.60123995662664</c:v>
                </c:pt>
                <c:pt idx="4889">
                  <c:v>253.08738080013072</c:v>
                </c:pt>
                <c:pt idx="4890">
                  <c:v>248.2860240762852</c:v>
                </c:pt>
                <c:pt idx="4891">
                  <c:v>252.11432066501436</c:v>
                </c:pt>
                <c:pt idx="4892">
                  <c:v>255.53671216880926</c:v>
                </c:pt>
                <c:pt idx="4893">
                  <c:v>262.13405988489808</c:v>
                </c:pt>
                <c:pt idx="4894">
                  <c:v>262.65395201423166</c:v>
                </c:pt>
                <c:pt idx="4895">
                  <c:v>259.04528899885736</c:v>
                </c:pt>
                <c:pt idx="4896">
                  <c:v>262.02007284049876</c:v>
                </c:pt>
                <c:pt idx="4897">
                  <c:v>261.36117212043422</c:v>
                </c:pt>
                <c:pt idx="4898">
                  <c:v>261.09705579804552</c:v>
                </c:pt>
                <c:pt idx="4899">
                  <c:v>262.01173232505488</c:v>
                </c:pt>
                <c:pt idx="4900">
                  <c:v>261.09983596986012</c:v>
                </c:pt>
                <c:pt idx="4901">
                  <c:v>262.69565459145093</c:v>
                </c:pt>
                <c:pt idx="4902">
                  <c:v>263.06263727098053</c:v>
                </c:pt>
                <c:pt idx="4903">
                  <c:v>256.81003085990437</c:v>
                </c:pt>
                <c:pt idx="4904">
                  <c:v>253.54332897772812</c:v>
                </c:pt>
                <c:pt idx="4905">
                  <c:v>253.19302732908628</c:v>
                </c:pt>
                <c:pt idx="4906">
                  <c:v>255.32263893908376</c:v>
                </c:pt>
                <c:pt idx="4907">
                  <c:v>256.11776807806456</c:v>
                </c:pt>
                <c:pt idx="4908">
                  <c:v>248.28046373265607</c:v>
                </c:pt>
                <c:pt idx="4909">
                  <c:v>248.85317912646744</c:v>
                </c:pt>
                <c:pt idx="4910">
                  <c:v>250.47679946620445</c:v>
                </c:pt>
                <c:pt idx="4911">
                  <c:v>255.84809141204664</c:v>
                </c:pt>
                <c:pt idx="4912">
                  <c:v>255.46998804525856</c:v>
                </c:pt>
                <c:pt idx="4913">
                  <c:v>257.78587116683548</c:v>
                </c:pt>
                <c:pt idx="4914">
                  <c:v>255.58675526147255</c:v>
                </c:pt>
                <c:pt idx="4915">
                  <c:v>256.70160415913443</c:v>
                </c:pt>
                <c:pt idx="4916">
                  <c:v>249.22016180599707</c:v>
                </c:pt>
                <c:pt idx="4917">
                  <c:v>249.85960132335921</c:v>
                </c:pt>
                <c:pt idx="4918">
                  <c:v>244.94147738329974</c:v>
                </c:pt>
                <c:pt idx="4919">
                  <c:v>244.53279212655085</c:v>
                </c:pt>
                <c:pt idx="4920">
                  <c:v>245.4002057327117</c:v>
                </c:pt>
                <c:pt idx="4921">
                  <c:v>244.41324473852228</c:v>
                </c:pt>
                <c:pt idx="4922">
                  <c:v>250.50738135616521</c:v>
                </c:pt>
                <c:pt idx="4923">
                  <c:v>251.83908365536726</c:v>
                </c:pt>
                <c:pt idx="4924">
                  <c:v>259.30106480580224</c:v>
                </c:pt>
                <c:pt idx="4925">
                  <c:v>261.5418832883845</c:v>
                </c:pt>
                <c:pt idx="4926">
                  <c:v>261.44179710305826</c:v>
                </c:pt>
                <c:pt idx="4927">
                  <c:v>264.43048180377275</c:v>
                </c:pt>
                <c:pt idx="4928">
                  <c:v>265.38964107981599</c:v>
                </c:pt>
                <c:pt idx="4929">
                  <c:v>265.24785231727049</c:v>
                </c:pt>
                <c:pt idx="4930">
                  <c:v>271.42539408935193</c:v>
                </c:pt>
                <c:pt idx="4931">
                  <c:v>272.25110511829342</c:v>
                </c:pt>
                <c:pt idx="4932">
                  <c:v>273.06291528816189</c:v>
                </c:pt>
                <c:pt idx="4933">
                  <c:v>272.35119130361966</c:v>
                </c:pt>
                <c:pt idx="4934">
                  <c:v>271.10845450248536</c:v>
                </c:pt>
                <c:pt idx="4935">
                  <c:v>274.33345380744237</c:v>
                </c:pt>
                <c:pt idx="4936">
                  <c:v>274.5364063499095</c:v>
                </c:pt>
                <c:pt idx="4937">
                  <c:v>278.74836664905592</c:v>
                </c:pt>
                <c:pt idx="4938">
                  <c:v>279.58797853707063</c:v>
                </c:pt>
                <c:pt idx="4939">
                  <c:v>278.77338819538755</c:v>
                </c:pt>
                <c:pt idx="4940">
                  <c:v>277.20537129194292</c:v>
                </c:pt>
                <c:pt idx="4941">
                  <c:v>280.93080152353122</c:v>
                </c:pt>
                <c:pt idx="4942">
                  <c:v>279.99110345019028</c:v>
                </c:pt>
                <c:pt idx="4943">
                  <c:v>276.44638438655215</c:v>
                </c:pt>
                <c:pt idx="4944">
                  <c:v>279.6324612861045</c:v>
                </c:pt>
                <c:pt idx="4945">
                  <c:v>281.5563401818203</c:v>
                </c:pt>
                <c:pt idx="4946">
                  <c:v>279.15427173399024</c:v>
                </c:pt>
                <c:pt idx="4947">
                  <c:v>272.3817731935805</c:v>
                </c:pt>
                <c:pt idx="4948">
                  <c:v>275.14526397731095</c:v>
                </c:pt>
                <c:pt idx="4949">
                  <c:v>277.03300063943669</c:v>
                </c:pt>
                <c:pt idx="4950">
                  <c:v>280.066168089185</c:v>
                </c:pt>
                <c:pt idx="4951">
                  <c:v>285.28177041340859</c:v>
                </c:pt>
                <c:pt idx="4952">
                  <c:v>285.12608079178995</c:v>
                </c:pt>
                <c:pt idx="4953">
                  <c:v>285.80166254274218</c:v>
                </c:pt>
                <c:pt idx="4954">
                  <c:v>285.83502460451757</c:v>
                </c:pt>
                <c:pt idx="4955">
                  <c:v>286.6301537434984</c:v>
                </c:pt>
                <c:pt idx="4956">
                  <c:v>286.06021852150167</c:v>
                </c:pt>
                <c:pt idx="4957">
                  <c:v>283.74989574355402</c:v>
                </c:pt>
                <c:pt idx="4958">
                  <c:v>277.47226778614629</c:v>
                </c:pt>
                <c:pt idx="4959">
                  <c:v>276.55759125913687</c:v>
                </c:pt>
                <c:pt idx="4960">
                  <c:v>278.91795712974766</c:v>
                </c:pt>
                <c:pt idx="4961">
                  <c:v>282.57666323778511</c:v>
                </c:pt>
                <c:pt idx="4962">
                  <c:v>285.07603769912691</c:v>
                </c:pt>
                <c:pt idx="4963">
                  <c:v>287.29461480719215</c:v>
                </c:pt>
                <c:pt idx="4964">
                  <c:v>290.28885985153596</c:v>
                </c:pt>
                <c:pt idx="4965">
                  <c:v>289.89685562567479</c:v>
                </c:pt>
                <c:pt idx="4966">
                  <c:v>291.73454919513728</c:v>
                </c:pt>
                <c:pt idx="4967">
                  <c:v>292.6492257221467</c:v>
                </c:pt>
                <c:pt idx="4968">
                  <c:v>297.1336428591257</c:v>
                </c:pt>
                <c:pt idx="4969">
                  <c:v>296.22452667574555</c:v>
                </c:pt>
                <c:pt idx="4970">
                  <c:v>297.00575495565323</c:v>
                </c:pt>
                <c:pt idx="4971">
                  <c:v>295.99377241513224</c:v>
                </c:pt>
                <c:pt idx="4972">
                  <c:v>297.93989268536495</c:v>
                </c:pt>
                <c:pt idx="4973">
                  <c:v>294.94008729739193</c:v>
                </c:pt>
                <c:pt idx="4974">
                  <c:v>292.13489393644227</c:v>
                </c:pt>
                <c:pt idx="4975">
                  <c:v>290.35558397508669</c:v>
                </c:pt>
                <c:pt idx="4976">
                  <c:v>295.52670355027635</c:v>
                </c:pt>
                <c:pt idx="4977">
                  <c:v>294.86780283021182</c:v>
                </c:pt>
                <c:pt idx="4978">
                  <c:v>293.88640217965161</c:v>
                </c:pt>
                <c:pt idx="4979">
                  <c:v>286.31599432844649</c:v>
                </c:pt>
                <c:pt idx="4980">
                  <c:v>285.02599460646371</c:v>
                </c:pt>
                <c:pt idx="4981">
                  <c:v>289.26575662375626</c:v>
                </c:pt>
                <c:pt idx="4982">
                  <c:v>293.23028163140168</c:v>
                </c:pt>
                <c:pt idx="4983">
                  <c:v>294.02541077038245</c:v>
                </c:pt>
                <c:pt idx="4984">
                  <c:v>296.22174650393077</c:v>
                </c:pt>
                <c:pt idx="4985">
                  <c:v>297.89262976451624</c:v>
                </c:pt>
                <c:pt idx="4986">
                  <c:v>299.19931051738678</c:v>
                </c:pt>
                <c:pt idx="4987">
                  <c:v>298.36525897300129</c:v>
                </c:pt>
                <c:pt idx="4988">
                  <c:v>303.60032249992724</c:v>
                </c:pt>
                <c:pt idx="4989">
                  <c:v>304.8625205037639</c:v>
                </c:pt>
                <c:pt idx="4990">
                  <c:v>302.39372793238306</c:v>
                </c:pt>
                <c:pt idx="4991">
                  <c:v>305.23784369873744</c:v>
                </c:pt>
                <c:pt idx="4992">
                  <c:v>303.33342600572399</c:v>
                </c:pt>
                <c:pt idx="4993">
                  <c:v>300.64778003280293</c:v>
                </c:pt>
                <c:pt idx="4994">
                  <c:v>303.84775779142842</c:v>
                </c:pt>
                <c:pt idx="4995">
                  <c:v>300.14734910617165</c:v>
                </c:pt>
                <c:pt idx="4996">
                  <c:v>296.63043176067976</c:v>
                </c:pt>
                <c:pt idx="4997">
                  <c:v>295.64625093830495</c:v>
                </c:pt>
                <c:pt idx="4998">
                  <c:v>289.8690539075285</c:v>
                </c:pt>
                <c:pt idx="4999">
                  <c:v>296.39689732825178</c:v>
                </c:pt>
                <c:pt idx="5000">
                  <c:v>288.07862325891443</c:v>
                </c:pt>
                <c:pt idx="5001">
                  <c:v>289.938558202894</c:v>
                </c:pt>
                <c:pt idx="5002">
                  <c:v>290.64194167199241</c:v>
                </c:pt>
                <c:pt idx="5003">
                  <c:v>290.94498039978572</c:v>
                </c:pt>
                <c:pt idx="5004">
                  <c:v>296.541466262612</c:v>
                </c:pt>
                <c:pt idx="5005">
                  <c:v>297.28377213711502</c:v>
                </c:pt>
                <c:pt idx="5006">
                  <c:v>303.8950207122769</c:v>
                </c:pt>
                <c:pt idx="5007">
                  <c:v>303.8755595095746</c:v>
                </c:pt>
                <c:pt idx="5008">
                  <c:v>305.40465400761462</c:v>
                </c:pt>
                <c:pt idx="5009">
                  <c:v>302.27140037253997</c:v>
                </c:pt>
                <c:pt idx="5010">
                  <c:v>304.00622758486168</c:v>
                </c:pt>
                <c:pt idx="5011">
                  <c:v>308.40445939558748</c:v>
                </c:pt>
                <c:pt idx="5012">
                  <c:v>308.68803692067848</c:v>
                </c:pt>
                <c:pt idx="5013">
                  <c:v>308.54346798631832</c:v>
                </c:pt>
                <c:pt idx="5014">
                  <c:v>304.40101198253734</c:v>
                </c:pt>
                <c:pt idx="5015">
                  <c:v>303.42239150379174</c:v>
                </c:pt>
                <c:pt idx="5016">
                  <c:v>307.55372682031424</c:v>
                </c:pt>
                <c:pt idx="5017">
                  <c:v>307.38969668325177</c:v>
                </c:pt>
                <c:pt idx="5018">
                  <c:v>308.77422224693163</c:v>
                </c:pt>
                <c:pt idx="5019">
                  <c:v>303.45297339375259</c:v>
                </c:pt>
                <c:pt idx="5020">
                  <c:v>304.60396452500447</c:v>
                </c:pt>
                <c:pt idx="5021">
                  <c:v>308.28213183574411</c:v>
                </c:pt>
                <c:pt idx="5022">
                  <c:v>308.38777836469961</c:v>
                </c:pt>
                <c:pt idx="5023">
                  <c:v>305.79665823347557</c:v>
                </c:pt>
                <c:pt idx="5024">
                  <c:v>307.48144235313413</c:v>
                </c:pt>
                <c:pt idx="5025">
                  <c:v>306.72245544774341</c:v>
                </c:pt>
                <c:pt idx="5026">
                  <c:v>303.57808112541034</c:v>
                </c:pt>
                <c:pt idx="5027">
                  <c:v>304.69293002307217</c:v>
                </c:pt>
                <c:pt idx="5028">
                  <c:v>306.47223998442774</c:v>
                </c:pt>
                <c:pt idx="5029">
                  <c:v>307.60098974116278</c:v>
                </c:pt>
                <c:pt idx="5030">
                  <c:v>309.74172203841869</c:v>
                </c:pt>
                <c:pt idx="5031">
                  <c:v>308.02357585698473</c:v>
                </c:pt>
                <c:pt idx="5032">
                  <c:v>308.37109733381197</c:v>
                </c:pt>
                <c:pt idx="5033">
                  <c:v>304.72907225666222</c:v>
                </c:pt>
                <c:pt idx="5034">
                  <c:v>306.50560204620319</c:v>
                </c:pt>
                <c:pt idx="5035">
                  <c:v>309.72504100753099</c:v>
                </c:pt>
                <c:pt idx="5036">
                  <c:v>310.82876921793434</c:v>
                </c:pt>
                <c:pt idx="5037">
                  <c:v>311.54327337429118</c:v>
                </c:pt>
                <c:pt idx="5038">
                  <c:v>313.18079457310125</c:v>
                </c:pt>
                <c:pt idx="5039">
                  <c:v>313.54221690900164</c:v>
                </c:pt>
                <c:pt idx="5040">
                  <c:v>313.10294976229198</c:v>
                </c:pt>
                <c:pt idx="5041">
                  <c:v>313.16411354221356</c:v>
                </c:pt>
                <c:pt idx="5042">
                  <c:v>310.01695904806581</c:v>
                </c:pt>
                <c:pt idx="5043">
                  <c:v>314.99068642441762</c:v>
                </c:pt>
                <c:pt idx="5044">
                  <c:v>315.97208707497776</c:v>
                </c:pt>
                <c:pt idx="5045">
                  <c:v>316.14445772748411</c:v>
                </c:pt>
                <c:pt idx="5046">
                  <c:v>317.40943590313537</c:v>
                </c:pt>
                <c:pt idx="5047">
                  <c:v>318.32411243014468</c:v>
                </c:pt>
                <c:pt idx="5048">
                  <c:v>318.88014679306826</c:v>
                </c:pt>
                <c:pt idx="5049">
                  <c:v>315.88868192053917</c:v>
                </c:pt>
                <c:pt idx="5050">
                  <c:v>318.51872445716793</c:v>
                </c:pt>
                <c:pt idx="5051">
                  <c:v>319.29161222163179</c:v>
                </c:pt>
                <c:pt idx="5052">
                  <c:v>315.83585865606142</c:v>
                </c:pt>
                <c:pt idx="5053">
                  <c:v>319.78370263281914</c:v>
                </c:pt>
                <c:pt idx="5054">
                  <c:v>316.39467319079967</c:v>
                </c:pt>
                <c:pt idx="5055">
                  <c:v>310.400622758483</c:v>
                </c:pt>
                <c:pt idx="5056">
                  <c:v>303.52803803274702</c:v>
                </c:pt>
                <c:pt idx="5057">
                  <c:v>304.9236842836853</c:v>
                </c:pt>
                <c:pt idx="5058">
                  <c:v>303.64202507714634</c:v>
                </c:pt>
                <c:pt idx="5059">
                  <c:v>305.12385665433777</c:v>
                </c:pt>
                <c:pt idx="5060">
                  <c:v>301.51797381077807</c:v>
                </c:pt>
                <c:pt idx="5061">
                  <c:v>298.55431065639516</c:v>
                </c:pt>
                <c:pt idx="5062">
                  <c:v>302.81353387639012</c:v>
                </c:pt>
                <c:pt idx="5063">
                  <c:v>306.74191665044549</c:v>
                </c:pt>
                <c:pt idx="5064">
                  <c:v>305.0626928744162</c:v>
                </c:pt>
                <c:pt idx="5065">
                  <c:v>295.56284578386607</c:v>
                </c:pt>
                <c:pt idx="5066">
                  <c:v>296.41913870276841</c:v>
                </c:pt>
                <c:pt idx="5067">
                  <c:v>293.79187633795431</c:v>
                </c:pt>
                <c:pt idx="5068">
                  <c:v>297.62295309849804</c:v>
                </c:pt>
                <c:pt idx="5069">
                  <c:v>296.95849203480435</c:v>
                </c:pt>
                <c:pt idx="5070">
                  <c:v>299.83318969111946</c:v>
                </c:pt>
                <c:pt idx="5071">
                  <c:v>299.01025883399245</c:v>
                </c:pt>
                <c:pt idx="5072">
                  <c:v>304.39267146709307</c:v>
                </c:pt>
                <c:pt idx="5073">
                  <c:v>305.68267118907585</c:v>
                </c:pt>
                <c:pt idx="5074">
                  <c:v>307.69551558285934</c:v>
                </c:pt>
                <c:pt idx="5075">
                  <c:v>308.36831716199691</c:v>
                </c:pt>
                <c:pt idx="5076">
                  <c:v>308.04581723150119</c:v>
                </c:pt>
                <c:pt idx="5077">
                  <c:v>304.31760682809829</c:v>
                </c:pt>
                <c:pt idx="5078">
                  <c:v>307.27570963885194</c:v>
                </c:pt>
                <c:pt idx="5079">
                  <c:v>306.63627012148976</c:v>
                </c:pt>
                <c:pt idx="5080">
                  <c:v>307.06719675275554</c:v>
                </c:pt>
                <c:pt idx="5081">
                  <c:v>310.1865495287571</c:v>
                </c:pt>
                <c:pt idx="5082">
                  <c:v>310.90939420055776</c:v>
                </c:pt>
                <c:pt idx="5083">
                  <c:v>311.04284244765944</c:v>
                </c:pt>
                <c:pt idx="5084">
                  <c:v>312.20495426616981</c:v>
                </c:pt>
                <c:pt idx="5085">
                  <c:v>316.5781645305641</c:v>
                </c:pt>
                <c:pt idx="5086">
                  <c:v>316.52256109427174</c:v>
                </c:pt>
                <c:pt idx="5087">
                  <c:v>317.06469459812229</c:v>
                </c:pt>
                <c:pt idx="5088">
                  <c:v>318.49926325446523</c:v>
                </c:pt>
                <c:pt idx="5089">
                  <c:v>319.78648280463341</c:v>
                </c:pt>
                <c:pt idx="5090">
                  <c:v>319.71697850926796</c:v>
                </c:pt>
                <c:pt idx="5091">
                  <c:v>319.86154744362807</c:v>
                </c:pt>
                <c:pt idx="5092">
                  <c:v>322.34980121771127</c:v>
                </c:pt>
                <c:pt idx="5093">
                  <c:v>324.22641719257848</c:v>
                </c:pt>
                <c:pt idx="5094">
                  <c:v>324.12077066362298</c:v>
                </c:pt>
                <c:pt idx="5095">
                  <c:v>322.47212877755447</c:v>
                </c:pt>
                <c:pt idx="5096">
                  <c:v>324.11521031999371</c:v>
                </c:pt>
                <c:pt idx="5097">
                  <c:v>326.4394339570145</c:v>
                </c:pt>
                <c:pt idx="5098">
                  <c:v>324.64622313658583</c:v>
                </c:pt>
                <c:pt idx="5099">
                  <c:v>324.0929689454768</c:v>
                </c:pt>
                <c:pt idx="5100">
                  <c:v>324.33206372153393</c:v>
                </c:pt>
                <c:pt idx="5101">
                  <c:v>326.17531763462574</c:v>
                </c:pt>
                <c:pt idx="5102">
                  <c:v>326.18921849369883</c:v>
                </c:pt>
                <c:pt idx="5103">
                  <c:v>325.12163251688548</c:v>
                </c:pt>
                <c:pt idx="5104">
                  <c:v>327.53204148015936</c:v>
                </c:pt>
                <c:pt idx="5105">
                  <c:v>330.12872195501268</c:v>
                </c:pt>
                <c:pt idx="5106">
                  <c:v>330.68475631793632</c:v>
                </c:pt>
                <c:pt idx="5107">
                  <c:v>328.74141621951827</c:v>
                </c:pt>
                <c:pt idx="5108">
                  <c:v>329.85070477355089</c:v>
                </c:pt>
                <c:pt idx="5109">
                  <c:v>332.05538102254297</c:v>
                </c:pt>
                <c:pt idx="5110">
                  <c:v>332.64199727542746</c:v>
                </c:pt>
                <c:pt idx="5111">
                  <c:v>332.86997136422605</c:v>
                </c:pt>
                <c:pt idx="5112">
                  <c:v>336.58150073674119</c:v>
                </c:pt>
                <c:pt idx="5113">
                  <c:v>336.8650782618322</c:v>
                </c:pt>
                <c:pt idx="5114">
                  <c:v>331.43262253606844</c:v>
                </c:pt>
                <c:pt idx="5115">
                  <c:v>332.93113514414762</c:v>
                </c:pt>
                <c:pt idx="5116">
                  <c:v>335.61400094525413</c:v>
                </c:pt>
                <c:pt idx="5117">
                  <c:v>335.27203981205611</c:v>
                </c:pt>
                <c:pt idx="5118">
                  <c:v>336.03102671744688</c:v>
                </c:pt>
                <c:pt idx="5119">
                  <c:v>338.42475464983306</c:v>
                </c:pt>
                <c:pt idx="5120">
                  <c:v>336.97072479078776</c:v>
                </c:pt>
                <c:pt idx="5121">
                  <c:v>329.09171786816006</c:v>
                </c:pt>
                <c:pt idx="5122">
                  <c:v>331.21854930634288</c:v>
                </c:pt>
                <c:pt idx="5123">
                  <c:v>335.50557424448402</c:v>
                </c:pt>
                <c:pt idx="5124">
                  <c:v>329.92020906891628</c:v>
                </c:pt>
                <c:pt idx="5125">
                  <c:v>334.24893658427663</c:v>
                </c:pt>
                <c:pt idx="5126">
                  <c:v>326.28096416358113</c:v>
                </c:pt>
                <c:pt idx="5127">
                  <c:v>324.14023186632522</c:v>
                </c:pt>
                <c:pt idx="5128">
                  <c:v>313.64508326614185</c:v>
                </c:pt>
                <c:pt idx="5129">
                  <c:v>308.84372654229639</c:v>
                </c:pt>
                <c:pt idx="5130">
                  <c:v>322.42486585670582</c:v>
                </c:pt>
                <c:pt idx="5131">
                  <c:v>321.32947816174629</c:v>
                </c:pt>
                <c:pt idx="5132">
                  <c:v>325.74439100335985</c:v>
                </c:pt>
                <c:pt idx="5133">
                  <c:v>321.78820651115831</c:v>
                </c:pt>
                <c:pt idx="5134">
                  <c:v>315.73855264254928</c:v>
                </c:pt>
                <c:pt idx="5135">
                  <c:v>316.08885429119118</c:v>
                </c:pt>
                <c:pt idx="5136">
                  <c:v>311.60165698239751</c:v>
                </c:pt>
                <c:pt idx="5137">
                  <c:v>310.00305818899216</c:v>
                </c:pt>
                <c:pt idx="5138">
                  <c:v>297.92043148266191</c:v>
                </c:pt>
                <c:pt idx="5139">
                  <c:v>302.39650810419715</c:v>
                </c:pt>
                <c:pt idx="5140">
                  <c:v>298.4931468764733</c:v>
                </c:pt>
                <c:pt idx="5141">
                  <c:v>298.59879340542881</c:v>
                </c:pt>
                <c:pt idx="5142">
                  <c:v>296.90844894214098</c:v>
                </c:pt>
                <c:pt idx="5143">
                  <c:v>306.66963218326509</c:v>
                </c:pt>
                <c:pt idx="5144">
                  <c:v>302.87469765631141</c:v>
                </c:pt>
                <c:pt idx="5145">
                  <c:v>297.67577636297557</c:v>
                </c:pt>
                <c:pt idx="5146">
                  <c:v>305.36851177402389</c:v>
                </c:pt>
                <c:pt idx="5147">
                  <c:v>306.60568823152892</c:v>
                </c:pt>
                <c:pt idx="5148">
                  <c:v>296.05493619505324</c:v>
                </c:pt>
                <c:pt idx="5149">
                  <c:v>292.0487086101885</c:v>
                </c:pt>
                <c:pt idx="5150">
                  <c:v>295.25424671244321</c:v>
                </c:pt>
                <c:pt idx="5151">
                  <c:v>293.4999582974192</c:v>
                </c:pt>
                <c:pt idx="5152">
                  <c:v>302.16019349995452</c:v>
                </c:pt>
                <c:pt idx="5153">
                  <c:v>303.48355528371275</c:v>
                </c:pt>
                <c:pt idx="5154">
                  <c:v>302.93586143623304</c:v>
                </c:pt>
                <c:pt idx="5155">
                  <c:v>310.05310128165536</c:v>
                </c:pt>
                <c:pt idx="5156">
                  <c:v>309.88073062914901</c:v>
                </c:pt>
                <c:pt idx="5157">
                  <c:v>310.2782951986394</c:v>
                </c:pt>
                <c:pt idx="5158">
                  <c:v>310.68698045538832</c:v>
                </c:pt>
                <c:pt idx="5159">
                  <c:v>309.4887264032879</c:v>
                </c:pt>
                <c:pt idx="5160">
                  <c:v>304.5149990269361</c:v>
                </c:pt>
                <c:pt idx="5161">
                  <c:v>303.60588284355606</c:v>
                </c:pt>
                <c:pt idx="5162">
                  <c:v>298.50426756373184</c:v>
                </c:pt>
                <c:pt idx="5163">
                  <c:v>299.35778031081958</c:v>
                </c:pt>
                <c:pt idx="5164">
                  <c:v>298.74892268341819</c:v>
                </c:pt>
                <c:pt idx="5165">
                  <c:v>289.48261002529608</c:v>
                </c:pt>
                <c:pt idx="5166">
                  <c:v>286.55508910450322</c:v>
                </c:pt>
                <c:pt idx="5167">
                  <c:v>285.62651171842072</c:v>
                </c:pt>
                <c:pt idx="5168">
                  <c:v>284.29480941921867</c:v>
                </c:pt>
                <c:pt idx="5169">
                  <c:v>285.81834357362936</c:v>
                </c:pt>
                <c:pt idx="5170">
                  <c:v>294.77327698851434</c:v>
                </c:pt>
                <c:pt idx="5171">
                  <c:v>297.54788845950321</c:v>
                </c:pt>
                <c:pt idx="5172">
                  <c:v>299.69140092857378</c:v>
                </c:pt>
                <c:pt idx="5173">
                  <c:v>299.91103450192861</c:v>
                </c:pt>
                <c:pt idx="5174">
                  <c:v>304.52333954238009</c:v>
                </c:pt>
                <c:pt idx="5175">
                  <c:v>304.47607662153166</c:v>
                </c:pt>
                <c:pt idx="5176">
                  <c:v>304.84027912924665</c:v>
                </c:pt>
                <c:pt idx="5177">
                  <c:v>296.05493619505341</c:v>
                </c:pt>
                <c:pt idx="5178">
                  <c:v>297.82590564096512</c:v>
                </c:pt>
                <c:pt idx="5179">
                  <c:v>301.22605577024314</c:v>
                </c:pt>
                <c:pt idx="5180">
                  <c:v>297.3643971197385</c:v>
                </c:pt>
                <c:pt idx="5181">
                  <c:v>304.05905084933897</c:v>
                </c:pt>
                <c:pt idx="5182">
                  <c:v>306.55842531068066</c:v>
                </c:pt>
                <c:pt idx="5183">
                  <c:v>309.99193750173401</c:v>
                </c:pt>
                <c:pt idx="5184">
                  <c:v>309.66665739942368</c:v>
                </c:pt>
                <c:pt idx="5185">
                  <c:v>307.52314493035317</c:v>
                </c:pt>
                <c:pt idx="5186">
                  <c:v>306.24426589562876</c:v>
                </c:pt>
                <c:pt idx="5187">
                  <c:v>306.26372709833106</c:v>
                </c:pt>
                <c:pt idx="5188">
                  <c:v>313.00842392059457</c:v>
                </c:pt>
                <c:pt idx="5189">
                  <c:v>311.50713114070078</c:v>
                </c:pt>
                <c:pt idx="5190">
                  <c:v>313.39208763101186</c:v>
                </c:pt>
                <c:pt idx="5191">
                  <c:v>312.99452306152148</c:v>
                </c:pt>
                <c:pt idx="5192">
                  <c:v>311.83519141482583</c:v>
                </c:pt>
                <c:pt idx="5193">
                  <c:v>313.54499708081596</c:v>
                </c:pt>
                <c:pt idx="5194">
                  <c:v>311.67394144957797</c:v>
                </c:pt>
                <c:pt idx="5195">
                  <c:v>302.89137868719945</c:v>
                </c:pt>
                <c:pt idx="5196">
                  <c:v>301.26219800383313</c:v>
                </c:pt>
                <c:pt idx="5197">
                  <c:v>300.05004309265962</c:v>
                </c:pt>
                <c:pt idx="5198">
                  <c:v>300.08618532624968</c:v>
                </c:pt>
                <c:pt idx="5199">
                  <c:v>303.74489143428707</c:v>
                </c:pt>
                <c:pt idx="5200">
                  <c:v>304.19527926825521</c:v>
                </c:pt>
                <c:pt idx="5201">
                  <c:v>299.0436208957679</c:v>
                </c:pt>
                <c:pt idx="5202">
                  <c:v>297.94823320080837</c:v>
                </c:pt>
                <c:pt idx="5203">
                  <c:v>296.74441880507874</c:v>
                </c:pt>
                <c:pt idx="5204">
                  <c:v>292.43793266423535</c:v>
                </c:pt>
                <c:pt idx="5205">
                  <c:v>293.39987211209325</c:v>
                </c:pt>
                <c:pt idx="5206">
                  <c:v>291.14515277043802</c:v>
                </c:pt>
                <c:pt idx="5207">
                  <c:v>295.97431121242965</c:v>
                </c:pt>
                <c:pt idx="5208">
                  <c:v>291.61778197892318</c:v>
                </c:pt>
                <c:pt idx="5209">
                  <c:v>291.7317690233225</c:v>
                </c:pt>
                <c:pt idx="5210">
                  <c:v>300.33918096138018</c:v>
                </c:pt>
                <c:pt idx="5211">
                  <c:v>303.06652951152051</c:v>
                </c:pt>
                <c:pt idx="5212">
                  <c:v>307.0727570963852</c:v>
                </c:pt>
                <c:pt idx="5213">
                  <c:v>303.55027940726399</c:v>
                </c:pt>
                <c:pt idx="5214">
                  <c:v>305.50474019294052</c:v>
                </c:pt>
                <c:pt idx="5215">
                  <c:v>306.98101142650273</c:v>
                </c:pt>
                <c:pt idx="5216">
                  <c:v>308.47396369095259</c:v>
                </c:pt>
                <c:pt idx="5217">
                  <c:v>311.90747588200594</c:v>
                </c:pt>
                <c:pt idx="5218">
                  <c:v>311.68506213683645</c:v>
                </c:pt>
                <c:pt idx="5219">
                  <c:v>312.78879034723985</c:v>
                </c:pt>
                <c:pt idx="5220">
                  <c:v>312.67480330284053</c:v>
                </c:pt>
                <c:pt idx="5221">
                  <c:v>312.93335928159996</c:v>
                </c:pt>
                <c:pt idx="5222">
                  <c:v>317.69301342822615</c:v>
                </c:pt>
                <c:pt idx="5223">
                  <c:v>316.87842308654302</c:v>
                </c:pt>
                <c:pt idx="5224">
                  <c:v>315.34932858850306</c:v>
                </c:pt>
                <c:pt idx="5225">
                  <c:v>312.72206622368896</c:v>
                </c:pt>
                <c:pt idx="5226">
                  <c:v>319.34999582973859</c:v>
                </c:pt>
                <c:pt idx="5227">
                  <c:v>317.54010397842217</c:v>
                </c:pt>
                <c:pt idx="5228">
                  <c:v>319.08031916372062</c:v>
                </c:pt>
                <c:pt idx="5229">
                  <c:v>318.25460813477901</c:v>
                </c:pt>
                <c:pt idx="5230">
                  <c:v>317.2732074842188</c:v>
                </c:pt>
                <c:pt idx="5231">
                  <c:v>318.67441407878636</c:v>
                </c:pt>
                <c:pt idx="5232">
                  <c:v>316.11387583752304</c:v>
                </c:pt>
                <c:pt idx="5233">
                  <c:v>322.70844338179717</c:v>
                </c:pt>
                <c:pt idx="5234">
                  <c:v>322.49158998025695</c:v>
                </c:pt>
                <c:pt idx="5235">
                  <c:v>321.96057716366482</c:v>
                </c:pt>
                <c:pt idx="5236">
                  <c:v>323.93171898022916</c:v>
                </c:pt>
                <c:pt idx="5237">
                  <c:v>323.97898190107765</c:v>
                </c:pt>
                <c:pt idx="5238">
                  <c:v>325.21615835858273</c:v>
                </c:pt>
                <c:pt idx="5239">
                  <c:v>327.53204148015965</c:v>
                </c:pt>
                <c:pt idx="5240">
                  <c:v>326.33934777168844</c:v>
                </c:pt>
                <c:pt idx="5241">
                  <c:v>327.00102866356758</c:v>
                </c:pt>
                <c:pt idx="5242">
                  <c:v>329.36973504962225</c:v>
                </c:pt>
                <c:pt idx="5243">
                  <c:v>324.14023186632562</c:v>
                </c:pt>
                <c:pt idx="5244">
                  <c:v>327.55150268286201</c:v>
                </c:pt>
                <c:pt idx="5245">
                  <c:v>328.13255859211716</c:v>
                </c:pt>
                <c:pt idx="5246">
                  <c:v>328.91656704383945</c:v>
                </c:pt>
                <c:pt idx="5247">
                  <c:v>329.62273068475241</c:v>
                </c:pt>
                <c:pt idx="5248">
                  <c:v>329.62829102838168</c:v>
                </c:pt>
                <c:pt idx="5249">
                  <c:v>328.7414162195185</c:v>
                </c:pt>
                <c:pt idx="5250">
                  <c:v>329.1111790708627</c:v>
                </c:pt>
                <c:pt idx="5251">
                  <c:v>328.9666101365026</c:v>
                </c:pt>
                <c:pt idx="5252">
                  <c:v>329.27798937973989</c:v>
                </c:pt>
                <c:pt idx="5253">
                  <c:v>331.83296727737388</c:v>
                </c:pt>
                <c:pt idx="5254">
                  <c:v>333.05346270399122</c:v>
                </c:pt>
                <c:pt idx="5255">
                  <c:v>339.475659595759</c:v>
                </c:pt>
                <c:pt idx="5256">
                  <c:v>340.8073618949611</c:v>
                </c:pt>
                <c:pt idx="5257">
                  <c:v>340.08451722316039</c:v>
                </c:pt>
                <c:pt idx="5258">
                  <c:v>337.34604798576157</c:v>
                </c:pt>
                <c:pt idx="5259">
                  <c:v>338.82231921932384</c:v>
                </c:pt>
                <c:pt idx="5260">
                  <c:v>337.38497039116629</c:v>
                </c:pt>
                <c:pt idx="5261">
                  <c:v>333.40098418081851</c:v>
                </c:pt>
                <c:pt idx="5262">
                  <c:v>332.99507909588425</c:v>
                </c:pt>
                <c:pt idx="5263">
                  <c:v>327.59876560371049</c:v>
                </c:pt>
                <c:pt idx="5264">
                  <c:v>327.66826989907588</c:v>
                </c:pt>
                <c:pt idx="5265">
                  <c:v>332.70038088353476</c:v>
                </c:pt>
                <c:pt idx="5266">
                  <c:v>333.54555311517862</c:v>
                </c:pt>
                <c:pt idx="5267">
                  <c:v>333.02010064221577</c:v>
                </c:pt>
                <c:pt idx="5268">
                  <c:v>328.26322666740424</c:v>
                </c:pt>
                <c:pt idx="5269">
                  <c:v>333.16188940476133</c:v>
                </c:pt>
                <c:pt idx="5270">
                  <c:v>330.67363563067818</c:v>
                </c:pt>
                <c:pt idx="5271">
                  <c:v>330.21768745308077</c:v>
                </c:pt>
                <c:pt idx="5272">
                  <c:v>328.21318357474109</c:v>
                </c:pt>
                <c:pt idx="5273">
                  <c:v>335.30818204564656</c:v>
                </c:pt>
                <c:pt idx="5274">
                  <c:v>339.60632767104619</c:v>
                </c:pt>
                <c:pt idx="5275">
                  <c:v>340.49042230809476</c:v>
                </c:pt>
                <c:pt idx="5276">
                  <c:v>340.04837498957045</c:v>
                </c:pt>
                <c:pt idx="5277">
                  <c:v>340.2235258138914</c:v>
                </c:pt>
                <c:pt idx="5278">
                  <c:v>341.48294364591339</c:v>
                </c:pt>
                <c:pt idx="5279">
                  <c:v>342.79518474241314</c:v>
                </c:pt>
                <c:pt idx="5280">
                  <c:v>344.85251188523057</c:v>
                </c:pt>
                <c:pt idx="5281">
                  <c:v>344.86919291611832</c:v>
                </c:pt>
                <c:pt idx="5282">
                  <c:v>345.18335233117011</c:v>
                </c:pt>
                <c:pt idx="5283">
                  <c:v>343.41516305707302</c:v>
                </c:pt>
                <c:pt idx="5284">
                  <c:v>345.53921432344117</c:v>
                </c:pt>
                <c:pt idx="5285">
                  <c:v>345.82835219216145</c:v>
                </c:pt>
                <c:pt idx="5286">
                  <c:v>346.7096666573953</c:v>
                </c:pt>
                <c:pt idx="5287">
                  <c:v>348.80035586198812</c:v>
                </c:pt>
                <c:pt idx="5288">
                  <c:v>349.97914871138619</c:v>
                </c:pt>
                <c:pt idx="5289">
                  <c:v>349.40365314576025</c:v>
                </c:pt>
                <c:pt idx="5290">
                  <c:v>349.61772637548586</c:v>
                </c:pt>
                <c:pt idx="5291">
                  <c:v>349.88740304150383</c:v>
                </c:pt>
                <c:pt idx="5292">
                  <c:v>350.24048486196028</c:v>
                </c:pt>
                <c:pt idx="5293">
                  <c:v>349.71225221718282</c:v>
                </c:pt>
                <c:pt idx="5294">
                  <c:v>349.64552809363198</c:v>
                </c:pt>
                <c:pt idx="5295">
                  <c:v>353.60171258583352</c:v>
                </c:pt>
                <c:pt idx="5296">
                  <c:v>353.1374238927923</c:v>
                </c:pt>
                <c:pt idx="5297">
                  <c:v>354.9056131668894</c:v>
                </c:pt>
                <c:pt idx="5298">
                  <c:v>354.15218660512789</c:v>
                </c:pt>
                <c:pt idx="5299">
                  <c:v>353.49884622869268</c:v>
                </c:pt>
                <c:pt idx="5300">
                  <c:v>353.01231616113449</c:v>
                </c:pt>
                <c:pt idx="5301">
                  <c:v>354.32733742944885</c:v>
                </c:pt>
                <c:pt idx="5302">
                  <c:v>357.51897467263046</c:v>
                </c:pt>
                <c:pt idx="5303">
                  <c:v>356.90733687341447</c:v>
                </c:pt>
                <c:pt idx="5304">
                  <c:v>359.54293975367244</c:v>
                </c:pt>
                <c:pt idx="5305">
                  <c:v>360.03781033667445</c:v>
                </c:pt>
                <c:pt idx="5306">
                  <c:v>356.39578525952476</c:v>
                </c:pt>
                <c:pt idx="5307">
                  <c:v>355.93427673829814</c:v>
                </c:pt>
                <c:pt idx="5308">
                  <c:v>356.79334982901509</c:v>
                </c:pt>
                <c:pt idx="5309">
                  <c:v>358.87569851816403</c:v>
                </c:pt>
                <c:pt idx="5310">
                  <c:v>358.97022435986105</c:v>
                </c:pt>
                <c:pt idx="5311">
                  <c:v>360.48541799882793</c:v>
                </c:pt>
                <c:pt idx="5312">
                  <c:v>361.29444799688179</c:v>
                </c:pt>
                <c:pt idx="5313">
                  <c:v>354.84444938696782</c:v>
                </c:pt>
                <c:pt idx="5314">
                  <c:v>357.56345742166434</c:v>
                </c:pt>
                <c:pt idx="5315">
                  <c:v>363.53248630764944</c:v>
                </c:pt>
                <c:pt idx="5316">
                  <c:v>362.54274514164536</c:v>
                </c:pt>
                <c:pt idx="5317">
                  <c:v>363.39625788873309</c:v>
                </c:pt>
                <c:pt idx="5318">
                  <c:v>364.44438266284408</c:v>
                </c:pt>
                <c:pt idx="5319">
                  <c:v>366.71856320720173</c:v>
                </c:pt>
                <c:pt idx="5320">
                  <c:v>368.25321804887096</c:v>
                </c:pt>
                <c:pt idx="5321">
                  <c:v>367.22733464927688</c:v>
                </c:pt>
                <c:pt idx="5322">
                  <c:v>367.50257165892407</c:v>
                </c:pt>
                <c:pt idx="5323">
                  <c:v>369.52653673996605</c:v>
                </c:pt>
                <c:pt idx="5324">
                  <c:v>370.40785120519996</c:v>
                </c:pt>
                <c:pt idx="5325">
                  <c:v>369.20959715309954</c:v>
                </c:pt>
                <c:pt idx="5326">
                  <c:v>371.51991993104718</c:v>
                </c:pt>
                <c:pt idx="5327">
                  <c:v>372.66257054685519</c:v>
                </c:pt>
                <c:pt idx="5328">
                  <c:v>373.37985487502669</c:v>
                </c:pt>
                <c:pt idx="5329">
                  <c:v>365.71492118212456</c:v>
                </c:pt>
                <c:pt idx="5330">
                  <c:v>363.47966304317157</c:v>
                </c:pt>
                <c:pt idx="5331">
                  <c:v>363.11824070727118</c:v>
                </c:pt>
                <c:pt idx="5332">
                  <c:v>366.94931746781498</c:v>
                </c:pt>
                <c:pt idx="5333">
                  <c:v>368.9899635797446</c:v>
                </c:pt>
                <c:pt idx="5334">
                  <c:v>363.18218465900731</c:v>
                </c:pt>
                <c:pt idx="5335">
                  <c:v>363.76880091189167</c:v>
                </c:pt>
                <c:pt idx="5336">
                  <c:v>370.0325280102262</c:v>
                </c:pt>
                <c:pt idx="5337">
                  <c:v>367.3023992882712</c:v>
                </c:pt>
                <c:pt idx="5338">
                  <c:v>364.23864994856206</c:v>
                </c:pt>
                <c:pt idx="5339">
                  <c:v>367.48867079985052</c:v>
                </c:pt>
                <c:pt idx="5340">
                  <c:v>366.98823987321924</c:v>
                </c:pt>
                <c:pt idx="5341">
                  <c:v>360.06283188300546</c:v>
                </c:pt>
                <c:pt idx="5342">
                  <c:v>362.61224943701023</c:v>
                </c:pt>
                <c:pt idx="5343">
                  <c:v>360.41869387527657</c:v>
                </c:pt>
                <c:pt idx="5344">
                  <c:v>356.38188440045104</c:v>
                </c:pt>
                <c:pt idx="5345">
                  <c:v>349.43423503572041</c:v>
                </c:pt>
                <c:pt idx="5346">
                  <c:v>354.11604437153727</c:v>
                </c:pt>
                <c:pt idx="5347">
                  <c:v>355.63957852594802</c:v>
                </c:pt>
                <c:pt idx="5348">
                  <c:v>360.97194806638555</c:v>
                </c:pt>
                <c:pt idx="5349">
                  <c:v>359.69028885984665</c:v>
                </c:pt>
                <c:pt idx="5350">
                  <c:v>360.73841363395769</c:v>
                </c:pt>
                <c:pt idx="5351">
                  <c:v>364.10798187327487</c:v>
                </c:pt>
                <c:pt idx="5352">
                  <c:v>365.25897300452669</c:v>
                </c:pt>
                <c:pt idx="5353">
                  <c:v>364.25533097944958</c:v>
                </c:pt>
                <c:pt idx="5354">
                  <c:v>366.82698990797132</c:v>
                </c:pt>
                <c:pt idx="5355">
                  <c:v>369.27910144846447</c:v>
                </c:pt>
                <c:pt idx="5356">
                  <c:v>368.60351969751224</c:v>
                </c:pt>
                <c:pt idx="5357">
                  <c:v>370.43287275153102</c:v>
                </c:pt>
                <c:pt idx="5358">
                  <c:v>370.56076065500338</c:v>
                </c:pt>
                <c:pt idx="5359">
                  <c:v>370.49403653145259</c:v>
                </c:pt>
                <c:pt idx="5360">
                  <c:v>371.30306652950645</c:v>
                </c:pt>
                <c:pt idx="5361">
                  <c:v>370.73869165113899</c:v>
                </c:pt>
                <c:pt idx="5362">
                  <c:v>369.25407990213296</c:v>
                </c:pt>
                <c:pt idx="5363">
                  <c:v>368.22263615890967</c:v>
                </c:pt>
                <c:pt idx="5364">
                  <c:v>365.35905918985304</c:v>
                </c:pt>
                <c:pt idx="5365">
                  <c:v>365.42856348521849</c:v>
                </c:pt>
                <c:pt idx="5366">
                  <c:v>365.45914537517928</c:v>
                </c:pt>
                <c:pt idx="5367">
                  <c:v>366.89371403152228</c:v>
                </c:pt>
                <c:pt idx="5368">
                  <c:v>362.85134421306759</c:v>
                </c:pt>
                <c:pt idx="5369">
                  <c:v>364.93091273040193</c:v>
                </c:pt>
                <c:pt idx="5370">
                  <c:v>369.86293752953446</c:v>
                </c:pt>
                <c:pt idx="5371">
                  <c:v>371.81461814339639</c:v>
                </c:pt>
                <c:pt idx="5372">
                  <c:v>371.22244154688269</c:v>
                </c:pt>
                <c:pt idx="5373">
                  <c:v>374.55586755260987</c:v>
                </c:pt>
                <c:pt idx="5374">
                  <c:v>376.8967722205183</c:v>
                </c:pt>
                <c:pt idx="5375">
                  <c:v>378.23681503516417</c:v>
                </c:pt>
                <c:pt idx="5376">
                  <c:v>379.1070088131396</c:v>
                </c:pt>
                <c:pt idx="5377">
                  <c:v>378.44254774944591</c:v>
                </c:pt>
                <c:pt idx="5378">
                  <c:v>377.1636687147215</c:v>
                </c:pt>
                <c:pt idx="5379">
                  <c:v>374.57810892712666</c:v>
                </c:pt>
                <c:pt idx="5380">
                  <c:v>371.18073896966331</c:v>
                </c:pt>
                <c:pt idx="5381">
                  <c:v>372.59862659511856</c:v>
                </c:pt>
                <c:pt idx="5382">
                  <c:v>374.291751230221</c:v>
                </c:pt>
                <c:pt idx="5383">
                  <c:v>377.31379799271093</c:v>
                </c:pt>
                <c:pt idx="5384">
                  <c:v>373.12129889626675</c:v>
                </c:pt>
                <c:pt idx="5385">
                  <c:v>374.94787177847087</c:v>
                </c:pt>
                <c:pt idx="5386">
                  <c:v>371.92304484416633</c:v>
                </c:pt>
                <c:pt idx="5387">
                  <c:v>369.61550223803334</c:v>
                </c:pt>
                <c:pt idx="5388">
                  <c:v>369.47927381911705</c:v>
                </c:pt>
                <c:pt idx="5389">
                  <c:v>372.73207484222024</c:v>
                </c:pt>
                <c:pt idx="5390">
                  <c:v>373.54388501208865</c:v>
                </c:pt>
                <c:pt idx="5391">
                  <c:v>370.67196752758815</c:v>
                </c:pt>
                <c:pt idx="5392">
                  <c:v>366.25149434234538</c:v>
                </c:pt>
                <c:pt idx="5393">
                  <c:v>365.94845561455202</c:v>
                </c:pt>
                <c:pt idx="5394">
                  <c:v>367.11334760487699</c:v>
                </c:pt>
                <c:pt idx="5395">
                  <c:v>368.56459729210763</c:v>
                </c:pt>
                <c:pt idx="5396">
                  <c:v>370.06867024381603</c:v>
                </c:pt>
                <c:pt idx="5397">
                  <c:v>373.98871250242757</c:v>
                </c:pt>
                <c:pt idx="5398">
                  <c:v>365.4674858906231</c:v>
                </c:pt>
                <c:pt idx="5399">
                  <c:v>365.01987822846957</c:v>
                </c:pt>
                <c:pt idx="5400">
                  <c:v>361.46681864938768</c:v>
                </c:pt>
                <c:pt idx="5401">
                  <c:v>357.57735828073697</c:v>
                </c:pt>
                <c:pt idx="5402">
                  <c:v>357.23539714753889</c:v>
                </c:pt>
                <c:pt idx="5403">
                  <c:v>355.73966471127432</c:v>
                </c:pt>
                <c:pt idx="5404">
                  <c:v>358.36414690427387</c:v>
                </c:pt>
                <c:pt idx="5405">
                  <c:v>353.35427729433206</c:v>
                </c:pt>
                <c:pt idx="5406">
                  <c:v>353.59059189857459</c:v>
                </c:pt>
                <c:pt idx="5407">
                  <c:v>358.04998748922202</c:v>
                </c:pt>
                <c:pt idx="5408">
                  <c:v>351.80850176540446</c:v>
                </c:pt>
                <c:pt idx="5409">
                  <c:v>352.42569990824967</c:v>
                </c:pt>
                <c:pt idx="5410">
                  <c:v>353.49884622869217</c:v>
                </c:pt>
                <c:pt idx="5411">
                  <c:v>355.40604409352022</c:v>
                </c:pt>
                <c:pt idx="5412">
                  <c:v>360.1768189274049</c:v>
                </c:pt>
                <c:pt idx="5413">
                  <c:v>357.84703494675495</c:v>
                </c:pt>
                <c:pt idx="5414">
                  <c:v>356.8350524062339</c:v>
                </c:pt>
                <c:pt idx="5415">
                  <c:v>352.65089382523365</c:v>
                </c:pt>
                <c:pt idx="5416">
                  <c:v>355.88979398926369</c:v>
                </c:pt>
                <c:pt idx="5417">
                  <c:v>360.4965386860859</c:v>
                </c:pt>
                <c:pt idx="5418">
                  <c:v>363.48244321498584</c:v>
                </c:pt>
                <c:pt idx="5419">
                  <c:v>367.16061052572564</c:v>
                </c:pt>
                <c:pt idx="5420">
                  <c:v>372.4512774889439</c:v>
                </c:pt>
                <c:pt idx="5421">
                  <c:v>371.95362673412728</c:v>
                </c:pt>
                <c:pt idx="5422">
                  <c:v>372.3261697572861</c:v>
                </c:pt>
                <c:pt idx="5423">
                  <c:v>376.21841029775146</c:v>
                </c:pt>
                <c:pt idx="5424">
                  <c:v>373.59948844838118</c:v>
                </c:pt>
                <c:pt idx="5425">
                  <c:v>366.84089076704453</c:v>
                </c:pt>
                <c:pt idx="5426">
                  <c:v>365.21449025549293</c:v>
                </c:pt>
                <c:pt idx="5427">
                  <c:v>366.34880035585707</c:v>
                </c:pt>
                <c:pt idx="5428">
                  <c:v>363.88834829991998</c:v>
                </c:pt>
                <c:pt idx="5429">
                  <c:v>365.90953320914736</c:v>
                </c:pt>
                <c:pt idx="5430">
                  <c:v>362.93474936750596</c:v>
                </c:pt>
                <c:pt idx="5431">
                  <c:v>368.85373516082791</c:v>
                </c:pt>
                <c:pt idx="5432">
                  <c:v>368.60629986932685</c:v>
                </c:pt>
                <c:pt idx="5433">
                  <c:v>373.59948844838095</c:v>
                </c:pt>
                <c:pt idx="5434">
                  <c:v>373.93866940976437</c:v>
                </c:pt>
                <c:pt idx="5435">
                  <c:v>371.82851900246925</c:v>
                </c:pt>
                <c:pt idx="5436">
                  <c:v>370.30220467624383</c:v>
                </c:pt>
                <c:pt idx="5437">
                  <c:v>362.78183991770186</c:v>
                </c:pt>
                <c:pt idx="5438">
                  <c:v>361.60860741193301</c:v>
                </c:pt>
                <c:pt idx="5439">
                  <c:v>359.27604325946839</c:v>
                </c:pt>
                <c:pt idx="5440">
                  <c:v>357.79143151046236</c:v>
                </c:pt>
                <c:pt idx="5441">
                  <c:v>348.6474464121834</c:v>
                </c:pt>
                <c:pt idx="5442">
                  <c:v>350.39617448357814</c:v>
                </c:pt>
                <c:pt idx="5443">
                  <c:v>333.64007895687479</c:v>
                </c:pt>
                <c:pt idx="5444">
                  <c:v>333.4482471016662</c:v>
                </c:pt>
                <c:pt idx="5445">
                  <c:v>311.2291139592383</c:v>
                </c:pt>
                <c:pt idx="5446">
                  <c:v>325.98348577941658</c:v>
                </c:pt>
                <c:pt idx="5447">
                  <c:v>311.59053629513863</c:v>
                </c:pt>
                <c:pt idx="5448">
                  <c:v>326.01406766937737</c:v>
                </c:pt>
                <c:pt idx="5449">
                  <c:v>327.72943367899671</c:v>
                </c:pt>
                <c:pt idx="5450">
                  <c:v>334.868914898936</c:v>
                </c:pt>
                <c:pt idx="5451">
                  <c:v>331.60777336038893</c:v>
                </c:pt>
                <c:pt idx="5452">
                  <c:v>331.92193277544084</c:v>
                </c:pt>
                <c:pt idx="5453">
                  <c:v>317.12029803441408</c:v>
                </c:pt>
                <c:pt idx="5454">
                  <c:v>312.36064388778789</c:v>
                </c:pt>
                <c:pt idx="5455">
                  <c:v>312.44126887041182</c:v>
                </c:pt>
                <c:pt idx="5456">
                  <c:v>323.15327087213541</c:v>
                </c:pt>
                <c:pt idx="5457">
                  <c:v>327.39303288942807</c:v>
                </c:pt>
                <c:pt idx="5458">
                  <c:v>322.29697795323307</c:v>
                </c:pt>
                <c:pt idx="5459">
                  <c:v>327.17061914425858</c:v>
                </c:pt>
                <c:pt idx="5460">
                  <c:v>336.42303094330765</c:v>
                </c:pt>
                <c:pt idx="5461">
                  <c:v>337.21259973865926</c:v>
                </c:pt>
                <c:pt idx="5462">
                  <c:v>338.87236231198631</c:v>
                </c:pt>
                <c:pt idx="5463">
                  <c:v>334.84945369623392</c:v>
                </c:pt>
                <c:pt idx="5464">
                  <c:v>326.38383052072174</c:v>
                </c:pt>
                <c:pt idx="5465">
                  <c:v>323.95674052656011</c:v>
                </c:pt>
                <c:pt idx="5466">
                  <c:v>333.2369540437553</c:v>
                </c:pt>
                <c:pt idx="5467">
                  <c:v>329.70057549556111</c:v>
                </c:pt>
                <c:pt idx="5468">
                  <c:v>320.89577135866551</c:v>
                </c:pt>
                <c:pt idx="5469">
                  <c:v>323.13102949761844</c:v>
                </c:pt>
                <c:pt idx="5470">
                  <c:v>326.07801162111366</c:v>
                </c:pt>
                <c:pt idx="5471">
                  <c:v>330.47346326002497</c:v>
                </c:pt>
                <c:pt idx="5472">
                  <c:v>336.15335427728974</c:v>
                </c:pt>
                <c:pt idx="5473">
                  <c:v>338.07167282937621</c:v>
                </c:pt>
                <c:pt idx="5474">
                  <c:v>334.75770802635139</c:v>
                </c:pt>
                <c:pt idx="5475">
                  <c:v>334.20167366342775</c:v>
                </c:pt>
                <c:pt idx="5476">
                  <c:v>324.37932664238201</c:v>
                </c:pt>
                <c:pt idx="5477">
                  <c:v>314.03708749200268</c:v>
                </c:pt>
                <c:pt idx="5478">
                  <c:v>315.94706552864534</c:v>
                </c:pt>
                <c:pt idx="5479">
                  <c:v>323.32008118101254</c:v>
                </c:pt>
                <c:pt idx="5480">
                  <c:v>326.77583474658286</c:v>
                </c:pt>
                <c:pt idx="5481">
                  <c:v>320.0144568934316</c:v>
                </c:pt>
                <c:pt idx="5482">
                  <c:v>322.61113736828491</c:v>
                </c:pt>
                <c:pt idx="5483">
                  <c:v>314.55419944952166</c:v>
                </c:pt>
                <c:pt idx="5484">
                  <c:v>305.60482637826595</c:v>
                </c:pt>
                <c:pt idx="5485">
                  <c:v>312.47741110400187</c:v>
                </c:pt>
                <c:pt idx="5486">
                  <c:v>318.05999610775501</c:v>
                </c:pt>
                <c:pt idx="5487">
                  <c:v>323.88167588756534</c:v>
                </c:pt>
                <c:pt idx="5488">
                  <c:v>321.23773249186354</c:v>
                </c:pt>
                <c:pt idx="5489">
                  <c:v>332.19994995690274</c:v>
                </c:pt>
                <c:pt idx="5490">
                  <c:v>332.38066112485279</c:v>
                </c:pt>
                <c:pt idx="5491">
                  <c:v>335.63624231977059</c:v>
                </c:pt>
                <c:pt idx="5492">
                  <c:v>334.63816063832269</c:v>
                </c:pt>
                <c:pt idx="5493">
                  <c:v>340.45428007450374</c:v>
                </c:pt>
                <c:pt idx="5494">
                  <c:v>333.85971253022961</c:v>
                </c:pt>
                <c:pt idx="5495">
                  <c:v>340.67669381967335</c:v>
                </c:pt>
                <c:pt idx="5496">
                  <c:v>336.36742750701535</c:v>
                </c:pt>
                <c:pt idx="5497">
                  <c:v>337.89930217686987</c:v>
                </c:pt>
                <c:pt idx="5498">
                  <c:v>344.25477494508681</c:v>
                </c:pt>
                <c:pt idx="5499">
                  <c:v>348.68636881758812</c:v>
                </c:pt>
                <c:pt idx="5500">
                  <c:v>341.69701687563821</c:v>
                </c:pt>
                <c:pt idx="5501">
                  <c:v>345.2973393755687</c:v>
                </c:pt>
                <c:pt idx="5502">
                  <c:v>357.13809113402721</c:v>
                </c:pt>
                <c:pt idx="5503">
                  <c:v>357.27709972475816</c:v>
                </c:pt>
                <c:pt idx="5504">
                  <c:v>348.43893352608723</c:v>
                </c:pt>
                <c:pt idx="5505">
                  <c:v>338.70277183129463</c:v>
                </c:pt>
                <c:pt idx="5506">
                  <c:v>344.15746893157535</c:v>
                </c:pt>
                <c:pt idx="5507">
                  <c:v>350.62136840056246</c:v>
                </c:pt>
                <c:pt idx="5508">
                  <c:v>348.41947232338492</c:v>
                </c:pt>
                <c:pt idx="5509">
                  <c:v>350.61302788511864</c:v>
                </c:pt>
                <c:pt idx="5510">
                  <c:v>354.7276821707535</c:v>
                </c:pt>
                <c:pt idx="5511">
                  <c:v>341.71091773471147</c:v>
                </c:pt>
                <c:pt idx="5512">
                  <c:v>344.65511968639214</c:v>
                </c:pt>
                <c:pt idx="5513">
                  <c:v>351.37201479050947</c:v>
                </c:pt>
                <c:pt idx="5514">
                  <c:v>348.01634741026538</c:v>
                </c:pt>
                <c:pt idx="5515">
                  <c:v>349.69279101448006</c:v>
                </c:pt>
                <c:pt idx="5516">
                  <c:v>343.88223192192822</c:v>
                </c:pt>
                <c:pt idx="5517">
                  <c:v>338.10503489115177</c:v>
                </c:pt>
                <c:pt idx="5518">
                  <c:v>337.97158664405009</c:v>
                </c:pt>
                <c:pt idx="5519">
                  <c:v>331.66893714031079</c:v>
                </c:pt>
                <c:pt idx="5520">
                  <c:v>330.29553226388947</c:v>
                </c:pt>
                <c:pt idx="5521">
                  <c:v>322.99758125051699</c:v>
                </c:pt>
                <c:pt idx="5522">
                  <c:v>322.13016764435616</c:v>
                </c:pt>
                <c:pt idx="5523">
                  <c:v>331.54938975228231</c:v>
                </c:pt>
                <c:pt idx="5524">
                  <c:v>332.28335511134156</c:v>
                </c:pt>
                <c:pt idx="5525">
                  <c:v>346.67630459561946</c:v>
                </c:pt>
                <c:pt idx="5526">
                  <c:v>346.01462370374031</c:v>
                </c:pt>
                <c:pt idx="5527">
                  <c:v>345.93121854930178</c:v>
                </c:pt>
                <c:pt idx="5528">
                  <c:v>349.48983847201288</c:v>
                </c:pt>
                <c:pt idx="5529">
                  <c:v>349.87628235424484</c:v>
                </c:pt>
                <c:pt idx="5530">
                  <c:v>350.5824459951578</c:v>
                </c:pt>
                <c:pt idx="5531">
                  <c:v>343.17050793738588</c:v>
                </c:pt>
                <c:pt idx="5532">
                  <c:v>348.96438599905008</c:v>
                </c:pt>
                <c:pt idx="5533">
                  <c:v>343.75990436208497</c:v>
                </c:pt>
                <c:pt idx="5534">
                  <c:v>340.77399983318509</c:v>
                </c:pt>
                <c:pt idx="5535">
                  <c:v>336.90678083905124</c:v>
                </c:pt>
                <c:pt idx="5536">
                  <c:v>337.99938836219616</c:v>
                </c:pt>
                <c:pt idx="5537">
                  <c:v>339.08643554171186</c:v>
                </c:pt>
                <c:pt idx="5538">
                  <c:v>335.10800967499335</c:v>
                </c:pt>
                <c:pt idx="5539">
                  <c:v>345.1027273485455</c:v>
                </c:pt>
                <c:pt idx="5540">
                  <c:v>345.77552892768313</c:v>
                </c:pt>
                <c:pt idx="5541">
                  <c:v>348.63354555311054</c:v>
                </c:pt>
                <c:pt idx="5542">
                  <c:v>351.78348021907283</c:v>
                </c:pt>
                <c:pt idx="5543">
                  <c:v>351.81128193721906</c:v>
                </c:pt>
                <c:pt idx="5544">
                  <c:v>347.42139064193714</c:v>
                </c:pt>
                <c:pt idx="5545">
                  <c:v>351.1412605298961</c:v>
                </c:pt>
                <c:pt idx="5546">
                  <c:v>349.6344074063731</c:v>
                </c:pt>
                <c:pt idx="5547">
                  <c:v>355.04462175761995</c:v>
                </c:pt>
                <c:pt idx="5548">
                  <c:v>355.11134588117079</c:v>
                </c:pt>
                <c:pt idx="5549">
                  <c:v>356.15669048346717</c:v>
                </c:pt>
                <c:pt idx="5550">
                  <c:v>355.25313464371624</c:v>
                </c:pt>
                <c:pt idx="5551">
                  <c:v>356.05660429814083</c:v>
                </c:pt>
                <c:pt idx="5552">
                  <c:v>359.22043982317615</c:v>
                </c:pt>
                <c:pt idx="5553">
                  <c:v>359.33164669576098</c:v>
                </c:pt>
                <c:pt idx="5554">
                  <c:v>360.17125858377563</c:v>
                </c:pt>
                <c:pt idx="5555">
                  <c:v>358.38916845060544</c:v>
                </c:pt>
                <c:pt idx="5556">
                  <c:v>359.66248714170052</c:v>
                </c:pt>
                <c:pt idx="5557">
                  <c:v>363.65759403930673</c:v>
                </c:pt>
                <c:pt idx="5558">
                  <c:v>365.45358503155001</c:v>
                </c:pt>
                <c:pt idx="5559">
                  <c:v>365.6982401512364</c:v>
                </c:pt>
                <c:pt idx="5560">
                  <c:v>365.87061080374269</c:v>
                </c:pt>
                <c:pt idx="5561">
                  <c:v>365.49528760876927</c:v>
                </c:pt>
                <c:pt idx="5562">
                  <c:v>368.66468347743387</c:v>
                </c:pt>
                <c:pt idx="5563">
                  <c:v>366.54619255469493</c:v>
                </c:pt>
                <c:pt idx="5564">
                  <c:v>365.96235647362505</c:v>
                </c:pt>
                <c:pt idx="5565">
                  <c:v>365.03933943117181</c:v>
                </c:pt>
                <c:pt idx="5566">
                  <c:v>364.87252912229474</c:v>
                </c:pt>
                <c:pt idx="5567">
                  <c:v>368.11976980176865</c:v>
                </c:pt>
                <c:pt idx="5568">
                  <c:v>368.52289471488831</c:v>
                </c:pt>
                <c:pt idx="5569">
                  <c:v>373.90530734798898</c:v>
                </c:pt>
                <c:pt idx="5570">
                  <c:v>373.74683755455567</c:v>
                </c:pt>
                <c:pt idx="5571">
                  <c:v>374.50304428813183</c:v>
                </c:pt>
                <c:pt idx="5572">
                  <c:v>375.31207428618575</c:v>
                </c:pt>
                <c:pt idx="5573">
                  <c:v>375.86532847729472</c:v>
                </c:pt>
                <c:pt idx="5574">
                  <c:v>373.27698851788529</c:v>
                </c:pt>
                <c:pt idx="5575">
                  <c:v>375.81528538463158</c:v>
                </c:pt>
                <c:pt idx="5576">
                  <c:v>375.46220356417507</c:v>
                </c:pt>
                <c:pt idx="5577">
                  <c:v>373.4410186549477</c:v>
                </c:pt>
                <c:pt idx="5578">
                  <c:v>377.5584531123971</c:v>
                </c:pt>
                <c:pt idx="5579">
                  <c:v>378.44532792126029</c:v>
                </c:pt>
                <c:pt idx="5580">
                  <c:v>378.71778475909281</c:v>
                </c:pt>
                <c:pt idx="5581">
                  <c:v>377.4528065834416</c:v>
                </c:pt>
                <c:pt idx="5582">
                  <c:v>379.06530623592005</c:v>
                </c:pt>
                <c:pt idx="5583">
                  <c:v>379.69918540965301</c:v>
                </c:pt>
                <c:pt idx="5584">
                  <c:v>380.21351719535727</c:v>
                </c:pt>
                <c:pt idx="5585">
                  <c:v>381.48961605826702</c:v>
                </c:pt>
                <c:pt idx="5586">
                  <c:v>379.68250437876526</c:v>
                </c:pt>
                <c:pt idx="5587">
                  <c:v>382.02062887485909</c:v>
                </c:pt>
                <c:pt idx="5588">
                  <c:v>380.78067224553945</c:v>
                </c:pt>
                <c:pt idx="5589">
                  <c:v>379.30718118379178</c:v>
                </c:pt>
                <c:pt idx="5590">
                  <c:v>373.47716088853758</c:v>
                </c:pt>
                <c:pt idx="5591">
                  <c:v>376.05438016068865</c:v>
                </c:pt>
                <c:pt idx="5592">
                  <c:v>379.74644833050149</c:v>
                </c:pt>
                <c:pt idx="5593">
                  <c:v>381.12541355055203</c:v>
                </c:pt>
                <c:pt idx="5594">
                  <c:v>381.1865773304736</c:v>
                </c:pt>
                <c:pt idx="5595">
                  <c:v>388.09808446161423</c:v>
                </c:pt>
                <c:pt idx="5596">
                  <c:v>387.63379576857295</c:v>
                </c:pt>
                <c:pt idx="5597">
                  <c:v>389.94689871833526</c:v>
                </c:pt>
                <c:pt idx="5598">
                  <c:v>390.38338569323037</c:v>
                </c:pt>
                <c:pt idx="5599">
                  <c:v>391.93472156578724</c:v>
                </c:pt>
                <c:pt idx="5600">
                  <c:v>390.75870888820378</c:v>
                </c:pt>
                <c:pt idx="5601">
                  <c:v>390.02752370095925</c:v>
                </c:pt>
                <c:pt idx="5602">
                  <c:v>387.21676999638032</c:v>
                </c:pt>
                <c:pt idx="5603">
                  <c:v>388.42058439210996</c:v>
                </c:pt>
                <c:pt idx="5604">
                  <c:v>393.81411771246906</c:v>
                </c:pt>
                <c:pt idx="5605">
                  <c:v>392.70482915843638</c:v>
                </c:pt>
                <c:pt idx="5606">
                  <c:v>390.76426923183294</c:v>
                </c:pt>
                <c:pt idx="5607">
                  <c:v>390.13595040172925</c:v>
                </c:pt>
                <c:pt idx="5608">
                  <c:v>391.57885957351601</c:v>
                </c:pt>
                <c:pt idx="5609">
                  <c:v>394.5175011815673</c:v>
                </c:pt>
                <c:pt idx="5610">
                  <c:v>392.94392393449351</c:v>
                </c:pt>
                <c:pt idx="5611">
                  <c:v>388.9349161778141</c:v>
                </c:pt>
                <c:pt idx="5612">
                  <c:v>388.6902610581277</c:v>
                </c:pt>
                <c:pt idx="5613">
                  <c:v>384.27534821651426</c:v>
                </c:pt>
                <c:pt idx="5614">
                  <c:v>377.71136256220086</c:v>
                </c:pt>
                <c:pt idx="5615">
                  <c:v>380.5248964385944</c:v>
                </c:pt>
                <c:pt idx="5616">
                  <c:v>385.76830048096411</c:v>
                </c:pt>
                <c:pt idx="5617">
                  <c:v>380.95582306986023</c:v>
                </c:pt>
                <c:pt idx="5618">
                  <c:v>380.76399121465153</c:v>
                </c:pt>
                <c:pt idx="5619">
                  <c:v>386.66073563345657</c:v>
                </c:pt>
                <c:pt idx="5620">
                  <c:v>385.09271873001205</c:v>
                </c:pt>
                <c:pt idx="5621">
                  <c:v>382.80741749839592</c:v>
                </c:pt>
                <c:pt idx="5622">
                  <c:v>383.25502516054945</c:v>
                </c:pt>
                <c:pt idx="5623">
                  <c:v>380.03280602740705</c:v>
                </c:pt>
                <c:pt idx="5624">
                  <c:v>381.43123245015994</c:v>
                </c:pt>
                <c:pt idx="5625">
                  <c:v>386.635714087125</c:v>
                </c:pt>
                <c:pt idx="5626">
                  <c:v>389.21849370290516</c:v>
                </c:pt>
                <c:pt idx="5627">
                  <c:v>390.15819177624599</c:v>
                </c:pt>
                <c:pt idx="5628">
                  <c:v>388.64299813727916</c:v>
                </c:pt>
                <c:pt idx="5629">
                  <c:v>390.84211404264204</c:v>
                </c:pt>
                <c:pt idx="5630">
                  <c:v>389.86627373571105</c:v>
                </c:pt>
                <c:pt idx="5631">
                  <c:v>386.88036920681117</c:v>
                </c:pt>
                <c:pt idx="5632">
                  <c:v>380.63332313936428</c:v>
                </c:pt>
                <c:pt idx="5633">
                  <c:v>380.76677138646596</c:v>
                </c:pt>
                <c:pt idx="5634">
                  <c:v>379.13759070309982</c:v>
                </c:pt>
                <c:pt idx="5635">
                  <c:v>376.59651366453886</c:v>
                </c:pt>
                <c:pt idx="5636">
                  <c:v>377.54455225332367</c:v>
                </c:pt>
                <c:pt idx="5637">
                  <c:v>376.26567321859943</c:v>
                </c:pt>
                <c:pt idx="5638">
                  <c:v>372.08429480941373</c:v>
                </c:pt>
                <c:pt idx="5639">
                  <c:v>369.94634268397249</c:v>
                </c:pt>
                <c:pt idx="5640">
                  <c:v>368.31716200060623</c:v>
                </c:pt>
                <c:pt idx="5641">
                  <c:v>362.7734994022577</c:v>
                </c:pt>
                <c:pt idx="5642">
                  <c:v>360.0934137729659</c:v>
                </c:pt>
                <c:pt idx="5643">
                  <c:v>365.86783063192769</c:v>
                </c:pt>
                <c:pt idx="5644">
                  <c:v>366.0457616280633</c:v>
                </c:pt>
                <c:pt idx="5645">
                  <c:v>366.66573994272312</c:v>
                </c:pt>
                <c:pt idx="5646">
                  <c:v>367.17173121298367</c:v>
                </c:pt>
                <c:pt idx="5647">
                  <c:v>366.37660207400285</c:v>
                </c:pt>
                <c:pt idx="5648">
                  <c:v>370.43565292334534</c:v>
                </c:pt>
                <c:pt idx="5649">
                  <c:v>365.12552475742473</c:v>
                </c:pt>
                <c:pt idx="5650">
                  <c:v>364.2942533848539</c:v>
                </c:pt>
                <c:pt idx="5651">
                  <c:v>355.31707859545207</c:v>
                </c:pt>
                <c:pt idx="5652">
                  <c:v>355.35600100085674</c:v>
                </c:pt>
                <c:pt idx="5653">
                  <c:v>357.39108676915714</c:v>
                </c:pt>
                <c:pt idx="5654">
                  <c:v>365.62873585587067</c:v>
                </c:pt>
                <c:pt idx="5655">
                  <c:v>365.58981345046601</c:v>
                </c:pt>
                <c:pt idx="5656">
                  <c:v>368.55625677666353</c:v>
                </c:pt>
                <c:pt idx="5657">
                  <c:v>363.90502933080745</c:v>
                </c:pt>
                <c:pt idx="5658">
                  <c:v>368.14479134810006</c:v>
                </c:pt>
                <c:pt idx="5659">
                  <c:v>365.55923156050522</c:v>
                </c:pt>
                <c:pt idx="5660">
                  <c:v>369.51263588089211</c:v>
                </c:pt>
                <c:pt idx="5661">
                  <c:v>373.33259195417736</c:v>
                </c:pt>
                <c:pt idx="5662">
                  <c:v>373.8719452862133</c:v>
                </c:pt>
                <c:pt idx="5663">
                  <c:v>377.54177208150924</c:v>
                </c:pt>
                <c:pt idx="5664">
                  <c:v>376.90511273596167</c:v>
                </c:pt>
                <c:pt idx="5665">
                  <c:v>368.51455419944421</c:v>
                </c:pt>
                <c:pt idx="5666">
                  <c:v>371.15849759514606</c:v>
                </c:pt>
                <c:pt idx="5667">
                  <c:v>365.2367316300095</c:v>
                </c:pt>
                <c:pt idx="5668">
                  <c:v>366.97989935777508</c:v>
                </c:pt>
                <c:pt idx="5669">
                  <c:v>370.27718312991215</c:v>
                </c:pt>
                <c:pt idx="5670">
                  <c:v>369.49595485000447</c:v>
                </c:pt>
                <c:pt idx="5671">
                  <c:v>378.70388390001966</c:v>
                </c:pt>
                <c:pt idx="5672">
                  <c:v>379.63524145791672</c:v>
                </c:pt>
                <c:pt idx="5673">
                  <c:v>382.00116767215673</c:v>
                </c:pt>
                <c:pt idx="5674">
                  <c:v>380.21073702354272</c:v>
                </c:pt>
                <c:pt idx="5675">
                  <c:v>376.62431538268538</c:v>
                </c:pt>
                <c:pt idx="5676">
                  <c:v>376.00711723984011</c:v>
                </c:pt>
                <c:pt idx="5677">
                  <c:v>372.95170841557484</c:v>
                </c:pt>
                <c:pt idx="5678">
                  <c:v>372.94614807194563</c:v>
                </c:pt>
                <c:pt idx="5679">
                  <c:v>371.08621312796612</c:v>
                </c:pt>
                <c:pt idx="5680">
                  <c:v>377.2081514637552</c:v>
                </c:pt>
                <c:pt idx="5681">
                  <c:v>376.33517751396522</c:v>
                </c:pt>
                <c:pt idx="5682">
                  <c:v>379.12368984402713</c:v>
                </c:pt>
                <c:pt idx="5683">
                  <c:v>381.65642636714415</c:v>
                </c:pt>
                <c:pt idx="5684">
                  <c:v>382.69343045399671</c:v>
                </c:pt>
                <c:pt idx="5685">
                  <c:v>378.84289249075061</c:v>
                </c:pt>
                <c:pt idx="5686">
                  <c:v>375.46776390780423</c:v>
                </c:pt>
                <c:pt idx="5687">
                  <c:v>372.07317412215554</c:v>
                </c:pt>
                <c:pt idx="5688">
                  <c:v>371.95640690594161</c:v>
                </c:pt>
                <c:pt idx="5689">
                  <c:v>378.10892713169147</c:v>
                </c:pt>
                <c:pt idx="5690">
                  <c:v>385.32347299062542</c:v>
                </c:pt>
                <c:pt idx="5691">
                  <c:v>385.13720147904598</c:v>
                </c:pt>
                <c:pt idx="5692">
                  <c:v>383.47465873390433</c:v>
                </c:pt>
                <c:pt idx="5693">
                  <c:v>382.31254691539402</c:v>
                </c:pt>
                <c:pt idx="5694">
                  <c:v>379.49345269537122</c:v>
                </c:pt>
                <c:pt idx="5695">
                  <c:v>386.71911924156359</c:v>
                </c:pt>
                <c:pt idx="5696">
                  <c:v>387.61989490949981</c:v>
                </c:pt>
                <c:pt idx="5697">
                  <c:v>389.59937724150791</c:v>
                </c:pt>
                <c:pt idx="5698">
                  <c:v>389.8412521893797</c:v>
                </c:pt>
                <c:pt idx="5699">
                  <c:v>390.00250215462756</c:v>
                </c:pt>
                <c:pt idx="5700">
                  <c:v>390.85601490171535</c:v>
                </c:pt>
                <c:pt idx="5701">
                  <c:v>390.36670466234256</c:v>
                </c:pt>
                <c:pt idx="5702">
                  <c:v>390.31666156967947</c:v>
                </c:pt>
                <c:pt idx="5703">
                  <c:v>390.76148906001833</c:v>
                </c:pt>
                <c:pt idx="5704">
                  <c:v>393.53610053100709</c:v>
                </c:pt>
                <c:pt idx="5705">
                  <c:v>394.2728460618809</c:v>
                </c:pt>
                <c:pt idx="5706">
                  <c:v>394.26450554643708</c:v>
                </c:pt>
                <c:pt idx="5707">
                  <c:v>392.88554032638649</c:v>
                </c:pt>
                <c:pt idx="5708">
                  <c:v>392.97450582445424</c:v>
                </c:pt>
                <c:pt idx="5709">
                  <c:v>389.80232978397493</c:v>
                </c:pt>
                <c:pt idx="5710">
                  <c:v>392.31838527620437</c:v>
                </c:pt>
                <c:pt idx="5711">
                  <c:v>392.12655342099566</c:v>
                </c:pt>
                <c:pt idx="5712">
                  <c:v>391.80961383412915</c:v>
                </c:pt>
                <c:pt idx="5713">
                  <c:v>392.1404542800687</c:v>
                </c:pt>
                <c:pt idx="5714">
                  <c:v>389.07948511217421</c:v>
                </c:pt>
                <c:pt idx="5715">
                  <c:v>391.05340710055304</c:v>
                </c:pt>
                <c:pt idx="5716">
                  <c:v>390.5974589229557</c:v>
                </c:pt>
                <c:pt idx="5717">
                  <c:v>390.18043315076301</c:v>
                </c:pt>
                <c:pt idx="5718">
                  <c:v>398.15396591508761</c:v>
                </c:pt>
                <c:pt idx="5719">
                  <c:v>399.76646556756612</c:v>
                </c:pt>
                <c:pt idx="5720">
                  <c:v>397.3087936834437</c:v>
                </c:pt>
                <c:pt idx="5721">
                  <c:v>398.55431065639254</c:v>
                </c:pt>
                <c:pt idx="5722">
                  <c:v>399.38836220077798</c:v>
                </c:pt>
                <c:pt idx="5723">
                  <c:v>405.90230476242817</c:v>
                </c:pt>
                <c:pt idx="5724">
                  <c:v>407.50924407127746</c:v>
                </c:pt>
                <c:pt idx="5725">
                  <c:v>406.23592538018232</c:v>
                </c:pt>
                <c:pt idx="5726">
                  <c:v>405.71603325084874</c:v>
                </c:pt>
                <c:pt idx="5727">
                  <c:v>406.19700297477772</c:v>
                </c:pt>
                <c:pt idx="5728">
                  <c:v>405.97736940142289</c:v>
                </c:pt>
                <c:pt idx="5729">
                  <c:v>405.94678751146211</c:v>
                </c:pt>
                <c:pt idx="5730">
                  <c:v>405.04045149989656</c:v>
                </c:pt>
                <c:pt idx="5731">
                  <c:v>400.78678862353081</c:v>
                </c:pt>
                <c:pt idx="5732">
                  <c:v>398.48758653284165</c:v>
                </c:pt>
                <c:pt idx="5733">
                  <c:v>402.33256415245853</c:v>
                </c:pt>
                <c:pt idx="5734">
                  <c:v>400.53101281658599</c:v>
                </c:pt>
                <c:pt idx="5735">
                  <c:v>401.59303844977001</c:v>
                </c:pt>
                <c:pt idx="5736">
                  <c:v>401.9433400984118</c:v>
                </c:pt>
                <c:pt idx="5737">
                  <c:v>403.40015012927165</c:v>
                </c:pt>
                <c:pt idx="5738">
                  <c:v>406.29430898828923</c:v>
                </c:pt>
                <c:pt idx="5739">
                  <c:v>406.16364091300215</c:v>
                </c:pt>
                <c:pt idx="5740">
                  <c:v>404.75965414662005</c:v>
                </c:pt>
                <c:pt idx="5741">
                  <c:v>400.75620673356997</c:v>
                </c:pt>
                <c:pt idx="5742">
                  <c:v>398.27629347493058</c:v>
                </c:pt>
                <c:pt idx="5743">
                  <c:v>398.35413828573979</c:v>
                </c:pt>
                <c:pt idx="5744">
                  <c:v>397.17256526452707</c:v>
                </c:pt>
                <c:pt idx="5745">
                  <c:v>400.38088353859638</c:v>
                </c:pt>
                <c:pt idx="5746">
                  <c:v>404.49275765241646</c:v>
                </c:pt>
                <c:pt idx="5747">
                  <c:v>406.15808056937277</c:v>
                </c:pt>
                <c:pt idx="5748">
                  <c:v>405.16555923155403</c:v>
                </c:pt>
                <c:pt idx="5749">
                  <c:v>398.45144429925136</c:v>
                </c:pt>
                <c:pt idx="5750">
                  <c:v>398.62659512357226</c:v>
                </c:pt>
                <c:pt idx="5751">
                  <c:v>392.86885929549811</c:v>
                </c:pt>
                <c:pt idx="5752">
                  <c:v>391.6567043843246</c:v>
                </c:pt>
                <c:pt idx="5753">
                  <c:v>392.82993689009339</c:v>
                </c:pt>
                <c:pt idx="5754">
                  <c:v>392.54357919318772</c:v>
                </c:pt>
                <c:pt idx="5755">
                  <c:v>392.60474297310935</c:v>
                </c:pt>
                <c:pt idx="5756">
                  <c:v>396.89454808306505</c:v>
                </c:pt>
                <c:pt idx="5757">
                  <c:v>393.17189802329142</c:v>
                </c:pt>
                <c:pt idx="5758">
                  <c:v>394.02263059856455</c:v>
                </c:pt>
                <c:pt idx="5759">
                  <c:v>397.11696182823448</c:v>
                </c:pt>
                <c:pt idx="5760">
                  <c:v>387.70330006393749</c:v>
                </c:pt>
                <c:pt idx="5761">
                  <c:v>382.97144763545754</c:v>
                </c:pt>
                <c:pt idx="5762">
                  <c:v>383.62200784007808</c:v>
                </c:pt>
                <c:pt idx="5763">
                  <c:v>383.67205093274123</c:v>
                </c:pt>
                <c:pt idx="5764">
                  <c:v>382.14295643470126</c:v>
                </c:pt>
                <c:pt idx="5765">
                  <c:v>376.8495092996684</c:v>
                </c:pt>
                <c:pt idx="5766">
                  <c:v>376.24899218771083</c:v>
                </c:pt>
                <c:pt idx="5767">
                  <c:v>378.07000472628579</c:v>
                </c:pt>
                <c:pt idx="5768">
                  <c:v>385.57924879756928</c:v>
                </c:pt>
                <c:pt idx="5769">
                  <c:v>385.8350246045141</c:v>
                </c:pt>
                <c:pt idx="5770">
                  <c:v>386.73023992882116</c:v>
                </c:pt>
                <c:pt idx="5771">
                  <c:v>391.7679112569092</c:v>
                </c:pt>
                <c:pt idx="5772">
                  <c:v>390.97278211792832</c:v>
                </c:pt>
                <c:pt idx="5773">
                  <c:v>388.92935583418409</c:v>
                </c:pt>
                <c:pt idx="5774">
                  <c:v>391.98476465844931</c:v>
                </c:pt>
                <c:pt idx="5775">
                  <c:v>393.65842809084944</c:v>
                </c:pt>
                <c:pt idx="5776">
                  <c:v>393.72237204258562</c:v>
                </c:pt>
                <c:pt idx="5777">
                  <c:v>391.85409658316229</c:v>
                </c:pt>
                <c:pt idx="5778">
                  <c:v>391.18407517583927</c:v>
                </c:pt>
                <c:pt idx="5779">
                  <c:v>391.80405349049909</c:v>
                </c:pt>
                <c:pt idx="5780">
                  <c:v>393.09961355611119</c:v>
                </c:pt>
                <c:pt idx="5781">
                  <c:v>394.24782451554842</c:v>
                </c:pt>
                <c:pt idx="5782">
                  <c:v>394.38127276265016</c:v>
                </c:pt>
                <c:pt idx="5783">
                  <c:v>396.96405237843032</c:v>
                </c:pt>
                <c:pt idx="5784">
                  <c:v>397.14198337456588</c:v>
                </c:pt>
                <c:pt idx="5785">
                  <c:v>394.63148822596577</c:v>
                </c:pt>
                <c:pt idx="5786">
                  <c:v>392.99952737078496</c:v>
                </c:pt>
                <c:pt idx="5787">
                  <c:v>397.66465567571413</c:v>
                </c:pt>
                <c:pt idx="5788">
                  <c:v>402.23247796713167</c:v>
                </c:pt>
                <c:pt idx="5789">
                  <c:v>399.17984931468106</c:v>
                </c:pt>
                <c:pt idx="5790">
                  <c:v>401.37062470460017</c:v>
                </c:pt>
                <c:pt idx="5791">
                  <c:v>397.60627206760722</c:v>
                </c:pt>
                <c:pt idx="5792">
                  <c:v>396.6359921043055</c:v>
                </c:pt>
                <c:pt idx="5793">
                  <c:v>394.73713475492133</c:v>
                </c:pt>
                <c:pt idx="5794">
                  <c:v>394.25616503099241</c:v>
                </c:pt>
                <c:pt idx="5795">
                  <c:v>389.89963579748593</c:v>
                </c:pt>
                <c:pt idx="5796">
                  <c:v>396.50532402901854</c:v>
                </c:pt>
                <c:pt idx="5797">
                  <c:v>406.57788651337989</c:v>
                </c:pt>
                <c:pt idx="5798">
                  <c:v>405.72993410992132</c:v>
                </c:pt>
                <c:pt idx="5799">
                  <c:v>407.70385609830021</c:v>
                </c:pt>
                <c:pt idx="5800">
                  <c:v>406.43053740720507</c:v>
                </c:pt>
                <c:pt idx="5801">
                  <c:v>405.11273596707605</c:v>
                </c:pt>
                <c:pt idx="5802">
                  <c:v>406.18866245933322</c:v>
                </c:pt>
                <c:pt idx="5803">
                  <c:v>409.27465317355933</c:v>
                </c:pt>
                <c:pt idx="5804">
                  <c:v>409.25519197085703</c:v>
                </c:pt>
                <c:pt idx="5805">
                  <c:v>408.87430843225434</c:v>
                </c:pt>
                <c:pt idx="5806">
                  <c:v>409.3358169534809</c:v>
                </c:pt>
                <c:pt idx="5807">
                  <c:v>409.41644193610489</c:v>
                </c:pt>
                <c:pt idx="5808">
                  <c:v>411.72676471405254</c:v>
                </c:pt>
                <c:pt idx="5809">
                  <c:v>413.12797130862003</c:v>
                </c:pt>
                <c:pt idx="5810">
                  <c:v>414.9573243626387</c:v>
                </c:pt>
                <c:pt idx="5811">
                  <c:v>415.58286302092779</c:v>
                </c:pt>
                <c:pt idx="5812">
                  <c:v>415.58564319274234</c:v>
                </c:pt>
                <c:pt idx="5813">
                  <c:v>417.84870304984156</c:v>
                </c:pt>
                <c:pt idx="5814">
                  <c:v>417.07581528537776</c:v>
                </c:pt>
                <c:pt idx="5815">
                  <c:v>419.20542689537518</c:v>
                </c:pt>
                <c:pt idx="5816">
                  <c:v>417.57068586837971</c:v>
                </c:pt>
                <c:pt idx="5817">
                  <c:v>416.5003197197517</c:v>
                </c:pt>
                <c:pt idx="5818">
                  <c:v>420.68725847256661</c:v>
                </c:pt>
                <c:pt idx="5819">
                  <c:v>415.8330784842434</c:v>
                </c:pt>
                <c:pt idx="5820">
                  <c:v>420.16458617141842</c:v>
                </c:pt>
                <c:pt idx="5821">
                  <c:v>420.39534043203173</c:v>
                </c:pt>
                <c:pt idx="5822">
                  <c:v>419.63635352664102</c:v>
                </c:pt>
                <c:pt idx="5823">
                  <c:v>422.01062025632484</c:v>
                </c:pt>
                <c:pt idx="5824">
                  <c:v>421.75484444937996</c:v>
                </c:pt>
                <c:pt idx="5825">
                  <c:v>422.42764602851753</c:v>
                </c:pt>
                <c:pt idx="5826">
                  <c:v>422.67786149183308</c:v>
                </c:pt>
                <c:pt idx="5827">
                  <c:v>422.96977953236797</c:v>
                </c:pt>
                <c:pt idx="5828">
                  <c:v>422.52773221384359</c:v>
                </c:pt>
                <c:pt idx="5829">
                  <c:v>425.6276237871428</c:v>
                </c:pt>
                <c:pt idx="5830">
                  <c:v>420.34807751118302</c:v>
                </c:pt>
                <c:pt idx="5831">
                  <c:v>417.69857377185201</c:v>
                </c:pt>
                <c:pt idx="5832">
                  <c:v>421.36284022351862</c:v>
                </c:pt>
                <c:pt idx="5833">
                  <c:v>413.64786343795339</c:v>
                </c:pt>
                <c:pt idx="5834">
                  <c:v>416.17503961744131</c:v>
                </c:pt>
                <c:pt idx="5835">
                  <c:v>421.47126692428878</c:v>
                </c:pt>
                <c:pt idx="5836">
                  <c:v>421.10706441657385</c:v>
                </c:pt>
                <c:pt idx="5837">
                  <c:v>422.08568489531939</c:v>
                </c:pt>
                <c:pt idx="5838">
                  <c:v>424.03180516555199</c:v>
                </c:pt>
                <c:pt idx="5839">
                  <c:v>428.08807584307976</c:v>
                </c:pt>
                <c:pt idx="5840">
                  <c:v>428.55236453612093</c:v>
                </c:pt>
                <c:pt idx="5841">
                  <c:v>429.33081264421401</c:v>
                </c:pt>
                <c:pt idx="5842">
                  <c:v>431.25469153992969</c:v>
                </c:pt>
                <c:pt idx="5843">
                  <c:v>432.65589813449719</c:v>
                </c:pt>
                <c:pt idx="5844">
                  <c:v>431.61611387583002</c:v>
                </c:pt>
                <c:pt idx="5845">
                  <c:v>432.18326892601209</c:v>
                </c:pt>
                <c:pt idx="5846">
                  <c:v>434.60479857654445</c:v>
                </c:pt>
                <c:pt idx="5847">
                  <c:v>433.9014151074461</c:v>
                </c:pt>
                <c:pt idx="5848">
                  <c:v>431.51046734687452</c:v>
                </c:pt>
                <c:pt idx="5849">
                  <c:v>430.46512274457808</c:v>
                </c:pt>
                <c:pt idx="5850">
                  <c:v>433.34816091633706</c:v>
                </c:pt>
                <c:pt idx="5851">
                  <c:v>429.75895910366501</c:v>
                </c:pt>
                <c:pt idx="5852">
                  <c:v>432.84216964607657</c:v>
                </c:pt>
                <c:pt idx="5853">
                  <c:v>431.39648030247514</c:v>
                </c:pt>
                <c:pt idx="5854">
                  <c:v>434.75492785453378</c:v>
                </c:pt>
                <c:pt idx="5855">
                  <c:v>434.49915204758889</c:v>
                </c:pt>
                <c:pt idx="5856">
                  <c:v>436.26178097805678</c:v>
                </c:pt>
                <c:pt idx="5857">
                  <c:v>434.3101003641948</c:v>
                </c:pt>
                <c:pt idx="5858">
                  <c:v>436.55647919040621</c:v>
                </c:pt>
                <c:pt idx="5859">
                  <c:v>431.95251466539867</c:v>
                </c:pt>
                <c:pt idx="5860">
                  <c:v>433.70124273679346</c:v>
                </c:pt>
                <c:pt idx="5861">
                  <c:v>431.83852762099934</c:v>
                </c:pt>
                <c:pt idx="5862">
                  <c:v>434.56031582751046</c:v>
                </c:pt>
                <c:pt idx="5863">
                  <c:v>436.10053101280886</c:v>
                </c:pt>
                <c:pt idx="5864">
                  <c:v>441.41621952235869</c:v>
                </c:pt>
                <c:pt idx="5865">
                  <c:v>442.98423642580326</c:v>
                </c:pt>
                <c:pt idx="5866">
                  <c:v>441.72759876559587</c:v>
                </c:pt>
                <c:pt idx="5867">
                  <c:v>431.58275181405446</c:v>
                </c:pt>
                <c:pt idx="5868">
                  <c:v>437.75751341432118</c:v>
                </c:pt>
                <c:pt idx="5869">
                  <c:v>431.48544580054278</c:v>
                </c:pt>
                <c:pt idx="5870">
                  <c:v>428.59406711333992</c:v>
                </c:pt>
                <c:pt idx="5871">
                  <c:v>432.38622146847899</c:v>
                </c:pt>
                <c:pt idx="5872">
                  <c:v>434.40184603407721</c:v>
                </c:pt>
                <c:pt idx="5873">
                  <c:v>438.92796574827548</c:v>
                </c:pt>
                <c:pt idx="5874">
                  <c:v>438.93074592009009</c:v>
                </c:pt>
                <c:pt idx="5875">
                  <c:v>440.70171536600191</c:v>
                </c:pt>
                <c:pt idx="5876">
                  <c:v>439.88990519613338</c:v>
                </c:pt>
                <c:pt idx="5877">
                  <c:v>443.0509605493541</c:v>
                </c:pt>
                <c:pt idx="5878">
                  <c:v>444.15190858794296</c:v>
                </c:pt>
                <c:pt idx="5879">
                  <c:v>440.01779309960585</c:v>
                </c:pt>
                <c:pt idx="5880">
                  <c:v>444.15746893157223</c:v>
                </c:pt>
                <c:pt idx="5881">
                  <c:v>448.83649809557454</c:v>
                </c:pt>
                <c:pt idx="5882">
                  <c:v>449.69279101447694</c:v>
                </c:pt>
                <c:pt idx="5883">
                  <c:v>452.0448163696438</c:v>
                </c:pt>
                <c:pt idx="5884">
                  <c:v>453.91587200088173</c:v>
                </c:pt>
                <c:pt idx="5885">
                  <c:v>452.24220856848171</c:v>
                </c:pt>
                <c:pt idx="5886">
                  <c:v>454.19666935415825</c:v>
                </c:pt>
                <c:pt idx="5887">
                  <c:v>454.21613055686049</c:v>
                </c:pt>
                <c:pt idx="5888">
                  <c:v>458.8228752536827</c:v>
                </c:pt>
                <c:pt idx="5889">
                  <c:v>461.16934026522046</c:v>
                </c:pt>
                <c:pt idx="5890">
                  <c:v>458.85901748727287</c:v>
                </c:pt>
                <c:pt idx="5891">
                  <c:v>463.58530957212366</c:v>
                </c:pt>
                <c:pt idx="5892">
                  <c:v>463.25724929799873</c:v>
                </c:pt>
                <c:pt idx="5893">
                  <c:v>464.0551586087941</c:v>
                </c:pt>
                <c:pt idx="5894">
                  <c:v>460.21574133280643</c:v>
                </c:pt>
                <c:pt idx="5895">
                  <c:v>458.87013817453123</c:v>
                </c:pt>
                <c:pt idx="5896">
                  <c:v>458.61714253940096</c:v>
                </c:pt>
                <c:pt idx="5897">
                  <c:v>461.5252022574914</c:v>
                </c:pt>
                <c:pt idx="5898">
                  <c:v>458.27240123438821</c:v>
                </c:pt>
                <c:pt idx="5899">
                  <c:v>459.95440518223228</c:v>
                </c:pt>
                <c:pt idx="5900">
                  <c:v>453.37373849703124</c:v>
                </c:pt>
                <c:pt idx="5901">
                  <c:v>456.06494481358158</c:v>
                </c:pt>
                <c:pt idx="5902">
                  <c:v>453.5516694931668</c:v>
                </c:pt>
                <c:pt idx="5903">
                  <c:v>447.30184325390536</c:v>
                </c:pt>
                <c:pt idx="5904">
                  <c:v>451.09955795267365</c:v>
                </c:pt>
                <c:pt idx="5905">
                  <c:v>456.88787567070852</c:v>
                </c:pt>
                <c:pt idx="5906">
                  <c:v>456.72940587727521</c:v>
                </c:pt>
                <c:pt idx="5907">
                  <c:v>452.09207929049228</c:v>
                </c:pt>
                <c:pt idx="5908">
                  <c:v>448.30826545079702</c:v>
                </c:pt>
                <c:pt idx="5909">
                  <c:v>454.9361950568466</c:v>
                </c:pt>
                <c:pt idx="5910">
                  <c:v>452.25888959936941</c:v>
                </c:pt>
                <c:pt idx="5911">
                  <c:v>455.68128110316428</c:v>
                </c:pt>
                <c:pt idx="5912">
                  <c:v>459.23156051043156</c:v>
                </c:pt>
                <c:pt idx="5913">
                  <c:v>452.87052739858535</c:v>
                </c:pt>
                <c:pt idx="5914">
                  <c:v>441.54410742583116</c:v>
                </c:pt>
                <c:pt idx="5915">
                  <c:v>442.72290027522916</c:v>
                </c:pt>
                <c:pt idx="5916">
                  <c:v>437.34604798575771</c:v>
                </c:pt>
                <c:pt idx="5917">
                  <c:v>441.49962467679723</c:v>
                </c:pt>
                <c:pt idx="5918">
                  <c:v>445.73382635046056</c:v>
                </c:pt>
                <c:pt idx="5919">
                  <c:v>448.49731713419089</c:v>
                </c:pt>
                <c:pt idx="5920">
                  <c:v>446.57343823847515</c:v>
                </c:pt>
                <c:pt idx="5921">
                  <c:v>448.98662737356364</c:v>
                </c:pt>
                <c:pt idx="5922">
                  <c:v>448.74197225387724</c:v>
                </c:pt>
                <c:pt idx="5923">
                  <c:v>449.11173510522144</c:v>
                </c:pt>
                <c:pt idx="5924">
                  <c:v>453.69345825571213</c:v>
                </c:pt>
                <c:pt idx="5925">
                  <c:v>456.07606550083977</c:v>
                </c:pt>
                <c:pt idx="5926">
                  <c:v>459.37334927297684</c:v>
                </c:pt>
                <c:pt idx="5927">
                  <c:v>459.45675442741543</c:v>
                </c:pt>
                <c:pt idx="5928">
                  <c:v>465.68433929215996</c:v>
                </c:pt>
                <c:pt idx="5929">
                  <c:v>467.12168812031757</c:v>
                </c:pt>
                <c:pt idx="5930">
                  <c:v>467.76390780949436</c:v>
                </c:pt>
                <c:pt idx="5931">
                  <c:v>466.02908059717259</c:v>
                </c:pt>
                <c:pt idx="5932">
                  <c:v>467.32186049097004</c:v>
                </c:pt>
                <c:pt idx="5933">
                  <c:v>469.67388584613684</c:v>
                </c:pt>
                <c:pt idx="5934">
                  <c:v>470.430092579713</c:v>
                </c:pt>
                <c:pt idx="5935">
                  <c:v>471.38647168394164</c:v>
                </c:pt>
                <c:pt idx="5936">
                  <c:v>470.51349773415154</c:v>
                </c:pt>
                <c:pt idx="5937">
                  <c:v>468.72028691372282</c:v>
                </c:pt>
                <c:pt idx="5938">
                  <c:v>469.91854096582318</c:v>
                </c:pt>
                <c:pt idx="5939">
                  <c:v>470.30776501986975</c:v>
                </c:pt>
                <c:pt idx="5940">
                  <c:v>468.55069643303108</c:v>
                </c:pt>
                <c:pt idx="5941">
                  <c:v>468.72584725735197</c:v>
                </c:pt>
                <c:pt idx="5942">
                  <c:v>468.66190330561574</c:v>
                </c:pt>
                <c:pt idx="5943">
                  <c:v>474.53918652171831</c:v>
                </c:pt>
                <c:pt idx="5944">
                  <c:v>475.31763462981144</c:v>
                </c:pt>
                <c:pt idx="5945">
                  <c:v>474.61425116071308</c:v>
                </c:pt>
                <c:pt idx="5946">
                  <c:v>471.89802329783117</c:v>
                </c:pt>
                <c:pt idx="5947">
                  <c:v>470.10203230558795</c:v>
                </c:pt>
                <c:pt idx="5948">
                  <c:v>471.92860518779196</c:v>
                </c:pt>
                <c:pt idx="5949">
                  <c:v>470.24382106813346</c:v>
                </c:pt>
                <c:pt idx="5950">
                  <c:v>469.70168756428285</c:v>
                </c:pt>
                <c:pt idx="5951">
                  <c:v>471.00558814533872</c:v>
                </c:pt>
                <c:pt idx="5952">
                  <c:v>468.56737746391866</c:v>
                </c:pt>
                <c:pt idx="5953">
                  <c:v>461.87550390613291</c:v>
                </c:pt>
                <c:pt idx="5954">
                  <c:v>460.3491895799076</c:v>
                </c:pt>
                <c:pt idx="5955">
                  <c:v>457.63296171702569</c:v>
                </c:pt>
                <c:pt idx="5956">
                  <c:v>459.38168978842049</c:v>
                </c:pt>
                <c:pt idx="5957">
                  <c:v>456.72662570546026</c:v>
                </c:pt>
                <c:pt idx="5958">
                  <c:v>460.66334899495956</c:v>
                </c:pt>
                <c:pt idx="5959">
                  <c:v>462.48158136171975</c:v>
                </c:pt>
                <c:pt idx="5960">
                  <c:v>460.61330590229636</c:v>
                </c:pt>
                <c:pt idx="5961">
                  <c:v>453.30145402985073</c:v>
                </c:pt>
                <c:pt idx="5962">
                  <c:v>454.54697100279958</c:v>
                </c:pt>
                <c:pt idx="5963">
                  <c:v>455.43940615529198</c:v>
                </c:pt>
                <c:pt idx="5964">
                  <c:v>453.99371681169055</c:v>
                </c:pt>
                <c:pt idx="5965">
                  <c:v>455.8842336456309</c:v>
                </c:pt>
                <c:pt idx="5966">
                  <c:v>459.58464233088756</c:v>
                </c:pt>
                <c:pt idx="5967">
                  <c:v>460.14067669381114</c:v>
                </c:pt>
                <c:pt idx="5968">
                  <c:v>460.16569824014272</c:v>
                </c:pt>
                <c:pt idx="5969">
                  <c:v>464.76410242152105</c:v>
                </c:pt>
                <c:pt idx="5970">
                  <c:v>468.1781534098721</c:v>
                </c:pt>
                <c:pt idx="5971">
                  <c:v>469.60716172258583</c:v>
                </c:pt>
                <c:pt idx="5972">
                  <c:v>468.0196836164389</c:v>
                </c:pt>
                <c:pt idx="5973">
                  <c:v>469.29022213571938</c:v>
                </c:pt>
                <c:pt idx="5974">
                  <c:v>471.96196724956735</c:v>
                </c:pt>
                <c:pt idx="5975">
                  <c:v>473.95257026883394</c:v>
                </c:pt>
                <c:pt idx="5976">
                  <c:v>479.72420695598112</c:v>
                </c:pt>
                <c:pt idx="5977">
                  <c:v>478.84011231893254</c:v>
                </c:pt>
                <c:pt idx="5978">
                  <c:v>475.38435875336228</c:v>
                </c:pt>
                <c:pt idx="5979">
                  <c:v>473.14076009896547</c:v>
                </c:pt>
                <c:pt idx="5980">
                  <c:v>471.91192415690438</c:v>
                </c:pt>
                <c:pt idx="5981">
                  <c:v>470.61914426310688</c:v>
                </c:pt>
                <c:pt idx="5982">
                  <c:v>472.25944563373162</c:v>
                </c:pt>
                <c:pt idx="5983">
                  <c:v>470.33556673801587</c:v>
                </c:pt>
                <c:pt idx="5984">
                  <c:v>467.49979148710537</c:v>
                </c:pt>
                <c:pt idx="5985">
                  <c:v>471.23912257776681</c:v>
                </c:pt>
                <c:pt idx="5986">
                  <c:v>470.9249631627149</c:v>
                </c:pt>
                <c:pt idx="5987">
                  <c:v>466.69632183268084</c:v>
                </c:pt>
                <c:pt idx="5988">
                  <c:v>469.98804526118863</c:v>
                </c:pt>
                <c:pt idx="5989">
                  <c:v>465.9901581917677</c:v>
                </c:pt>
                <c:pt idx="5990">
                  <c:v>460.24354305095216</c:v>
                </c:pt>
                <c:pt idx="5991">
                  <c:v>460.50765937334086</c:v>
                </c:pt>
                <c:pt idx="5992">
                  <c:v>470.56076065499991</c:v>
                </c:pt>
                <c:pt idx="5993">
                  <c:v>473.51886346575361</c:v>
                </c:pt>
                <c:pt idx="5994">
                  <c:v>475.44830270509863</c:v>
                </c:pt>
                <c:pt idx="5995">
                  <c:v>472.08985515303993</c:v>
                </c:pt>
                <c:pt idx="5996">
                  <c:v>478.61769857376316</c:v>
                </c:pt>
                <c:pt idx="5997">
                  <c:v>481.84547805053478</c:v>
                </c:pt>
                <c:pt idx="5998">
                  <c:v>485.00097306012628</c:v>
                </c:pt>
                <c:pt idx="5999">
                  <c:v>485.0454558091601</c:v>
                </c:pt>
                <c:pt idx="6000">
                  <c:v>487.8284077955928</c:v>
                </c:pt>
                <c:pt idx="6001">
                  <c:v>485.52364536127442</c:v>
                </c:pt>
                <c:pt idx="6002">
                  <c:v>487.10556312379202</c:v>
                </c:pt>
                <c:pt idx="6003">
                  <c:v>489.24629542104799</c:v>
                </c:pt>
                <c:pt idx="6004">
                  <c:v>489.89685562566865</c:v>
                </c:pt>
                <c:pt idx="6005">
                  <c:v>492.63254469125286</c:v>
                </c:pt>
                <c:pt idx="6006">
                  <c:v>490.2304762434228</c:v>
                </c:pt>
                <c:pt idx="6007">
                  <c:v>488.34829992492632</c:v>
                </c:pt>
                <c:pt idx="6008">
                  <c:v>489.76618755038163</c:v>
                </c:pt>
                <c:pt idx="6009">
                  <c:v>491.51491562177637</c:v>
                </c:pt>
                <c:pt idx="6010">
                  <c:v>490.13595040172572</c:v>
                </c:pt>
                <c:pt idx="6011">
                  <c:v>492.22663960631849</c:v>
                </c:pt>
                <c:pt idx="6012">
                  <c:v>485.73771859099986</c:v>
                </c:pt>
                <c:pt idx="6013">
                  <c:v>492.26000166809382</c:v>
                </c:pt>
                <c:pt idx="6014">
                  <c:v>492.61586366036505</c:v>
                </c:pt>
                <c:pt idx="6015">
                  <c:v>491.44819149822547</c:v>
                </c:pt>
                <c:pt idx="6016">
                  <c:v>495.42661736494398</c:v>
                </c:pt>
                <c:pt idx="6017">
                  <c:v>497.82312546914471</c:v>
                </c:pt>
                <c:pt idx="6018">
                  <c:v>499.92493536099607</c:v>
                </c:pt>
                <c:pt idx="6019">
                  <c:v>498.07612110427499</c:v>
                </c:pt>
                <c:pt idx="6020">
                  <c:v>497.05857822012479</c:v>
                </c:pt>
                <c:pt idx="6021">
                  <c:v>495.25146654062297</c:v>
                </c:pt>
                <c:pt idx="6022">
                  <c:v>499.27715532818991</c:v>
                </c:pt>
                <c:pt idx="6023">
                  <c:v>501.75428841501463</c:v>
                </c:pt>
                <c:pt idx="6024">
                  <c:v>501.12040924128166</c:v>
                </c:pt>
                <c:pt idx="6025">
                  <c:v>501.19547388027638</c:v>
                </c:pt>
                <c:pt idx="6026">
                  <c:v>502.44099085322529</c:v>
                </c:pt>
                <c:pt idx="6027">
                  <c:v>502.04620645554951</c:v>
                </c:pt>
                <c:pt idx="6028">
                  <c:v>500.68114209457201</c:v>
                </c:pt>
                <c:pt idx="6029">
                  <c:v>499.08254330116665</c:v>
                </c:pt>
                <c:pt idx="6030">
                  <c:v>498.43198309654599</c:v>
                </c:pt>
                <c:pt idx="6031">
                  <c:v>496.26900942477306</c:v>
                </c:pt>
                <c:pt idx="6032">
                  <c:v>501.84603408489693</c:v>
                </c:pt>
                <c:pt idx="6033">
                  <c:v>502.75793044009163</c:v>
                </c:pt>
                <c:pt idx="6034">
                  <c:v>501.15933164668627</c:v>
                </c:pt>
                <c:pt idx="6035">
                  <c:v>495.48778114486538</c:v>
                </c:pt>
                <c:pt idx="6036">
                  <c:v>493.61950568544205</c:v>
                </c:pt>
                <c:pt idx="6037">
                  <c:v>493.5694625927789</c:v>
                </c:pt>
                <c:pt idx="6038">
                  <c:v>496.68881536878041</c:v>
                </c:pt>
                <c:pt idx="6039">
                  <c:v>495.14860018348202</c:v>
                </c:pt>
                <c:pt idx="6040">
                  <c:v>503.39180961382471</c:v>
                </c:pt>
                <c:pt idx="6041">
                  <c:v>503.09989157328977</c:v>
                </c:pt>
                <c:pt idx="6042">
                  <c:v>505.52420139563679</c:v>
                </c:pt>
                <c:pt idx="6043">
                  <c:v>508.21262754037252</c:v>
                </c:pt>
                <c:pt idx="6044">
                  <c:v>509.69445911756401</c:v>
                </c:pt>
                <c:pt idx="6045">
                  <c:v>512.11320859628177</c:v>
                </c:pt>
                <c:pt idx="6046">
                  <c:v>511.94083794377542</c:v>
                </c:pt>
                <c:pt idx="6047">
                  <c:v>511.84909227389295</c:v>
                </c:pt>
                <c:pt idx="6048">
                  <c:v>513.87583752674959</c:v>
                </c:pt>
                <c:pt idx="6049">
                  <c:v>509.3219160944052</c:v>
                </c:pt>
                <c:pt idx="6050">
                  <c:v>509.15232561371346</c:v>
                </c:pt>
                <c:pt idx="6051">
                  <c:v>507.87344657898916</c:v>
                </c:pt>
                <c:pt idx="6052">
                  <c:v>510.96221746502982</c:v>
                </c:pt>
                <c:pt idx="6053">
                  <c:v>510.85379076425971</c:v>
                </c:pt>
                <c:pt idx="6054">
                  <c:v>511.03172176039527</c:v>
                </c:pt>
                <c:pt idx="6055">
                  <c:v>512.21051460979322</c:v>
                </c:pt>
                <c:pt idx="6056">
                  <c:v>505.76885651532319</c:v>
                </c:pt>
                <c:pt idx="6057">
                  <c:v>511.24023464649156</c:v>
                </c:pt>
                <c:pt idx="6058">
                  <c:v>513.88139787037869</c:v>
                </c:pt>
                <c:pt idx="6059">
                  <c:v>513.18913508853882</c:v>
                </c:pt>
                <c:pt idx="6060">
                  <c:v>511.19019155382841</c:v>
                </c:pt>
                <c:pt idx="6061">
                  <c:v>512.60807917928366</c:v>
                </c:pt>
                <c:pt idx="6062">
                  <c:v>512.90277739163309</c:v>
                </c:pt>
                <c:pt idx="6063">
                  <c:v>508.34329561565943</c:v>
                </c:pt>
                <c:pt idx="6064">
                  <c:v>497.73137979926213</c:v>
                </c:pt>
                <c:pt idx="6065">
                  <c:v>495.3042898051005</c:v>
                </c:pt>
                <c:pt idx="6066">
                  <c:v>498.34579777029273</c:v>
                </c:pt>
                <c:pt idx="6067">
                  <c:v>493.25808334954166</c:v>
                </c:pt>
                <c:pt idx="6068">
                  <c:v>498.81564680696317</c:v>
                </c:pt>
                <c:pt idx="6069">
                  <c:v>495.59064750200611</c:v>
                </c:pt>
                <c:pt idx="6070">
                  <c:v>484.27534821651051</c:v>
                </c:pt>
                <c:pt idx="6071">
                  <c:v>487.97575690176723</c:v>
                </c:pt>
                <c:pt idx="6072">
                  <c:v>486.9860157357632</c:v>
                </c:pt>
                <c:pt idx="6073">
                  <c:v>493.04401011981594</c:v>
                </c:pt>
                <c:pt idx="6074">
                  <c:v>499.60243543049995</c:v>
                </c:pt>
                <c:pt idx="6075">
                  <c:v>500.38644388222224</c:v>
                </c:pt>
                <c:pt idx="6076">
                  <c:v>505.92176596512689</c:v>
                </c:pt>
                <c:pt idx="6077">
                  <c:v>505.78553754621061</c:v>
                </c:pt>
                <c:pt idx="6078">
                  <c:v>508.72417915426189</c:v>
                </c:pt>
                <c:pt idx="6079">
                  <c:v>511.17073035112594</c:v>
                </c:pt>
                <c:pt idx="6080">
                  <c:v>511.76290694763964</c:v>
                </c:pt>
                <c:pt idx="6081">
                  <c:v>508.4239205982833</c:v>
                </c:pt>
                <c:pt idx="6082">
                  <c:v>511.490450109807</c:v>
                </c:pt>
                <c:pt idx="6083">
                  <c:v>510.5090494592468</c:v>
                </c:pt>
                <c:pt idx="6084">
                  <c:v>513.66732464065296</c:v>
                </c:pt>
                <c:pt idx="6085">
                  <c:v>512.97506185881309</c:v>
                </c:pt>
                <c:pt idx="6086">
                  <c:v>512.98618254607163</c:v>
                </c:pt>
                <c:pt idx="6087">
                  <c:v>515.52447941281787</c:v>
                </c:pt>
                <c:pt idx="6088">
                  <c:v>516.95904806916087</c:v>
                </c:pt>
                <c:pt idx="6089">
                  <c:v>513.14465233950489</c:v>
                </c:pt>
                <c:pt idx="6090">
                  <c:v>520.97917651309865</c:v>
                </c:pt>
                <c:pt idx="6091">
                  <c:v>520.95137479495247</c:v>
                </c:pt>
                <c:pt idx="6092">
                  <c:v>521.84659011925953</c:v>
                </c:pt>
                <c:pt idx="6093">
                  <c:v>522.12738747253593</c:v>
                </c:pt>
                <c:pt idx="6094">
                  <c:v>521.88551252466414</c:v>
                </c:pt>
                <c:pt idx="6095">
                  <c:v>519.23322861351846</c:v>
                </c:pt>
                <c:pt idx="6096">
                  <c:v>519.3916984069516</c:v>
                </c:pt>
                <c:pt idx="6097">
                  <c:v>513.31424282019634</c:v>
                </c:pt>
                <c:pt idx="6098">
                  <c:v>511.86577330478042</c:v>
                </c:pt>
                <c:pt idx="6099">
                  <c:v>516.78667741665447</c:v>
                </c:pt>
                <c:pt idx="6100">
                  <c:v>520.51766799187192</c:v>
                </c:pt>
                <c:pt idx="6101">
                  <c:v>517.32603074869041</c:v>
                </c:pt>
                <c:pt idx="6102">
                  <c:v>520.45094386832125</c:v>
                </c:pt>
                <c:pt idx="6103">
                  <c:v>518.92462954209589</c:v>
                </c:pt>
                <c:pt idx="6104">
                  <c:v>516.40023353442268</c:v>
                </c:pt>
                <c:pt idx="6105">
                  <c:v>518.67441407878016</c:v>
                </c:pt>
                <c:pt idx="6106">
                  <c:v>515.043509688889</c:v>
                </c:pt>
                <c:pt idx="6107">
                  <c:v>514.06488921014341</c:v>
                </c:pt>
                <c:pt idx="6108">
                  <c:v>516.45027662708583</c:v>
                </c:pt>
                <c:pt idx="6109">
                  <c:v>520.54268953820372</c:v>
                </c:pt>
                <c:pt idx="6110">
                  <c:v>524.20695598987038</c:v>
                </c:pt>
                <c:pt idx="6111">
                  <c:v>525.70268842613496</c:v>
                </c:pt>
                <c:pt idx="6112">
                  <c:v>525.11051182962126</c:v>
                </c:pt>
                <c:pt idx="6113">
                  <c:v>518.52706497260556</c:v>
                </c:pt>
                <c:pt idx="6114">
                  <c:v>512.95282048429624</c:v>
                </c:pt>
                <c:pt idx="6115">
                  <c:v>514.87669938001204</c:v>
                </c:pt>
                <c:pt idx="6116">
                  <c:v>520.49820678916967</c:v>
                </c:pt>
                <c:pt idx="6117">
                  <c:v>509.62773499401294</c:v>
                </c:pt>
                <c:pt idx="6118">
                  <c:v>504.79301620839215</c:v>
                </c:pt>
                <c:pt idx="6119">
                  <c:v>508.94103255580234</c:v>
                </c:pt>
                <c:pt idx="6120">
                  <c:v>512.3801050904849</c:v>
                </c:pt>
                <c:pt idx="6121">
                  <c:v>517.75417720814164</c:v>
                </c:pt>
                <c:pt idx="6122">
                  <c:v>518.46034084905466</c:v>
                </c:pt>
                <c:pt idx="6123">
                  <c:v>520.41758180654597</c:v>
                </c:pt>
                <c:pt idx="6124">
                  <c:v>522.54719341654345</c:v>
                </c:pt>
                <c:pt idx="6125">
                  <c:v>521.39064194166235</c:v>
                </c:pt>
                <c:pt idx="6126">
                  <c:v>522.2858572659693</c:v>
                </c:pt>
                <c:pt idx="6127">
                  <c:v>518.05721593593523</c:v>
                </c:pt>
                <c:pt idx="6128">
                  <c:v>519.7336595401498</c:v>
                </c:pt>
                <c:pt idx="6129">
                  <c:v>522.20801245515997</c:v>
                </c:pt>
                <c:pt idx="6130">
                  <c:v>523.77046901497533</c:v>
                </c:pt>
                <c:pt idx="6131">
                  <c:v>523.69540437598062</c:v>
                </c:pt>
                <c:pt idx="6132">
                  <c:v>522.9892407350676</c:v>
                </c:pt>
                <c:pt idx="6133">
                  <c:v>523.96786121381319</c:v>
                </c:pt>
                <c:pt idx="6134">
                  <c:v>519.25825015985015</c:v>
                </c:pt>
                <c:pt idx="6135">
                  <c:v>522.17465039338458</c:v>
                </c:pt>
                <c:pt idx="6136">
                  <c:v>521.45736606521314</c:v>
                </c:pt>
                <c:pt idx="6137">
                  <c:v>522.2497150323793</c:v>
                </c:pt>
                <c:pt idx="6138">
                  <c:v>527.30128721954031</c:v>
                </c:pt>
                <c:pt idx="6139">
                  <c:v>527.52370096470975</c:v>
                </c:pt>
                <c:pt idx="6140">
                  <c:v>525.04378770607036</c:v>
                </c:pt>
                <c:pt idx="6141">
                  <c:v>520.12844393782564</c:v>
                </c:pt>
                <c:pt idx="6142">
                  <c:v>522.0773443798729</c:v>
                </c:pt>
                <c:pt idx="6143">
                  <c:v>524.08462843002712</c:v>
                </c:pt>
                <c:pt idx="6144">
                  <c:v>520.67891795712001</c:v>
                </c:pt>
                <c:pt idx="6145">
                  <c:v>524.90477911533958</c:v>
                </c:pt>
                <c:pt idx="6146">
                  <c:v>526.14473574465933</c:v>
                </c:pt>
                <c:pt idx="6147">
                  <c:v>528.3799938836122</c:v>
                </c:pt>
                <c:pt idx="6148">
                  <c:v>531.54382940864764</c:v>
                </c:pt>
                <c:pt idx="6149">
                  <c:v>530.95165281213394</c:v>
                </c:pt>
                <c:pt idx="6150">
                  <c:v>533.80132892211736</c:v>
                </c:pt>
                <c:pt idx="6151">
                  <c:v>534.78550974449206</c:v>
                </c:pt>
                <c:pt idx="6152">
                  <c:v>535.17473379853868</c:v>
                </c:pt>
                <c:pt idx="6153">
                  <c:v>534.97178125607161</c:v>
                </c:pt>
                <c:pt idx="6154">
                  <c:v>535.9837637965926</c:v>
                </c:pt>
                <c:pt idx="6155">
                  <c:v>539.48121993938207</c:v>
                </c:pt>
                <c:pt idx="6156">
                  <c:v>541.9778142289091</c:v>
                </c:pt>
                <c:pt idx="6157">
                  <c:v>542.48658567098414</c:v>
                </c:pt>
                <c:pt idx="6158">
                  <c:v>542.35313742388257</c:v>
                </c:pt>
                <c:pt idx="6159">
                  <c:v>540.4348188717961</c:v>
                </c:pt>
                <c:pt idx="6160">
                  <c:v>536.60374211125236</c:v>
                </c:pt>
                <c:pt idx="6161">
                  <c:v>538.28574605909637</c:v>
                </c:pt>
                <c:pt idx="6162">
                  <c:v>538.73613389306445</c:v>
                </c:pt>
                <c:pt idx="6163">
                  <c:v>539.90658622701869</c:v>
                </c:pt>
                <c:pt idx="6164">
                  <c:v>544.07406377713119</c:v>
                </c:pt>
                <c:pt idx="6165">
                  <c:v>544.76910673078578</c:v>
                </c:pt>
                <c:pt idx="6166">
                  <c:v>545.71158497594138</c:v>
                </c:pt>
                <c:pt idx="6167">
                  <c:v>545.63930050876138</c:v>
                </c:pt>
                <c:pt idx="6168">
                  <c:v>542.12794350689876</c:v>
                </c:pt>
                <c:pt idx="6169">
                  <c:v>544.78300758985904</c:v>
                </c:pt>
                <c:pt idx="6170">
                  <c:v>544.14078790068231</c:v>
                </c:pt>
                <c:pt idx="6171">
                  <c:v>545.18057215934937</c:v>
                </c:pt>
                <c:pt idx="6172">
                  <c:v>544.97761961688218</c:v>
                </c:pt>
                <c:pt idx="6173">
                  <c:v>548.61686452221716</c:v>
                </c:pt>
                <c:pt idx="6174">
                  <c:v>548.97828685811737</c:v>
                </c:pt>
                <c:pt idx="6175">
                  <c:v>551.98643276153416</c:v>
                </c:pt>
                <c:pt idx="6176">
                  <c:v>549.82067891794668</c:v>
                </c:pt>
                <c:pt idx="6177">
                  <c:v>545.94511940836901</c:v>
                </c:pt>
                <c:pt idx="6178">
                  <c:v>548.48063610330075</c:v>
                </c:pt>
                <c:pt idx="6179">
                  <c:v>546.2147960743871</c:v>
                </c:pt>
                <c:pt idx="6180">
                  <c:v>547.01826572881157</c:v>
                </c:pt>
                <c:pt idx="6181">
                  <c:v>549.66776946814252</c:v>
                </c:pt>
                <c:pt idx="6182">
                  <c:v>548.60574383495839</c:v>
                </c:pt>
                <c:pt idx="6183">
                  <c:v>550.91050626927677</c:v>
                </c:pt>
                <c:pt idx="6184">
                  <c:v>544.39100336399724</c:v>
                </c:pt>
                <c:pt idx="6185">
                  <c:v>549.97914871137948</c:v>
                </c:pt>
                <c:pt idx="6186">
                  <c:v>548.70304984846973</c:v>
                </c:pt>
                <c:pt idx="6187">
                  <c:v>551.4554199449417</c:v>
                </c:pt>
                <c:pt idx="6188">
                  <c:v>552.42291973642875</c:v>
                </c:pt>
                <c:pt idx="6189">
                  <c:v>552.69259640244672</c:v>
                </c:pt>
                <c:pt idx="6190">
                  <c:v>550.01251077315487</c:v>
                </c:pt>
                <c:pt idx="6191">
                  <c:v>550.17098056658813</c:v>
                </c:pt>
                <c:pt idx="6192">
                  <c:v>547.67994662069032</c:v>
                </c:pt>
                <c:pt idx="6193">
                  <c:v>547.71330868246571</c:v>
                </c:pt>
                <c:pt idx="6194">
                  <c:v>536.75943173287044</c:v>
                </c:pt>
                <c:pt idx="6195">
                  <c:v>535.22477689120126</c:v>
                </c:pt>
                <c:pt idx="6196">
                  <c:v>539.07253468263264</c:v>
                </c:pt>
                <c:pt idx="6197">
                  <c:v>533.85137201477983</c:v>
                </c:pt>
                <c:pt idx="6198">
                  <c:v>533.85971253022365</c:v>
                </c:pt>
                <c:pt idx="6199">
                  <c:v>530.89326920402618</c:v>
                </c:pt>
                <c:pt idx="6200">
                  <c:v>537.01520753981526</c:v>
                </c:pt>
                <c:pt idx="6201">
                  <c:v>538.49703911700681</c:v>
                </c:pt>
                <c:pt idx="6202">
                  <c:v>537.61572465177278</c:v>
                </c:pt>
                <c:pt idx="6203">
                  <c:v>541.22160749533248</c:v>
                </c:pt>
                <c:pt idx="6204">
                  <c:v>543.57363285049928</c:v>
                </c:pt>
                <c:pt idx="6205">
                  <c:v>543.54027078872377</c:v>
                </c:pt>
                <c:pt idx="6206">
                  <c:v>548.17759737550682</c:v>
                </c:pt>
                <c:pt idx="6207">
                  <c:v>550.91884678472036</c:v>
                </c:pt>
                <c:pt idx="6208">
                  <c:v>552.28391114569774</c:v>
                </c:pt>
                <c:pt idx="6209">
                  <c:v>553.913091829064</c:v>
                </c:pt>
                <c:pt idx="6210">
                  <c:v>552.80936361866065</c:v>
                </c:pt>
                <c:pt idx="6211">
                  <c:v>555.456087186177</c:v>
                </c:pt>
                <c:pt idx="6212">
                  <c:v>556.03992326724676</c:v>
                </c:pt>
                <c:pt idx="6213">
                  <c:v>556.06772498539294</c:v>
                </c:pt>
                <c:pt idx="6214">
                  <c:v>555.12802691205195</c:v>
                </c:pt>
                <c:pt idx="6215">
                  <c:v>556.97128082514382</c:v>
                </c:pt>
                <c:pt idx="6216">
                  <c:v>556.66824209735046</c:v>
                </c:pt>
                <c:pt idx="6217">
                  <c:v>556.23453529427002</c:v>
                </c:pt>
                <c:pt idx="6218">
                  <c:v>555.38102254718228</c:v>
                </c:pt>
                <c:pt idx="6219">
                  <c:v>558.17787539268795</c:v>
                </c:pt>
                <c:pt idx="6220">
                  <c:v>556.46250938306855</c:v>
                </c:pt>
                <c:pt idx="6221">
                  <c:v>552.82048430591885</c:v>
                </c:pt>
                <c:pt idx="6222">
                  <c:v>554.83610887151701</c:v>
                </c:pt>
                <c:pt idx="6223">
                  <c:v>555.3254191108897</c:v>
                </c:pt>
                <c:pt idx="6224">
                  <c:v>552.01423447967954</c:v>
                </c:pt>
                <c:pt idx="6225">
                  <c:v>551.62223025381843</c:v>
                </c:pt>
                <c:pt idx="6226">
                  <c:v>555.75078539852643</c:v>
                </c:pt>
                <c:pt idx="6227">
                  <c:v>556.47084989851248</c:v>
                </c:pt>
                <c:pt idx="6228">
                  <c:v>559.19263810502343</c:v>
                </c:pt>
                <c:pt idx="6229">
                  <c:v>558.92574161082018</c:v>
                </c:pt>
                <c:pt idx="6230">
                  <c:v>554.44688481747039</c:v>
                </c:pt>
                <c:pt idx="6231">
                  <c:v>551.24412688703035</c:v>
                </c:pt>
                <c:pt idx="6232">
                  <c:v>555.56173371513216</c:v>
                </c:pt>
                <c:pt idx="6233">
                  <c:v>546.57899858210112</c:v>
                </c:pt>
                <c:pt idx="6234">
                  <c:v>551.26636826154709</c:v>
                </c:pt>
                <c:pt idx="6235">
                  <c:v>549.8623814951651</c:v>
                </c:pt>
                <c:pt idx="6236">
                  <c:v>548.33050682531064</c:v>
                </c:pt>
                <c:pt idx="6237">
                  <c:v>541.0659178737136</c:v>
                </c:pt>
                <c:pt idx="6238">
                  <c:v>541.06869804552821</c:v>
                </c:pt>
                <c:pt idx="6239">
                  <c:v>547.11001139869336</c:v>
                </c:pt>
                <c:pt idx="6240">
                  <c:v>546.25371847979102</c:v>
                </c:pt>
                <c:pt idx="6241">
                  <c:v>537.99104784674614</c:v>
                </c:pt>
                <c:pt idx="6242">
                  <c:v>547.38524840834066</c:v>
                </c:pt>
                <c:pt idx="6243">
                  <c:v>536.07550946647427</c:v>
                </c:pt>
                <c:pt idx="6244">
                  <c:v>529.93689009979755</c:v>
                </c:pt>
                <c:pt idx="6245">
                  <c:v>521.20993077371133</c:v>
                </c:pt>
                <c:pt idx="6246">
                  <c:v>522.03286163083828</c:v>
                </c:pt>
                <c:pt idx="6247">
                  <c:v>517.80422030080422</c:v>
                </c:pt>
                <c:pt idx="6248">
                  <c:v>517.87928493979894</c:v>
                </c:pt>
                <c:pt idx="6249">
                  <c:v>524.55169729488239</c:v>
                </c:pt>
                <c:pt idx="6250">
                  <c:v>529.34749367509858</c:v>
                </c:pt>
                <c:pt idx="6251">
                  <c:v>539.70919402818015</c:v>
                </c:pt>
                <c:pt idx="6252">
                  <c:v>535.7696905668663</c:v>
                </c:pt>
                <c:pt idx="6253">
                  <c:v>542.36147793932582</c:v>
                </c:pt>
                <c:pt idx="6254">
                  <c:v>546.18699435624035</c:v>
                </c:pt>
                <c:pt idx="6255">
                  <c:v>545.36684367092801</c:v>
                </c:pt>
                <c:pt idx="6256">
                  <c:v>551.87800606076348</c:v>
                </c:pt>
                <c:pt idx="6257">
                  <c:v>551.1134588117435</c:v>
                </c:pt>
                <c:pt idx="6258">
                  <c:v>554.54697100279702</c:v>
                </c:pt>
                <c:pt idx="6259">
                  <c:v>561.05257304900329</c:v>
                </c:pt>
                <c:pt idx="6260">
                  <c:v>560.9858489254525</c:v>
                </c:pt>
                <c:pt idx="6261">
                  <c:v>559.39837081930557</c:v>
                </c:pt>
                <c:pt idx="6262">
                  <c:v>562.58722789067247</c:v>
                </c:pt>
                <c:pt idx="6263">
                  <c:v>564.71127915704085</c:v>
                </c:pt>
                <c:pt idx="6264">
                  <c:v>564.90867135587871</c:v>
                </c:pt>
                <c:pt idx="6265">
                  <c:v>566.67130028634654</c:v>
                </c:pt>
                <c:pt idx="6266">
                  <c:v>567.06608468402237</c:v>
                </c:pt>
                <c:pt idx="6267">
                  <c:v>566.66852011453193</c:v>
                </c:pt>
                <c:pt idx="6268">
                  <c:v>566.96877867051069</c:v>
                </c:pt>
                <c:pt idx="6269">
                  <c:v>567.10500708942698</c:v>
                </c:pt>
                <c:pt idx="6270">
                  <c:v>567.52203286161955</c:v>
                </c:pt>
                <c:pt idx="6271">
                  <c:v>570.43565292333938</c:v>
                </c:pt>
                <c:pt idx="6272">
                  <c:v>569.57936000443692</c:v>
                </c:pt>
                <c:pt idx="6273">
                  <c:v>570.69976924572813</c:v>
                </c:pt>
                <c:pt idx="6274">
                  <c:v>573.68845394644268</c:v>
                </c:pt>
                <c:pt idx="6275">
                  <c:v>575.33153548888197</c:v>
                </c:pt>
                <c:pt idx="6276">
                  <c:v>574.66985459700288</c:v>
                </c:pt>
                <c:pt idx="6277">
                  <c:v>576.28235424948139</c:v>
                </c:pt>
                <c:pt idx="6278">
                  <c:v>574.8172037031776</c:v>
                </c:pt>
                <c:pt idx="6279">
                  <c:v>570.8916011009369</c:v>
                </c:pt>
                <c:pt idx="6280">
                  <c:v>574.53640634990131</c:v>
                </c:pt>
                <c:pt idx="6281">
                  <c:v>576.69938002167407</c:v>
                </c:pt>
                <c:pt idx="6282">
                  <c:v>576.02935861435117</c:v>
                </c:pt>
                <c:pt idx="6283">
                  <c:v>576.98851789039429</c:v>
                </c:pt>
                <c:pt idx="6284">
                  <c:v>572.80157913757955</c:v>
                </c:pt>
                <c:pt idx="6285">
                  <c:v>572.66535071866326</c:v>
                </c:pt>
                <c:pt idx="6286">
                  <c:v>563.30173204702953</c:v>
                </c:pt>
                <c:pt idx="6287">
                  <c:v>565.85670994466352</c:v>
                </c:pt>
                <c:pt idx="6288">
                  <c:v>556.68214295642383</c:v>
                </c:pt>
                <c:pt idx="6289">
                  <c:v>553.15132475185897</c:v>
                </c:pt>
                <c:pt idx="6290">
                  <c:v>548.45561455696895</c:v>
                </c:pt>
                <c:pt idx="6291">
                  <c:v>559.61800439266051</c:v>
                </c:pt>
                <c:pt idx="6292">
                  <c:v>573.05735494452438</c:v>
                </c:pt>
                <c:pt idx="6293">
                  <c:v>575.67627679389477</c:v>
                </c:pt>
                <c:pt idx="6294">
                  <c:v>577.86983235562832</c:v>
                </c:pt>
                <c:pt idx="6295">
                  <c:v>578.87903472433482</c:v>
                </c:pt>
                <c:pt idx="6296">
                  <c:v>578.79840974171088</c:v>
                </c:pt>
                <c:pt idx="6297">
                  <c:v>580.71394812198275</c:v>
                </c:pt>
                <c:pt idx="6298">
                  <c:v>581.21437904861398</c:v>
                </c:pt>
                <c:pt idx="6299">
                  <c:v>578.37304345407426</c:v>
                </c:pt>
                <c:pt idx="6300">
                  <c:v>572.40957491171844</c:v>
                </c:pt>
                <c:pt idx="6301">
                  <c:v>572.21496288469507</c:v>
                </c:pt>
                <c:pt idx="6302">
                  <c:v>561.75595651810181</c:v>
                </c:pt>
                <c:pt idx="6303">
                  <c:v>556.75998776723304</c:v>
                </c:pt>
                <c:pt idx="6304">
                  <c:v>563.23500792347863</c:v>
                </c:pt>
                <c:pt idx="6305">
                  <c:v>573.31035057965448</c:v>
                </c:pt>
                <c:pt idx="6306">
                  <c:v>568.49231282492133</c:v>
                </c:pt>
                <c:pt idx="6307">
                  <c:v>563.89112847172839</c:v>
                </c:pt>
                <c:pt idx="6308">
                  <c:v>562.43709861268314</c:v>
                </c:pt>
                <c:pt idx="6309">
                  <c:v>559.1676165586922</c:v>
                </c:pt>
                <c:pt idx="6310">
                  <c:v>553.99649698350265</c:v>
                </c:pt>
                <c:pt idx="6311">
                  <c:v>561.43345658760609</c:v>
                </c:pt>
                <c:pt idx="6312">
                  <c:v>562.30365036558146</c:v>
                </c:pt>
                <c:pt idx="6313">
                  <c:v>564.96427479217095</c:v>
                </c:pt>
                <c:pt idx="6314">
                  <c:v>573.59114793293088</c:v>
                </c:pt>
                <c:pt idx="6315">
                  <c:v>570.44121326696859</c:v>
                </c:pt>
                <c:pt idx="6316">
                  <c:v>571.90636381327238</c:v>
                </c:pt>
                <c:pt idx="6317">
                  <c:v>564.249770635814</c:v>
                </c:pt>
                <c:pt idx="6318">
                  <c:v>556.63488003557507</c:v>
                </c:pt>
                <c:pt idx="6319">
                  <c:v>561.94222802968102</c:v>
                </c:pt>
                <c:pt idx="6320">
                  <c:v>554.64149684449387</c:v>
                </c:pt>
                <c:pt idx="6321">
                  <c:v>561.83102115709619</c:v>
                </c:pt>
                <c:pt idx="6322">
                  <c:v>569.94356251215186</c:v>
                </c:pt>
                <c:pt idx="6323">
                  <c:v>567.57485612609719</c:v>
                </c:pt>
                <c:pt idx="6324">
                  <c:v>573.41599710860976</c:v>
                </c:pt>
                <c:pt idx="6325">
                  <c:v>571.45597597930407</c:v>
                </c:pt>
                <c:pt idx="6326">
                  <c:v>569.02888598514244</c:v>
                </c:pt>
                <c:pt idx="6327">
                  <c:v>575.10356140008298</c:v>
                </c:pt>
                <c:pt idx="6328">
                  <c:v>575.08688036919523</c:v>
                </c:pt>
                <c:pt idx="6329">
                  <c:v>580.63332313935825</c:v>
                </c:pt>
                <c:pt idx="6330">
                  <c:v>582.9992493535982</c:v>
                </c:pt>
                <c:pt idx="6331">
                  <c:v>583.93060691149526</c:v>
                </c:pt>
                <c:pt idx="6332">
                  <c:v>583.74711557173043</c:v>
                </c:pt>
                <c:pt idx="6333">
                  <c:v>583.12713725707056</c:v>
                </c:pt>
                <c:pt idx="6334">
                  <c:v>586.69965803885498</c:v>
                </c:pt>
                <c:pt idx="6335">
                  <c:v>586.52172704271925</c:v>
                </c:pt>
                <c:pt idx="6336">
                  <c:v>588.13978703882708</c:v>
                </c:pt>
                <c:pt idx="6337">
                  <c:v>587.68939920485889</c:v>
                </c:pt>
                <c:pt idx="6338">
                  <c:v>586.82198559869789</c:v>
                </c:pt>
                <c:pt idx="6339">
                  <c:v>585.08715838637636</c:v>
                </c:pt>
                <c:pt idx="6340">
                  <c:v>588.67079985541898</c:v>
                </c:pt>
                <c:pt idx="6341">
                  <c:v>585.99905474157117</c:v>
                </c:pt>
                <c:pt idx="6342">
                  <c:v>583.42739581304943</c:v>
                </c:pt>
                <c:pt idx="6343">
                  <c:v>584.12521893851851</c:v>
                </c:pt>
                <c:pt idx="6344">
                  <c:v>575.84586727458588</c:v>
                </c:pt>
                <c:pt idx="6345">
                  <c:v>578.11726764712887</c:v>
                </c:pt>
                <c:pt idx="6346">
                  <c:v>568.31160165697088</c:v>
                </c:pt>
                <c:pt idx="6347">
                  <c:v>567.22177430564057</c:v>
                </c:pt>
                <c:pt idx="6348">
                  <c:v>574.36959604102356</c:v>
                </c:pt>
                <c:pt idx="6349">
                  <c:v>570.8804804136779</c:v>
                </c:pt>
                <c:pt idx="6350">
                  <c:v>578.60657788650155</c:v>
                </c:pt>
                <c:pt idx="6351">
                  <c:v>576.68547916260047</c:v>
                </c:pt>
                <c:pt idx="6352">
                  <c:v>583.69707247906729</c:v>
                </c:pt>
                <c:pt idx="6353">
                  <c:v>580.85295671271308</c:v>
                </c:pt>
                <c:pt idx="6354">
                  <c:v>586.08802023963892</c:v>
                </c:pt>
                <c:pt idx="6355">
                  <c:v>585.06491701185951</c:v>
                </c:pt>
                <c:pt idx="6356">
                  <c:v>581.47293502737296</c:v>
                </c:pt>
                <c:pt idx="6357">
                  <c:v>573.007311851861</c:v>
                </c:pt>
                <c:pt idx="6358">
                  <c:v>571.64502766269811</c:v>
                </c:pt>
                <c:pt idx="6359">
                  <c:v>572.99897133641696</c:v>
                </c:pt>
                <c:pt idx="6360">
                  <c:v>580.01056465288366</c:v>
                </c:pt>
                <c:pt idx="6361">
                  <c:v>574.90894937305939</c:v>
                </c:pt>
                <c:pt idx="6362">
                  <c:v>572.6292084850727</c:v>
                </c:pt>
                <c:pt idx="6363">
                  <c:v>574.65039339430007</c:v>
                </c:pt>
                <c:pt idx="6364">
                  <c:v>578.4481080930683</c:v>
                </c:pt>
                <c:pt idx="6365">
                  <c:v>577.2554143845972</c:v>
                </c:pt>
                <c:pt idx="6366">
                  <c:v>578.80397008533942</c:v>
                </c:pt>
                <c:pt idx="6367">
                  <c:v>581.38396952930498</c:v>
                </c:pt>
                <c:pt idx="6368">
                  <c:v>584.40879646360952</c:v>
                </c:pt>
                <c:pt idx="6369">
                  <c:v>581.73149100613227</c:v>
                </c:pt>
                <c:pt idx="6370">
                  <c:v>582.6795295949172</c:v>
                </c:pt>
                <c:pt idx="6371">
                  <c:v>585.67933498289005</c:v>
                </c:pt>
                <c:pt idx="6372">
                  <c:v>585.22338680529265</c:v>
                </c:pt>
                <c:pt idx="6373">
                  <c:v>578.60379771468706</c:v>
                </c:pt>
                <c:pt idx="6374">
                  <c:v>583.94728794238313</c:v>
                </c:pt>
                <c:pt idx="6375">
                  <c:v>583.08265450803685</c:v>
                </c:pt>
                <c:pt idx="6376">
                  <c:v>586.04909783423432</c:v>
                </c:pt>
                <c:pt idx="6377">
                  <c:v>587.43084322609946</c:v>
                </c:pt>
                <c:pt idx="6378">
                  <c:v>588.75420500985763</c:v>
                </c:pt>
                <c:pt idx="6379">
                  <c:v>586.31599432843768</c:v>
                </c:pt>
                <c:pt idx="6380">
                  <c:v>587.93961466817473</c:v>
                </c:pt>
                <c:pt idx="6381">
                  <c:v>585.74049876281163</c:v>
                </c:pt>
                <c:pt idx="6382">
                  <c:v>579.8076121104167</c:v>
                </c:pt>
                <c:pt idx="6383">
                  <c:v>586.14084350411667</c:v>
                </c:pt>
                <c:pt idx="6384">
                  <c:v>587.8645500291799</c:v>
                </c:pt>
                <c:pt idx="6385">
                  <c:v>580.90577997719095</c:v>
                </c:pt>
                <c:pt idx="6386">
                  <c:v>578.31744001778145</c:v>
                </c:pt>
                <c:pt idx="6387">
                  <c:v>580.49987489225657</c:v>
                </c:pt>
                <c:pt idx="6388">
                  <c:v>588.31215769133348</c:v>
                </c:pt>
                <c:pt idx="6389">
                  <c:v>585.31791264698973</c:v>
                </c:pt>
                <c:pt idx="6390">
                  <c:v>583.59142595011201</c:v>
                </c:pt>
                <c:pt idx="6391">
                  <c:v>583.41349495397651</c:v>
                </c:pt>
                <c:pt idx="6392">
                  <c:v>589.70224359864267</c:v>
                </c:pt>
                <c:pt idx="6393">
                  <c:v>590.15541160442535</c:v>
                </c:pt>
                <c:pt idx="6394">
                  <c:v>591.95418276848318</c:v>
                </c:pt>
                <c:pt idx="6395">
                  <c:v>591.5732992298806</c:v>
                </c:pt>
                <c:pt idx="6396">
                  <c:v>591.02282521058623</c:v>
                </c:pt>
                <c:pt idx="6397">
                  <c:v>592.4045706024516</c:v>
                </c:pt>
                <c:pt idx="6398">
                  <c:v>591.08120881869331</c:v>
                </c:pt>
                <c:pt idx="6399">
                  <c:v>585.00375323193828</c:v>
                </c:pt>
                <c:pt idx="6400">
                  <c:v>590.36392449052198</c:v>
                </c:pt>
                <c:pt idx="6401">
                  <c:v>589.61605827238975</c:v>
                </c:pt>
                <c:pt idx="6402">
                  <c:v>585.8906280408014</c:v>
                </c:pt>
                <c:pt idx="6403">
                  <c:v>587.09722260834576</c:v>
                </c:pt>
                <c:pt idx="6404">
                  <c:v>586.50504601183206</c:v>
                </c:pt>
                <c:pt idx="6405">
                  <c:v>587.74778281296642</c:v>
                </c:pt>
                <c:pt idx="6406">
                  <c:v>582.67952959491765</c:v>
                </c:pt>
                <c:pt idx="6407">
                  <c:v>581.84269787871756</c:v>
                </c:pt>
                <c:pt idx="6408">
                  <c:v>578.07556506991011</c:v>
                </c:pt>
                <c:pt idx="6409">
                  <c:v>578.31744001778179</c:v>
                </c:pt>
                <c:pt idx="6410">
                  <c:v>585.28177041340007</c:v>
                </c:pt>
                <c:pt idx="6411">
                  <c:v>586.29931329755027</c:v>
                </c:pt>
                <c:pt idx="6412">
                  <c:v>582.19855987098856</c:v>
                </c:pt>
                <c:pt idx="6413">
                  <c:v>579.50735355443817</c:v>
                </c:pt>
                <c:pt idx="6414">
                  <c:v>582.80463732657529</c:v>
                </c:pt>
                <c:pt idx="6415">
                  <c:v>583.95840862964189</c:v>
                </c:pt>
                <c:pt idx="6416">
                  <c:v>589.74116600404739</c:v>
                </c:pt>
                <c:pt idx="6417">
                  <c:v>586.61347271260206</c:v>
                </c:pt>
                <c:pt idx="6418">
                  <c:v>590.18877366620086</c:v>
                </c:pt>
                <c:pt idx="6419">
                  <c:v>590.56409686117411</c:v>
                </c:pt>
                <c:pt idx="6420">
                  <c:v>586.22146848674072</c:v>
                </c:pt>
                <c:pt idx="6421">
                  <c:v>584.47830075897514</c:v>
                </c:pt>
                <c:pt idx="6422">
                  <c:v>584.25032667017649</c:v>
                </c:pt>
                <c:pt idx="6423">
                  <c:v>572.05927326307619</c:v>
                </c:pt>
                <c:pt idx="6424">
                  <c:v>573.58002724567234</c:v>
                </c:pt>
                <c:pt idx="6425">
                  <c:v>577.55845311239091</c:v>
                </c:pt>
                <c:pt idx="6426">
                  <c:v>577.38052211625541</c:v>
                </c:pt>
                <c:pt idx="6427">
                  <c:v>575.15082432093163</c:v>
                </c:pt>
                <c:pt idx="6428">
                  <c:v>578.64828046372111</c:v>
                </c:pt>
                <c:pt idx="6429">
                  <c:v>569.0122049542548</c:v>
                </c:pt>
                <c:pt idx="6430">
                  <c:v>570.29942450442297</c:v>
                </c:pt>
                <c:pt idx="6431">
                  <c:v>577.33603936722136</c:v>
                </c:pt>
                <c:pt idx="6432">
                  <c:v>583.72487419721369</c:v>
                </c:pt>
                <c:pt idx="6433">
                  <c:v>586.3243348438815</c:v>
                </c:pt>
                <c:pt idx="6434">
                  <c:v>585.89340821261567</c:v>
                </c:pt>
                <c:pt idx="6435">
                  <c:v>590.58911840750557</c:v>
                </c:pt>
                <c:pt idx="6436">
                  <c:v>591.24245878394061</c:v>
                </c:pt>
                <c:pt idx="6437">
                  <c:v>591.69840696153801</c:v>
                </c:pt>
                <c:pt idx="6438">
                  <c:v>589.17679112567942</c:v>
                </c:pt>
                <c:pt idx="6439">
                  <c:v>587.7700241874827</c:v>
                </c:pt>
                <c:pt idx="6440">
                  <c:v>584.43381800994109</c:v>
                </c:pt>
                <c:pt idx="6441">
                  <c:v>578.17843142705055</c:v>
                </c:pt>
                <c:pt idx="6442">
                  <c:v>574.83944507769422</c:v>
                </c:pt>
                <c:pt idx="6443">
                  <c:v>581.95946509493115</c:v>
                </c:pt>
                <c:pt idx="6444">
                  <c:v>586.21868831492611</c:v>
                </c:pt>
                <c:pt idx="6445">
                  <c:v>586.23536934581375</c:v>
                </c:pt>
                <c:pt idx="6446">
                  <c:v>584.90366704661164</c:v>
                </c:pt>
                <c:pt idx="6447">
                  <c:v>583.29116739413314</c:v>
                </c:pt>
                <c:pt idx="6448">
                  <c:v>581.97892629763339</c:v>
                </c:pt>
                <c:pt idx="6449">
                  <c:v>583.79159832076436</c:v>
                </c:pt>
                <c:pt idx="6450">
                  <c:v>579.26547860656615</c:v>
                </c:pt>
                <c:pt idx="6451">
                  <c:v>577.60015568961012</c:v>
                </c:pt>
                <c:pt idx="6452">
                  <c:v>584.99819288830872</c:v>
                </c:pt>
                <c:pt idx="6453">
                  <c:v>579.40726736911188</c:v>
                </c:pt>
                <c:pt idx="6454">
                  <c:v>579.95774138840625</c:v>
                </c:pt>
                <c:pt idx="6455">
                  <c:v>579.21821568571772</c:v>
                </c:pt>
                <c:pt idx="6456">
                  <c:v>581.48405571463149</c:v>
                </c:pt>
                <c:pt idx="6457">
                  <c:v>584.51444299256514</c:v>
                </c:pt>
                <c:pt idx="6458">
                  <c:v>582.97978815089584</c:v>
                </c:pt>
                <c:pt idx="6459">
                  <c:v>578.1673107397919</c:v>
                </c:pt>
                <c:pt idx="6460">
                  <c:v>565.96791681724767</c:v>
                </c:pt>
                <c:pt idx="6461">
                  <c:v>547.94128277126401</c:v>
                </c:pt>
                <c:pt idx="6462">
                  <c:v>526.34490811531077</c:v>
                </c:pt>
                <c:pt idx="6463">
                  <c:v>519.22766826988845</c:v>
                </c:pt>
                <c:pt idx="6464">
                  <c:v>539.49512079845442</c:v>
                </c:pt>
                <c:pt idx="6465">
                  <c:v>552.60363090437863</c:v>
                </c:pt>
                <c:pt idx="6466">
                  <c:v>552.94003169394739</c:v>
                </c:pt>
                <c:pt idx="6467">
                  <c:v>548.29992493534985</c:v>
                </c:pt>
                <c:pt idx="6468">
                  <c:v>532.08318274068256</c:v>
                </c:pt>
                <c:pt idx="6469">
                  <c:v>541.81656426366055</c:v>
                </c:pt>
                <c:pt idx="6470">
                  <c:v>542.44766326557885</c:v>
                </c:pt>
                <c:pt idx="6471">
                  <c:v>534.13216936805622</c:v>
                </c:pt>
                <c:pt idx="6472">
                  <c:v>547.52981734270077</c:v>
                </c:pt>
                <c:pt idx="6473">
                  <c:v>539.92048708609104</c:v>
                </c:pt>
                <c:pt idx="6474">
                  <c:v>542.77016319607458</c:v>
                </c:pt>
                <c:pt idx="6475">
                  <c:v>545.20559370568003</c:v>
                </c:pt>
                <c:pt idx="6476">
                  <c:v>542.97589591035626</c:v>
                </c:pt>
                <c:pt idx="6477">
                  <c:v>549.94300647778925</c:v>
                </c:pt>
                <c:pt idx="6478">
                  <c:v>554.73046234256151</c:v>
                </c:pt>
                <c:pt idx="6479">
                  <c:v>553.30979454529165</c:v>
                </c:pt>
                <c:pt idx="6480">
                  <c:v>544.36598181766522</c:v>
                </c:pt>
                <c:pt idx="6481">
                  <c:v>546.8514554199337</c:v>
                </c:pt>
                <c:pt idx="6482">
                  <c:v>540.11509911311396</c:v>
                </c:pt>
                <c:pt idx="6483">
                  <c:v>539.00859073089589</c:v>
                </c:pt>
                <c:pt idx="6484">
                  <c:v>537.1959187077648</c:v>
                </c:pt>
                <c:pt idx="6485">
                  <c:v>536.94570324444919</c:v>
                </c:pt>
                <c:pt idx="6486">
                  <c:v>523.16439155938735</c:v>
                </c:pt>
                <c:pt idx="6487">
                  <c:v>523.80939142037869</c:v>
                </c:pt>
                <c:pt idx="6488">
                  <c:v>533.801328922116</c:v>
                </c:pt>
                <c:pt idx="6489">
                  <c:v>534.85501403985631</c:v>
                </c:pt>
                <c:pt idx="6490">
                  <c:v>542.51160721731446</c:v>
                </c:pt>
                <c:pt idx="6491">
                  <c:v>552.4340404236865</c:v>
                </c:pt>
                <c:pt idx="6492">
                  <c:v>550.45177791986373</c:v>
                </c:pt>
                <c:pt idx="6493">
                  <c:v>554.87503127692105</c:v>
                </c:pt>
                <c:pt idx="6494">
                  <c:v>559.76813367064892</c:v>
                </c:pt>
                <c:pt idx="6495">
                  <c:v>560.17403875558318</c:v>
                </c:pt>
                <c:pt idx="6496">
                  <c:v>560.88854291194014</c:v>
                </c:pt>
                <c:pt idx="6497">
                  <c:v>557.060246323211</c:v>
                </c:pt>
                <c:pt idx="6498">
                  <c:v>554.4329839583969</c:v>
                </c:pt>
                <c:pt idx="6499">
                  <c:v>562.66785287329571</c:v>
                </c:pt>
                <c:pt idx="6500">
                  <c:v>565.23951180181757</c:v>
                </c:pt>
                <c:pt idx="6501">
                  <c:v>565.39242125162161</c:v>
                </c:pt>
                <c:pt idx="6502">
                  <c:v>564.58895159719702</c:v>
                </c:pt>
                <c:pt idx="6503">
                  <c:v>561.30000834050384</c:v>
                </c:pt>
                <c:pt idx="6504">
                  <c:v>570.63304512217678</c:v>
                </c:pt>
                <c:pt idx="6505">
                  <c:v>576.92735411047204</c:v>
                </c:pt>
                <c:pt idx="6506">
                  <c:v>575.82362590006869</c:v>
                </c:pt>
                <c:pt idx="6507">
                  <c:v>574.35291501013569</c:v>
                </c:pt>
                <c:pt idx="6508">
                  <c:v>581.1532152686915</c:v>
                </c:pt>
                <c:pt idx="6509">
                  <c:v>580.89187911811734</c:v>
                </c:pt>
                <c:pt idx="6510">
                  <c:v>578.09780644442628</c:v>
                </c:pt>
                <c:pt idx="6511">
                  <c:v>584.9620506547185</c:v>
                </c:pt>
                <c:pt idx="6512">
                  <c:v>586.55786927630925</c:v>
                </c:pt>
                <c:pt idx="6513">
                  <c:v>584.47830075897491</c:v>
                </c:pt>
                <c:pt idx="6514">
                  <c:v>583.81661986709582</c:v>
                </c:pt>
                <c:pt idx="6515">
                  <c:v>583.61366732462864</c:v>
                </c:pt>
                <c:pt idx="6516">
                  <c:v>577.88095304288606</c:v>
                </c:pt>
                <c:pt idx="6517">
                  <c:v>578.75392699267616</c:v>
                </c:pt>
                <c:pt idx="6518">
                  <c:v>576.88565153325283</c:v>
                </c:pt>
                <c:pt idx="6519">
                  <c:v>568.8148127554166</c:v>
                </c:pt>
                <c:pt idx="6520">
                  <c:v>562.4398787844973</c:v>
                </c:pt>
                <c:pt idx="6521">
                  <c:v>570.82209680557082</c:v>
                </c:pt>
                <c:pt idx="6522">
                  <c:v>570.05754955655084</c:v>
                </c:pt>
                <c:pt idx="6523">
                  <c:v>579.27103895019502</c:v>
                </c:pt>
                <c:pt idx="6524">
                  <c:v>578.62047874557436</c:v>
                </c:pt>
                <c:pt idx="6525">
                  <c:v>580.82515499456667</c:v>
                </c:pt>
                <c:pt idx="6526">
                  <c:v>580.10787066639523</c:v>
                </c:pt>
                <c:pt idx="6527">
                  <c:v>580.81681447912274</c:v>
                </c:pt>
                <c:pt idx="6528">
                  <c:v>580.74174984012802</c:v>
                </c:pt>
                <c:pt idx="6529">
                  <c:v>581.08649114514071</c:v>
                </c:pt>
                <c:pt idx="6530">
                  <c:v>578.38972448496099</c:v>
                </c:pt>
                <c:pt idx="6531">
                  <c:v>584.56726625704243</c:v>
                </c:pt>
                <c:pt idx="6532">
                  <c:v>578.13950902164549</c:v>
                </c:pt>
                <c:pt idx="6533">
                  <c:v>569.82957546775197</c:v>
                </c:pt>
                <c:pt idx="6534">
                  <c:v>581.52575829185037</c:v>
                </c:pt>
                <c:pt idx="6535">
                  <c:v>577.46114709887877</c:v>
                </c:pt>
                <c:pt idx="6536">
                  <c:v>573.71347549277357</c:v>
                </c:pt>
                <c:pt idx="6537">
                  <c:v>569.2735411048285</c:v>
                </c:pt>
                <c:pt idx="6538">
                  <c:v>570.55520031136746</c:v>
                </c:pt>
                <c:pt idx="6539">
                  <c:v>559.47343545829983</c:v>
                </c:pt>
                <c:pt idx="6540">
                  <c:v>562.13405988488944</c:v>
                </c:pt>
                <c:pt idx="6541">
                  <c:v>568.10308877087448</c:v>
                </c:pt>
                <c:pt idx="6542">
                  <c:v>576.34907837303183</c:v>
                </c:pt>
                <c:pt idx="6543">
                  <c:v>567.68050265505258</c:v>
                </c:pt>
                <c:pt idx="6544">
                  <c:v>557.57735828073044</c:v>
                </c:pt>
                <c:pt idx="6545">
                  <c:v>561.91442631153473</c:v>
                </c:pt>
                <c:pt idx="6546">
                  <c:v>566.86869248518406</c:v>
                </c:pt>
                <c:pt idx="6547">
                  <c:v>573.90808751979716</c:v>
                </c:pt>
                <c:pt idx="6548">
                  <c:v>572.99063082097314</c:v>
                </c:pt>
                <c:pt idx="6549">
                  <c:v>571.74233367620968</c:v>
                </c:pt>
                <c:pt idx="6550">
                  <c:v>577.81978926296483</c:v>
                </c:pt>
                <c:pt idx="6551">
                  <c:v>573.64953154103773</c:v>
                </c:pt>
                <c:pt idx="6552">
                  <c:v>568.25043787704942</c:v>
                </c:pt>
                <c:pt idx="6553">
                  <c:v>559.55406044092399</c:v>
                </c:pt>
                <c:pt idx="6554">
                  <c:v>560.68003002584419</c:v>
                </c:pt>
                <c:pt idx="6555">
                  <c:v>553.32647557617929</c:v>
                </c:pt>
                <c:pt idx="6556">
                  <c:v>540.21240512662575</c:v>
                </c:pt>
                <c:pt idx="6557">
                  <c:v>534.35736328504004</c:v>
                </c:pt>
                <c:pt idx="6558">
                  <c:v>534.81331146263744</c:v>
                </c:pt>
                <c:pt idx="6559">
                  <c:v>538.98634935637915</c:v>
                </c:pt>
                <c:pt idx="6560">
                  <c:v>525.53031777362764</c:v>
                </c:pt>
                <c:pt idx="6561">
                  <c:v>534.30454002056229</c:v>
                </c:pt>
                <c:pt idx="6562">
                  <c:v>522.76404681808253</c:v>
                </c:pt>
                <c:pt idx="6563">
                  <c:v>523.04206399954433</c:v>
                </c:pt>
                <c:pt idx="6564">
                  <c:v>516.92568600738446</c:v>
                </c:pt>
                <c:pt idx="6565">
                  <c:v>519.61133198030564</c:v>
                </c:pt>
                <c:pt idx="6566">
                  <c:v>530.15096332952271</c:v>
                </c:pt>
                <c:pt idx="6567">
                  <c:v>521.86049097833154</c:v>
                </c:pt>
                <c:pt idx="6568">
                  <c:v>529.2418471461425</c:v>
                </c:pt>
                <c:pt idx="6569">
                  <c:v>523.49245183351229</c:v>
                </c:pt>
                <c:pt idx="6570">
                  <c:v>526.38661069252964</c:v>
                </c:pt>
                <c:pt idx="6571">
                  <c:v>539.42005615945925</c:v>
                </c:pt>
                <c:pt idx="6572">
                  <c:v>539.18096138340206</c:v>
                </c:pt>
                <c:pt idx="6573">
                  <c:v>529.07503683726532</c:v>
                </c:pt>
                <c:pt idx="6574">
                  <c:v>531.71620006115256</c:v>
                </c:pt>
                <c:pt idx="6575">
                  <c:v>532.52801023102097</c:v>
                </c:pt>
                <c:pt idx="6576">
                  <c:v>522.68620200727287</c:v>
                </c:pt>
                <c:pt idx="6577">
                  <c:v>515.28816480857415</c:v>
                </c:pt>
                <c:pt idx="6578">
                  <c:v>514.94620367537607</c:v>
                </c:pt>
                <c:pt idx="6579">
                  <c:v>514.84889766186438</c:v>
                </c:pt>
                <c:pt idx="6580">
                  <c:v>508.51566626816441</c:v>
                </c:pt>
                <c:pt idx="6581">
                  <c:v>518.44087964635094</c:v>
                </c:pt>
                <c:pt idx="6582">
                  <c:v>527.00380883537457</c:v>
                </c:pt>
                <c:pt idx="6583">
                  <c:v>535.68906558424146</c:v>
                </c:pt>
                <c:pt idx="6584">
                  <c:v>533.18969112289972</c:v>
                </c:pt>
                <c:pt idx="6585">
                  <c:v>533.17579026382668</c:v>
                </c:pt>
                <c:pt idx="6586">
                  <c:v>540.88242653394809</c:v>
                </c:pt>
                <c:pt idx="6587">
                  <c:v>534.14607022712846</c:v>
                </c:pt>
                <c:pt idx="6588">
                  <c:v>536.51755678499774</c:v>
                </c:pt>
                <c:pt idx="6589">
                  <c:v>542.60613305901143</c:v>
                </c:pt>
                <c:pt idx="6590">
                  <c:v>541.59137034667583</c:v>
                </c:pt>
                <c:pt idx="6591">
                  <c:v>537.19313853594997</c:v>
                </c:pt>
                <c:pt idx="6592">
                  <c:v>550.01529094496857</c:v>
                </c:pt>
                <c:pt idx="6593">
                  <c:v>552.26723011480931</c:v>
                </c:pt>
                <c:pt idx="6594">
                  <c:v>554.19944952596882</c:v>
                </c:pt>
                <c:pt idx="6595">
                  <c:v>556.03158275180203</c:v>
                </c:pt>
                <c:pt idx="6596">
                  <c:v>556.52367316298944</c:v>
                </c:pt>
                <c:pt idx="6597">
                  <c:v>550.26828658009867</c:v>
                </c:pt>
                <c:pt idx="6598">
                  <c:v>553.0484583947167</c:v>
                </c:pt>
                <c:pt idx="6599">
                  <c:v>553.13464372096985</c:v>
                </c:pt>
                <c:pt idx="6600">
                  <c:v>562.20356418025403</c:v>
                </c:pt>
                <c:pt idx="6601">
                  <c:v>561.49462036752641</c:v>
                </c:pt>
                <c:pt idx="6602">
                  <c:v>560.46317662430306</c:v>
                </c:pt>
                <c:pt idx="6603">
                  <c:v>563.60199060300681</c:v>
                </c:pt>
                <c:pt idx="6604">
                  <c:v>567.31908031915111</c:v>
                </c:pt>
                <c:pt idx="6605">
                  <c:v>569.81845478049286</c:v>
                </c:pt>
                <c:pt idx="6606">
                  <c:v>570.38004948704565</c:v>
                </c:pt>
                <c:pt idx="6607">
                  <c:v>569.87961856041443</c:v>
                </c:pt>
                <c:pt idx="6608">
                  <c:v>566.24037365507934</c:v>
                </c:pt>
                <c:pt idx="6609">
                  <c:v>566.02630042535372</c:v>
                </c:pt>
                <c:pt idx="6610">
                  <c:v>566.3348994967763</c:v>
                </c:pt>
                <c:pt idx="6611">
                  <c:v>571.32808807583046</c:v>
                </c:pt>
                <c:pt idx="6612">
                  <c:v>573.81356167809884</c:v>
                </c:pt>
                <c:pt idx="6613">
                  <c:v>572.64310934414459</c:v>
                </c:pt>
                <c:pt idx="6614">
                  <c:v>576.26845339040676</c:v>
                </c:pt>
                <c:pt idx="6615">
                  <c:v>574.41963913368568</c:v>
                </c:pt>
                <c:pt idx="6616">
                  <c:v>568.59239901024614</c:v>
                </c:pt>
                <c:pt idx="6617">
                  <c:v>574.56698823986028</c:v>
                </c:pt>
                <c:pt idx="6618">
                  <c:v>567.68606299868054</c:v>
                </c:pt>
                <c:pt idx="6619">
                  <c:v>569.26798076119815</c:v>
                </c:pt>
                <c:pt idx="6620">
                  <c:v>567.70830437319739</c:v>
                </c:pt>
                <c:pt idx="6621">
                  <c:v>573.19358336343885</c:v>
                </c:pt>
                <c:pt idx="6622">
                  <c:v>578.94853901969839</c:v>
                </c:pt>
                <c:pt idx="6623">
                  <c:v>579.04862520502468</c:v>
                </c:pt>
                <c:pt idx="6624">
                  <c:v>578.47868998302783</c:v>
                </c:pt>
                <c:pt idx="6625">
                  <c:v>582.26250382272303</c:v>
                </c:pt>
                <c:pt idx="6626">
                  <c:v>584.05849481496625</c:v>
                </c:pt>
                <c:pt idx="6627">
                  <c:v>584.50332230530512</c:v>
                </c:pt>
                <c:pt idx="6628">
                  <c:v>581.46737468374215</c:v>
                </c:pt>
                <c:pt idx="6629">
                  <c:v>581.49517640188833</c:v>
                </c:pt>
                <c:pt idx="6630">
                  <c:v>580.44149128414801</c:v>
                </c:pt>
                <c:pt idx="6631">
                  <c:v>581.52853846366361</c:v>
                </c:pt>
                <c:pt idx="6632">
                  <c:v>582.48769773970685</c:v>
                </c:pt>
                <c:pt idx="6633">
                  <c:v>577.11084545023539</c:v>
                </c:pt>
                <c:pt idx="6634">
                  <c:v>574.18888487307197</c:v>
                </c:pt>
                <c:pt idx="6635">
                  <c:v>578.67330201005075</c:v>
                </c:pt>
                <c:pt idx="6636">
                  <c:v>573.65231171285052</c:v>
                </c:pt>
                <c:pt idx="6637">
                  <c:v>570.2466012399434</c:v>
                </c:pt>
                <c:pt idx="6638">
                  <c:v>570.11037282102723</c:v>
                </c:pt>
                <c:pt idx="6639">
                  <c:v>571.92026467234359</c:v>
                </c:pt>
                <c:pt idx="6640">
                  <c:v>572.35119130360943</c:v>
                </c:pt>
                <c:pt idx="6641">
                  <c:v>579.49623286717781</c:v>
                </c:pt>
                <c:pt idx="6642">
                  <c:v>573.955350440644</c:v>
                </c:pt>
              </c:numCache>
            </c:numRef>
          </c:val>
          <c:smooth val="0"/>
          <c:extLst xmlns:c16r2="http://schemas.microsoft.com/office/drawing/2015/06/chart">
            <c:ext xmlns:c16="http://schemas.microsoft.com/office/drawing/2014/chart" uri="{C3380CC4-5D6E-409C-BE32-E72D297353CC}">
              <c16:uniqueId val="{00000000-A2E9-4D53-A1A2-F07A60AA1412}"/>
            </c:ext>
          </c:extLst>
        </c:ser>
        <c:dLbls>
          <c:showLegendKey val="0"/>
          <c:showVal val="0"/>
          <c:showCatName val="0"/>
          <c:showSerName val="0"/>
          <c:showPercent val="0"/>
          <c:showBubbleSize val="0"/>
        </c:dLbls>
        <c:marker val="1"/>
        <c:smooth val="0"/>
        <c:axId val="552363520"/>
        <c:axId val="552365056"/>
      </c:lineChart>
      <c:dateAx>
        <c:axId val="552363520"/>
        <c:scaling>
          <c:orientation val="minMax"/>
        </c:scaling>
        <c:delete val="0"/>
        <c:axPos val="b"/>
        <c:numFmt formatCode="m/d/yyyy" sourceLinked="1"/>
        <c:majorTickMark val="none"/>
        <c:minorTickMark val="none"/>
        <c:tickLblPos val="nextTo"/>
        <c:crossAx val="552365056"/>
        <c:crosses val="autoZero"/>
        <c:auto val="1"/>
        <c:lblOffset val="100"/>
        <c:baseTimeUnit val="days"/>
      </c:dateAx>
      <c:valAx>
        <c:axId val="552365056"/>
        <c:scaling>
          <c:orientation val="minMax"/>
        </c:scaling>
        <c:delete val="0"/>
        <c:axPos val="l"/>
        <c:majorGridlines/>
        <c:numFmt formatCode="General" sourceLinked="1"/>
        <c:majorTickMark val="none"/>
        <c:minorTickMark val="none"/>
        <c:tickLblPos val="nextTo"/>
        <c:spPr>
          <a:ln w="9525">
            <a:noFill/>
          </a:ln>
        </c:spPr>
        <c:crossAx val="552363520"/>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400" dirty="0"/>
              <a:t>VIX Index and VIX volumes (M USD)</a:t>
            </a:r>
          </a:p>
        </c:rich>
      </c:tx>
      <c:layout/>
      <c:overlay val="0"/>
    </c:title>
    <c:autoTitleDeleted val="0"/>
    <c:plotArea>
      <c:layout/>
      <c:lineChart>
        <c:grouping val="standard"/>
        <c:varyColors val="0"/>
        <c:ser>
          <c:idx val="0"/>
          <c:order val="0"/>
          <c:tx>
            <c:strRef>
              <c:f>volumes!$M$4</c:f>
              <c:strCache>
                <c:ptCount val="1"/>
                <c:pt idx="0">
                  <c:v>UX1 Volume</c:v>
                </c:pt>
              </c:strCache>
            </c:strRef>
          </c:tx>
          <c:marker>
            <c:symbol val="none"/>
          </c:marker>
          <c:cat>
            <c:numRef>
              <c:f>volumes!$L$5:$L$2609</c:f>
              <c:numCache>
                <c:formatCode>m/d/yyyy</c:formatCode>
                <c:ptCount val="2605"/>
                <c:pt idx="0">
                  <c:v>38720</c:v>
                </c:pt>
                <c:pt idx="1">
                  <c:v>38721</c:v>
                </c:pt>
                <c:pt idx="2">
                  <c:v>38722</c:v>
                </c:pt>
                <c:pt idx="3">
                  <c:v>38723</c:v>
                </c:pt>
                <c:pt idx="4">
                  <c:v>38726</c:v>
                </c:pt>
                <c:pt idx="5">
                  <c:v>38727</c:v>
                </c:pt>
                <c:pt idx="6">
                  <c:v>38728</c:v>
                </c:pt>
                <c:pt idx="7">
                  <c:v>38729</c:v>
                </c:pt>
                <c:pt idx="8">
                  <c:v>38730</c:v>
                </c:pt>
                <c:pt idx="9">
                  <c:v>38734</c:v>
                </c:pt>
                <c:pt idx="10">
                  <c:v>38735</c:v>
                </c:pt>
                <c:pt idx="11">
                  <c:v>38736</c:v>
                </c:pt>
                <c:pt idx="12">
                  <c:v>38737</c:v>
                </c:pt>
                <c:pt idx="13">
                  <c:v>38740</c:v>
                </c:pt>
                <c:pt idx="14">
                  <c:v>38741</c:v>
                </c:pt>
                <c:pt idx="15">
                  <c:v>38742</c:v>
                </c:pt>
                <c:pt idx="16">
                  <c:v>38743</c:v>
                </c:pt>
                <c:pt idx="17">
                  <c:v>38744</c:v>
                </c:pt>
                <c:pt idx="18">
                  <c:v>38747</c:v>
                </c:pt>
                <c:pt idx="19">
                  <c:v>38748</c:v>
                </c:pt>
                <c:pt idx="20">
                  <c:v>38749</c:v>
                </c:pt>
                <c:pt idx="21">
                  <c:v>38750</c:v>
                </c:pt>
                <c:pt idx="22">
                  <c:v>38751</c:v>
                </c:pt>
                <c:pt idx="23">
                  <c:v>38754</c:v>
                </c:pt>
                <c:pt idx="24">
                  <c:v>38755</c:v>
                </c:pt>
                <c:pt idx="25">
                  <c:v>38756</c:v>
                </c:pt>
                <c:pt idx="26">
                  <c:v>38757</c:v>
                </c:pt>
                <c:pt idx="27">
                  <c:v>38758</c:v>
                </c:pt>
                <c:pt idx="28">
                  <c:v>38761</c:v>
                </c:pt>
                <c:pt idx="29">
                  <c:v>38762</c:v>
                </c:pt>
                <c:pt idx="30">
                  <c:v>38763</c:v>
                </c:pt>
                <c:pt idx="31">
                  <c:v>38764</c:v>
                </c:pt>
                <c:pt idx="32">
                  <c:v>38765</c:v>
                </c:pt>
                <c:pt idx="33">
                  <c:v>38769</c:v>
                </c:pt>
                <c:pt idx="34">
                  <c:v>38770</c:v>
                </c:pt>
                <c:pt idx="35">
                  <c:v>38771</c:v>
                </c:pt>
                <c:pt idx="36">
                  <c:v>38772</c:v>
                </c:pt>
                <c:pt idx="37">
                  <c:v>38775</c:v>
                </c:pt>
                <c:pt idx="38">
                  <c:v>38776</c:v>
                </c:pt>
                <c:pt idx="39">
                  <c:v>38777</c:v>
                </c:pt>
                <c:pt idx="40">
                  <c:v>38778</c:v>
                </c:pt>
                <c:pt idx="41">
                  <c:v>38779</c:v>
                </c:pt>
                <c:pt idx="42">
                  <c:v>38782</c:v>
                </c:pt>
                <c:pt idx="43">
                  <c:v>38783</c:v>
                </c:pt>
                <c:pt idx="44">
                  <c:v>38784</c:v>
                </c:pt>
                <c:pt idx="45">
                  <c:v>38785</c:v>
                </c:pt>
                <c:pt idx="46">
                  <c:v>38786</c:v>
                </c:pt>
                <c:pt idx="47">
                  <c:v>38789</c:v>
                </c:pt>
                <c:pt idx="48">
                  <c:v>38790</c:v>
                </c:pt>
                <c:pt idx="49">
                  <c:v>38791</c:v>
                </c:pt>
                <c:pt idx="50">
                  <c:v>38792</c:v>
                </c:pt>
                <c:pt idx="51">
                  <c:v>38793</c:v>
                </c:pt>
                <c:pt idx="52">
                  <c:v>38796</c:v>
                </c:pt>
                <c:pt idx="53">
                  <c:v>38797</c:v>
                </c:pt>
                <c:pt idx="54">
                  <c:v>38798</c:v>
                </c:pt>
                <c:pt idx="55">
                  <c:v>38799</c:v>
                </c:pt>
                <c:pt idx="56">
                  <c:v>38800</c:v>
                </c:pt>
                <c:pt idx="57">
                  <c:v>38803</c:v>
                </c:pt>
                <c:pt idx="58">
                  <c:v>38804</c:v>
                </c:pt>
                <c:pt idx="59">
                  <c:v>38805</c:v>
                </c:pt>
                <c:pt idx="60">
                  <c:v>38806</c:v>
                </c:pt>
                <c:pt idx="61">
                  <c:v>38807</c:v>
                </c:pt>
                <c:pt idx="62">
                  <c:v>38810</c:v>
                </c:pt>
                <c:pt idx="63">
                  <c:v>38811</c:v>
                </c:pt>
                <c:pt idx="64">
                  <c:v>38812</c:v>
                </c:pt>
                <c:pt idx="65">
                  <c:v>38813</c:v>
                </c:pt>
                <c:pt idx="66">
                  <c:v>38814</c:v>
                </c:pt>
                <c:pt idx="67">
                  <c:v>38817</c:v>
                </c:pt>
                <c:pt idx="68">
                  <c:v>38818</c:v>
                </c:pt>
                <c:pt idx="69">
                  <c:v>38819</c:v>
                </c:pt>
                <c:pt idx="70">
                  <c:v>38820</c:v>
                </c:pt>
                <c:pt idx="71">
                  <c:v>38824</c:v>
                </c:pt>
                <c:pt idx="72">
                  <c:v>38825</c:v>
                </c:pt>
                <c:pt idx="73">
                  <c:v>38826</c:v>
                </c:pt>
                <c:pt idx="74">
                  <c:v>38827</c:v>
                </c:pt>
                <c:pt idx="75">
                  <c:v>38828</c:v>
                </c:pt>
                <c:pt idx="76">
                  <c:v>38831</c:v>
                </c:pt>
                <c:pt idx="77">
                  <c:v>38832</c:v>
                </c:pt>
                <c:pt idx="78">
                  <c:v>38833</c:v>
                </c:pt>
                <c:pt idx="79">
                  <c:v>38834</c:v>
                </c:pt>
                <c:pt idx="80">
                  <c:v>38835</c:v>
                </c:pt>
                <c:pt idx="81">
                  <c:v>38838</c:v>
                </c:pt>
                <c:pt idx="82">
                  <c:v>38839</c:v>
                </c:pt>
                <c:pt idx="83">
                  <c:v>38840</c:v>
                </c:pt>
                <c:pt idx="84">
                  <c:v>38841</c:v>
                </c:pt>
                <c:pt idx="85">
                  <c:v>38842</c:v>
                </c:pt>
                <c:pt idx="86">
                  <c:v>38845</c:v>
                </c:pt>
                <c:pt idx="87">
                  <c:v>38846</c:v>
                </c:pt>
                <c:pt idx="88">
                  <c:v>38847</c:v>
                </c:pt>
                <c:pt idx="89">
                  <c:v>38848</c:v>
                </c:pt>
                <c:pt idx="90">
                  <c:v>38849</c:v>
                </c:pt>
                <c:pt idx="91">
                  <c:v>38852</c:v>
                </c:pt>
                <c:pt idx="92">
                  <c:v>38853</c:v>
                </c:pt>
                <c:pt idx="93">
                  <c:v>38854</c:v>
                </c:pt>
                <c:pt idx="94">
                  <c:v>38855</c:v>
                </c:pt>
                <c:pt idx="95">
                  <c:v>38856</c:v>
                </c:pt>
                <c:pt idx="96">
                  <c:v>38859</c:v>
                </c:pt>
                <c:pt idx="97">
                  <c:v>38860</c:v>
                </c:pt>
                <c:pt idx="98">
                  <c:v>38861</c:v>
                </c:pt>
                <c:pt idx="99">
                  <c:v>38862</c:v>
                </c:pt>
                <c:pt idx="100">
                  <c:v>38863</c:v>
                </c:pt>
                <c:pt idx="101">
                  <c:v>38867</c:v>
                </c:pt>
                <c:pt idx="102">
                  <c:v>38868</c:v>
                </c:pt>
                <c:pt idx="103">
                  <c:v>38869</c:v>
                </c:pt>
                <c:pt idx="104">
                  <c:v>38870</c:v>
                </c:pt>
                <c:pt idx="105">
                  <c:v>38873</c:v>
                </c:pt>
                <c:pt idx="106">
                  <c:v>38874</c:v>
                </c:pt>
                <c:pt idx="107">
                  <c:v>38875</c:v>
                </c:pt>
                <c:pt idx="108">
                  <c:v>38876</c:v>
                </c:pt>
                <c:pt idx="109">
                  <c:v>38877</c:v>
                </c:pt>
                <c:pt idx="110">
                  <c:v>38880</c:v>
                </c:pt>
                <c:pt idx="111">
                  <c:v>38881</c:v>
                </c:pt>
                <c:pt idx="112">
                  <c:v>38882</c:v>
                </c:pt>
                <c:pt idx="113">
                  <c:v>38883</c:v>
                </c:pt>
                <c:pt idx="114">
                  <c:v>38884</c:v>
                </c:pt>
                <c:pt idx="115">
                  <c:v>38887</c:v>
                </c:pt>
                <c:pt idx="116">
                  <c:v>38888</c:v>
                </c:pt>
                <c:pt idx="117">
                  <c:v>38889</c:v>
                </c:pt>
                <c:pt idx="118">
                  <c:v>38890</c:v>
                </c:pt>
                <c:pt idx="119">
                  <c:v>38891</c:v>
                </c:pt>
                <c:pt idx="120">
                  <c:v>38894</c:v>
                </c:pt>
                <c:pt idx="121">
                  <c:v>38895</c:v>
                </c:pt>
                <c:pt idx="122">
                  <c:v>38896</c:v>
                </c:pt>
                <c:pt idx="123">
                  <c:v>38897</c:v>
                </c:pt>
                <c:pt idx="124">
                  <c:v>38898</c:v>
                </c:pt>
                <c:pt idx="125">
                  <c:v>38901</c:v>
                </c:pt>
                <c:pt idx="126">
                  <c:v>38903</c:v>
                </c:pt>
                <c:pt idx="127">
                  <c:v>38904</c:v>
                </c:pt>
                <c:pt idx="128">
                  <c:v>38905</c:v>
                </c:pt>
                <c:pt idx="129">
                  <c:v>38908</c:v>
                </c:pt>
                <c:pt idx="130">
                  <c:v>38909</c:v>
                </c:pt>
                <c:pt idx="131">
                  <c:v>38910</c:v>
                </c:pt>
                <c:pt idx="132">
                  <c:v>38911</c:v>
                </c:pt>
                <c:pt idx="133">
                  <c:v>38912</c:v>
                </c:pt>
                <c:pt idx="134">
                  <c:v>38915</c:v>
                </c:pt>
                <c:pt idx="135">
                  <c:v>38916</c:v>
                </c:pt>
                <c:pt idx="136">
                  <c:v>38917</c:v>
                </c:pt>
                <c:pt idx="137">
                  <c:v>38918</c:v>
                </c:pt>
                <c:pt idx="138">
                  <c:v>38919</c:v>
                </c:pt>
                <c:pt idx="139">
                  <c:v>38922</c:v>
                </c:pt>
                <c:pt idx="140">
                  <c:v>38923</c:v>
                </c:pt>
                <c:pt idx="141">
                  <c:v>38924</c:v>
                </c:pt>
                <c:pt idx="142">
                  <c:v>38925</c:v>
                </c:pt>
                <c:pt idx="143">
                  <c:v>38926</c:v>
                </c:pt>
                <c:pt idx="144">
                  <c:v>38929</c:v>
                </c:pt>
                <c:pt idx="145">
                  <c:v>38930</c:v>
                </c:pt>
                <c:pt idx="146">
                  <c:v>38931</c:v>
                </c:pt>
                <c:pt idx="147">
                  <c:v>38932</c:v>
                </c:pt>
                <c:pt idx="148">
                  <c:v>38933</c:v>
                </c:pt>
                <c:pt idx="149">
                  <c:v>38936</c:v>
                </c:pt>
                <c:pt idx="150">
                  <c:v>38937</c:v>
                </c:pt>
                <c:pt idx="151">
                  <c:v>38938</c:v>
                </c:pt>
                <c:pt idx="152">
                  <c:v>38939</c:v>
                </c:pt>
                <c:pt idx="153">
                  <c:v>38940</c:v>
                </c:pt>
                <c:pt idx="154">
                  <c:v>38943</c:v>
                </c:pt>
                <c:pt idx="155">
                  <c:v>38944</c:v>
                </c:pt>
                <c:pt idx="156">
                  <c:v>38945</c:v>
                </c:pt>
                <c:pt idx="157">
                  <c:v>38946</c:v>
                </c:pt>
                <c:pt idx="158">
                  <c:v>38947</c:v>
                </c:pt>
                <c:pt idx="159">
                  <c:v>38950</c:v>
                </c:pt>
                <c:pt idx="160">
                  <c:v>38951</c:v>
                </c:pt>
                <c:pt idx="161">
                  <c:v>38952</c:v>
                </c:pt>
                <c:pt idx="162">
                  <c:v>38953</c:v>
                </c:pt>
                <c:pt idx="163">
                  <c:v>38954</c:v>
                </c:pt>
                <c:pt idx="164">
                  <c:v>38957</c:v>
                </c:pt>
                <c:pt idx="165">
                  <c:v>38958</c:v>
                </c:pt>
                <c:pt idx="166">
                  <c:v>38959</c:v>
                </c:pt>
                <c:pt idx="167">
                  <c:v>38960</c:v>
                </c:pt>
                <c:pt idx="168">
                  <c:v>38961</c:v>
                </c:pt>
                <c:pt idx="169">
                  <c:v>38965</c:v>
                </c:pt>
                <c:pt idx="170">
                  <c:v>38966</c:v>
                </c:pt>
                <c:pt idx="171">
                  <c:v>38967</c:v>
                </c:pt>
                <c:pt idx="172">
                  <c:v>38968</c:v>
                </c:pt>
                <c:pt idx="173">
                  <c:v>38971</c:v>
                </c:pt>
                <c:pt idx="174">
                  <c:v>38972</c:v>
                </c:pt>
                <c:pt idx="175">
                  <c:v>38973</c:v>
                </c:pt>
                <c:pt idx="176">
                  <c:v>38974</c:v>
                </c:pt>
                <c:pt idx="177">
                  <c:v>38975</c:v>
                </c:pt>
                <c:pt idx="178">
                  <c:v>38978</c:v>
                </c:pt>
                <c:pt idx="179">
                  <c:v>38979</c:v>
                </c:pt>
                <c:pt idx="180">
                  <c:v>38980</c:v>
                </c:pt>
                <c:pt idx="181">
                  <c:v>38981</c:v>
                </c:pt>
                <c:pt idx="182">
                  <c:v>38982</c:v>
                </c:pt>
                <c:pt idx="183">
                  <c:v>38985</c:v>
                </c:pt>
                <c:pt idx="184">
                  <c:v>38986</c:v>
                </c:pt>
                <c:pt idx="185">
                  <c:v>38987</c:v>
                </c:pt>
                <c:pt idx="186">
                  <c:v>38988</c:v>
                </c:pt>
                <c:pt idx="187">
                  <c:v>38989</c:v>
                </c:pt>
                <c:pt idx="188">
                  <c:v>38992</c:v>
                </c:pt>
                <c:pt idx="189">
                  <c:v>38993</c:v>
                </c:pt>
                <c:pt idx="190">
                  <c:v>38994</c:v>
                </c:pt>
                <c:pt idx="191">
                  <c:v>38995</c:v>
                </c:pt>
                <c:pt idx="192">
                  <c:v>38996</c:v>
                </c:pt>
                <c:pt idx="193">
                  <c:v>38999</c:v>
                </c:pt>
                <c:pt idx="194">
                  <c:v>39000</c:v>
                </c:pt>
                <c:pt idx="195">
                  <c:v>39001</c:v>
                </c:pt>
                <c:pt idx="196">
                  <c:v>39002</c:v>
                </c:pt>
                <c:pt idx="197">
                  <c:v>39003</c:v>
                </c:pt>
                <c:pt idx="198">
                  <c:v>39006</c:v>
                </c:pt>
                <c:pt idx="199">
                  <c:v>39007</c:v>
                </c:pt>
                <c:pt idx="200">
                  <c:v>39008</c:v>
                </c:pt>
                <c:pt idx="201">
                  <c:v>39009</c:v>
                </c:pt>
                <c:pt idx="202">
                  <c:v>39010</c:v>
                </c:pt>
                <c:pt idx="203">
                  <c:v>39013</c:v>
                </c:pt>
                <c:pt idx="204">
                  <c:v>39014</c:v>
                </c:pt>
                <c:pt idx="205">
                  <c:v>39015</c:v>
                </c:pt>
                <c:pt idx="206">
                  <c:v>39016</c:v>
                </c:pt>
                <c:pt idx="207">
                  <c:v>39017</c:v>
                </c:pt>
                <c:pt idx="208">
                  <c:v>39020</c:v>
                </c:pt>
                <c:pt idx="209">
                  <c:v>39021</c:v>
                </c:pt>
                <c:pt idx="210">
                  <c:v>39022</c:v>
                </c:pt>
                <c:pt idx="211">
                  <c:v>39023</c:v>
                </c:pt>
                <c:pt idx="212">
                  <c:v>39024</c:v>
                </c:pt>
                <c:pt idx="213">
                  <c:v>39027</c:v>
                </c:pt>
                <c:pt idx="214">
                  <c:v>39028</c:v>
                </c:pt>
                <c:pt idx="215">
                  <c:v>39029</c:v>
                </c:pt>
                <c:pt idx="216">
                  <c:v>39030</c:v>
                </c:pt>
                <c:pt idx="217">
                  <c:v>39031</c:v>
                </c:pt>
                <c:pt idx="218">
                  <c:v>39034</c:v>
                </c:pt>
                <c:pt idx="219">
                  <c:v>39035</c:v>
                </c:pt>
                <c:pt idx="220">
                  <c:v>39036</c:v>
                </c:pt>
                <c:pt idx="221">
                  <c:v>39037</c:v>
                </c:pt>
                <c:pt idx="222">
                  <c:v>39038</c:v>
                </c:pt>
                <c:pt idx="223">
                  <c:v>39041</c:v>
                </c:pt>
                <c:pt idx="224">
                  <c:v>39042</c:v>
                </c:pt>
                <c:pt idx="225">
                  <c:v>39043</c:v>
                </c:pt>
                <c:pt idx="226">
                  <c:v>39045</c:v>
                </c:pt>
                <c:pt idx="227">
                  <c:v>39048</c:v>
                </c:pt>
                <c:pt idx="228">
                  <c:v>39049</c:v>
                </c:pt>
                <c:pt idx="229">
                  <c:v>39050</c:v>
                </c:pt>
                <c:pt idx="230">
                  <c:v>39051</c:v>
                </c:pt>
                <c:pt idx="231">
                  <c:v>39052</c:v>
                </c:pt>
                <c:pt idx="232">
                  <c:v>39055</c:v>
                </c:pt>
                <c:pt idx="233">
                  <c:v>39056</c:v>
                </c:pt>
                <c:pt idx="234">
                  <c:v>39057</c:v>
                </c:pt>
                <c:pt idx="235">
                  <c:v>39058</c:v>
                </c:pt>
                <c:pt idx="236">
                  <c:v>39059</c:v>
                </c:pt>
                <c:pt idx="237">
                  <c:v>39062</c:v>
                </c:pt>
                <c:pt idx="238">
                  <c:v>39063</c:v>
                </c:pt>
                <c:pt idx="239">
                  <c:v>39064</c:v>
                </c:pt>
                <c:pt idx="240">
                  <c:v>39065</c:v>
                </c:pt>
                <c:pt idx="241">
                  <c:v>39066</c:v>
                </c:pt>
                <c:pt idx="242">
                  <c:v>39069</c:v>
                </c:pt>
                <c:pt idx="243">
                  <c:v>39070</c:v>
                </c:pt>
                <c:pt idx="244">
                  <c:v>39071</c:v>
                </c:pt>
                <c:pt idx="245">
                  <c:v>39072</c:v>
                </c:pt>
                <c:pt idx="246">
                  <c:v>39073</c:v>
                </c:pt>
                <c:pt idx="247">
                  <c:v>39077</c:v>
                </c:pt>
                <c:pt idx="248">
                  <c:v>39078</c:v>
                </c:pt>
                <c:pt idx="249">
                  <c:v>39079</c:v>
                </c:pt>
                <c:pt idx="250">
                  <c:v>39080</c:v>
                </c:pt>
                <c:pt idx="251">
                  <c:v>39085</c:v>
                </c:pt>
                <c:pt idx="252">
                  <c:v>39086</c:v>
                </c:pt>
                <c:pt idx="253">
                  <c:v>39087</c:v>
                </c:pt>
                <c:pt idx="254">
                  <c:v>39090</c:v>
                </c:pt>
                <c:pt idx="255">
                  <c:v>39091</c:v>
                </c:pt>
                <c:pt idx="256">
                  <c:v>39092</c:v>
                </c:pt>
                <c:pt idx="257">
                  <c:v>39093</c:v>
                </c:pt>
                <c:pt idx="258">
                  <c:v>39094</c:v>
                </c:pt>
                <c:pt idx="259">
                  <c:v>39098</c:v>
                </c:pt>
                <c:pt idx="260">
                  <c:v>39099</c:v>
                </c:pt>
                <c:pt idx="261">
                  <c:v>39100</c:v>
                </c:pt>
                <c:pt idx="262">
                  <c:v>39101</c:v>
                </c:pt>
                <c:pt idx="263">
                  <c:v>39104</c:v>
                </c:pt>
                <c:pt idx="264">
                  <c:v>39105</c:v>
                </c:pt>
                <c:pt idx="265">
                  <c:v>39106</c:v>
                </c:pt>
                <c:pt idx="266">
                  <c:v>39107</c:v>
                </c:pt>
                <c:pt idx="267">
                  <c:v>39108</c:v>
                </c:pt>
                <c:pt idx="268">
                  <c:v>39111</c:v>
                </c:pt>
                <c:pt idx="269">
                  <c:v>39112</c:v>
                </c:pt>
                <c:pt idx="270">
                  <c:v>39113</c:v>
                </c:pt>
                <c:pt idx="271">
                  <c:v>39114</c:v>
                </c:pt>
                <c:pt idx="272">
                  <c:v>39115</c:v>
                </c:pt>
                <c:pt idx="273">
                  <c:v>39118</c:v>
                </c:pt>
                <c:pt idx="274">
                  <c:v>39119</c:v>
                </c:pt>
                <c:pt idx="275">
                  <c:v>39120</c:v>
                </c:pt>
                <c:pt idx="276">
                  <c:v>39121</c:v>
                </c:pt>
                <c:pt idx="277">
                  <c:v>39122</c:v>
                </c:pt>
                <c:pt idx="278">
                  <c:v>39125</c:v>
                </c:pt>
                <c:pt idx="279">
                  <c:v>39126</c:v>
                </c:pt>
                <c:pt idx="280">
                  <c:v>39127</c:v>
                </c:pt>
                <c:pt idx="281">
                  <c:v>39128</c:v>
                </c:pt>
                <c:pt idx="282">
                  <c:v>39129</c:v>
                </c:pt>
                <c:pt idx="283">
                  <c:v>39133</c:v>
                </c:pt>
                <c:pt idx="284">
                  <c:v>39134</c:v>
                </c:pt>
                <c:pt idx="285">
                  <c:v>39135</c:v>
                </c:pt>
                <c:pt idx="286">
                  <c:v>39136</c:v>
                </c:pt>
                <c:pt idx="287">
                  <c:v>39139</c:v>
                </c:pt>
                <c:pt idx="288">
                  <c:v>39140</c:v>
                </c:pt>
                <c:pt idx="289">
                  <c:v>39141</c:v>
                </c:pt>
                <c:pt idx="290">
                  <c:v>39142</c:v>
                </c:pt>
                <c:pt idx="291">
                  <c:v>39143</c:v>
                </c:pt>
                <c:pt idx="292">
                  <c:v>39146</c:v>
                </c:pt>
                <c:pt idx="293">
                  <c:v>39147</c:v>
                </c:pt>
                <c:pt idx="294">
                  <c:v>39148</c:v>
                </c:pt>
                <c:pt idx="295">
                  <c:v>39149</c:v>
                </c:pt>
                <c:pt idx="296">
                  <c:v>39150</c:v>
                </c:pt>
                <c:pt idx="297">
                  <c:v>39153</c:v>
                </c:pt>
                <c:pt idx="298">
                  <c:v>39154</c:v>
                </c:pt>
                <c:pt idx="299">
                  <c:v>39155</c:v>
                </c:pt>
                <c:pt idx="300">
                  <c:v>39156</c:v>
                </c:pt>
                <c:pt idx="301">
                  <c:v>39157</c:v>
                </c:pt>
                <c:pt idx="302">
                  <c:v>39160</c:v>
                </c:pt>
                <c:pt idx="303">
                  <c:v>39161</c:v>
                </c:pt>
                <c:pt idx="304">
                  <c:v>39162</c:v>
                </c:pt>
                <c:pt idx="305">
                  <c:v>39163</c:v>
                </c:pt>
                <c:pt idx="306">
                  <c:v>39164</c:v>
                </c:pt>
                <c:pt idx="307">
                  <c:v>39167</c:v>
                </c:pt>
                <c:pt idx="308">
                  <c:v>39168</c:v>
                </c:pt>
                <c:pt idx="309">
                  <c:v>39169</c:v>
                </c:pt>
                <c:pt idx="310">
                  <c:v>39170</c:v>
                </c:pt>
                <c:pt idx="311">
                  <c:v>39171</c:v>
                </c:pt>
                <c:pt idx="312">
                  <c:v>39174</c:v>
                </c:pt>
                <c:pt idx="313">
                  <c:v>39175</c:v>
                </c:pt>
                <c:pt idx="314">
                  <c:v>39176</c:v>
                </c:pt>
                <c:pt idx="315">
                  <c:v>39177</c:v>
                </c:pt>
                <c:pt idx="316">
                  <c:v>39181</c:v>
                </c:pt>
                <c:pt idx="317">
                  <c:v>39182</c:v>
                </c:pt>
                <c:pt idx="318">
                  <c:v>39183</c:v>
                </c:pt>
                <c:pt idx="319">
                  <c:v>39184</c:v>
                </c:pt>
                <c:pt idx="320">
                  <c:v>39185</c:v>
                </c:pt>
                <c:pt idx="321">
                  <c:v>39188</c:v>
                </c:pt>
                <c:pt idx="322">
                  <c:v>39189</c:v>
                </c:pt>
                <c:pt idx="323">
                  <c:v>39190</c:v>
                </c:pt>
                <c:pt idx="324">
                  <c:v>39191</c:v>
                </c:pt>
                <c:pt idx="325">
                  <c:v>39192</c:v>
                </c:pt>
                <c:pt idx="326">
                  <c:v>39195</c:v>
                </c:pt>
                <c:pt idx="327">
                  <c:v>39196</c:v>
                </c:pt>
                <c:pt idx="328">
                  <c:v>39197</c:v>
                </c:pt>
                <c:pt idx="329">
                  <c:v>39198</c:v>
                </c:pt>
                <c:pt idx="330">
                  <c:v>39199</c:v>
                </c:pt>
                <c:pt idx="331">
                  <c:v>39202</c:v>
                </c:pt>
                <c:pt idx="332">
                  <c:v>39203</c:v>
                </c:pt>
                <c:pt idx="333">
                  <c:v>39204</c:v>
                </c:pt>
                <c:pt idx="334">
                  <c:v>39205</c:v>
                </c:pt>
                <c:pt idx="335">
                  <c:v>39206</c:v>
                </c:pt>
                <c:pt idx="336">
                  <c:v>39209</c:v>
                </c:pt>
                <c:pt idx="337">
                  <c:v>39210</c:v>
                </c:pt>
                <c:pt idx="338">
                  <c:v>39211</c:v>
                </c:pt>
                <c:pt idx="339">
                  <c:v>39212</c:v>
                </c:pt>
                <c:pt idx="340">
                  <c:v>39213</c:v>
                </c:pt>
                <c:pt idx="341">
                  <c:v>39216</c:v>
                </c:pt>
                <c:pt idx="342">
                  <c:v>39217</c:v>
                </c:pt>
                <c:pt idx="343">
                  <c:v>39218</c:v>
                </c:pt>
                <c:pt idx="344">
                  <c:v>39219</c:v>
                </c:pt>
                <c:pt idx="345">
                  <c:v>39220</c:v>
                </c:pt>
                <c:pt idx="346">
                  <c:v>39223</c:v>
                </c:pt>
                <c:pt idx="347">
                  <c:v>39224</c:v>
                </c:pt>
                <c:pt idx="348">
                  <c:v>39225</c:v>
                </c:pt>
                <c:pt idx="349">
                  <c:v>39226</c:v>
                </c:pt>
                <c:pt idx="350">
                  <c:v>39227</c:v>
                </c:pt>
                <c:pt idx="351">
                  <c:v>39231</c:v>
                </c:pt>
                <c:pt idx="352">
                  <c:v>39232</c:v>
                </c:pt>
                <c:pt idx="353">
                  <c:v>39233</c:v>
                </c:pt>
                <c:pt idx="354">
                  <c:v>39234</c:v>
                </c:pt>
                <c:pt idx="355">
                  <c:v>39237</c:v>
                </c:pt>
                <c:pt idx="356">
                  <c:v>39238</c:v>
                </c:pt>
                <c:pt idx="357">
                  <c:v>39239</c:v>
                </c:pt>
                <c:pt idx="358">
                  <c:v>39240</c:v>
                </c:pt>
                <c:pt idx="359">
                  <c:v>39241</c:v>
                </c:pt>
                <c:pt idx="360">
                  <c:v>39244</c:v>
                </c:pt>
                <c:pt idx="361">
                  <c:v>39245</c:v>
                </c:pt>
                <c:pt idx="362">
                  <c:v>39246</c:v>
                </c:pt>
                <c:pt idx="363">
                  <c:v>39247</c:v>
                </c:pt>
                <c:pt idx="364">
                  <c:v>39248</c:v>
                </c:pt>
                <c:pt idx="365">
                  <c:v>39251</c:v>
                </c:pt>
                <c:pt idx="366">
                  <c:v>39252</c:v>
                </c:pt>
                <c:pt idx="367">
                  <c:v>39253</c:v>
                </c:pt>
                <c:pt idx="368">
                  <c:v>39254</c:v>
                </c:pt>
                <c:pt idx="369">
                  <c:v>39255</c:v>
                </c:pt>
                <c:pt idx="370">
                  <c:v>39258</c:v>
                </c:pt>
                <c:pt idx="371">
                  <c:v>39259</c:v>
                </c:pt>
                <c:pt idx="372">
                  <c:v>39260</c:v>
                </c:pt>
                <c:pt idx="373">
                  <c:v>39261</c:v>
                </c:pt>
                <c:pt idx="374">
                  <c:v>39262</c:v>
                </c:pt>
                <c:pt idx="375">
                  <c:v>39265</c:v>
                </c:pt>
                <c:pt idx="376">
                  <c:v>39266</c:v>
                </c:pt>
                <c:pt idx="377">
                  <c:v>39268</c:v>
                </c:pt>
                <c:pt idx="378">
                  <c:v>39269</c:v>
                </c:pt>
                <c:pt idx="379">
                  <c:v>39272</c:v>
                </c:pt>
                <c:pt idx="380">
                  <c:v>39273</c:v>
                </c:pt>
                <c:pt idx="381">
                  <c:v>39274</c:v>
                </c:pt>
                <c:pt idx="382">
                  <c:v>39275</c:v>
                </c:pt>
                <c:pt idx="383">
                  <c:v>39276</c:v>
                </c:pt>
                <c:pt idx="384">
                  <c:v>39279</c:v>
                </c:pt>
                <c:pt idx="385">
                  <c:v>39280</c:v>
                </c:pt>
                <c:pt idx="386">
                  <c:v>39281</c:v>
                </c:pt>
                <c:pt idx="387">
                  <c:v>39282</c:v>
                </c:pt>
                <c:pt idx="388">
                  <c:v>39283</c:v>
                </c:pt>
                <c:pt idx="389">
                  <c:v>39286</c:v>
                </c:pt>
                <c:pt idx="390">
                  <c:v>39287</c:v>
                </c:pt>
                <c:pt idx="391">
                  <c:v>39288</c:v>
                </c:pt>
                <c:pt idx="392">
                  <c:v>39289</c:v>
                </c:pt>
                <c:pt idx="393">
                  <c:v>39290</c:v>
                </c:pt>
                <c:pt idx="394">
                  <c:v>39293</c:v>
                </c:pt>
                <c:pt idx="395">
                  <c:v>39294</c:v>
                </c:pt>
                <c:pt idx="396">
                  <c:v>39295</c:v>
                </c:pt>
                <c:pt idx="397">
                  <c:v>39296</c:v>
                </c:pt>
                <c:pt idx="398">
                  <c:v>39297</c:v>
                </c:pt>
                <c:pt idx="399">
                  <c:v>39300</c:v>
                </c:pt>
                <c:pt idx="400">
                  <c:v>39301</c:v>
                </c:pt>
                <c:pt idx="401">
                  <c:v>39302</c:v>
                </c:pt>
                <c:pt idx="402">
                  <c:v>39303</c:v>
                </c:pt>
                <c:pt idx="403">
                  <c:v>39304</c:v>
                </c:pt>
                <c:pt idx="404">
                  <c:v>39307</c:v>
                </c:pt>
                <c:pt idx="405">
                  <c:v>39308</c:v>
                </c:pt>
                <c:pt idx="406">
                  <c:v>39309</c:v>
                </c:pt>
                <c:pt idx="407">
                  <c:v>39310</c:v>
                </c:pt>
                <c:pt idx="408">
                  <c:v>39311</c:v>
                </c:pt>
                <c:pt idx="409">
                  <c:v>39314</c:v>
                </c:pt>
                <c:pt idx="410">
                  <c:v>39315</c:v>
                </c:pt>
                <c:pt idx="411">
                  <c:v>39316</c:v>
                </c:pt>
                <c:pt idx="412">
                  <c:v>39317</c:v>
                </c:pt>
                <c:pt idx="413">
                  <c:v>39318</c:v>
                </c:pt>
                <c:pt idx="414">
                  <c:v>39321</c:v>
                </c:pt>
                <c:pt idx="415">
                  <c:v>39322</c:v>
                </c:pt>
                <c:pt idx="416">
                  <c:v>39323</c:v>
                </c:pt>
                <c:pt idx="417">
                  <c:v>39324</c:v>
                </c:pt>
                <c:pt idx="418">
                  <c:v>39325</c:v>
                </c:pt>
                <c:pt idx="419">
                  <c:v>39329</c:v>
                </c:pt>
                <c:pt idx="420">
                  <c:v>39330</c:v>
                </c:pt>
                <c:pt idx="421">
                  <c:v>39331</c:v>
                </c:pt>
                <c:pt idx="422">
                  <c:v>39332</c:v>
                </c:pt>
                <c:pt idx="423">
                  <c:v>39335</c:v>
                </c:pt>
                <c:pt idx="424">
                  <c:v>39336</c:v>
                </c:pt>
                <c:pt idx="425">
                  <c:v>39337</c:v>
                </c:pt>
                <c:pt idx="426">
                  <c:v>39338</c:v>
                </c:pt>
                <c:pt idx="427">
                  <c:v>39339</c:v>
                </c:pt>
                <c:pt idx="428">
                  <c:v>39342</c:v>
                </c:pt>
                <c:pt idx="429">
                  <c:v>39343</c:v>
                </c:pt>
                <c:pt idx="430">
                  <c:v>39344</c:v>
                </c:pt>
                <c:pt idx="431">
                  <c:v>39345</c:v>
                </c:pt>
                <c:pt idx="432">
                  <c:v>39346</c:v>
                </c:pt>
                <c:pt idx="433">
                  <c:v>39349</c:v>
                </c:pt>
                <c:pt idx="434">
                  <c:v>39350</c:v>
                </c:pt>
                <c:pt idx="435">
                  <c:v>39351</c:v>
                </c:pt>
                <c:pt idx="436">
                  <c:v>39352</c:v>
                </c:pt>
                <c:pt idx="437">
                  <c:v>39353</c:v>
                </c:pt>
                <c:pt idx="438">
                  <c:v>39356</c:v>
                </c:pt>
                <c:pt idx="439">
                  <c:v>39357</c:v>
                </c:pt>
                <c:pt idx="440">
                  <c:v>39358</c:v>
                </c:pt>
                <c:pt idx="441">
                  <c:v>39359</c:v>
                </c:pt>
                <c:pt idx="442">
                  <c:v>39360</c:v>
                </c:pt>
                <c:pt idx="443">
                  <c:v>39363</c:v>
                </c:pt>
                <c:pt idx="444">
                  <c:v>39364</c:v>
                </c:pt>
                <c:pt idx="445">
                  <c:v>39365</c:v>
                </c:pt>
                <c:pt idx="446">
                  <c:v>39366</c:v>
                </c:pt>
                <c:pt idx="447">
                  <c:v>39367</c:v>
                </c:pt>
                <c:pt idx="448">
                  <c:v>39370</c:v>
                </c:pt>
                <c:pt idx="449">
                  <c:v>39371</c:v>
                </c:pt>
                <c:pt idx="450">
                  <c:v>39372</c:v>
                </c:pt>
                <c:pt idx="451">
                  <c:v>39373</c:v>
                </c:pt>
                <c:pt idx="452">
                  <c:v>39374</c:v>
                </c:pt>
                <c:pt idx="453">
                  <c:v>39377</c:v>
                </c:pt>
                <c:pt idx="454">
                  <c:v>39378</c:v>
                </c:pt>
                <c:pt idx="455">
                  <c:v>39379</c:v>
                </c:pt>
                <c:pt idx="456">
                  <c:v>39380</c:v>
                </c:pt>
                <c:pt idx="457">
                  <c:v>39381</c:v>
                </c:pt>
                <c:pt idx="458">
                  <c:v>39384</c:v>
                </c:pt>
                <c:pt idx="459">
                  <c:v>39385</c:v>
                </c:pt>
                <c:pt idx="460">
                  <c:v>39386</c:v>
                </c:pt>
                <c:pt idx="461">
                  <c:v>39387</c:v>
                </c:pt>
                <c:pt idx="462">
                  <c:v>39388</c:v>
                </c:pt>
                <c:pt idx="463">
                  <c:v>39391</c:v>
                </c:pt>
                <c:pt idx="464">
                  <c:v>39392</c:v>
                </c:pt>
                <c:pt idx="465">
                  <c:v>39393</c:v>
                </c:pt>
                <c:pt idx="466">
                  <c:v>39394</c:v>
                </c:pt>
                <c:pt idx="467">
                  <c:v>39395</c:v>
                </c:pt>
                <c:pt idx="468">
                  <c:v>39398</c:v>
                </c:pt>
                <c:pt idx="469">
                  <c:v>39399</c:v>
                </c:pt>
                <c:pt idx="470">
                  <c:v>39400</c:v>
                </c:pt>
                <c:pt idx="471">
                  <c:v>39401</c:v>
                </c:pt>
                <c:pt idx="472">
                  <c:v>39402</c:v>
                </c:pt>
                <c:pt idx="473">
                  <c:v>39405</c:v>
                </c:pt>
                <c:pt idx="474">
                  <c:v>39406</c:v>
                </c:pt>
                <c:pt idx="475">
                  <c:v>39407</c:v>
                </c:pt>
                <c:pt idx="476">
                  <c:v>39409</c:v>
                </c:pt>
                <c:pt idx="477">
                  <c:v>39412</c:v>
                </c:pt>
                <c:pt idx="478">
                  <c:v>39413</c:v>
                </c:pt>
                <c:pt idx="479">
                  <c:v>39414</c:v>
                </c:pt>
                <c:pt idx="480">
                  <c:v>39415</c:v>
                </c:pt>
                <c:pt idx="481">
                  <c:v>39416</c:v>
                </c:pt>
                <c:pt idx="482">
                  <c:v>39419</c:v>
                </c:pt>
                <c:pt idx="483">
                  <c:v>39420</c:v>
                </c:pt>
                <c:pt idx="484">
                  <c:v>39421</c:v>
                </c:pt>
                <c:pt idx="485">
                  <c:v>39422</c:v>
                </c:pt>
                <c:pt idx="486">
                  <c:v>39423</c:v>
                </c:pt>
                <c:pt idx="487">
                  <c:v>39426</c:v>
                </c:pt>
                <c:pt idx="488">
                  <c:v>39427</c:v>
                </c:pt>
                <c:pt idx="489">
                  <c:v>39428</c:v>
                </c:pt>
                <c:pt idx="490">
                  <c:v>39429</c:v>
                </c:pt>
                <c:pt idx="491">
                  <c:v>39430</c:v>
                </c:pt>
                <c:pt idx="492">
                  <c:v>39433</c:v>
                </c:pt>
                <c:pt idx="493">
                  <c:v>39434</c:v>
                </c:pt>
                <c:pt idx="494">
                  <c:v>39435</c:v>
                </c:pt>
                <c:pt idx="495">
                  <c:v>39436</c:v>
                </c:pt>
                <c:pt idx="496">
                  <c:v>39437</c:v>
                </c:pt>
                <c:pt idx="497">
                  <c:v>39440</c:v>
                </c:pt>
                <c:pt idx="498">
                  <c:v>39442</c:v>
                </c:pt>
                <c:pt idx="499">
                  <c:v>39443</c:v>
                </c:pt>
                <c:pt idx="500">
                  <c:v>39444</c:v>
                </c:pt>
                <c:pt idx="501">
                  <c:v>39447</c:v>
                </c:pt>
                <c:pt idx="502">
                  <c:v>39449</c:v>
                </c:pt>
                <c:pt idx="503">
                  <c:v>39450</c:v>
                </c:pt>
                <c:pt idx="504">
                  <c:v>39451</c:v>
                </c:pt>
                <c:pt idx="505">
                  <c:v>39454</c:v>
                </c:pt>
                <c:pt idx="506">
                  <c:v>39455</c:v>
                </c:pt>
                <c:pt idx="507">
                  <c:v>39456</c:v>
                </c:pt>
                <c:pt idx="508">
                  <c:v>39457</c:v>
                </c:pt>
                <c:pt idx="509">
                  <c:v>39458</c:v>
                </c:pt>
                <c:pt idx="510">
                  <c:v>39461</c:v>
                </c:pt>
                <c:pt idx="511">
                  <c:v>39462</c:v>
                </c:pt>
                <c:pt idx="512">
                  <c:v>39463</c:v>
                </c:pt>
                <c:pt idx="513">
                  <c:v>39464</c:v>
                </c:pt>
                <c:pt idx="514">
                  <c:v>39465</c:v>
                </c:pt>
                <c:pt idx="515">
                  <c:v>39469</c:v>
                </c:pt>
                <c:pt idx="516">
                  <c:v>39470</c:v>
                </c:pt>
                <c:pt idx="517">
                  <c:v>39471</c:v>
                </c:pt>
                <c:pt idx="518">
                  <c:v>39472</c:v>
                </c:pt>
                <c:pt idx="519">
                  <c:v>39475</c:v>
                </c:pt>
                <c:pt idx="520">
                  <c:v>39476</c:v>
                </c:pt>
                <c:pt idx="521">
                  <c:v>39477</c:v>
                </c:pt>
                <c:pt idx="522">
                  <c:v>39478</c:v>
                </c:pt>
                <c:pt idx="523">
                  <c:v>39479</c:v>
                </c:pt>
                <c:pt idx="524">
                  <c:v>39482</c:v>
                </c:pt>
                <c:pt idx="525">
                  <c:v>39483</c:v>
                </c:pt>
                <c:pt idx="526">
                  <c:v>39484</c:v>
                </c:pt>
                <c:pt idx="527">
                  <c:v>39485</c:v>
                </c:pt>
                <c:pt idx="528">
                  <c:v>39486</c:v>
                </c:pt>
                <c:pt idx="529">
                  <c:v>39489</c:v>
                </c:pt>
                <c:pt idx="530">
                  <c:v>39490</c:v>
                </c:pt>
                <c:pt idx="531">
                  <c:v>39491</c:v>
                </c:pt>
                <c:pt idx="532">
                  <c:v>39492</c:v>
                </c:pt>
                <c:pt idx="533">
                  <c:v>39493</c:v>
                </c:pt>
                <c:pt idx="534">
                  <c:v>39497</c:v>
                </c:pt>
                <c:pt idx="535">
                  <c:v>39498</c:v>
                </c:pt>
                <c:pt idx="536">
                  <c:v>39499</c:v>
                </c:pt>
                <c:pt idx="537">
                  <c:v>39500</c:v>
                </c:pt>
                <c:pt idx="538">
                  <c:v>39503</c:v>
                </c:pt>
                <c:pt idx="539">
                  <c:v>39504</c:v>
                </c:pt>
                <c:pt idx="540">
                  <c:v>39505</c:v>
                </c:pt>
                <c:pt idx="541">
                  <c:v>39506</c:v>
                </c:pt>
                <c:pt idx="542">
                  <c:v>39507</c:v>
                </c:pt>
                <c:pt idx="543">
                  <c:v>39510</c:v>
                </c:pt>
                <c:pt idx="544">
                  <c:v>39511</c:v>
                </c:pt>
                <c:pt idx="545">
                  <c:v>39512</c:v>
                </c:pt>
                <c:pt idx="546">
                  <c:v>39513</c:v>
                </c:pt>
                <c:pt idx="547">
                  <c:v>39514</c:v>
                </c:pt>
                <c:pt idx="548">
                  <c:v>39517</c:v>
                </c:pt>
                <c:pt idx="549">
                  <c:v>39518</c:v>
                </c:pt>
                <c:pt idx="550">
                  <c:v>39519</c:v>
                </c:pt>
                <c:pt idx="551">
                  <c:v>39520</c:v>
                </c:pt>
                <c:pt idx="552">
                  <c:v>39521</c:v>
                </c:pt>
                <c:pt idx="553">
                  <c:v>39524</c:v>
                </c:pt>
                <c:pt idx="554">
                  <c:v>39525</c:v>
                </c:pt>
                <c:pt idx="555">
                  <c:v>39526</c:v>
                </c:pt>
                <c:pt idx="556">
                  <c:v>39527</c:v>
                </c:pt>
                <c:pt idx="557">
                  <c:v>39531</c:v>
                </c:pt>
                <c:pt idx="558">
                  <c:v>39532</c:v>
                </c:pt>
                <c:pt idx="559">
                  <c:v>39533</c:v>
                </c:pt>
                <c:pt idx="560">
                  <c:v>39534</c:v>
                </c:pt>
                <c:pt idx="561">
                  <c:v>39535</c:v>
                </c:pt>
                <c:pt idx="562">
                  <c:v>39538</c:v>
                </c:pt>
                <c:pt idx="563">
                  <c:v>39539</c:v>
                </c:pt>
                <c:pt idx="564">
                  <c:v>39540</c:v>
                </c:pt>
                <c:pt idx="565">
                  <c:v>39541</c:v>
                </c:pt>
                <c:pt idx="566">
                  <c:v>39542</c:v>
                </c:pt>
                <c:pt idx="567">
                  <c:v>39545</c:v>
                </c:pt>
                <c:pt idx="568">
                  <c:v>39546</c:v>
                </c:pt>
                <c:pt idx="569">
                  <c:v>39547</c:v>
                </c:pt>
                <c:pt idx="570">
                  <c:v>39548</c:v>
                </c:pt>
                <c:pt idx="571">
                  <c:v>39549</c:v>
                </c:pt>
                <c:pt idx="572">
                  <c:v>39552</c:v>
                </c:pt>
                <c:pt idx="573">
                  <c:v>39553</c:v>
                </c:pt>
                <c:pt idx="574">
                  <c:v>39554</c:v>
                </c:pt>
                <c:pt idx="575">
                  <c:v>39555</c:v>
                </c:pt>
                <c:pt idx="576">
                  <c:v>39556</c:v>
                </c:pt>
                <c:pt idx="577">
                  <c:v>39559</c:v>
                </c:pt>
                <c:pt idx="578">
                  <c:v>39560</c:v>
                </c:pt>
                <c:pt idx="579">
                  <c:v>39561</c:v>
                </c:pt>
                <c:pt idx="580">
                  <c:v>39562</c:v>
                </c:pt>
                <c:pt idx="581">
                  <c:v>39563</c:v>
                </c:pt>
                <c:pt idx="582">
                  <c:v>39566</c:v>
                </c:pt>
                <c:pt idx="583">
                  <c:v>39567</c:v>
                </c:pt>
                <c:pt idx="584">
                  <c:v>39568</c:v>
                </c:pt>
                <c:pt idx="585">
                  <c:v>39569</c:v>
                </c:pt>
                <c:pt idx="586">
                  <c:v>39570</c:v>
                </c:pt>
                <c:pt idx="587">
                  <c:v>39573</c:v>
                </c:pt>
                <c:pt idx="588">
                  <c:v>39574</c:v>
                </c:pt>
                <c:pt idx="589">
                  <c:v>39575</c:v>
                </c:pt>
                <c:pt idx="590">
                  <c:v>39576</c:v>
                </c:pt>
                <c:pt idx="591">
                  <c:v>39577</c:v>
                </c:pt>
                <c:pt idx="592">
                  <c:v>39580</c:v>
                </c:pt>
                <c:pt idx="593">
                  <c:v>39581</c:v>
                </c:pt>
                <c:pt idx="594">
                  <c:v>39582</c:v>
                </c:pt>
                <c:pt idx="595">
                  <c:v>39583</c:v>
                </c:pt>
                <c:pt idx="596">
                  <c:v>39584</c:v>
                </c:pt>
                <c:pt idx="597">
                  <c:v>39587</c:v>
                </c:pt>
                <c:pt idx="598">
                  <c:v>39588</c:v>
                </c:pt>
                <c:pt idx="599">
                  <c:v>39589</c:v>
                </c:pt>
                <c:pt idx="600">
                  <c:v>39590</c:v>
                </c:pt>
                <c:pt idx="601">
                  <c:v>39591</c:v>
                </c:pt>
                <c:pt idx="602">
                  <c:v>39595</c:v>
                </c:pt>
                <c:pt idx="603">
                  <c:v>39596</c:v>
                </c:pt>
                <c:pt idx="604">
                  <c:v>39597</c:v>
                </c:pt>
                <c:pt idx="605">
                  <c:v>39598</c:v>
                </c:pt>
                <c:pt idx="606">
                  <c:v>39601</c:v>
                </c:pt>
                <c:pt idx="607">
                  <c:v>39602</c:v>
                </c:pt>
                <c:pt idx="608">
                  <c:v>39603</c:v>
                </c:pt>
                <c:pt idx="609">
                  <c:v>39604</c:v>
                </c:pt>
                <c:pt idx="610">
                  <c:v>39605</c:v>
                </c:pt>
                <c:pt idx="611">
                  <c:v>39608</c:v>
                </c:pt>
                <c:pt idx="612">
                  <c:v>39609</c:v>
                </c:pt>
                <c:pt idx="613">
                  <c:v>39610</c:v>
                </c:pt>
                <c:pt idx="614">
                  <c:v>39611</c:v>
                </c:pt>
                <c:pt idx="615">
                  <c:v>39612</c:v>
                </c:pt>
                <c:pt idx="616">
                  <c:v>39615</c:v>
                </c:pt>
                <c:pt idx="617">
                  <c:v>39616</c:v>
                </c:pt>
                <c:pt idx="618">
                  <c:v>39617</c:v>
                </c:pt>
                <c:pt idx="619">
                  <c:v>39618</c:v>
                </c:pt>
                <c:pt idx="620">
                  <c:v>39619</c:v>
                </c:pt>
                <c:pt idx="621">
                  <c:v>39622</c:v>
                </c:pt>
                <c:pt idx="622">
                  <c:v>39623</c:v>
                </c:pt>
                <c:pt idx="623">
                  <c:v>39624</c:v>
                </c:pt>
                <c:pt idx="624">
                  <c:v>39625</c:v>
                </c:pt>
                <c:pt idx="625">
                  <c:v>39626</c:v>
                </c:pt>
                <c:pt idx="626">
                  <c:v>39629</c:v>
                </c:pt>
                <c:pt idx="627">
                  <c:v>39630</c:v>
                </c:pt>
                <c:pt idx="628">
                  <c:v>39631</c:v>
                </c:pt>
                <c:pt idx="629">
                  <c:v>39632</c:v>
                </c:pt>
                <c:pt idx="630">
                  <c:v>39636</c:v>
                </c:pt>
                <c:pt idx="631">
                  <c:v>39637</c:v>
                </c:pt>
                <c:pt idx="632">
                  <c:v>39638</c:v>
                </c:pt>
                <c:pt idx="633">
                  <c:v>39639</c:v>
                </c:pt>
                <c:pt idx="634">
                  <c:v>39640</c:v>
                </c:pt>
                <c:pt idx="635">
                  <c:v>39643</c:v>
                </c:pt>
                <c:pt idx="636">
                  <c:v>39644</c:v>
                </c:pt>
                <c:pt idx="637">
                  <c:v>39645</c:v>
                </c:pt>
                <c:pt idx="638">
                  <c:v>39646</c:v>
                </c:pt>
                <c:pt idx="639">
                  <c:v>39647</c:v>
                </c:pt>
                <c:pt idx="640">
                  <c:v>39650</c:v>
                </c:pt>
                <c:pt idx="641">
                  <c:v>39651</c:v>
                </c:pt>
                <c:pt idx="642">
                  <c:v>39652</c:v>
                </c:pt>
                <c:pt idx="643">
                  <c:v>39653</c:v>
                </c:pt>
                <c:pt idx="644">
                  <c:v>39654</c:v>
                </c:pt>
                <c:pt idx="645">
                  <c:v>39657</c:v>
                </c:pt>
                <c:pt idx="646">
                  <c:v>39658</c:v>
                </c:pt>
                <c:pt idx="647">
                  <c:v>39659</c:v>
                </c:pt>
                <c:pt idx="648">
                  <c:v>39660</c:v>
                </c:pt>
                <c:pt idx="649">
                  <c:v>39661</c:v>
                </c:pt>
                <c:pt idx="650">
                  <c:v>39664</c:v>
                </c:pt>
                <c:pt idx="651">
                  <c:v>39665</c:v>
                </c:pt>
                <c:pt idx="652">
                  <c:v>39666</c:v>
                </c:pt>
                <c:pt idx="653">
                  <c:v>39667</c:v>
                </c:pt>
                <c:pt idx="654">
                  <c:v>39668</c:v>
                </c:pt>
                <c:pt idx="655">
                  <c:v>39671</c:v>
                </c:pt>
                <c:pt idx="656">
                  <c:v>39672</c:v>
                </c:pt>
                <c:pt idx="657">
                  <c:v>39673</c:v>
                </c:pt>
                <c:pt idx="658">
                  <c:v>39674</c:v>
                </c:pt>
                <c:pt idx="659">
                  <c:v>39675</c:v>
                </c:pt>
                <c:pt idx="660">
                  <c:v>39678</c:v>
                </c:pt>
                <c:pt idx="661">
                  <c:v>39679</c:v>
                </c:pt>
                <c:pt idx="662">
                  <c:v>39680</c:v>
                </c:pt>
                <c:pt idx="663">
                  <c:v>39681</c:v>
                </c:pt>
                <c:pt idx="664">
                  <c:v>39682</c:v>
                </c:pt>
                <c:pt idx="665">
                  <c:v>39685</c:v>
                </c:pt>
                <c:pt idx="666">
                  <c:v>39686</c:v>
                </c:pt>
                <c:pt idx="667">
                  <c:v>39687</c:v>
                </c:pt>
                <c:pt idx="668">
                  <c:v>39688</c:v>
                </c:pt>
                <c:pt idx="669">
                  <c:v>39689</c:v>
                </c:pt>
                <c:pt idx="670">
                  <c:v>39693</c:v>
                </c:pt>
                <c:pt idx="671">
                  <c:v>39694</c:v>
                </c:pt>
                <c:pt idx="672">
                  <c:v>39695</c:v>
                </c:pt>
                <c:pt idx="673">
                  <c:v>39696</c:v>
                </c:pt>
                <c:pt idx="674">
                  <c:v>39699</c:v>
                </c:pt>
                <c:pt idx="675">
                  <c:v>39700</c:v>
                </c:pt>
                <c:pt idx="676">
                  <c:v>39701</c:v>
                </c:pt>
                <c:pt idx="677">
                  <c:v>39702</c:v>
                </c:pt>
                <c:pt idx="678">
                  <c:v>39703</c:v>
                </c:pt>
                <c:pt idx="679">
                  <c:v>39706</c:v>
                </c:pt>
                <c:pt idx="680">
                  <c:v>39707</c:v>
                </c:pt>
                <c:pt idx="681">
                  <c:v>39708</c:v>
                </c:pt>
                <c:pt idx="682">
                  <c:v>39709</c:v>
                </c:pt>
                <c:pt idx="683">
                  <c:v>39710</c:v>
                </c:pt>
                <c:pt idx="684">
                  <c:v>39713</c:v>
                </c:pt>
                <c:pt idx="685">
                  <c:v>39714</c:v>
                </c:pt>
                <c:pt idx="686">
                  <c:v>39715</c:v>
                </c:pt>
                <c:pt idx="687">
                  <c:v>39716</c:v>
                </c:pt>
                <c:pt idx="688">
                  <c:v>39717</c:v>
                </c:pt>
                <c:pt idx="689">
                  <c:v>39720</c:v>
                </c:pt>
                <c:pt idx="690">
                  <c:v>39721</c:v>
                </c:pt>
                <c:pt idx="691">
                  <c:v>39722</c:v>
                </c:pt>
                <c:pt idx="692">
                  <c:v>39723</c:v>
                </c:pt>
                <c:pt idx="693">
                  <c:v>39724</c:v>
                </c:pt>
                <c:pt idx="694">
                  <c:v>39727</c:v>
                </c:pt>
                <c:pt idx="695">
                  <c:v>39728</c:v>
                </c:pt>
                <c:pt idx="696">
                  <c:v>39729</c:v>
                </c:pt>
                <c:pt idx="697">
                  <c:v>39730</c:v>
                </c:pt>
                <c:pt idx="698">
                  <c:v>39731</c:v>
                </c:pt>
                <c:pt idx="699">
                  <c:v>39734</c:v>
                </c:pt>
                <c:pt idx="700">
                  <c:v>39735</c:v>
                </c:pt>
                <c:pt idx="701">
                  <c:v>39736</c:v>
                </c:pt>
                <c:pt idx="702">
                  <c:v>39737</c:v>
                </c:pt>
                <c:pt idx="703">
                  <c:v>39738</c:v>
                </c:pt>
                <c:pt idx="704">
                  <c:v>39741</c:v>
                </c:pt>
                <c:pt idx="705">
                  <c:v>39742</c:v>
                </c:pt>
                <c:pt idx="706">
                  <c:v>39743</c:v>
                </c:pt>
                <c:pt idx="707">
                  <c:v>39744</c:v>
                </c:pt>
                <c:pt idx="708">
                  <c:v>39745</c:v>
                </c:pt>
                <c:pt idx="709">
                  <c:v>39748</c:v>
                </c:pt>
                <c:pt idx="710">
                  <c:v>39749</c:v>
                </c:pt>
                <c:pt idx="711">
                  <c:v>39750</c:v>
                </c:pt>
                <c:pt idx="712">
                  <c:v>39751</c:v>
                </c:pt>
                <c:pt idx="713">
                  <c:v>39752</c:v>
                </c:pt>
                <c:pt idx="714">
                  <c:v>39755</c:v>
                </c:pt>
                <c:pt idx="715">
                  <c:v>39756</c:v>
                </c:pt>
                <c:pt idx="716">
                  <c:v>39757</c:v>
                </c:pt>
                <c:pt idx="717">
                  <c:v>39758</c:v>
                </c:pt>
                <c:pt idx="718">
                  <c:v>39759</c:v>
                </c:pt>
                <c:pt idx="719">
                  <c:v>39762</c:v>
                </c:pt>
                <c:pt idx="720">
                  <c:v>39763</c:v>
                </c:pt>
                <c:pt idx="721">
                  <c:v>39764</c:v>
                </c:pt>
                <c:pt idx="722">
                  <c:v>39765</c:v>
                </c:pt>
                <c:pt idx="723">
                  <c:v>39766</c:v>
                </c:pt>
                <c:pt idx="724">
                  <c:v>39769</c:v>
                </c:pt>
                <c:pt idx="725">
                  <c:v>39770</c:v>
                </c:pt>
                <c:pt idx="726">
                  <c:v>39771</c:v>
                </c:pt>
                <c:pt idx="727">
                  <c:v>39772</c:v>
                </c:pt>
                <c:pt idx="728">
                  <c:v>39773</c:v>
                </c:pt>
                <c:pt idx="729">
                  <c:v>39776</c:v>
                </c:pt>
                <c:pt idx="730">
                  <c:v>39777</c:v>
                </c:pt>
                <c:pt idx="731">
                  <c:v>39778</c:v>
                </c:pt>
                <c:pt idx="732">
                  <c:v>39780</c:v>
                </c:pt>
                <c:pt idx="733">
                  <c:v>39783</c:v>
                </c:pt>
                <c:pt idx="734">
                  <c:v>39784</c:v>
                </c:pt>
                <c:pt idx="735">
                  <c:v>39785</c:v>
                </c:pt>
                <c:pt idx="736">
                  <c:v>39786</c:v>
                </c:pt>
                <c:pt idx="737">
                  <c:v>39787</c:v>
                </c:pt>
                <c:pt idx="738">
                  <c:v>39790</c:v>
                </c:pt>
                <c:pt idx="739">
                  <c:v>39791</c:v>
                </c:pt>
                <c:pt idx="740">
                  <c:v>39792</c:v>
                </c:pt>
                <c:pt idx="741">
                  <c:v>39793</c:v>
                </c:pt>
                <c:pt idx="742">
                  <c:v>39794</c:v>
                </c:pt>
                <c:pt idx="743">
                  <c:v>39797</c:v>
                </c:pt>
                <c:pt idx="744">
                  <c:v>39798</c:v>
                </c:pt>
                <c:pt idx="745">
                  <c:v>39799</c:v>
                </c:pt>
                <c:pt idx="746">
                  <c:v>39800</c:v>
                </c:pt>
                <c:pt idx="747">
                  <c:v>39801</c:v>
                </c:pt>
                <c:pt idx="748">
                  <c:v>39804</c:v>
                </c:pt>
                <c:pt idx="749">
                  <c:v>39805</c:v>
                </c:pt>
                <c:pt idx="750">
                  <c:v>39806</c:v>
                </c:pt>
                <c:pt idx="751">
                  <c:v>39808</c:v>
                </c:pt>
                <c:pt idx="752">
                  <c:v>39811</c:v>
                </c:pt>
                <c:pt idx="753">
                  <c:v>39812</c:v>
                </c:pt>
                <c:pt idx="754">
                  <c:v>39813</c:v>
                </c:pt>
                <c:pt idx="755">
                  <c:v>39815</c:v>
                </c:pt>
                <c:pt idx="756">
                  <c:v>39818</c:v>
                </c:pt>
                <c:pt idx="757">
                  <c:v>39819</c:v>
                </c:pt>
                <c:pt idx="758">
                  <c:v>39820</c:v>
                </c:pt>
                <c:pt idx="759">
                  <c:v>39821</c:v>
                </c:pt>
                <c:pt idx="760">
                  <c:v>39822</c:v>
                </c:pt>
                <c:pt idx="761">
                  <c:v>39825</c:v>
                </c:pt>
                <c:pt idx="762">
                  <c:v>39826</c:v>
                </c:pt>
                <c:pt idx="763">
                  <c:v>39827</c:v>
                </c:pt>
                <c:pt idx="764">
                  <c:v>39828</c:v>
                </c:pt>
                <c:pt idx="765">
                  <c:v>39829</c:v>
                </c:pt>
                <c:pt idx="766">
                  <c:v>39833</c:v>
                </c:pt>
                <c:pt idx="767">
                  <c:v>39834</c:v>
                </c:pt>
                <c:pt idx="768">
                  <c:v>39835</c:v>
                </c:pt>
                <c:pt idx="769">
                  <c:v>39836</c:v>
                </c:pt>
                <c:pt idx="770">
                  <c:v>39839</c:v>
                </c:pt>
                <c:pt idx="771">
                  <c:v>39840</c:v>
                </c:pt>
                <c:pt idx="772">
                  <c:v>39841</c:v>
                </c:pt>
                <c:pt idx="773">
                  <c:v>39842</c:v>
                </c:pt>
                <c:pt idx="774">
                  <c:v>39843</c:v>
                </c:pt>
                <c:pt idx="775">
                  <c:v>39846</c:v>
                </c:pt>
                <c:pt idx="776">
                  <c:v>39847</c:v>
                </c:pt>
                <c:pt idx="777">
                  <c:v>39848</c:v>
                </c:pt>
                <c:pt idx="778">
                  <c:v>39849</c:v>
                </c:pt>
                <c:pt idx="779">
                  <c:v>39850</c:v>
                </c:pt>
                <c:pt idx="780">
                  <c:v>39853</c:v>
                </c:pt>
                <c:pt idx="781">
                  <c:v>39854</c:v>
                </c:pt>
                <c:pt idx="782">
                  <c:v>39855</c:v>
                </c:pt>
                <c:pt idx="783">
                  <c:v>39856</c:v>
                </c:pt>
                <c:pt idx="784">
                  <c:v>39857</c:v>
                </c:pt>
                <c:pt idx="785">
                  <c:v>39861</c:v>
                </c:pt>
                <c:pt idx="786">
                  <c:v>39862</c:v>
                </c:pt>
                <c:pt idx="787">
                  <c:v>39863</c:v>
                </c:pt>
                <c:pt idx="788">
                  <c:v>39864</c:v>
                </c:pt>
                <c:pt idx="789">
                  <c:v>39867</c:v>
                </c:pt>
                <c:pt idx="790">
                  <c:v>39868</c:v>
                </c:pt>
                <c:pt idx="791">
                  <c:v>39869</c:v>
                </c:pt>
                <c:pt idx="792">
                  <c:v>39870</c:v>
                </c:pt>
                <c:pt idx="793">
                  <c:v>39871</c:v>
                </c:pt>
                <c:pt idx="794">
                  <c:v>39874</c:v>
                </c:pt>
                <c:pt idx="795">
                  <c:v>39875</c:v>
                </c:pt>
                <c:pt idx="796">
                  <c:v>39876</c:v>
                </c:pt>
                <c:pt idx="797">
                  <c:v>39877</c:v>
                </c:pt>
                <c:pt idx="798">
                  <c:v>39878</c:v>
                </c:pt>
                <c:pt idx="799">
                  <c:v>39881</c:v>
                </c:pt>
                <c:pt idx="800">
                  <c:v>39882</c:v>
                </c:pt>
                <c:pt idx="801">
                  <c:v>39883</c:v>
                </c:pt>
                <c:pt idx="802">
                  <c:v>39884</c:v>
                </c:pt>
                <c:pt idx="803">
                  <c:v>39885</c:v>
                </c:pt>
                <c:pt idx="804">
                  <c:v>39888</c:v>
                </c:pt>
                <c:pt idx="805">
                  <c:v>39889</c:v>
                </c:pt>
                <c:pt idx="806">
                  <c:v>39890</c:v>
                </c:pt>
                <c:pt idx="807">
                  <c:v>39891</c:v>
                </c:pt>
                <c:pt idx="808">
                  <c:v>39892</c:v>
                </c:pt>
                <c:pt idx="809">
                  <c:v>39895</c:v>
                </c:pt>
                <c:pt idx="810">
                  <c:v>39896</c:v>
                </c:pt>
                <c:pt idx="811">
                  <c:v>39897</c:v>
                </c:pt>
                <c:pt idx="812">
                  <c:v>39898</c:v>
                </c:pt>
                <c:pt idx="813">
                  <c:v>39899</c:v>
                </c:pt>
                <c:pt idx="814">
                  <c:v>39902</c:v>
                </c:pt>
                <c:pt idx="815">
                  <c:v>39903</c:v>
                </c:pt>
                <c:pt idx="816">
                  <c:v>39904</c:v>
                </c:pt>
                <c:pt idx="817">
                  <c:v>39905</c:v>
                </c:pt>
                <c:pt idx="818">
                  <c:v>39906</c:v>
                </c:pt>
                <c:pt idx="819">
                  <c:v>39909</c:v>
                </c:pt>
                <c:pt idx="820">
                  <c:v>39910</c:v>
                </c:pt>
                <c:pt idx="821">
                  <c:v>39911</c:v>
                </c:pt>
                <c:pt idx="822">
                  <c:v>39912</c:v>
                </c:pt>
                <c:pt idx="823">
                  <c:v>39916</c:v>
                </c:pt>
                <c:pt idx="824">
                  <c:v>39917</c:v>
                </c:pt>
                <c:pt idx="825">
                  <c:v>39918</c:v>
                </c:pt>
                <c:pt idx="826">
                  <c:v>39919</c:v>
                </c:pt>
                <c:pt idx="827">
                  <c:v>39920</c:v>
                </c:pt>
                <c:pt idx="828">
                  <c:v>39923</c:v>
                </c:pt>
                <c:pt idx="829">
                  <c:v>39924</c:v>
                </c:pt>
                <c:pt idx="830">
                  <c:v>39925</c:v>
                </c:pt>
                <c:pt idx="831">
                  <c:v>39926</c:v>
                </c:pt>
                <c:pt idx="832">
                  <c:v>39927</c:v>
                </c:pt>
                <c:pt idx="833">
                  <c:v>39930</c:v>
                </c:pt>
                <c:pt idx="834">
                  <c:v>39931</c:v>
                </c:pt>
                <c:pt idx="835">
                  <c:v>39932</c:v>
                </c:pt>
                <c:pt idx="836">
                  <c:v>39933</c:v>
                </c:pt>
                <c:pt idx="837">
                  <c:v>39934</c:v>
                </c:pt>
                <c:pt idx="838">
                  <c:v>39937</c:v>
                </c:pt>
                <c:pt idx="839">
                  <c:v>39938</c:v>
                </c:pt>
                <c:pt idx="840">
                  <c:v>39939</c:v>
                </c:pt>
                <c:pt idx="841">
                  <c:v>39940</c:v>
                </c:pt>
                <c:pt idx="842">
                  <c:v>39941</c:v>
                </c:pt>
                <c:pt idx="843">
                  <c:v>39944</c:v>
                </c:pt>
                <c:pt idx="844">
                  <c:v>39945</c:v>
                </c:pt>
                <c:pt idx="845">
                  <c:v>39946</c:v>
                </c:pt>
                <c:pt idx="846">
                  <c:v>39947</c:v>
                </c:pt>
                <c:pt idx="847">
                  <c:v>39948</c:v>
                </c:pt>
                <c:pt idx="848">
                  <c:v>39951</c:v>
                </c:pt>
                <c:pt idx="849">
                  <c:v>39952</c:v>
                </c:pt>
                <c:pt idx="850">
                  <c:v>39953</c:v>
                </c:pt>
                <c:pt idx="851">
                  <c:v>39954</c:v>
                </c:pt>
                <c:pt idx="852">
                  <c:v>39955</c:v>
                </c:pt>
                <c:pt idx="853">
                  <c:v>39959</c:v>
                </c:pt>
                <c:pt idx="854">
                  <c:v>39960</c:v>
                </c:pt>
                <c:pt idx="855">
                  <c:v>39961</c:v>
                </c:pt>
                <c:pt idx="856">
                  <c:v>39962</c:v>
                </c:pt>
                <c:pt idx="857">
                  <c:v>39965</c:v>
                </c:pt>
                <c:pt idx="858">
                  <c:v>39966</c:v>
                </c:pt>
                <c:pt idx="859">
                  <c:v>39967</c:v>
                </c:pt>
                <c:pt idx="860">
                  <c:v>39968</c:v>
                </c:pt>
                <c:pt idx="861">
                  <c:v>39969</c:v>
                </c:pt>
                <c:pt idx="862">
                  <c:v>39972</c:v>
                </c:pt>
                <c:pt idx="863">
                  <c:v>39973</c:v>
                </c:pt>
                <c:pt idx="864">
                  <c:v>39974</c:v>
                </c:pt>
                <c:pt idx="865">
                  <c:v>39975</c:v>
                </c:pt>
                <c:pt idx="866">
                  <c:v>39976</c:v>
                </c:pt>
                <c:pt idx="867">
                  <c:v>39979</c:v>
                </c:pt>
                <c:pt idx="868">
                  <c:v>39980</c:v>
                </c:pt>
                <c:pt idx="869">
                  <c:v>39981</c:v>
                </c:pt>
                <c:pt idx="870">
                  <c:v>39982</c:v>
                </c:pt>
                <c:pt idx="871">
                  <c:v>39983</c:v>
                </c:pt>
                <c:pt idx="872">
                  <c:v>39986</c:v>
                </c:pt>
                <c:pt idx="873">
                  <c:v>39987</c:v>
                </c:pt>
                <c:pt idx="874">
                  <c:v>39988</c:v>
                </c:pt>
                <c:pt idx="875">
                  <c:v>39989</c:v>
                </c:pt>
                <c:pt idx="876">
                  <c:v>39990</c:v>
                </c:pt>
                <c:pt idx="877">
                  <c:v>39993</c:v>
                </c:pt>
                <c:pt idx="878">
                  <c:v>39994</c:v>
                </c:pt>
                <c:pt idx="879">
                  <c:v>39995</c:v>
                </c:pt>
                <c:pt idx="880">
                  <c:v>39996</c:v>
                </c:pt>
                <c:pt idx="881">
                  <c:v>40000</c:v>
                </c:pt>
                <c:pt idx="882">
                  <c:v>40001</c:v>
                </c:pt>
                <c:pt idx="883">
                  <c:v>40002</c:v>
                </c:pt>
                <c:pt idx="884">
                  <c:v>40003</c:v>
                </c:pt>
                <c:pt idx="885">
                  <c:v>40004</c:v>
                </c:pt>
                <c:pt idx="886">
                  <c:v>40007</c:v>
                </c:pt>
                <c:pt idx="887">
                  <c:v>40008</c:v>
                </c:pt>
                <c:pt idx="888">
                  <c:v>40009</c:v>
                </c:pt>
                <c:pt idx="889">
                  <c:v>40010</c:v>
                </c:pt>
                <c:pt idx="890">
                  <c:v>40011</c:v>
                </c:pt>
                <c:pt idx="891">
                  <c:v>40014</c:v>
                </c:pt>
                <c:pt idx="892">
                  <c:v>40015</c:v>
                </c:pt>
                <c:pt idx="893">
                  <c:v>40016</c:v>
                </c:pt>
                <c:pt idx="894">
                  <c:v>40017</c:v>
                </c:pt>
                <c:pt idx="895">
                  <c:v>40018</c:v>
                </c:pt>
                <c:pt idx="896">
                  <c:v>40021</c:v>
                </c:pt>
                <c:pt idx="897">
                  <c:v>40022</c:v>
                </c:pt>
                <c:pt idx="898">
                  <c:v>40023</c:v>
                </c:pt>
                <c:pt idx="899">
                  <c:v>40024</c:v>
                </c:pt>
                <c:pt idx="900">
                  <c:v>40025</c:v>
                </c:pt>
                <c:pt idx="901">
                  <c:v>40028</c:v>
                </c:pt>
                <c:pt idx="902">
                  <c:v>40029</c:v>
                </c:pt>
                <c:pt idx="903">
                  <c:v>40030</c:v>
                </c:pt>
                <c:pt idx="904">
                  <c:v>40031</c:v>
                </c:pt>
                <c:pt idx="905">
                  <c:v>40032</c:v>
                </c:pt>
                <c:pt idx="906">
                  <c:v>40035</c:v>
                </c:pt>
                <c:pt idx="907">
                  <c:v>40036</c:v>
                </c:pt>
                <c:pt idx="908">
                  <c:v>40037</c:v>
                </c:pt>
                <c:pt idx="909">
                  <c:v>40038</c:v>
                </c:pt>
                <c:pt idx="910">
                  <c:v>40039</c:v>
                </c:pt>
                <c:pt idx="911">
                  <c:v>40042</c:v>
                </c:pt>
                <c:pt idx="912">
                  <c:v>40043</c:v>
                </c:pt>
                <c:pt idx="913">
                  <c:v>40044</c:v>
                </c:pt>
                <c:pt idx="914">
                  <c:v>40045</c:v>
                </c:pt>
                <c:pt idx="915">
                  <c:v>40046</c:v>
                </c:pt>
                <c:pt idx="916">
                  <c:v>40049</c:v>
                </c:pt>
                <c:pt idx="917">
                  <c:v>40050</c:v>
                </c:pt>
                <c:pt idx="918">
                  <c:v>40051</c:v>
                </c:pt>
                <c:pt idx="919">
                  <c:v>40052</c:v>
                </c:pt>
                <c:pt idx="920">
                  <c:v>40053</c:v>
                </c:pt>
                <c:pt idx="921">
                  <c:v>40056</c:v>
                </c:pt>
                <c:pt idx="922">
                  <c:v>40057</c:v>
                </c:pt>
                <c:pt idx="923">
                  <c:v>40058</c:v>
                </c:pt>
                <c:pt idx="924">
                  <c:v>40059</c:v>
                </c:pt>
                <c:pt idx="925">
                  <c:v>40060</c:v>
                </c:pt>
                <c:pt idx="926">
                  <c:v>40064</c:v>
                </c:pt>
                <c:pt idx="927">
                  <c:v>40065</c:v>
                </c:pt>
                <c:pt idx="928">
                  <c:v>40066</c:v>
                </c:pt>
                <c:pt idx="929">
                  <c:v>40067</c:v>
                </c:pt>
                <c:pt idx="930">
                  <c:v>40070</c:v>
                </c:pt>
                <c:pt idx="931">
                  <c:v>40071</c:v>
                </c:pt>
                <c:pt idx="932">
                  <c:v>40072</c:v>
                </c:pt>
                <c:pt idx="933">
                  <c:v>40073</c:v>
                </c:pt>
                <c:pt idx="934">
                  <c:v>40074</c:v>
                </c:pt>
                <c:pt idx="935">
                  <c:v>40077</c:v>
                </c:pt>
                <c:pt idx="936">
                  <c:v>40078</c:v>
                </c:pt>
                <c:pt idx="937">
                  <c:v>40079</c:v>
                </c:pt>
                <c:pt idx="938">
                  <c:v>40080</c:v>
                </c:pt>
                <c:pt idx="939">
                  <c:v>40081</c:v>
                </c:pt>
                <c:pt idx="940">
                  <c:v>40084</c:v>
                </c:pt>
                <c:pt idx="941">
                  <c:v>40085</c:v>
                </c:pt>
                <c:pt idx="942">
                  <c:v>40086</c:v>
                </c:pt>
                <c:pt idx="943">
                  <c:v>40087</c:v>
                </c:pt>
                <c:pt idx="944">
                  <c:v>40088</c:v>
                </c:pt>
                <c:pt idx="945">
                  <c:v>40091</c:v>
                </c:pt>
                <c:pt idx="946">
                  <c:v>40092</c:v>
                </c:pt>
                <c:pt idx="947">
                  <c:v>40093</c:v>
                </c:pt>
                <c:pt idx="948">
                  <c:v>40094</c:v>
                </c:pt>
                <c:pt idx="949">
                  <c:v>40095</c:v>
                </c:pt>
                <c:pt idx="950">
                  <c:v>40098</c:v>
                </c:pt>
                <c:pt idx="951">
                  <c:v>40099</c:v>
                </c:pt>
                <c:pt idx="952">
                  <c:v>40100</c:v>
                </c:pt>
                <c:pt idx="953">
                  <c:v>40101</c:v>
                </c:pt>
                <c:pt idx="954">
                  <c:v>40102</c:v>
                </c:pt>
                <c:pt idx="955">
                  <c:v>40105</c:v>
                </c:pt>
                <c:pt idx="956">
                  <c:v>40106</c:v>
                </c:pt>
                <c:pt idx="957">
                  <c:v>40107</c:v>
                </c:pt>
                <c:pt idx="958">
                  <c:v>40108</c:v>
                </c:pt>
                <c:pt idx="959">
                  <c:v>40109</c:v>
                </c:pt>
                <c:pt idx="960">
                  <c:v>40112</c:v>
                </c:pt>
                <c:pt idx="961">
                  <c:v>40113</c:v>
                </c:pt>
                <c:pt idx="962">
                  <c:v>40114</c:v>
                </c:pt>
                <c:pt idx="963">
                  <c:v>40115</c:v>
                </c:pt>
                <c:pt idx="964">
                  <c:v>40116</c:v>
                </c:pt>
                <c:pt idx="965">
                  <c:v>40119</c:v>
                </c:pt>
                <c:pt idx="966">
                  <c:v>40120</c:v>
                </c:pt>
                <c:pt idx="967">
                  <c:v>40121</c:v>
                </c:pt>
                <c:pt idx="968">
                  <c:v>40122</c:v>
                </c:pt>
                <c:pt idx="969">
                  <c:v>40123</c:v>
                </c:pt>
                <c:pt idx="970">
                  <c:v>40126</c:v>
                </c:pt>
                <c:pt idx="971">
                  <c:v>40127</c:v>
                </c:pt>
                <c:pt idx="972">
                  <c:v>40128</c:v>
                </c:pt>
                <c:pt idx="973">
                  <c:v>40129</c:v>
                </c:pt>
                <c:pt idx="974">
                  <c:v>40130</c:v>
                </c:pt>
                <c:pt idx="975">
                  <c:v>40133</c:v>
                </c:pt>
                <c:pt idx="976">
                  <c:v>40134</c:v>
                </c:pt>
                <c:pt idx="977">
                  <c:v>40135</c:v>
                </c:pt>
                <c:pt idx="978">
                  <c:v>40136</c:v>
                </c:pt>
                <c:pt idx="979">
                  <c:v>40137</c:v>
                </c:pt>
                <c:pt idx="980">
                  <c:v>40140</c:v>
                </c:pt>
                <c:pt idx="981">
                  <c:v>40141</c:v>
                </c:pt>
                <c:pt idx="982">
                  <c:v>40142</c:v>
                </c:pt>
                <c:pt idx="983">
                  <c:v>40144</c:v>
                </c:pt>
                <c:pt idx="984">
                  <c:v>40147</c:v>
                </c:pt>
                <c:pt idx="985">
                  <c:v>40148</c:v>
                </c:pt>
                <c:pt idx="986">
                  <c:v>40149</c:v>
                </c:pt>
                <c:pt idx="987">
                  <c:v>40150</c:v>
                </c:pt>
                <c:pt idx="988">
                  <c:v>40151</c:v>
                </c:pt>
                <c:pt idx="989">
                  <c:v>40154</c:v>
                </c:pt>
                <c:pt idx="990">
                  <c:v>40155</c:v>
                </c:pt>
                <c:pt idx="991">
                  <c:v>40156</c:v>
                </c:pt>
                <c:pt idx="992">
                  <c:v>40157</c:v>
                </c:pt>
                <c:pt idx="993">
                  <c:v>40158</c:v>
                </c:pt>
                <c:pt idx="994">
                  <c:v>40161</c:v>
                </c:pt>
                <c:pt idx="995">
                  <c:v>40162</c:v>
                </c:pt>
                <c:pt idx="996">
                  <c:v>40163</c:v>
                </c:pt>
                <c:pt idx="997">
                  <c:v>40164</c:v>
                </c:pt>
                <c:pt idx="998">
                  <c:v>40165</c:v>
                </c:pt>
                <c:pt idx="999">
                  <c:v>40168</c:v>
                </c:pt>
                <c:pt idx="1000">
                  <c:v>40169</c:v>
                </c:pt>
                <c:pt idx="1001">
                  <c:v>40170</c:v>
                </c:pt>
                <c:pt idx="1002">
                  <c:v>40171</c:v>
                </c:pt>
                <c:pt idx="1003">
                  <c:v>40175</c:v>
                </c:pt>
                <c:pt idx="1004">
                  <c:v>40176</c:v>
                </c:pt>
                <c:pt idx="1005">
                  <c:v>40177</c:v>
                </c:pt>
                <c:pt idx="1006">
                  <c:v>40178</c:v>
                </c:pt>
                <c:pt idx="1007">
                  <c:v>40182</c:v>
                </c:pt>
                <c:pt idx="1008">
                  <c:v>40183</c:v>
                </c:pt>
                <c:pt idx="1009">
                  <c:v>40184</c:v>
                </c:pt>
                <c:pt idx="1010">
                  <c:v>40185</c:v>
                </c:pt>
                <c:pt idx="1011">
                  <c:v>40186</c:v>
                </c:pt>
                <c:pt idx="1012">
                  <c:v>40189</c:v>
                </c:pt>
                <c:pt idx="1013">
                  <c:v>40190</c:v>
                </c:pt>
                <c:pt idx="1014">
                  <c:v>40191</c:v>
                </c:pt>
                <c:pt idx="1015">
                  <c:v>40192</c:v>
                </c:pt>
                <c:pt idx="1016">
                  <c:v>40193</c:v>
                </c:pt>
                <c:pt idx="1017">
                  <c:v>40197</c:v>
                </c:pt>
                <c:pt idx="1018">
                  <c:v>40198</c:v>
                </c:pt>
                <c:pt idx="1019">
                  <c:v>40199</c:v>
                </c:pt>
                <c:pt idx="1020">
                  <c:v>40200</c:v>
                </c:pt>
                <c:pt idx="1021">
                  <c:v>40203</c:v>
                </c:pt>
                <c:pt idx="1022">
                  <c:v>40204</c:v>
                </c:pt>
                <c:pt idx="1023">
                  <c:v>40205</c:v>
                </c:pt>
                <c:pt idx="1024">
                  <c:v>40206</c:v>
                </c:pt>
                <c:pt idx="1025">
                  <c:v>40207</c:v>
                </c:pt>
                <c:pt idx="1026">
                  <c:v>40210</c:v>
                </c:pt>
                <c:pt idx="1027">
                  <c:v>40211</c:v>
                </c:pt>
                <c:pt idx="1028">
                  <c:v>40212</c:v>
                </c:pt>
                <c:pt idx="1029">
                  <c:v>40213</c:v>
                </c:pt>
                <c:pt idx="1030">
                  <c:v>40214</c:v>
                </c:pt>
                <c:pt idx="1031">
                  <c:v>40217</c:v>
                </c:pt>
                <c:pt idx="1032">
                  <c:v>40218</c:v>
                </c:pt>
                <c:pt idx="1033">
                  <c:v>40219</c:v>
                </c:pt>
                <c:pt idx="1034">
                  <c:v>40220</c:v>
                </c:pt>
                <c:pt idx="1035">
                  <c:v>40221</c:v>
                </c:pt>
                <c:pt idx="1036">
                  <c:v>40225</c:v>
                </c:pt>
                <c:pt idx="1037">
                  <c:v>40226</c:v>
                </c:pt>
                <c:pt idx="1038">
                  <c:v>40227</c:v>
                </c:pt>
                <c:pt idx="1039">
                  <c:v>40228</c:v>
                </c:pt>
                <c:pt idx="1040">
                  <c:v>40231</c:v>
                </c:pt>
                <c:pt idx="1041">
                  <c:v>40232</c:v>
                </c:pt>
                <c:pt idx="1042">
                  <c:v>40233</c:v>
                </c:pt>
                <c:pt idx="1043">
                  <c:v>40234</c:v>
                </c:pt>
                <c:pt idx="1044">
                  <c:v>40235</c:v>
                </c:pt>
                <c:pt idx="1045">
                  <c:v>40238</c:v>
                </c:pt>
                <c:pt idx="1046">
                  <c:v>40239</c:v>
                </c:pt>
                <c:pt idx="1047">
                  <c:v>40240</c:v>
                </c:pt>
                <c:pt idx="1048">
                  <c:v>40241</c:v>
                </c:pt>
                <c:pt idx="1049">
                  <c:v>40242</c:v>
                </c:pt>
                <c:pt idx="1050">
                  <c:v>40245</c:v>
                </c:pt>
                <c:pt idx="1051">
                  <c:v>40246</c:v>
                </c:pt>
                <c:pt idx="1052">
                  <c:v>40247</c:v>
                </c:pt>
                <c:pt idx="1053">
                  <c:v>40248</c:v>
                </c:pt>
                <c:pt idx="1054">
                  <c:v>40249</c:v>
                </c:pt>
                <c:pt idx="1055">
                  <c:v>40252</c:v>
                </c:pt>
                <c:pt idx="1056">
                  <c:v>40253</c:v>
                </c:pt>
                <c:pt idx="1057">
                  <c:v>40254</c:v>
                </c:pt>
                <c:pt idx="1058">
                  <c:v>40255</c:v>
                </c:pt>
                <c:pt idx="1059">
                  <c:v>40256</c:v>
                </c:pt>
                <c:pt idx="1060">
                  <c:v>40259</c:v>
                </c:pt>
                <c:pt idx="1061">
                  <c:v>40260</c:v>
                </c:pt>
                <c:pt idx="1062">
                  <c:v>40261</c:v>
                </c:pt>
                <c:pt idx="1063">
                  <c:v>40262</c:v>
                </c:pt>
                <c:pt idx="1064">
                  <c:v>40263</c:v>
                </c:pt>
                <c:pt idx="1065">
                  <c:v>40266</c:v>
                </c:pt>
                <c:pt idx="1066">
                  <c:v>40267</c:v>
                </c:pt>
                <c:pt idx="1067">
                  <c:v>40268</c:v>
                </c:pt>
                <c:pt idx="1068">
                  <c:v>40269</c:v>
                </c:pt>
                <c:pt idx="1069">
                  <c:v>40273</c:v>
                </c:pt>
                <c:pt idx="1070">
                  <c:v>40274</c:v>
                </c:pt>
                <c:pt idx="1071">
                  <c:v>40275</c:v>
                </c:pt>
                <c:pt idx="1072">
                  <c:v>40276</c:v>
                </c:pt>
                <c:pt idx="1073">
                  <c:v>40277</c:v>
                </c:pt>
                <c:pt idx="1074">
                  <c:v>40280</c:v>
                </c:pt>
                <c:pt idx="1075">
                  <c:v>40281</c:v>
                </c:pt>
                <c:pt idx="1076">
                  <c:v>40282</c:v>
                </c:pt>
                <c:pt idx="1077">
                  <c:v>40283</c:v>
                </c:pt>
                <c:pt idx="1078">
                  <c:v>40284</c:v>
                </c:pt>
                <c:pt idx="1079">
                  <c:v>40287</c:v>
                </c:pt>
                <c:pt idx="1080">
                  <c:v>40288</c:v>
                </c:pt>
                <c:pt idx="1081">
                  <c:v>40289</c:v>
                </c:pt>
                <c:pt idx="1082">
                  <c:v>40290</c:v>
                </c:pt>
                <c:pt idx="1083">
                  <c:v>40291</c:v>
                </c:pt>
                <c:pt idx="1084">
                  <c:v>40294</c:v>
                </c:pt>
                <c:pt idx="1085">
                  <c:v>40295</c:v>
                </c:pt>
                <c:pt idx="1086">
                  <c:v>40296</c:v>
                </c:pt>
                <c:pt idx="1087">
                  <c:v>40297</c:v>
                </c:pt>
                <c:pt idx="1088">
                  <c:v>40298</c:v>
                </c:pt>
                <c:pt idx="1089">
                  <c:v>40301</c:v>
                </c:pt>
                <c:pt idx="1090">
                  <c:v>40302</c:v>
                </c:pt>
                <c:pt idx="1091">
                  <c:v>40303</c:v>
                </c:pt>
                <c:pt idx="1092">
                  <c:v>40304</c:v>
                </c:pt>
                <c:pt idx="1093">
                  <c:v>40305</c:v>
                </c:pt>
                <c:pt idx="1094">
                  <c:v>40308</c:v>
                </c:pt>
                <c:pt idx="1095">
                  <c:v>40309</c:v>
                </c:pt>
                <c:pt idx="1096">
                  <c:v>40310</c:v>
                </c:pt>
                <c:pt idx="1097">
                  <c:v>40311</c:v>
                </c:pt>
                <c:pt idx="1098">
                  <c:v>40312</c:v>
                </c:pt>
                <c:pt idx="1099">
                  <c:v>40315</c:v>
                </c:pt>
                <c:pt idx="1100">
                  <c:v>40316</c:v>
                </c:pt>
                <c:pt idx="1101">
                  <c:v>40317</c:v>
                </c:pt>
                <c:pt idx="1102">
                  <c:v>40318</c:v>
                </c:pt>
                <c:pt idx="1103">
                  <c:v>40319</c:v>
                </c:pt>
                <c:pt idx="1104">
                  <c:v>40322</c:v>
                </c:pt>
                <c:pt idx="1105">
                  <c:v>40323</c:v>
                </c:pt>
                <c:pt idx="1106">
                  <c:v>40324</c:v>
                </c:pt>
                <c:pt idx="1107">
                  <c:v>40325</c:v>
                </c:pt>
                <c:pt idx="1108">
                  <c:v>40326</c:v>
                </c:pt>
                <c:pt idx="1109">
                  <c:v>40330</c:v>
                </c:pt>
                <c:pt idx="1110">
                  <c:v>40331</c:v>
                </c:pt>
                <c:pt idx="1111">
                  <c:v>40332</c:v>
                </c:pt>
                <c:pt idx="1112">
                  <c:v>40333</c:v>
                </c:pt>
                <c:pt idx="1113">
                  <c:v>40336</c:v>
                </c:pt>
                <c:pt idx="1114">
                  <c:v>40337</c:v>
                </c:pt>
                <c:pt idx="1115">
                  <c:v>40338</c:v>
                </c:pt>
                <c:pt idx="1116">
                  <c:v>40339</c:v>
                </c:pt>
                <c:pt idx="1117">
                  <c:v>40340</c:v>
                </c:pt>
                <c:pt idx="1118">
                  <c:v>40343</c:v>
                </c:pt>
                <c:pt idx="1119">
                  <c:v>40344</c:v>
                </c:pt>
                <c:pt idx="1120">
                  <c:v>40345</c:v>
                </c:pt>
                <c:pt idx="1121">
                  <c:v>40346</c:v>
                </c:pt>
                <c:pt idx="1122">
                  <c:v>40347</c:v>
                </c:pt>
                <c:pt idx="1123">
                  <c:v>40350</c:v>
                </c:pt>
                <c:pt idx="1124">
                  <c:v>40351</c:v>
                </c:pt>
                <c:pt idx="1125">
                  <c:v>40352</c:v>
                </c:pt>
                <c:pt idx="1126">
                  <c:v>40353</c:v>
                </c:pt>
                <c:pt idx="1127">
                  <c:v>40354</c:v>
                </c:pt>
                <c:pt idx="1128">
                  <c:v>40357</c:v>
                </c:pt>
                <c:pt idx="1129">
                  <c:v>40358</c:v>
                </c:pt>
                <c:pt idx="1130">
                  <c:v>40359</c:v>
                </c:pt>
                <c:pt idx="1131">
                  <c:v>40360</c:v>
                </c:pt>
                <c:pt idx="1132">
                  <c:v>40361</c:v>
                </c:pt>
                <c:pt idx="1133">
                  <c:v>40365</c:v>
                </c:pt>
                <c:pt idx="1134">
                  <c:v>40366</c:v>
                </c:pt>
                <c:pt idx="1135">
                  <c:v>40367</c:v>
                </c:pt>
                <c:pt idx="1136">
                  <c:v>40368</c:v>
                </c:pt>
                <c:pt idx="1137">
                  <c:v>40371</c:v>
                </c:pt>
                <c:pt idx="1138">
                  <c:v>40372</c:v>
                </c:pt>
                <c:pt idx="1139">
                  <c:v>40373</c:v>
                </c:pt>
                <c:pt idx="1140">
                  <c:v>40374</c:v>
                </c:pt>
                <c:pt idx="1141">
                  <c:v>40375</c:v>
                </c:pt>
                <c:pt idx="1142">
                  <c:v>40378</c:v>
                </c:pt>
                <c:pt idx="1143">
                  <c:v>40379</c:v>
                </c:pt>
                <c:pt idx="1144">
                  <c:v>40380</c:v>
                </c:pt>
                <c:pt idx="1145">
                  <c:v>40381</c:v>
                </c:pt>
                <c:pt idx="1146">
                  <c:v>40382</c:v>
                </c:pt>
                <c:pt idx="1147">
                  <c:v>40385</c:v>
                </c:pt>
                <c:pt idx="1148">
                  <c:v>40386</c:v>
                </c:pt>
                <c:pt idx="1149">
                  <c:v>40387</c:v>
                </c:pt>
                <c:pt idx="1150">
                  <c:v>40388</c:v>
                </c:pt>
                <c:pt idx="1151">
                  <c:v>40389</c:v>
                </c:pt>
                <c:pt idx="1152">
                  <c:v>40392</c:v>
                </c:pt>
                <c:pt idx="1153">
                  <c:v>40393</c:v>
                </c:pt>
                <c:pt idx="1154">
                  <c:v>40394</c:v>
                </c:pt>
                <c:pt idx="1155">
                  <c:v>40395</c:v>
                </c:pt>
                <c:pt idx="1156">
                  <c:v>40396</c:v>
                </c:pt>
                <c:pt idx="1157">
                  <c:v>40399</c:v>
                </c:pt>
                <c:pt idx="1158">
                  <c:v>40400</c:v>
                </c:pt>
                <c:pt idx="1159">
                  <c:v>40401</c:v>
                </c:pt>
                <c:pt idx="1160">
                  <c:v>40402</c:v>
                </c:pt>
                <c:pt idx="1161">
                  <c:v>40403</c:v>
                </c:pt>
                <c:pt idx="1162">
                  <c:v>40406</c:v>
                </c:pt>
                <c:pt idx="1163">
                  <c:v>40407</c:v>
                </c:pt>
                <c:pt idx="1164">
                  <c:v>40408</c:v>
                </c:pt>
                <c:pt idx="1165">
                  <c:v>40409</c:v>
                </c:pt>
                <c:pt idx="1166">
                  <c:v>40410</c:v>
                </c:pt>
                <c:pt idx="1167">
                  <c:v>40413</c:v>
                </c:pt>
                <c:pt idx="1168">
                  <c:v>40414</c:v>
                </c:pt>
                <c:pt idx="1169">
                  <c:v>40415</c:v>
                </c:pt>
                <c:pt idx="1170">
                  <c:v>40416</c:v>
                </c:pt>
                <c:pt idx="1171">
                  <c:v>40417</c:v>
                </c:pt>
                <c:pt idx="1172">
                  <c:v>40420</c:v>
                </c:pt>
                <c:pt idx="1173">
                  <c:v>40421</c:v>
                </c:pt>
                <c:pt idx="1174">
                  <c:v>40422</c:v>
                </c:pt>
                <c:pt idx="1175">
                  <c:v>40423</c:v>
                </c:pt>
                <c:pt idx="1176">
                  <c:v>40424</c:v>
                </c:pt>
                <c:pt idx="1177">
                  <c:v>40428</c:v>
                </c:pt>
                <c:pt idx="1178">
                  <c:v>40429</c:v>
                </c:pt>
                <c:pt idx="1179">
                  <c:v>40430</c:v>
                </c:pt>
                <c:pt idx="1180">
                  <c:v>40431</c:v>
                </c:pt>
                <c:pt idx="1181">
                  <c:v>40434</c:v>
                </c:pt>
                <c:pt idx="1182">
                  <c:v>40435</c:v>
                </c:pt>
                <c:pt idx="1183">
                  <c:v>40436</c:v>
                </c:pt>
                <c:pt idx="1184">
                  <c:v>40437</c:v>
                </c:pt>
                <c:pt idx="1185">
                  <c:v>40438</c:v>
                </c:pt>
                <c:pt idx="1186">
                  <c:v>40441</c:v>
                </c:pt>
                <c:pt idx="1187">
                  <c:v>40442</c:v>
                </c:pt>
                <c:pt idx="1188">
                  <c:v>40443</c:v>
                </c:pt>
                <c:pt idx="1189">
                  <c:v>40444</c:v>
                </c:pt>
                <c:pt idx="1190">
                  <c:v>40445</c:v>
                </c:pt>
                <c:pt idx="1191">
                  <c:v>40448</c:v>
                </c:pt>
                <c:pt idx="1192">
                  <c:v>40449</c:v>
                </c:pt>
                <c:pt idx="1193">
                  <c:v>40450</c:v>
                </c:pt>
                <c:pt idx="1194">
                  <c:v>40451</c:v>
                </c:pt>
                <c:pt idx="1195">
                  <c:v>40452</c:v>
                </c:pt>
                <c:pt idx="1196">
                  <c:v>40455</c:v>
                </c:pt>
                <c:pt idx="1197">
                  <c:v>40456</c:v>
                </c:pt>
                <c:pt idx="1198">
                  <c:v>40457</c:v>
                </c:pt>
                <c:pt idx="1199">
                  <c:v>40458</c:v>
                </c:pt>
                <c:pt idx="1200">
                  <c:v>40459</c:v>
                </c:pt>
                <c:pt idx="1201">
                  <c:v>40462</c:v>
                </c:pt>
                <c:pt idx="1202">
                  <c:v>40463</c:v>
                </c:pt>
                <c:pt idx="1203">
                  <c:v>40464</c:v>
                </c:pt>
                <c:pt idx="1204">
                  <c:v>40465</c:v>
                </c:pt>
                <c:pt idx="1205">
                  <c:v>40466</c:v>
                </c:pt>
                <c:pt idx="1206">
                  <c:v>40469</c:v>
                </c:pt>
                <c:pt idx="1207">
                  <c:v>40470</c:v>
                </c:pt>
                <c:pt idx="1208">
                  <c:v>40471</c:v>
                </c:pt>
                <c:pt idx="1209">
                  <c:v>40472</c:v>
                </c:pt>
                <c:pt idx="1210">
                  <c:v>40473</c:v>
                </c:pt>
                <c:pt idx="1211">
                  <c:v>40476</c:v>
                </c:pt>
                <c:pt idx="1212">
                  <c:v>40477</c:v>
                </c:pt>
                <c:pt idx="1213">
                  <c:v>40478</c:v>
                </c:pt>
                <c:pt idx="1214">
                  <c:v>40479</c:v>
                </c:pt>
                <c:pt idx="1215">
                  <c:v>40480</c:v>
                </c:pt>
                <c:pt idx="1216">
                  <c:v>40483</c:v>
                </c:pt>
                <c:pt idx="1217">
                  <c:v>40484</c:v>
                </c:pt>
                <c:pt idx="1218">
                  <c:v>40485</c:v>
                </c:pt>
                <c:pt idx="1219">
                  <c:v>40486</c:v>
                </c:pt>
                <c:pt idx="1220">
                  <c:v>40487</c:v>
                </c:pt>
                <c:pt idx="1221">
                  <c:v>40490</c:v>
                </c:pt>
                <c:pt idx="1222">
                  <c:v>40491</c:v>
                </c:pt>
                <c:pt idx="1223">
                  <c:v>40492</c:v>
                </c:pt>
                <c:pt idx="1224">
                  <c:v>40493</c:v>
                </c:pt>
                <c:pt idx="1225">
                  <c:v>40494</c:v>
                </c:pt>
                <c:pt idx="1226">
                  <c:v>40497</c:v>
                </c:pt>
                <c:pt idx="1227">
                  <c:v>40498</c:v>
                </c:pt>
                <c:pt idx="1228">
                  <c:v>40499</c:v>
                </c:pt>
                <c:pt idx="1229">
                  <c:v>40500</c:v>
                </c:pt>
                <c:pt idx="1230">
                  <c:v>40501</c:v>
                </c:pt>
                <c:pt idx="1231">
                  <c:v>40504</c:v>
                </c:pt>
                <c:pt idx="1232">
                  <c:v>40505</c:v>
                </c:pt>
                <c:pt idx="1233">
                  <c:v>40506</c:v>
                </c:pt>
                <c:pt idx="1234">
                  <c:v>40508</c:v>
                </c:pt>
                <c:pt idx="1235">
                  <c:v>40511</c:v>
                </c:pt>
                <c:pt idx="1236">
                  <c:v>40512</c:v>
                </c:pt>
                <c:pt idx="1237">
                  <c:v>40513</c:v>
                </c:pt>
                <c:pt idx="1238">
                  <c:v>40514</c:v>
                </c:pt>
                <c:pt idx="1239">
                  <c:v>40515</c:v>
                </c:pt>
                <c:pt idx="1240">
                  <c:v>40518</c:v>
                </c:pt>
                <c:pt idx="1241">
                  <c:v>40519</c:v>
                </c:pt>
                <c:pt idx="1242">
                  <c:v>40520</c:v>
                </c:pt>
                <c:pt idx="1243">
                  <c:v>40521</c:v>
                </c:pt>
                <c:pt idx="1244">
                  <c:v>40522</c:v>
                </c:pt>
                <c:pt idx="1245">
                  <c:v>40525</c:v>
                </c:pt>
                <c:pt idx="1246">
                  <c:v>40526</c:v>
                </c:pt>
                <c:pt idx="1247">
                  <c:v>40527</c:v>
                </c:pt>
                <c:pt idx="1248">
                  <c:v>40528</c:v>
                </c:pt>
                <c:pt idx="1249">
                  <c:v>40529</c:v>
                </c:pt>
                <c:pt idx="1250">
                  <c:v>40532</c:v>
                </c:pt>
                <c:pt idx="1251">
                  <c:v>40533</c:v>
                </c:pt>
                <c:pt idx="1252">
                  <c:v>40534</c:v>
                </c:pt>
                <c:pt idx="1253">
                  <c:v>40535</c:v>
                </c:pt>
                <c:pt idx="1254">
                  <c:v>40539</c:v>
                </c:pt>
                <c:pt idx="1255">
                  <c:v>40540</c:v>
                </c:pt>
                <c:pt idx="1256">
                  <c:v>40541</c:v>
                </c:pt>
                <c:pt idx="1257">
                  <c:v>40542</c:v>
                </c:pt>
                <c:pt idx="1258">
                  <c:v>40543</c:v>
                </c:pt>
                <c:pt idx="1259">
                  <c:v>40546</c:v>
                </c:pt>
                <c:pt idx="1260">
                  <c:v>40547</c:v>
                </c:pt>
                <c:pt idx="1261">
                  <c:v>40548</c:v>
                </c:pt>
                <c:pt idx="1262">
                  <c:v>40549</c:v>
                </c:pt>
                <c:pt idx="1263">
                  <c:v>40550</c:v>
                </c:pt>
                <c:pt idx="1264">
                  <c:v>40553</c:v>
                </c:pt>
                <c:pt idx="1265">
                  <c:v>40554</c:v>
                </c:pt>
                <c:pt idx="1266">
                  <c:v>40555</c:v>
                </c:pt>
                <c:pt idx="1267">
                  <c:v>40556</c:v>
                </c:pt>
                <c:pt idx="1268">
                  <c:v>40557</c:v>
                </c:pt>
                <c:pt idx="1269">
                  <c:v>40561</c:v>
                </c:pt>
                <c:pt idx="1270">
                  <c:v>40562</c:v>
                </c:pt>
                <c:pt idx="1271">
                  <c:v>40563</c:v>
                </c:pt>
                <c:pt idx="1272">
                  <c:v>40564</c:v>
                </c:pt>
                <c:pt idx="1273">
                  <c:v>40567</c:v>
                </c:pt>
                <c:pt idx="1274">
                  <c:v>40568</c:v>
                </c:pt>
                <c:pt idx="1275">
                  <c:v>40569</c:v>
                </c:pt>
                <c:pt idx="1276">
                  <c:v>40570</c:v>
                </c:pt>
                <c:pt idx="1277">
                  <c:v>40571</c:v>
                </c:pt>
                <c:pt idx="1278">
                  <c:v>40574</c:v>
                </c:pt>
                <c:pt idx="1279">
                  <c:v>40575</c:v>
                </c:pt>
                <c:pt idx="1280">
                  <c:v>40576</c:v>
                </c:pt>
                <c:pt idx="1281">
                  <c:v>40577</c:v>
                </c:pt>
                <c:pt idx="1282">
                  <c:v>40578</c:v>
                </c:pt>
                <c:pt idx="1283">
                  <c:v>40581</c:v>
                </c:pt>
                <c:pt idx="1284">
                  <c:v>40582</c:v>
                </c:pt>
                <c:pt idx="1285">
                  <c:v>40583</c:v>
                </c:pt>
                <c:pt idx="1286">
                  <c:v>40584</c:v>
                </c:pt>
                <c:pt idx="1287">
                  <c:v>40585</c:v>
                </c:pt>
                <c:pt idx="1288">
                  <c:v>40588</c:v>
                </c:pt>
                <c:pt idx="1289">
                  <c:v>40589</c:v>
                </c:pt>
                <c:pt idx="1290">
                  <c:v>40590</c:v>
                </c:pt>
                <c:pt idx="1291">
                  <c:v>40591</c:v>
                </c:pt>
                <c:pt idx="1292">
                  <c:v>40592</c:v>
                </c:pt>
                <c:pt idx="1293">
                  <c:v>40596</c:v>
                </c:pt>
                <c:pt idx="1294">
                  <c:v>40597</c:v>
                </c:pt>
                <c:pt idx="1295">
                  <c:v>40598</c:v>
                </c:pt>
                <c:pt idx="1296">
                  <c:v>40599</c:v>
                </c:pt>
                <c:pt idx="1297">
                  <c:v>40602</c:v>
                </c:pt>
                <c:pt idx="1298">
                  <c:v>40603</c:v>
                </c:pt>
                <c:pt idx="1299">
                  <c:v>40604</c:v>
                </c:pt>
                <c:pt idx="1300">
                  <c:v>40605</c:v>
                </c:pt>
                <c:pt idx="1301">
                  <c:v>40606</c:v>
                </c:pt>
                <c:pt idx="1302">
                  <c:v>40609</c:v>
                </c:pt>
                <c:pt idx="1303">
                  <c:v>40610</c:v>
                </c:pt>
                <c:pt idx="1304">
                  <c:v>40611</c:v>
                </c:pt>
                <c:pt idx="1305">
                  <c:v>40612</c:v>
                </c:pt>
                <c:pt idx="1306">
                  <c:v>40613</c:v>
                </c:pt>
                <c:pt idx="1307">
                  <c:v>40616</c:v>
                </c:pt>
                <c:pt idx="1308">
                  <c:v>40617</c:v>
                </c:pt>
                <c:pt idx="1309">
                  <c:v>40618</c:v>
                </c:pt>
                <c:pt idx="1310">
                  <c:v>40619</c:v>
                </c:pt>
                <c:pt idx="1311">
                  <c:v>40620</c:v>
                </c:pt>
                <c:pt idx="1312">
                  <c:v>40623</c:v>
                </c:pt>
                <c:pt idx="1313">
                  <c:v>40624</c:v>
                </c:pt>
                <c:pt idx="1314">
                  <c:v>40625</c:v>
                </c:pt>
                <c:pt idx="1315">
                  <c:v>40626</c:v>
                </c:pt>
                <c:pt idx="1316">
                  <c:v>40627</c:v>
                </c:pt>
                <c:pt idx="1317">
                  <c:v>40630</c:v>
                </c:pt>
                <c:pt idx="1318">
                  <c:v>40631</c:v>
                </c:pt>
                <c:pt idx="1319">
                  <c:v>40632</c:v>
                </c:pt>
                <c:pt idx="1320">
                  <c:v>40633</c:v>
                </c:pt>
                <c:pt idx="1321">
                  <c:v>40634</c:v>
                </c:pt>
                <c:pt idx="1322">
                  <c:v>40637</c:v>
                </c:pt>
                <c:pt idx="1323">
                  <c:v>40638</c:v>
                </c:pt>
                <c:pt idx="1324">
                  <c:v>40639</c:v>
                </c:pt>
                <c:pt idx="1325">
                  <c:v>40640</c:v>
                </c:pt>
                <c:pt idx="1326">
                  <c:v>40641</c:v>
                </c:pt>
                <c:pt idx="1327">
                  <c:v>40644</c:v>
                </c:pt>
                <c:pt idx="1328">
                  <c:v>40645</c:v>
                </c:pt>
                <c:pt idx="1329">
                  <c:v>40646</c:v>
                </c:pt>
                <c:pt idx="1330">
                  <c:v>40647</c:v>
                </c:pt>
                <c:pt idx="1331">
                  <c:v>40648</c:v>
                </c:pt>
                <c:pt idx="1332">
                  <c:v>40651</c:v>
                </c:pt>
                <c:pt idx="1333">
                  <c:v>40652</c:v>
                </c:pt>
                <c:pt idx="1334">
                  <c:v>40653</c:v>
                </c:pt>
                <c:pt idx="1335">
                  <c:v>40654</c:v>
                </c:pt>
                <c:pt idx="1336">
                  <c:v>40658</c:v>
                </c:pt>
                <c:pt idx="1337">
                  <c:v>40659</c:v>
                </c:pt>
                <c:pt idx="1338">
                  <c:v>40660</c:v>
                </c:pt>
                <c:pt idx="1339">
                  <c:v>40661</c:v>
                </c:pt>
                <c:pt idx="1340">
                  <c:v>40662</c:v>
                </c:pt>
                <c:pt idx="1341">
                  <c:v>40665</c:v>
                </c:pt>
                <c:pt idx="1342">
                  <c:v>40666</c:v>
                </c:pt>
                <c:pt idx="1343">
                  <c:v>40667</c:v>
                </c:pt>
                <c:pt idx="1344">
                  <c:v>40668</c:v>
                </c:pt>
                <c:pt idx="1345">
                  <c:v>40669</c:v>
                </c:pt>
                <c:pt idx="1346">
                  <c:v>40672</c:v>
                </c:pt>
                <c:pt idx="1347">
                  <c:v>40673</c:v>
                </c:pt>
                <c:pt idx="1348">
                  <c:v>40674</c:v>
                </c:pt>
                <c:pt idx="1349">
                  <c:v>40675</c:v>
                </c:pt>
                <c:pt idx="1350">
                  <c:v>40676</c:v>
                </c:pt>
                <c:pt idx="1351">
                  <c:v>40679</c:v>
                </c:pt>
                <c:pt idx="1352">
                  <c:v>40680</c:v>
                </c:pt>
                <c:pt idx="1353">
                  <c:v>40681</c:v>
                </c:pt>
                <c:pt idx="1354">
                  <c:v>40682</c:v>
                </c:pt>
                <c:pt idx="1355">
                  <c:v>40683</c:v>
                </c:pt>
                <c:pt idx="1356">
                  <c:v>40686</c:v>
                </c:pt>
                <c:pt idx="1357">
                  <c:v>40687</c:v>
                </c:pt>
                <c:pt idx="1358">
                  <c:v>40688</c:v>
                </c:pt>
                <c:pt idx="1359">
                  <c:v>40689</c:v>
                </c:pt>
                <c:pt idx="1360">
                  <c:v>40690</c:v>
                </c:pt>
                <c:pt idx="1361">
                  <c:v>40694</c:v>
                </c:pt>
                <c:pt idx="1362">
                  <c:v>40695</c:v>
                </c:pt>
                <c:pt idx="1363">
                  <c:v>40696</c:v>
                </c:pt>
                <c:pt idx="1364">
                  <c:v>40697</c:v>
                </c:pt>
                <c:pt idx="1365">
                  <c:v>40700</c:v>
                </c:pt>
                <c:pt idx="1366">
                  <c:v>40701</c:v>
                </c:pt>
                <c:pt idx="1367">
                  <c:v>40702</c:v>
                </c:pt>
                <c:pt idx="1368">
                  <c:v>40703</c:v>
                </c:pt>
                <c:pt idx="1369">
                  <c:v>40704</c:v>
                </c:pt>
                <c:pt idx="1370">
                  <c:v>40707</c:v>
                </c:pt>
                <c:pt idx="1371">
                  <c:v>40708</c:v>
                </c:pt>
                <c:pt idx="1372">
                  <c:v>40709</c:v>
                </c:pt>
                <c:pt idx="1373">
                  <c:v>40710</c:v>
                </c:pt>
                <c:pt idx="1374">
                  <c:v>40711</c:v>
                </c:pt>
                <c:pt idx="1375">
                  <c:v>40714</c:v>
                </c:pt>
                <c:pt idx="1376">
                  <c:v>40715</c:v>
                </c:pt>
                <c:pt idx="1377">
                  <c:v>40716</c:v>
                </c:pt>
                <c:pt idx="1378">
                  <c:v>40717</c:v>
                </c:pt>
                <c:pt idx="1379">
                  <c:v>40718</c:v>
                </c:pt>
                <c:pt idx="1380">
                  <c:v>40721</c:v>
                </c:pt>
                <c:pt idx="1381">
                  <c:v>40722</c:v>
                </c:pt>
                <c:pt idx="1382">
                  <c:v>40723</c:v>
                </c:pt>
                <c:pt idx="1383">
                  <c:v>40724</c:v>
                </c:pt>
                <c:pt idx="1384">
                  <c:v>40725</c:v>
                </c:pt>
                <c:pt idx="1385">
                  <c:v>40729</c:v>
                </c:pt>
                <c:pt idx="1386">
                  <c:v>40730</c:v>
                </c:pt>
                <c:pt idx="1387">
                  <c:v>40731</c:v>
                </c:pt>
                <c:pt idx="1388">
                  <c:v>40732</c:v>
                </c:pt>
                <c:pt idx="1389">
                  <c:v>40735</c:v>
                </c:pt>
                <c:pt idx="1390">
                  <c:v>40736</c:v>
                </c:pt>
                <c:pt idx="1391">
                  <c:v>40737</c:v>
                </c:pt>
                <c:pt idx="1392">
                  <c:v>40738</c:v>
                </c:pt>
                <c:pt idx="1393">
                  <c:v>40739</c:v>
                </c:pt>
                <c:pt idx="1394">
                  <c:v>40742</c:v>
                </c:pt>
                <c:pt idx="1395">
                  <c:v>40743</c:v>
                </c:pt>
                <c:pt idx="1396">
                  <c:v>40744</c:v>
                </c:pt>
                <c:pt idx="1397">
                  <c:v>40745</c:v>
                </c:pt>
                <c:pt idx="1398">
                  <c:v>40746</c:v>
                </c:pt>
                <c:pt idx="1399">
                  <c:v>40749</c:v>
                </c:pt>
                <c:pt idx="1400">
                  <c:v>40750</c:v>
                </c:pt>
                <c:pt idx="1401">
                  <c:v>40751</c:v>
                </c:pt>
                <c:pt idx="1402">
                  <c:v>40752</c:v>
                </c:pt>
                <c:pt idx="1403">
                  <c:v>40753</c:v>
                </c:pt>
                <c:pt idx="1404">
                  <c:v>40756</c:v>
                </c:pt>
                <c:pt idx="1405">
                  <c:v>40757</c:v>
                </c:pt>
                <c:pt idx="1406">
                  <c:v>40758</c:v>
                </c:pt>
                <c:pt idx="1407">
                  <c:v>40759</c:v>
                </c:pt>
                <c:pt idx="1408">
                  <c:v>40760</c:v>
                </c:pt>
                <c:pt idx="1409">
                  <c:v>40763</c:v>
                </c:pt>
                <c:pt idx="1410">
                  <c:v>40764</c:v>
                </c:pt>
                <c:pt idx="1411">
                  <c:v>40765</c:v>
                </c:pt>
                <c:pt idx="1412">
                  <c:v>40766</c:v>
                </c:pt>
                <c:pt idx="1413">
                  <c:v>40767</c:v>
                </c:pt>
                <c:pt idx="1414">
                  <c:v>40770</c:v>
                </c:pt>
                <c:pt idx="1415">
                  <c:v>40771</c:v>
                </c:pt>
                <c:pt idx="1416">
                  <c:v>40772</c:v>
                </c:pt>
                <c:pt idx="1417">
                  <c:v>40773</c:v>
                </c:pt>
                <c:pt idx="1418">
                  <c:v>40774</c:v>
                </c:pt>
                <c:pt idx="1419">
                  <c:v>40777</c:v>
                </c:pt>
                <c:pt idx="1420">
                  <c:v>40778</c:v>
                </c:pt>
                <c:pt idx="1421">
                  <c:v>40779</c:v>
                </c:pt>
                <c:pt idx="1422">
                  <c:v>40780</c:v>
                </c:pt>
                <c:pt idx="1423">
                  <c:v>40781</c:v>
                </c:pt>
                <c:pt idx="1424">
                  <c:v>40784</c:v>
                </c:pt>
                <c:pt idx="1425">
                  <c:v>40785</c:v>
                </c:pt>
                <c:pt idx="1426">
                  <c:v>40786</c:v>
                </c:pt>
                <c:pt idx="1427">
                  <c:v>40787</c:v>
                </c:pt>
                <c:pt idx="1428">
                  <c:v>40788</c:v>
                </c:pt>
                <c:pt idx="1429">
                  <c:v>40792</c:v>
                </c:pt>
                <c:pt idx="1430">
                  <c:v>40793</c:v>
                </c:pt>
                <c:pt idx="1431">
                  <c:v>40794</c:v>
                </c:pt>
                <c:pt idx="1432">
                  <c:v>40795</c:v>
                </c:pt>
                <c:pt idx="1433">
                  <c:v>40798</c:v>
                </c:pt>
                <c:pt idx="1434">
                  <c:v>40799</c:v>
                </c:pt>
                <c:pt idx="1435">
                  <c:v>40800</c:v>
                </c:pt>
                <c:pt idx="1436">
                  <c:v>40801</c:v>
                </c:pt>
                <c:pt idx="1437">
                  <c:v>40802</c:v>
                </c:pt>
                <c:pt idx="1438">
                  <c:v>40805</c:v>
                </c:pt>
                <c:pt idx="1439">
                  <c:v>40806</c:v>
                </c:pt>
                <c:pt idx="1440">
                  <c:v>40807</c:v>
                </c:pt>
                <c:pt idx="1441">
                  <c:v>40808</c:v>
                </c:pt>
                <c:pt idx="1442">
                  <c:v>40809</c:v>
                </c:pt>
                <c:pt idx="1443">
                  <c:v>40812</c:v>
                </c:pt>
                <c:pt idx="1444">
                  <c:v>40813</c:v>
                </c:pt>
                <c:pt idx="1445">
                  <c:v>40814</c:v>
                </c:pt>
                <c:pt idx="1446">
                  <c:v>40815</c:v>
                </c:pt>
                <c:pt idx="1447">
                  <c:v>40816</c:v>
                </c:pt>
                <c:pt idx="1448">
                  <c:v>40819</c:v>
                </c:pt>
                <c:pt idx="1449">
                  <c:v>40820</c:v>
                </c:pt>
                <c:pt idx="1450">
                  <c:v>40821</c:v>
                </c:pt>
                <c:pt idx="1451">
                  <c:v>40822</c:v>
                </c:pt>
                <c:pt idx="1452">
                  <c:v>40823</c:v>
                </c:pt>
                <c:pt idx="1453">
                  <c:v>40826</c:v>
                </c:pt>
                <c:pt idx="1454">
                  <c:v>40827</c:v>
                </c:pt>
                <c:pt idx="1455">
                  <c:v>40828</c:v>
                </c:pt>
                <c:pt idx="1456">
                  <c:v>40829</c:v>
                </c:pt>
                <c:pt idx="1457">
                  <c:v>40830</c:v>
                </c:pt>
                <c:pt idx="1458">
                  <c:v>40833</c:v>
                </c:pt>
                <c:pt idx="1459">
                  <c:v>40834</c:v>
                </c:pt>
                <c:pt idx="1460">
                  <c:v>40835</c:v>
                </c:pt>
                <c:pt idx="1461">
                  <c:v>40836</c:v>
                </c:pt>
                <c:pt idx="1462">
                  <c:v>40837</c:v>
                </c:pt>
                <c:pt idx="1463">
                  <c:v>40840</c:v>
                </c:pt>
                <c:pt idx="1464">
                  <c:v>40841</c:v>
                </c:pt>
                <c:pt idx="1465">
                  <c:v>40842</c:v>
                </c:pt>
                <c:pt idx="1466">
                  <c:v>40843</c:v>
                </c:pt>
                <c:pt idx="1467">
                  <c:v>40844</c:v>
                </c:pt>
                <c:pt idx="1468">
                  <c:v>40847</c:v>
                </c:pt>
                <c:pt idx="1469">
                  <c:v>40848</c:v>
                </c:pt>
                <c:pt idx="1470">
                  <c:v>40849</c:v>
                </c:pt>
                <c:pt idx="1471">
                  <c:v>40850</c:v>
                </c:pt>
                <c:pt idx="1472">
                  <c:v>40851</c:v>
                </c:pt>
                <c:pt idx="1473">
                  <c:v>40854</c:v>
                </c:pt>
                <c:pt idx="1474">
                  <c:v>40855</c:v>
                </c:pt>
                <c:pt idx="1475">
                  <c:v>40856</c:v>
                </c:pt>
                <c:pt idx="1476">
                  <c:v>40857</c:v>
                </c:pt>
                <c:pt idx="1477">
                  <c:v>40858</c:v>
                </c:pt>
                <c:pt idx="1478">
                  <c:v>40861</c:v>
                </c:pt>
                <c:pt idx="1479">
                  <c:v>40862</c:v>
                </c:pt>
                <c:pt idx="1480">
                  <c:v>40863</c:v>
                </c:pt>
                <c:pt idx="1481">
                  <c:v>40864</c:v>
                </c:pt>
                <c:pt idx="1482">
                  <c:v>40865</c:v>
                </c:pt>
                <c:pt idx="1483">
                  <c:v>40868</c:v>
                </c:pt>
                <c:pt idx="1484">
                  <c:v>40869</c:v>
                </c:pt>
                <c:pt idx="1485">
                  <c:v>40870</c:v>
                </c:pt>
                <c:pt idx="1486">
                  <c:v>40872</c:v>
                </c:pt>
                <c:pt idx="1487">
                  <c:v>40875</c:v>
                </c:pt>
                <c:pt idx="1488">
                  <c:v>40876</c:v>
                </c:pt>
                <c:pt idx="1489">
                  <c:v>40877</c:v>
                </c:pt>
                <c:pt idx="1490">
                  <c:v>40878</c:v>
                </c:pt>
                <c:pt idx="1491">
                  <c:v>40879</c:v>
                </c:pt>
                <c:pt idx="1492">
                  <c:v>40882</c:v>
                </c:pt>
                <c:pt idx="1493">
                  <c:v>40883</c:v>
                </c:pt>
                <c:pt idx="1494">
                  <c:v>40884</c:v>
                </c:pt>
                <c:pt idx="1495">
                  <c:v>40885</c:v>
                </c:pt>
                <c:pt idx="1496">
                  <c:v>40886</c:v>
                </c:pt>
                <c:pt idx="1497">
                  <c:v>40889</c:v>
                </c:pt>
                <c:pt idx="1498">
                  <c:v>40890</c:v>
                </c:pt>
                <c:pt idx="1499">
                  <c:v>40891</c:v>
                </c:pt>
                <c:pt idx="1500">
                  <c:v>40892</c:v>
                </c:pt>
                <c:pt idx="1501">
                  <c:v>40893</c:v>
                </c:pt>
                <c:pt idx="1502">
                  <c:v>40896</c:v>
                </c:pt>
                <c:pt idx="1503">
                  <c:v>40897</c:v>
                </c:pt>
                <c:pt idx="1504">
                  <c:v>40898</c:v>
                </c:pt>
                <c:pt idx="1505">
                  <c:v>40899</c:v>
                </c:pt>
                <c:pt idx="1506">
                  <c:v>40900</c:v>
                </c:pt>
                <c:pt idx="1507">
                  <c:v>40904</c:v>
                </c:pt>
                <c:pt idx="1508">
                  <c:v>40905</c:v>
                </c:pt>
                <c:pt idx="1509">
                  <c:v>40906</c:v>
                </c:pt>
                <c:pt idx="1510">
                  <c:v>40907</c:v>
                </c:pt>
                <c:pt idx="1511">
                  <c:v>40911</c:v>
                </c:pt>
                <c:pt idx="1512">
                  <c:v>40912</c:v>
                </c:pt>
                <c:pt idx="1513">
                  <c:v>40913</c:v>
                </c:pt>
                <c:pt idx="1514">
                  <c:v>40914</c:v>
                </c:pt>
                <c:pt idx="1515">
                  <c:v>40917</c:v>
                </c:pt>
                <c:pt idx="1516">
                  <c:v>40918</c:v>
                </c:pt>
                <c:pt idx="1517">
                  <c:v>40919</c:v>
                </c:pt>
                <c:pt idx="1518">
                  <c:v>40920</c:v>
                </c:pt>
                <c:pt idx="1519">
                  <c:v>40921</c:v>
                </c:pt>
                <c:pt idx="1520">
                  <c:v>40925</c:v>
                </c:pt>
                <c:pt idx="1521">
                  <c:v>40926</c:v>
                </c:pt>
                <c:pt idx="1522">
                  <c:v>40927</c:v>
                </c:pt>
                <c:pt idx="1523">
                  <c:v>40928</c:v>
                </c:pt>
                <c:pt idx="1524">
                  <c:v>40931</c:v>
                </c:pt>
                <c:pt idx="1525">
                  <c:v>40932</c:v>
                </c:pt>
                <c:pt idx="1526">
                  <c:v>40933</c:v>
                </c:pt>
                <c:pt idx="1527">
                  <c:v>40934</c:v>
                </c:pt>
                <c:pt idx="1528">
                  <c:v>40935</c:v>
                </c:pt>
                <c:pt idx="1529">
                  <c:v>40938</c:v>
                </c:pt>
                <c:pt idx="1530">
                  <c:v>40939</c:v>
                </c:pt>
                <c:pt idx="1531">
                  <c:v>40940</c:v>
                </c:pt>
                <c:pt idx="1532">
                  <c:v>40941</c:v>
                </c:pt>
                <c:pt idx="1533">
                  <c:v>40942</c:v>
                </c:pt>
                <c:pt idx="1534">
                  <c:v>40945</c:v>
                </c:pt>
                <c:pt idx="1535">
                  <c:v>40946</c:v>
                </c:pt>
                <c:pt idx="1536">
                  <c:v>40947</c:v>
                </c:pt>
                <c:pt idx="1537">
                  <c:v>40948</c:v>
                </c:pt>
                <c:pt idx="1538">
                  <c:v>40949</c:v>
                </c:pt>
                <c:pt idx="1539">
                  <c:v>40952</c:v>
                </c:pt>
                <c:pt idx="1540">
                  <c:v>40953</c:v>
                </c:pt>
                <c:pt idx="1541">
                  <c:v>40954</c:v>
                </c:pt>
                <c:pt idx="1542">
                  <c:v>40955</c:v>
                </c:pt>
                <c:pt idx="1543">
                  <c:v>40956</c:v>
                </c:pt>
                <c:pt idx="1544">
                  <c:v>40960</c:v>
                </c:pt>
                <c:pt idx="1545">
                  <c:v>40961</c:v>
                </c:pt>
                <c:pt idx="1546">
                  <c:v>40962</c:v>
                </c:pt>
                <c:pt idx="1547">
                  <c:v>40963</c:v>
                </c:pt>
                <c:pt idx="1548">
                  <c:v>40966</c:v>
                </c:pt>
                <c:pt idx="1549">
                  <c:v>40967</c:v>
                </c:pt>
                <c:pt idx="1550">
                  <c:v>40968</c:v>
                </c:pt>
                <c:pt idx="1551">
                  <c:v>40969</c:v>
                </c:pt>
                <c:pt idx="1552">
                  <c:v>40970</c:v>
                </c:pt>
                <c:pt idx="1553">
                  <c:v>40973</c:v>
                </c:pt>
                <c:pt idx="1554">
                  <c:v>40974</c:v>
                </c:pt>
                <c:pt idx="1555">
                  <c:v>40975</c:v>
                </c:pt>
                <c:pt idx="1556">
                  <c:v>40976</c:v>
                </c:pt>
                <c:pt idx="1557">
                  <c:v>40977</c:v>
                </c:pt>
                <c:pt idx="1558">
                  <c:v>40980</c:v>
                </c:pt>
                <c:pt idx="1559">
                  <c:v>40981</c:v>
                </c:pt>
                <c:pt idx="1560">
                  <c:v>40982</c:v>
                </c:pt>
                <c:pt idx="1561">
                  <c:v>40983</c:v>
                </c:pt>
                <c:pt idx="1562">
                  <c:v>40984</c:v>
                </c:pt>
                <c:pt idx="1563">
                  <c:v>40987</c:v>
                </c:pt>
                <c:pt idx="1564">
                  <c:v>40988</c:v>
                </c:pt>
                <c:pt idx="1565">
                  <c:v>40989</c:v>
                </c:pt>
                <c:pt idx="1566">
                  <c:v>40990</c:v>
                </c:pt>
                <c:pt idx="1567">
                  <c:v>40991</c:v>
                </c:pt>
                <c:pt idx="1568">
                  <c:v>40994</c:v>
                </c:pt>
                <c:pt idx="1569">
                  <c:v>40995</c:v>
                </c:pt>
                <c:pt idx="1570">
                  <c:v>40996</c:v>
                </c:pt>
                <c:pt idx="1571">
                  <c:v>40997</c:v>
                </c:pt>
                <c:pt idx="1572">
                  <c:v>40998</c:v>
                </c:pt>
                <c:pt idx="1573">
                  <c:v>41001</c:v>
                </c:pt>
                <c:pt idx="1574">
                  <c:v>41002</c:v>
                </c:pt>
                <c:pt idx="1575">
                  <c:v>41003</c:v>
                </c:pt>
                <c:pt idx="1576">
                  <c:v>41004</c:v>
                </c:pt>
                <c:pt idx="1577">
                  <c:v>41008</c:v>
                </c:pt>
                <c:pt idx="1578">
                  <c:v>41009</c:v>
                </c:pt>
                <c:pt idx="1579">
                  <c:v>41010</c:v>
                </c:pt>
                <c:pt idx="1580">
                  <c:v>41011</c:v>
                </c:pt>
                <c:pt idx="1581">
                  <c:v>41012</c:v>
                </c:pt>
                <c:pt idx="1582">
                  <c:v>41015</c:v>
                </c:pt>
                <c:pt idx="1583">
                  <c:v>41016</c:v>
                </c:pt>
                <c:pt idx="1584">
                  <c:v>41017</c:v>
                </c:pt>
                <c:pt idx="1585">
                  <c:v>41018</c:v>
                </c:pt>
                <c:pt idx="1586">
                  <c:v>41019</c:v>
                </c:pt>
                <c:pt idx="1587">
                  <c:v>41022</c:v>
                </c:pt>
                <c:pt idx="1588">
                  <c:v>41023</c:v>
                </c:pt>
                <c:pt idx="1589">
                  <c:v>41024</c:v>
                </c:pt>
                <c:pt idx="1590">
                  <c:v>41025</c:v>
                </c:pt>
                <c:pt idx="1591">
                  <c:v>41026</c:v>
                </c:pt>
                <c:pt idx="1592">
                  <c:v>41029</c:v>
                </c:pt>
                <c:pt idx="1593">
                  <c:v>41030</c:v>
                </c:pt>
                <c:pt idx="1594">
                  <c:v>41031</c:v>
                </c:pt>
                <c:pt idx="1595">
                  <c:v>41032</c:v>
                </c:pt>
                <c:pt idx="1596">
                  <c:v>41033</c:v>
                </c:pt>
                <c:pt idx="1597">
                  <c:v>41036</c:v>
                </c:pt>
                <c:pt idx="1598">
                  <c:v>41037</c:v>
                </c:pt>
                <c:pt idx="1599">
                  <c:v>41038</c:v>
                </c:pt>
                <c:pt idx="1600">
                  <c:v>41039</c:v>
                </c:pt>
                <c:pt idx="1601">
                  <c:v>41040</c:v>
                </c:pt>
                <c:pt idx="1602">
                  <c:v>41043</c:v>
                </c:pt>
                <c:pt idx="1603">
                  <c:v>41044</c:v>
                </c:pt>
                <c:pt idx="1604">
                  <c:v>41045</c:v>
                </c:pt>
                <c:pt idx="1605">
                  <c:v>41046</c:v>
                </c:pt>
                <c:pt idx="1606">
                  <c:v>41047</c:v>
                </c:pt>
                <c:pt idx="1607">
                  <c:v>41050</c:v>
                </c:pt>
                <c:pt idx="1608">
                  <c:v>41051</c:v>
                </c:pt>
                <c:pt idx="1609">
                  <c:v>41052</c:v>
                </c:pt>
                <c:pt idx="1610">
                  <c:v>41053</c:v>
                </c:pt>
                <c:pt idx="1611">
                  <c:v>41054</c:v>
                </c:pt>
                <c:pt idx="1612">
                  <c:v>41058</c:v>
                </c:pt>
                <c:pt idx="1613">
                  <c:v>41059</c:v>
                </c:pt>
                <c:pt idx="1614">
                  <c:v>41060</c:v>
                </c:pt>
                <c:pt idx="1615">
                  <c:v>41061</c:v>
                </c:pt>
                <c:pt idx="1616">
                  <c:v>41064</c:v>
                </c:pt>
                <c:pt idx="1617">
                  <c:v>41065</c:v>
                </c:pt>
                <c:pt idx="1618">
                  <c:v>41066</c:v>
                </c:pt>
                <c:pt idx="1619">
                  <c:v>41067</c:v>
                </c:pt>
                <c:pt idx="1620">
                  <c:v>41068</c:v>
                </c:pt>
                <c:pt idx="1621">
                  <c:v>41071</c:v>
                </c:pt>
                <c:pt idx="1622">
                  <c:v>41072</c:v>
                </c:pt>
                <c:pt idx="1623">
                  <c:v>41073</c:v>
                </c:pt>
                <c:pt idx="1624">
                  <c:v>41074</c:v>
                </c:pt>
                <c:pt idx="1625">
                  <c:v>41075</c:v>
                </c:pt>
                <c:pt idx="1626">
                  <c:v>41078</c:v>
                </c:pt>
                <c:pt idx="1627">
                  <c:v>41079</c:v>
                </c:pt>
                <c:pt idx="1628">
                  <c:v>41080</c:v>
                </c:pt>
                <c:pt idx="1629">
                  <c:v>41081</c:v>
                </c:pt>
                <c:pt idx="1630">
                  <c:v>41082</c:v>
                </c:pt>
                <c:pt idx="1631">
                  <c:v>41085</c:v>
                </c:pt>
                <c:pt idx="1632">
                  <c:v>41086</c:v>
                </c:pt>
                <c:pt idx="1633">
                  <c:v>41087</c:v>
                </c:pt>
                <c:pt idx="1634">
                  <c:v>41088</c:v>
                </c:pt>
                <c:pt idx="1635">
                  <c:v>41089</c:v>
                </c:pt>
                <c:pt idx="1636">
                  <c:v>41092</c:v>
                </c:pt>
                <c:pt idx="1637">
                  <c:v>41093</c:v>
                </c:pt>
                <c:pt idx="1638">
                  <c:v>41095</c:v>
                </c:pt>
                <c:pt idx="1639">
                  <c:v>41096</c:v>
                </c:pt>
                <c:pt idx="1640">
                  <c:v>41099</c:v>
                </c:pt>
                <c:pt idx="1641">
                  <c:v>41100</c:v>
                </c:pt>
                <c:pt idx="1642">
                  <c:v>41101</c:v>
                </c:pt>
                <c:pt idx="1643">
                  <c:v>41102</c:v>
                </c:pt>
                <c:pt idx="1644">
                  <c:v>41103</c:v>
                </c:pt>
                <c:pt idx="1645">
                  <c:v>41106</c:v>
                </c:pt>
                <c:pt idx="1646">
                  <c:v>41107</c:v>
                </c:pt>
                <c:pt idx="1647">
                  <c:v>41108</c:v>
                </c:pt>
                <c:pt idx="1648">
                  <c:v>41109</c:v>
                </c:pt>
                <c:pt idx="1649">
                  <c:v>41110</c:v>
                </c:pt>
                <c:pt idx="1650">
                  <c:v>41113</c:v>
                </c:pt>
                <c:pt idx="1651">
                  <c:v>41114</c:v>
                </c:pt>
                <c:pt idx="1652">
                  <c:v>41115</c:v>
                </c:pt>
                <c:pt idx="1653">
                  <c:v>41116</c:v>
                </c:pt>
                <c:pt idx="1654">
                  <c:v>41117</c:v>
                </c:pt>
                <c:pt idx="1655">
                  <c:v>41120</c:v>
                </c:pt>
                <c:pt idx="1656">
                  <c:v>41121</c:v>
                </c:pt>
                <c:pt idx="1657">
                  <c:v>41122</c:v>
                </c:pt>
                <c:pt idx="1658">
                  <c:v>41123</c:v>
                </c:pt>
                <c:pt idx="1659">
                  <c:v>41124</c:v>
                </c:pt>
                <c:pt idx="1660">
                  <c:v>41127</c:v>
                </c:pt>
                <c:pt idx="1661">
                  <c:v>41128</c:v>
                </c:pt>
                <c:pt idx="1662">
                  <c:v>41129</c:v>
                </c:pt>
                <c:pt idx="1663">
                  <c:v>41130</c:v>
                </c:pt>
                <c:pt idx="1664">
                  <c:v>41131</c:v>
                </c:pt>
                <c:pt idx="1665">
                  <c:v>41134</c:v>
                </c:pt>
                <c:pt idx="1666">
                  <c:v>41135</c:v>
                </c:pt>
                <c:pt idx="1667">
                  <c:v>41136</c:v>
                </c:pt>
                <c:pt idx="1668">
                  <c:v>41137</c:v>
                </c:pt>
                <c:pt idx="1669">
                  <c:v>41138</c:v>
                </c:pt>
                <c:pt idx="1670">
                  <c:v>41141</c:v>
                </c:pt>
                <c:pt idx="1671">
                  <c:v>41142</c:v>
                </c:pt>
                <c:pt idx="1672">
                  <c:v>41143</c:v>
                </c:pt>
                <c:pt idx="1673">
                  <c:v>41144</c:v>
                </c:pt>
                <c:pt idx="1674">
                  <c:v>41145</c:v>
                </c:pt>
                <c:pt idx="1675">
                  <c:v>41148</c:v>
                </c:pt>
                <c:pt idx="1676">
                  <c:v>41149</c:v>
                </c:pt>
                <c:pt idx="1677">
                  <c:v>41150</c:v>
                </c:pt>
                <c:pt idx="1678">
                  <c:v>41151</c:v>
                </c:pt>
                <c:pt idx="1679">
                  <c:v>41152</c:v>
                </c:pt>
                <c:pt idx="1680">
                  <c:v>41156</c:v>
                </c:pt>
                <c:pt idx="1681">
                  <c:v>41157</c:v>
                </c:pt>
                <c:pt idx="1682">
                  <c:v>41158</c:v>
                </c:pt>
                <c:pt idx="1683">
                  <c:v>41159</c:v>
                </c:pt>
                <c:pt idx="1684">
                  <c:v>41162</c:v>
                </c:pt>
                <c:pt idx="1685">
                  <c:v>41163</c:v>
                </c:pt>
                <c:pt idx="1686">
                  <c:v>41164</c:v>
                </c:pt>
                <c:pt idx="1687">
                  <c:v>41165</c:v>
                </c:pt>
                <c:pt idx="1688">
                  <c:v>41166</c:v>
                </c:pt>
                <c:pt idx="1689">
                  <c:v>41169</c:v>
                </c:pt>
                <c:pt idx="1690">
                  <c:v>41170</c:v>
                </c:pt>
                <c:pt idx="1691">
                  <c:v>41171</c:v>
                </c:pt>
                <c:pt idx="1692">
                  <c:v>41172</c:v>
                </c:pt>
                <c:pt idx="1693">
                  <c:v>41173</c:v>
                </c:pt>
                <c:pt idx="1694">
                  <c:v>41176</c:v>
                </c:pt>
                <c:pt idx="1695">
                  <c:v>41177</c:v>
                </c:pt>
                <c:pt idx="1696">
                  <c:v>41178</c:v>
                </c:pt>
                <c:pt idx="1697">
                  <c:v>41179</c:v>
                </c:pt>
                <c:pt idx="1698">
                  <c:v>41180</c:v>
                </c:pt>
                <c:pt idx="1699">
                  <c:v>41183</c:v>
                </c:pt>
                <c:pt idx="1700">
                  <c:v>41184</c:v>
                </c:pt>
                <c:pt idx="1701">
                  <c:v>41185</c:v>
                </c:pt>
                <c:pt idx="1702">
                  <c:v>41186</c:v>
                </c:pt>
                <c:pt idx="1703">
                  <c:v>41187</c:v>
                </c:pt>
                <c:pt idx="1704">
                  <c:v>41190</c:v>
                </c:pt>
                <c:pt idx="1705">
                  <c:v>41191</c:v>
                </c:pt>
                <c:pt idx="1706">
                  <c:v>41192</c:v>
                </c:pt>
                <c:pt idx="1707">
                  <c:v>41193</c:v>
                </c:pt>
                <c:pt idx="1708">
                  <c:v>41194</c:v>
                </c:pt>
                <c:pt idx="1709">
                  <c:v>41197</c:v>
                </c:pt>
                <c:pt idx="1710">
                  <c:v>41198</c:v>
                </c:pt>
                <c:pt idx="1711">
                  <c:v>41199</c:v>
                </c:pt>
                <c:pt idx="1712">
                  <c:v>41200</c:v>
                </c:pt>
                <c:pt idx="1713">
                  <c:v>41201</c:v>
                </c:pt>
                <c:pt idx="1714">
                  <c:v>41204</c:v>
                </c:pt>
                <c:pt idx="1715">
                  <c:v>41205</c:v>
                </c:pt>
                <c:pt idx="1716">
                  <c:v>41206</c:v>
                </c:pt>
                <c:pt idx="1717">
                  <c:v>41207</c:v>
                </c:pt>
                <c:pt idx="1718">
                  <c:v>41208</c:v>
                </c:pt>
                <c:pt idx="1719">
                  <c:v>41213</c:v>
                </c:pt>
                <c:pt idx="1720">
                  <c:v>41214</c:v>
                </c:pt>
                <c:pt idx="1721">
                  <c:v>41215</c:v>
                </c:pt>
                <c:pt idx="1722">
                  <c:v>41218</c:v>
                </c:pt>
                <c:pt idx="1723">
                  <c:v>41219</c:v>
                </c:pt>
                <c:pt idx="1724">
                  <c:v>41220</c:v>
                </c:pt>
                <c:pt idx="1725">
                  <c:v>41221</c:v>
                </c:pt>
                <c:pt idx="1726">
                  <c:v>41222</c:v>
                </c:pt>
                <c:pt idx="1727">
                  <c:v>41225</c:v>
                </c:pt>
                <c:pt idx="1728">
                  <c:v>41226</c:v>
                </c:pt>
                <c:pt idx="1729">
                  <c:v>41227</c:v>
                </c:pt>
                <c:pt idx="1730">
                  <c:v>41228</c:v>
                </c:pt>
                <c:pt idx="1731">
                  <c:v>41229</c:v>
                </c:pt>
                <c:pt idx="1732">
                  <c:v>41232</c:v>
                </c:pt>
                <c:pt idx="1733">
                  <c:v>41233</c:v>
                </c:pt>
                <c:pt idx="1734">
                  <c:v>41234</c:v>
                </c:pt>
                <c:pt idx="1735">
                  <c:v>41236</c:v>
                </c:pt>
                <c:pt idx="1736">
                  <c:v>41239</c:v>
                </c:pt>
                <c:pt idx="1737">
                  <c:v>41240</c:v>
                </c:pt>
                <c:pt idx="1738">
                  <c:v>41241</c:v>
                </c:pt>
                <c:pt idx="1739">
                  <c:v>41242</c:v>
                </c:pt>
                <c:pt idx="1740">
                  <c:v>41243</c:v>
                </c:pt>
                <c:pt idx="1741">
                  <c:v>41246</c:v>
                </c:pt>
                <c:pt idx="1742">
                  <c:v>41247</c:v>
                </c:pt>
                <c:pt idx="1743">
                  <c:v>41248</c:v>
                </c:pt>
                <c:pt idx="1744">
                  <c:v>41249</c:v>
                </c:pt>
                <c:pt idx="1745">
                  <c:v>41250</c:v>
                </c:pt>
                <c:pt idx="1746">
                  <c:v>41253</c:v>
                </c:pt>
                <c:pt idx="1747">
                  <c:v>41254</c:v>
                </c:pt>
                <c:pt idx="1748">
                  <c:v>41255</c:v>
                </c:pt>
                <c:pt idx="1749">
                  <c:v>41256</c:v>
                </c:pt>
                <c:pt idx="1750">
                  <c:v>41257</c:v>
                </c:pt>
                <c:pt idx="1751">
                  <c:v>41260</c:v>
                </c:pt>
                <c:pt idx="1752">
                  <c:v>41261</c:v>
                </c:pt>
                <c:pt idx="1753">
                  <c:v>41262</c:v>
                </c:pt>
                <c:pt idx="1754">
                  <c:v>41263</c:v>
                </c:pt>
                <c:pt idx="1755">
                  <c:v>41264</c:v>
                </c:pt>
                <c:pt idx="1756">
                  <c:v>41267</c:v>
                </c:pt>
                <c:pt idx="1757">
                  <c:v>41269</c:v>
                </c:pt>
                <c:pt idx="1758">
                  <c:v>41270</c:v>
                </c:pt>
                <c:pt idx="1759">
                  <c:v>41271</c:v>
                </c:pt>
                <c:pt idx="1760">
                  <c:v>41274</c:v>
                </c:pt>
                <c:pt idx="1761">
                  <c:v>41276</c:v>
                </c:pt>
                <c:pt idx="1762">
                  <c:v>41277</c:v>
                </c:pt>
                <c:pt idx="1763">
                  <c:v>41278</c:v>
                </c:pt>
                <c:pt idx="1764">
                  <c:v>41281</c:v>
                </c:pt>
                <c:pt idx="1765">
                  <c:v>41282</c:v>
                </c:pt>
                <c:pt idx="1766">
                  <c:v>41283</c:v>
                </c:pt>
                <c:pt idx="1767">
                  <c:v>41284</c:v>
                </c:pt>
                <c:pt idx="1768">
                  <c:v>41285</c:v>
                </c:pt>
                <c:pt idx="1769">
                  <c:v>41288</c:v>
                </c:pt>
                <c:pt idx="1770">
                  <c:v>41289</c:v>
                </c:pt>
                <c:pt idx="1771">
                  <c:v>41290</c:v>
                </c:pt>
                <c:pt idx="1772">
                  <c:v>41291</c:v>
                </c:pt>
                <c:pt idx="1773">
                  <c:v>41292</c:v>
                </c:pt>
                <c:pt idx="1774">
                  <c:v>41296</c:v>
                </c:pt>
                <c:pt idx="1775">
                  <c:v>41297</c:v>
                </c:pt>
                <c:pt idx="1776">
                  <c:v>41298</c:v>
                </c:pt>
                <c:pt idx="1777">
                  <c:v>41299</c:v>
                </c:pt>
                <c:pt idx="1778">
                  <c:v>41302</c:v>
                </c:pt>
                <c:pt idx="1779">
                  <c:v>41303</c:v>
                </c:pt>
                <c:pt idx="1780">
                  <c:v>41304</c:v>
                </c:pt>
                <c:pt idx="1781">
                  <c:v>41305</c:v>
                </c:pt>
                <c:pt idx="1782">
                  <c:v>41306</c:v>
                </c:pt>
                <c:pt idx="1783">
                  <c:v>41309</c:v>
                </c:pt>
                <c:pt idx="1784">
                  <c:v>41310</c:v>
                </c:pt>
                <c:pt idx="1785">
                  <c:v>41311</c:v>
                </c:pt>
                <c:pt idx="1786">
                  <c:v>41312</c:v>
                </c:pt>
                <c:pt idx="1787">
                  <c:v>41313</c:v>
                </c:pt>
                <c:pt idx="1788">
                  <c:v>41316</c:v>
                </c:pt>
                <c:pt idx="1789">
                  <c:v>41317</c:v>
                </c:pt>
                <c:pt idx="1790">
                  <c:v>41318</c:v>
                </c:pt>
                <c:pt idx="1791">
                  <c:v>41319</c:v>
                </c:pt>
                <c:pt idx="1792">
                  <c:v>41320</c:v>
                </c:pt>
                <c:pt idx="1793">
                  <c:v>41324</c:v>
                </c:pt>
                <c:pt idx="1794">
                  <c:v>41325</c:v>
                </c:pt>
                <c:pt idx="1795">
                  <c:v>41326</c:v>
                </c:pt>
                <c:pt idx="1796">
                  <c:v>41327</c:v>
                </c:pt>
                <c:pt idx="1797">
                  <c:v>41330</c:v>
                </c:pt>
                <c:pt idx="1798">
                  <c:v>41331</c:v>
                </c:pt>
                <c:pt idx="1799">
                  <c:v>41332</c:v>
                </c:pt>
                <c:pt idx="1800">
                  <c:v>41333</c:v>
                </c:pt>
                <c:pt idx="1801">
                  <c:v>41334</c:v>
                </c:pt>
                <c:pt idx="1802">
                  <c:v>41337</c:v>
                </c:pt>
                <c:pt idx="1803">
                  <c:v>41338</c:v>
                </c:pt>
                <c:pt idx="1804">
                  <c:v>41339</c:v>
                </c:pt>
                <c:pt idx="1805">
                  <c:v>41340</c:v>
                </c:pt>
                <c:pt idx="1806">
                  <c:v>41341</c:v>
                </c:pt>
                <c:pt idx="1807">
                  <c:v>41344</c:v>
                </c:pt>
                <c:pt idx="1808">
                  <c:v>41345</c:v>
                </c:pt>
                <c:pt idx="1809">
                  <c:v>41346</c:v>
                </c:pt>
                <c:pt idx="1810">
                  <c:v>41347</c:v>
                </c:pt>
                <c:pt idx="1811">
                  <c:v>41348</c:v>
                </c:pt>
                <c:pt idx="1812">
                  <c:v>41351</c:v>
                </c:pt>
                <c:pt idx="1813">
                  <c:v>41352</c:v>
                </c:pt>
                <c:pt idx="1814">
                  <c:v>41353</c:v>
                </c:pt>
                <c:pt idx="1815">
                  <c:v>41354</c:v>
                </c:pt>
                <c:pt idx="1816">
                  <c:v>41355</c:v>
                </c:pt>
                <c:pt idx="1817">
                  <c:v>41358</c:v>
                </c:pt>
                <c:pt idx="1818">
                  <c:v>41359</c:v>
                </c:pt>
                <c:pt idx="1819">
                  <c:v>41360</c:v>
                </c:pt>
                <c:pt idx="1820">
                  <c:v>41361</c:v>
                </c:pt>
                <c:pt idx="1821">
                  <c:v>41365</c:v>
                </c:pt>
                <c:pt idx="1822">
                  <c:v>41366</c:v>
                </c:pt>
                <c:pt idx="1823">
                  <c:v>41367</c:v>
                </c:pt>
                <c:pt idx="1824">
                  <c:v>41368</c:v>
                </c:pt>
                <c:pt idx="1825">
                  <c:v>41369</c:v>
                </c:pt>
                <c:pt idx="1826">
                  <c:v>41372</c:v>
                </c:pt>
                <c:pt idx="1827">
                  <c:v>41373</c:v>
                </c:pt>
                <c:pt idx="1828">
                  <c:v>41374</c:v>
                </c:pt>
                <c:pt idx="1829">
                  <c:v>41375</c:v>
                </c:pt>
                <c:pt idx="1830">
                  <c:v>41376</c:v>
                </c:pt>
                <c:pt idx="1831">
                  <c:v>41379</c:v>
                </c:pt>
                <c:pt idx="1832">
                  <c:v>41380</c:v>
                </c:pt>
                <c:pt idx="1833">
                  <c:v>41381</c:v>
                </c:pt>
                <c:pt idx="1834">
                  <c:v>41382</c:v>
                </c:pt>
                <c:pt idx="1835">
                  <c:v>41383</c:v>
                </c:pt>
                <c:pt idx="1836">
                  <c:v>41386</c:v>
                </c:pt>
                <c:pt idx="1837">
                  <c:v>41387</c:v>
                </c:pt>
                <c:pt idx="1838">
                  <c:v>41388</c:v>
                </c:pt>
                <c:pt idx="1839">
                  <c:v>41389</c:v>
                </c:pt>
                <c:pt idx="1840">
                  <c:v>41390</c:v>
                </c:pt>
                <c:pt idx="1841">
                  <c:v>41393</c:v>
                </c:pt>
                <c:pt idx="1842">
                  <c:v>41394</c:v>
                </c:pt>
                <c:pt idx="1843">
                  <c:v>41395</c:v>
                </c:pt>
                <c:pt idx="1844">
                  <c:v>41396</c:v>
                </c:pt>
                <c:pt idx="1845">
                  <c:v>41397</c:v>
                </c:pt>
                <c:pt idx="1846">
                  <c:v>41400</c:v>
                </c:pt>
                <c:pt idx="1847">
                  <c:v>41401</c:v>
                </c:pt>
                <c:pt idx="1848">
                  <c:v>41402</c:v>
                </c:pt>
                <c:pt idx="1849">
                  <c:v>41403</c:v>
                </c:pt>
                <c:pt idx="1850">
                  <c:v>41404</c:v>
                </c:pt>
                <c:pt idx="1851">
                  <c:v>41407</c:v>
                </c:pt>
                <c:pt idx="1852">
                  <c:v>41408</c:v>
                </c:pt>
                <c:pt idx="1853">
                  <c:v>41409</c:v>
                </c:pt>
                <c:pt idx="1854">
                  <c:v>41410</c:v>
                </c:pt>
                <c:pt idx="1855">
                  <c:v>41411</c:v>
                </c:pt>
                <c:pt idx="1856">
                  <c:v>41414</c:v>
                </c:pt>
                <c:pt idx="1857">
                  <c:v>41415</c:v>
                </c:pt>
                <c:pt idx="1858">
                  <c:v>41416</c:v>
                </c:pt>
                <c:pt idx="1859">
                  <c:v>41417</c:v>
                </c:pt>
                <c:pt idx="1860">
                  <c:v>41418</c:v>
                </c:pt>
                <c:pt idx="1861">
                  <c:v>41422</c:v>
                </c:pt>
                <c:pt idx="1862">
                  <c:v>41423</c:v>
                </c:pt>
                <c:pt idx="1863">
                  <c:v>41424</c:v>
                </c:pt>
                <c:pt idx="1864">
                  <c:v>41425</c:v>
                </c:pt>
                <c:pt idx="1865">
                  <c:v>41428</c:v>
                </c:pt>
                <c:pt idx="1866">
                  <c:v>41429</c:v>
                </c:pt>
                <c:pt idx="1867">
                  <c:v>41430</c:v>
                </c:pt>
                <c:pt idx="1868">
                  <c:v>41431</c:v>
                </c:pt>
                <c:pt idx="1869">
                  <c:v>41432</c:v>
                </c:pt>
                <c:pt idx="1870">
                  <c:v>41435</c:v>
                </c:pt>
                <c:pt idx="1871">
                  <c:v>41436</c:v>
                </c:pt>
                <c:pt idx="1872">
                  <c:v>41437</c:v>
                </c:pt>
                <c:pt idx="1873">
                  <c:v>41438</c:v>
                </c:pt>
                <c:pt idx="1874">
                  <c:v>41439</c:v>
                </c:pt>
                <c:pt idx="1875">
                  <c:v>41442</c:v>
                </c:pt>
                <c:pt idx="1876">
                  <c:v>41443</c:v>
                </c:pt>
                <c:pt idx="1877">
                  <c:v>41444</c:v>
                </c:pt>
                <c:pt idx="1878">
                  <c:v>41445</c:v>
                </c:pt>
                <c:pt idx="1879">
                  <c:v>41446</c:v>
                </c:pt>
                <c:pt idx="1880">
                  <c:v>41449</c:v>
                </c:pt>
                <c:pt idx="1881">
                  <c:v>41450</c:v>
                </c:pt>
                <c:pt idx="1882">
                  <c:v>41451</c:v>
                </c:pt>
                <c:pt idx="1883">
                  <c:v>41452</c:v>
                </c:pt>
                <c:pt idx="1884">
                  <c:v>41453</c:v>
                </c:pt>
                <c:pt idx="1885">
                  <c:v>41456</c:v>
                </c:pt>
                <c:pt idx="1886">
                  <c:v>41457</c:v>
                </c:pt>
                <c:pt idx="1887">
                  <c:v>41458</c:v>
                </c:pt>
                <c:pt idx="1888">
                  <c:v>41460</c:v>
                </c:pt>
                <c:pt idx="1889">
                  <c:v>41463</c:v>
                </c:pt>
                <c:pt idx="1890">
                  <c:v>41464</c:v>
                </c:pt>
                <c:pt idx="1891">
                  <c:v>41465</c:v>
                </c:pt>
                <c:pt idx="1892">
                  <c:v>41466</c:v>
                </c:pt>
                <c:pt idx="1893">
                  <c:v>41467</c:v>
                </c:pt>
                <c:pt idx="1894">
                  <c:v>41470</c:v>
                </c:pt>
                <c:pt idx="1895">
                  <c:v>41471</c:v>
                </c:pt>
                <c:pt idx="1896">
                  <c:v>41472</c:v>
                </c:pt>
                <c:pt idx="1897">
                  <c:v>41473</c:v>
                </c:pt>
                <c:pt idx="1898">
                  <c:v>41474</c:v>
                </c:pt>
                <c:pt idx="1899">
                  <c:v>41477</c:v>
                </c:pt>
                <c:pt idx="1900">
                  <c:v>41478</c:v>
                </c:pt>
                <c:pt idx="1901">
                  <c:v>41479</c:v>
                </c:pt>
                <c:pt idx="1902">
                  <c:v>41480</c:v>
                </c:pt>
                <c:pt idx="1903">
                  <c:v>41481</c:v>
                </c:pt>
                <c:pt idx="1904">
                  <c:v>41484</c:v>
                </c:pt>
                <c:pt idx="1905">
                  <c:v>41485</c:v>
                </c:pt>
                <c:pt idx="1906">
                  <c:v>41486</c:v>
                </c:pt>
                <c:pt idx="1907">
                  <c:v>41487</c:v>
                </c:pt>
                <c:pt idx="1908">
                  <c:v>41488</c:v>
                </c:pt>
                <c:pt idx="1909">
                  <c:v>41491</c:v>
                </c:pt>
                <c:pt idx="1910">
                  <c:v>41492</c:v>
                </c:pt>
                <c:pt idx="1911">
                  <c:v>41493</c:v>
                </c:pt>
                <c:pt idx="1912">
                  <c:v>41494</c:v>
                </c:pt>
                <c:pt idx="1913">
                  <c:v>41495</c:v>
                </c:pt>
                <c:pt idx="1914">
                  <c:v>41498</c:v>
                </c:pt>
                <c:pt idx="1915">
                  <c:v>41499</c:v>
                </c:pt>
                <c:pt idx="1916">
                  <c:v>41500</c:v>
                </c:pt>
                <c:pt idx="1917">
                  <c:v>41501</c:v>
                </c:pt>
                <c:pt idx="1918">
                  <c:v>41502</c:v>
                </c:pt>
                <c:pt idx="1919">
                  <c:v>41505</c:v>
                </c:pt>
                <c:pt idx="1920">
                  <c:v>41506</c:v>
                </c:pt>
                <c:pt idx="1921">
                  <c:v>41507</c:v>
                </c:pt>
                <c:pt idx="1922">
                  <c:v>41508</c:v>
                </c:pt>
                <c:pt idx="1923">
                  <c:v>41509</c:v>
                </c:pt>
                <c:pt idx="1924">
                  <c:v>41512</c:v>
                </c:pt>
                <c:pt idx="1925">
                  <c:v>41513</c:v>
                </c:pt>
                <c:pt idx="1926">
                  <c:v>41514</c:v>
                </c:pt>
                <c:pt idx="1927">
                  <c:v>41515</c:v>
                </c:pt>
                <c:pt idx="1928">
                  <c:v>41516</c:v>
                </c:pt>
                <c:pt idx="1929">
                  <c:v>41520</c:v>
                </c:pt>
                <c:pt idx="1930">
                  <c:v>41521</c:v>
                </c:pt>
                <c:pt idx="1931">
                  <c:v>41522</c:v>
                </c:pt>
                <c:pt idx="1932">
                  <c:v>41523</c:v>
                </c:pt>
                <c:pt idx="1933">
                  <c:v>41526</c:v>
                </c:pt>
                <c:pt idx="1934">
                  <c:v>41527</c:v>
                </c:pt>
                <c:pt idx="1935">
                  <c:v>41528</c:v>
                </c:pt>
                <c:pt idx="1936">
                  <c:v>41529</c:v>
                </c:pt>
                <c:pt idx="1937">
                  <c:v>41530</c:v>
                </c:pt>
                <c:pt idx="1938">
                  <c:v>41533</c:v>
                </c:pt>
                <c:pt idx="1939">
                  <c:v>41534</c:v>
                </c:pt>
                <c:pt idx="1940">
                  <c:v>41535</c:v>
                </c:pt>
                <c:pt idx="1941">
                  <c:v>41536</c:v>
                </c:pt>
                <c:pt idx="1942">
                  <c:v>41537</c:v>
                </c:pt>
                <c:pt idx="1943">
                  <c:v>41540</c:v>
                </c:pt>
                <c:pt idx="1944">
                  <c:v>41541</c:v>
                </c:pt>
                <c:pt idx="1945">
                  <c:v>41542</c:v>
                </c:pt>
                <c:pt idx="1946">
                  <c:v>41543</c:v>
                </c:pt>
                <c:pt idx="1947">
                  <c:v>41544</c:v>
                </c:pt>
                <c:pt idx="1948">
                  <c:v>41547</c:v>
                </c:pt>
                <c:pt idx="1949">
                  <c:v>41548</c:v>
                </c:pt>
                <c:pt idx="1950">
                  <c:v>41549</c:v>
                </c:pt>
                <c:pt idx="1951">
                  <c:v>41550</c:v>
                </c:pt>
                <c:pt idx="1952">
                  <c:v>41551</c:v>
                </c:pt>
                <c:pt idx="1953">
                  <c:v>41554</c:v>
                </c:pt>
                <c:pt idx="1954">
                  <c:v>41555</c:v>
                </c:pt>
                <c:pt idx="1955">
                  <c:v>41556</c:v>
                </c:pt>
                <c:pt idx="1956">
                  <c:v>41557</c:v>
                </c:pt>
                <c:pt idx="1957">
                  <c:v>41558</c:v>
                </c:pt>
                <c:pt idx="1958">
                  <c:v>41561</c:v>
                </c:pt>
                <c:pt idx="1959">
                  <c:v>41562</c:v>
                </c:pt>
                <c:pt idx="1960">
                  <c:v>41563</c:v>
                </c:pt>
                <c:pt idx="1961">
                  <c:v>41564</c:v>
                </c:pt>
                <c:pt idx="1962">
                  <c:v>41565</c:v>
                </c:pt>
                <c:pt idx="1963">
                  <c:v>41568</c:v>
                </c:pt>
                <c:pt idx="1964">
                  <c:v>41569</c:v>
                </c:pt>
                <c:pt idx="1965">
                  <c:v>41570</c:v>
                </c:pt>
                <c:pt idx="1966">
                  <c:v>41571</c:v>
                </c:pt>
                <c:pt idx="1967">
                  <c:v>41572</c:v>
                </c:pt>
                <c:pt idx="1968">
                  <c:v>41575</c:v>
                </c:pt>
                <c:pt idx="1969">
                  <c:v>41576</c:v>
                </c:pt>
                <c:pt idx="1970">
                  <c:v>41577</c:v>
                </c:pt>
                <c:pt idx="1971">
                  <c:v>41578</c:v>
                </c:pt>
                <c:pt idx="1972">
                  <c:v>41579</c:v>
                </c:pt>
                <c:pt idx="1973">
                  <c:v>41582</c:v>
                </c:pt>
                <c:pt idx="1974">
                  <c:v>41583</c:v>
                </c:pt>
                <c:pt idx="1975">
                  <c:v>41584</c:v>
                </c:pt>
                <c:pt idx="1976">
                  <c:v>41585</c:v>
                </c:pt>
                <c:pt idx="1977">
                  <c:v>41586</c:v>
                </c:pt>
                <c:pt idx="1978">
                  <c:v>41589</c:v>
                </c:pt>
                <c:pt idx="1979">
                  <c:v>41590</c:v>
                </c:pt>
                <c:pt idx="1980">
                  <c:v>41591</c:v>
                </c:pt>
                <c:pt idx="1981">
                  <c:v>41592</c:v>
                </c:pt>
                <c:pt idx="1982">
                  <c:v>41593</c:v>
                </c:pt>
                <c:pt idx="1983">
                  <c:v>41596</c:v>
                </c:pt>
                <c:pt idx="1984">
                  <c:v>41597</c:v>
                </c:pt>
                <c:pt idx="1985">
                  <c:v>41598</c:v>
                </c:pt>
                <c:pt idx="1986">
                  <c:v>41599</c:v>
                </c:pt>
                <c:pt idx="1987">
                  <c:v>41600</c:v>
                </c:pt>
                <c:pt idx="1988">
                  <c:v>41603</c:v>
                </c:pt>
                <c:pt idx="1989">
                  <c:v>41604</c:v>
                </c:pt>
                <c:pt idx="1990">
                  <c:v>41605</c:v>
                </c:pt>
                <c:pt idx="1991">
                  <c:v>41607</c:v>
                </c:pt>
                <c:pt idx="1992">
                  <c:v>41610</c:v>
                </c:pt>
                <c:pt idx="1993">
                  <c:v>41611</c:v>
                </c:pt>
                <c:pt idx="1994">
                  <c:v>41612</c:v>
                </c:pt>
                <c:pt idx="1995">
                  <c:v>41613</c:v>
                </c:pt>
                <c:pt idx="1996">
                  <c:v>41614</c:v>
                </c:pt>
                <c:pt idx="1997">
                  <c:v>41617</c:v>
                </c:pt>
                <c:pt idx="1998">
                  <c:v>41618</c:v>
                </c:pt>
                <c:pt idx="1999">
                  <c:v>41619</c:v>
                </c:pt>
                <c:pt idx="2000">
                  <c:v>41620</c:v>
                </c:pt>
                <c:pt idx="2001">
                  <c:v>41621</c:v>
                </c:pt>
                <c:pt idx="2002">
                  <c:v>41624</c:v>
                </c:pt>
                <c:pt idx="2003">
                  <c:v>41625</c:v>
                </c:pt>
                <c:pt idx="2004">
                  <c:v>41626</c:v>
                </c:pt>
                <c:pt idx="2005">
                  <c:v>41627</c:v>
                </c:pt>
                <c:pt idx="2006">
                  <c:v>41628</c:v>
                </c:pt>
                <c:pt idx="2007">
                  <c:v>41631</c:v>
                </c:pt>
                <c:pt idx="2008">
                  <c:v>41632</c:v>
                </c:pt>
                <c:pt idx="2009">
                  <c:v>41634</c:v>
                </c:pt>
                <c:pt idx="2010">
                  <c:v>41635</c:v>
                </c:pt>
                <c:pt idx="2011">
                  <c:v>41638</c:v>
                </c:pt>
                <c:pt idx="2012">
                  <c:v>41639</c:v>
                </c:pt>
                <c:pt idx="2013">
                  <c:v>41641</c:v>
                </c:pt>
                <c:pt idx="2014">
                  <c:v>41642</c:v>
                </c:pt>
                <c:pt idx="2015">
                  <c:v>41645</c:v>
                </c:pt>
                <c:pt idx="2016">
                  <c:v>41646</c:v>
                </c:pt>
                <c:pt idx="2017">
                  <c:v>41647</c:v>
                </c:pt>
                <c:pt idx="2018">
                  <c:v>41648</c:v>
                </c:pt>
                <c:pt idx="2019">
                  <c:v>41649</c:v>
                </c:pt>
                <c:pt idx="2020">
                  <c:v>41652</c:v>
                </c:pt>
                <c:pt idx="2021">
                  <c:v>41653</c:v>
                </c:pt>
                <c:pt idx="2022">
                  <c:v>41654</c:v>
                </c:pt>
                <c:pt idx="2023">
                  <c:v>41655</c:v>
                </c:pt>
                <c:pt idx="2024">
                  <c:v>41656</c:v>
                </c:pt>
                <c:pt idx="2025">
                  <c:v>41660</c:v>
                </c:pt>
                <c:pt idx="2026">
                  <c:v>41661</c:v>
                </c:pt>
                <c:pt idx="2027">
                  <c:v>41662</c:v>
                </c:pt>
                <c:pt idx="2028">
                  <c:v>41663</c:v>
                </c:pt>
                <c:pt idx="2029">
                  <c:v>41666</c:v>
                </c:pt>
                <c:pt idx="2030">
                  <c:v>41667</c:v>
                </c:pt>
                <c:pt idx="2031">
                  <c:v>41668</c:v>
                </c:pt>
                <c:pt idx="2032">
                  <c:v>41669</c:v>
                </c:pt>
                <c:pt idx="2033">
                  <c:v>41670</c:v>
                </c:pt>
                <c:pt idx="2034">
                  <c:v>41673</c:v>
                </c:pt>
                <c:pt idx="2035">
                  <c:v>41674</c:v>
                </c:pt>
                <c:pt idx="2036">
                  <c:v>41675</c:v>
                </c:pt>
                <c:pt idx="2037">
                  <c:v>41676</c:v>
                </c:pt>
                <c:pt idx="2038">
                  <c:v>41677</c:v>
                </c:pt>
                <c:pt idx="2039">
                  <c:v>41680</c:v>
                </c:pt>
                <c:pt idx="2040">
                  <c:v>41681</c:v>
                </c:pt>
                <c:pt idx="2041">
                  <c:v>41682</c:v>
                </c:pt>
                <c:pt idx="2042">
                  <c:v>41683</c:v>
                </c:pt>
                <c:pt idx="2043">
                  <c:v>41684</c:v>
                </c:pt>
                <c:pt idx="2044">
                  <c:v>41688</c:v>
                </c:pt>
                <c:pt idx="2045">
                  <c:v>41689</c:v>
                </c:pt>
                <c:pt idx="2046">
                  <c:v>41690</c:v>
                </c:pt>
                <c:pt idx="2047">
                  <c:v>41691</c:v>
                </c:pt>
                <c:pt idx="2048">
                  <c:v>41694</c:v>
                </c:pt>
                <c:pt idx="2049">
                  <c:v>41695</c:v>
                </c:pt>
                <c:pt idx="2050">
                  <c:v>41696</c:v>
                </c:pt>
                <c:pt idx="2051">
                  <c:v>41697</c:v>
                </c:pt>
                <c:pt idx="2052">
                  <c:v>41698</c:v>
                </c:pt>
                <c:pt idx="2053">
                  <c:v>41701</c:v>
                </c:pt>
                <c:pt idx="2054">
                  <c:v>41702</c:v>
                </c:pt>
                <c:pt idx="2055">
                  <c:v>41703</c:v>
                </c:pt>
                <c:pt idx="2056">
                  <c:v>41704</c:v>
                </c:pt>
                <c:pt idx="2057">
                  <c:v>41705</c:v>
                </c:pt>
                <c:pt idx="2058">
                  <c:v>41708</c:v>
                </c:pt>
                <c:pt idx="2059">
                  <c:v>41709</c:v>
                </c:pt>
                <c:pt idx="2060">
                  <c:v>41710</c:v>
                </c:pt>
                <c:pt idx="2061">
                  <c:v>41711</c:v>
                </c:pt>
                <c:pt idx="2062">
                  <c:v>41712</c:v>
                </c:pt>
                <c:pt idx="2063">
                  <c:v>41715</c:v>
                </c:pt>
                <c:pt idx="2064">
                  <c:v>41716</c:v>
                </c:pt>
                <c:pt idx="2065">
                  <c:v>41717</c:v>
                </c:pt>
                <c:pt idx="2066">
                  <c:v>41718</c:v>
                </c:pt>
                <c:pt idx="2067">
                  <c:v>41719</c:v>
                </c:pt>
                <c:pt idx="2068">
                  <c:v>41722</c:v>
                </c:pt>
                <c:pt idx="2069">
                  <c:v>41723</c:v>
                </c:pt>
                <c:pt idx="2070">
                  <c:v>41724</c:v>
                </c:pt>
                <c:pt idx="2071">
                  <c:v>41725</c:v>
                </c:pt>
                <c:pt idx="2072">
                  <c:v>41726</c:v>
                </c:pt>
                <c:pt idx="2073">
                  <c:v>41729</c:v>
                </c:pt>
                <c:pt idx="2074">
                  <c:v>41730</c:v>
                </c:pt>
                <c:pt idx="2075">
                  <c:v>41731</c:v>
                </c:pt>
                <c:pt idx="2076">
                  <c:v>41732</c:v>
                </c:pt>
                <c:pt idx="2077">
                  <c:v>41733</c:v>
                </c:pt>
                <c:pt idx="2078">
                  <c:v>41736</c:v>
                </c:pt>
                <c:pt idx="2079">
                  <c:v>41737</c:v>
                </c:pt>
                <c:pt idx="2080">
                  <c:v>41738</c:v>
                </c:pt>
                <c:pt idx="2081">
                  <c:v>41739</c:v>
                </c:pt>
                <c:pt idx="2082">
                  <c:v>41740</c:v>
                </c:pt>
                <c:pt idx="2083">
                  <c:v>41743</c:v>
                </c:pt>
                <c:pt idx="2084">
                  <c:v>41744</c:v>
                </c:pt>
                <c:pt idx="2085">
                  <c:v>41745</c:v>
                </c:pt>
                <c:pt idx="2086">
                  <c:v>41746</c:v>
                </c:pt>
                <c:pt idx="2087">
                  <c:v>41750</c:v>
                </c:pt>
                <c:pt idx="2088">
                  <c:v>41751</c:v>
                </c:pt>
                <c:pt idx="2089">
                  <c:v>41752</c:v>
                </c:pt>
                <c:pt idx="2090">
                  <c:v>41753</c:v>
                </c:pt>
                <c:pt idx="2091">
                  <c:v>41754</c:v>
                </c:pt>
                <c:pt idx="2092">
                  <c:v>41757</c:v>
                </c:pt>
                <c:pt idx="2093">
                  <c:v>41758</c:v>
                </c:pt>
                <c:pt idx="2094">
                  <c:v>41759</c:v>
                </c:pt>
                <c:pt idx="2095">
                  <c:v>41760</c:v>
                </c:pt>
                <c:pt idx="2096">
                  <c:v>41761</c:v>
                </c:pt>
                <c:pt idx="2097">
                  <c:v>41764</c:v>
                </c:pt>
                <c:pt idx="2098">
                  <c:v>41765</c:v>
                </c:pt>
                <c:pt idx="2099">
                  <c:v>41766</c:v>
                </c:pt>
                <c:pt idx="2100">
                  <c:v>41767</c:v>
                </c:pt>
                <c:pt idx="2101">
                  <c:v>41768</c:v>
                </c:pt>
                <c:pt idx="2102">
                  <c:v>41771</c:v>
                </c:pt>
                <c:pt idx="2103">
                  <c:v>41772</c:v>
                </c:pt>
                <c:pt idx="2104">
                  <c:v>41773</c:v>
                </c:pt>
                <c:pt idx="2105">
                  <c:v>41774</c:v>
                </c:pt>
                <c:pt idx="2106">
                  <c:v>41775</c:v>
                </c:pt>
                <c:pt idx="2107">
                  <c:v>41778</c:v>
                </c:pt>
                <c:pt idx="2108">
                  <c:v>41779</c:v>
                </c:pt>
                <c:pt idx="2109">
                  <c:v>41780</c:v>
                </c:pt>
                <c:pt idx="2110">
                  <c:v>41781</c:v>
                </c:pt>
                <c:pt idx="2111">
                  <c:v>41782</c:v>
                </c:pt>
                <c:pt idx="2112">
                  <c:v>41786</c:v>
                </c:pt>
                <c:pt idx="2113">
                  <c:v>41787</c:v>
                </c:pt>
                <c:pt idx="2114">
                  <c:v>41788</c:v>
                </c:pt>
                <c:pt idx="2115">
                  <c:v>41789</c:v>
                </c:pt>
                <c:pt idx="2116">
                  <c:v>41792</c:v>
                </c:pt>
                <c:pt idx="2117">
                  <c:v>41793</c:v>
                </c:pt>
                <c:pt idx="2118">
                  <c:v>41794</c:v>
                </c:pt>
                <c:pt idx="2119">
                  <c:v>41795</c:v>
                </c:pt>
                <c:pt idx="2120">
                  <c:v>41796</c:v>
                </c:pt>
                <c:pt idx="2121">
                  <c:v>41799</c:v>
                </c:pt>
                <c:pt idx="2122">
                  <c:v>41800</c:v>
                </c:pt>
                <c:pt idx="2123">
                  <c:v>41801</c:v>
                </c:pt>
                <c:pt idx="2124">
                  <c:v>41802</c:v>
                </c:pt>
                <c:pt idx="2125">
                  <c:v>41803</c:v>
                </c:pt>
                <c:pt idx="2126">
                  <c:v>41806</c:v>
                </c:pt>
                <c:pt idx="2127">
                  <c:v>41807</c:v>
                </c:pt>
                <c:pt idx="2128">
                  <c:v>41808</c:v>
                </c:pt>
                <c:pt idx="2129">
                  <c:v>41809</c:v>
                </c:pt>
                <c:pt idx="2130">
                  <c:v>41810</c:v>
                </c:pt>
                <c:pt idx="2131">
                  <c:v>41813</c:v>
                </c:pt>
                <c:pt idx="2132">
                  <c:v>41814</c:v>
                </c:pt>
                <c:pt idx="2133">
                  <c:v>41815</c:v>
                </c:pt>
                <c:pt idx="2134">
                  <c:v>41816</c:v>
                </c:pt>
                <c:pt idx="2135">
                  <c:v>41817</c:v>
                </c:pt>
                <c:pt idx="2136">
                  <c:v>41820</c:v>
                </c:pt>
                <c:pt idx="2137">
                  <c:v>41821</c:v>
                </c:pt>
                <c:pt idx="2138">
                  <c:v>41822</c:v>
                </c:pt>
                <c:pt idx="2139">
                  <c:v>41823</c:v>
                </c:pt>
                <c:pt idx="2140">
                  <c:v>41827</c:v>
                </c:pt>
                <c:pt idx="2141">
                  <c:v>41828</c:v>
                </c:pt>
                <c:pt idx="2142">
                  <c:v>41829</c:v>
                </c:pt>
                <c:pt idx="2143">
                  <c:v>41830</c:v>
                </c:pt>
                <c:pt idx="2144">
                  <c:v>41831</c:v>
                </c:pt>
                <c:pt idx="2145">
                  <c:v>41834</c:v>
                </c:pt>
                <c:pt idx="2146">
                  <c:v>41835</c:v>
                </c:pt>
                <c:pt idx="2147">
                  <c:v>41836</c:v>
                </c:pt>
                <c:pt idx="2148">
                  <c:v>41837</c:v>
                </c:pt>
                <c:pt idx="2149">
                  <c:v>41838</c:v>
                </c:pt>
                <c:pt idx="2150">
                  <c:v>41841</c:v>
                </c:pt>
                <c:pt idx="2151">
                  <c:v>41842</c:v>
                </c:pt>
                <c:pt idx="2152">
                  <c:v>41843</c:v>
                </c:pt>
                <c:pt idx="2153">
                  <c:v>41844</c:v>
                </c:pt>
                <c:pt idx="2154">
                  <c:v>41845</c:v>
                </c:pt>
                <c:pt idx="2155">
                  <c:v>41848</c:v>
                </c:pt>
                <c:pt idx="2156">
                  <c:v>41849</c:v>
                </c:pt>
                <c:pt idx="2157">
                  <c:v>41850</c:v>
                </c:pt>
                <c:pt idx="2158">
                  <c:v>41851</c:v>
                </c:pt>
                <c:pt idx="2159">
                  <c:v>41852</c:v>
                </c:pt>
                <c:pt idx="2160">
                  <c:v>41855</c:v>
                </c:pt>
                <c:pt idx="2161">
                  <c:v>41856</c:v>
                </c:pt>
                <c:pt idx="2162">
                  <c:v>41857</c:v>
                </c:pt>
                <c:pt idx="2163">
                  <c:v>41858</c:v>
                </c:pt>
                <c:pt idx="2164">
                  <c:v>41859</c:v>
                </c:pt>
                <c:pt idx="2165">
                  <c:v>41862</c:v>
                </c:pt>
                <c:pt idx="2166">
                  <c:v>41863</c:v>
                </c:pt>
                <c:pt idx="2167">
                  <c:v>41864</c:v>
                </c:pt>
                <c:pt idx="2168">
                  <c:v>41865</c:v>
                </c:pt>
                <c:pt idx="2169">
                  <c:v>41866</c:v>
                </c:pt>
                <c:pt idx="2170">
                  <c:v>41869</c:v>
                </c:pt>
                <c:pt idx="2171">
                  <c:v>41870</c:v>
                </c:pt>
                <c:pt idx="2172">
                  <c:v>41871</c:v>
                </c:pt>
                <c:pt idx="2173">
                  <c:v>41872</c:v>
                </c:pt>
                <c:pt idx="2174">
                  <c:v>41873</c:v>
                </c:pt>
                <c:pt idx="2175">
                  <c:v>41876</c:v>
                </c:pt>
                <c:pt idx="2176">
                  <c:v>41877</c:v>
                </c:pt>
                <c:pt idx="2177">
                  <c:v>41878</c:v>
                </c:pt>
                <c:pt idx="2178">
                  <c:v>41879</c:v>
                </c:pt>
                <c:pt idx="2179">
                  <c:v>41880</c:v>
                </c:pt>
                <c:pt idx="2180">
                  <c:v>41884</c:v>
                </c:pt>
                <c:pt idx="2181">
                  <c:v>41885</c:v>
                </c:pt>
                <c:pt idx="2182">
                  <c:v>41886</c:v>
                </c:pt>
                <c:pt idx="2183">
                  <c:v>41887</c:v>
                </c:pt>
                <c:pt idx="2184">
                  <c:v>41890</c:v>
                </c:pt>
                <c:pt idx="2185">
                  <c:v>41891</c:v>
                </c:pt>
                <c:pt idx="2186">
                  <c:v>41892</c:v>
                </c:pt>
                <c:pt idx="2187">
                  <c:v>41893</c:v>
                </c:pt>
                <c:pt idx="2188">
                  <c:v>41894</c:v>
                </c:pt>
                <c:pt idx="2189">
                  <c:v>41897</c:v>
                </c:pt>
                <c:pt idx="2190">
                  <c:v>41898</c:v>
                </c:pt>
                <c:pt idx="2191">
                  <c:v>41899</c:v>
                </c:pt>
                <c:pt idx="2192">
                  <c:v>41900</c:v>
                </c:pt>
                <c:pt idx="2193">
                  <c:v>41901</c:v>
                </c:pt>
                <c:pt idx="2194">
                  <c:v>41904</c:v>
                </c:pt>
                <c:pt idx="2195">
                  <c:v>41905</c:v>
                </c:pt>
                <c:pt idx="2196">
                  <c:v>41906</c:v>
                </c:pt>
                <c:pt idx="2197">
                  <c:v>41907</c:v>
                </c:pt>
                <c:pt idx="2198">
                  <c:v>41908</c:v>
                </c:pt>
                <c:pt idx="2199">
                  <c:v>41911</c:v>
                </c:pt>
                <c:pt idx="2200">
                  <c:v>41912</c:v>
                </c:pt>
                <c:pt idx="2201">
                  <c:v>41913</c:v>
                </c:pt>
                <c:pt idx="2202">
                  <c:v>41914</c:v>
                </c:pt>
                <c:pt idx="2203">
                  <c:v>41915</c:v>
                </c:pt>
                <c:pt idx="2204">
                  <c:v>41918</c:v>
                </c:pt>
                <c:pt idx="2205">
                  <c:v>41919</c:v>
                </c:pt>
                <c:pt idx="2206">
                  <c:v>41920</c:v>
                </c:pt>
                <c:pt idx="2207">
                  <c:v>41921</c:v>
                </c:pt>
                <c:pt idx="2208">
                  <c:v>41922</c:v>
                </c:pt>
                <c:pt idx="2209">
                  <c:v>41925</c:v>
                </c:pt>
                <c:pt idx="2210">
                  <c:v>41926</c:v>
                </c:pt>
                <c:pt idx="2211">
                  <c:v>41927</c:v>
                </c:pt>
                <c:pt idx="2212">
                  <c:v>41928</c:v>
                </c:pt>
                <c:pt idx="2213">
                  <c:v>41929</c:v>
                </c:pt>
                <c:pt idx="2214">
                  <c:v>41932</c:v>
                </c:pt>
                <c:pt idx="2215">
                  <c:v>41933</c:v>
                </c:pt>
                <c:pt idx="2216">
                  <c:v>41934</c:v>
                </c:pt>
                <c:pt idx="2217">
                  <c:v>41935</c:v>
                </c:pt>
                <c:pt idx="2218">
                  <c:v>41936</c:v>
                </c:pt>
                <c:pt idx="2219">
                  <c:v>41939</c:v>
                </c:pt>
                <c:pt idx="2220">
                  <c:v>41940</c:v>
                </c:pt>
                <c:pt idx="2221">
                  <c:v>41941</c:v>
                </c:pt>
                <c:pt idx="2222">
                  <c:v>41942</c:v>
                </c:pt>
                <c:pt idx="2223">
                  <c:v>41943</c:v>
                </c:pt>
                <c:pt idx="2224">
                  <c:v>41946</c:v>
                </c:pt>
                <c:pt idx="2225">
                  <c:v>41947</c:v>
                </c:pt>
                <c:pt idx="2226">
                  <c:v>41948</c:v>
                </c:pt>
                <c:pt idx="2227">
                  <c:v>41949</c:v>
                </c:pt>
                <c:pt idx="2228">
                  <c:v>41950</c:v>
                </c:pt>
                <c:pt idx="2229">
                  <c:v>41953</c:v>
                </c:pt>
                <c:pt idx="2230">
                  <c:v>41954</c:v>
                </c:pt>
                <c:pt idx="2231">
                  <c:v>41955</c:v>
                </c:pt>
                <c:pt idx="2232">
                  <c:v>41956</c:v>
                </c:pt>
                <c:pt idx="2233">
                  <c:v>41957</c:v>
                </c:pt>
                <c:pt idx="2234">
                  <c:v>41960</c:v>
                </c:pt>
                <c:pt idx="2235">
                  <c:v>41961</c:v>
                </c:pt>
                <c:pt idx="2236">
                  <c:v>41962</c:v>
                </c:pt>
                <c:pt idx="2237">
                  <c:v>41963</c:v>
                </c:pt>
                <c:pt idx="2238">
                  <c:v>41964</c:v>
                </c:pt>
                <c:pt idx="2239">
                  <c:v>41967</c:v>
                </c:pt>
                <c:pt idx="2240">
                  <c:v>41968</c:v>
                </c:pt>
                <c:pt idx="2241">
                  <c:v>41969</c:v>
                </c:pt>
                <c:pt idx="2242">
                  <c:v>41971</c:v>
                </c:pt>
                <c:pt idx="2243">
                  <c:v>41974</c:v>
                </c:pt>
                <c:pt idx="2244">
                  <c:v>41975</c:v>
                </c:pt>
                <c:pt idx="2245">
                  <c:v>41976</c:v>
                </c:pt>
                <c:pt idx="2246">
                  <c:v>41977</c:v>
                </c:pt>
                <c:pt idx="2247">
                  <c:v>41978</c:v>
                </c:pt>
                <c:pt idx="2248">
                  <c:v>41981</c:v>
                </c:pt>
                <c:pt idx="2249">
                  <c:v>41982</c:v>
                </c:pt>
                <c:pt idx="2250">
                  <c:v>41983</c:v>
                </c:pt>
                <c:pt idx="2251">
                  <c:v>41984</c:v>
                </c:pt>
                <c:pt idx="2252">
                  <c:v>41985</c:v>
                </c:pt>
                <c:pt idx="2253">
                  <c:v>41988</c:v>
                </c:pt>
                <c:pt idx="2254">
                  <c:v>41989</c:v>
                </c:pt>
                <c:pt idx="2255">
                  <c:v>41990</c:v>
                </c:pt>
                <c:pt idx="2256">
                  <c:v>41991</c:v>
                </c:pt>
                <c:pt idx="2257">
                  <c:v>41992</c:v>
                </c:pt>
                <c:pt idx="2258">
                  <c:v>41995</c:v>
                </c:pt>
                <c:pt idx="2259">
                  <c:v>41996</c:v>
                </c:pt>
                <c:pt idx="2260">
                  <c:v>41997</c:v>
                </c:pt>
                <c:pt idx="2261">
                  <c:v>41999</c:v>
                </c:pt>
                <c:pt idx="2262">
                  <c:v>42002</c:v>
                </c:pt>
                <c:pt idx="2263">
                  <c:v>42003</c:v>
                </c:pt>
                <c:pt idx="2264">
                  <c:v>42004</c:v>
                </c:pt>
                <c:pt idx="2265">
                  <c:v>42006</c:v>
                </c:pt>
                <c:pt idx="2266">
                  <c:v>42009</c:v>
                </c:pt>
                <c:pt idx="2267">
                  <c:v>42010</c:v>
                </c:pt>
                <c:pt idx="2268">
                  <c:v>42011</c:v>
                </c:pt>
                <c:pt idx="2269">
                  <c:v>42012</c:v>
                </c:pt>
                <c:pt idx="2270">
                  <c:v>42013</c:v>
                </c:pt>
                <c:pt idx="2271">
                  <c:v>42016</c:v>
                </c:pt>
                <c:pt idx="2272">
                  <c:v>42017</c:v>
                </c:pt>
                <c:pt idx="2273">
                  <c:v>42018</c:v>
                </c:pt>
                <c:pt idx="2274">
                  <c:v>42019</c:v>
                </c:pt>
                <c:pt idx="2275">
                  <c:v>42020</c:v>
                </c:pt>
                <c:pt idx="2276">
                  <c:v>42024</c:v>
                </c:pt>
                <c:pt idx="2277">
                  <c:v>42025</c:v>
                </c:pt>
                <c:pt idx="2278">
                  <c:v>42026</c:v>
                </c:pt>
                <c:pt idx="2279">
                  <c:v>42027</c:v>
                </c:pt>
                <c:pt idx="2280">
                  <c:v>42030</c:v>
                </c:pt>
                <c:pt idx="2281">
                  <c:v>42031</c:v>
                </c:pt>
                <c:pt idx="2282">
                  <c:v>42032</c:v>
                </c:pt>
                <c:pt idx="2283">
                  <c:v>42033</c:v>
                </c:pt>
                <c:pt idx="2284">
                  <c:v>42034</c:v>
                </c:pt>
                <c:pt idx="2285">
                  <c:v>42037</c:v>
                </c:pt>
                <c:pt idx="2286">
                  <c:v>42038</c:v>
                </c:pt>
                <c:pt idx="2287">
                  <c:v>42039</c:v>
                </c:pt>
                <c:pt idx="2288">
                  <c:v>42040</c:v>
                </c:pt>
                <c:pt idx="2289">
                  <c:v>42041</c:v>
                </c:pt>
                <c:pt idx="2290">
                  <c:v>42044</c:v>
                </c:pt>
                <c:pt idx="2291">
                  <c:v>42045</c:v>
                </c:pt>
                <c:pt idx="2292">
                  <c:v>42046</c:v>
                </c:pt>
                <c:pt idx="2293">
                  <c:v>42047</c:v>
                </c:pt>
                <c:pt idx="2294">
                  <c:v>42048</c:v>
                </c:pt>
                <c:pt idx="2295">
                  <c:v>42052</c:v>
                </c:pt>
                <c:pt idx="2296">
                  <c:v>42053</c:v>
                </c:pt>
                <c:pt idx="2297">
                  <c:v>42054</c:v>
                </c:pt>
                <c:pt idx="2298">
                  <c:v>42055</c:v>
                </c:pt>
                <c:pt idx="2299">
                  <c:v>42058</c:v>
                </c:pt>
                <c:pt idx="2300">
                  <c:v>42059</c:v>
                </c:pt>
                <c:pt idx="2301">
                  <c:v>42060</c:v>
                </c:pt>
                <c:pt idx="2302">
                  <c:v>42061</c:v>
                </c:pt>
                <c:pt idx="2303">
                  <c:v>42062</c:v>
                </c:pt>
                <c:pt idx="2304">
                  <c:v>42065</c:v>
                </c:pt>
                <c:pt idx="2305">
                  <c:v>42066</c:v>
                </c:pt>
                <c:pt idx="2306">
                  <c:v>42067</c:v>
                </c:pt>
                <c:pt idx="2307">
                  <c:v>42068</c:v>
                </c:pt>
                <c:pt idx="2308">
                  <c:v>42069</c:v>
                </c:pt>
                <c:pt idx="2309">
                  <c:v>42072</c:v>
                </c:pt>
                <c:pt idx="2310">
                  <c:v>42073</c:v>
                </c:pt>
                <c:pt idx="2311">
                  <c:v>42074</c:v>
                </c:pt>
                <c:pt idx="2312">
                  <c:v>42075</c:v>
                </c:pt>
                <c:pt idx="2313">
                  <c:v>42076</c:v>
                </c:pt>
                <c:pt idx="2314">
                  <c:v>42079</c:v>
                </c:pt>
                <c:pt idx="2315">
                  <c:v>42080</c:v>
                </c:pt>
                <c:pt idx="2316">
                  <c:v>42081</c:v>
                </c:pt>
                <c:pt idx="2317">
                  <c:v>42082</c:v>
                </c:pt>
                <c:pt idx="2318">
                  <c:v>42083</c:v>
                </c:pt>
                <c:pt idx="2319">
                  <c:v>42086</c:v>
                </c:pt>
                <c:pt idx="2320">
                  <c:v>42087</c:v>
                </c:pt>
                <c:pt idx="2321">
                  <c:v>42088</c:v>
                </c:pt>
                <c:pt idx="2322">
                  <c:v>42089</c:v>
                </c:pt>
                <c:pt idx="2323">
                  <c:v>42090</c:v>
                </c:pt>
                <c:pt idx="2324">
                  <c:v>42093</c:v>
                </c:pt>
                <c:pt idx="2325">
                  <c:v>42094</c:v>
                </c:pt>
                <c:pt idx="2326">
                  <c:v>42095</c:v>
                </c:pt>
                <c:pt idx="2327">
                  <c:v>42096</c:v>
                </c:pt>
                <c:pt idx="2328">
                  <c:v>42100</c:v>
                </c:pt>
                <c:pt idx="2329">
                  <c:v>42101</c:v>
                </c:pt>
                <c:pt idx="2330">
                  <c:v>42102</c:v>
                </c:pt>
                <c:pt idx="2331">
                  <c:v>42103</c:v>
                </c:pt>
                <c:pt idx="2332">
                  <c:v>42104</c:v>
                </c:pt>
                <c:pt idx="2333">
                  <c:v>42107</c:v>
                </c:pt>
                <c:pt idx="2334">
                  <c:v>42108</c:v>
                </c:pt>
                <c:pt idx="2335">
                  <c:v>42109</c:v>
                </c:pt>
                <c:pt idx="2336">
                  <c:v>42110</c:v>
                </c:pt>
                <c:pt idx="2337">
                  <c:v>42111</c:v>
                </c:pt>
                <c:pt idx="2338">
                  <c:v>42114</c:v>
                </c:pt>
                <c:pt idx="2339">
                  <c:v>42115</c:v>
                </c:pt>
                <c:pt idx="2340">
                  <c:v>42116</c:v>
                </c:pt>
                <c:pt idx="2341">
                  <c:v>42117</c:v>
                </c:pt>
                <c:pt idx="2342">
                  <c:v>42118</c:v>
                </c:pt>
                <c:pt idx="2343">
                  <c:v>42121</c:v>
                </c:pt>
                <c:pt idx="2344">
                  <c:v>42122</c:v>
                </c:pt>
                <c:pt idx="2345">
                  <c:v>42123</c:v>
                </c:pt>
                <c:pt idx="2346">
                  <c:v>42124</c:v>
                </c:pt>
                <c:pt idx="2347">
                  <c:v>42125</c:v>
                </c:pt>
                <c:pt idx="2348">
                  <c:v>42128</c:v>
                </c:pt>
                <c:pt idx="2349">
                  <c:v>42129</c:v>
                </c:pt>
                <c:pt idx="2350">
                  <c:v>42130</c:v>
                </c:pt>
                <c:pt idx="2351">
                  <c:v>42131</c:v>
                </c:pt>
                <c:pt idx="2352">
                  <c:v>42132</c:v>
                </c:pt>
                <c:pt idx="2353">
                  <c:v>42135</c:v>
                </c:pt>
                <c:pt idx="2354">
                  <c:v>42136</c:v>
                </c:pt>
                <c:pt idx="2355">
                  <c:v>42137</c:v>
                </c:pt>
                <c:pt idx="2356">
                  <c:v>42138</c:v>
                </c:pt>
                <c:pt idx="2357">
                  <c:v>42139</c:v>
                </c:pt>
                <c:pt idx="2358">
                  <c:v>42142</c:v>
                </c:pt>
                <c:pt idx="2359">
                  <c:v>42143</c:v>
                </c:pt>
                <c:pt idx="2360">
                  <c:v>42144</c:v>
                </c:pt>
                <c:pt idx="2361">
                  <c:v>42145</c:v>
                </c:pt>
                <c:pt idx="2362">
                  <c:v>42146</c:v>
                </c:pt>
                <c:pt idx="2363">
                  <c:v>42150</c:v>
                </c:pt>
                <c:pt idx="2364">
                  <c:v>42151</c:v>
                </c:pt>
                <c:pt idx="2365">
                  <c:v>42152</c:v>
                </c:pt>
                <c:pt idx="2366">
                  <c:v>42153</c:v>
                </c:pt>
                <c:pt idx="2367">
                  <c:v>42156</c:v>
                </c:pt>
                <c:pt idx="2368">
                  <c:v>42157</c:v>
                </c:pt>
                <c:pt idx="2369">
                  <c:v>42158</c:v>
                </c:pt>
                <c:pt idx="2370">
                  <c:v>42159</c:v>
                </c:pt>
                <c:pt idx="2371">
                  <c:v>42160</c:v>
                </c:pt>
                <c:pt idx="2372">
                  <c:v>42163</c:v>
                </c:pt>
                <c:pt idx="2373">
                  <c:v>42164</c:v>
                </c:pt>
                <c:pt idx="2374">
                  <c:v>42165</c:v>
                </c:pt>
                <c:pt idx="2375">
                  <c:v>42166</c:v>
                </c:pt>
                <c:pt idx="2376">
                  <c:v>42167</c:v>
                </c:pt>
                <c:pt idx="2377">
                  <c:v>42170</c:v>
                </c:pt>
                <c:pt idx="2378">
                  <c:v>42171</c:v>
                </c:pt>
                <c:pt idx="2379">
                  <c:v>42172</c:v>
                </c:pt>
                <c:pt idx="2380">
                  <c:v>42173</c:v>
                </c:pt>
                <c:pt idx="2381">
                  <c:v>42174</c:v>
                </c:pt>
                <c:pt idx="2382">
                  <c:v>42177</c:v>
                </c:pt>
                <c:pt idx="2383">
                  <c:v>42178</c:v>
                </c:pt>
                <c:pt idx="2384">
                  <c:v>42179</c:v>
                </c:pt>
                <c:pt idx="2385">
                  <c:v>42180</c:v>
                </c:pt>
                <c:pt idx="2386">
                  <c:v>42181</c:v>
                </c:pt>
                <c:pt idx="2387">
                  <c:v>42184</c:v>
                </c:pt>
                <c:pt idx="2388">
                  <c:v>42185</c:v>
                </c:pt>
                <c:pt idx="2389">
                  <c:v>42186</c:v>
                </c:pt>
                <c:pt idx="2390">
                  <c:v>42187</c:v>
                </c:pt>
                <c:pt idx="2391">
                  <c:v>42191</c:v>
                </c:pt>
                <c:pt idx="2392">
                  <c:v>42192</c:v>
                </c:pt>
                <c:pt idx="2393">
                  <c:v>42193</c:v>
                </c:pt>
                <c:pt idx="2394">
                  <c:v>42194</c:v>
                </c:pt>
                <c:pt idx="2395">
                  <c:v>42195</c:v>
                </c:pt>
                <c:pt idx="2396">
                  <c:v>42198</c:v>
                </c:pt>
                <c:pt idx="2397">
                  <c:v>42199</c:v>
                </c:pt>
                <c:pt idx="2398">
                  <c:v>42200</c:v>
                </c:pt>
                <c:pt idx="2399">
                  <c:v>42201</c:v>
                </c:pt>
                <c:pt idx="2400">
                  <c:v>42202</c:v>
                </c:pt>
                <c:pt idx="2401">
                  <c:v>42205</c:v>
                </c:pt>
                <c:pt idx="2402">
                  <c:v>42206</c:v>
                </c:pt>
                <c:pt idx="2403">
                  <c:v>42207</c:v>
                </c:pt>
                <c:pt idx="2404">
                  <c:v>42208</c:v>
                </c:pt>
                <c:pt idx="2405">
                  <c:v>42209</c:v>
                </c:pt>
                <c:pt idx="2406">
                  <c:v>42212</c:v>
                </c:pt>
                <c:pt idx="2407">
                  <c:v>42213</c:v>
                </c:pt>
                <c:pt idx="2408">
                  <c:v>42214</c:v>
                </c:pt>
                <c:pt idx="2409">
                  <c:v>42215</c:v>
                </c:pt>
                <c:pt idx="2410">
                  <c:v>42216</c:v>
                </c:pt>
                <c:pt idx="2411">
                  <c:v>42219</c:v>
                </c:pt>
                <c:pt idx="2412">
                  <c:v>42220</c:v>
                </c:pt>
                <c:pt idx="2413">
                  <c:v>42221</c:v>
                </c:pt>
                <c:pt idx="2414">
                  <c:v>42222</c:v>
                </c:pt>
                <c:pt idx="2415">
                  <c:v>42223</c:v>
                </c:pt>
                <c:pt idx="2416">
                  <c:v>42226</c:v>
                </c:pt>
                <c:pt idx="2417">
                  <c:v>42227</c:v>
                </c:pt>
                <c:pt idx="2418">
                  <c:v>42228</c:v>
                </c:pt>
                <c:pt idx="2419">
                  <c:v>42229</c:v>
                </c:pt>
                <c:pt idx="2420">
                  <c:v>42230</c:v>
                </c:pt>
                <c:pt idx="2421">
                  <c:v>42233</c:v>
                </c:pt>
                <c:pt idx="2422">
                  <c:v>42234</c:v>
                </c:pt>
                <c:pt idx="2423">
                  <c:v>42235</c:v>
                </c:pt>
                <c:pt idx="2424">
                  <c:v>42236</c:v>
                </c:pt>
                <c:pt idx="2425">
                  <c:v>42237</c:v>
                </c:pt>
                <c:pt idx="2426">
                  <c:v>42240</c:v>
                </c:pt>
                <c:pt idx="2427">
                  <c:v>42241</c:v>
                </c:pt>
                <c:pt idx="2428">
                  <c:v>42242</c:v>
                </c:pt>
                <c:pt idx="2429">
                  <c:v>42243</c:v>
                </c:pt>
                <c:pt idx="2430">
                  <c:v>42244</c:v>
                </c:pt>
                <c:pt idx="2431">
                  <c:v>42247</c:v>
                </c:pt>
                <c:pt idx="2432">
                  <c:v>42248</c:v>
                </c:pt>
                <c:pt idx="2433">
                  <c:v>42249</c:v>
                </c:pt>
                <c:pt idx="2434">
                  <c:v>42250</c:v>
                </c:pt>
                <c:pt idx="2435">
                  <c:v>42251</c:v>
                </c:pt>
                <c:pt idx="2436">
                  <c:v>42255</c:v>
                </c:pt>
                <c:pt idx="2437">
                  <c:v>42256</c:v>
                </c:pt>
                <c:pt idx="2438">
                  <c:v>42257</c:v>
                </c:pt>
                <c:pt idx="2439">
                  <c:v>42258</c:v>
                </c:pt>
                <c:pt idx="2440">
                  <c:v>42261</c:v>
                </c:pt>
                <c:pt idx="2441">
                  <c:v>42262</c:v>
                </c:pt>
                <c:pt idx="2442">
                  <c:v>42263</c:v>
                </c:pt>
                <c:pt idx="2443">
                  <c:v>42264</c:v>
                </c:pt>
                <c:pt idx="2444">
                  <c:v>42265</c:v>
                </c:pt>
                <c:pt idx="2445">
                  <c:v>42268</c:v>
                </c:pt>
                <c:pt idx="2446">
                  <c:v>42269</c:v>
                </c:pt>
                <c:pt idx="2447">
                  <c:v>42270</c:v>
                </c:pt>
                <c:pt idx="2448">
                  <c:v>42271</c:v>
                </c:pt>
                <c:pt idx="2449">
                  <c:v>42272</c:v>
                </c:pt>
                <c:pt idx="2450">
                  <c:v>42275</c:v>
                </c:pt>
                <c:pt idx="2451">
                  <c:v>42276</c:v>
                </c:pt>
                <c:pt idx="2452">
                  <c:v>42277</c:v>
                </c:pt>
                <c:pt idx="2453">
                  <c:v>42278</c:v>
                </c:pt>
                <c:pt idx="2454">
                  <c:v>42279</c:v>
                </c:pt>
                <c:pt idx="2455">
                  <c:v>42282</c:v>
                </c:pt>
                <c:pt idx="2456">
                  <c:v>42283</c:v>
                </c:pt>
                <c:pt idx="2457">
                  <c:v>42284</c:v>
                </c:pt>
                <c:pt idx="2458">
                  <c:v>42285</c:v>
                </c:pt>
                <c:pt idx="2459">
                  <c:v>42286</c:v>
                </c:pt>
                <c:pt idx="2460">
                  <c:v>42289</c:v>
                </c:pt>
                <c:pt idx="2461">
                  <c:v>42290</c:v>
                </c:pt>
                <c:pt idx="2462">
                  <c:v>42291</c:v>
                </c:pt>
                <c:pt idx="2463">
                  <c:v>42292</c:v>
                </c:pt>
                <c:pt idx="2464">
                  <c:v>42293</c:v>
                </c:pt>
                <c:pt idx="2465">
                  <c:v>42296</c:v>
                </c:pt>
                <c:pt idx="2466">
                  <c:v>42297</c:v>
                </c:pt>
                <c:pt idx="2467">
                  <c:v>42298</c:v>
                </c:pt>
                <c:pt idx="2468">
                  <c:v>42299</c:v>
                </c:pt>
                <c:pt idx="2469">
                  <c:v>42300</c:v>
                </c:pt>
                <c:pt idx="2470">
                  <c:v>42303</c:v>
                </c:pt>
                <c:pt idx="2471">
                  <c:v>42304</c:v>
                </c:pt>
                <c:pt idx="2472">
                  <c:v>42305</c:v>
                </c:pt>
                <c:pt idx="2473">
                  <c:v>42306</c:v>
                </c:pt>
                <c:pt idx="2474">
                  <c:v>42307</c:v>
                </c:pt>
                <c:pt idx="2475">
                  <c:v>42310</c:v>
                </c:pt>
                <c:pt idx="2476">
                  <c:v>42311</c:v>
                </c:pt>
                <c:pt idx="2477">
                  <c:v>42312</c:v>
                </c:pt>
                <c:pt idx="2478">
                  <c:v>42313</c:v>
                </c:pt>
                <c:pt idx="2479">
                  <c:v>42314</c:v>
                </c:pt>
                <c:pt idx="2480">
                  <c:v>42317</c:v>
                </c:pt>
                <c:pt idx="2481">
                  <c:v>42318</c:v>
                </c:pt>
                <c:pt idx="2482">
                  <c:v>42319</c:v>
                </c:pt>
                <c:pt idx="2483">
                  <c:v>42320</c:v>
                </c:pt>
                <c:pt idx="2484">
                  <c:v>42321</c:v>
                </c:pt>
                <c:pt idx="2485">
                  <c:v>42324</c:v>
                </c:pt>
                <c:pt idx="2486">
                  <c:v>42325</c:v>
                </c:pt>
                <c:pt idx="2487">
                  <c:v>42326</c:v>
                </c:pt>
                <c:pt idx="2488">
                  <c:v>42327</c:v>
                </c:pt>
                <c:pt idx="2489">
                  <c:v>42328</c:v>
                </c:pt>
                <c:pt idx="2490">
                  <c:v>42331</c:v>
                </c:pt>
                <c:pt idx="2491">
                  <c:v>42332</c:v>
                </c:pt>
                <c:pt idx="2492">
                  <c:v>42333</c:v>
                </c:pt>
                <c:pt idx="2493">
                  <c:v>42335</c:v>
                </c:pt>
                <c:pt idx="2494">
                  <c:v>42338</c:v>
                </c:pt>
                <c:pt idx="2495">
                  <c:v>42339</c:v>
                </c:pt>
                <c:pt idx="2496">
                  <c:v>42340</c:v>
                </c:pt>
                <c:pt idx="2497">
                  <c:v>42341</c:v>
                </c:pt>
                <c:pt idx="2498">
                  <c:v>42342</c:v>
                </c:pt>
                <c:pt idx="2499">
                  <c:v>42345</c:v>
                </c:pt>
                <c:pt idx="2500">
                  <c:v>42346</c:v>
                </c:pt>
                <c:pt idx="2501">
                  <c:v>42347</c:v>
                </c:pt>
                <c:pt idx="2502">
                  <c:v>42348</c:v>
                </c:pt>
                <c:pt idx="2503">
                  <c:v>42349</c:v>
                </c:pt>
                <c:pt idx="2504">
                  <c:v>42352</c:v>
                </c:pt>
                <c:pt idx="2505">
                  <c:v>42353</c:v>
                </c:pt>
                <c:pt idx="2506">
                  <c:v>42354</c:v>
                </c:pt>
                <c:pt idx="2507">
                  <c:v>42355</c:v>
                </c:pt>
                <c:pt idx="2508">
                  <c:v>42356</c:v>
                </c:pt>
                <c:pt idx="2509">
                  <c:v>42359</c:v>
                </c:pt>
                <c:pt idx="2510">
                  <c:v>42360</c:v>
                </c:pt>
                <c:pt idx="2511">
                  <c:v>42361</c:v>
                </c:pt>
                <c:pt idx="2512">
                  <c:v>42362</c:v>
                </c:pt>
                <c:pt idx="2513">
                  <c:v>42366</c:v>
                </c:pt>
                <c:pt idx="2514">
                  <c:v>42367</c:v>
                </c:pt>
                <c:pt idx="2515">
                  <c:v>42368</c:v>
                </c:pt>
                <c:pt idx="2516">
                  <c:v>42369</c:v>
                </c:pt>
                <c:pt idx="2517">
                  <c:v>42373</c:v>
                </c:pt>
                <c:pt idx="2518">
                  <c:v>42374</c:v>
                </c:pt>
                <c:pt idx="2519">
                  <c:v>42375</c:v>
                </c:pt>
                <c:pt idx="2520">
                  <c:v>42376</c:v>
                </c:pt>
                <c:pt idx="2521">
                  <c:v>42377</c:v>
                </c:pt>
                <c:pt idx="2522">
                  <c:v>42380</c:v>
                </c:pt>
                <c:pt idx="2523">
                  <c:v>42381</c:v>
                </c:pt>
                <c:pt idx="2524">
                  <c:v>42382</c:v>
                </c:pt>
                <c:pt idx="2525">
                  <c:v>42383</c:v>
                </c:pt>
                <c:pt idx="2526">
                  <c:v>42384</c:v>
                </c:pt>
                <c:pt idx="2527">
                  <c:v>42388</c:v>
                </c:pt>
                <c:pt idx="2528">
                  <c:v>42389</c:v>
                </c:pt>
                <c:pt idx="2529">
                  <c:v>42390</c:v>
                </c:pt>
                <c:pt idx="2530">
                  <c:v>42391</c:v>
                </c:pt>
                <c:pt idx="2531">
                  <c:v>42394</c:v>
                </c:pt>
                <c:pt idx="2532">
                  <c:v>42395</c:v>
                </c:pt>
                <c:pt idx="2533">
                  <c:v>42396</c:v>
                </c:pt>
                <c:pt idx="2534">
                  <c:v>42397</c:v>
                </c:pt>
                <c:pt idx="2535">
                  <c:v>42398</c:v>
                </c:pt>
                <c:pt idx="2536">
                  <c:v>42401</c:v>
                </c:pt>
                <c:pt idx="2537">
                  <c:v>42402</c:v>
                </c:pt>
                <c:pt idx="2538">
                  <c:v>42403</c:v>
                </c:pt>
                <c:pt idx="2539">
                  <c:v>42404</c:v>
                </c:pt>
                <c:pt idx="2540">
                  <c:v>42405</c:v>
                </c:pt>
                <c:pt idx="2541">
                  <c:v>42408</c:v>
                </c:pt>
                <c:pt idx="2542">
                  <c:v>42409</c:v>
                </c:pt>
                <c:pt idx="2543">
                  <c:v>42410</c:v>
                </c:pt>
                <c:pt idx="2544">
                  <c:v>42411</c:v>
                </c:pt>
                <c:pt idx="2545">
                  <c:v>42412</c:v>
                </c:pt>
                <c:pt idx="2546">
                  <c:v>42416</c:v>
                </c:pt>
                <c:pt idx="2547">
                  <c:v>42417</c:v>
                </c:pt>
                <c:pt idx="2548">
                  <c:v>42418</c:v>
                </c:pt>
                <c:pt idx="2549">
                  <c:v>42419</c:v>
                </c:pt>
                <c:pt idx="2550">
                  <c:v>42422</c:v>
                </c:pt>
                <c:pt idx="2551">
                  <c:v>42423</c:v>
                </c:pt>
                <c:pt idx="2552">
                  <c:v>42424</c:v>
                </c:pt>
                <c:pt idx="2553">
                  <c:v>42425</c:v>
                </c:pt>
                <c:pt idx="2554">
                  <c:v>42426</c:v>
                </c:pt>
                <c:pt idx="2555">
                  <c:v>42429</c:v>
                </c:pt>
                <c:pt idx="2556">
                  <c:v>42430</c:v>
                </c:pt>
                <c:pt idx="2557">
                  <c:v>42431</c:v>
                </c:pt>
                <c:pt idx="2558">
                  <c:v>42432</c:v>
                </c:pt>
                <c:pt idx="2559">
                  <c:v>42433</c:v>
                </c:pt>
                <c:pt idx="2560">
                  <c:v>42436</c:v>
                </c:pt>
                <c:pt idx="2561">
                  <c:v>42437</c:v>
                </c:pt>
                <c:pt idx="2562">
                  <c:v>42438</c:v>
                </c:pt>
                <c:pt idx="2563">
                  <c:v>42439</c:v>
                </c:pt>
                <c:pt idx="2564">
                  <c:v>42440</c:v>
                </c:pt>
                <c:pt idx="2565">
                  <c:v>42443</c:v>
                </c:pt>
                <c:pt idx="2566">
                  <c:v>42444</c:v>
                </c:pt>
                <c:pt idx="2567">
                  <c:v>42445</c:v>
                </c:pt>
                <c:pt idx="2568">
                  <c:v>42446</c:v>
                </c:pt>
                <c:pt idx="2569">
                  <c:v>42447</c:v>
                </c:pt>
                <c:pt idx="2570">
                  <c:v>42450</c:v>
                </c:pt>
                <c:pt idx="2571">
                  <c:v>42451</c:v>
                </c:pt>
                <c:pt idx="2572">
                  <c:v>42452</c:v>
                </c:pt>
                <c:pt idx="2573">
                  <c:v>42453</c:v>
                </c:pt>
                <c:pt idx="2574">
                  <c:v>42457</c:v>
                </c:pt>
                <c:pt idx="2575">
                  <c:v>42458</c:v>
                </c:pt>
                <c:pt idx="2576">
                  <c:v>42459</c:v>
                </c:pt>
                <c:pt idx="2577">
                  <c:v>42460</c:v>
                </c:pt>
                <c:pt idx="2578">
                  <c:v>42461</c:v>
                </c:pt>
                <c:pt idx="2579">
                  <c:v>42464</c:v>
                </c:pt>
                <c:pt idx="2580">
                  <c:v>42465</c:v>
                </c:pt>
                <c:pt idx="2581">
                  <c:v>42466</c:v>
                </c:pt>
                <c:pt idx="2582">
                  <c:v>42467</c:v>
                </c:pt>
                <c:pt idx="2583">
                  <c:v>42468</c:v>
                </c:pt>
                <c:pt idx="2584">
                  <c:v>42471</c:v>
                </c:pt>
                <c:pt idx="2585">
                  <c:v>42472</c:v>
                </c:pt>
                <c:pt idx="2586">
                  <c:v>42473</c:v>
                </c:pt>
                <c:pt idx="2587">
                  <c:v>42474</c:v>
                </c:pt>
                <c:pt idx="2588">
                  <c:v>42475</c:v>
                </c:pt>
                <c:pt idx="2589">
                  <c:v>42478</c:v>
                </c:pt>
                <c:pt idx="2590">
                  <c:v>42479</c:v>
                </c:pt>
                <c:pt idx="2591">
                  <c:v>42480</c:v>
                </c:pt>
                <c:pt idx="2592">
                  <c:v>42481</c:v>
                </c:pt>
                <c:pt idx="2593">
                  <c:v>42482</c:v>
                </c:pt>
                <c:pt idx="2594">
                  <c:v>42485</c:v>
                </c:pt>
                <c:pt idx="2595">
                  <c:v>42486</c:v>
                </c:pt>
                <c:pt idx="2596">
                  <c:v>42487</c:v>
                </c:pt>
                <c:pt idx="2597">
                  <c:v>42488</c:v>
                </c:pt>
                <c:pt idx="2598">
                  <c:v>42489</c:v>
                </c:pt>
                <c:pt idx="2599">
                  <c:v>42492</c:v>
                </c:pt>
                <c:pt idx="2600">
                  <c:v>42493</c:v>
                </c:pt>
                <c:pt idx="2601">
                  <c:v>42494</c:v>
                </c:pt>
                <c:pt idx="2602">
                  <c:v>42495</c:v>
                </c:pt>
                <c:pt idx="2603">
                  <c:v>42496</c:v>
                </c:pt>
                <c:pt idx="2604">
                  <c:v>42499</c:v>
                </c:pt>
              </c:numCache>
            </c:numRef>
          </c:cat>
          <c:val>
            <c:numRef>
              <c:f>volumes!$M$5:$M$2609</c:f>
              <c:numCache>
                <c:formatCode>_(* #,##0.00_);_(* \(#,##0.00\);_(* "-"??_);_(@_)</c:formatCode>
                <c:ptCount val="2605"/>
                <c:pt idx="0">
                  <c:v>1.5024999999999999</c:v>
                </c:pt>
                <c:pt idx="1">
                  <c:v>1.5628799999999998</c:v>
                </c:pt>
                <c:pt idx="2">
                  <c:v>0.29575000000000001</c:v>
                </c:pt>
                <c:pt idx="3">
                  <c:v>0.49708000000000002</c:v>
                </c:pt>
                <c:pt idx="4">
                  <c:v>1.3595999999999999</c:v>
                </c:pt>
                <c:pt idx="5">
                  <c:v>0.17952000000000001</c:v>
                </c:pt>
                <c:pt idx="6">
                  <c:v>0.21260999999999999</c:v>
                </c:pt>
                <c:pt idx="7">
                  <c:v>5.2319000000000004</c:v>
                </c:pt>
                <c:pt idx="8">
                  <c:v>4.6619999999999999</c:v>
                </c:pt>
                <c:pt idx="9">
                  <c:v>0.79849000000000003</c:v>
                </c:pt>
                <c:pt idx="10">
                  <c:v>0.90236000000000005</c:v>
                </c:pt>
                <c:pt idx="11">
                  <c:v>1.03569</c:v>
                </c:pt>
                <c:pt idx="12">
                  <c:v>2.3001</c:v>
                </c:pt>
                <c:pt idx="13">
                  <c:v>7.3783799999999999</c:v>
                </c:pt>
                <c:pt idx="14">
                  <c:v>10.46832</c:v>
                </c:pt>
                <c:pt idx="15">
                  <c:v>7.51248</c:v>
                </c:pt>
                <c:pt idx="16">
                  <c:v>2.9974400000000001</c:v>
                </c:pt>
                <c:pt idx="17">
                  <c:v>0.62328000000000006</c:v>
                </c:pt>
                <c:pt idx="18">
                  <c:v>9.6355699999999995</c:v>
                </c:pt>
                <c:pt idx="19">
                  <c:v>30.162500000000001</c:v>
                </c:pt>
                <c:pt idx="20">
                  <c:v>1.8610199999999999</c:v>
                </c:pt>
                <c:pt idx="21">
                  <c:v>7.6902799999999996</c:v>
                </c:pt>
                <c:pt idx="22">
                  <c:v>18.519929999999999</c:v>
                </c:pt>
                <c:pt idx="23">
                  <c:v>0.34560000000000002</c:v>
                </c:pt>
                <c:pt idx="24">
                  <c:v>14.517299999999999</c:v>
                </c:pt>
                <c:pt idx="25">
                  <c:v>10.823960000000001</c:v>
                </c:pt>
                <c:pt idx="26">
                  <c:v>6.1429499999999999</c:v>
                </c:pt>
                <c:pt idx="27">
                  <c:v>0.28270000000000001</c:v>
                </c:pt>
                <c:pt idx="28">
                  <c:v>0.3921</c:v>
                </c:pt>
                <c:pt idx="29">
                  <c:v>0.20688000000000001</c:v>
                </c:pt>
                <c:pt idx="30">
                  <c:v>3.6112200000000003</c:v>
                </c:pt>
                <c:pt idx="31">
                  <c:v>1.29948</c:v>
                </c:pt>
                <c:pt idx="32">
                  <c:v>0.39059999999999995</c:v>
                </c:pt>
                <c:pt idx="33">
                  <c:v>0.39807999999999999</c:v>
                </c:pt>
                <c:pt idx="34">
                  <c:v>0.36569999999999997</c:v>
                </c:pt>
                <c:pt idx="35">
                  <c:v>0.75639999999999996</c:v>
                </c:pt>
                <c:pt idx="36">
                  <c:v>0.45979999999999999</c:v>
                </c:pt>
                <c:pt idx="37">
                  <c:v>0.86112000000000011</c:v>
                </c:pt>
                <c:pt idx="38">
                  <c:v>5.9730999999999996</c:v>
                </c:pt>
                <c:pt idx="39">
                  <c:v>1.40985</c:v>
                </c:pt>
                <c:pt idx="40">
                  <c:v>0.53108</c:v>
                </c:pt>
                <c:pt idx="41">
                  <c:v>0.37540999999999997</c:v>
                </c:pt>
                <c:pt idx="42">
                  <c:v>0.59231999999999996</c:v>
                </c:pt>
                <c:pt idx="43">
                  <c:v>0.77127999999999997</c:v>
                </c:pt>
                <c:pt idx="44">
                  <c:v>0.62475000000000003</c:v>
                </c:pt>
                <c:pt idx="45">
                  <c:v>9.9040000000000003E-2</c:v>
                </c:pt>
                <c:pt idx="46">
                  <c:v>0.20757000000000003</c:v>
                </c:pt>
                <c:pt idx="47">
                  <c:v>0.66528000000000009</c:v>
                </c:pt>
                <c:pt idx="48">
                  <c:v>1.0359</c:v>
                </c:pt>
                <c:pt idx="49">
                  <c:v>0.20664000000000002</c:v>
                </c:pt>
                <c:pt idx="50">
                  <c:v>0.1145</c:v>
                </c:pt>
                <c:pt idx="51">
                  <c:v>1.29688</c:v>
                </c:pt>
                <c:pt idx="52">
                  <c:v>3.7679999999999998</c:v>
                </c:pt>
                <c:pt idx="53">
                  <c:v>0.21453999999999998</c:v>
                </c:pt>
                <c:pt idx="54">
                  <c:v>0.45990999999999999</c:v>
                </c:pt>
                <c:pt idx="55">
                  <c:v>4.9799999999999997E-2</c:v>
                </c:pt>
                <c:pt idx="56">
                  <c:v>0.16068000000000002</c:v>
                </c:pt>
                <c:pt idx="57">
                  <c:v>0.82946000000000009</c:v>
                </c:pt>
                <c:pt idx="58">
                  <c:v>0.70394999999999996</c:v>
                </c:pt>
                <c:pt idx="59">
                  <c:v>0.90449999999999997</c:v>
                </c:pt>
                <c:pt idx="60">
                  <c:v>0.12</c:v>
                </c:pt>
                <c:pt idx="61">
                  <c:v>0.24239999999999998</c:v>
                </c:pt>
                <c:pt idx="62">
                  <c:v>0.48360000000000003</c:v>
                </c:pt>
                <c:pt idx="63">
                  <c:v>0.14399999999999999</c:v>
                </c:pt>
                <c:pt idx="64">
                  <c:v>5.9499999999999997E-2</c:v>
                </c:pt>
                <c:pt idx="65">
                  <c:v>0.5125599999999999</c:v>
                </c:pt>
                <c:pt idx="66">
                  <c:v>1.82257</c:v>
                </c:pt>
                <c:pt idx="67">
                  <c:v>3.1611000000000002</c:v>
                </c:pt>
                <c:pt idx="68">
                  <c:v>0.35308</c:v>
                </c:pt>
                <c:pt idx="69">
                  <c:v>0.29049000000000003</c:v>
                </c:pt>
                <c:pt idx="70">
                  <c:v>15.12171</c:v>
                </c:pt>
                <c:pt idx="71">
                  <c:v>10.989540000000002</c:v>
                </c:pt>
                <c:pt idx="72">
                  <c:v>3.7733799999999995</c:v>
                </c:pt>
                <c:pt idx="73">
                  <c:v>0.45395999999999997</c:v>
                </c:pt>
                <c:pt idx="74">
                  <c:v>2.1894400000000003</c:v>
                </c:pt>
                <c:pt idx="75">
                  <c:v>0.63200000000000001</c:v>
                </c:pt>
                <c:pt idx="76">
                  <c:v>1.10792</c:v>
                </c:pt>
                <c:pt idx="77">
                  <c:v>1.5107999999999999</c:v>
                </c:pt>
                <c:pt idx="78">
                  <c:v>2.6206199999999997</c:v>
                </c:pt>
                <c:pt idx="79">
                  <c:v>1.1114999999999999</c:v>
                </c:pt>
                <c:pt idx="80">
                  <c:v>3.6567699999999999</c:v>
                </c:pt>
                <c:pt idx="81">
                  <c:v>0.6139699999999999</c:v>
                </c:pt>
                <c:pt idx="82">
                  <c:v>60.011249999999997</c:v>
                </c:pt>
                <c:pt idx="83">
                  <c:v>14.5197</c:v>
                </c:pt>
                <c:pt idx="84">
                  <c:v>5.3330999999999991</c:v>
                </c:pt>
                <c:pt idx="85">
                  <c:v>3.6421000000000001</c:v>
                </c:pt>
                <c:pt idx="86">
                  <c:v>16.936160000000001</c:v>
                </c:pt>
                <c:pt idx="87">
                  <c:v>15.177240000000001</c:v>
                </c:pt>
                <c:pt idx="88">
                  <c:v>7.4515600000000006</c:v>
                </c:pt>
                <c:pt idx="89">
                  <c:v>8.1823199999999989</c:v>
                </c:pt>
                <c:pt idx="90">
                  <c:v>1.7221499999999998</c:v>
                </c:pt>
                <c:pt idx="91">
                  <c:v>0.90236000000000005</c:v>
                </c:pt>
                <c:pt idx="92">
                  <c:v>14.106359999999999</c:v>
                </c:pt>
                <c:pt idx="93">
                  <c:v>6.0564</c:v>
                </c:pt>
                <c:pt idx="94">
                  <c:v>4.4475200000000008</c:v>
                </c:pt>
                <c:pt idx="95">
                  <c:v>9.1388999999999996</c:v>
                </c:pt>
                <c:pt idx="96">
                  <c:v>7.6982400000000002</c:v>
                </c:pt>
                <c:pt idx="97">
                  <c:v>7.9492600000000007</c:v>
                </c:pt>
                <c:pt idx="98">
                  <c:v>6.0550600000000001</c:v>
                </c:pt>
                <c:pt idx="99">
                  <c:v>3.9424000000000001</c:v>
                </c:pt>
                <c:pt idx="100">
                  <c:v>5.3044000000000002</c:v>
                </c:pt>
                <c:pt idx="101">
                  <c:v>2.4673400000000001</c:v>
                </c:pt>
                <c:pt idx="102">
                  <c:v>2.8143000000000002</c:v>
                </c:pt>
                <c:pt idx="103">
                  <c:v>6.0671299999999997</c:v>
                </c:pt>
                <c:pt idx="104">
                  <c:v>1.9149</c:v>
                </c:pt>
                <c:pt idx="105">
                  <c:v>2.8248599999999997</c:v>
                </c:pt>
                <c:pt idx="106">
                  <c:v>2.6275200000000001</c:v>
                </c:pt>
                <c:pt idx="107">
                  <c:v>7.6181900000000002</c:v>
                </c:pt>
                <c:pt idx="108">
                  <c:v>1.4217899999999999</c:v>
                </c:pt>
                <c:pt idx="109">
                  <c:v>7.12887</c:v>
                </c:pt>
                <c:pt idx="110">
                  <c:v>15.951960000000001</c:v>
                </c:pt>
                <c:pt idx="111">
                  <c:v>13.777140000000001</c:v>
                </c:pt>
                <c:pt idx="112">
                  <c:v>21.36056</c:v>
                </c:pt>
                <c:pt idx="113">
                  <c:v>3.6225000000000005</c:v>
                </c:pt>
                <c:pt idx="114">
                  <c:v>1.5726200000000001</c:v>
                </c:pt>
                <c:pt idx="115">
                  <c:v>1.0634399999999997</c:v>
                </c:pt>
                <c:pt idx="116">
                  <c:v>9.6229800000000019</c:v>
                </c:pt>
                <c:pt idx="117">
                  <c:v>3.4003899999999998</c:v>
                </c:pt>
                <c:pt idx="118">
                  <c:v>1.4184000000000001</c:v>
                </c:pt>
                <c:pt idx="119">
                  <c:v>0.98846999999999996</c:v>
                </c:pt>
                <c:pt idx="120">
                  <c:v>1.2292400000000001</c:v>
                </c:pt>
                <c:pt idx="121">
                  <c:v>0.90800999999999998</c:v>
                </c:pt>
                <c:pt idx="122">
                  <c:v>8.1555600000000013</c:v>
                </c:pt>
                <c:pt idx="123">
                  <c:v>4.90428</c:v>
                </c:pt>
                <c:pt idx="124">
                  <c:v>6.6735199999999999</c:v>
                </c:pt>
                <c:pt idx="125">
                  <c:v>4.9254800000000003</c:v>
                </c:pt>
                <c:pt idx="126">
                  <c:v>1.3968</c:v>
                </c:pt>
                <c:pt idx="127">
                  <c:v>1.3168800000000001</c:v>
                </c:pt>
                <c:pt idx="128">
                  <c:v>0.89031999999999989</c:v>
                </c:pt>
                <c:pt idx="129">
                  <c:v>3.1217600000000001</c:v>
                </c:pt>
                <c:pt idx="130">
                  <c:v>1.7792000000000001</c:v>
                </c:pt>
                <c:pt idx="131">
                  <c:v>7.4943599999999995</c:v>
                </c:pt>
                <c:pt idx="132">
                  <c:v>2.7648399999999995</c:v>
                </c:pt>
                <c:pt idx="133">
                  <c:v>2.1926399999999999</c:v>
                </c:pt>
                <c:pt idx="134">
                  <c:v>4.4265600000000003</c:v>
                </c:pt>
                <c:pt idx="135">
                  <c:v>10.571099999999999</c:v>
                </c:pt>
                <c:pt idx="136">
                  <c:v>4.4742300000000004</c:v>
                </c:pt>
                <c:pt idx="137">
                  <c:v>3.9192</c:v>
                </c:pt>
                <c:pt idx="138">
                  <c:v>5.1132600000000004</c:v>
                </c:pt>
                <c:pt idx="139">
                  <c:v>5.3164499999999997</c:v>
                </c:pt>
                <c:pt idx="140">
                  <c:v>2.6682200000000003</c:v>
                </c:pt>
                <c:pt idx="141">
                  <c:v>2.1264099999999999</c:v>
                </c:pt>
                <c:pt idx="142">
                  <c:v>3.0411299999999999</c:v>
                </c:pt>
                <c:pt idx="143">
                  <c:v>4.2953400000000004</c:v>
                </c:pt>
                <c:pt idx="144">
                  <c:v>4.8837200000000003</c:v>
                </c:pt>
                <c:pt idx="145">
                  <c:v>2.1535799999999998</c:v>
                </c:pt>
                <c:pt idx="146">
                  <c:v>1.5908400000000003</c:v>
                </c:pt>
                <c:pt idx="147">
                  <c:v>15.6366</c:v>
                </c:pt>
                <c:pt idx="148">
                  <c:v>1.9737199999999999</c:v>
                </c:pt>
                <c:pt idx="149">
                  <c:v>20.380680000000002</c:v>
                </c:pt>
                <c:pt idx="150">
                  <c:v>14.03626</c:v>
                </c:pt>
                <c:pt idx="151">
                  <c:v>62.188720000000004</c:v>
                </c:pt>
                <c:pt idx="152">
                  <c:v>0.53172000000000008</c:v>
                </c:pt>
                <c:pt idx="153">
                  <c:v>23.63354</c:v>
                </c:pt>
                <c:pt idx="154">
                  <c:v>8.0915199999999992</c:v>
                </c:pt>
                <c:pt idx="155">
                  <c:v>6.8080800000000004</c:v>
                </c:pt>
                <c:pt idx="156">
                  <c:v>2.4690599999999998</c:v>
                </c:pt>
                <c:pt idx="157">
                  <c:v>1.7740799999999999</c:v>
                </c:pt>
                <c:pt idx="158">
                  <c:v>5.1383499999999991</c:v>
                </c:pt>
                <c:pt idx="159">
                  <c:v>2.9433499999999997</c:v>
                </c:pt>
                <c:pt idx="160">
                  <c:v>2.0263999999999998</c:v>
                </c:pt>
                <c:pt idx="161">
                  <c:v>2.8277899999999998</c:v>
                </c:pt>
                <c:pt idx="162">
                  <c:v>2.1205799999999999</c:v>
                </c:pt>
                <c:pt idx="163">
                  <c:v>1.1102799999999999</c:v>
                </c:pt>
                <c:pt idx="164">
                  <c:v>20.763600000000004</c:v>
                </c:pt>
                <c:pt idx="165">
                  <c:v>2.58996</c:v>
                </c:pt>
                <c:pt idx="166">
                  <c:v>3.1631000000000005</c:v>
                </c:pt>
                <c:pt idx="167">
                  <c:v>1.17747</c:v>
                </c:pt>
                <c:pt idx="168">
                  <c:v>1.04895</c:v>
                </c:pt>
                <c:pt idx="169">
                  <c:v>6.4300500000000005</c:v>
                </c:pt>
                <c:pt idx="170">
                  <c:v>5.9688400000000001</c:v>
                </c:pt>
                <c:pt idx="171">
                  <c:v>1.5904500000000001</c:v>
                </c:pt>
                <c:pt idx="172">
                  <c:v>5.5130400000000002</c:v>
                </c:pt>
                <c:pt idx="173">
                  <c:v>3.1415999999999999</c:v>
                </c:pt>
                <c:pt idx="174">
                  <c:v>2.79054</c:v>
                </c:pt>
                <c:pt idx="175">
                  <c:v>1.222</c:v>
                </c:pt>
                <c:pt idx="176">
                  <c:v>17.982600000000001</c:v>
                </c:pt>
                <c:pt idx="177">
                  <c:v>3.2315</c:v>
                </c:pt>
                <c:pt idx="178">
                  <c:v>11.581440000000001</c:v>
                </c:pt>
                <c:pt idx="179">
                  <c:v>4.1995800000000001</c:v>
                </c:pt>
                <c:pt idx="180">
                  <c:v>3.0713400000000002</c:v>
                </c:pt>
                <c:pt idx="181">
                  <c:v>3.2108000000000003</c:v>
                </c:pt>
                <c:pt idx="182">
                  <c:v>2.6161300000000001</c:v>
                </c:pt>
                <c:pt idx="183">
                  <c:v>1.7549999999999999</c:v>
                </c:pt>
                <c:pt idx="184">
                  <c:v>5.4730799999999995</c:v>
                </c:pt>
                <c:pt idx="185">
                  <c:v>6.1690700000000005</c:v>
                </c:pt>
                <c:pt idx="186">
                  <c:v>5.3906200000000002</c:v>
                </c:pt>
                <c:pt idx="187">
                  <c:v>5.3578999999999999</c:v>
                </c:pt>
                <c:pt idx="188">
                  <c:v>4.7062400000000002</c:v>
                </c:pt>
                <c:pt idx="189">
                  <c:v>13.24718</c:v>
                </c:pt>
                <c:pt idx="190">
                  <c:v>2.7093600000000002</c:v>
                </c:pt>
                <c:pt idx="191">
                  <c:v>3.8369</c:v>
                </c:pt>
                <c:pt idx="192">
                  <c:v>1.6723200000000003</c:v>
                </c:pt>
                <c:pt idx="193">
                  <c:v>74.492930000000001</c:v>
                </c:pt>
                <c:pt idx="194">
                  <c:v>16.701000000000001</c:v>
                </c:pt>
                <c:pt idx="195">
                  <c:v>9.9002400000000002</c:v>
                </c:pt>
                <c:pt idx="196">
                  <c:v>15.62</c:v>
                </c:pt>
                <c:pt idx="197">
                  <c:v>51.222239999999999</c:v>
                </c:pt>
                <c:pt idx="198">
                  <c:v>69.342929999999996</c:v>
                </c:pt>
                <c:pt idx="199">
                  <c:v>30.638300000000001</c:v>
                </c:pt>
                <c:pt idx="200">
                  <c:v>18.7591</c:v>
                </c:pt>
                <c:pt idx="201">
                  <c:v>4.8577599999999999</c:v>
                </c:pt>
                <c:pt idx="202">
                  <c:v>6.8031199999999998</c:v>
                </c:pt>
                <c:pt idx="203">
                  <c:v>5.5208999999999993</c:v>
                </c:pt>
                <c:pt idx="204">
                  <c:v>11.12032</c:v>
                </c:pt>
                <c:pt idx="205">
                  <c:v>7.5489300000000004</c:v>
                </c:pt>
                <c:pt idx="206">
                  <c:v>31.477499999999999</c:v>
                </c:pt>
                <c:pt idx="207">
                  <c:v>23.468250000000001</c:v>
                </c:pt>
                <c:pt idx="208">
                  <c:v>37.148549999999993</c:v>
                </c:pt>
                <c:pt idx="209">
                  <c:v>33.568080000000002</c:v>
                </c:pt>
                <c:pt idx="210">
                  <c:v>32.374650000000003</c:v>
                </c:pt>
                <c:pt idx="211">
                  <c:v>4.7881500000000008</c:v>
                </c:pt>
                <c:pt idx="212">
                  <c:v>14.708500000000001</c:v>
                </c:pt>
                <c:pt idx="213">
                  <c:v>12.643439999999998</c:v>
                </c:pt>
                <c:pt idx="214">
                  <c:v>9.2682199999999995</c:v>
                </c:pt>
                <c:pt idx="215">
                  <c:v>18.422040000000003</c:v>
                </c:pt>
                <c:pt idx="216">
                  <c:v>3.0222500000000001</c:v>
                </c:pt>
                <c:pt idx="217">
                  <c:v>21.45025</c:v>
                </c:pt>
                <c:pt idx="218">
                  <c:v>14.639310000000002</c:v>
                </c:pt>
                <c:pt idx="219">
                  <c:v>6.3405200000000006</c:v>
                </c:pt>
                <c:pt idx="220">
                  <c:v>5.7867599999999992</c:v>
                </c:pt>
                <c:pt idx="221">
                  <c:v>5.1067799999999997</c:v>
                </c:pt>
                <c:pt idx="222">
                  <c:v>9.7794599999999985</c:v>
                </c:pt>
                <c:pt idx="223">
                  <c:v>5.9093099999999996</c:v>
                </c:pt>
                <c:pt idx="224">
                  <c:v>2.6219999999999999</c:v>
                </c:pt>
                <c:pt idx="225">
                  <c:v>4.80654</c:v>
                </c:pt>
                <c:pt idx="226">
                  <c:v>9.0323999999999991</c:v>
                </c:pt>
                <c:pt idx="227">
                  <c:v>7.5133799999999997</c:v>
                </c:pt>
                <c:pt idx="228">
                  <c:v>6.12</c:v>
                </c:pt>
                <c:pt idx="229">
                  <c:v>4.9278000000000004</c:v>
                </c:pt>
                <c:pt idx="230">
                  <c:v>4.6503300000000003</c:v>
                </c:pt>
                <c:pt idx="231">
                  <c:v>2.9474500000000003</c:v>
                </c:pt>
                <c:pt idx="232">
                  <c:v>2.2865100000000003</c:v>
                </c:pt>
                <c:pt idx="233">
                  <c:v>1.9929600000000001</c:v>
                </c:pt>
                <c:pt idx="234">
                  <c:v>4.0194000000000001</c:v>
                </c:pt>
                <c:pt idx="235">
                  <c:v>9.3000000000000007</c:v>
                </c:pt>
                <c:pt idx="236">
                  <c:v>19.084139999999998</c:v>
                </c:pt>
                <c:pt idx="237">
                  <c:v>14.984729999999999</c:v>
                </c:pt>
                <c:pt idx="238">
                  <c:v>8.1502199999999991</c:v>
                </c:pt>
                <c:pt idx="239">
                  <c:v>22.091839999999998</c:v>
                </c:pt>
                <c:pt idx="240">
                  <c:v>1.1303299999999998</c:v>
                </c:pt>
                <c:pt idx="241">
                  <c:v>1.7031400000000001</c:v>
                </c:pt>
                <c:pt idx="242">
                  <c:v>4.9558599999999995</c:v>
                </c:pt>
                <c:pt idx="243">
                  <c:v>2.9116500000000003</c:v>
                </c:pt>
                <c:pt idx="244">
                  <c:v>3.4580000000000002</c:v>
                </c:pt>
                <c:pt idx="245">
                  <c:v>1.75404</c:v>
                </c:pt>
                <c:pt idx="246">
                  <c:v>0.51741999999999999</c:v>
                </c:pt>
                <c:pt idx="247">
                  <c:v>0.8589</c:v>
                </c:pt>
                <c:pt idx="248">
                  <c:v>0.83650000000000002</c:v>
                </c:pt>
                <c:pt idx="249">
                  <c:v>2.0673900000000001</c:v>
                </c:pt>
                <c:pt idx="250">
                  <c:v>2.4723000000000002</c:v>
                </c:pt>
                <c:pt idx="251">
                  <c:v>3.5042700000000004</c:v>
                </c:pt>
                <c:pt idx="252">
                  <c:v>1.9497099999999998</c:v>
                </c:pt>
                <c:pt idx="253">
                  <c:v>5.4843400000000004</c:v>
                </c:pt>
                <c:pt idx="254">
                  <c:v>5.782</c:v>
                </c:pt>
                <c:pt idx="255">
                  <c:v>4.8879999999999999</c:v>
                </c:pt>
                <c:pt idx="256">
                  <c:v>6.5331000000000001</c:v>
                </c:pt>
                <c:pt idx="257">
                  <c:v>13.53834</c:v>
                </c:pt>
                <c:pt idx="258">
                  <c:v>16.452959999999997</c:v>
                </c:pt>
                <c:pt idx="259">
                  <c:v>8.2348000000000017</c:v>
                </c:pt>
                <c:pt idx="260">
                  <c:v>17.400509999999997</c:v>
                </c:pt>
                <c:pt idx="261">
                  <c:v>14.544360000000001</c:v>
                </c:pt>
                <c:pt idx="262">
                  <c:v>34.333529999999996</c:v>
                </c:pt>
                <c:pt idx="263">
                  <c:v>13.99485</c:v>
                </c:pt>
                <c:pt idx="264">
                  <c:v>7.9028300000000007</c:v>
                </c:pt>
                <c:pt idx="265">
                  <c:v>4.6411999999999995</c:v>
                </c:pt>
                <c:pt idx="266">
                  <c:v>19.74427</c:v>
                </c:pt>
                <c:pt idx="267">
                  <c:v>3.8134800000000006</c:v>
                </c:pt>
                <c:pt idx="268">
                  <c:v>5.5507</c:v>
                </c:pt>
                <c:pt idx="269">
                  <c:v>14.673999999999999</c:v>
                </c:pt>
                <c:pt idx="270">
                  <c:v>28.78651</c:v>
                </c:pt>
                <c:pt idx="271">
                  <c:v>8.9111999999999991</c:v>
                </c:pt>
                <c:pt idx="272">
                  <c:v>3.8527999999999998</c:v>
                </c:pt>
                <c:pt idx="273">
                  <c:v>9.1623600000000014</c:v>
                </c:pt>
                <c:pt idx="274">
                  <c:v>8.3699999999999992</c:v>
                </c:pt>
                <c:pt idx="275">
                  <c:v>10.391549999999999</c:v>
                </c:pt>
                <c:pt idx="276">
                  <c:v>4.6792499999999997</c:v>
                </c:pt>
                <c:pt idx="277">
                  <c:v>11.468</c:v>
                </c:pt>
                <c:pt idx="278">
                  <c:v>6.4583999999999993</c:v>
                </c:pt>
                <c:pt idx="279">
                  <c:v>9.0884199999999993</c:v>
                </c:pt>
                <c:pt idx="280">
                  <c:v>3.8495300000000001</c:v>
                </c:pt>
                <c:pt idx="281">
                  <c:v>2.4717000000000002</c:v>
                </c:pt>
                <c:pt idx="282">
                  <c:v>2.47384</c:v>
                </c:pt>
                <c:pt idx="283">
                  <c:v>2.31948</c:v>
                </c:pt>
                <c:pt idx="284">
                  <c:v>2.8437200000000002</c:v>
                </c:pt>
                <c:pt idx="285">
                  <c:v>5.2851000000000008</c:v>
                </c:pt>
                <c:pt idx="286">
                  <c:v>4.1723999999999997</c:v>
                </c:pt>
                <c:pt idx="287">
                  <c:v>23.452000000000002</c:v>
                </c:pt>
                <c:pt idx="288">
                  <c:v>58.647599999999997</c:v>
                </c:pt>
                <c:pt idx="289">
                  <c:v>25.731000000000002</c:v>
                </c:pt>
                <c:pt idx="290">
                  <c:v>13.423680000000001</c:v>
                </c:pt>
                <c:pt idx="291">
                  <c:v>18.72927</c:v>
                </c:pt>
                <c:pt idx="292">
                  <c:v>11.175799999999999</c:v>
                </c:pt>
                <c:pt idx="293">
                  <c:v>8.9578799999999994</c:v>
                </c:pt>
                <c:pt idx="294">
                  <c:v>10.432619999999998</c:v>
                </c:pt>
                <c:pt idx="295">
                  <c:v>5.4587500000000002</c:v>
                </c:pt>
                <c:pt idx="296">
                  <c:v>31.837599999999998</c:v>
                </c:pt>
                <c:pt idx="297">
                  <c:v>8.6067</c:v>
                </c:pt>
                <c:pt idx="298">
                  <c:v>37.797760000000004</c:v>
                </c:pt>
                <c:pt idx="299">
                  <c:v>8.83779</c:v>
                </c:pt>
                <c:pt idx="300">
                  <c:v>25.964400000000001</c:v>
                </c:pt>
                <c:pt idx="301">
                  <c:v>6.4581099999999996</c:v>
                </c:pt>
                <c:pt idx="302">
                  <c:v>8.3979600000000012</c:v>
                </c:pt>
                <c:pt idx="303">
                  <c:v>22.015780000000003</c:v>
                </c:pt>
                <c:pt idx="304">
                  <c:v>13.79792</c:v>
                </c:pt>
                <c:pt idx="305">
                  <c:v>4.9298400000000004</c:v>
                </c:pt>
                <c:pt idx="306">
                  <c:v>8.9977499999999999</c:v>
                </c:pt>
                <c:pt idx="307">
                  <c:v>3.2513400000000003</c:v>
                </c:pt>
                <c:pt idx="308">
                  <c:v>11.89622</c:v>
                </c:pt>
                <c:pt idx="309">
                  <c:v>3.1648000000000001</c:v>
                </c:pt>
                <c:pt idx="310">
                  <c:v>3.1827999999999999</c:v>
                </c:pt>
                <c:pt idx="311">
                  <c:v>5.1294599999999999</c:v>
                </c:pt>
                <c:pt idx="312">
                  <c:v>5.9975999999999994</c:v>
                </c:pt>
                <c:pt idx="313">
                  <c:v>7.4619999999999997</c:v>
                </c:pt>
                <c:pt idx="314">
                  <c:v>3.8220000000000001</c:v>
                </c:pt>
                <c:pt idx="315">
                  <c:v>2.4489299999999998</c:v>
                </c:pt>
                <c:pt idx="316">
                  <c:v>18.9924</c:v>
                </c:pt>
                <c:pt idx="317">
                  <c:v>22.356890000000003</c:v>
                </c:pt>
                <c:pt idx="318">
                  <c:v>12.841760000000001</c:v>
                </c:pt>
                <c:pt idx="319">
                  <c:v>5.8815899999999992</c:v>
                </c:pt>
                <c:pt idx="320">
                  <c:v>10.937419999999999</c:v>
                </c:pt>
                <c:pt idx="321">
                  <c:v>20.1035</c:v>
                </c:pt>
                <c:pt idx="322">
                  <c:v>8.9746200000000016</c:v>
                </c:pt>
                <c:pt idx="323">
                  <c:v>6.0398000000000005</c:v>
                </c:pt>
                <c:pt idx="324">
                  <c:v>9.1791</c:v>
                </c:pt>
                <c:pt idx="325">
                  <c:v>1.3811799999999999</c:v>
                </c:pt>
                <c:pt idx="326">
                  <c:v>5.7374800000000006</c:v>
                </c:pt>
                <c:pt idx="327">
                  <c:v>6.2351200000000011</c:v>
                </c:pt>
                <c:pt idx="328">
                  <c:v>4.0740999999999996</c:v>
                </c:pt>
                <c:pt idx="329">
                  <c:v>4.4442899999999996</c:v>
                </c:pt>
                <c:pt idx="330">
                  <c:v>6.7834200000000004</c:v>
                </c:pt>
                <c:pt idx="331">
                  <c:v>12.471299999999999</c:v>
                </c:pt>
                <c:pt idx="332">
                  <c:v>4.2170199999999998</c:v>
                </c:pt>
                <c:pt idx="333">
                  <c:v>31.1892</c:v>
                </c:pt>
                <c:pt idx="334">
                  <c:v>10.529399999999999</c:v>
                </c:pt>
                <c:pt idx="335">
                  <c:v>49.958280000000002</c:v>
                </c:pt>
                <c:pt idx="336">
                  <c:v>25.15766</c:v>
                </c:pt>
                <c:pt idx="337">
                  <c:v>29.286009999999997</c:v>
                </c:pt>
                <c:pt idx="338">
                  <c:v>73.072179999999989</c:v>
                </c:pt>
                <c:pt idx="339">
                  <c:v>12.9495</c:v>
                </c:pt>
                <c:pt idx="340">
                  <c:v>22.220359999999999</c:v>
                </c:pt>
                <c:pt idx="341">
                  <c:v>12.437850000000001</c:v>
                </c:pt>
                <c:pt idx="342">
                  <c:v>7.6395999999999997</c:v>
                </c:pt>
                <c:pt idx="343">
                  <c:v>6.1442200000000007</c:v>
                </c:pt>
                <c:pt idx="344">
                  <c:v>6.7118400000000005</c:v>
                </c:pt>
                <c:pt idx="345">
                  <c:v>7.49864</c:v>
                </c:pt>
                <c:pt idx="346">
                  <c:v>4.6852</c:v>
                </c:pt>
                <c:pt idx="347">
                  <c:v>4.2811000000000003</c:v>
                </c:pt>
                <c:pt idx="348">
                  <c:v>15.262499999999999</c:v>
                </c:pt>
                <c:pt idx="349">
                  <c:v>2.9535999999999998</c:v>
                </c:pt>
                <c:pt idx="350">
                  <c:v>3.8529599999999999</c:v>
                </c:pt>
                <c:pt idx="351">
                  <c:v>6.6522300000000003</c:v>
                </c:pt>
                <c:pt idx="352">
                  <c:v>5.7629999999999999</c:v>
                </c:pt>
                <c:pt idx="353">
                  <c:v>3.82674</c:v>
                </c:pt>
                <c:pt idx="354">
                  <c:v>14.44257</c:v>
                </c:pt>
                <c:pt idx="355">
                  <c:v>15.659780000000001</c:v>
                </c:pt>
                <c:pt idx="356">
                  <c:v>21.77148</c:v>
                </c:pt>
                <c:pt idx="357">
                  <c:v>38.418730000000004</c:v>
                </c:pt>
                <c:pt idx="358">
                  <c:v>26.893999999999998</c:v>
                </c:pt>
                <c:pt idx="359">
                  <c:v>16.467359999999999</c:v>
                </c:pt>
                <c:pt idx="360">
                  <c:v>16.746599999999997</c:v>
                </c:pt>
                <c:pt idx="361">
                  <c:v>14.1515</c:v>
                </c:pt>
                <c:pt idx="362">
                  <c:v>16.716180000000001</c:v>
                </c:pt>
                <c:pt idx="363">
                  <c:v>16.88148</c:v>
                </c:pt>
                <c:pt idx="364">
                  <c:v>11.125530000000001</c:v>
                </c:pt>
                <c:pt idx="365">
                  <c:v>11.902559999999999</c:v>
                </c:pt>
                <c:pt idx="366">
                  <c:v>40.724959999999996</c:v>
                </c:pt>
                <c:pt idx="367">
                  <c:v>17.284500000000001</c:v>
                </c:pt>
                <c:pt idx="368">
                  <c:v>43.009779999999999</c:v>
                </c:pt>
                <c:pt idx="369">
                  <c:v>23.74962</c:v>
                </c:pt>
                <c:pt idx="370">
                  <c:v>37.560510000000001</c:v>
                </c:pt>
                <c:pt idx="371">
                  <c:v>31.349760000000003</c:v>
                </c:pt>
                <c:pt idx="372">
                  <c:v>12.066529999999998</c:v>
                </c:pt>
                <c:pt idx="373">
                  <c:v>20.6815</c:v>
                </c:pt>
                <c:pt idx="374">
                  <c:v>7.7550100000000004</c:v>
                </c:pt>
                <c:pt idx="375">
                  <c:v>6.5080799999999996</c:v>
                </c:pt>
                <c:pt idx="376">
                  <c:v>5.1878400000000005</c:v>
                </c:pt>
                <c:pt idx="377">
                  <c:v>5.1110100000000003</c:v>
                </c:pt>
                <c:pt idx="378">
                  <c:v>7.1298000000000004</c:v>
                </c:pt>
                <c:pt idx="379">
                  <c:v>39.557470000000002</c:v>
                </c:pt>
                <c:pt idx="380">
                  <c:v>37.957590000000003</c:v>
                </c:pt>
                <c:pt idx="381">
                  <c:v>41.525679999999994</c:v>
                </c:pt>
                <c:pt idx="382">
                  <c:v>10.14832</c:v>
                </c:pt>
                <c:pt idx="383">
                  <c:v>20.196000000000002</c:v>
                </c:pt>
                <c:pt idx="384">
                  <c:v>30.310500000000001</c:v>
                </c:pt>
                <c:pt idx="385">
                  <c:v>70.239639999999994</c:v>
                </c:pt>
                <c:pt idx="386">
                  <c:v>49.191840000000006</c:v>
                </c:pt>
                <c:pt idx="387">
                  <c:v>27.350560000000002</c:v>
                </c:pt>
                <c:pt idx="388">
                  <c:v>21.618399999999998</c:v>
                </c:pt>
                <c:pt idx="389">
                  <c:v>59.459400000000002</c:v>
                </c:pt>
                <c:pt idx="390">
                  <c:v>84.936959999999985</c:v>
                </c:pt>
                <c:pt idx="391">
                  <c:v>109.66683</c:v>
                </c:pt>
                <c:pt idx="392">
                  <c:v>52.744510000000005</c:v>
                </c:pt>
                <c:pt idx="393">
                  <c:v>67.936949999999996</c:v>
                </c:pt>
                <c:pt idx="394">
                  <c:v>89.190719999999999</c:v>
                </c:pt>
                <c:pt idx="395">
                  <c:v>187.53227999999999</c:v>
                </c:pt>
                <c:pt idx="396">
                  <c:v>61.672200000000004</c:v>
                </c:pt>
                <c:pt idx="397">
                  <c:v>40.829219999999992</c:v>
                </c:pt>
                <c:pt idx="398">
                  <c:v>175.13705999999999</c:v>
                </c:pt>
                <c:pt idx="399">
                  <c:v>107.59584</c:v>
                </c:pt>
                <c:pt idx="400">
                  <c:v>125.73041000000001</c:v>
                </c:pt>
                <c:pt idx="401">
                  <c:v>54.311039999999998</c:v>
                </c:pt>
                <c:pt idx="402">
                  <c:v>98.389800000000008</c:v>
                </c:pt>
                <c:pt idx="403">
                  <c:v>131.63273999999998</c:v>
                </c:pt>
                <c:pt idx="404">
                  <c:v>83.389499999999998</c:v>
                </c:pt>
                <c:pt idx="405">
                  <c:v>113.12106000000001</c:v>
                </c:pt>
                <c:pt idx="406">
                  <c:v>287.43736999999999</c:v>
                </c:pt>
                <c:pt idx="407">
                  <c:v>36.089190000000002</c:v>
                </c:pt>
                <c:pt idx="408">
                  <c:v>32.161049999999996</c:v>
                </c:pt>
                <c:pt idx="409">
                  <c:v>31.56495</c:v>
                </c:pt>
                <c:pt idx="410">
                  <c:v>37.873800000000003</c:v>
                </c:pt>
                <c:pt idx="411">
                  <c:v>25.582899999999999</c:v>
                </c:pt>
                <c:pt idx="412">
                  <c:v>31.439100000000003</c:v>
                </c:pt>
                <c:pt idx="413">
                  <c:v>17.45055</c:v>
                </c:pt>
                <c:pt idx="414">
                  <c:v>41.57808</c:v>
                </c:pt>
                <c:pt idx="415">
                  <c:v>42.856999999999999</c:v>
                </c:pt>
                <c:pt idx="416">
                  <c:v>27.373279999999998</c:v>
                </c:pt>
                <c:pt idx="417">
                  <c:v>18.45975</c:v>
                </c:pt>
                <c:pt idx="418">
                  <c:v>31.4499</c:v>
                </c:pt>
                <c:pt idx="419">
                  <c:v>47.131819999999998</c:v>
                </c:pt>
                <c:pt idx="420">
                  <c:v>7.1996799999999999</c:v>
                </c:pt>
                <c:pt idx="421">
                  <c:v>37.264919999999996</c:v>
                </c:pt>
                <c:pt idx="422">
                  <c:v>49.903559999999999</c:v>
                </c:pt>
                <c:pt idx="423">
                  <c:v>24.68928</c:v>
                </c:pt>
                <c:pt idx="424">
                  <c:v>21.283510000000003</c:v>
                </c:pt>
                <c:pt idx="425">
                  <c:v>24.615780000000001</c:v>
                </c:pt>
                <c:pt idx="426">
                  <c:v>19.407850000000003</c:v>
                </c:pt>
                <c:pt idx="427">
                  <c:v>18.02524</c:v>
                </c:pt>
                <c:pt idx="428">
                  <c:v>56.90692</c:v>
                </c:pt>
                <c:pt idx="429">
                  <c:v>66.907920000000004</c:v>
                </c:pt>
                <c:pt idx="430">
                  <c:v>51.301580000000001</c:v>
                </c:pt>
                <c:pt idx="431">
                  <c:v>37.288620000000002</c:v>
                </c:pt>
                <c:pt idx="432">
                  <c:v>30.977330000000002</c:v>
                </c:pt>
                <c:pt idx="433">
                  <c:v>23.040990000000001</c:v>
                </c:pt>
                <c:pt idx="434">
                  <c:v>24.790359999999996</c:v>
                </c:pt>
                <c:pt idx="435">
                  <c:v>17.85014</c:v>
                </c:pt>
                <c:pt idx="436">
                  <c:v>37.477439999999994</c:v>
                </c:pt>
                <c:pt idx="437">
                  <c:v>15.34412</c:v>
                </c:pt>
                <c:pt idx="438">
                  <c:v>30.114619999999999</c:v>
                </c:pt>
                <c:pt idx="439">
                  <c:v>21.398520000000001</c:v>
                </c:pt>
                <c:pt idx="440">
                  <c:v>9.2062000000000008</c:v>
                </c:pt>
                <c:pt idx="441">
                  <c:v>48.304079999999999</c:v>
                </c:pt>
                <c:pt idx="442">
                  <c:v>11.00902</c:v>
                </c:pt>
                <c:pt idx="443">
                  <c:v>17.053399999999996</c:v>
                </c:pt>
                <c:pt idx="444">
                  <c:v>21.17146</c:v>
                </c:pt>
                <c:pt idx="445">
                  <c:v>27.626759999999997</c:v>
                </c:pt>
                <c:pt idx="446">
                  <c:v>33.26135</c:v>
                </c:pt>
                <c:pt idx="447">
                  <c:v>40.533799999999992</c:v>
                </c:pt>
                <c:pt idx="448">
                  <c:v>33.30912</c:v>
                </c:pt>
                <c:pt idx="449">
                  <c:v>48.760379999999998</c:v>
                </c:pt>
                <c:pt idx="450">
                  <c:v>33.480230000000006</c:v>
                </c:pt>
                <c:pt idx="451">
                  <c:v>68.647949999999994</c:v>
                </c:pt>
                <c:pt idx="452">
                  <c:v>48.055279999999996</c:v>
                </c:pt>
                <c:pt idx="453">
                  <c:v>39.150659999999995</c:v>
                </c:pt>
                <c:pt idx="454">
                  <c:v>47.582920000000001</c:v>
                </c:pt>
                <c:pt idx="455">
                  <c:v>51.459380000000003</c:v>
                </c:pt>
                <c:pt idx="456">
                  <c:v>65.13</c:v>
                </c:pt>
                <c:pt idx="457">
                  <c:v>27.964770000000001</c:v>
                </c:pt>
                <c:pt idx="458">
                  <c:v>24.749669999999998</c:v>
                </c:pt>
                <c:pt idx="459">
                  <c:v>73.988799999999998</c:v>
                </c:pt>
                <c:pt idx="460">
                  <c:v>61.754399999999997</c:v>
                </c:pt>
                <c:pt idx="461">
                  <c:v>88.158839999999998</c:v>
                </c:pt>
                <c:pt idx="462">
                  <c:v>56.94444</c:v>
                </c:pt>
                <c:pt idx="463">
                  <c:v>79.408980000000014</c:v>
                </c:pt>
                <c:pt idx="464">
                  <c:v>78.979099999999988</c:v>
                </c:pt>
                <c:pt idx="465">
                  <c:v>207.30840000000001</c:v>
                </c:pt>
                <c:pt idx="466">
                  <c:v>123.24692</c:v>
                </c:pt>
                <c:pt idx="467">
                  <c:v>195.81048000000001</c:v>
                </c:pt>
                <c:pt idx="468">
                  <c:v>135.46364000000003</c:v>
                </c:pt>
                <c:pt idx="469">
                  <c:v>98.353499999999997</c:v>
                </c:pt>
                <c:pt idx="470">
                  <c:v>266.5102</c:v>
                </c:pt>
                <c:pt idx="471">
                  <c:v>82.205160000000006</c:v>
                </c:pt>
                <c:pt idx="472">
                  <c:v>69.510599999999997</c:v>
                </c:pt>
                <c:pt idx="473">
                  <c:v>54.136120000000005</c:v>
                </c:pt>
                <c:pt idx="474">
                  <c:v>44.060940000000002</c:v>
                </c:pt>
                <c:pt idx="475">
                  <c:v>28.981609999999996</c:v>
                </c:pt>
                <c:pt idx="476">
                  <c:v>32.094999999999999</c:v>
                </c:pt>
                <c:pt idx="477">
                  <c:v>71.250559999999993</c:v>
                </c:pt>
                <c:pt idx="478">
                  <c:v>72.008300000000006</c:v>
                </c:pt>
                <c:pt idx="479">
                  <c:v>25.935359999999996</c:v>
                </c:pt>
                <c:pt idx="480">
                  <c:v>47.333440000000003</c:v>
                </c:pt>
                <c:pt idx="481">
                  <c:v>27.28632</c:v>
                </c:pt>
                <c:pt idx="482">
                  <c:v>37.746659999999999</c:v>
                </c:pt>
                <c:pt idx="483">
                  <c:v>95.643360000000001</c:v>
                </c:pt>
                <c:pt idx="484">
                  <c:v>61.201239999999999</c:v>
                </c:pt>
                <c:pt idx="485">
                  <c:v>34.173590000000004</c:v>
                </c:pt>
                <c:pt idx="486">
                  <c:v>25.089739999999999</c:v>
                </c:pt>
                <c:pt idx="487">
                  <c:v>99.547840000000008</c:v>
                </c:pt>
                <c:pt idx="488">
                  <c:v>63.144600000000004</c:v>
                </c:pt>
                <c:pt idx="489">
                  <c:v>60.001760000000004</c:v>
                </c:pt>
                <c:pt idx="490">
                  <c:v>15.075359999999998</c:v>
                </c:pt>
                <c:pt idx="491">
                  <c:v>37.409219999999998</c:v>
                </c:pt>
                <c:pt idx="492">
                  <c:v>74.84845</c:v>
                </c:pt>
                <c:pt idx="493">
                  <c:v>59.238270000000007</c:v>
                </c:pt>
                <c:pt idx="494">
                  <c:v>22.661760000000001</c:v>
                </c:pt>
                <c:pt idx="495">
                  <c:v>14.59868</c:v>
                </c:pt>
                <c:pt idx="496">
                  <c:v>5.5670999999999999</c:v>
                </c:pt>
                <c:pt idx="497">
                  <c:v>17.489439999999998</c:v>
                </c:pt>
                <c:pt idx="498">
                  <c:v>13.388159999999999</c:v>
                </c:pt>
                <c:pt idx="499">
                  <c:v>8.2700800000000001</c:v>
                </c:pt>
                <c:pt idx="500">
                  <c:v>14.393109999999998</c:v>
                </c:pt>
                <c:pt idx="501">
                  <c:v>27.55904</c:v>
                </c:pt>
                <c:pt idx="502">
                  <c:v>9.8780399999999986</c:v>
                </c:pt>
                <c:pt idx="503">
                  <c:v>26.839320000000004</c:v>
                </c:pt>
                <c:pt idx="504">
                  <c:v>26.950560000000003</c:v>
                </c:pt>
                <c:pt idx="505">
                  <c:v>75.881520000000009</c:v>
                </c:pt>
                <c:pt idx="506">
                  <c:v>33.840499999999999</c:v>
                </c:pt>
                <c:pt idx="507">
                  <c:v>64.66422</c:v>
                </c:pt>
                <c:pt idx="508">
                  <c:v>56.781129999999997</c:v>
                </c:pt>
                <c:pt idx="509">
                  <c:v>43.199799999999996</c:v>
                </c:pt>
                <c:pt idx="510">
                  <c:v>41.214200000000005</c:v>
                </c:pt>
                <c:pt idx="511">
                  <c:v>54.417439999999992</c:v>
                </c:pt>
                <c:pt idx="512">
                  <c:v>82.891829999999999</c:v>
                </c:pt>
                <c:pt idx="513">
                  <c:v>84.577919999999992</c:v>
                </c:pt>
                <c:pt idx="514">
                  <c:v>156.49379999999999</c:v>
                </c:pt>
                <c:pt idx="515">
                  <c:v>52.381970000000003</c:v>
                </c:pt>
                <c:pt idx="516">
                  <c:v>26.215199999999996</c:v>
                </c:pt>
                <c:pt idx="517">
                  <c:v>46.411079999999998</c:v>
                </c:pt>
                <c:pt idx="518">
                  <c:v>24.128499999999999</c:v>
                </c:pt>
                <c:pt idx="519">
                  <c:v>43.530239999999999</c:v>
                </c:pt>
                <c:pt idx="520">
                  <c:v>32.208750000000002</c:v>
                </c:pt>
                <c:pt idx="521">
                  <c:v>43.784500000000001</c:v>
                </c:pt>
                <c:pt idx="522">
                  <c:v>28.306560000000001</c:v>
                </c:pt>
                <c:pt idx="523">
                  <c:v>23.552799999999998</c:v>
                </c:pt>
                <c:pt idx="524">
                  <c:v>37.91489</c:v>
                </c:pt>
                <c:pt idx="525">
                  <c:v>45.111330000000002</c:v>
                </c:pt>
                <c:pt idx="526">
                  <c:v>61.566960000000009</c:v>
                </c:pt>
                <c:pt idx="527">
                  <c:v>63.277420000000006</c:v>
                </c:pt>
                <c:pt idx="528">
                  <c:v>8.2898800000000001</c:v>
                </c:pt>
                <c:pt idx="529">
                  <c:v>30.718829999999997</c:v>
                </c:pt>
                <c:pt idx="530">
                  <c:v>50.874879999999997</c:v>
                </c:pt>
                <c:pt idx="531">
                  <c:v>35.617799999999995</c:v>
                </c:pt>
                <c:pt idx="532">
                  <c:v>70.371839999999992</c:v>
                </c:pt>
                <c:pt idx="533">
                  <c:v>21.962709999999998</c:v>
                </c:pt>
                <c:pt idx="534">
                  <c:v>40.258919999999996</c:v>
                </c:pt>
                <c:pt idx="535">
                  <c:v>67.111649999999997</c:v>
                </c:pt>
                <c:pt idx="536">
                  <c:v>47.687920000000005</c:v>
                </c:pt>
                <c:pt idx="537">
                  <c:v>50.436360000000001</c:v>
                </c:pt>
                <c:pt idx="538">
                  <c:v>45.12539000000001</c:v>
                </c:pt>
                <c:pt idx="539">
                  <c:v>33.383679999999998</c:v>
                </c:pt>
                <c:pt idx="540">
                  <c:v>35.82</c:v>
                </c:pt>
                <c:pt idx="541">
                  <c:v>53.584399999999995</c:v>
                </c:pt>
                <c:pt idx="542">
                  <c:v>30.484800000000003</c:v>
                </c:pt>
                <c:pt idx="543">
                  <c:v>35.263680000000001</c:v>
                </c:pt>
                <c:pt idx="544">
                  <c:v>57.098399999999991</c:v>
                </c:pt>
                <c:pt idx="545">
                  <c:v>41.813719999999996</c:v>
                </c:pt>
                <c:pt idx="546">
                  <c:v>59.219880000000003</c:v>
                </c:pt>
                <c:pt idx="547">
                  <c:v>92.731859999999998</c:v>
                </c:pt>
                <c:pt idx="548">
                  <c:v>99.123000000000005</c:v>
                </c:pt>
                <c:pt idx="549">
                  <c:v>63.838949999999997</c:v>
                </c:pt>
                <c:pt idx="550">
                  <c:v>75.344319999999996</c:v>
                </c:pt>
                <c:pt idx="551">
                  <c:v>54.783999999999999</c:v>
                </c:pt>
                <c:pt idx="552">
                  <c:v>96.796880000000002</c:v>
                </c:pt>
                <c:pt idx="553">
                  <c:v>107.82411999999999</c:v>
                </c:pt>
                <c:pt idx="554">
                  <c:v>97.490200000000002</c:v>
                </c:pt>
                <c:pt idx="555">
                  <c:v>107.11828</c:v>
                </c:pt>
                <c:pt idx="556">
                  <c:v>52.542000000000002</c:v>
                </c:pt>
                <c:pt idx="557">
                  <c:v>21.8705</c:v>
                </c:pt>
                <c:pt idx="558">
                  <c:v>14.528639999999999</c:v>
                </c:pt>
                <c:pt idx="559">
                  <c:v>44.629199999999997</c:v>
                </c:pt>
                <c:pt idx="560">
                  <c:v>45.07488</c:v>
                </c:pt>
                <c:pt idx="561">
                  <c:v>42.081200000000003</c:v>
                </c:pt>
                <c:pt idx="562">
                  <c:v>102.60945000000001</c:v>
                </c:pt>
                <c:pt idx="563">
                  <c:v>71.543999999999997</c:v>
                </c:pt>
                <c:pt idx="564">
                  <c:v>73.648960000000002</c:v>
                </c:pt>
                <c:pt idx="565">
                  <c:v>54.267720000000004</c:v>
                </c:pt>
                <c:pt idx="566">
                  <c:v>62.583520000000007</c:v>
                </c:pt>
                <c:pt idx="567">
                  <c:v>42.476460000000003</c:v>
                </c:pt>
                <c:pt idx="568">
                  <c:v>55.547260000000001</c:v>
                </c:pt>
                <c:pt idx="569">
                  <c:v>50.804499999999997</c:v>
                </c:pt>
                <c:pt idx="570">
                  <c:v>23.489800000000002</c:v>
                </c:pt>
                <c:pt idx="571">
                  <c:v>34.672239999999995</c:v>
                </c:pt>
                <c:pt idx="572">
                  <c:v>81.357599999999991</c:v>
                </c:pt>
                <c:pt idx="573">
                  <c:v>50.284599999999998</c:v>
                </c:pt>
                <c:pt idx="574">
                  <c:v>21.421680000000002</c:v>
                </c:pt>
                <c:pt idx="575">
                  <c:v>49.514499999999998</c:v>
                </c:pt>
                <c:pt idx="576">
                  <c:v>32.145600000000002</c:v>
                </c:pt>
                <c:pt idx="577">
                  <c:v>25.164160000000003</c:v>
                </c:pt>
                <c:pt idx="578">
                  <c:v>35.028500000000001</c:v>
                </c:pt>
                <c:pt idx="579">
                  <c:v>28.286840000000002</c:v>
                </c:pt>
                <c:pt idx="580">
                  <c:v>23.183160000000001</c:v>
                </c:pt>
                <c:pt idx="581">
                  <c:v>35.586800000000004</c:v>
                </c:pt>
                <c:pt idx="582">
                  <c:v>27.60576</c:v>
                </c:pt>
                <c:pt idx="583">
                  <c:v>57.664509999999993</c:v>
                </c:pt>
                <c:pt idx="584">
                  <c:v>34.345079999999996</c:v>
                </c:pt>
                <c:pt idx="585">
                  <c:v>38.528400000000005</c:v>
                </c:pt>
                <c:pt idx="586">
                  <c:v>26.993179999999999</c:v>
                </c:pt>
                <c:pt idx="587">
                  <c:v>34.083390000000001</c:v>
                </c:pt>
                <c:pt idx="588">
                  <c:v>52.752459999999999</c:v>
                </c:pt>
                <c:pt idx="589">
                  <c:v>62.133799999999994</c:v>
                </c:pt>
                <c:pt idx="590">
                  <c:v>32.199790000000007</c:v>
                </c:pt>
                <c:pt idx="591">
                  <c:v>74.241280000000003</c:v>
                </c:pt>
                <c:pt idx="592">
                  <c:v>38.372440000000005</c:v>
                </c:pt>
                <c:pt idx="593">
                  <c:v>56.081299999999999</c:v>
                </c:pt>
                <c:pt idx="594">
                  <c:v>71.607900000000015</c:v>
                </c:pt>
                <c:pt idx="595">
                  <c:v>77.023169999999993</c:v>
                </c:pt>
                <c:pt idx="596">
                  <c:v>81.546859999999995</c:v>
                </c:pt>
                <c:pt idx="597">
                  <c:v>92.219920000000016</c:v>
                </c:pt>
                <c:pt idx="598">
                  <c:v>70.205040000000011</c:v>
                </c:pt>
                <c:pt idx="599">
                  <c:v>37.372320000000002</c:v>
                </c:pt>
                <c:pt idx="600">
                  <c:v>31.428840000000001</c:v>
                </c:pt>
                <c:pt idx="601">
                  <c:v>27.187290000000001</c:v>
                </c:pt>
                <c:pt idx="602">
                  <c:v>14.720649999999999</c:v>
                </c:pt>
                <c:pt idx="603">
                  <c:v>34.511939999999996</c:v>
                </c:pt>
                <c:pt idx="604">
                  <c:v>27.99794</c:v>
                </c:pt>
                <c:pt idx="605">
                  <c:v>24.92268</c:v>
                </c:pt>
                <c:pt idx="606">
                  <c:v>47.430720000000001</c:v>
                </c:pt>
                <c:pt idx="607">
                  <c:v>37.314970000000002</c:v>
                </c:pt>
                <c:pt idx="608">
                  <c:v>42.323099999999997</c:v>
                </c:pt>
                <c:pt idx="609">
                  <c:v>80.774869999999993</c:v>
                </c:pt>
                <c:pt idx="610">
                  <c:v>99.756180000000001</c:v>
                </c:pt>
                <c:pt idx="611">
                  <c:v>46.262599999999999</c:v>
                </c:pt>
                <c:pt idx="612">
                  <c:v>58.072319999999998</c:v>
                </c:pt>
                <c:pt idx="613">
                  <c:v>65.075000000000003</c:v>
                </c:pt>
                <c:pt idx="614">
                  <c:v>44.397550000000003</c:v>
                </c:pt>
                <c:pt idx="615">
                  <c:v>36.408999999999999</c:v>
                </c:pt>
                <c:pt idx="616">
                  <c:v>43.774500000000003</c:v>
                </c:pt>
                <c:pt idx="617">
                  <c:v>24.108840000000001</c:v>
                </c:pt>
                <c:pt idx="618">
                  <c:v>29.794600000000003</c:v>
                </c:pt>
                <c:pt idx="619">
                  <c:v>51.409059999999997</c:v>
                </c:pt>
                <c:pt idx="620">
                  <c:v>26.025570000000002</c:v>
                </c:pt>
                <c:pt idx="621">
                  <c:v>21.981850000000001</c:v>
                </c:pt>
                <c:pt idx="622">
                  <c:v>26.300189999999997</c:v>
                </c:pt>
                <c:pt idx="623">
                  <c:v>66.089029999999994</c:v>
                </c:pt>
                <c:pt idx="624">
                  <c:v>59.352719999999991</c:v>
                </c:pt>
                <c:pt idx="625">
                  <c:v>56.980550000000001</c:v>
                </c:pt>
                <c:pt idx="626">
                  <c:v>77.625710000000012</c:v>
                </c:pt>
                <c:pt idx="627">
                  <c:v>54.88711</c:v>
                </c:pt>
                <c:pt idx="628">
                  <c:v>28.082999999999998</c:v>
                </c:pt>
                <c:pt idx="629">
                  <c:v>48.698020000000007</c:v>
                </c:pt>
                <c:pt idx="630">
                  <c:v>49.683700000000002</c:v>
                </c:pt>
                <c:pt idx="631">
                  <c:v>29.902080000000002</c:v>
                </c:pt>
                <c:pt idx="632">
                  <c:v>67.495500000000007</c:v>
                </c:pt>
                <c:pt idx="633">
                  <c:v>65.228669999999994</c:v>
                </c:pt>
                <c:pt idx="634">
                  <c:v>57.948749999999997</c:v>
                </c:pt>
                <c:pt idx="635">
                  <c:v>106.01955000000001</c:v>
                </c:pt>
                <c:pt idx="636">
                  <c:v>40.956160000000004</c:v>
                </c:pt>
                <c:pt idx="637">
                  <c:v>51.269280000000002</c:v>
                </c:pt>
                <c:pt idx="638">
                  <c:v>15.78675</c:v>
                </c:pt>
                <c:pt idx="639">
                  <c:v>23.424700000000001</c:v>
                </c:pt>
                <c:pt idx="640">
                  <c:v>32.830199999999998</c:v>
                </c:pt>
                <c:pt idx="641">
                  <c:v>35.098140000000001</c:v>
                </c:pt>
                <c:pt idx="642">
                  <c:v>22.833739999999999</c:v>
                </c:pt>
                <c:pt idx="643">
                  <c:v>16.50855</c:v>
                </c:pt>
                <c:pt idx="644">
                  <c:v>16.67295</c:v>
                </c:pt>
                <c:pt idx="645">
                  <c:v>28.4695</c:v>
                </c:pt>
                <c:pt idx="646">
                  <c:v>44.203319999999998</c:v>
                </c:pt>
                <c:pt idx="647">
                  <c:v>26.121269999999999</c:v>
                </c:pt>
                <c:pt idx="648">
                  <c:v>19.969290000000001</c:v>
                </c:pt>
                <c:pt idx="649">
                  <c:v>36.995400000000004</c:v>
                </c:pt>
                <c:pt idx="650">
                  <c:v>42.758060000000008</c:v>
                </c:pt>
                <c:pt idx="651">
                  <c:v>50.705600000000004</c:v>
                </c:pt>
                <c:pt idx="652">
                  <c:v>100.5192</c:v>
                </c:pt>
                <c:pt idx="653">
                  <c:v>28.307160000000003</c:v>
                </c:pt>
                <c:pt idx="654">
                  <c:v>35.65155</c:v>
                </c:pt>
                <c:pt idx="655">
                  <c:v>25.28134</c:v>
                </c:pt>
                <c:pt idx="656">
                  <c:v>31.96256</c:v>
                </c:pt>
                <c:pt idx="657">
                  <c:v>36.012500000000003</c:v>
                </c:pt>
                <c:pt idx="658">
                  <c:v>25.313600000000001</c:v>
                </c:pt>
                <c:pt idx="659">
                  <c:v>28.320640000000004</c:v>
                </c:pt>
                <c:pt idx="660">
                  <c:v>44.975250000000003</c:v>
                </c:pt>
                <c:pt idx="661">
                  <c:v>29.189889999999998</c:v>
                </c:pt>
                <c:pt idx="662">
                  <c:v>31.72185</c:v>
                </c:pt>
                <c:pt idx="663">
                  <c:v>21.923719999999999</c:v>
                </c:pt>
                <c:pt idx="664">
                  <c:v>17.962880000000002</c:v>
                </c:pt>
                <c:pt idx="665">
                  <c:v>9.07864</c:v>
                </c:pt>
                <c:pt idx="666">
                  <c:v>19.331199999999995</c:v>
                </c:pt>
                <c:pt idx="667">
                  <c:v>32.569200000000002</c:v>
                </c:pt>
                <c:pt idx="668">
                  <c:v>30.391680000000001</c:v>
                </c:pt>
                <c:pt idx="669">
                  <c:v>26.994799999999998</c:v>
                </c:pt>
                <c:pt idx="670">
                  <c:v>42.989759999999997</c:v>
                </c:pt>
                <c:pt idx="671">
                  <c:v>83.48711999999999</c:v>
                </c:pt>
                <c:pt idx="672">
                  <c:v>67.392520000000005</c:v>
                </c:pt>
                <c:pt idx="673">
                  <c:v>70.417079999999999</c:v>
                </c:pt>
                <c:pt idx="674">
                  <c:v>38.482500000000002</c:v>
                </c:pt>
                <c:pt idx="675">
                  <c:v>74.621819999999985</c:v>
                </c:pt>
                <c:pt idx="676">
                  <c:v>64.896090000000001</c:v>
                </c:pt>
                <c:pt idx="677">
                  <c:v>27.523649999999996</c:v>
                </c:pt>
                <c:pt idx="678">
                  <c:v>97.223489999999998</c:v>
                </c:pt>
                <c:pt idx="679">
                  <c:v>85.063380000000009</c:v>
                </c:pt>
                <c:pt idx="680">
                  <c:v>73.999800000000008</c:v>
                </c:pt>
                <c:pt idx="681">
                  <c:v>78.65916</c:v>
                </c:pt>
                <c:pt idx="682">
                  <c:v>39.762009999999997</c:v>
                </c:pt>
                <c:pt idx="683">
                  <c:v>55.590780000000002</c:v>
                </c:pt>
                <c:pt idx="684">
                  <c:v>103.34495999999999</c:v>
                </c:pt>
                <c:pt idx="685">
                  <c:v>70.228399999999993</c:v>
                </c:pt>
                <c:pt idx="686">
                  <c:v>44.493449999999996</c:v>
                </c:pt>
                <c:pt idx="687">
                  <c:v>42.109319999999997</c:v>
                </c:pt>
                <c:pt idx="688">
                  <c:v>125.47184</c:v>
                </c:pt>
                <c:pt idx="689">
                  <c:v>98.723799999999983</c:v>
                </c:pt>
                <c:pt idx="690">
                  <c:v>55.004040000000003</c:v>
                </c:pt>
                <c:pt idx="691">
                  <c:v>86.750140000000002</c:v>
                </c:pt>
                <c:pt idx="692">
                  <c:v>60.595700000000008</c:v>
                </c:pt>
                <c:pt idx="693">
                  <c:v>146.46102000000002</c:v>
                </c:pt>
                <c:pt idx="694">
                  <c:v>141.10911999999999</c:v>
                </c:pt>
                <c:pt idx="695">
                  <c:v>168.61672999999999</c:v>
                </c:pt>
                <c:pt idx="696">
                  <c:v>169.80212</c:v>
                </c:pt>
                <c:pt idx="697">
                  <c:v>197.38019999999997</c:v>
                </c:pt>
                <c:pt idx="698">
                  <c:v>189.80837</c:v>
                </c:pt>
                <c:pt idx="699">
                  <c:v>119.66232000000001</c:v>
                </c:pt>
                <c:pt idx="700">
                  <c:v>107.17425</c:v>
                </c:pt>
                <c:pt idx="701">
                  <c:v>244.99598</c:v>
                </c:pt>
                <c:pt idx="702">
                  <c:v>120.92484000000002</c:v>
                </c:pt>
                <c:pt idx="703">
                  <c:v>140.50848000000002</c:v>
                </c:pt>
                <c:pt idx="704">
                  <c:v>150.87244999999999</c:v>
                </c:pt>
                <c:pt idx="705">
                  <c:v>102.93</c:v>
                </c:pt>
                <c:pt idx="706">
                  <c:v>103.52285999999999</c:v>
                </c:pt>
                <c:pt idx="707">
                  <c:v>102.14084000000001</c:v>
                </c:pt>
                <c:pt idx="708">
                  <c:v>122.91564</c:v>
                </c:pt>
                <c:pt idx="709">
                  <c:v>144.43044</c:v>
                </c:pt>
                <c:pt idx="710">
                  <c:v>60.627300000000005</c:v>
                </c:pt>
                <c:pt idx="711">
                  <c:v>59.568959999999997</c:v>
                </c:pt>
                <c:pt idx="712">
                  <c:v>35.436799999999998</c:v>
                </c:pt>
                <c:pt idx="713">
                  <c:v>64.88373</c:v>
                </c:pt>
                <c:pt idx="714">
                  <c:v>74.09496</c:v>
                </c:pt>
                <c:pt idx="715">
                  <c:v>35.147510000000004</c:v>
                </c:pt>
                <c:pt idx="716">
                  <c:v>98.743400000000008</c:v>
                </c:pt>
                <c:pt idx="717">
                  <c:v>60.86206</c:v>
                </c:pt>
                <c:pt idx="718">
                  <c:v>43.72</c:v>
                </c:pt>
                <c:pt idx="719">
                  <c:v>55.178579999999997</c:v>
                </c:pt>
                <c:pt idx="720">
                  <c:v>66.553200000000004</c:v>
                </c:pt>
                <c:pt idx="721">
                  <c:v>159.84839000000002</c:v>
                </c:pt>
                <c:pt idx="722">
                  <c:v>53.059710000000003</c:v>
                </c:pt>
                <c:pt idx="723">
                  <c:v>85.241429999999994</c:v>
                </c:pt>
                <c:pt idx="724">
                  <c:v>150.1875</c:v>
                </c:pt>
                <c:pt idx="725">
                  <c:v>98.825249999999997</c:v>
                </c:pt>
                <c:pt idx="726">
                  <c:v>85.606899999999996</c:v>
                </c:pt>
                <c:pt idx="727">
                  <c:v>82.919960000000003</c:v>
                </c:pt>
                <c:pt idx="728">
                  <c:v>144.33122</c:v>
                </c:pt>
                <c:pt idx="729">
                  <c:v>49.72672</c:v>
                </c:pt>
                <c:pt idx="730">
                  <c:v>105.32556</c:v>
                </c:pt>
                <c:pt idx="731">
                  <c:v>13.667260000000001</c:v>
                </c:pt>
                <c:pt idx="732">
                  <c:v>46.186279999999996</c:v>
                </c:pt>
                <c:pt idx="733">
                  <c:v>41.347799999999999</c:v>
                </c:pt>
                <c:pt idx="734">
                  <c:v>30.818759999999997</c:v>
                </c:pt>
                <c:pt idx="735">
                  <c:v>42.777929999999998</c:v>
                </c:pt>
                <c:pt idx="736">
                  <c:v>77.003770000000003</c:v>
                </c:pt>
                <c:pt idx="737">
                  <c:v>88.821359999999999</c:v>
                </c:pt>
                <c:pt idx="738">
                  <c:v>53.823239999999998</c:v>
                </c:pt>
                <c:pt idx="739">
                  <c:v>71.91</c:v>
                </c:pt>
                <c:pt idx="740">
                  <c:v>107.09387999999998</c:v>
                </c:pt>
                <c:pt idx="741">
                  <c:v>28.851440000000004</c:v>
                </c:pt>
                <c:pt idx="742">
                  <c:v>45.365180000000002</c:v>
                </c:pt>
                <c:pt idx="743">
                  <c:v>48.588240000000006</c:v>
                </c:pt>
                <c:pt idx="744">
                  <c:v>62.334249999999997</c:v>
                </c:pt>
                <c:pt idx="745">
                  <c:v>77.219809999999995</c:v>
                </c:pt>
                <c:pt idx="746">
                  <c:v>40.39893</c:v>
                </c:pt>
                <c:pt idx="747">
                  <c:v>25.663700000000002</c:v>
                </c:pt>
                <c:pt idx="748">
                  <c:v>14.153609999999999</c:v>
                </c:pt>
                <c:pt idx="749">
                  <c:v>6.5071499999999993</c:v>
                </c:pt>
                <c:pt idx="750">
                  <c:v>6.1278199999999998</c:v>
                </c:pt>
                <c:pt idx="751">
                  <c:v>13.1838</c:v>
                </c:pt>
                <c:pt idx="752">
                  <c:v>13.114220000000001</c:v>
                </c:pt>
                <c:pt idx="753">
                  <c:v>16.169879999999999</c:v>
                </c:pt>
                <c:pt idx="754">
                  <c:v>33.468119999999992</c:v>
                </c:pt>
                <c:pt idx="755">
                  <c:v>28.599300000000003</c:v>
                </c:pt>
                <c:pt idx="756">
                  <c:v>21.938040000000001</c:v>
                </c:pt>
                <c:pt idx="757">
                  <c:v>22.097270000000002</c:v>
                </c:pt>
                <c:pt idx="758">
                  <c:v>23.674880000000002</c:v>
                </c:pt>
                <c:pt idx="759">
                  <c:v>26.383579999999998</c:v>
                </c:pt>
                <c:pt idx="760">
                  <c:v>38.669399999999996</c:v>
                </c:pt>
                <c:pt idx="761">
                  <c:v>52.65184</c:v>
                </c:pt>
                <c:pt idx="762">
                  <c:v>40.042859999999997</c:v>
                </c:pt>
                <c:pt idx="763">
                  <c:v>98.142049999999998</c:v>
                </c:pt>
                <c:pt idx="764">
                  <c:v>64.76415999999999</c:v>
                </c:pt>
                <c:pt idx="765">
                  <c:v>71.775869999999998</c:v>
                </c:pt>
                <c:pt idx="766">
                  <c:v>168.95406</c:v>
                </c:pt>
                <c:pt idx="767">
                  <c:v>43.255980000000001</c:v>
                </c:pt>
                <c:pt idx="768">
                  <c:v>19.104119999999998</c:v>
                </c:pt>
                <c:pt idx="769">
                  <c:v>34.309439999999995</c:v>
                </c:pt>
                <c:pt idx="770">
                  <c:v>31.478099999999998</c:v>
                </c:pt>
                <c:pt idx="771">
                  <c:v>39.108559999999997</c:v>
                </c:pt>
                <c:pt idx="772">
                  <c:v>29.617000000000001</c:v>
                </c:pt>
                <c:pt idx="773">
                  <c:v>31.276980000000002</c:v>
                </c:pt>
                <c:pt idx="774">
                  <c:v>32.527770000000004</c:v>
                </c:pt>
                <c:pt idx="775">
                  <c:v>25.532049999999998</c:v>
                </c:pt>
                <c:pt idx="776">
                  <c:v>26.96875</c:v>
                </c:pt>
                <c:pt idx="777">
                  <c:v>46.943750000000001</c:v>
                </c:pt>
                <c:pt idx="778">
                  <c:v>35.465000000000003</c:v>
                </c:pt>
                <c:pt idx="779">
                  <c:v>45.155999999999999</c:v>
                </c:pt>
                <c:pt idx="780">
                  <c:v>57.884999999999998</c:v>
                </c:pt>
                <c:pt idx="781">
                  <c:v>31.327200000000001</c:v>
                </c:pt>
                <c:pt idx="782">
                  <c:v>86.078000000000003</c:v>
                </c:pt>
                <c:pt idx="783">
                  <c:v>23.147199999999998</c:v>
                </c:pt>
                <c:pt idx="784">
                  <c:v>52.259900000000002</c:v>
                </c:pt>
                <c:pt idx="785">
                  <c:v>26.297849999999997</c:v>
                </c:pt>
                <c:pt idx="786">
                  <c:v>16.684200000000001</c:v>
                </c:pt>
                <c:pt idx="787">
                  <c:v>52.1235</c:v>
                </c:pt>
                <c:pt idx="788">
                  <c:v>31.429100000000002</c:v>
                </c:pt>
                <c:pt idx="789">
                  <c:v>66.855149999999995</c:v>
                </c:pt>
                <c:pt idx="790">
                  <c:v>34.665500000000002</c:v>
                </c:pt>
                <c:pt idx="791">
                  <c:v>25.93965</c:v>
                </c:pt>
                <c:pt idx="792">
                  <c:v>32.076000000000001</c:v>
                </c:pt>
                <c:pt idx="793">
                  <c:v>55.251350000000009</c:v>
                </c:pt>
                <c:pt idx="794">
                  <c:v>42.299399999999999</c:v>
                </c:pt>
                <c:pt idx="795">
                  <c:v>58.721400000000003</c:v>
                </c:pt>
                <c:pt idx="796">
                  <c:v>55.266249999999999</c:v>
                </c:pt>
                <c:pt idx="797">
                  <c:v>49.575450000000004</c:v>
                </c:pt>
                <c:pt idx="798">
                  <c:v>34.847549999999998</c:v>
                </c:pt>
                <c:pt idx="799">
                  <c:v>51.472699999999996</c:v>
                </c:pt>
                <c:pt idx="800">
                  <c:v>28.867349999999998</c:v>
                </c:pt>
                <c:pt idx="801">
                  <c:v>32.158099999999997</c:v>
                </c:pt>
                <c:pt idx="802">
                  <c:v>24.413400000000003</c:v>
                </c:pt>
                <c:pt idx="803">
                  <c:v>66.643199999999993</c:v>
                </c:pt>
                <c:pt idx="804">
                  <c:v>51.289000000000001</c:v>
                </c:pt>
                <c:pt idx="805">
                  <c:v>41.217399999999991</c:v>
                </c:pt>
                <c:pt idx="806">
                  <c:v>29.811600000000002</c:v>
                </c:pt>
                <c:pt idx="807">
                  <c:v>51.828200000000002</c:v>
                </c:pt>
                <c:pt idx="808">
                  <c:v>49.402500000000003</c:v>
                </c:pt>
                <c:pt idx="809">
                  <c:v>21.241499999999998</c:v>
                </c:pt>
                <c:pt idx="810">
                  <c:v>30.007999999999999</c:v>
                </c:pt>
                <c:pt idx="811">
                  <c:v>33.216749999999998</c:v>
                </c:pt>
                <c:pt idx="812">
                  <c:v>17.45045</c:v>
                </c:pt>
                <c:pt idx="813">
                  <c:v>55.663200000000003</c:v>
                </c:pt>
                <c:pt idx="814">
                  <c:v>36.431100000000001</c:v>
                </c:pt>
                <c:pt idx="815">
                  <c:v>42.211849999999998</c:v>
                </c:pt>
                <c:pt idx="816">
                  <c:v>35.356499999999997</c:v>
                </c:pt>
                <c:pt idx="817">
                  <c:v>25.426400000000001</c:v>
                </c:pt>
                <c:pt idx="818">
                  <c:v>29.732100000000003</c:v>
                </c:pt>
                <c:pt idx="819">
                  <c:v>25.463650000000001</c:v>
                </c:pt>
                <c:pt idx="820">
                  <c:v>40.733699999999999</c:v>
                </c:pt>
                <c:pt idx="821">
                  <c:v>35.728000000000002</c:v>
                </c:pt>
                <c:pt idx="822">
                  <c:v>57.411699999999996</c:v>
                </c:pt>
                <c:pt idx="823">
                  <c:v>43.908200000000008</c:v>
                </c:pt>
                <c:pt idx="824">
                  <c:v>40.827599999999997</c:v>
                </c:pt>
                <c:pt idx="825">
                  <c:v>37.442</c:v>
                </c:pt>
                <c:pt idx="826">
                  <c:v>43.101900000000001</c:v>
                </c:pt>
                <c:pt idx="827">
                  <c:v>52.9236</c:v>
                </c:pt>
                <c:pt idx="828">
                  <c:v>30.099</c:v>
                </c:pt>
                <c:pt idx="829">
                  <c:v>38.809599999999996</c:v>
                </c:pt>
                <c:pt idx="830">
                  <c:v>23.031550000000003</c:v>
                </c:pt>
                <c:pt idx="831">
                  <c:v>39.538799999999995</c:v>
                </c:pt>
                <c:pt idx="832">
                  <c:v>14.0238</c:v>
                </c:pt>
                <c:pt idx="833">
                  <c:v>26.15625</c:v>
                </c:pt>
                <c:pt idx="834">
                  <c:v>29.0702</c:v>
                </c:pt>
                <c:pt idx="835">
                  <c:v>26.49915</c:v>
                </c:pt>
                <c:pt idx="836">
                  <c:v>29.301350000000003</c:v>
                </c:pt>
                <c:pt idx="837">
                  <c:v>28.425699999999999</c:v>
                </c:pt>
                <c:pt idx="838">
                  <c:v>36.6096</c:v>
                </c:pt>
                <c:pt idx="839">
                  <c:v>47.851800000000004</c:v>
                </c:pt>
                <c:pt idx="840">
                  <c:v>35.198250000000002</c:v>
                </c:pt>
                <c:pt idx="841">
                  <c:v>37.878800000000005</c:v>
                </c:pt>
                <c:pt idx="842">
                  <c:v>32.232200000000006</c:v>
                </c:pt>
                <c:pt idx="843">
                  <c:v>20.475950000000001</c:v>
                </c:pt>
                <c:pt idx="844">
                  <c:v>23.195700000000002</c:v>
                </c:pt>
                <c:pt idx="845">
                  <c:v>27.888999999999999</c:v>
                </c:pt>
                <c:pt idx="846">
                  <c:v>30.841600000000003</c:v>
                </c:pt>
                <c:pt idx="847">
                  <c:v>26.5932</c:v>
                </c:pt>
                <c:pt idx="848">
                  <c:v>30.634050000000002</c:v>
                </c:pt>
                <c:pt idx="849">
                  <c:v>46.147199999999998</c:v>
                </c:pt>
                <c:pt idx="850">
                  <c:v>83.143000000000001</c:v>
                </c:pt>
                <c:pt idx="851">
                  <c:v>31.040800000000004</c:v>
                </c:pt>
                <c:pt idx="852">
                  <c:v>36.8765</c:v>
                </c:pt>
                <c:pt idx="853">
                  <c:v>32.209099999999999</c:v>
                </c:pt>
                <c:pt idx="854">
                  <c:v>28.312200000000001</c:v>
                </c:pt>
                <c:pt idx="855">
                  <c:v>31.865500000000001</c:v>
                </c:pt>
                <c:pt idx="856">
                  <c:v>18.483150000000002</c:v>
                </c:pt>
                <c:pt idx="857">
                  <c:v>24.745600000000003</c:v>
                </c:pt>
                <c:pt idx="858">
                  <c:v>34.424800000000005</c:v>
                </c:pt>
                <c:pt idx="859">
                  <c:v>17.03905</c:v>
                </c:pt>
                <c:pt idx="860">
                  <c:v>25.471600000000002</c:v>
                </c:pt>
                <c:pt idx="861">
                  <c:v>25.203749999999999</c:v>
                </c:pt>
                <c:pt idx="862">
                  <c:v>24.381499999999999</c:v>
                </c:pt>
                <c:pt idx="863">
                  <c:v>45.454200000000007</c:v>
                </c:pt>
                <c:pt idx="864">
                  <c:v>53.485800000000005</c:v>
                </c:pt>
                <c:pt idx="865">
                  <c:v>24.671800000000005</c:v>
                </c:pt>
                <c:pt idx="866">
                  <c:v>29.5307</c:v>
                </c:pt>
                <c:pt idx="867">
                  <c:v>56.147850000000005</c:v>
                </c:pt>
                <c:pt idx="868">
                  <c:v>51.807600000000001</c:v>
                </c:pt>
                <c:pt idx="869">
                  <c:v>56.941600000000001</c:v>
                </c:pt>
                <c:pt idx="870">
                  <c:v>52.293599999999998</c:v>
                </c:pt>
                <c:pt idx="871">
                  <c:v>43.984050000000003</c:v>
                </c:pt>
                <c:pt idx="872">
                  <c:v>30.031749999999999</c:v>
                </c:pt>
                <c:pt idx="873">
                  <c:v>37.658749999999998</c:v>
                </c:pt>
                <c:pt idx="874">
                  <c:v>60.067800000000005</c:v>
                </c:pt>
                <c:pt idx="875">
                  <c:v>35.298300000000005</c:v>
                </c:pt>
                <c:pt idx="876">
                  <c:v>34.488399999999999</c:v>
                </c:pt>
                <c:pt idx="877">
                  <c:v>49.766849999999998</c:v>
                </c:pt>
                <c:pt idx="878">
                  <c:v>33.070950000000003</c:v>
                </c:pt>
                <c:pt idx="879">
                  <c:v>40.424299999999995</c:v>
                </c:pt>
                <c:pt idx="880">
                  <c:v>45.004800000000003</c:v>
                </c:pt>
                <c:pt idx="881">
                  <c:v>47.27</c:v>
                </c:pt>
                <c:pt idx="882">
                  <c:v>38.387250000000002</c:v>
                </c:pt>
                <c:pt idx="883">
                  <c:v>42.750399999999999</c:v>
                </c:pt>
                <c:pt idx="884">
                  <c:v>18.117750000000001</c:v>
                </c:pt>
                <c:pt idx="885">
                  <c:v>47.650200000000005</c:v>
                </c:pt>
                <c:pt idx="886">
                  <c:v>46.36665</c:v>
                </c:pt>
                <c:pt idx="887">
                  <c:v>50.139000000000003</c:v>
                </c:pt>
                <c:pt idx="888">
                  <c:v>51.365900000000003</c:v>
                </c:pt>
                <c:pt idx="889">
                  <c:v>74.073999999999998</c:v>
                </c:pt>
                <c:pt idx="890">
                  <c:v>58.985999999999997</c:v>
                </c:pt>
                <c:pt idx="891">
                  <c:v>85.058000000000007</c:v>
                </c:pt>
                <c:pt idx="892">
                  <c:v>85.443799999999996</c:v>
                </c:pt>
                <c:pt idx="893">
                  <c:v>48.116799999999998</c:v>
                </c:pt>
                <c:pt idx="894">
                  <c:v>31.342500000000001</c:v>
                </c:pt>
                <c:pt idx="895">
                  <c:v>60.502000000000002</c:v>
                </c:pt>
                <c:pt idx="896">
                  <c:v>58.918600000000005</c:v>
                </c:pt>
                <c:pt idx="897">
                  <c:v>29.838900000000002</c:v>
                </c:pt>
                <c:pt idx="898">
                  <c:v>57.235500000000002</c:v>
                </c:pt>
                <c:pt idx="899">
                  <c:v>65.704449999999994</c:v>
                </c:pt>
                <c:pt idx="900">
                  <c:v>51.121000000000002</c:v>
                </c:pt>
                <c:pt idx="901">
                  <c:v>40.944600000000001</c:v>
                </c:pt>
                <c:pt idx="902">
                  <c:v>33.374700000000004</c:v>
                </c:pt>
                <c:pt idx="903">
                  <c:v>36.626300000000001</c:v>
                </c:pt>
                <c:pt idx="904">
                  <c:v>50.300600000000003</c:v>
                </c:pt>
                <c:pt idx="905">
                  <c:v>36.910350000000001</c:v>
                </c:pt>
                <c:pt idx="906">
                  <c:v>54.835200000000007</c:v>
                </c:pt>
                <c:pt idx="907">
                  <c:v>39.876400000000004</c:v>
                </c:pt>
                <c:pt idx="908">
                  <c:v>69.5471</c:v>
                </c:pt>
                <c:pt idx="909">
                  <c:v>84.994650000000007</c:v>
                </c:pt>
                <c:pt idx="910">
                  <c:v>107.9645</c:v>
                </c:pt>
                <c:pt idx="911">
                  <c:v>84.437599999999989</c:v>
                </c:pt>
                <c:pt idx="912">
                  <c:v>56.16</c:v>
                </c:pt>
                <c:pt idx="913">
                  <c:v>57.80565</c:v>
                </c:pt>
                <c:pt idx="914">
                  <c:v>70.222800000000007</c:v>
                </c:pt>
                <c:pt idx="915">
                  <c:v>41.353200000000001</c:v>
                </c:pt>
                <c:pt idx="916">
                  <c:v>115.9294</c:v>
                </c:pt>
                <c:pt idx="917">
                  <c:v>65.767499999999998</c:v>
                </c:pt>
                <c:pt idx="918">
                  <c:v>53.9681</c:v>
                </c:pt>
                <c:pt idx="919">
                  <c:v>60.437200000000004</c:v>
                </c:pt>
                <c:pt idx="920">
                  <c:v>48.893999999999998</c:v>
                </c:pt>
                <c:pt idx="921">
                  <c:v>75.952500000000001</c:v>
                </c:pt>
                <c:pt idx="922">
                  <c:v>83.028150000000011</c:v>
                </c:pt>
                <c:pt idx="923">
                  <c:v>89.151499999999999</c:v>
                </c:pt>
                <c:pt idx="924">
                  <c:v>34.82685</c:v>
                </c:pt>
                <c:pt idx="925">
                  <c:v>107.8608</c:v>
                </c:pt>
                <c:pt idx="926">
                  <c:v>78.124200000000002</c:v>
                </c:pt>
                <c:pt idx="927">
                  <c:v>99.466349999999991</c:v>
                </c:pt>
                <c:pt idx="928">
                  <c:v>174.45075</c:v>
                </c:pt>
                <c:pt idx="929">
                  <c:v>54.042699999999996</c:v>
                </c:pt>
                <c:pt idx="930">
                  <c:v>82.421350000000004</c:v>
                </c:pt>
                <c:pt idx="931">
                  <c:v>77.83905</c:v>
                </c:pt>
                <c:pt idx="932">
                  <c:v>113.68695</c:v>
                </c:pt>
                <c:pt idx="933">
                  <c:v>79.448400000000007</c:v>
                </c:pt>
                <c:pt idx="934">
                  <c:v>39.402749999999997</c:v>
                </c:pt>
                <c:pt idx="935">
                  <c:v>51.103799999999993</c:v>
                </c:pt>
                <c:pt idx="936">
                  <c:v>106.07040000000001</c:v>
                </c:pt>
                <c:pt idx="937">
                  <c:v>85.980050000000006</c:v>
                </c:pt>
                <c:pt idx="938">
                  <c:v>59.287599999999998</c:v>
                </c:pt>
                <c:pt idx="939">
                  <c:v>61.991999999999997</c:v>
                </c:pt>
                <c:pt idx="940">
                  <c:v>66.667150000000007</c:v>
                </c:pt>
                <c:pt idx="941">
                  <c:v>65.242099999999994</c:v>
                </c:pt>
                <c:pt idx="942">
                  <c:v>82.161199999999994</c:v>
                </c:pt>
                <c:pt idx="943">
                  <c:v>84.734400000000008</c:v>
                </c:pt>
                <c:pt idx="944">
                  <c:v>56.674750000000003</c:v>
                </c:pt>
                <c:pt idx="945">
                  <c:v>67.616400000000013</c:v>
                </c:pt>
                <c:pt idx="946">
                  <c:v>63.622</c:v>
                </c:pt>
                <c:pt idx="947">
                  <c:v>89.966799999999992</c:v>
                </c:pt>
                <c:pt idx="948">
                  <c:v>108.54165</c:v>
                </c:pt>
                <c:pt idx="949">
                  <c:v>65.278450000000007</c:v>
                </c:pt>
                <c:pt idx="950">
                  <c:v>219.7689</c:v>
                </c:pt>
                <c:pt idx="951">
                  <c:v>219.69795000000002</c:v>
                </c:pt>
                <c:pt idx="952">
                  <c:v>68.122500000000002</c:v>
                </c:pt>
                <c:pt idx="953">
                  <c:v>54.7575</c:v>
                </c:pt>
                <c:pt idx="954">
                  <c:v>77.696300000000008</c:v>
                </c:pt>
                <c:pt idx="955">
                  <c:v>128.47579999999999</c:v>
                </c:pt>
                <c:pt idx="956">
                  <c:v>132.29995000000002</c:v>
                </c:pt>
                <c:pt idx="957">
                  <c:v>71.857849999999999</c:v>
                </c:pt>
                <c:pt idx="958">
                  <c:v>63.642149999999994</c:v>
                </c:pt>
                <c:pt idx="959">
                  <c:v>81.986449999999991</c:v>
                </c:pt>
                <c:pt idx="960">
                  <c:v>89.803900000000013</c:v>
                </c:pt>
                <c:pt idx="961">
                  <c:v>155.31965</c:v>
                </c:pt>
                <c:pt idx="962">
                  <c:v>123.62934999999999</c:v>
                </c:pt>
                <c:pt idx="963">
                  <c:v>204.40799999999999</c:v>
                </c:pt>
                <c:pt idx="964">
                  <c:v>181.49845000000002</c:v>
                </c:pt>
                <c:pt idx="965">
                  <c:v>105.196</c:v>
                </c:pt>
                <c:pt idx="966">
                  <c:v>116.1935</c:v>
                </c:pt>
                <c:pt idx="967">
                  <c:v>91.273200000000017</c:v>
                </c:pt>
                <c:pt idx="968">
                  <c:v>79.901499999999999</c:v>
                </c:pt>
                <c:pt idx="969">
                  <c:v>113.6528</c:v>
                </c:pt>
                <c:pt idx="970">
                  <c:v>104.3165</c:v>
                </c:pt>
                <c:pt idx="971">
                  <c:v>97.078500000000005</c:v>
                </c:pt>
                <c:pt idx="972">
                  <c:v>114.74979999999999</c:v>
                </c:pt>
                <c:pt idx="973">
                  <c:v>113.78240000000001</c:v>
                </c:pt>
                <c:pt idx="974">
                  <c:v>107.43260000000001</c:v>
                </c:pt>
                <c:pt idx="975">
                  <c:v>85.893749999999997</c:v>
                </c:pt>
                <c:pt idx="976">
                  <c:v>64.921350000000004</c:v>
                </c:pt>
                <c:pt idx="977">
                  <c:v>130.68639999999999</c:v>
                </c:pt>
                <c:pt idx="978">
                  <c:v>123.37649999999999</c:v>
                </c:pt>
                <c:pt idx="979">
                  <c:v>113.8852</c:v>
                </c:pt>
                <c:pt idx="980">
                  <c:v>92.725300000000004</c:v>
                </c:pt>
                <c:pt idx="981">
                  <c:v>109.9361</c:v>
                </c:pt>
                <c:pt idx="982">
                  <c:v>114.00735</c:v>
                </c:pt>
                <c:pt idx="983">
                  <c:v>115.77669999999999</c:v>
                </c:pt>
                <c:pt idx="984">
                  <c:v>89.965299999999999</c:v>
                </c:pt>
                <c:pt idx="985">
                  <c:v>84.685699999999997</c:v>
                </c:pt>
                <c:pt idx="986">
                  <c:v>76.670249999999996</c:v>
                </c:pt>
                <c:pt idx="987">
                  <c:v>67.58775</c:v>
                </c:pt>
                <c:pt idx="988">
                  <c:v>115.486</c:v>
                </c:pt>
                <c:pt idx="989">
                  <c:v>82.237499999999997</c:v>
                </c:pt>
                <c:pt idx="990">
                  <c:v>87.466999999999999</c:v>
                </c:pt>
                <c:pt idx="991">
                  <c:v>88.972999999999999</c:v>
                </c:pt>
                <c:pt idx="992">
                  <c:v>70.290000000000006</c:v>
                </c:pt>
                <c:pt idx="993">
                  <c:v>95.55</c:v>
                </c:pt>
                <c:pt idx="994">
                  <c:v>113.77415000000001</c:v>
                </c:pt>
                <c:pt idx="995">
                  <c:v>93.298749999999998</c:v>
                </c:pt>
                <c:pt idx="996">
                  <c:v>36.222300000000004</c:v>
                </c:pt>
                <c:pt idx="997">
                  <c:v>39.877949999999998</c:v>
                </c:pt>
                <c:pt idx="998">
                  <c:v>81.771299999999997</c:v>
                </c:pt>
                <c:pt idx="999">
                  <c:v>69.075749999999999</c:v>
                </c:pt>
                <c:pt idx="1000">
                  <c:v>18.618299999999998</c:v>
                </c:pt>
                <c:pt idx="1001">
                  <c:v>18.139599999999998</c:v>
                </c:pt>
                <c:pt idx="1002">
                  <c:v>32.6417</c:v>
                </c:pt>
                <c:pt idx="1003">
                  <c:v>34.566700000000004</c:v>
                </c:pt>
                <c:pt idx="1004">
                  <c:v>88.88</c:v>
                </c:pt>
                <c:pt idx="1005">
                  <c:v>62.339199999999998</c:v>
                </c:pt>
                <c:pt idx="1006">
                  <c:v>153.37485000000001</c:v>
                </c:pt>
                <c:pt idx="1007">
                  <c:v>168.71140000000003</c:v>
                </c:pt>
                <c:pt idx="1008">
                  <c:v>80.359949999999998</c:v>
                </c:pt>
                <c:pt idx="1009">
                  <c:v>70.179199999999994</c:v>
                </c:pt>
                <c:pt idx="1010">
                  <c:v>89.714149999999989</c:v>
                </c:pt>
                <c:pt idx="1011">
                  <c:v>65.650099999999995</c:v>
                </c:pt>
                <c:pt idx="1012">
                  <c:v>95.920500000000004</c:v>
                </c:pt>
                <c:pt idx="1013">
                  <c:v>294.61725000000001</c:v>
                </c:pt>
                <c:pt idx="1014">
                  <c:v>65.668999999999997</c:v>
                </c:pt>
                <c:pt idx="1015">
                  <c:v>171.25115</c:v>
                </c:pt>
                <c:pt idx="1016">
                  <c:v>198.01155000000003</c:v>
                </c:pt>
                <c:pt idx="1017">
                  <c:v>104.68990000000001</c:v>
                </c:pt>
                <c:pt idx="1018">
                  <c:v>166.94139999999999</c:v>
                </c:pt>
                <c:pt idx="1019">
                  <c:v>173.20454999999998</c:v>
                </c:pt>
                <c:pt idx="1020">
                  <c:v>277.37324999999998</c:v>
                </c:pt>
                <c:pt idx="1021">
                  <c:v>153.25890000000001</c:v>
                </c:pt>
                <c:pt idx="1022">
                  <c:v>157.8074</c:v>
                </c:pt>
                <c:pt idx="1023">
                  <c:v>128.41624999999999</c:v>
                </c:pt>
                <c:pt idx="1024">
                  <c:v>182.66399999999999</c:v>
                </c:pt>
                <c:pt idx="1025">
                  <c:v>112.28075</c:v>
                </c:pt>
                <c:pt idx="1026">
                  <c:v>83.279650000000004</c:v>
                </c:pt>
                <c:pt idx="1027">
                  <c:v>58.498700000000007</c:v>
                </c:pt>
                <c:pt idx="1028">
                  <c:v>155.51515000000001</c:v>
                </c:pt>
                <c:pt idx="1029">
                  <c:v>225.74080000000001</c:v>
                </c:pt>
                <c:pt idx="1030">
                  <c:v>132.4314</c:v>
                </c:pt>
                <c:pt idx="1031">
                  <c:v>213.97200000000001</c:v>
                </c:pt>
                <c:pt idx="1032">
                  <c:v>71.999900000000011</c:v>
                </c:pt>
                <c:pt idx="1033">
                  <c:v>143.8965</c:v>
                </c:pt>
                <c:pt idx="1034">
                  <c:v>119.73164999999999</c:v>
                </c:pt>
                <c:pt idx="1035">
                  <c:v>158.16479999999999</c:v>
                </c:pt>
                <c:pt idx="1036">
                  <c:v>106.5068</c:v>
                </c:pt>
                <c:pt idx="1037">
                  <c:v>121.37125</c:v>
                </c:pt>
                <c:pt idx="1038">
                  <c:v>67.58</c:v>
                </c:pt>
                <c:pt idx="1039">
                  <c:v>123.87270000000001</c:v>
                </c:pt>
                <c:pt idx="1040">
                  <c:v>127.39695</c:v>
                </c:pt>
                <c:pt idx="1041">
                  <c:v>93.030049999999989</c:v>
                </c:pt>
                <c:pt idx="1042">
                  <c:v>100.5626</c:v>
                </c:pt>
                <c:pt idx="1043">
                  <c:v>113.7585</c:v>
                </c:pt>
                <c:pt idx="1044">
                  <c:v>129.43799999999999</c:v>
                </c:pt>
                <c:pt idx="1045">
                  <c:v>143.08000000000001</c:v>
                </c:pt>
                <c:pt idx="1046">
                  <c:v>111.92940000000002</c:v>
                </c:pt>
                <c:pt idx="1047">
                  <c:v>84.828800000000001</c:v>
                </c:pt>
                <c:pt idx="1048">
                  <c:v>134.88720000000001</c:v>
                </c:pt>
                <c:pt idx="1049">
                  <c:v>104.8446</c:v>
                </c:pt>
                <c:pt idx="1050">
                  <c:v>62.940500000000007</c:v>
                </c:pt>
                <c:pt idx="1051">
                  <c:v>73.463499999999996</c:v>
                </c:pt>
                <c:pt idx="1052">
                  <c:v>126.2568</c:v>
                </c:pt>
                <c:pt idx="1053">
                  <c:v>67.703999999999994</c:v>
                </c:pt>
                <c:pt idx="1054">
                  <c:v>91.462800000000001</c:v>
                </c:pt>
                <c:pt idx="1055">
                  <c:v>93.202500000000001</c:v>
                </c:pt>
                <c:pt idx="1056">
                  <c:v>107.86489999999999</c:v>
                </c:pt>
                <c:pt idx="1057">
                  <c:v>91.816800000000001</c:v>
                </c:pt>
                <c:pt idx="1058">
                  <c:v>143.55000000000001</c:v>
                </c:pt>
                <c:pt idx="1059">
                  <c:v>99.343599999999995</c:v>
                </c:pt>
                <c:pt idx="1060">
                  <c:v>56.575699999999998</c:v>
                </c:pt>
                <c:pt idx="1061">
                  <c:v>83.712800000000001</c:v>
                </c:pt>
                <c:pt idx="1062">
                  <c:v>85.649599999999992</c:v>
                </c:pt>
                <c:pt idx="1063">
                  <c:v>109.1028</c:v>
                </c:pt>
                <c:pt idx="1064">
                  <c:v>54.804600000000001</c:v>
                </c:pt>
                <c:pt idx="1065">
                  <c:v>87.808499999999995</c:v>
                </c:pt>
                <c:pt idx="1066">
                  <c:v>98.957100000000011</c:v>
                </c:pt>
                <c:pt idx="1067">
                  <c:v>102.29209999999999</c:v>
                </c:pt>
                <c:pt idx="1068">
                  <c:v>63.769600000000004</c:v>
                </c:pt>
                <c:pt idx="1069">
                  <c:v>134.964</c:v>
                </c:pt>
                <c:pt idx="1070">
                  <c:v>183.9579</c:v>
                </c:pt>
                <c:pt idx="1071">
                  <c:v>174.04169999999999</c:v>
                </c:pt>
                <c:pt idx="1072">
                  <c:v>116.46129999999999</c:v>
                </c:pt>
                <c:pt idx="1073">
                  <c:v>67.9572</c:v>
                </c:pt>
                <c:pt idx="1074">
                  <c:v>67.801500000000004</c:v>
                </c:pt>
                <c:pt idx="1075">
                  <c:v>90.1404</c:v>
                </c:pt>
                <c:pt idx="1076">
                  <c:v>59.6691</c:v>
                </c:pt>
                <c:pt idx="1077">
                  <c:v>161.2218</c:v>
                </c:pt>
                <c:pt idx="1078">
                  <c:v>149.24594999999999</c:v>
                </c:pt>
                <c:pt idx="1079">
                  <c:v>162.98099999999999</c:v>
                </c:pt>
                <c:pt idx="1080">
                  <c:v>133.78980000000001</c:v>
                </c:pt>
                <c:pt idx="1081">
                  <c:v>187.28049999999999</c:v>
                </c:pt>
                <c:pt idx="1082">
                  <c:v>84.055549999999982</c:v>
                </c:pt>
                <c:pt idx="1083">
                  <c:v>84.637500000000003</c:v>
                </c:pt>
                <c:pt idx="1084">
                  <c:v>348.28125</c:v>
                </c:pt>
                <c:pt idx="1085">
                  <c:v>242.51705000000001</c:v>
                </c:pt>
                <c:pt idx="1086">
                  <c:v>137.65439999999998</c:v>
                </c:pt>
                <c:pt idx="1087">
                  <c:v>164.74559999999997</c:v>
                </c:pt>
                <c:pt idx="1088">
                  <c:v>150.33600000000001</c:v>
                </c:pt>
                <c:pt idx="1089">
                  <c:v>306.29775000000001</c:v>
                </c:pt>
                <c:pt idx="1090">
                  <c:v>310.84500000000003</c:v>
                </c:pt>
                <c:pt idx="1091">
                  <c:v>566.36579999999992</c:v>
                </c:pt>
                <c:pt idx="1092">
                  <c:v>593.78200000000004</c:v>
                </c:pt>
                <c:pt idx="1093">
                  <c:v>475.69915000000003</c:v>
                </c:pt>
                <c:pt idx="1094">
                  <c:v>208.37294999999997</c:v>
                </c:pt>
                <c:pt idx="1095">
                  <c:v>163.06070000000003</c:v>
                </c:pt>
                <c:pt idx="1096">
                  <c:v>131.76300000000001</c:v>
                </c:pt>
                <c:pt idx="1097">
                  <c:v>262.32580000000002</c:v>
                </c:pt>
                <c:pt idx="1098">
                  <c:v>243.08125000000001</c:v>
                </c:pt>
                <c:pt idx="1099">
                  <c:v>320.42099999999999</c:v>
                </c:pt>
                <c:pt idx="1100">
                  <c:v>541.47024999999996</c:v>
                </c:pt>
                <c:pt idx="1101">
                  <c:v>756.37169999999992</c:v>
                </c:pt>
                <c:pt idx="1102">
                  <c:v>484.71385000000004</c:v>
                </c:pt>
                <c:pt idx="1103">
                  <c:v>288.68124999999998</c:v>
                </c:pt>
                <c:pt idx="1104">
                  <c:v>479.39580000000007</c:v>
                </c:pt>
                <c:pt idx="1105">
                  <c:v>283.33125000000001</c:v>
                </c:pt>
                <c:pt idx="1106">
                  <c:v>255.31519999999998</c:v>
                </c:pt>
                <c:pt idx="1107">
                  <c:v>196.37194999999997</c:v>
                </c:pt>
                <c:pt idx="1108">
                  <c:v>147.37919999999997</c:v>
                </c:pt>
                <c:pt idx="1109">
                  <c:v>183.48434999999998</c:v>
                </c:pt>
                <c:pt idx="1110">
                  <c:v>140.77260000000001</c:v>
                </c:pt>
                <c:pt idx="1111">
                  <c:v>202.37520000000001</c:v>
                </c:pt>
                <c:pt idx="1112">
                  <c:v>193.41574999999997</c:v>
                </c:pt>
                <c:pt idx="1113">
                  <c:v>217.06035</c:v>
                </c:pt>
                <c:pt idx="1114">
                  <c:v>231.47400000000002</c:v>
                </c:pt>
                <c:pt idx="1115">
                  <c:v>175.8176</c:v>
                </c:pt>
                <c:pt idx="1116">
                  <c:v>114.69229999999999</c:v>
                </c:pt>
                <c:pt idx="1117">
                  <c:v>188.61360000000002</c:v>
                </c:pt>
                <c:pt idx="1118">
                  <c:v>296.03100000000001</c:v>
                </c:pt>
                <c:pt idx="1119">
                  <c:v>156.39689999999999</c:v>
                </c:pt>
                <c:pt idx="1120">
                  <c:v>234.82660000000001</c:v>
                </c:pt>
                <c:pt idx="1121">
                  <c:v>157.6302</c:v>
                </c:pt>
                <c:pt idx="1122">
                  <c:v>126.22185</c:v>
                </c:pt>
                <c:pt idx="1123">
                  <c:v>151.13670000000002</c:v>
                </c:pt>
                <c:pt idx="1124">
                  <c:v>153.50200000000001</c:v>
                </c:pt>
                <c:pt idx="1125">
                  <c:v>173.33375000000001</c:v>
                </c:pt>
                <c:pt idx="1126">
                  <c:v>153.64844999999997</c:v>
                </c:pt>
                <c:pt idx="1127">
                  <c:v>107.60575</c:v>
                </c:pt>
                <c:pt idx="1128">
                  <c:v>319.77089999999998</c:v>
                </c:pt>
                <c:pt idx="1129">
                  <c:v>243.143</c:v>
                </c:pt>
                <c:pt idx="1130">
                  <c:v>273.13229999999999</c:v>
                </c:pt>
                <c:pt idx="1131">
                  <c:v>165.58275</c:v>
                </c:pt>
                <c:pt idx="1132">
                  <c:v>192.07565</c:v>
                </c:pt>
                <c:pt idx="1133">
                  <c:v>203.9512</c:v>
                </c:pt>
                <c:pt idx="1134">
                  <c:v>161.54280000000003</c:v>
                </c:pt>
                <c:pt idx="1135">
                  <c:v>109.39019999999999</c:v>
                </c:pt>
                <c:pt idx="1136">
                  <c:v>129.69675000000001</c:v>
                </c:pt>
                <c:pt idx="1137">
                  <c:v>83.676450000000017</c:v>
                </c:pt>
                <c:pt idx="1138">
                  <c:v>111.53340000000001</c:v>
                </c:pt>
                <c:pt idx="1139">
                  <c:v>106.01025</c:v>
                </c:pt>
                <c:pt idx="1140">
                  <c:v>147.04849999999999</c:v>
                </c:pt>
                <c:pt idx="1141">
                  <c:v>176.07239999999999</c:v>
                </c:pt>
                <c:pt idx="1142">
                  <c:v>219.00839999999999</c:v>
                </c:pt>
                <c:pt idx="1143">
                  <c:v>200.0985</c:v>
                </c:pt>
                <c:pt idx="1144">
                  <c:v>242.68620000000001</c:v>
                </c:pt>
                <c:pt idx="1145">
                  <c:v>134.64359999999999</c:v>
                </c:pt>
                <c:pt idx="1146">
                  <c:v>124.99340000000001</c:v>
                </c:pt>
                <c:pt idx="1147">
                  <c:v>137.76560000000001</c:v>
                </c:pt>
                <c:pt idx="1148">
                  <c:v>125.3158</c:v>
                </c:pt>
                <c:pt idx="1149">
                  <c:v>152.92925</c:v>
                </c:pt>
                <c:pt idx="1150">
                  <c:v>127.38525</c:v>
                </c:pt>
                <c:pt idx="1151">
                  <c:v>114.72859999999999</c:v>
                </c:pt>
                <c:pt idx="1152">
                  <c:v>90.319950000000006</c:v>
                </c:pt>
                <c:pt idx="1153">
                  <c:v>104.20840000000001</c:v>
                </c:pt>
                <c:pt idx="1154">
                  <c:v>105.4975</c:v>
                </c:pt>
                <c:pt idx="1155">
                  <c:v>138.20660000000001</c:v>
                </c:pt>
                <c:pt idx="1156">
                  <c:v>119.0214</c:v>
                </c:pt>
                <c:pt idx="1157">
                  <c:v>170.03910000000002</c:v>
                </c:pt>
                <c:pt idx="1158">
                  <c:v>142.3365</c:v>
                </c:pt>
                <c:pt idx="1159">
                  <c:v>126.4183</c:v>
                </c:pt>
                <c:pt idx="1160">
                  <c:v>104.86150000000001</c:v>
                </c:pt>
                <c:pt idx="1161">
                  <c:v>149.04849999999999</c:v>
                </c:pt>
                <c:pt idx="1162">
                  <c:v>171.38645000000002</c:v>
                </c:pt>
                <c:pt idx="1163">
                  <c:v>193.13310000000001</c:v>
                </c:pt>
                <c:pt idx="1164">
                  <c:v>192.589</c:v>
                </c:pt>
                <c:pt idx="1165">
                  <c:v>204.72529999999998</c:v>
                </c:pt>
                <c:pt idx="1166">
                  <c:v>188.7</c:v>
                </c:pt>
                <c:pt idx="1167">
                  <c:v>254.15600000000001</c:v>
                </c:pt>
                <c:pt idx="1168">
                  <c:v>226.36080000000001</c:v>
                </c:pt>
                <c:pt idx="1169">
                  <c:v>223.40559999999996</c:v>
                </c:pt>
                <c:pt idx="1170">
                  <c:v>189.59280000000001</c:v>
                </c:pt>
                <c:pt idx="1171">
                  <c:v>145.87725</c:v>
                </c:pt>
                <c:pt idx="1172">
                  <c:v>208.51004999999998</c:v>
                </c:pt>
                <c:pt idx="1173">
                  <c:v>203.8374</c:v>
                </c:pt>
                <c:pt idx="1174">
                  <c:v>142.33860000000001</c:v>
                </c:pt>
                <c:pt idx="1175">
                  <c:v>223.85</c:v>
                </c:pt>
                <c:pt idx="1176">
                  <c:v>184.59920000000002</c:v>
                </c:pt>
                <c:pt idx="1177">
                  <c:v>127.67789999999999</c:v>
                </c:pt>
                <c:pt idx="1178">
                  <c:v>228.60225</c:v>
                </c:pt>
                <c:pt idx="1179">
                  <c:v>192.06625</c:v>
                </c:pt>
                <c:pt idx="1180">
                  <c:v>204.22800000000001</c:v>
                </c:pt>
                <c:pt idx="1181">
                  <c:v>254.68700000000001</c:v>
                </c:pt>
                <c:pt idx="1182">
                  <c:v>224.9521</c:v>
                </c:pt>
                <c:pt idx="1183">
                  <c:v>181.44</c:v>
                </c:pt>
                <c:pt idx="1184">
                  <c:v>209.58500000000001</c:v>
                </c:pt>
                <c:pt idx="1185">
                  <c:v>221.94300000000001</c:v>
                </c:pt>
                <c:pt idx="1186">
                  <c:v>258.08565000000004</c:v>
                </c:pt>
                <c:pt idx="1187">
                  <c:v>188.24054999999998</c:v>
                </c:pt>
                <c:pt idx="1188">
                  <c:v>177.16994999999997</c:v>
                </c:pt>
                <c:pt idx="1189">
                  <c:v>163.64939999999999</c:v>
                </c:pt>
                <c:pt idx="1190">
                  <c:v>148.03139999999999</c:v>
                </c:pt>
                <c:pt idx="1191">
                  <c:v>279.90325000000001</c:v>
                </c:pt>
                <c:pt idx="1192">
                  <c:v>204.21720000000002</c:v>
                </c:pt>
                <c:pt idx="1193">
                  <c:v>230.67329999999998</c:v>
                </c:pt>
                <c:pt idx="1194">
                  <c:v>148.62799999999999</c:v>
                </c:pt>
                <c:pt idx="1195">
                  <c:v>130.25925000000001</c:v>
                </c:pt>
                <c:pt idx="1196">
                  <c:v>285.12554999999998</c:v>
                </c:pt>
                <c:pt idx="1197">
                  <c:v>197.24100000000001</c:v>
                </c:pt>
                <c:pt idx="1198">
                  <c:v>159.40199999999999</c:v>
                </c:pt>
                <c:pt idx="1199">
                  <c:v>198.35685000000001</c:v>
                </c:pt>
                <c:pt idx="1200">
                  <c:v>135.23394999999999</c:v>
                </c:pt>
                <c:pt idx="1201">
                  <c:v>161.4966</c:v>
                </c:pt>
                <c:pt idx="1202">
                  <c:v>206.62389999999999</c:v>
                </c:pt>
                <c:pt idx="1203">
                  <c:v>138.0659</c:v>
                </c:pt>
                <c:pt idx="1204">
                  <c:v>182.4854</c:v>
                </c:pt>
                <c:pt idx="1205">
                  <c:v>175.25235000000001</c:v>
                </c:pt>
                <c:pt idx="1206">
                  <c:v>416.81370000000004</c:v>
                </c:pt>
                <c:pt idx="1207">
                  <c:v>295.26299999999998</c:v>
                </c:pt>
                <c:pt idx="1208">
                  <c:v>275.33580000000001</c:v>
                </c:pt>
                <c:pt idx="1209">
                  <c:v>279.774</c:v>
                </c:pt>
                <c:pt idx="1210">
                  <c:v>309.89570000000003</c:v>
                </c:pt>
                <c:pt idx="1211">
                  <c:v>336.58269999999999</c:v>
                </c:pt>
                <c:pt idx="1212">
                  <c:v>310.27859999999998</c:v>
                </c:pt>
                <c:pt idx="1213">
                  <c:v>165.44820000000001</c:v>
                </c:pt>
                <c:pt idx="1214">
                  <c:v>168.80175</c:v>
                </c:pt>
                <c:pt idx="1215">
                  <c:v>322.98750000000001</c:v>
                </c:pt>
                <c:pt idx="1216">
                  <c:v>225.41300000000001</c:v>
                </c:pt>
                <c:pt idx="1217">
                  <c:v>450.91199999999998</c:v>
                </c:pt>
                <c:pt idx="1218">
                  <c:v>261.20159999999998</c:v>
                </c:pt>
                <c:pt idx="1219">
                  <c:v>391.1825</c:v>
                </c:pt>
                <c:pt idx="1220">
                  <c:v>176.91135</c:v>
                </c:pt>
                <c:pt idx="1221">
                  <c:v>246.69039999999998</c:v>
                </c:pt>
                <c:pt idx="1222">
                  <c:v>268.85250000000002</c:v>
                </c:pt>
                <c:pt idx="1223">
                  <c:v>218.54069999999999</c:v>
                </c:pt>
                <c:pt idx="1224">
                  <c:v>318.43579999999997</c:v>
                </c:pt>
                <c:pt idx="1225">
                  <c:v>398.87574999999998</c:v>
                </c:pt>
                <c:pt idx="1226">
                  <c:v>623.88485000000003</c:v>
                </c:pt>
                <c:pt idx="1227">
                  <c:v>383.70120000000003</c:v>
                </c:pt>
                <c:pt idx="1228">
                  <c:v>523.55939999999998</c:v>
                </c:pt>
                <c:pt idx="1229">
                  <c:v>329.88350000000003</c:v>
                </c:pt>
                <c:pt idx="1230">
                  <c:v>370.72199999999998</c:v>
                </c:pt>
                <c:pt idx="1231">
                  <c:v>436.76820000000004</c:v>
                </c:pt>
                <c:pt idx="1232">
                  <c:v>313.26274999999998</c:v>
                </c:pt>
                <c:pt idx="1233">
                  <c:v>175.74480000000003</c:v>
                </c:pt>
                <c:pt idx="1234">
                  <c:v>447.63125000000002</c:v>
                </c:pt>
                <c:pt idx="1235">
                  <c:v>402.16604999999998</c:v>
                </c:pt>
                <c:pt idx="1236">
                  <c:v>269.42159999999996</c:v>
                </c:pt>
                <c:pt idx="1237">
                  <c:v>256.29570000000001</c:v>
                </c:pt>
                <c:pt idx="1238">
                  <c:v>266.04955000000007</c:v>
                </c:pt>
                <c:pt idx="1239">
                  <c:v>141.732</c:v>
                </c:pt>
                <c:pt idx="1240">
                  <c:v>200.60100000000003</c:v>
                </c:pt>
                <c:pt idx="1241">
                  <c:v>179.0436</c:v>
                </c:pt>
                <c:pt idx="1242">
                  <c:v>180.90799999999999</c:v>
                </c:pt>
                <c:pt idx="1243">
                  <c:v>190.29599999999999</c:v>
                </c:pt>
                <c:pt idx="1244">
                  <c:v>208.60384999999999</c:v>
                </c:pt>
                <c:pt idx="1245">
                  <c:v>127.7706</c:v>
                </c:pt>
                <c:pt idx="1246">
                  <c:v>260.97719999999998</c:v>
                </c:pt>
                <c:pt idx="1247">
                  <c:v>347.96729999999997</c:v>
                </c:pt>
                <c:pt idx="1248">
                  <c:v>207.99359999999999</c:v>
                </c:pt>
                <c:pt idx="1249">
                  <c:v>199.827</c:v>
                </c:pt>
                <c:pt idx="1250">
                  <c:v>212.45579999999998</c:v>
                </c:pt>
                <c:pt idx="1251">
                  <c:v>211.8655</c:v>
                </c:pt>
                <c:pt idx="1252">
                  <c:v>110.43725000000001</c:v>
                </c:pt>
                <c:pt idx="1253">
                  <c:v>319.64455000000004</c:v>
                </c:pt>
                <c:pt idx="1254">
                  <c:v>88.937049999999999</c:v>
                </c:pt>
                <c:pt idx="1255">
                  <c:v>127.67715000000001</c:v>
                </c:pt>
                <c:pt idx="1256">
                  <c:v>139.58324999999999</c:v>
                </c:pt>
                <c:pt idx="1257">
                  <c:v>106.12800000000001</c:v>
                </c:pt>
                <c:pt idx="1258">
                  <c:v>170.70050000000001</c:v>
                </c:pt>
                <c:pt idx="1259">
                  <c:v>198.07589999999999</c:v>
                </c:pt>
                <c:pt idx="1260">
                  <c:v>194.43799999999999</c:v>
                </c:pt>
                <c:pt idx="1261">
                  <c:v>210.001</c:v>
                </c:pt>
                <c:pt idx="1262">
                  <c:v>247.01924999999997</c:v>
                </c:pt>
                <c:pt idx="1263">
                  <c:v>218.22900000000001</c:v>
                </c:pt>
                <c:pt idx="1264">
                  <c:v>384.09674999999993</c:v>
                </c:pt>
                <c:pt idx="1265">
                  <c:v>276.14279999999997</c:v>
                </c:pt>
                <c:pt idx="1266">
                  <c:v>185.38499999999999</c:v>
                </c:pt>
                <c:pt idx="1267">
                  <c:v>315.86324999999999</c:v>
                </c:pt>
                <c:pt idx="1268">
                  <c:v>433.37519999999995</c:v>
                </c:pt>
                <c:pt idx="1269">
                  <c:v>425.47260000000006</c:v>
                </c:pt>
                <c:pt idx="1270">
                  <c:v>477.91874999999999</c:v>
                </c:pt>
                <c:pt idx="1271">
                  <c:v>288.73930000000001</c:v>
                </c:pt>
                <c:pt idx="1272">
                  <c:v>230.53550000000004</c:v>
                </c:pt>
                <c:pt idx="1273">
                  <c:v>275.02479999999997</c:v>
                </c:pt>
                <c:pt idx="1274">
                  <c:v>252.5068</c:v>
                </c:pt>
                <c:pt idx="1275">
                  <c:v>219.35745</c:v>
                </c:pt>
                <c:pt idx="1276">
                  <c:v>547.94624999999996</c:v>
                </c:pt>
                <c:pt idx="1277">
                  <c:v>338.41359999999997</c:v>
                </c:pt>
                <c:pt idx="1278">
                  <c:v>249.99990000000003</c:v>
                </c:pt>
                <c:pt idx="1279">
                  <c:v>220.08494999999999</c:v>
                </c:pt>
                <c:pt idx="1280">
                  <c:v>177.44955000000002</c:v>
                </c:pt>
                <c:pt idx="1281">
                  <c:v>239.41019999999997</c:v>
                </c:pt>
                <c:pt idx="1282">
                  <c:v>205.18875</c:v>
                </c:pt>
                <c:pt idx="1283">
                  <c:v>237.99494999999999</c:v>
                </c:pt>
                <c:pt idx="1284">
                  <c:v>213.33785</c:v>
                </c:pt>
                <c:pt idx="1285">
                  <c:v>262.84315000000004</c:v>
                </c:pt>
                <c:pt idx="1286">
                  <c:v>289.63219999999995</c:v>
                </c:pt>
                <c:pt idx="1287">
                  <c:v>215.26430000000002</c:v>
                </c:pt>
                <c:pt idx="1288">
                  <c:v>340.66725000000002</c:v>
                </c:pt>
                <c:pt idx="1289">
                  <c:v>357.4622</c:v>
                </c:pt>
                <c:pt idx="1290">
                  <c:v>271.00470000000001</c:v>
                </c:pt>
                <c:pt idx="1291">
                  <c:v>187.1199</c:v>
                </c:pt>
                <c:pt idx="1292">
                  <c:v>637.81260000000009</c:v>
                </c:pt>
                <c:pt idx="1293">
                  <c:v>769.52159999999992</c:v>
                </c:pt>
                <c:pt idx="1294">
                  <c:v>558.14125000000001</c:v>
                </c:pt>
                <c:pt idx="1295">
                  <c:v>443.1617</c:v>
                </c:pt>
                <c:pt idx="1296">
                  <c:v>329.97639999999996</c:v>
                </c:pt>
                <c:pt idx="1297">
                  <c:v>446.32319999999999</c:v>
                </c:pt>
                <c:pt idx="1298">
                  <c:v>326.26799999999997</c:v>
                </c:pt>
                <c:pt idx="1299">
                  <c:v>398.13590000000005</c:v>
                </c:pt>
                <c:pt idx="1300">
                  <c:v>359.03250000000003</c:v>
                </c:pt>
                <c:pt idx="1301">
                  <c:v>390.29329999999999</c:v>
                </c:pt>
                <c:pt idx="1302">
                  <c:v>371.322</c:v>
                </c:pt>
                <c:pt idx="1303">
                  <c:v>346.38209999999998</c:v>
                </c:pt>
                <c:pt idx="1304">
                  <c:v>522.50310000000002</c:v>
                </c:pt>
                <c:pt idx="1305">
                  <c:v>674.93150000000003</c:v>
                </c:pt>
                <c:pt idx="1306">
                  <c:v>492.77340000000004</c:v>
                </c:pt>
                <c:pt idx="1307">
                  <c:v>797.67100000000005</c:v>
                </c:pt>
                <c:pt idx="1308">
                  <c:v>1426.2055500000001</c:v>
                </c:pt>
                <c:pt idx="1309">
                  <c:v>558.65640000000008</c:v>
                </c:pt>
                <c:pt idx="1310">
                  <c:v>462.54494999999997</c:v>
                </c:pt>
                <c:pt idx="1311">
                  <c:v>421.70100000000002</c:v>
                </c:pt>
                <c:pt idx="1312">
                  <c:v>252.37440000000004</c:v>
                </c:pt>
                <c:pt idx="1313">
                  <c:v>331.85250000000002</c:v>
                </c:pt>
                <c:pt idx="1314">
                  <c:v>359.0575</c:v>
                </c:pt>
                <c:pt idx="1315">
                  <c:v>297.13529999999997</c:v>
                </c:pt>
                <c:pt idx="1316">
                  <c:v>192.08850000000001</c:v>
                </c:pt>
                <c:pt idx="1317">
                  <c:v>182.47670000000002</c:v>
                </c:pt>
                <c:pt idx="1318">
                  <c:v>141.68840000000003</c:v>
                </c:pt>
                <c:pt idx="1319">
                  <c:v>150.09225000000001</c:v>
                </c:pt>
                <c:pt idx="1320">
                  <c:v>206.2012</c:v>
                </c:pt>
                <c:pt idx="1321">
                  <c:v>139.35075000000001</c:v>
                </c:pt>
                <c:pt idx="1322">
                  <c:v>357.35700000000003</c:v>
                </c:pt>
                <c:pt idx="1323">
                  <c:v>155.00380000000001</c:v>
                </c:pt>
                <c:pt idx="1324">
                  <c:v>227.33815000000001</c:v>
                </c:pt>
                <c:pt idx="1325">
                  <c:v>342.14800000000002</c:v>
                </c:pt>
                <c:pt idx="1326">
                  <c:v>183.94494999999998</c:v>
                </c:pt>
                <c:pt idx="1327">
                  <c:v>333.15039999999999</c:v>
                </c:pt>
                <c:pt idx="1328">
                  <c:v>247.19529999999997</c:v>
                </c:pt>
                <c:pt idx="1329">
                  <c:v>229.0977</c:v>
                </c:pt>
                <c:pt idx="1330">
                  <c:v>495.31089999999995</c:v>
                </c:pt>
                <c:pt idx="1331">
                  <c:v>740.96219999999994</c:v>
                </c:pt>
                <c:pt idx="1332">
                  <c:v>492.53659999999996</c:v>
                </c:pt>
                <c:pt idx="1333">
                  <c:v>392.56230000000005</c:v>
                </c:pt>
                <c:pt idx="1334">
                  <c:v>255.91499999999996</c:v>
                </c:pt>
                <c:pt idx="1335">
                  <c:v>201.87619999999998</c:v>
                </c:pt>
                <c:pt idx="1336">
                  <c:v>236.34279999999998</c:v>
                </c:pt>
                <c:pt idx="1337">
                  <c:v>367.00220000000002</c:v>
                </c:pt>
                <c:pt idx="1338">
                  <c:v>233.869</c:v>
                </c:pt>
                <c:pt idx="1339">
                  <c:v>149.99625</c:v>
                </c:pt>
                <c:pt idx="1340">
                  <c:v>220.05590000000001</c:v>
                </c:pt>
                <c:pt idx="1341">
                  <c:v>248.03774999999999</c:v>
                </c:pt>
                <c:pt idx="1342">
                  <c:v>295.34219999999999</c:v>
                </c:pt>
                <c:pt idx="1343">
                  <c:v>453.65035</c:v>
                </c:pt>
                <c:pt idx="1344">
                  <c:v>430.0317</c:v>
                </c:pt>
                <c:pt idx="1345">
                  <c:v>266.75054999999998</c:v>
                </c:pt>
                <c:pt idx="1346">
                  <c:v>416.46170000000001</c:v>
                </c:pt>
                <c:pt idx="1347">
                  <c:v>316.11689999999999</c:v>
                </c:pt>
                <c:pt idx="1348">
                  <c:v>337.22320000000002</c:v>
                </c:pt>
                <c:pt idx="1349">
                  <c:v>267.28244999999993</c:v>
                </c:pt>
                <c:pt idx="1350">
                  <c:v>409.90834999999998</c:v>
                </c:pt>
                <c:pt idx="1351">
                  <c:v>705.11670000000004</c:v>
                </c:pt>
                <c:pt idx="1352">
                  <c:v>394.23339999999996</c:v>
                </c:pt>
                <c:pt idx="1353">
                  <c:v>289.66640000000001</c:v>
                </c:pt>
                <c:pt idx="1354">
                  <c:v>340.36259999999999</c:v>
                </c:pt>
                <c:pt idx="1355">
                  <c:v>434.37324999999998</c:v>
                </c:pt>
                <c:pt idx="1356">
                  <c:v>238.79415000000003</c:v>
                </c:pt>
                <c:pt idx="1357">
                  <c:v>236.60070000000002</c:v>
                </c:pt>
                <c:pt idx="1358">
                  <c:v>209.78164999999998</c:v>
                </c:pt>
                <c:pt idx="1359">
                  <c:v>291.64184999999998</c:v>
                </c:pt>
                <c:pt idx="1360">
                  <c:v>296.18910000000005</c:v>
                </c:pt>
                <c:pt idx="1361">
                  <c:v>412.72390000000001</c:v>
                </c:pt>
                <c:pt idx="1362">
                  <c:v>284.4357</c:v>
                </c:pt>
                <c:pt idx="1363">
                  <c:v>319.8304</c:v>
                </c:pt>
                <c:pt idx="1364">
                  <c:v>267.45499999999998</c:v>
                </c:pt>
                <c:pt idx="1365">
                  <c:v>261.71600000000001</c:v>
                </c:pt>
                <c:pt idx="1366">
                  <c:v>391.35820000000001</c:v>
                </c:pt>
                <c:pt idx="1367">
                  <c:v>269.84100000000001</c:v>
                </c:pt>
                <c:pt idx="1368">
                  <c:v>423.99425000000002</c:v>
                </c:pt>
                <c:pt idx="1369">
                  <c:v>644.91840000000002</c:v>
                </c:pt>
                <c:pt idx="1370">
                  <c:v>428.24</c:v>
                </c:pt>
                <c:pt idx="1371">
                  <c:v>695.86559999999997</c:v>
                </c:pt>
                <c:pt idx="1372">
                  <c:v>941.2835</c:v>
                </c:pt>
                <c:pt idx="1373">
                  <c:v>631.08444999999995</c:v>
                </c:pt>
                <c:pt idx="1374">
                  <c:v>606.09119999999996</c:v>
                </c:pt>
                <c:pt idx="1375">
                  <c:v>376.9753</c:v>
                </c:pt>
                <c:pt idx="1376">
                  <c:v>401.09474999999998</c:v>
                </c:pt>
                <c:pt idx="1377">
                  <c:v>586.75120000000004</c:v>
                </c:pt>
                <c:pt idx="1378">
                  <c:v>360.61495000000002</c:v>
                </c:pt>
                <c:pt idx="1379">
                  <c:v>258.40980000000002</c:v>
                </c:pt>
                <c:pt idx="1380">
                  <c:v>279.74799999999999</c:v>
                </c:pt>
                <c:pt idx="1381">
                  <c:v>465.62099999999998</c:v>
                </c:pt>
                <c:pt idx="1382">
                  <c:v>343.84100000000001</c:v>
                </c:pt>
                <c:pt idx="1383">
                  <c:v>334.97250000000003</c:v>
                </c:pt>
                <c:pt idx="1384">
                  <c:v>255.08054999999999</c:v>
                </c:pt>
                <c:pt idx="1385">
                  <c:v>244.30034999999998</c:v>
                </c:pt>
                <c:pt idx="1386">
                  <c:v>241.0515</c:v>
                </c:pt>
                <c:pt idx="1387">
                  <c:v>296.08974999999998</c:v>
                </c:pt>
                <c:pt idx="1388">
                  <c:v>532.28880000000004</c:v>
                </c:pt>
                <c:pt idx="1389">
                  <c:v>501.82470000000001</c:v>
                </c:pt>
                <c:pt idx="1390">
                  <c:v>451.42720000000003</c:v>
                </c:pt>
                <c:pt idx="1391">
                  <c:v>680.95809999999994</c:v>
                </c:pt>
                <c:pt idx="1392">
                  <c:v>554.32859999999994</c:v>
                </c:pt>
                <c:pt idx="1393">
                  <c:v>549.82379999999989</c:v>
                </c:pt>
                <c:pt idx="1394">
                  <c:v>588.798</c:v>
                </c:pt>
                <c:pt idx="1395">
                  <c:v>516.36374999999998</c:v>
                </c:pt>
                <c:pt idx="1396">
                  <c:v>489.61305000000004</c:v>
                </c:pt>
                <c:pt idx="1397">
                  <c:v>301.61894999999998</c:v>
                </c:pt>
                <c:pt idx="1398">
                  <c:v>342.53424999999999</c:v>
                </c:pt>
                <c:pt idx="1399">
                  <c:v>374.65469999999999</c:v>
                </c:pt>
                <c:pt idx="1400">
                  <c:v>655.32749999999999</c:v>
                </c:pt>
                <c:pt idx="1401">
                  <c:v>544.30020000000002</c:v>
                </c:pt>
                <c:pt idx="1402">
                  <c:v>756.23835000000008</c:v>
                </c:pt>
                <c:pt idx="1403">
                  <c:v>750.40039999999999</c:v>
                </c:pt>
                <c:pt idx="1404">
                  <c:v>577.96469999999999</c:v>
                </c:pt>
                <c:pt idx="1405">
                  <c:v>836.31690000000003</c:v>
                </c:pt>
                <c:pt idx="1406">
                  <c:v>1194.864</c:v>
                </c:pt>
                <c:pt idx="1407">
                  <c:v>1873.7918999999999</c:v>
                </c:pt>
                <c:pt idx="1408">
                  <c:v>1537.51675</c:v>
                </c:pt>
                <c:pt idx="1409">
                  <c:v>1622.9296499999998</c:v>
                </c:pt>
                <c:pt idx="1410">
                  <c:v>1212.6495</c:v>
                </c:pt>
                <c:pt idx="1411">
                  <c:v>1132.3800000000001</c:v>
                </c:pt>
                <c:pt idx="1412">
                  <c:v>964.86749999999995</c:v>
                </c:pt>
                <c:pt idx="1413">
                  <c:v>572.95805000000007</c:v>
                </c:pt>
                <c:pt idx="1414">
                  <c:v>574.69079999999997</c:v>
                </c:pt>
                <c:pt idx="1415">
                  <c:v>845.84359999999992</c:v>
                </c:pt>
                <c:pt idx="1416">
                  <c:v>1628.7023999999999</c:v>
                </c:pt>
                <c:pt idx="1417">
                  <c:v>1280.1218000000001</c:v>
                </c:pt>
                <c:pt idx="1418">
                  <c:v>974.74090000000001</c:v>
                </c:pt>
                <c:pt idx="1419">
                  <c:v>1343.0002500000001</c:v>
                </c:pt>
                <c:pt idx="1420">
                  <c:v>1002.9319999999999</c:v>
                </c:pt>
                <c:pt idx="1421">
                  <c:v>905.78289999999993</c:v>
                </c:pt>
                <c:pt idx="1422">
                  <c:v>1029.0170000000001</c:v>
                </c:pt>
                <c:pt idx="1423">
                  <c:v>487.22</c:v>
                </c:pt>
                <c:pt idx="1424">
                  <c:v>482.97899999999998</c:v>
                </c:pt>
                <c:pt idx="1425">
                  <c:v>635.92750000000001</c:v>
                </c:pt>
                <c:pt idx="1426">
                  <c:v>813.46829999999989</c:v>
                </c:pt>
                <c:pt idx="1427">
                  <c:v>606.34900000000005</c:v>
                </c:pt>
                <c:pt idx="1428">
                  <c:v>752.96249999999998</c:v>
                </c:pt>
                <c:pt idx="1429">
                  <c:v>623.51575000000003</c:v>
                </c:pt>
                <c:pt idx="1430">
                  <c:v>517.03904999999997</c:v>
                </c:pt>
                <c:pt idx="1431">
                  <c:v>819.15499999999997</c:v>
                </c:pt>
                <c:pt idx="1432">
                  <c:v>1003.9576499999999</c:v>
                </c:pt>
                <c:pt idx="1433">
                  <c:v>698.40049999999997</c:v>
                </c:pt>
                <c:pt idx="1434">
                  <c:v>590.57355000000007</c:v>
                </c:pt>
                <c:pt idx="1435">
                  <c:v>450.05675000000002</c:v>
                </c:pt>
                <c:pt idx="1436">
                  <c:v>763.6332000000001</c:v>
                </c:pt>
                <c:pt idx="1437">
                  <c:v>550.24059999999997</c:v>
                </c:pt>
                <c:pt idx="1438">
                  <c:v>623.50470000000007</c:v>
                </c:pt>
                <c:pt idx="1439">
                  <c:v>753.89600000000007</c:v>
                </c:pt>
                <c:pt idx="1440">
                  <c:v>1404.4745</c:v>
                </c:pt>
                <c:pt idx="1441">
                  <c:v>958.43009999999992</c:v>
                </c:pt>
                <c:pt idx="1442">
                  <c:v>678.46320000000003</c:v>
                </c:pt>
                <c:pt idx="1443">
                  <c:v>667.91250000000002</c:v>
                </c:pt>
                <c:pt idx="1444">
                  <c:v>642.94124999999997</c:v>
                </c:pt>
                <c:pt idx="1445">
                  <c:v>819.37650000000008</c:v>
                </c:pt>
                <c:pt idx="1446">
                  <c:v>890.50199999999995</c:v>
                </c:pt>
                <c:pt idx="1447">
                  <c:v>1023.9078</c:v>
                </c:pt>
                <c:pt idx="1448">
                  <c:v>1342.9404999999999</c:v>
                </c:pt>
                <c:pt idx="1449">
                  <c:v>865.20479999999998</c:v>
                </c:pt>
                <c:pt idx="1450">
                  <c:v>507.84760000000006</c:v>
                </c:pt>
                <c:pt idx="1451">
                  <c:v>689.66485</c:v>
                </c:pt>
                <c:pt idx="1452">
                  <c:v>467.16450000000003</c:v>
                </c:pt>
                <c:pt idx="1453">
                  <c:v>481.01140000000004</c:v>
                </c:pt>
                <c:pt idx="1454">
                  <c:v>832.38149999999996</c:v>
                </c:pt>
                <c:pt idx="1455">
                  <c:v>458.88524999999998</c:v>
                </c:pt>
                <c:pt idx="1456">
                  <c:v>487.82370000000003</c:v>
                </c:pt>
                <c:pt idx="1457">
                  <c:v>634.22415000000001</c:v>
                </c:pt>
                <c:pt idx="1458">
                  <c:v>670.86199999999997</c:v>
                </c:pt>
                <c:pt idx="1459">
                  <c:v>1004.462</c:v>
                </c:pt>
                <c:pt idx="1460">
                  <c:v>563.5009500000001</c:v>
                </c:pt>
                <c:pt idx="1461">
                  <c:v>444.52760000000001</c:v>
                </c:pt>
                <c:pt idx="1462">
                  <c:v>449.47840000000002</c:v>
                </c:pt>
                <c:pt idx="1463">
                  <c:v>519.64324999999997</c:v>
                </c:pt>
                <c:pt idx="1464">
                  <c:v>483.18119999999993</c:v>
                </c:pt>
                <c:pt idx="1465">
                  <c:v>837.49950000000001</c:v>
                </c:pt>
                <c:pt idx="1466">
                  <c:v>328.18119999999999</c:v>
                </c:pt>
                <c:pt idx="1467">
                  <c:v>423.70125000000002</c:v>
                </c:pt>
                <c:pt idx="1468">
                  <c:v>1102.2198999999998</c:v>
                </c:pt>
                <c:pt idx="1469">
                  <c:v>438.76980000000003</c:v>
                </c:pt>
                <c:pt idx="1470">
                  <c:v>470.97810000000004</c:v>
                </c:pt>
                <c:pt idx="1471">
                  <c:v>313.86394999999999</c:v>
                </c:pt>
                <c:pt idx="1472">
                  <c:v>320.78239999999994</c:v>
                </c:pt>
                <c:pt idx="1473">
                  <c:v>500.399</c:v>
                </c:pt>
                <c:pt idx="1474">
                  <c:v>679.8146999999999</c:v>
                </c:pt>
                <c:pt idx="1475">
                  <c:v>698.67360000000008</c:v>
                </c:pt>
                <c:pt idx="1476">
                  <c:v>323.19390000000004</c:v>
                </c:pt>
                <c:pt idx="1477">
                  <c:v>512.58460000000002</c:v>
                </c:pt>
                <c:pt idx="1478">
                  <c:v>949.31399999999996</c:v>
                </c:pt>
                <c:pt idx="1479">
                  <c:v>641.75279999999998</c:v>
                </c:pt>
                <c:pt idx="1480">
                  <c:v>860.52339999999992</c:v>
                </c:pt>
                <c:pt idx="1481">
                  <c:v>725.86125000000004</c:v>
                </c:pt>
                <c:pt idx="1482">
                  <c:v>666.0865</c:v>
                </c:pt>
                <c:pt idx="1483">
                  <c:v>585.62035000000014</c:v>
                </c:pt>
                <c:pt idx="1484">
                  <c:v>516.12169999999992</c:v>
                </c:pt>
                <c:pt idx="1485">
                  <c:v>266.31360000000001</c:v>
                </c:pt>
                <c:pt idx="1486">
                  <c:v>465.40499999999997</c:v>
                </c:pt>
                <c:pt idx="1487">
                  <c:v>355.29599999999999</c:v>
                </c:pt>
                <c:pt idx="1488">
                  <c:v>593.0793000000001</c:v>
                </c:pt>
                <c:pt idx="1489">
                  <c:v>338.10210000000001</c:v>
                </c:pt>
                <c:pt idx="1490">
                  <c:v>411.58080000000001</c:v>
                </c:pt>
                <c:pt idx="1491">
                  <c:v>305.661</c:v>
                </c:pt>
                <c:pt idx="1492">
                  <c:v>264.48920000000004</c:v>
                </c:pt>
                <c:pt idx="1493">
                  <c:v>437.82610000000005</c:v>
                </c:pt>
                <c:pt idx="1494">
                  <c:v>357.29980000000006</c:v>
                </c:pt>
                <c:pt idx="1495">
                  <c:v>314.28359999999998</c:v>
                </c:pt>
                <c:pt idx="1496">
                  <c:v>316.1728</c:v>
                </c:pt>
                <c:pt idx="1497">
                  <c:v>748.62239999999997</c:v>
                </c:pt>
                <c:pt idx="1498">
                  <c:v>411.40510000000006</c:v>
                </c:pt>
                <c:pt idx="1499">
                  <c:v>217.09810000000002</c:v>
                </c:pt>
                <c:pt idx="1500">
                  <c:v>323.47260000000006</c:v>
                </c:pt>
                <c:pt idx="1501">
                  <c:v>484.50690000000003</c:v>
                </c:pt>
                <c:pt idx="1502">
                  <c:v>519.57045000000005</c:v>
                </c:pt>
                <c:pt idx="1503">
                  <c:v>515.99924999999996</c:v>
                </c:pt>
                <c:pt idx="1504">
                  <c:v>364.26600000000002</c:v>
                </c:pt>
                <c:pt idx="1505">
                  <c:v>224.51949999999999</c:v>
                </c:pt>
                <c:pt idx="1506">
                  <c:v>173.732</c:v>
                </c:pt>
                <c:pt idx="1507">
                  <c:v>289.06109999999995</c:v>
                </c:pt>
                <c:pt idx="1508">
                  <c:v>157.28969999999998</c:v>
                </c:pt>
                <c:pt idx="1509">
                  <c:v>128.8158</c:v>
                </c:pt>
                <c:pt idx="1510">
                  <c:v>349.93020000000001</c:v>
                </c:pt>
                <c:pt idx="1511">
                  <c:v>302.38640000000004</c:v>
                </c:pt>
                <c:pt idx="1512">
                  <c:v>299.62020000000001</c:v>
                </c:pt>
                <c:pt idx="1513">
                  <c:v>303.05</c:v>
                </c:pt>
                <c:pt idx="1514">
                  <c:v>208.90215000000001</c:v>
                </c:pt>
                <c:pt idx="1515">
                  <c:v>412.35110000000003</c:v>
                </c:pt>
                <c:pt idx="1516">
                  <c:v>238.07220000000001</c:v>
                </c:pt>
                <c:pt idx="1517">
                  <c:v>308.49389999999994</c:v>
                </c:pt>
                <c:pt idx="1518">
                  <c:v>552.71339999999998</c:v>
                </c:pt>
                <c:pt idx="1519">
                  <c:v>829.93170000000009</c:v>
                </c:pt>
                <c:pt idx="1520">
                  <c:v>464.00729999999999</c:v>
                </c:pt>
                <c:pt idx="1521">
                  <c:v>409.5496</c:v>
                </c:pt>
                <c:pt idx="1522">
                  <c:v>398.16535000000005</c:v>
                </c:pt>
                <c:pt idx="1523">
                  <c:v>457.51715000000002</c:v>
                </c:pt>
                <c:pt idx="1524">
                  <c:v>385.08269999999999</c:v>
                </c:pt>
                <c:pt idx="1525">
                  <c:v>725.7396</c:v>
                </c:pt>
                <c:pt idx="1526">
                  <c:v>475.50980000000004</c:v>
                </c:pt>
                <c:pt idx="1527">
                  <c:v>382.51769999999999</c:v>
                </c:pt>
                <c:pt idx="1528">
                  <c:v>406.00234999999998</c:v>
                </c:pt>
                <c:pt idx="1529">
                  <c:v>309.7962</c:v>
                </c:pt>
                <c:pt idx="1530">
                  <c:v>383.05519999999996</c:v>
                </c:pt>
                <c:pt idx="1531">
                  <c:v>369.54745000000003</c:v>
                </c:pt>
                <c:pt idx="1532">
                  <c:v>535.87444999999991</c:v>
                </c:pt>
                <c:pt idx="1533">
                  <c:v>284.8306</c:v>
                </c:pt>
                <c:pt idx="1534">
                  <c:v>357.04060000000004</c:v>
                </c:pt>
                <c:pt idx="1535">
                  <c:v>358.45039999999995</c:v>
                </c:pt>
                <c:pt idx="1536">
                  <c:v>458.6112</c:v>
                </c:pt>
                <c:pt idx="1537">
                  <c:v>825.18</c:v>
                </c:pt>
                <c:pt idx="1538">
                  <c:v>1036.1058</c:v>
                </c:pt>
                <c:pt idx="1539">
                  <c:v>1052.3168999999998</c:v>
                </c:pt>
                <c:pt idx="1540">
                  <c:v>1163.7630999999999</c:v>
                </c:pt>
                <c:pt idx="1541">
                  <c:v>984.08924999999999</c:v>
                </c:pt>
                <c:pt idx="1542">
                  <c:v>812.15880000000004</c:v>
                </c:pt>
                <c:pt idx="1543">
                  <c:v>809.84839999999997</c:v>
                </c:pt>
                <c:pt idx="1544">
                  <c:v>757.7251</c:v>
                </c:pt>
                <c:pt idx="1545">
                  <c:v>820.77</c:v>
                </c:pt>
                <c:pt idx="1546">
                  <c:v>631.59749999999997</c:v>
                </c:pt>
                <c:pt idx="1547">
                  <c:v>560.31600000000003</c:v>
                </c:pt>
                <c:pt idx="1548">
                  <c:v>415.93655000000001</c:v>
                </c:pt>
                <c:pt idx="1549">
                  <c:v>625.91700000000003</c:v>
                </c:pt>
                <c:pt idx="1550">
                  <c:v>481.63499999999999</c:v>
                </c:pt>
                <c:pt idx="1551">
                  <c:v>412.74930000000001</c:v>
                </c:pt>
                <c:pt idx="1552">
                  <c:v>415.69079999999997</c:v>
                </c:pt>
                <c:pt idx="1553">
                  <c:v>745.65075000000002</c:v>
                </c:pt>
                <c:pt idx="1554">
                  <c:v>536.89499999999998</c:v>
                </c:pt>
                <c:pt idx="1555">
                  <c:v>502.9101</c:v>
                </c:pt>
                <c:pt idx="1556">
                  <c:v>634.28089999999997</c:v>
                </c:pt>
                <c:pt idx="1557">
                  <c:v>618.30584999999996</c:v>
                </c:pt>
                <c:pt idx="1558">
                  <c:v>571.39025000000004</c:v>
                </c:pt>
                <c:pt idx="1559">
                  <c:v>569.12599999999998</c:v>
                </c:pt>
                <c:pt idx="1560">
                  <c:v>491.81400000000002</c:v>
                </c:pt>
                <c:pt idx="1561">
                  <c:v>581.25155000000007</c:v>
                </c:pt>
                <c:pt idx="1562">
                  <c:v>1211.1120000000001</c:v>
                </c:pt>
                <c:pt idx="1563">
                  <c:v>1076.0999999999999</c:v>
                </c:pt>
                <c:pt idx="1564">
                  <c:v>1144.854</c:v>
                </c:pt>
                <c:pt idx="1565">
                  <c:v>892.99970000000008</c:v>
                </c:pt>
                <c:pt idx="1566">
                  <c:v>1163.6285500000001</c:v>
                </c:pt>
                <c:pt idx="1567">
                  <c:v>963.84900000000005</c:v>
                </c:pt>
                <c:pt idx="1568">
                  <c:v>810.38879999999995</c:v>
                </c:pt>
                <c:pt idx="1569">
                  <c:v>898.93760000000009</c:v>
                </c:pt>
                <c:pt idx="1570">
                  <c:v>696.38075000000003</c:v>
                </c:pt>
                <c:pt idx="1571">
                  <c:v>540.30870000000004</c:v>
                </c:pt>
                <c:pt idx="1572">
                  <c:v>440.17680000000007</c:v>
                </c:pt>
                <c:pt idx="1573">
                  <c:v>496.00900000000001</c:v>
                </c:pt>
                <c:pt idx="1574">
                  <c:v>644.21849999999995</c:v>
                </c:pt>
                <c:pt idx="1575">
                  <c:v>469.73354999999998</c:v>
                </c:pt>
                <c:pt idx="1576">
                  <c:v>460.27214999999995</c:v>
                </c:pt>
                <c:pt idx="1577">
                  <c:v>816.37920000000008</c:v>
                </c:pt>
                <c:pt idx="1578">
                  <c:v>550.1961</c:v>
                </c:pt>
                <c:pt idx="1579">
                  <c:v>677.40750000000003</c:v>
                </c:pt>
                <c:pt idx="1580">
                  <c:v>706.19640000000004</c:v>
                </c:pt>
                <c:pt idx="1581">
                  <c:v>1006.0771</c:v>
                </c:pt>
                <c:pt idx="1582">
                  <c:v>955.86085000000014</c:v>
                </c:pt>
                <c:pt idx="1583">
                  <c:v>738.60884999999996</c:v>
                </c:pt>
                <c:pt idx="1584">
                  <c:v>792.05865000000006</c:v>
                </c:pt>
                <c:pt idx="1585">
                  <c:v>628.38119999999992</c:v>
                </c:pt>
                <c:pt idx="1586">
                  <c:v>730.45629999999994</c:v>
                </c:pt>
                <c:pt idx="1587">
                  <c:v>506.82180000000005</c:v>
                </c:pt>
                <c:pt idx="1588">
                  <c:v>749.67049999999995</c:v>
                </c:pt>
                <c:pt idx="1589">
                  <c:v>623.31709999999998</c:v>
                </c:pt>
                <c:pt idx="1590">
                  <c:v>474.40800000000002</c:v>
                </c:pt>
                <c:pt idx="1591">
                  <c:v>471.30355000000003</c:v>
                </c:pt>
                <c:pt idx="1592">
                  <c:v>458.31644999999997</c:v>
                </c:pt>
                <c:pt idx="1593">
                  <c:v>458.02800000000002</c:v>
                </c:pt>
                <c:pt idx="1594">
                  <c:v>525.09255000000007</c:v>
                </c:pt>
                <c:pt idx="1595">
                  <c:v>610.47360000000003</c:v>
                </c:pt>
                <c:pt idx="1596">
                  <c:v>565.41999999999996</c:v>
                </c:pt>
                <c:pt idx="1597">
                  <c:v>742.40145000000007</c:v>
                </c:pt>
                <c:pt idx="1598">
                  <c:v>824.46259999999995</c:v>
                </c:pt>
                <c:pt idx="1599">
                  <c:v>573.6925</c:v>
                </c:pt>
                <c:pt idx="1600">
                  <c:v>661.03470000000004</c:v>
                </c:pt>
                <c:pt idx="1601">
                  <c:v>979.38720000000012</c:v>
                </c:pt>
                <c:pt idx="1602">
                  <c:v>1013.449</c:v>
                </c:pt>
                <c:pt idx="1603">
                  <c:v>1133.7443000000001</c:v>
                </c:pt>
                <c:pt idx="1604">
                  <c:v>1232.9075999999998</c:v>
                </c:pt>
                <c:pt idx="1605">
                  <c:v>1665.4815999999998</c:v>
                </c:pt>
                <c:pt idx="1606">
                  <c:v>2304.6731999999997</c:v>
                </c:pt>
                <c:pt idx="1607">
                  <c:v>1209.9537499999999</c:v>
                </c:pt>
                <c:pt idx="1608">
                  <c:v>1159.45145</c:v>
                </c:pt>
                <c:pt idx="1609">
                  <c:v>914.92160000000001</c:v>
                </c:pt>
                <c:pt idx="1610">
                  <c:v>544.75199999999995</c:v>
                </c:pt>
                <c:pt idx="1611">
                  <c:v>790.0435500000001</c:v>
                </c:pt>
                <c:pt idx="1612">
                  <c:v>771.05200000000002</c:v>
                </c:pt>
                <c:pt idx="1613">
                  <c:v>1082.5868</c:v>
                </c:pt>
                <c:pt idx="1614">
                  <c:v>1127.308</c:v>
                </c:pt>
                <c:pt idx="1615">
                  <c:v>990.53625</c:v>
                </c:pt>
                <c:pt idx="1616">
                  <c:v>763.43959999999993</c:v>
                </c:pt>
                <c:pt idx="1617">
                  <c:v>885.14560000000006</c:v>
                </c:pt>
                <c:pt idx="1618">
                  <c:v>773.08920000000001</c:v>
                </c:pt>
                <c:pt idx="1619">
                  <c:v>639.36090000000002</c:v>
                </c:pt>
                <c:pt idx="1620">
                  <c:v>759.60850000000005</c:v>
                </c:pt>
                <c:pt idx="1621">
                  <c:v>815.06</c:v>
                </c:pt>
                <c:pt idx="1622">
                  <c:v>857.26165000000003</c:v>
                </c:pt>
                <c:pt idx="1623">
                  <c:v>847.05250000000001</c:v>
                </c:pt>
                <c:pt idx="1624">
                  <c:v>747.11429999999996</c:v>
                </c:pt>
                <c:pt idx="1625">
                  <c:v>1809.2249999999999</c:v>
                </c:pt>
                <c:pt idx="1626">
                  <c:v>1047.9042000000002</c:v>
                </c:pt>
                <c:pt idx="1627">
                  <c:v>1500.3689999999999</c:v>
                </c:pt>
                <c:pt idx="1628">
                  <c:v>1484.0155999999999</c:v>
                </c:pt>
                <c:pt idx="1629">
                  <c:v>1610.6129500000002</c:v>
                </c:pt>
                <c:pt idx="1630">
                  <c:v>1080.1766</c:v>
                </c:pt>
                <c:pt idx="1631">
                  <c:v>1063.7483499999998</c:v>
                </c:pt>
                <c:pt idx="1632">
                  <c:v>714.096</c:v>
                </c:pt>
                <c:pt idx="1633">
                  <c:v>868.21699999999998</c:v>
                </c:pt>
                <c:pt idx="1634">
                  <c:v>1054.0281500000001</c:v>
                </c:pt>
                <c:pt idx="1635">
                  <c:v>932.35905000000002</c:v>
                </c:pt>
                <c:pt idx="1636">
                  <c:v>463.35134999999997</c:v>
                </c:pt>
                <c:pt idx="1637">
                  <c:v>566.47079999999994</c:v>
                </c:pt>
                <c:pt idx="1638">
                  <c:v>626.51</c:v>
                </c:pt>
                <c:pt idx="1639">
                  <c:v>534.25049999999999</c:v>
                </c:pt>
                <c:pt idx="1640">
                  <c:v>641.25839999999994</c:v>
                </c:pt>
                <c:pt idx="1641">
                  <c:v>707.18724999999995</c:v>
                </c:pt>
                <c:pt idx="1642">
                  <c:v>727.18709999999999</c:v>
                </c:pt>
                <c:pt idx="1643">
                  <c:v>855.07</c:v>
                </c:pt>
                <c:pt idx="1644">
                  <c:v>684.09990000000005</c:v>
                </c:pt>
                <c:pt idx="1645">
                  <c:v>1021.0472000000001</c:v>
                </c:pt>
                <c:pt idx="1646">
                  <c:v>684.06835000000001</c:v>
                </c:pt>
                <c:pt idx="1647">
                  <c:v>704.00019999999995</c:v>
                </c:pt>
                <c:pt idx="1648">
                  <c:v>669.97840000000008</c:v>
                </c:pt>
                <c:pt idx="1649">
                  <c:v>987.01014999999995</c:v>
                </c:pt>
                <c:pt idx="1650">
                  <c:v>942.82240000000002</c:v>
                </c:pt>
                <c:pt idx="1651">
                  <c:v>838.88705000000004</c:v>
                </c:pt>
                <c:pt idx="1652">
                  <c:v>897.99490000000003</c:v>
                </c:pt>
                <c:pt idx="1653">
                  <c:v>737.50479999999993</c:v>
                </c:pt>
                <c:pt idx="1654">
                  <c:v>556.41899999999998</c:v>
                </c:pt>
                <c:pt idx="1655">
                  <c:v>528.41099999999994</c:v>
                </c:pt>
                <c:pt idx="1656">
                  <c:v>683.50529999999992</c:v>
                </c:pt>
                <c:pt idx="1657">
                  <c:v>973.69219999999996</c:v>
                </c:pt>
                <c:pt idx="1658">
                  <c:v>775.09629999999993</c:v>
                </c:pt>
                <c:pt idx="1659">
                  <c:v>495.42879999999997</c:v>
                </c:pt>
                <c:pt idx="1660">
                  <c:v>453.23130000000003</c:v>
                </c:pt>
                <c:pt idx="1661">
                  <c:v>511.42639999999994</c:v>
                </c:pt>
                <c:pt idx="1662">
                  <c:v>420.65520000000004</c:v>
                </c:pt>
                <c:pt idx="1663">
                  <c:v>375.75120000000004</c:v>
                </c:pt>
                <c:pt idx="1664">
                  <c:v>447.67935000000006</c:v>
                </c:pt>
                <c:pt idx="1665">
                  <c:v>456.87280000000004</c:v>
                </c:pt>
                <c:pt idx="1666">
                  <c:v>305.72879999999998</c:v>
                </c:pt>
                <c:pt idx="1667">
                  <c:v>449.64719999999994</c:v>
                </c:pt>
                <c:pt idx="1668">
                  <c:v>532.31610000000001</c:v>
                </c:pt>
                <c:pt idx="1669">
                  <c:v>542.59659999999997</c:v>
                </c:pt>
                <c:pt idx="1670">
                  <c:v>860.90724999999998</c:v>
                </c:pt>
                <c:pt idx="1671">
                  <c:v>803.19375000000002</c:v>
                </c:pt>
                <c:pt idx="1672">
                  <c:v>746.83299999999997</c:v>
                </c:pt>
                <c:pt idx="1673">
                  <c:v>755.01599999999996</c:v>
                </c:pt>
                <c:pt idx="1674">
                  <c:v>536.00225</c:v>
                </c:pt>
                <c:pt idx="1675">
                  <c:v>536.02559999999994</c:v>
                </c:pt>
                <c:pt idx="1676">
                  <c:v>586.56799999999998</c:v>
                </c:pt>
                <c:pt idx="1677">
                  <c:v>605.14300000000003</c:v>
                </c:pt>
                <c:pt idx="1678">
                  <c:v>763.82809999999995</c:v>
                </c:pt>
                <c:pt idx="1679">
                  <c:v>704.21990000000005</c:v>
                </c:pt>
                <c:pt idx="1680">
                  <c:v>625.70749999999998</c:v>
                </c:pt>
                <c:pt idx="1681">
                  <c:v>935.32394999999997</c:v>
                </c:pt>
                <c:pt idx="1682">
                  <c:v>708.81860000000006</c:v>
                </c:pt>
                <c:pt idx="1683">
                  <c:v>686.61209999999994</c:v>
                </c:pt>
                <c:pt idx="1684">
                  <c:v>849.94799999999998</c:v>
                </c:pt>
                <c:pt idx="1685">
                  <c:v>676.0018</c:v>
                </c:pt>
                <c:pt idx="1686">
                  <c:v>999.36580000000004</c:v>
                </c:pt>
                <c:pt idx="1687">
                  <c:v>859.1191</c:v>
                </c:pt>
                <c:pt idx="1688">
                  <c:v>866.73660000000007</c:v>
                </c:pt>
                <c:pt idx="1689">
                  <c:v>858.33900000000017</c:v>
                </c:pt>
                <c:pt idx="1690">
                  <c:v>950.51125000000002</c:v>
                </c:pt>
                <c:pt idx="1691">
                  <c:v>738.09134999999992</c:v>
                </c:pt>
                <c:pt idx="1692">
                  <c:v>688.83279999999991</c:v>
                </c:pt>
                <c:pt idx="1693">
                  <c:v>596.85135000000002</c:v>
                </c:pt>
                <c:pt idx="1694">
                  <c:v>936.4941</c:v>
                </c:pt>
                <c:pt idx="1695">
                  <c:v>1035.1396999999999</c:v>
                </c:pt>
                <c:pt idx="1696">
                  <c:v>1017.83825</c:v>
                </c:pt>
                <c:pt idx="1697">
                  <c:v>662.32180000000005</c:v>
                </c:pt>
                <c:pt idx="1698">
                  <c:v>798.31919999999991</c:v>
                </c:pt>
                <c:pt idx="1699">
                  <c:v>617.04779999999994</c:v>
                </c:pt>
                <c:pt idx="1700">
                  <c:v>659.53460000000007</c:v>
                </c:pt>
                <c:pt idx="1701">
                  <c:v>499.6035</c:v>
                </c:pt>
                <c:pt idx="1702">
                  <c:v>693.13020000000006</c:v>
                </c:pt>
                <c:pt idx="1703">
                  <c:v>389.48174999999998</c:v>
                </c:pt>
                <c:pt idx="1704">
                  <c:v>642.45540000000005</c:v>
                </c:pt>
                <c:pt idx="1705">
                  <c:v>644.88720000000001</c:v>
                </c:pt>
                <c:pt idx="1706">
                  <c:v>647.65549999999996</c:v>
                </c:pt>
                <c:pt idx="1707">
                  <c:v>800.96039999999994</c:v>
                </c:pt>
                <c:pt idx="1708">
                  <c:v>885.38400000000001</c:v>
                </c:pt>
                <c:pt idx="1709">
                  <c:v>732.78519999999992</c:v>
                </c:pt>
                <c:pt idx="1710">
                  <c:v>823.29600000000005</c:v>
                </c:pt>
                <c:pt idx="1711">
                  <c:v>756.68354999999997</c:v>
                </c:pt>
                <c:pt idx="1712">
                  <c:v>1126.1645000000001</c:v>
                </c:pt>
                <c:pt idx="1713">
                  <c:v>899.94080000000008</c:v>
                </c:pt>
                <c:pt idx="1714">
                  <c:v>1599.5832500000001</c:v>
                </c:pt>
                <c:pt idx="1715">
                  <c:v>1133.376</c:v>
                </c:pt>
                <c:pt idx="1716">
                  <c:v>767.7</c:v>
                </c:pt>
                <c:pt idx="1717">
                  <c:v>935.00189999999998</c:v>
                </c:pt>
                <c:pt idx="1718">
                  <c:v>1089.0139999999999</c:v>
                </c:pt>
                <c:pt idx="1719">
                  <c:v>1136.2040999999999</c:v>
                </c:pt>
                <c:pt idx="1720">
                  <c:v>983.49549999999988</c:v>
                </c:pt>
                <c:pt idx="1721">
                  <c:v>805.07620000000009</c:v>
                </c:pt>
                <c:pt idx="1722">
                  <c:v>750.53460000000007</c:v>
                </c:pt>
                <c:pt idx="1723">
                  <c:v>1224.0877</c:v>
                </c:pt>
                <c:pt idx="1724">
                  <c:v>977.4479</c:v>
                </c:pt>
                <c:pt idx="1725">
                  <c:v>999.16650000000004</c:v>
                </c:pt>
                <c:pt idx="1726">
                  <c:v>742.77240000000006</c:v>
                </c:pt>
                <c:pt idx="1727">
                  <c:v>950.50350000000014</c:v>
                </c:pt>
                <c:pt idx="1728">
                  <c:v>932.41949999999997</c:v>
                </c:pt>
                <c:pt idx="1729">
                  <c:v>1060.5756000000001</c:v>
                </c:pt>
                <c:pt idx="1730">
                  <c:v>1168.68335</c:v>
                </c:pt>
                <c:pt idx="1731">
                  <c:v>1487.7772</c:v>
                </c:pt>
                <c:pt idx="1732">
                  <c:v>948.92240000000004</c:v>
                </c:pt>
                <c:pt idx="1733">
                  <c:v>661.98599999999999</c:v>
                </c:pt>
                <c:pt idx="1734">
                  <c:v>521.69529999999997</c:v>
                </c:pt>
                <c:pt idx="1735">
                  <c:v>697.93500000000017</c:v>
                </c:pt>
                <c:pt idx="1736">
                  <c:v>729.81479999999988</c:v>
                </c:pt>
                <c:pt idx="1737">
                  <c:v>884.63239999999996</c:v>
                </c:pt>
                <c:pt idx="1738">
                  <c:v>637.298</c:v>
                </c:pt>
                <c:pt idx="1739">
                  <c:v>696.54375000000005</c:v>
                </c:pt>
                <c:pt idx="1740">
                  <c:v>639.33825000000002</c:v>
                </c:pt>
                <c:pt idx="1741">
                  <c:v>738.19679999999994</c:v>
                </c:pt>
                <c:pt idx="1742">
                  <c:v>665.56050000000005</c:v>
                </c:pt>
                <c:pt idx="1743">
                  <c:v>511.86730000000006</c:v>
                </c:pt>
                <c:pt idx="1744">
                  <c:v>704.69159999999999</c:v>
                </c:pt>
                <c:pt idx="1745">
                  <c:v>471.84</c:v>
                </c:pt>
                <c:pt idx="1746">
                  <c:v>646.65599999999995</c:v>
                </c:pt>
                <c:pt idx="1747">
                  <c:v>628.4688000000001</c:v>
                </c:pt>
                <c:pt idx="1748">
                  <c:v>687.27680000000009</c:v>
                </c:pt>
                <c:pt idx="1749">
                  <c:v>787.71980000000008</c:v>
                </c:pt>
                <c:pt idx="1750">
                  <c:v>821.66120000000001</c:v>
                </c:pt>
                <c:pt idx="1751">
                  <c:v>1045.9680000000001</c:v>
                </c:pt>
                <c:pt idx="1752">
                  <c:v>953.07609999999988</c:v>
                </c:pt>
                <c:pt idx="1753">
                  <c:v>935.54100000000017</c:v>
                </c:pt>
                <c:pt idx="1754">
                  <c:v>1285.1300000000001</c:v>
                </c:pt>
                <c:pt idx="1755">
                  <c:v>411.97550000000001</c:v>
                </c:pt>
                <c:pt idx="1756">
                  <c:v>722.09069999999997</c:v>
                </c:pt>
                <c:pt idx="1757">
                  <c:v>1266.4275</c:v>
                </c:pt>
                <c:pt idx="1758">
                  <c:v>1149.9155000000001</c:v>
                </c:pt>
                <c:pt idx="1759">
                  <c:v>2078.0136000000002</c:v>
                </c:pt>
                <c:pt idx="1760">
                  <c:v>1726.3695</c:v>
                </c:pt>
                <c:pt idx="1761">
                  <c:v>931.05479999999989</c:v>
                </c:pt>
                <c:pt idx="1762">
                  <c:v>842.3343000000001</c:v>
                </c:pt>
                <c:pt idx="1763">
                  <c:v>596.36340000000007</c:v>
                </c:pt>
                <c:pt idx="1764">
                  <c:v>644.57500000000005</c:v>
                </c:pt>
                <c:pt idx="1765">
                  <c:v>556.97834999999998</c:v>
                </c:pt>
                <c:pt idx="1766">
                  <c:v>527.18610000000001</c:v>
                </c:pt>
                <c:pt idx="1767">
                  <c:v>619.04899999999998</c:v>
                </c:pt>
                <c:pt idx="1768">
                  <c:v>839.16800000000001</c:v>
                </c:pt>
                <c:pt idx="1769">
                  <c:v>728.14940000000001</c:v>
                </c:pt>
                <c:pt idx="1770">
                  <c:v>894.37480000000005</c:v>
                </c:pt>
                <c:pt idx="1771">
                  <c:v>656.8125</c:v>
                </c:pt>
                <c:pt idx="1772">
                  <c:v>1079.0924</c:v>
                </c:pt>
                <c:pt idx="1773">
                  <c:v>816.21010000000001</c:v>
                </c:pt>
                <c:pt idx="1774">
                  <c:v>788.68270000000007</c:v>
                </c:pt>
                <c:pt idx="1775">
                  <c:v>1118.9200999999998</c:v>
                </c:pt>
                <c:pt idx="1776">
                  <c:v>640.12365</c:v>
                </c:pt>
                <c:pt idx="1777">
                  <c:v>583.02089999999998</c:v>
                </c:pt>
                <c:pt idx="1778">
                  <c:v>695.5877999999999</c:v>
                </c:pt>
                <c:pt idx="1779">
                  <c:v>987.46210000000008</c:v>
                </c:pt>
                <c:pt idx="1780">
                  <c:v>713.04989999999998</c:v>
                </c:pt>
                <c:pt idx="1781">
                  <c:v>990.41790000000003</c:v>
                </c:pt>
                <c:pt idx="1782">
                  <c:v>818.63210000000004</c:v>
                </c:pt>
                <c:pt idx="1783">
                  <c:v>720.59940000000006</c:v>
                </c:pt>
                <c:pt idx="1784">
                  <c:v>657.25920000000008</c:v>
                </c:pt>
                <c:pt idx="1785">
                  <c:v>843.48149999999998</c:v>
                </c:pt>
                <c:pt idx="1786">
                  <c:v>734.72279999999989</c:v>
                </c:pt>
                <c:pt idx="1787">
                  <c:v>746.99170000000004</c:v>
                </c:pt>
                <c:pt idx="1788">
                  <c:v>963.40789999999993</c:v>
                </c:pt>
                <c:pt idx="1789">
                  <c:v>829.70280000000002</c:v>
                </c:pt>
                <c:pt idx="1790">
                  <c:v>687.99900000000002</c:v>
                </c:pt>
                <c:pt idx="1791">
                  <c:v>775.55865000000006</c:v>
                </c:pt>
                <c:pt idx="1792">
                  <c:v>1060.211</c:v>
                </c:pt>
                <c:pt idx="1793">
                  <c:v>1196.4147</c:v>
                </c:pt>
                <c:pt idx="1794">
                  <c:v>1462.1684000000002</c:v>
                </c:pt>
                <c:pt idx="1795">
                  <c:v>791.97249999999997</c:v>
                </c:pt>
                <c:pt idx="1796">
                  <c:v>2159.9176499999999</c:v>
                </c:pt>
                <c:pt idx="1797">
                  <c:v>2394.8049499999997</c:v>
                </c:pt>
                <c:pt idx="1798">
                  <c:v>1619.1532500000001</c:v>
                </c:pt>
                <c:pt idx="1799">
                  <c:v>1030.029</c:v>
                </c:pt>
                <c:pt idx="1800">
                  <c:v>1299.7035499999997</c:v>
                </c:pt>
                <c:pt idx="1801">
                  <c:v>1145.3432</c:v>
                </c:pt>
                <c:pt idx="1802">
                  <c:v>905.92499999999995</c:v>
                </c:pt>
                <c:pt idx="1803">
                  <c:v>698.42909999999995</c:v>
                </c:pt>
                <c:pt idx="1804">
                  <c:v>690.75300000000004</c:v>
                </c:pt>
                <c:pt idx="1805">
                  <c:v>961.26900000000001</c:v>
                </c:pt>
                <c:pt idx="1806">
                  <c:v>826.90980000000002</c:v>
                </c:pt>
                <c:pt idx="1807">
                  <c:v>708.12300000000005</c:v>
                </c:pt>
                <c:pt idx="1808">
                  <c:v>547.35749999999996</c:v>
                </c:pt>
                <c:pt idx="1809">
                  <c:v>500.37504999999999</c:v>
                </c:pt>
                <c:pt idx="1810">
                  <c:v>639.1966000000001</c:v>
                </c:pt>
                <c:pt idx="1811">
                  <c:v>1458.0195000000001</c:v>
                </c:pt>
                <c:pt idx="1812">
                  <c:v>1994.5001999999999</c:v>
                </c:pt>
                <c:pt idx="1813">
                  <c:v>1747.4534000000001</c:v>
                </c:pt>
                <c:pt idx="1814">
                  <c:v>1392.377</c:v>
                </c:pt>
                <c:pt idx="1815">
                  <c:v>890.19775000000004</c:v>
                </c:pt>
                <c:pt idx="1816">
                  <c:v>1377.3916000000002</c:v>
                </c:pt>
                <c:pt idx="1817">
                  <c:v>825.34875</c:v>
                </c:pt>
                <c:pt idx="1818">
                  <c:v>775.16379999999992</c:v>
                </c:pt>
                <c:pt idx="1819">
                  <c:v>620.28</c:v>
                </c:pt>
                <c:pt idx="1820">
                  <c:v>720.83460000000002</c:v>
                </c:pt>
                <c:pt idx="1821">
                  <c:v>863.45280000000002</c:v>
                </c:pt>
                <c:pt idx="1822">
                  <c:v>1141.8119999999999</c:v>
                </c:pt>
                <c:pt idx="1823">
                  <c:v>1032.1804</c:v>
                </c:pt>
                <c:pt idx="1824">
                  <c:v>1213.5015000000001</c:v>
                </c:pt>
                <c:pt idx="1825">
                  <c:v>839.53240000000005</c:v>
                </c:pt>
                <c:pt idx="1826">
                  <c:v>853.93034999999998</c:v>
                </c:pt>
                <c:pt idx="1827">
                  <c:v>810.85919999999999</c:v>
                </c:pt>
                <c:pt idx="1828">
                  <c:v>668.49300000000005</c:v>
                </c:pt>
                <c:pt idx="1829">
                  <c:v>690.55909999999994</c:v>
                </c:pt>
                <c:pt idx="1830">
                  <c:v>2531.4774500000003</c:v>
                </c:pt>
                <c:pt idx="1831">
                  <c:v>2271.8924999999999</c:v>
                </c:pt>
                <c:pt idx="1832">
                  <c:v>2775.2714999999998</c:v>
                </c:pt>
                <c:pt idx="1833">
                  <c:v>2135.9337999999998</c:v>
                </c:pt>
                <c:pt idx="1834">
                  <c:v>1697.4851999999998</c:v>
                </c:pt>
                <c:pt idx="1835">
                  <c:v>1273.4160999999999</c:v>
                </c:pt>
                <c:pt idx="1836">
                  <c:v>1420.5897</c:v>
                </c:pt>
                <c:pt idx="1837">
                  <c:v>767.5707000000001</c:v>
                </c:pt>
                <c:pt idx="1838">
                  <c:v>615.05095000000006</c:v>
                </c:pt>
                <c:pt idx="1839">
                  <c:v>681.83600000000001</c:v>
                </c:pt>
                <c:pt idx="1840">
                  <c:v>695.74800000000005</c:v>
                </c:pt>
                <c:pt idx="1841">
                  <c:v>759.27099999999996</c:v>
                </c:pt>
                <c:pt idx="1842">
                  <c:v>987.45519999999999</c:v>
                </c:pt>
                <c:pt idx="1843">
                  <c:v>850.20285000000001</c:v>
                </c:pt>
                <c:pt idx="1844">
                  <c:v>736.04085000000009</c:v>
                </c:pt>
                <c:pt idx="1845">
                  <c:v>489.58724999999998</c:v>
                </c:pt>
                <c:pt idx="1846">
                  <c:v>592.76549999999997</c:v>
                </c:pt>
                <c:pt idx="1847">
                  <c:v>588.83275000000003</c:v>
                </c:pt>
                <c:pt idx="1848">
                  <c:v>910.322</c:v>
                </c:pt>
                <c:pt idx="1849">
                  <c:v>767.45319999999992</c:v>
                </c:pt>
                <c:pt idx="1850">
                  <c:v>556.61765000000003</c:v>
                </c:pt>
                <c:pt idx="1851">
                  <c:v>665.41020000000003</c:v>
                </c:pt>
                <c:pt idx="1852">
                  <c:v>736.49670000000003</c:v>
                </c:pt>
                <c:pt idx="1853">
                  <c:v>665.13499999999999</c:v>
                </c:pt>
                <c:pt idx="1854">
                  <c:v>968.98095000000001</c:v>
                </c:pt>
                <c:pt idx="1855">
                  <c:v>876.3587</c:v>
                </c:pt>
                <c:pt idx="1856">
                  <c:v>1085.4635000000001</c:v>
                </c:pt>
                <c:pt idx="1857">
                  <c:v>1355.6312</c:v>
                </c:pt>
                <c:pt idx="1858">
                  <c:v>1418.7231000000002</c:v>
                </c:pt>
                <c:pt idx="1859">
                  <c:v>838.89099999999996</c:v>
                </c:pt>
                <c:pt idx="1860">
                  <c:v>1015.6065</c:v>
                </c:pt>
                <c:pt idx="1861">
                  <c:v>1309.0239999999999</c:v>
                </c:pt>
                <c:pt idx="1862">
                  <c:v>1057.4872</c:v>
                </c:pt>
                <c:pt idx="1863">
                  <c:v>1314.1898000000001</c:v>
                </c:pt>
                <c:pt idx="1864">
                  <c:v>1686.4698000000001</c:v>
                </c:pt>
                <c:pt idx="1865">
                  <c:v>1013.216</c:v>
                </c:pt>
                <c:pt idx="1866">
                  <c:v>1560.0578</c:v>
                </c:pt>
                <c:pt idx="1867">
                  <c:v>2048.3529000000003</c:v>
                </c:pt>
                <c:pt idx="1868">
                  <c:v>1362.7601000000002</c:v>
                </c:pt>
                <c:pt idx="1869">
                  <c:v>870.31140000000005</c:v>
                </c:pt>
                <c:pt idx="1870">
                  <c:v>1471.5011999999999</c:v>
                </c:pt>
                <c:pt idx="1871">
                  <c:v>1910.5111999999999</c:v>
                </c:pt>
                <c:pt idx="1872">
                  <c:v>1851.5355</c:v>
                </c:pt>
                <c:pt idx="1873">
                  <c:v>1327.2672</c:v>
                </c:pt>
                <c:pt idx="1874">
                  <c:v>1420.7571</c:v>
                </c:pt>
                <c:pt idx="1875">
                  <c:v>1184.9816000000001</c:v>
                </c:pt>
                <c:pt idx="1876">
                  <c:v>2058.6783499999997</c:v>
                </c:pt>
                <c:pt idx="1877">
                  <c:v>3234.8686499999999</c:v>
                </c:pt>
                <c:pt idx="1878">
                  <c:v>2335.6775999999995</c:v>
                </c:pt>
                <c:pt idx="1879">
                  <c:v>2092.7359999999999</c:v>
                </c:pt>
                <c:pt idx="1880">
                  <c:v>1571.9820999999999</c:v>
                </c:pt>
                <c:pt idx="1881">
                  <c:v>1260.9629499999999</c:v>
                </c:pt>
                <c:pt idx="1882">
                  <c:v>1255.50425</c:v>
                </c:pt>
                <c:pt idx="1883">
                  <c:v>1215.3050000000001</c:v>
                </c:pt>
                <c:pt idx="1884">
                  <c:v>1304.0403000000001</c:v>
                </c:pt>
                <c:pt idx="1885">
                  <c:v>883.68254999999988</c:v>
                </c:pt>
                <c:pt idx="1886">
                  <c:v>589.77599999999995</c:v>
                </c:pt>
                <c:pt idx="1887">
                  <c:v>1289.7135000000001</c:v>
                </c:pt>
                <c:pt idx="1888">
                  <c:v>1135.1614999999999</c:v>
                </c:pt>
                <c:pt idx="1889">
                  <c:v>897.42240000000004</c:v>
                </c:pt>
                <c:pt idx="1890">
                  <c:v>858.57090000000005</c:v>
                </c:pt>
                <c:pt idx="1891">
                  <c:v>928.37744999999995</c:v>
                </c:pt>
                <c:pt idx="1892">
                  <c:v>694.59349999999995</c:v>
                </c:pt>
                <c:pt idx="1893">
                  <c:v>765.46619999999996</c:v>
                </c:pt>
                <c:pt idx="1894">
                  <c:v>980.57925</c:v>
                </c:pt>
                <c:pt idx="1895">
                  <c:v>1114.0578</c:v>
                </c:pt>
                <c:pt idx="1896">
                  <c:v>905.346</c:v>
                </c:pt>
                <c:pt idx="1897">
                  <c:v>816.62519999999995</c:v>
                </c:pt>
                <c:pt idx="1898">
                  <c:v>688.39490000000001</c:v>
                </c:pt>
                <c:pt idx="1899">
                  <c:v>777.51239999999996</c:v>
                </c:pt>
                <c:pt idx="1900">
                  <c:v>847.59040000000005</c:v>
                </c:pt>
                <c:pt idx="1901">
                  <c:v>611.47680000000003</c:v>
                </c:pt>
                <c:pt idx="1902">
                  <c:v>476.35399999999998</c:v>
                </c:pt>
                <c:pt idx="1903">
                  <c:v>578.18785000000003</c:v>
                </c:pt>
                <c:pt idx="1904">
                  <c:v>769.11034999999993</c:v>
                </c:pt>
                <c:pt idx="1905">
                  <c:v>1143.8999000000001</c:v>
                </c:pt>
                <c:pt idx="1906">
                  <c:v>954.58249999999998</c:v>
                </c:pt>
                <c:pt idx="1907">
                  <c:v>671.09199999999998</c:v>
                </c:pt>
                <c:pt idx="1908">
                  <c:v>564.63470000000007</c:v>
                </c:pt>
                <c:pt idx="1909">
                  <c:v>683.37630000000001</c:v>
                </c:pt>
                <c:pt idx="1910">
                  <c:v>808.154</c:v>
                </c:pt>
                <c:pt idx="1911">
                  <c:v>554.9538</c:v>
                </c:pt>
                <c:pt idx="1912">
                  <c:v>589.24075000000005</c:v>
                </c:pt>
                <c:pt idx="1913">
                  <c:v>670.11524999999995</c:v>
                </c:pt>
                <c:pt idx="1914">
                  <c:v>651.3999</c:v>
                </c:pt>
                <c:pt idx="1915">
                  <c:v>699.69719999999995</c:v>
                </c:pt>
                <c:pt idx="1916">
                  <c:v>1100.3603999999998</c:v>
                </c:pt>
                <c:pt idx="1917">
                  <c:v>1178.74575</c:v>
                </c:pt>
                <c:pt idx="1918">
                  <c:v>833.52359999999999</c:v>
                </c:pt>
                <c:pt idx="1919">
                  <c:v>1114.3626999999999</c:v>
                </c:pt>
                <c:pt idx="1920">
                  <c:v>1636.7396000000001</c:v>
                </c:pt>
                <c:pt idx="1921">
                  <c:v>1225.4354000000001</c:v>
                </c:pt>
                <c:pt idx="1922">
                  <c:v>569.25525000000005</c:v>
                </c:pt>
                <c:pt idx="1923">
                  <c:v>841.15279999999996</c:v>
                </c:pt>
                <c:pt idx="1924">
                  <c:v>1565.4410999999998</c:v>
                </c:pt>
                <c:pt idx="1925">
                  <c:v>1510.6588000000002</c:v>
                </c:pt>
                <c:pt idx="1926">
                  <c:v>1174.7338</c:v>
                </c:pt>
                <c:pt idx="1927">
                  <c:v>1168.5225</c:v>
                </c:pt>
                <c:pt idx="1928">
                  <c:v>1425.9525000000001</c:v>
                </c:pt>
                <c:pt idx="1929">
                  <c:v>994.43645000000004</c:v>
                </c:pt>
                <c:pt idx="1930">
                  <c:v>718.15009999999995</c:v>
                </c:pt>
                <c:pt idx="1931">
                  <c:v>1190.558</c:v>
                </c:pt>
                <c:pt idx="1932">
                  <c:v>766.82100000000003</c:v>
                </c:pt>
                <c:pt idx="1933">
                  <c:v>984.15039999999999</c:v>
                </c:pt>
                <c:pt idx="1934">
                  <c:v>814.3125</c:v>
                </c:pt>
                <c:pt idx="1935">
                  <c:v>688.34595000000002</c:v>
                </c:pt>
                <c:pt idx="1936">
                  <c:v>857.98560000000009</c:v>
                </c:pt>
                <c:pt idx="1937">
                  <c:v>861.77940000000001</c:v>
                </c:pt>
                <c:pt idx="1938">
                  <c:v>863.07164999999998</c:v>
                </c:pt>
                <c:pt idx="1939">
                  <c:v>1458.171</c:v>
                </c:pt>
                <c:pt idx="1940">
                  <c:v>862.64009999999996</c:v>
                </c:pt>
                <c:pt idx="1941">
                  <c:v>953.26300000000003</c:v>
                </c:pt>
                <c:pt idx="1942">
                  <c:v>752.17499999999995</c:v>
                </c:pt>
                <c:pt idx="1943">
                  <c:v>674.86275000000001</c:v>
                </c:pt>
                <c:pt idx="1944">
                  <c:v>875.7595</c:v>
                </c:pt>
                <c:pt idx="1945">
                  <c:v>696.46884999999997</c:v>
                </c:pt>
                <c:pt idx="1946">
                  <c:v>929.8248000000001</c:v>
                </c:pt>
                <c:pt idx="1947">
                  <c:v>1224.7635</c:v>
                </c:pt>
                <c:pt idx="1948">
                  <c:v>995.2793999999999</c:v>
                </c:pt>
                <c:pt idx="1949">
                  <c:v>1088.9005500000001</c:v>
                </c:pt>
                <c:pt idx="1950">
                  <c:v>1852.6512000000002</c:v>
                </c:pt>
                <c:pt idx="1951">
                  <c:v>1144.0372500000001</c:v>
                </c:pt>
                <c:pt idx="1952">
                  <c:v>1200.6456000000001</c:v>
                </c:pt>
                <c:pt idx="1953">
                  <c:v>2039.2365</c:v>
                </c:pt>
                <c:pt idx="1954">
                  <c:v>2145.2131999999997</c:v>
                </c:pt>
                <c:pt idx="1955">
                  <c:v>1603.1359500000001</c:v>
                </c:pt>
                <c:pt idx="1956">
                  <c:v>1149.722</c:v>
                </c:pt>
                <c:pt idx="1957">
                  <c:v>1542.3379999999997</c:v>
                </c:pt>
                <c:pt idx="1958">
                  <c:v>1782.4657499999998</c:v>
                </c:pt>
                <c:pt idx="1959">
                  <c:v>2335.4308000000001</c:v>
                </c:pt>
                <c:pt idx="1960">
                  <c:v>1666.2136</c:v>
                </c:pt>
                <c:pt idx="1961">
                  <c:v>1073.6445000000001</c:v>
                </c:pt>
                <c:pt idx="1962">
                  <c:v>738.79539999999997</c:v>
                </c:pt>
                <c:pt idx="1963">
                  <c:v>868.87519999999995</c:v>
                </c:pt>
                <c:pt idx="1964">
                  <c:v>852.04140000000007</c:v>
                </c:pt>
                <c:pt idx="1965">
                  <c:v>569.7867</c:v>
                </c:pt>
                <c:pt idx="1966">
                  <c:v>420.20600000000002</c:v>
                </c:pt>
                <c:pt idx="1967">
                  <c:v>402.91149999999999</c:v>
                </c:pt>
                <c:pt idx="1968">
                  <c:v>454.4547</c:v>
                </c:pt>
                <c:pt idx="1969">
                  <c:v>803.82460000000003</c:v>
                </c:pt>
                <c:pt idx="1970">
                  <c:v>541.42005000000006</c:v>
                </c:pt>
                <c:pt idx="1971">
                  <c:v>468.21949999999998</c:v>
                </c:pt>
                <c:pt idx="1972">
                  <c:v>555.89149999999995</c:v>
                </c:pt>
                <c:pt idx="1973">
                  <c:v>713.87729999999988</c:v>
                </c:pt>
                <c:pt idx="1974">
                  <c:v>622.60799999999995</c:v>
                </c:pt>
                <c:pt idx="1975">
                  <c:v>740.73159999999996</c:v>
                </c:pt>
                <c:pt idx="1976">
                  <c:v>839.13975000000005</c:v>
                </c:pt>
                <c:pt idx="1977">
                  <c:v>495.21679999999998</c:v>
                </c:pt>
                <c:pt idx="1978">
                  <c:v>515.28190000000006</c:v>
                </c:pt>
                <c:pt idx="1979">
                  <c:v>722.35514999999998</c:v>
                </c:pt>
                <c:pt idx="1980">
                  <c:v>628.65949999999998</c:v>
                </c:pt>
                <c:pt idx="1981">
                  <c:v>690.78870000000006</c:v>
                </c:pt>
                <c:pt idx="1982">
                  <c:v>810.76065000000006</c:v>
                </c:pt>
                <c:pt idx="1983">
                  <c:v>891.77660000000014</c:v>
                </c:pt>
                <c:pt idx="1984">
                  <c:v>1700.3425</c:v>
                </c:pt>
                <c:pt idx="1985">
                  <c:v>1340.4436500000002</c:v>
                </c:pt>
                <c:pt idx="1986">
                  <c:v>560.12450000000001</c:v>
                </c:pt>
                <c:pt idx="1987">
                  <c:v>522.2808</c:v>
                </c:pt>
                <c:pt idx="1988">
                  <c:v>562.78949999999998</c:v>
                </c:pt>
                <c:pt idx="1989">
                  <c:v>434.14249999999998</c:v>
                </c:pt>
                <c:pt idx="1990">
                  <c:v>354.90625</c:v>
                </c:pt>
                <c:pt idx="1991">
                  <c:v>716.94629999999995</c:v>
                </c:pt>
                <c:pt idx="1992">
                  <c:v>1192.8344999999999</c:v>
                </c:pt>
                <c:pt idx="1993">
                  <c:v>1284.4680499999999</c:v>
                </c:pt>
                <c:pt idx="1994">
                  <c:v>853.38975000000005</c:v>
                </c:pt>
                <c:pt idx="1995">
                  <c:v>758.54970000000003</c:v>
                </c:pt>
                <c:pt idx="1996">
                  <c:v>623.78819999999996</c:v>
                </c:pt>
                <c:pt idx="1997">
                  <c:v>664.75750000000005</c:v>
                </c:pt>
                <c:pt idx="1998">
                  <c:v>1266.3949499999999</c:v>
                </c:pt>
                <c:pt idx="1999">
                  <c:v>1666.7586999999999</c:v>
                </c:pt>
                <c:pt idx="2000">
                  <c:v>739.18459999999993</c:v>
                </c:pt>
                <c:pt idx="2001">
                  <c:v>1179.798</c:v>
                </c:pt>
                <c:pt idx="2002">
                  <c:v>1426.761</c:v>
                </c:pt>
                <c:pt idx="2003">
                  <c:v>2288.7112000000002</c:v>
                </c:pt>
                <c:pt idx="2004">
                  <c:v>1206.1244999999999</c:v>
                </c:pt>
                <c:pt idx="2005">
                  <c:v>846.2064499999999</c:v>
                </c:pt>
                <c:pt idx="2006">
                  <c:v>646.36294999999996</c:v>
                </c:pt>
                <c:pt idx="2007">
                  <c:v>613.10120000000006</c:v>
                </c:pt>
                <c:pt idx="2008">
                  <c:v>636.90200000000004</c:v>
                </c:pt>
                <c:pt idx="2009">
                  <c:v>731.8678000000001</c:v>
                </c:pt>
                <c:pt idx="2010">
                  <c:v>512.16079999999999</c:v>
                </c:pt>
                <c:pt idx="2011">
                  <c:v>648.32380000000001</c:v>
                </c:pt>
                <c:pt idx="2012">
                  <c:v>972.42660000000001</c:v>
                </c:pt>
                <c:pt idx="2013">
                  <c:v>682.29579999999999</c:v>
                </c:pt>
                <c:pt idx="2014">
                  <c:v>753.82465000000002</c:v>
                </c:pt>
                <c:pt idx="2015">
                  <c:v>571.23440000000005</c:v>
                </c:pt>
                <c:pt idx="2016">
                  <c:v>680.5480500000001</c:v>
                </c:pt>
                <c:pt idx="2017">
                  <c:v>651.28429999999992</c:v>
                </c:pt>
                <c:pt idx="2018">
                  <c:v>750.16305</c:v>
                </c:pt>
                <c:pt idx="2019">
                  <c:v>1177.9514999999999</c:v>
                </c:pt>
                <c:pt idx="2020">
                  <c:v>962.41200000000003</c:v>
                </c:pt>
                <c:pt idx="2021">
                  <c:v>506.30189999999999</c:v>
                </c:pt>
                <c:pt idx="2022">
                  <c:v>677.02774999999997</c:v>
                </c:pt>
                <c:pt idx="2023">
                  <c:v>846.62369999999999</c:v>
                </c:pt>
                <c:pt idx="2024">
                  <c:v>939.23175000000003</c:v>
                </c:pt>
                <c:pt idx="2025">
                  <c:v>936.87450000000001</c:v>
                </c:pt>
                <c:pt idx="2026">
                  <c:v>1335.9155999999998</c:v>
                </c:pt>
                <c:pt idx="2027">
                  <c:v>2504.0279999999998</c:v>
                </c:pt>
                <c:pt idx="2028">
                  <c:v>3350.6460000000002</c:v>
                </c:pt>
                <c:pt idx="2029">
                  <c:v>1926.8641</c:v>
                </c:pt>
                <c:pt idx="2030">
                  <c:v>2737.6871999999998</c:v>
                </c:pt>
                <c:pt idx="2031">
                  <c:v>1970.8863999999999</c:v>
                </c:pt>
                <c:pt idx="2032">
                  <c:v>2757.8393999999998</c:v>
                </c:pt>
                <c:pt idx="2033">
                  <c:v>2952.1008000000002</c:v>
                </c:pt>
                <c:pt idx="2034">
                  <c:v>2403.4944</c:v>
                </c:pt>
                <c:pt idx="2035">
                  <c:v>2367.2817999999997</c:v>
                </c:pt>
                <c:pt idx="2036">
                  <c:v>1972.1435999999999</c:v>
                </c:pt>
                <c:pt idx="2037">
                  <c:v>1811.1120000000001</c:v>
                </c:pt>
                <c:pt idx="2038">
                  <c:v>1070.7090000000001</c:v>
                </c:pt>
                <c:pt idx="2039">
                  <c:v>1210.4492499999999</c:v>
                </c:pt>
                <c:pt idx="2040">
                  <c:v>876.78290000000004</c:v>
                </c:pt>
                <c:pt idx="2041">
                  <c:v>964.62135000000012</c:v>
                </c:pt>
                <c:pt idx="2042">
                  <c:v>1205.0548000000001</c:v>
                </c:pt>
                <c:pt idx="2043">
                  <c:v>1127.5193999999999</c:v>
                </c:pt>
                <c:pt idx="2044">
                  <c:v>1835.7568999999999</c:v>
                </c:pt>
                <c:pt idx="2045">
                  <c:v>1203.6948</c:v>
                </c:pt>
                <c:pt idx="2046">
                  <c:v>1078.8518000000001</c:v>
                </c:pt>
                <c:pt idx="2047">
                  <c:v>839.71905000000004</c:v>
                </c:pt>
                <c:pt idx="2048">
                  <c:v>864.255</c:v>
                </c:pt>
                <c:pt idx="2049">
                  <c:v>1146.2272</c:v>
                </c:pt>
                <c:pt idx="2050">
                  <c:v>1020.51</c:v>
                </c:pt>
                <c:pt idx="2051">
                  <c:v>1322.3975999999998</c:v>
                </c:pt>
                <c:pt idx="2052">
                  <c:v>1753.70425</c:v>
                </c:pt>
                <c:pt idx="2053">
                  <c:v>1346.4757999999999</c:v>
                </c:pt>
                <c:pt idx="2054">
                  <c:v>907.87239999999997</c:v>
                </c:pt>
                <c:pt idx="2055">
                  <c:v>672.66</c:v>
                </c:pt>
                <c:pt idx="2056">
                  <c:v>1161.3031500000002</c:v>
                </c:pt>
                <c:pt idx="2057">
                  <c:v>926.43499999999995</c:v>
                </c:pt>
                <c:pt idx="2058">
                  <c:v>1029.8124</c:v>
                </c:pt>
                <c:pt idx="2059">
                  <c:v>876.44465000000002</c:v>
                </c:pt>
                <c:pt idx="2060">
                  <c:v>1629.3734999999999</c:v>
                </c:pt>
                <c:pt idx="2061">
                  <c:v>1900.9324000000001</c:v>
                </c:pt>
                <c:pt idx="2062">
                  <c:v>1418.1714000000002</c:v>
                </c:pt>
                <c:pt idx="2063">
                  <c:v>1529.0335499999999</c:v>
                </c:pt>
                <c:pt idx="2064">
                  <c:v>1695.4860000000001</c:v>
                </c:pt>
                <c:pt idx="2065">
                  <c:v>990.67200000000003</c:v>
                </c:pt>
                <c:pt idx="2066">
                  <c:v>1257.5587499999999</c:v>
                </c:pt>
                <c:pt idx="2067">
                  <c:v>1147.4559999999999</c:v>
                </c:pt>
                <c:pt idx="2068">
                  <c:v>1050.8338499999998</c:v>
                </c:pt>
                <c:pt idx="2069">
                  <c:v>1167.923</c:v>
                </c:pt>
                <c:pt idx="2070">
                  <c:v>1179.2737500000001</c:v>
                </c:pt>
                <c:pt idx="2071">
                  <c:v>1048.9185</c:v>
                </c:pt>
                <c:pt idx="2072">
                  <c:v>805.66200000000003</c:v>
                </c:pt>
                <c:pt idx="2073">
                  <c:v>749.48565000000008</c:v>
                </c:pt>
                <c:pt idx="2074">
                  <c:v>612.654</c:v>
                </c:pt>
                <c:pt idx="2075">
                  <c:v>552.02599999999995</c:v>
                </c:pt>
                <c:pt idx="2076">
                  <c:v>1180.2615499999999</c:v>
                </c:pt>
                <c:pt idx="2077">
                  <c:v>1135.6240500000001</c:v>
                </c:pt>
                <c:pt idx="2078">
                  <c:v>1014.7385</c:v>
                </c:pt>
                <c:pt idx="2079">
                  <c:v>789.22410000000002</c:v>
                </c:pt>
                <c:pt idx="2080">
                  <c:v>1504.9114999999999</c:v>
                </c:pt>
                <c:pt idx="2081">
                  <c:v>1693.9529</c:v>
                </c:pt>
                <c:pt idx="2082">
                  <c:v>1687.52745</c:v>
                </c:pt>
                <c:pt idx="2083">
                  <c:v>2209.9877999999999</c:v>
                </c:pt>
                <c:pt idx="2084">
                  <c:v>1523.7635</c:v>
                </c:pt>
                <c:pt idx="2085">
                  <c:v>1123.2396000000001</c:v>
                </c:pt>
                <c:pt idx="2086">
                  <c:v>777.48840000000007</c:v>
                </c:pt>
                <c:pt idx="2087">
                  <c:v>806.72900000000004</c:v>
                </c:pt>
                <c:pt idx="2088">
                  <c:v>719.99824999999998</c:v>
                </c:pt>
                <c:pt idx="2089">
                  <c:v>1154.6458</c:v>
                </c:pt>
                <c:pt idx="2090">
                  <c:v>1075.1885</c:v>
                </c:pt>
                <c:pt idx="2091">
                  <c:v>984.01679999999988</c:v>
                </c:pt>
                <c:pt idx="2092">
                  <c:v>781.41679999999997</c:v>
                </c:pt>
                <c:pt idx="2093">
                  <c:v>792.67499999999995</c:v>
                </c:pt>
                <c:pt idx="2094">
                  <c:v>561.27</c:v>
                </c:pt>
                <c:pt idx="2095">
                  <c:v>823.23990000000003</c:v>
                </c:pt>
                <c:pt idx="2096">
                  <c:v>710.23830000000009</c:v>
                </c:pt>
                <c:pt idx="2097">
                  <c:v>731.60599999999999</c:v>
                </c:pt>
                <c:pt idx="2098">
                  <c:v>894.02700000000004</c:v>
                </c:pt>
                <c:pt idx="2099">
                  <c:v>852.99840000000006</c:v>
                </c:pt>
                <c:pt idx="2100">
                  <c:v>813.31825000000003</c:v>
                </c:pt>
                <c:pt idx="2101">
                  <c:v>763.67370000000005</c:v>
                </c:pt>
                <c:pt idx="2102">
                  <c:v>479.4255</c:v>
                </c:pt>
                <c:pt idx="2103">
                  <c:v>883.68299999999999</c:v>
                </c:pt>
                <c:pt idx="2104">
                  <c:v>1395.4237499999999</c:v>
                </c:pt>
                <c:pt idx="2105">
                  <c:v>836.57679999999993</c:v>
                </c:pt>
                <c:pt idx="2106">
                  <c:v>708.92815000000007</c:v>
                </c:pt>
                <c:pt idx="2107">
                  <c:v>1429.3317500000001</c:v>
                </c:pt>
                <c:pt idx="2108">
                  <c:v>944.19359999999995</c:v>
                </c:pt>
                <c:pt idx="2109">
                  <c:v>649.92539999999997</c:v>
                </c:pt>
                <c:pt idx="2110">
                  <c:v>313.61005</c:v>
                </c:pt>
                <c:pt idx="2111">
                  <c:v>723.68959999999993</c:v>
                </c:pt>
                <c:pt idx="2112">
                  <c:v>881.44574999999998</c:v>
                </c:pt>
                <c:pt idx="2113">
                  <c:v>616.1982999999999</c:v>
                </c:pt>
                <c:pt idx="2114">
                  <c:v>389.0915</c:v>
                </c:pt>
                <c:pt idx="2115">
                  <c:v>517.88869999999997</c:v>
                </c:pt>
                <c:pt idx="2116">
                  <c:v>555.5616</c:v>
                </c:pt>
                <c:pt idx="2117">
                  <c:v>616.4683</c:v>
                </c:pt>
                <c:pt idx="2118">
                  <c:v>1128.2435999999998</c:v>
                </c:pt>
                <c:pt idx="2119">
                  <c:v>1059.9941000000001</c:v>
                </c:pt>
                <c:pt idx="2120">
                  <c:v>681.74400000000003</c:v>
                </c:pt>
                <c:pt idx="2121">
                  <c:v>584.69719999999995</c:v>
                </c:pt>
                <c:pt idx="2122">
                  <c:v>725.22924999999998</c:v>
                </c:pt>
                <c:pt idx="2123">
                  <c:v>1138.8125</c:v>
                </c:pt>
                <c:pt idx="2124">
                  <c:v>991.50479999999993</c:v>
                </c:pt>
                <c:pt idx="2125">
                  <c:v>772.91039999999998</c:v>
                </c:pt>
                <c:pt idx="2126">
                  <c:v>1268.8548000000001</c:v>
                </c:pt>
                <c:pt idx="2127">
                  <c:v>1341.5164499999998</c:v>
                </c:pt>
                <c:pt idx="2128">
                  <c:v>783.971</c:v>
                </c:pt>
                <c:pt idx="2129">
                  <c:v>623.92320000000007</c:v>
                </c:pt>
                <c:pt idx="2130">
                  <c:v>768.96900000000005</c:v>
                </c:pt>
                <c:pt idx="2131">
                  <c:v>1008.8316</c:v>
                </c:pt>
                <c:pt idx="2132">
                  <c:v>999.05840000000001</c:v>
                </c:pt>
                <c:pt idx="2133">
                  <c:v>879.57980000000009</c:v>
                </c:pt>
                <c:pt idx="2134">
                  <c:v>543.36675000000002</c:v>
                </c:pt>
                <c:pt idx="2135">
                  <c:v>630.90609999999992</c:v>
                </c:pt>
                <c:pt idx="2136">
                  <c:v>792.35534999999993</c:v>
                </c:pt>
                <c:pt idx="2137">
                  <c:v>525.72079999999994</c:v>
                </c:pt>
                <c:pt idx="2138">
                  <c:v>464.12604999999996</c:v>
                </c:pt>
                <c:pt idx="2139">
                  <c:v>582.31820000000005</c:v>
                </c:pt>
                <c:pt idx="2140">
                  <c:v>1073.1609000000001</c:v>
                </c:pt>
                <c:pt idx="2141">
                  <c:v>971.58960000000002</c:v>
                </c:pt>
                <c:pt idx="2142">
                  <c:v>1297.4465</c:v>
                </c:pt>
                <c:pt idx="2143">
                  <c:v>726.38800000000003</c:v>
                </c:pt>
                <c:pt idx="2144">
                  <c:v>786.6407999999999</c:v>
                </c:pt>
                <c:pt idx="2145">
                  <c:v>1080.1289999999999</c:v>
                </c:pt>
                <c:pt idx="2146">
                  <c:v>1056.7439999999999</c:v>
                </c:pt>
                <c:pt idx="2147">
                  <c:v>2471.0897999999997</c:v>
                </c:pt>
                <c:pt idx="2148">
                  <c:v>1430.0060000000001</c:v>
                </c:pt>
                <c:pt idx="2149">
                  <c:v>1088.7629999999999</c:v>
                </c:pt>
                <c:pt idx="2150">
                  <c:v>825.92240000000004</c:v>
                </c:pt>
                <c:pt idx="2151">
                  <c:v>825.68200000000002</c:v>
                </c:pt>
                <c:pt idx="2152">
                  <c:v>685.00755000000004</c:v>
                </c:pt>
                <c:pt idx="2153">
                  <c:v>921.59759999999994</c:v>
                </c:pt>
                <c:pt idx="2154">
                  <c:v>921.13199999999995</c:v>
                </c:pt>
                <c:pt idx="2155">
                  <c:v>879.64485000000002</c:v>
                </c:pt>
                <c:pt idx="2156">
                  <c:v>1257.0638999999999</c:v>
                </c:pt>
                <c:pt idx="2157">
                  <c:v>2237.9993000000004</c:v>
                </c:pt>
                <c:pt idx="2158">
                  <c:v>3613.1767999999997</c:v>
                </c:pt>
                <c:pt idx="2159">
                  <c:v>1890.9789000000001</c:v>
                </c:pt>
                <c:pt idx="2160">
                  <c:v>2328.5521999999996</c:v>
                </c:pt>
                <c:pt idx="2161">
                  <c:v>1881.2004499999998</c:v>
                </c:pt>
                <c:pt idx="2162">
                  <c:v>2205.4517999999998</c:v>
                </c:pt>
                <c:pt idx="2163">
                  <c:v>1668.5797499999999</c:v>
                </c:pt>
                <c:pt idx="2164">
                  <c:v>1173.1679999999999</c:v>
                </c:pt>
                <c:pt idx="2165">
                  <c:v>1003.5436000000001</c:v>
                </c:pt>
                <c:pt idx="2166">
                  <c:v>969.08285000000001</c:v>
                </c:pt>
                <c:pt idx="2167">
                  <c:v>827.62045000000012</c:v>
                </c:pt>
                <c:pt idx="2168">
                  <c:v>1465.422</c:v>
                </c:pt>
                <c:pt idx="2169">
                  <c:v>974.529</c:v>
                </c:pt>
                <c:pt idx="2170">
                  <c:v>867.10059999999999</c:v>
                </c:pt>
                <c:pt idx="2171">
                  <c:v>936.54899999999998</c:v>
                </c:pt>
                <c:pt idx="2172">
                  <c:v>620.0145</c:v>
                </c:pt>
                <c:pt idx="2173">
                  <c:v>935.70859999999993</c:v>
                </c:pt>
                <c:pt idx="2174">
                  <c:v>536.77350000000001</c:v>
                </c:pt>
                <c:pt idx="2175">
                  <c:v>553.22400000000005</c:v>
                </c:pt>
                <c:pt idx="2176">
                  <c:v>383.08289999999994</c:v>
                </c:pt>
                <c:pt idx="2177">
                  <c:v>549.14085</c:v>
                </c:pt>
                <c:pt idx="2178">
                  <c:v>499.26959999999997</c:v>
                </c:pt>
                <c:pt idx="2179">
                  <c:v>539.37300000000005</c:v>
                </c:pt>
                <c:pt idx="2180">
                  <c:v>632.10125000000005</c:v>
                </c:pt>
                <c:pt idx="2181">
                  <c:v>852.74099999999999</c:v>
                </c:pt>
                <c:pt idx="2182">
                  <c:v>694.72205000000008</c:v>
                </c:pt>
                <c:pt idx="2183">
                  <c:v>464.82479999999998</c:v>
                </c:pt>
                <c:pt idx="2184">
                  <c:v>826.65869999999995</c:v>
                </c:pt>
                <c:pt idx="2185">
                  <c:v>864.28154999999992</c:v>
                </c:pt>
                <c:pt idx="2186">
                  <c:v>835.06979999999999</c:v>
                </c:pt>
                <c:pt idx="2187">
                  <c:v>1168.9585</c:v>
                </c:pt>
                <c:pt idx="2188">
                  <c:v>1143.2260000000001</c:v>
                </c:pt>
                <c:pt idx="2189">
                  <c:v>1531.172</c:v>
                </c:pt>
                <c:pt idx="2190">
                  <c:v>1372.9536000000001</c:v>
                </c:pt>
                <c:pt idx="2191">
                  <c:v>658.07925</c:v>
                </c:pt>
                <c:pt idx="2192">
                  <c:v>987.65880000000004</c:v>
                </c:pt>
                <c:pt idx="2193">
                  <c:v>1266.8211999999999</c:v>
                </c:pt>
                <c:pt idx="2194">
                  <c:v>1465.117</c:v>
                </c:pt>
                <c:pt idx="2195">
                  <c:v>1094.3394000000001</c:v>
                </c:pt>
                <c:pt idx="2196">
                  <c:v>2344.7032000000004</c:v>
                </c:pt>
                <c:pt idx="2197">
                  <c:v>1577.9934000000001</c:v>
                </c:pt>
                <c:pt idx="2198">
                  <c:v>1559.8977</c:v>
                </c:pt>
                <c:pt idx="2199">
                  <c:v>1391.8125</c:v>
                </c:pt>
                <c:pt idx="2200">
                  <c:v>1826.2683</c:v>
                </c:pt>
                <c:pt idx="2201">
                  <c:v>1794.1884999999997</c:v>
                </c:pt>
                <c:pt idx="2202">
                  <c:v>1528.8889999999999</c:v>
                </c:pt>
                <c:pt idx="2203">
                  <c:v>1048.5416</c:v>
                </c:pt>
                <c:pt idx="2204">
                  <c:v>1534.7114999999999</c:v>
                </c:pt>
                <c:pt idx="2205">
                  <c:v>1799.8947000000003</c:v>
                </c:pt>
                <c:pt idx="2206">
                  <c:v>2508.0302499999998</c:v>
                </c:pt>
                <c:pt idx="2207">
                  <c:v>3360.5360000000001</c:v>
                </c:pt>
                <c:pt idx="2208">
                  <c:v>3787.1460000000002</c:v>
                </c:pt>
                <c:pt idx="2209">
                  <c:v>4747.9932500000004</c:v>
                </c:pt>
                <c:pt idx="2210">
                  <c:v>6549.8718999999992</c:v>
                </c:pt>
                <c:pt idx="2211">
                  <c:v>4301.8750499999996</c:v>
                </c:pt>
                <c:pt idx="2212">
                  <c:v>2777.2197000000001</c:v>
                </c:pt>
                <c:pt idx="2213">
                  <c:v>1984.6858499999998</c:v>
                </c:pt>
                <c:pt idx="2214">
                  <c:v>1983.7566000000002</c:v>
                </c:pt>
                <c:pt idx="2215">
                  <c:v>2368.0506</c:v>
                </c:pt>
                <c:pt idx="2216">
                  <c:v>2593.73</c:v>
                </c:pt>
                <c:pt idx="2217">
                  <c:v>1803.6807000000001</c:v>
                </c:pt>
                <c:pt idx="2218">
                  <c:v>1404.9177</c:v>
                </c:pt>
                <c:pt idx="2219">
                  <c:v>1474.8873000000001</c:v>
                </c:pt>
                <c:pt idx="2220">
                  <c:v>1712.3518999999999</c:v>
                </c:pt>
                <c:pt idx="2221">
                  <c:v>1322.1908000000001</c:v>
                </c:pt>
                <c:pt idx="2222">
                  <c:v>1030.3699999999999</c:v>
                </c:pt>
                <c:pt idx="2223">
                  <c:v>714.22320000000002</c:v>
                </c:pt>
                <c:pt idx="2224">
                  <c:v>885.91084999999998</c:v>
                </c:pt>
                <c:pt idx="2225">
                  <c:v>748.7064499999999</c:v>
                </c:pt>
                <c:pt idx="2226">
                  <c:v>895.40190000000007</c:v>
                </c:pt>
                <c:pt idx="2227">
                  <c:v>738.89099999999996</c:v>
                </c:pt>
                <c:pt idx="2228">
                  <c:v>911.76880000000006</c:v>
                </c:pt>
                <c:pt idx="2229">
                  <c:v>553.67200000000003</c:v>
                </c:pt>
                <c:pt idx="2230">
                  <c:v>583.6271999999999</c:v>
                </c:pt>
                <c:pt idx="2231">
                  <c:v>838.15200000000004</c:v>
                </c:pt>
                <c:pt idx="2232">
                  <c:v>623.38290000000006</c:v>
                </c:pt>
                <c:pt idx="2233">
                  <c:v>832.90269999999998</c:v>
                </c:pt>
                <c:pt idx="2234">
                  <c:v>991.13414999999998</c:v>
                </c:pt>
                <c:pt idx="2235">
                  <c:v>888.93</c:v>
                </c:pt>
                <c:pt idx="2236">
                  <c:v>722.6875</c:v>
                </c:pt>
                <c:pt idx="2237">
                  <c:v>829.55340000000001</c:v>
                </c:pt>
                <c:pt idx="2238">
                  <c:v>645.88485000000003</c:v>
                </c:pt>
                <c:pt idx="2239">
                  <c:v>705.95145000000002</c:v>
                </c:pt>
                <c:pt idx="2240">
                  <c:v>556.78740000000005</c:v>
                </c:pt>
                <c:pt idx="2241">
                  <c:v>759.58639999999991</c:v>
                </c:pt>
                <c:pt idx="2242">
                  <c:v>1052.8204499999999</c:v>
                </c:pt>
                <c:pt idx="2243">
                  <c:v>1024.0463999999999</c:v>
                </c:pt>
                <c:pt idx="2244">
                  <c:v>613.96124999999995</c:v>
                </c:pt>
                <c:pt idx="2245">
                  <c:v>916.98749999999995</c:v>
                </c:pt>
                <c:pt idx="2246">
                  <c:v>827.16525000000001</c:v>
                </c:pt>
                <c:pt idx="2247">
                  <c:v>1003.3264</c:v>
                </c:pt>
                <c:pt idx="2248">
                  <c:v>1576.722</c:v>
                </c:pt>
                <c:pt idx="2249">
                  <c:v>2234.4785000000002</c:v>
                </c:pt>
                <c:pt idx="2250">
                  <c:v>2485.3637999999996</c:v>
                </c:pt>
                <c:pt idx="2251">
                  <c:v>2657.6695</c:v>
                </c:pt>
                <c:pt idx="2252">
                  <c:v>3177.8264000000004</c:v>
                </c:pt>
                <c:pt idx="2253">
                  <c:v>3315.6374999999998</c:v>
                </c:pt>
                <c:pt idx="2254">
                  <c:v>3371.5137</c:v>
                </c:pt>
                <c:pt idx="2255">
                  <c:v>2271.7844499999997</c:v>
                </c:pt>
                <c:pt idx="2256">
                  <c:v>1877.4831999999999</c:v>
                </c:pt>
                <c:pt idx="2257">
                  <c:v>1056.4361500000002</c:v>
                </c:pt>
                <c:pt idx="2258">
                  <c:v>986.51835000000005</c:v>
                </c:pt>
                <c:pt idx="2259">
                  <c:v>429.52910000000003</c:v>
                </c:pt>
                <c:pt idx="2260">
                  <c:v>485.07882500000005</c:v>
                </c:pt>
                <c:pt idx="2261">
                  <c:v>740.56252500000005</c:v>
                </c:pt>
                <c:pt idx="2262">
                  <c:v>745.46204999999998</c:v>
                </c:pt>
                <c:pt idx="2263">
                  <c:v>1258.8284250000002</c:v>
                </c:pt>
                <c:pt idx="2264">
                  <c:v>1880.169725</c:v>
                </c:pt>
                <c:pt idx="2265">
                  <c:v>1944.1549249999998</c:v>
                </c:pt>
                <c:pt idx="2266">
                  <c:v>2522.24325</c:v>
                </c:pt>
                <c:pt idx="2267">
                  <c:v>1831.938375</c:v>
                </c:pt>
                <c:pt idx="2268">
                  <c:v>1535.7283500000001</c:v>
                </c:pt>
                <c:pt idx="2269">
                  <c:v>1713.2024000000001</c:v>
                </c:pt>
                <c:pt idx="2270">
                  <c:v>1614.15425</c:v>
                </c:pt>
                <c:pt idx="2271">
                  <c:v>2011.4878499999998</c:v>
                </c:pt>
                <c:pt idx="2272">
                  <c:v>2536.3203000000003</c:v>
                </c:pt>
                <c:pt idx="2273">
                  <c:v>2186.4229499999997</c:v>
                </c:pt>
                <c:pt idx="2274">
                  <c:v>1636.502375</c:v>
                </c:pt>
                <c:pt idx="2275">
                  <c:v>1851.25875</c:v>
                </c:pt>
                <c:pt idx="2276">
                  <c:v>1991.3083750000001</c:v>
                </c:pt>
                <c:pt idx="2277">
                  <c:v>1940.1046249999999</c:v>
                </c:pt>
                <c:pt idx="2278">
                  <c:v>1330.50775</c:v>
                </c:pt>
                <c:pt idx="2279">
                  <c:v>1214.6793749999999</c:v>
                </c:pt>
                <c:pt idx="2280">
                  <c:v>1560.5505500000002</c:v>
                </c:pt>
                <c:pt idx="2281">
                  <c:v>2141.4965000000002</c:v>
                </c:pt>
                <c:pt idx="2282">
                  <c:v>2217.8315250000005</c:v>
                </c:pt>
                <c:pt idx="2283">
                  <c:v>1876.9609249999999</c:v>
                </c:pt>
                <c:pt idx="2284">
                  <c:v>1938.736275</c:v>
                </c:pt>
                <c:pt idx="2285">
                  <c:v>1578.5044</c:v>
                </c:pt>
                <c:pt idx="2286">
                  <c:v>1458.4523750000001</c:v>
                </c:pt>
                <c:pt idx="2287">
                  <c:v>1302.5594749999998</c:v>
                </c:pt>
                <c:pt idx="2288">
                  <c:v>1794.77955</c:v>
                </c:pt>
                <c:pt idx="2289">
                  <c:v>998.42307500000004</c:v>
                </c:pt>
                <c:pt idx="2290">
                  <c:v>1030.58725</c:v>
                </c:pt>
                <c:pt idx="2291">
                  <c:v>1214.9164499999999</c:v>
                </c:pt>
                <c:pt idx="2292">
                  <c:v>1400.465825</c:v>
                </c:pt>
                <c:pt idx="2293">
                  <c:v>926.62312499999996</c:v>
                </c:pt>
                <c:pt idx="2294">
                  <c:v>1156.452</c:v>
                </c:pt>
                <c:pt idx="2295">
                  <c:v>1147.998</c:v>
                </c:pt>
                <c:pt idx="2296">
                  <c:v>928.10574999999994</c:v>
                </c:pt>
                <c:pt idx="2297">
                  <c:v>1344.2940000000001</c:v>
                </c:pt>
                <c:pt idx="2298">
                  <c:v>614.93602499999997</c:v>
                </c:pt>
                <c:pt idx="2299">
                  <c:v>1258.811475</c:v>
                </c:pt>
                <c:pt idx="2300">
                  <c:v>1272.8430000000001</c:v>
                </c:pt>
                <c:pt idx="2301">
                  <c:v>986.17342500000007</c:v>
                </c:pt>
                <c:pt idx="2302">
                  <c:v>890.25284999999997</c:v>
                </c:pt>
                <c:pt idx="2303">
                  <c:v>767.14852500000006</c:v>
                </c:pt>
                <c:pt idx="2304">
                  <c:v>951.39132499999994</c:v>
                </c:pt>
                <c:pt idx="2305">
                  <c:v>1046.7659000000001</c:v>
                </c:pt>
                <c:pt idx="2306">
                  <c:v>834.39994999999999</c:v>
                </c:pt>
                <c:pt idx="2307">
                  <c:v>1360.1243999999999</c:v>
                </c:pt>
                <c:pt idx="2308">
                  <c:v>834.04612500000007</c:v>
                </c:pt>
                <c:pt idx="2309">
                  <c:v>1229.6816249999999</c:v>
                </c:pt>
                <c:pt idx="2310">
                  <c:v>1046.9128000000001</c:v>
                </c:pt>
                <c:pt idx="2311">
                  <c:v>953.97217499999999</c:v>
                </c:pt>
                <c:pt idx="2312">
                  <c:v>1022.5405</c:v>
                </c:pt>
                <c:pt idx="2313">
                  <c:v>981.80437500000005</c:v>
                </c:pt>
                <c:pt idx="2314">
                  <c:v>1041.212925</c:v>
                </c:pt>
                <c:pt idx="2315">
                  <c:v>1737.778</c:v>
                </c:pt>
                <c:pt idx="2316">
                  <c:v>1142.2410499999999</c:v>
                </c:pt>
                <c:pt idx="2317">
                  <c:v>1600.5619249999997</c:v>
                </c:pt>
                <c:pt idx="2318">
                  <c:v>788.17539999999997</c:v>
                </c:pt>
                <c:pt idx="2319">
                  <c:v>1189.951875</c:v>
                </c:pt>
                <c:pt idx="2320">
                  <c:v>1384.9191249999999</c:v>
                </c:pt>
                <c:pt idx="2321">
                  <c:v>1596.0399</c:v>
                </c:pt>
                <c:pt idx="2322">
                  <c:v>896.99785000000008</c:v>
                </c:pt>
                <c:pt idx="2323">
                  <c:v>856.29060000000004</c:v>
                </c:pt>
                <c:pt idx="2324">
                  <c:v>857.92337499999996</c:v>
                </c:pt>
                <c:pt idx="2325">
                  <c:v>1184.7548999999999</c:v>
                </c:pt>
                <c:pt idx="2326">
                  <c:v>782.30844999999999</c:v>
                </c:pt>
                <c:pt idx="2327">
                  <c:v>764.421875</c:v>
                </c:pt>
                <c:pt idx="2328">
                  <c:v>765.7052000000001</c:v>
                </c:pt>
                <c:pt idx="2329">
                  <c:v>1002.146925</c:v>
                </c:pt>
                <c:pt idx="2330">
                  <c:v>985.21019999999999</c:v>
                </c:pt>
                <c:pt idx="2331">
                  <c:v>997.83304999999996</c:v>
                </c:pt>
                <c:pt idx="2332">
                  <c:v>1200.3695250000001</c:v>
                </c:pt>
                <c:pt idx="2333">
                  <c:v>1019.6051</c:v>
                </c:pt>
                <c:pt idx="2334">
                  <c:v>986.71875</c:v>
                </c:pt>
                <c:pt idx="2335">
                  <c:v>810.30937500000005</c:v>
                </c:pt>
                <c:pt idx="2336">
                  <c:v>1557.9506249999999</c:v>
                </c:pt>
                <c:pt idx="2337">
                  <c:v>1051.1811749999999</c:v>
                </c:pt>
                <c:pt idx="2338">
                  <c:v>838.79812500000003</c:v>
                </c:pt>
                <c:pt idx="2339">
                  <c:v>811.83437500000002</c:v>
                </c:pt>
                <c:pt idx="2340">
                  <c:v>698.19150000000002</c:v>
                </c:pt>
                <c:pt idx="2341">
                  <c:v>574.54004999999995</c:v>
                </c:pt>
                <c:pt idx="2342">
                  <c:v>809.71312499999999</c:v>
                </c:pt>
                <c:pt idx="2343">
                  <c:v>1032.58375</c:v>
                </c:pt>
                <c:pt idx="2344">
                  <c:v>1285.712925</c:v>
                </c:pt>
                <c:pt idx="2345">
                  <c:v>1177.3273499999998</c:v>
                </c:pt>
                <c:pt idx="2346">
                  <c:v>998.59905000000003</c:v>
                </c:pt>
                <c:pt idx="2347">
                  <c:v>751.87492499999996</c:v>
                </c:pt>
                <c:pt idx="2348">
                  <c:v>1282.2533999999998</c:v>
                </c:pt>
                <c:pt idx="2349">
                  <c:v>1418.4371249999999</c:v>
                </c:pt>
                <c:pt idx="2350">
                  <c:v>1354.084875</c:v>
                </c:pt>
                <c:pt idx="2351">
                  <c:v>1321.89165</c:v>
                </c:pt>
                <c:pt idx="2352">
                  <c:v>858.43187499999999</c:v>
                </c:pt>
                <c:pt idx="2353">
                  <c:v>1058.6004</c:v>
                </c:pt>
                <c:pt idx="2354">
                  <c:v>1142.314875</c:v>
                </c:pt>
                <c:pt idx="2355">
                  <c:v>743.00909999999999</c:v>
                </c:pt>
                <c:pt idx="2356">
                  <c:v>1229.5541250000001</c:v>
                </c:pt>
                <c:pt idx="2357">
                  <c:v>971.37627500000008</c:v>
                </c:pt>
                <c:pt idx="2358">
                  <c:v>1147.2347500000001</c:v>
                </c:pt>
                <c:pt idx="2359">
                  <c:v>1049.7138749999999</c:v>
                </c:pt>
                <c:pt idx="2360">
                  <c:v>1120.6378749999999</c:v>
                </c:pt>
                <c:pt idx="2361">
                  <c:v>822.79935</c:v>
                </c:pt>
                <c:pt idx="2362">
                  <c:v>1546.5907999999999</c:v>
                </c:pt>
                <c:pt idx="2363">
                  <c:v>991.19910000000004</c:v>
                </c:pt>
                <c:pt idx="2364">
                  <c:v>991.40387499999997</c:v>
                </c:pt>
                <c:pt idx="2365">
                  <c:v>1269.066675</c:v>
                </c:pt>
                <c:pt idx="2366">
                  <c:v>922.66200000000003</c:v>
                </c:pt>
                <c:pt idx="2367">
                  <c:v>1130.0143249999999</c:v>
                </c:pt>
                <c:pt idx="2368">
                  <c:v>1113.4829999999999</c:v>
                </c:pt>
                <c:pt idx="2369">
                  <c:v>1640.5181250000001</c:v>
                </c:pt>
                <c:pt idx="2370">
                  <c:v>1439.8013249999999</c:v>
                </c:pt>
                <c:pt idx="2371">
                  <c:v>1064.7353000000001</c:v>
                </c:pt>
                <c:pt idx="2372">
                  <c:v>1133.0445</c:v>
                </c:pt>
                <c:pt idx="2373">
                  <c:v>1268.0119</c:v>
                </c:pt>
                <c:pt idx="2374">
                  <c:v>1201.242</c:v>
                </c:pt>
                <c:pt idx="2375">
                  <c:v>1543.1213500000001</c:v>
                </c:pt>
                <c:pt idx="2376">
                  <c:v>1661.8685999999998</c:v>
                </c:pt>
                <c:pt idx="2377">
                  <c:v>1531.1086249999998</c:v>
                </c:pt>
                <c:pt idx="2378">
                  <c:v>1473.1501500000002</c:v>
                </c:pt>
                <c:pt idx="2379">
                  <c:v>1553.203125</c:v>
                </c:pt>
                <c:pt idx="2380">
                  <c:v>980.00892499999998</c:v>
                </c:pt>
                <c:pt idx="2381">
                  <c:v>1060.9160749999999</c:v>
                </c:pt>
                <c:pt idx="2382">
                  <c:v>959.69580000000008</c:v>
                </c:pt>
                <c:pt idx="2383">
                  <c:v>1102.0302749999998</c:v>
                </c:pt>
                <c:pt idx="2384">
                  <c:v>1057.7368999999999</c:v>
                </c:pt>
                <c:pt idx="2385">
                  <c:v>996.38662499999998</c:v>
                </c:pt>
                <c:pt idx="2386">
                  <c:v>2880.5544250000003</c:v>
                </c:pt>
                <c:pt idx="2387">
                  <c:v>3153.9447500000001</c:v>
                </c:pt>
                <c:pt idx="2388">
                  <c:v>2027.1809249999999</c:v>
                </c:pt>
                <c:pt idx="2389">
                  <c:v>2039.5466000000001</c:v>
                </c:pt>
                <c:pt idx="2390">
                  <c:v>1988.9413750000001</c:v>
                </c:pt>
                <c:pt idx="2391">
                  <c:v>2646.6557000000003</c:v>
                </c:pt>
                <c:pt idx="2392">
                  <c:v>2242.3530249999999</c:v>
                </c:pt>
                <c:pt idx="2393">
                  <c:v>2023.2308250000001</c:v>
                </c:pt>
                <c:pt idx="2394">
                  <c:v>1963.4286749999999</c:v>
                </c:pt>
                <c:pt idx="2395">
                  <c:v>1529.5612749999998</c:v>
                </c:pt>
                <c:pt idx="2396">
                  <c:v>1079.154675</c:v>
                </c:pt>
                <c:pt idx="2397">
                  <c:v>1214.8977</c:v>
                </c:pt>
                <c:pt idx="2398">
                  <c:v>1079.191425</c:v>
                </c:pt>
                <c:pt idx="2399">
                  <c:v>685.99437499999999</c:v>
                </c:pt>
                <c:pt idx="2400">
                  <c:v>1038.097225</c:v>
                </c:pt>
                <c:pt idx="2401">
                  <c:v>1171.1158</c:v>
                </c:pt>
                <c:pt idx="2402">
                  <c:v>1220.1209249999999</c:v>
                </c:pt>
                <c:pt idx="2403">
                  <c:v>1640.1467250000001</c:v>
                </c:pt>
                <c:pt idx="2404">
                  <c:v>1668.7189499999999</c:v>
                </c:pt>
                <c:pt idx="2405">
                  <c:v>1727.2825</c:v>
                </c:pt>
                <c:pt idx="2406">
                  <c:v>1807.7676750000001</c:v>
                </c:pt>
                <c:pt idx="2407">
                  <c:v>1432.5550000000001</c:v>
                </c:pt>
                <c:pt idx="2408">
                  <c:v>1173.6860999999999</c:v>
                </c:pt>
                <c:pt idx="2409">
                  <c:v>1020.2569</c:v>
                </c:pt>
                <c:pt idx="2410">
                  <c:v>1253.1661999999999</c:v>
                </c:pt>
                <c:pt idx="2411">
                  <c:v>1049.1858749999999</c:v>
                </c:pt>
                <c:pt idx="2412">
                  <c:v>1076.000125</c:v>
                </c:pt>
                <c:pt idx="2413">
                  <c:v>1333.6390250000002</c:v>
                </c:pt>
                <c:pt idx="2414">
                  <c:v>1505.979</c:v>
                </c:pt>
                <c:pt idx="2415">
                  <c:v>912.74350000000004</c:v>
                </c:pt>
                <c:pt idx="2416">
                  <c:v>1413.6597749999999</c:v>
                </c:pt>
                <c:pt idx="2417">
                  <c:v>2399.2167749999999</c:v>
                </c:pt>
                <c:pt idx="2418">
                  <c:v>1366.991775</c:v>
                </c:pt>
                <c:pt idx="2419">
                  <c:v>1372.8487500000001</c:v>
                </c:pt>
                <c:pt idx="2420">
                  <c:v>1008.87135</c:v>
                </c:pt>
                <c:pt idx="2421">
                  <c:v>1064.8367750000002</c:v>
                </c:pt>
                <c:pt idx="2422">
                  <c:v>2335.2807499999999</c:v>
                </c:pt>
                <c:pt idx="2423">
                  <c:v>2866.6989499999995</c:v>
                </c:pt>
                <c:pt idx="2424">
                  <c:v>5709.1938749999999</c:v>
                </c:pt>
                <c:pt idx="2425">
                  <c:v>7546.9754999999986</c:v>
                </c:pt>
                <c:pt idx="2426">
                  <c:v>6753.2733749999998</c:v>
                </c:pt>
                <c:pt idx="2427">
                  <c:v>5992.0469499999999</c:v>
                </c:pt>
                <c:pt idx="2428">
                  <c:v>4851.0033000000003</c:v>
                </c:pt>
                <c:pt idx="2429">
                  <c:v>3682.0700750000001</c:v>
                </c:pt>
                <c:pt idx="2430">
                  <c:v>2379.2636750000001</c:v>
                </c:pt>
                <c:pt idx="2431">
                  <c:v>4966.7637250000007</c:v>
                </c:pt>
                <c:pt idx="2432">
                  <c:v>4005.32485</c:v>
                </c:pt>
                <c:pt idx="2433">
                  <c:v>3849.0794000000005</c:v>
                </c:pt>
                <c:pt idx="2434">
                  <c:v>2893.754375</c:v>
                </c:pt>
                <c:pt idx="2435">
                  <c:v>1920.5252249999999</c:v>
                </c:pt>
                <c:pt idx="2436">
                  <c:v>2138.2872499999999</c:v>
                </c:pt>
                <c:pt idx="2437">
                  <c:v>3150.8566000000001</c:v>
                </c:pt>
                <c:pt idx="2438">
                  <c:v>1572.9206999999999</c:v>
                </c:pt>
                <c:pt idx="2439">
                  <c:v>1384.0414000000001</c:v>
                </c:pt>
                <c:pt idx="2440">
                  <c:v>2747.2874999999999</c:v>
                </c:pt>
                <c:pt idx="2441">
                  <c:v>2420.9548250000003</c:v>
                </c:pt>
                <c:pt idx="2442">
                  <c:v>3315.5017500000004</c:v>
                </c:pt>
                <c:pt idx="2443">
                  <c:v>2732.5586250000001</c:v>
                </c:pt>
                <c:pt idx="2444">
                  <c:v>2178.0286499999997</c:v>
                </c:pt>
                <c:pt idx="2445">
                  <c:v>2893.4054999999998</c:v>
                </c:pt>
                <c:pt idx="2446">
                  <c:v>1814.9462499999997</c:v>
                </c:pt>
                <c:pt idx="2447">
                  <c:v>2882.7597500000002</c:v>
                </c:pt>
                <c:pt idx="2448">
                  <c:v>2340.515625</c:v>
                </c:pt>
                <c:pt idx="2449">
                  <c:v>2787.5888</c:v>
                </c:pt>
                <c:pt idx="2450">
                  <c:v>2468.5541999999996</c:v>
                </c:pt>
                <c:pt idx="2451">
                  <c:v>1887.2471250000001</c:v>
                </c:pt>
                <c:pt idx="2452">
                  <c:v>2106.0737250000002</c:v>
                </c:pt>
                <c:pt idx="2453">
                  <c:v>2263.4384500000001</c:v>
                </c:pt>
                <c:pt idx="2454">
                  <c:v>1531.731</c:v>
                </c:pt>
                <c:pt idx="2455">
                  <c:v>1194.9446250000001</c:v>
                </c:pt>
                <c:pt idx="2456">
                  <c:v>1370.453775</c:v>
                </c:pt>
                <c:pt idx="2457">
                  <c:v>1421.5971000000002</c:v>
                </c:pt>
                <c:pt idx="2458">
                  <c:v>1126.5781999999999</c:v>
                </c:pt>
                <c:pt idx="2459">
                  <c:v>1078.7589499999999</c:v>
                </c:pt>
                <c:pt idx="2460">
                  <c:v>1208.04675</c:v>
                </c:pt>
                <c:pt idx="2461">
                  <c:v>1213.8803249999999</c:v>
                </c:pt>
                <c:pt idx="2462">
                  <c:v>1129.7912249999999</c:v>
                </c:pt>
                <c:pt idx="2463">
                  <c:v>897.81802499999992</c:v>
                </c:pt>
                <c:pt idx="2464">
                  <c:v>1425.1559000000002</c:v>
                </c:pt>
                <c:pt idx="2465">
                  <c:v>1395.2581499999999</c:v>
                </c:pt>
                <c:pt idx="2466">
                  <c:v>1802.3686499999999</c:v>
                </c:pt>
                <c:pt idx="2467">
                  <c:v>2200.3224749999999</c:v>
                </c:pt>
                <c:pt idx="2468">
                  <c:v>1620.5441499999999</c:v>
                </c:pt>
                <c:pt idx="2469">
                  <c:v>992.04920000000004</c:v>
                </c:pt>
                <c:pt idx="2470">
                  <c:v>1156.1129000000001</c:v>
                </c:pt>
                <c:pt idx="2471">
                  <c:v>1487.4618500000001</c:v>
                </c:pt>
                <c:pt idx="2472">
                  <c:v>973.10115000000008</c:v>
                </c:pt>
                <c:pt idx="2473">
                  <c:v>899.4432250000001</c:v>
                </c:pt>
                <c:pt idx="2474">
                  <c:v>1052.2128749999999</c:v>
                </c:pt>
                <c:pt idx="2475">
                  <c:v>928.97325000000001</c:v>
                </c:pt>
                <c:pt idx="2476">
                  <c:v>1217.1311250000001</c:v>
                </c:pt>
                <c:pt idx="2477">
                  <c:v>1195.7037000000003</c:v>
                </c:pt>
                <c:pt idx="2478">
                  <c:v>1363.6313499999999</c:v>
                </c:pt>
                <c:pt idx="2479">
                  <c:v>1325.4936749999999</c:v>
                </c:pt>
                <c:pt idx="2480">
                  <c:v>1036.7033249999999</c:v>
                </c:pt>
                <c:pt idx="2481">
                  <c:v>836.28517500000009</c:v>
                </c:pt>
                <c:pt idx="2482">
                  <c:v>1476.3174249999997</c:v>
                </c:pt>
                <c:pt idx="2483">
                  <c:v>1942.1834249999997</c:v>
                </c:pt>
                <c:pt idx="2484">
                  <c:v>2270.9325749999998</c:v>
                </c:pt>
                <c:pt idx="2485">
                  <c:v>1989.559</c:v>
                </c:pt>
                <c:pt idx="2486">
                  <c:v>1679.1245249999999</c:v>
                </c:pt>
                <c:pt idx="2487">
                  <c:v>1391.3736749999998</c:v>
                </c:pt>
                <c:pt idx="2488">
                  <c:v>1226.648925</c:v>
                </c:pt>
                <c:pt idx="2489">
                  <c:v>1022.2899</c:v>
                </c:pt>
                <c:pt idx="2490">
                  <c:v>1206.0850499999999</c:v>
                </c:pt>
                <c:pt idx="2491">
                  <c:v>926.76605000000006</c:v>
                </c:pt>
                <c:pt idx="2492">
                  <c:v>594.43889999999988</c:v>
                </c:pt>
                <c:pt idx="2493">
                  <c:v>1063.3042499999999</c:v>
                </c:pt>
                <c:pt idx="2494">
                  <c:v>1175.909175</c:v>
                </c:pt>
                <c:pt idx="2495">
                  <c:v>1429.142625</c:v>
                </c:pt>
                <c:pt idx="2496">
                  <c:v>2481.2573499999994</c:v>
                </c:pt>
                <c:pt idx="2497">
                  <c:v>2200.0261999999998</c:v>
                </c:pt>
                <c:pt idx="2498">
                  <c:v>1442.4511750000001</c:v>
                </c:pt>
                <c:pt idx="2499">
                  <c:v>1558.7206249999997</c:v>
                </c:pt>
                <c:pt idx="2500">
                  <c:v>2387.378025</c:v>
                </c:pt>
                <c:pt idx="2501">
                  <c:v>1705.7955750000001</c:v>
                </c:pt>
                <c:pt idx="2502">
                  <c:v>3372.6762999999996</c:v>
                </c:pt>
                <c:pt idx="2503">
                  <c:v>3447.8152500000001</c:v>
                </c:pt>
                <c:pt idx="2504">
                  <c:v>1970.1955</c:v>
                </c:pt>
                <c:pt idx="2505">
                  <c:v>2269.6243749999999</c:v>
                </c:pt>
                <c:pt idx="2506">
                  <c:v>1915.8487500000001</c:v>
                </c:pt>
                <c:pt idx="2507">
                  <c:v>2412.3047999999999</c:v>
                </c:pt>
                <c:pt idx="2508">
                  <c:v>1403.3609000000001</c:v>
                </c:pt>
                <c:pt idx="2509">
                  <c:v>1420.0450499999999</c:v>
                </c:pt>
                <c:pt idx="2510">
                  <c:v>1230.121075</c:v>
                </c:pt>
                <c:pt idx="2511">
                  <c:v>367.563625</c:v>
                </c:pt>
                <c:pt idx="2512">
                  <c:v>1093.5364500000003</c:v>
                </c:pt>
                <c:pt idx="2513">
                  <c:v>935.22427499999992</c:v>
                </c:pt>
                <c:pt idx="2514">
                  <c:v>646.452675</c:v>
                </c:pt>
                <c:pt idx="2515">
                  <c:v>943.44690000000003</c:v>
                </c:pt>
                <c:pt idx="2516">
                  <c:v>2386.1867249999996</c:v>
                </c:pt>
                <c:pt idx="2517">
                  <c:v>1781.7520500000001</c:v>
                </c:pt>
                <c:pt idx="2518">
                  <c:v>2158.1174999999998</c:v>
                </c:pt>
                <c:pt idx="2519">
                  <c:v>3570.5740499999997</c:v>
                </c:pt>
                <c:pt idx="2520">
                  <c:v>3105.4881999999998</c:v>
                </c:pt>
                <c:pt idx="2521">
                  <c:v>4084.5410999999995</c:v>
                </c:pt>
                <c:pt idx="2522">
                  <c:v>2648.5903499999999</c:v>
                </c:pt>
                <c:pt idx="2523">
                  <c:v>2841.7147500000001</c:v>
                </c:pt>
                <c:pt idx="2524">
                  <c:v>3535.7739000000006</c:v>
                </c:pt>
                <c:pt idx="2525">
                  <c:v>3959.2562250000001</c:v>
                </c:pt>
                <c:pt idx="2526">
                  <c:v>4001.7492000000002</c:v>
                </c:pt>
                <c:pt idx="2527">
                  <c:v>4901.1000000000004</c:v>
                </c:pt>
                <c:pt idx="2528">
                  <c:v>3485.4832500000002</c:v>
                </c:pt>
                <c:pt idx="2529">
                  <c:v>2447.9970250000001</c:v>
                </c:pt>
                <c:pt idx="2530">
                  <c:v>1493.2597499999999</c:v>
                </c:pt>
                <c:pt idx="2531">
                  <c:v>1644.7274749999999</c:v>
                </c:pt>
                <c:pt idx="2532">
                  <c:v>2056.5559000000003</c:v>
                </c:pt>
                <c:pt idx="2533">
                  <c:v>1914.1014749999999</c:v>
                </c:pt>
                <c:pt idx="2534">
                  <c:v>1809.7010749999999</c:v>
                </c:pt>
                <c:pt idx="2535">
                  <c:v>1442.7335</c:v>
                </c:pt>
                <c:pt idx="2536">
                  <c:v>1891.4447999999998</c:v>
                </c:pt>
                <c:pt idx="2537">
                  <c:v>2585.4725250000001</c:v>
                </c:pt>
                <c:pt idx="2538">
                  <c:v>1644.94715</c:v>
                </c:pt>
                <c:pt idx="2539">
                  <c:v>2272.126025</c:v>
                </c:pt>
                <c:pt idx="2540">
                  <c:v>2451.7996250000001</c:v>
                </c:pt>
                <c:pt idx="2541">
                  <c:v>2584.6038000000003</c:v>
                </c:pt>
                <c:pt idx="2542">
                  <c:v>1964.4955</c:v>
                </c:pt>
                <c:pt idx="2543">
                  <c:v>4035.6297999999997</c:v>
                </c:pt>
                <c:pt idx="2544">
                  <c:v>2021.4</c:v>
                </c:pt>
                <c:pt idx="2545">
                  <c:v>2513.1081250000002</c:v>
                </c:pt>
                <c:pt idx="2546">
                  <c:v>1827.5681</c:v>
                </c:pt>
                <c:pt idx="2547">
                  <c:v>1757.636825</c:v>
                </c:pt>
                <c:pt idx="2548">
                  <c:v>1876.1361749999999</c:v>
                </c:pt>
                <c:pt idx="2549">
                  <c:v>1629.101375</c:v>
                </c:pt>
                <c:pt idx="2550">
                  <c:v>1685.1116999999999</c:v>
                </c:pt>
                <c:pt idx="2551">
                  <c:v>2036.1306750000001</c:v>
                </c:pt>
                <c:pt idx="2552">
                  <c:v>1456.3119999999999</c:v>
                </c:pt>
                <c:pt idx="2553">
                  <c:v>1553.7324250000001</c:v>
                </c:pt>
                <c:pt idx="2554">
                  <c:v>1302.8667750000002</c:v>
                </c:pt>
                <c:pt idx="2555">
                  <c:v>1755.8924500000001</c:v>
                </c:pt>
                <c:pt idx="2556">
                  <c:v>1228.8254999999999</c:v>
                </c:pt>
                <c:pt idx="2557">
                  <c:v>1647.4342499999998</c:v>
                </c:pt>
                <c:pt idx="2558">
                  <c:v>1349.2697499999999</c:v>
                </c:pt>
                <c:pt idx="2559">
                  <c:v>1009.1567000000001</c:v>
                </c:pt>
                <c:pt idx="2560">
                  <c:v>1296.9065000000001</c:v>
                </c:pt>
                <c:pt idx="2561">
                  <c:v>1089.5996250000001</c:v>
                </c:pt>
                <c:pt idx="2562">
                  <c:v>2031.8117749999999</c:v>
                </c:pt>
                <c:pt idx="2563">
                  <c:v>1381.1518000000001</c:v>
                </c:pt>
                <c:pt idx="2564">
                  <c:v>1082.42175</c:v>
                </c:pt>
                <c:pt idx="2565">
                  <c:v>1485.9513750000001</c:v>
                </c:pt>
                <c:pt idx="2566">
                  <c:v>2163.9442999999997</c:v>
                </c:pt>
                <c:pt idx="2567">
                  <c:v>1607.3959</c:v>
                </c:pt>
                <c:pt idx="2568">
                  <c:v>1429.00335</c:v>
                </c:pt>
                <c:pt idx="2569">
                  <c:v>1332.9731750000001</c:v>
                </c:pt>
                <c:pt idx="2570">
                  <c:v>1340.31205</c:v>
                </c:pt>
                <c:pt idx="2571">
                  <c:v>1204.5522249999999</c:v>
                </c:pt>
                <c:pt idx="2572">
                  <c:v>1380.60025</c:v>
                </c:pt>
                <c:pt idx="2573">
                  <c:v>939.04925000000003</c:v>
                </c:pt>
                <c:pt idx="2574">
                  <c:v>1493.556875</c:v>
                </c:pt>
                <c:pt idx="2575">
                  <c:v>1415.4358999999999</c:v>
                </c:pt>
                <c:pt idx="2576">
                  <c:v>1013.7026</c:v>
                </c:pt>
                <c:pt idx="2577">
                  <c:v>1452.184825</c:v>
                </c:pt>
                <c:pt idx="2578">
                  <c:v>881.0297250000001</c:v>
                </c:pt>
                <c:pt idx="2579">
                  <c:v>1424.87345</c:v>
                </c:pt>
                <c:pt idx="2580">
                  <c:v>1247.55675</c:v>
                </c:pt>
                <c:pt idx="2581">
                  <c:v>1539.0625</c:v>
                </c:pt>
                <c:pt idx="2582">
                  <c:v>1258.7428749999999</c:v>
                </c:pt>
                <c:pt idx="2583">
                  <c:v>1171.7856000000002</c:v>
                </c:pt>
                <c:pt idx="2584">
                  <c:v>1502.4463249999999</c:v>
                </c:pt>
                <c:pt idx="2585">
                  <c:v>1123.110625</c:v>
                </c:pt>
                <c:pt idx="2586">
                  <c:v>986.32207499999993</c:v>
                </c:pt>
                <c:pt idx="2587">
                  <c:v>1130.6794000000002</c:v>
                </c:pt>
                <c:pt idx="2588">
                  <c:v>1673.8054749999999</c:v>
                </c:pt>
                <c:pt idx="2589">
                  <c:v>2120.5588250000001</c:v>
                </c:pt>
                <c:pt idx="2590">
                  <c:v>1347.502475</c:v>
                </c:pt>
                <c:pt idx="2591">
                  <c:v>1407.4254000000001</c:v>
                </c:pt>
                <c:pt idx="2592">
                  <c:v>1370.3832999999997</c:v>
                </c:pt>
                <c:pt idx="2593">
                  <c:v>1023.376075</c:v>
                </c:pt>
                <c:pt idx="2594">
                  <c:v>1125.414675</c:v>
                </c:pt>
                <c:pt idx="2595">
                  <c:v>1338.289225</c:v>
                </c:pt>
                <c:pt idx="2596">
                  <c:v>1696.9265999999998</c:v>
                </c:pt>
                <c:pt idx="2597">
                  <c:v>2492.2226750000004</c:v>
                </c:pt>
                <c:pt idx="2598">
                  <c:v>1632.369375</c:v>
                </c:pt>
                <c:pt idx="2599">
                  <c:v>1626.5760250000001</c:v>
                </c:pt>
                <c:pt idx="2600">
                  <c:v>1395.40275</c:v>
                </c:pt>
                <c:pt idx="2601">
                  <c:v>1050.721875</c:v>
                </c:pt>
                <c:pt idx="2602">
                  <c:v>1383.2913000000001</c:v>
                </c:pt>
                <c:pt idx="2603">
                  <c:v>1168.4304</c:v>
                </c:pt>
                <c:pt idx="2604">
                  <c:v>1374.3192749999998</c:v>
                </c:pt>
              </c:numCache>
            </c:numRef>
          </c:val>
          <c:smooth val="0"/>
          <c:extLst xmlns:c16r2="http://schemas.microsoft.com/office/drawing/2015/06/chart">
            <c:ext xmlns:c16="http://schemas.microsoft.com/office/drawing/2014/chart" uri="{C3380CC4-5D6E-409C-BE32-E72D297353CC}">
              <c16:uniqueId val="{00000000-0E3D-4F39-BDFA-90DD928988AF}"/>
            </c:ext>
          </c:extLst>
        </c:ser>
        <c:dLbls>
          <c:showLegendKey val="0"/>
          <c:showVal val="0"/>
          <c:showCatName val="0"/>
          <c:showSerName val="0"/>
          <c:showPercent val="0"/>
          <c:showBubbleSize val="0"/>
        </c:dLbls>
        <c:marker val="1"/>
        <c:smooth val="0"/>
        <c:axId val="552551936"/>
        <c:axId val="552553472"/>
      </c:lineChart>
      <c:lineChart>
        <c:grouping val="standard"/>
        <c:varyColors val="0"/>
        <c:ser>
          <c:idx val="1"/>
          <c:order val="1"/>
          <c:tx>
            <c:strRef>
              <c:f>volumes!$N$4</c:f>
              <c:strCache>
                <c:ptCount val="1"/>
                <c:pt idx="0">
                  <c:v>VIX (RHS)</c:v>
                </c:pt>
              </c:strCache>
            </c:strRef>
          </c:tx>
          <c:marker>
            <c:symbol val="none"/>
          </c:marker>
          <c:cat>
            <c:numRef>
              <c:f>volumes!$L$5:$L$2609</c:f>
              <c:numCache>
                <c:formatCode>m/d/yyyy</c:formatCode>
                <c:ptCount val="2605"/>
                <c:pt idx="0">
                  <c:v>38720</c:v>
                </c:pt>
                <c:pt idx="1">
                  <c:v>38721</c:v>
                </c:pt>
                <c:pt idx="2">
                  <c:v>38722</c:v>
                </c:pt>
                <c:pt idx="3">
                  <c:v>38723</c:v>
                </c:pt>
                <c:pt idx="4">
                  <c:v>38726</c:v>
                </c:pt>
                <c:pt idx="5">
                  <c:v>38727</c:v>
                </c:pt>
                <c:pt idx="6">
                  <c:v>38728</c:v>
                </c:pt>
                <c:pt idx="7">
                  <c:v>38729</c:v>
                </c:pt>
                <c:pt idx="8">
                  <c:v>38730</c:v>
                </c:pt>
                <c:pt idx="9">
                  <c:v>38734</c:v>
                </c:pt>
                <c:pt idx="10">
                  <c:v>38735</c:v>
                </c:pt>
                <c:pt idx="11">
                  <c:v>38736</c:v>
                </c:pt>
                <c:pt idx="12">
                  <c:v>38737</c:v>
                </c:pt>
                <c:pt idx="13">
                  <c:v>38740</c:v>
                </c:pt>
                <c:pt idx="14">
                  <c:v>38741</c:v>
                </c:pt>
                <c:pt idx="15">
                  <c:v>38742</c:v>
                </c:pt>
                <c:pt idx="16">
                  <c:v>38743</c:v>
                </c:pt>
                <c:pt idx="17">
                  <c:v>38744</c:v>
                </c:pt>
                <c:pt idx="18">
                  <c:v>38747</c:v>
                </c:pt>
                <c:pt idx="19">
                  <c:v>38748</c:v>
                </c:pt>
                <c:pt idx="20">
                  <c:v>38749</c:v>
                </c:pt>
                <c:pt idx="21">
                  <c:v>38750</c:v>
                </c:pt>
                <c:pt idx="22">
                  <c:v>38751</c:v>
                </c:pt>
                <c:pt idx="23">
                  <c:v>38754</c:v>
                </c:pt>
                <c:pt idx="24">
                  <c:v>38755</c:v>
                </c:pt>
                <c:pt idx="25">
                  <c:v>38756</c:v>
                </c:pt>
                <c:pt idx="26">
                  <c:v>38757</c:v>
                </c:pt>
                <c:pt idx="27">
                  <c:v>38758</c:v>
                </c:pt>
                <c:pt idx="28">
                  <c:v>38761</c:v>
                </c:pt>
                <c:pt idx="29">
                  <c:v>38762</c:v>
                </c:pt>
                <c:pt idx="30">
                  <c:v>38763</c:v>
                </c:pt>
                <c:pt idx="31">
                  <c:v>38764</c:v>
                </c:pt>
                <c:pt idx="32">
                  <c:v>38765</c:v>
                </c:pt>
                <c:pt idx="33">
                  <c:v>38769</c:v>
                </c:pt>
                <c:pt idx="34">
                  <c:v>38770</c:v>
                </c:pt>
                <c:pt idx="35">
                  <c:v>38771</c:v>
                </c:pt>
                <c:pt idx="36">
                  <c:v>38772</c:v>
                </c:pt>
                <c:pt idx="37">
                  <c:v>38775</c:v>
                </c:pt>
                <c:pt idx="38">
                  <c:v>38776</c:v>
                </c:pt>
                <c:pt idx="39">
                  <c:v>38777</c:v>
                </c:pt>
                <c:pt idx="40">
                  <c:v>38778</c:v>
                </c:pt>
                <c:pt idx="41">
                  <c:v>38779</c:v>
                </c:pt>
                <c:pt idx="42">
                  <c:v>38782</c:v>
                </c:pt>
                <c:pt idx="43">
                  <c:v>38783</c:v>
                </c:pt>
                <c:pt idx="44">
                  <c:v>38784</c:v>
                </c:pt>
                <c:pt idx="45">
                  <c:v>38785</c:v>
                </c:pt>
                <c:pt idx="46">
                  <c:v>38786</c:v>
                </c:pt>
                <c:pt idx="47">
                  <c:v>38789</c:v>
                </c:pt>
                <c:pt idx="48">
                  <c:v>38790</c:v>
                </c:pt>
                <c:pt idx="49">
                  <c:v>38791</c:v>
                </c:pt>
                <c:pt idx="50">
                  <c:v>38792</c:v>
                </c:pt>
                <c:pt idx="51">
                  <c:v>38793</c:v>
                </c:pt>
                <c:pt idx="52">
                  <c:v>38796</c:v>
                </c:pt>
                <c:pt idx="53">
                  <c:v>38797</c:v>
                </c:pt>
                <c:pt idx="54">
                  <c:v>38798</c:v>
                </c:pt>
                <c:pt idx="55">
                  <c:v>38799</c:v>
                </c:pt>
                <c:pt idx="56">
                  <c:v>38800</c:v>
                </c:pt>
                <c:pt idx="57">
                  <c:v>38803</c:v>
                </c:pt>
                <c:pt idx="58">
                  <c:v>38804</c:v>
                </c:pt>
                <c:pt idx="59">
                  <c:v>38805</c:v>
                </c:pt>
                <c:pt idx="60">
                  <c:v>38806</c:v>
                </c:pt>
                <c:pt idx="61">
                  <c:v>38807</c:v>
                </c:pt>
                <c:pt idx="62">
                  <c:v>38810</c:v>
                </c:pt>
                <c:pt idx="63">
                  <c:v>38811</c:v>
                </c:pt>
                <c:pt idx="64">
                  <c:v>38812</c:v>
                </c:pt>
                <c:pt idx="65">
                  <c:v>38813</c:v>
                </c:pt>
                <c:pt idx="66">
                  <c:v>38814</c:v>
                </c:pt>
                <c:pt idx="67">
                  <c:v>38817</c:v>
                </c:pt>
                <c:pt idx="68">
                  <c:v>38818</c:v>
                </c:pt>
                <c:pt idx="69">
                  <c:v>38819</c:v>
                </c:pt>
                <c:pt idx="70">
                  <c:v>38820</c:v>
                </c:pt>
                <c:pt idx="71">
                  <c:v>38824</c:v>
                </c:pt>
                <c:pt idx="72">
                  <c:v>38825</c:v>
                </c:pt>
                <c:pt idx="73">
                  <c:v>38826</c:v>
                </c:pt>
                <c:pt idx="74">
                  <c:v>38827</c:v>
                </c:pt>
                <c:pt idx="75">
                  <c:v>38828</c:v>
                </c:pt>
                <c:pt idx="76">
                  <c:v>38831</c:v>
                </c:pt>
                <c:pt idx="77">
                  <c:v>38832</c:v>
                </c:pt>
                <c:pt idx="78">
                  <c:v>38833</c:v>
                </c:pt>
                <c:pt idx="79">
                  <c:v>38834</c:v>
                </c:pt>
                <c:pt idx="80">
                  <c:v>38835</c:v>
                </c:pt>
                <c:pt idx="81">
                  <c:v>38838</c:v>
                </c:pt>
                <c:pt idx="82">
                  <c:v>38839</c:v>
                </c:pt>
                <c:pt idx="83">
                  <c:v>38840</c:v>
                </c:pt>
                <c:pt idx="84">
                  <c:v>38841</c:v>
                </c:pt>
                <c:pt idx="85">
                  <c:v>38842</c:v>
                </c:pt>
                <c:pt idx="86">
                  <c:v>38845</c:v>
                </c:pt>
                <c:pt idx="87">
                  <c:v>38846</c:v>
                </c:pt>
                <c:pt idx="88">
                  <c:v>38847</c:v>
                </c:pt>
                <c:pt idx="89">
                  <c:v>38848</c:v>
                </c:pt>
                <c:pt idx="90">
                  <c:v>38849</c:v>
                </c:pt>
                <c:pt idx="91">
                  <c:v>38852</c:v>
                </c:pt>
                <c:pt idx="92">
                  <c:v>38853</c:v>
                </c:pt>
                <c:pt idx="93">
                  <c:v>38854</c:v>
                </c:pt>
                <c:pt idx="94">
                  <c:v>38855</c:v>
                </c:pt>
                <c:pt idx="95">
                  <c:v>38856</c:v>
                </c:pt>
                <c:pt idx="96">
                  <c:v>38859</c:v>
                </c:pt>
                <c:pt idx="97">
                  <c:v>38860</c:v>
                </c:pt>
                <c:pt idx="98">
                  <c:v>38861</c:v>
                </c:pt>
                <c:pt idx="99">
                  <c:v>38862</c:v>
                </c:pt>
                <c:pt idx="100">
                  <c:v>38863</c:v>
                </c:pt>
                <c:pt idx="101">
                  <c:v>38867</c:v>
                </c:pt>
                <c:pt idx="102">
                  <c:v>38868</c:v>
                </c:pt>
                <c:pt idx="103">
                  <c:v>38869</c:v>
                </c:pt>
                <c:pt idx="104">
                  <c:v>38870</c:v>
                </c:pt>
                <c:pt idx="105">
                  <c:v>38873</c:v>
                </c:pt>
                <c:pt idx="106">
                  <c:v>38874</c:v>
                </c:pt>
                <c:pt idx="107">
                  <c:v>38875</c:v>
                </c:pt>
                <c:pt idx="108">
                  <c:v>38876</c:v>
                </c:pt>
                <c:pt idx="109">
                  <c:v>38877</c:v>
                </c:pt>
                <c:pt idx="110">
                  <c:v>38880</c:v>
                </c:pt>
                <c:pt idx="111">
                  <c:v>38881</c:v>
                </c:pt>
                <c:pt idx="112">
                  <c:v>38882</c:v>
                </c:pt>
                <c:pt idx="113">
                  <c:v>38883</c:v>
                </c:pt>
                <c:pt idx="114">
                  <c:v>38884</c:v>
                </c:pt>
                <c:pt idx="115">
                  <c:v>38887</c:v>
                </c:pt>
                <c:pt idx="116">
                  <c:v>38888</c:v>
                </c:pt>
                <c:pt idx="117">
                  <c:v>38889</c:v>
                </c:pt>
                <c:pt idx="118">
                  <c:v>38890</c:v>
                </c:pt>
                <c:pt idx="119">
                  <c:v>38891</c:v>
                </c:pt>
                <c:pt idx="120">
                  <c:v>38894</c:v>
                </c:pt>
                <c:pt idx="121">
                  <c:v>38895</c:v>
                </c:pt>
                <c:pt idx="122">
                  <c:v>38896</c:v>
                </c:pt>
                <c:pt idx="123">
                  <c:v>38897</c:v>
                </c:pt>
                <c:pt idx="124">
                  <c:v>38898</c:v>
                </c:pt>
                <c:pt idx="125">
                  <c:v>38901</c:v>
                </c:pt>
                <c:pt idx="126">
                  <c:v>38903</c:v>
                </c:pt>
                <c:pt idx="127">
                  <c:v>38904</c:v>
                </c:pt>
                <c:pt idx="128">
                  <c:v>38905</c:v>
                </c:pt>
                <c:pt idx="129">
                  <c:v>38908</c:v>
                </c:pt>
                <c:pt idx="130">
                  <c:v>38909</c:v>
                </c:pt>
                <c:pt idx="131">
                  <c:v>38910</c:v>
                </c:pt>
                <c:pt idx="132">
                  <c:v>38911</c:v>
                </c:pt>
                <c:pt idx="133">
                  <c:v>38912</c:v>
                </c:pt>
                <c:pt idx="134">
                  <c:v>38915</c:v>
                </c:pt>
                <c:pt idx="135">
                  <c:v>38916</c:v>
                </c:pt>
                <c:pt idx="136">
                  <c:v>38917</c:v>
                </c:pt>
                <c:pt idx="137">
                  <c:v>38918</c:v>
                </c:pt>
                <c:pt idx="138">
                  <c:v>38919</c:v>
                </c:pt>
                <c:pt idx="139">
                  <c:v>38922</c:v>
                </c:pt>
                <c:pt idx="140">
                  <c:v>38923</c:v>
                </c:pt>
                <c:pt idx="141">
                  <c:v>38924</c:v>
                </c:pt>
                <c:pt idx="142">
                  <c:v>38925</c:v>
                </c:pt>
                <c:pt idx="143">
                  <c:v>38926</c:v>
                </c:pt>
                <c:pt idx="144">
                  <c:v>38929</c:v>
                </c:pt>
                <c:pt idx="145">
                  <c:v>38930</c:v>
                </c:pt>
                <c:pt idx="146">
                  <c:v>38931</c:v>
                </c:pt>
                <c:pt idx="147">
                  <c:v>38932</c:v>
                </c:pt>
                <c:pt idx="148">
                  <c:v>38933</c:v>
                </c:pt>
                <c:pt idx="149">
                  <c:v>38936</c:v>
                </c:pt>
                <c:pt idx="150">
                  <c:v>38937</c:v>
                </c:pt>
                <c:pt idx="151">
                  <c:v>38938</c:v>
                </c:pt>
                <c:pt idx="152">
                  <c:v>38939</c:v>
                </c:pt>
                <c:pt idx="153">
                  <c:v>38940</c:v>
                </c:pt>
                <c:pt idx="154">
                  <c:v>38943</c:v>
                </c:pt>
                <c:pt idx="155">
                  <c:v>38944</c:v>
                </c:pt>
                <c:pt idx="156">
                  <c:v>38945</c:v>
                </c:pt>
                <c:pt idx="157">
                  <c:v>38946</c:v>
                </c:pt>
                <c:pt idx="158">
                  <c:v>38947</c:v>
                </c:pt>
                <c:pt idx="159">
                  <c:v>38950</c:v>
                </c:pt>
                <c:pt idx="160">
                  <c:v>38951</c:v>
                </c:pt>
                <c:pt idx="161">
                  <c:v>38952</c:v>
                </c:pt>
                <c:pt idx="162">
                  <c:v>38953</c:v>
                </c:pt>
                <c:pt idx="163">
                  <c:v>38954</c:v>
                </c:pt>
                <c:pt idx="164">
                  <c:v>38957</c:v>
                </c:pt>
                <c:pt idx="165">
                  <c:v>38958</c:v>
                </c:pt>
                <c:pt idx="166">
                  <c:v>38959</c:v>
                </c:pt>
                <c:pt idx="167">
                  <c:v>38960</c:v>
                </c:pt>
                <c:pt idx="168">
                  <c:v>38961</c:v>
                </c:pt>
                <c:pt idx="169">
                  <c:v>38965</c:v>
                </c:pt>
                <c:pt idx="170">
                  <c:v>38966</c:v>
                </c:pt>
                <c:pt idx="171">
                  <c:v>38967</c:v>
                </c:pt>
                <c:pt idx="172">
                  <c:v>38968</c:v>
                </c:pt>
                <c:pt idx="173">
                  <c:v>38971</c:v>
                </c:pt>
                <c:pt idx="174">
                  <c:v>38972</c:v>
                </c:pt>
                <c:pt idx="175">
                  <c:v>38973</c:v>
                </c:pt>
                <c:pt idx="176">
                  <c:v>38974</c:v>
                </c:pt>
                <c:pt idx="177">
                  <c:v>38975</c:v>
                </c:pt>
                <c:pt idx="178">
                  <c:v>38978</c:v>
                </c:pt>
                <c:pt idx="179">
                  <c:v>38979</c:v>
                </c:pt>
                <c:pt idx="180">
                  <c:v>38980</c:v>
                </c:pt>
                <c:pt idx="181">
                  <c:v>38981</c:v>
                </c:pt>
                <c:pt idx="182">
                  <c:v>38982</c:v>
                </c:pt>
                <c:pt idx="183">
                  <c:v>38985</c:v>
                </c:pt>
                <c:pt idx="184">
                  <c:v>38986</c:v>
                </c:pt>
                <c:pt idx="185">
                  <c:v>38987</c:v>
                </c:pt>
                <c:pt idx="186">
                  <c:v>38988</c:v>
                </c:pt>
                <c:pt idx="187">
                  <c:v>38989</c:v>
                </c:pt>
                <c:pt idx="188">
                  <c:v>38992</c:v>
                </c:pt>
                <c:pt idx="189">
                  <c:v>38993</c:v>
                </c:pt>
                <c:pt idx="190">
                  <c:v>38994</c:v>
                </c:pt>
                <c:pt idx="191">
                  <c:v>38995</c:v>
                </c:pt>
                <c:pt idx="192">
                  <c:v>38996</c:v>
                </c:pt>
                <c:pt idx="193">
                  <c:v>38999</c:v>
                </c:pt>
                <c:pt idx="194">
                  <c:v>39000</c:v>
                </c:pt>
                <c:pt idx="195">
                  <c:v>39001</c:v>
                </c:pt>
                <c:pt idx="196">
                  <c:v>39002</c:v>
                </c:pt>
                <c:pt idx="197">
                  <c:v>39003</c:v>
                </c:pt>
                <c:pt idx="198">
                  <c:v>39006</c:v>
                </c:pt>
                <c:pt idx="199">
                  <c:v>39007</c:v>
                </c:pt>
                <c:pt idx="200">
                  <c:v>39008</c:v>
                </c:pt>
                <c:pt idx="201">
                  <c:v>39009</c:v>
                </c:pt>
                <c:pt idx="202">
                  <c:v>39010</c:v>
                </c:pt>
                <c:pt idx="203">
                  <c:v>39013</c:v>
                </c:pt>
                <c:pt idx="204">
                  <c:v>39014</c:v>
                </c:pt>
                <c:pt idx="205">
                  <c:v>39015</c:v>
                </c:pt>
                <c:pt idx="206">
                  <c:v>39016</c:v>
                </c:pt>
                <c:pt idx="207">
                  <c:v>39017</c:v>
                </c:pt>
                <c:pt idx="208">
                  <c:v>39020</c:v>
                </c:pt>
                <c:pt idx="209">
                  <c:v>39021</c:v>
                </c:pt>
                <c:pt idx="210">
                  <c:v>39022</c:v>
                </c:pt>
                <c:pt idx="211">
                  <c:v>39023</c:v>
                </c:pt>
                <c:pt idx="212">
                  <c:v>39024</c:v>
                </c:pt>
                <c:pt idx="213">
                  <c:v>39027</c:v>
                </c:pt>
                <c:pt idx="214">
                  <c:v>39028</c:v>
                </c:pt>
                <c:pt idx="215">
                  <c:v>39029</c:v>
                </c:pt>
                <c:pt idx="216">
                  <c:v>39030</c:v>
                </c:pt>
                <c:pt idx="217">
                  <c:v>39031</c:v>
                </c:pt>
                <c:pt idx="218">
                  <c:v>39034</c:v>
                </c:pt>
                <c:pt idx="219">
                  <c:v>39035</c:v>
                </c:pt>
                <c:pt idx="220">
                  <c:v>39036</c:v>
                </c:pt>
                <c:pt idx="221">
                  <c:v>39037</c:v>
                </c:pt>
                <c:pt idx="222">
                  <c:v>39038</c:v>
                </c:pt>
                <c:pt idx="223">
                  <c:v>39041</c:v>
                </c:pt>
                <c:pt idx="224">
                  <c:v>39042</c:v>
                </c:pt>
                <c:pt idx="225">
                  <c:v>39043</c:v>
                </c:pt>
                <c:pt idx="226">
                  <c:v>39045</c:v>
                </c:pt>
                <c:pt idx="227">
                  <c:v>39048</c:v>
                </c:pt>
                <c:pt idx="228">
                  <c:v>39049</c:v>
                </c:pt>
                <c:pt idx="229">
                  <c:v>39050</c:v>
                </c:pt>
                <c:pt idx="230">
                  <c:v>39051</c:v>
                </c:pt>
                <c:pt idx="231">
                  <c:v>39052</c:v>
                </c:pt>
                <c:pt idx="232">
                  <c:v>39055</c:v>
                </c:pt>
                <c:pt idx="233">
                  <c:v>39056</c:v>
                </c:pt>
                <c:pt idx="234">
                  <c:v>39057</c:v>
                </c:pt>
                <c:pt idx="235">
                  <c:v>39058</c:v>
                </c:pt>
                <c:pt idx="236">
                  <c:v>39059</c:v>
                </c:pt>
                <c:pt idx="237">
                  <c:v>39062</c:v>
                </c:pt>
                <c:pt idx="238">
                  <c:v>39063</c:v>
                </c:pt>
                <c:pt idx="239">
                  <c:v>39064</c:v>
                </c:pt>
                <c:pt idx="240">
                  <c:v>39065</c:v>
                </c:pt>
                <c:pt idx="241">
                  <c:v>39066</c:v>
                </c:pt>
                <c:pt idx="242">
                  <c:v>39069</c:v>
                </c:pt>
                <c:pt idx="243">
                  <c:v>39070</c:v>
                </c:pt>
                <c:pt idx="244">
                  <c:v>39071</c:v>
                </c:pt>
                <c:pt idx="245">
                  <c:v>39072</c:v>
                </c:pt>
                <c:pt idx="246">
                  <c:v>39073</c:v>
                </c:pt>
                <c:pt idx="247">
                  <c:v>39077</c:v>
                </c:pt>
                <c:pt idx="248">
                  <c:v>39078</c:v>
                </c:pt>
                <c:pt idx="249">
                  <c:v>39079</c:v>
                </c:pt>
                <c:pt idx="250">
                  <c:v>39080</c:v>
                </c:pt>
                <c:pt idx="251">
                  <c:v>39085</c:v>
                </c:pt>
                <c:pt idx="252">
                  <c:v>39086</c:v>
                </c:pt>
                <c:pt idx="253">
                  <c:v>39087</c:v>
                </c:pt>
                <c:pt idx="254">
                  <c:v>39090</c:v>
                </c:pt>
                <c:pt idx="255">
                  <c:v>39091</c:v>
                </c:pt>
                <c:pt idx="256">
                  <c:v>39092</c:v>
                </c:pt>
                <c:pt idx="257">
                  <c:v>39093</c:v>
                </c:pt>
                <c:pt idx="258">
                  <c:v>39094</c:v>
                </c:pt>
                <c:pt idx="259">
                  <c:v>39098</c:v>
                </c:pt>
                <c:pt idx="260">
                  <c:v>39099</c:v>
                </c:pt>
                <c:pt idx="261">
                  <c:v>39100</c:v>
                </c:pt>
                <c:pt idx="262">
                  <c:v>39101</c:v>
                </c:pt>
                <c:pt idx="263">
                  <c:v>39104</c:v>
                </c:pt>
                <c:pt idx="264">
                  <c:v>39105</c:v>
                </c:pt>
                <c:pt idx="265">
                  <c:v>39106</c:v>
                </c:pt>
                <c:pt idx="266">
                  <c:v>39107</c:v>
                </c:pt>
                <c:pt idx="267">
                  <c:v>39108</c:v>
                </c:pt>
                <c:pt idx="268">
                  <c:v>39111</c:v>
                </c:pt>
                <c:pt idx="269">
                  <c:v>39112</c:v>
                </c:pt>
                <c:pt idx="270">
                  <c:v>39113</c:v>
                </c:pt>
                <c:pt idx="271">
                  <c:v>39114</c:v>
                </c:pt>
                <c:pt idx="272">
                  <c:v>39115</c:v>
                </c:pt>
                <c:pt idx="273">
                  <c:v>39118</c:v>
                </c:pt>
                <c:pt idx="274">
                  <c:v>39119</c:v>
                </c:pt>
                <c:pt idx="275">
                  <c:v>39120</c:v>
                </c:pt>
                <c:pt idx="276">
                  <c:v>39121</c:v>
                </c:pt>
                <c:pt idx="277">
                  <c:v>39122</c:v>
                </c:pt>
                <c:pt idx="278">
                  <c:v>39125</c:v>
                </c:pt>
                <c:pt idx="279">
                  <c:v>39126</c:v>
                </c:pt>
                <c:pt idx="280">
                  <c:v>39127</c:v>
                </c:pt>
                <c:pt idx="281">
                  <c:v>39128</c:v>
                </c:pt>
                <c:pt idx="282">
                  <c:v>39129</c:v>
                </c:pt>
                <c:pt idx="283">
                  <c:v>39133</c:v>
                </c:pt>
                <c:pt idx="284">
                  <c:v>39134</c:v>
                </c:pt>
                <c:pt idx="285">
                  <c:v>39135</c:v>
                </c:pt>
                <c:pt idx="286">
                  <c:v>39136</c:v>
                </c:pt>
                <c:pt idx="287">
                  <c:v>39139</c:v>
                </c:pt>
                <c:pt idx="288">
                  <c:v>39140</c:v>
                </c:pt>
                <c:pt idx="289">
                  <c:v>39141</c:v>
                </c:pt>
                <c:pt idx="290">
                  <c:v>39142</c:v>
                </c:pt>
                <c:pt idx="291">
                  <c:v>39143</c:v>
                </c:pt>
                <c:pt idx="292">
                  <c:v>39146</c:v>
                </c:pt>
                <c:pt idx="293">
                  <c:v>39147</c:v>
                </c:pt>
                <c:pt idx="294">
                  <c:v>39148</c:v>
                </c:pt>
                <c:pt idx="295">
                  <c:v>39149</c:v>
                </c:pt>
                <c:pt idx="296">
                  <c:v>39150</c:v>
                </c:pt>
                <c:pt idx="297">
                  <c:v>39153</c:v>
                </c:pt>
                <c:pt idx="298">
                  <c:v>39154</c:v>
                </c:pt>
                <c:pt idx="299">
                  <c:v>39155</c:v>
                </c:pt>
                <c:pt idx="300">
                  <c:v>39156</c:v>
                </c:pt>
                <c:pt idx="301">
                  <c:v>39157</c:v>
                </c:pt>
                <c:pt idx="302">
                  <c:v>39160</c:v>
                </c:pt>
                <c:pt idx="303">
                  <c:v>39161</c:v>
                </c:pt>
                <c:pt idx="304">
                  <c:v>39162</c:v>
                </c:pt>
                <c:pt idx="305">
                  <c:v>39163</c:v>
                </c:pt>
                <c:pt idx="306">
                  <c:v>39164</c:v>
                </c:pt>
                <c:pt idx="307">
                  <c:v>39167</c:v>
                </c:pt>
                <c:pt idx="308">
                  <c:v>39168</c:v>
                </c:pt>
                <c:pt idx="309">
                  <c:v>39169</c:v>
                </c:pt>
                <c:pt idx="310">
                  <c:v>39170</c:v>
                </c:pt>
                <c:pt idx="311">
                  <c:v>39171</c:v>
                </c:pt>
                <c:pt idx="312">
                  <c:v>39174</c:v>
                </c:pt>
                <c:pt idx="313">
                  <c:v>39175</c:v>
                </c:pt>
                <c:pt idx="314">
                  <c:v>39176</c:v>
                </c:pt>
                <c:pt idx="315">
                  <c:v>39177</c:v>
                </c:pt>
                <c:pt idx="316">
                  <c:v>39181</c:v>
                </c:pt>
                <c:pt idx="317">
                  <c:v>39182</c:v>
                </c:pt>
                <c:pt idx="318">
                  <c:v>39183</c:v>
                </c:pt>
                <c:pt idx="319">
                  <c:v>39184</c:v>
                </c:pt>
                <c:pt idx="320">
                  <c:v>39185</c:v>
                </c:pt>
                <c:pt idx="321">
                  <c:v>39188</c:v>
                </c:pt>
                <c:pt idx="322">
                  <c:v>39189</c:v>
                </c:pt>
                <c:pt idx="323">
                  <c:v>39190</c:v>
                </c:pt>
                <c:pt idx="324">
                  <c:v>39191</c:v>
                </c:pt>
                <c:pt idx="325">
                  <c:v>39192</c:v>
                </c:pt>
                <c:pt idx="326">
                  <c:v>39195</c:v>
                </c:pt>
                <c:pt idx="327">
                  <c:v>39196</c:v>
                </c:pt>
                <c:pt idx="328">
                  <c:v>39197</c:v>
                </c:pt>
                <c:pt idx="329">
                  <c:v>39198</c:v>
                </c:pt>
                <c:pt idx="330">
                  <c:v>39199</c:v>
                </c:pt>
                <c:pt idx="331">
                  <c:v>39202</c:v>
                </c:pt>
                <c:pt idx="332">
                  <c:v>39203</c:v>
                </c:pt>
                <c:pt idx="333">
                  <c:v>39204</c:v>
                </c:pt>
                <c:pt idx="334">
                  <c:v>39205</c:v>
                </c:pt>
                <c:pt idx="335">
                  <c:v>39206</c:v>
                </c:pt>
                <c:pt idx="336">
                  <c:v>39209</c:v>
                </c:pt>
                <c:pt idx="337">
                  <c:v>39210</c:v>
                </c:pt>
                <c:pt idx="338">
                  <c:v>39211</c:v>
                </c:pt>
                <c:pt idx="339">
                  <c:v>39212</c:v>
                </c:pt>
                <c:pt idx="340">
                  <c:v>39213</c:v>
                </c:pt>
                <c:pt idx="341">
                  <c:v>39216</c:v>
                </c:pt>
                <c:pt idx="342">
                  <c:v>39217</c:v>
                </c:pt>
                <c:pt idx="343">
                  <c:v>39218</c:v>
                </c:pt>
                <c:pt idx="344">
                  <c:v>39219</c:v>
                </c:pt>
                <c:pt idx="345">
                  <c:v>39220</c:v>
                </c:pt>
                <c:pt idx="346">
                  <c:v>39223</c:v>
                </c:pt>
                <c:pt idx="347">
                  <c:v>39224</c:v>
                </c:pt>
                <c:pt idx="348">
                  <c:v>39225</c:v>
                </c:pt>
                <c:pt idx="349">
                  <c:v>39226</c:v>
                </c:pt>
                <c:pt idx="350">
                  <c:v>39227</c:v>
                </c:pt>
                <c:pt idx="351">
                  <c:v>39231</c:v>
                </c:pt>
                <c:pt idx="352">
                  <c:v>39232</c:v>
                </c:pt>
                <c:pt idx="353">
                  <c:v>39233</c:v>
                </c:pt>
                <c:pt idx="354">
                  <c:v>39234</c:v>
                </c:pt>
                <c:pt idx="355">
                  <c:v>39237</c:v>
                </c:pt>
                <c:pt idx="356">
                  <c:v>39238</c:v>
                </c:pt>
                <c:pt idx="357">
                  <c:v>39239</c:v>
                </c:pt>
                <c:pt idx="358">
                  <c:v>39240</c:v>
                </c:pt>
                <c:pt idx="359">
                  <c:v>39241</c:v>
                </c:pt>
                <c:pt idx="360">
                  <c:v>39244</c:v>
                </c:pt>
                <c:pt idx="361">
                  <c:v>39245</c:v>
                </c:pt>
                <c:pt idx="362">
                  <c:v>39246</c:v>
                </c:pt>
                <c:pt idx="363">
                  <c:v>39247</c:v>
                </c:pt>
                <c:pt idx="364">
                  <c:v>39248</c:v>
                </c:pt>
                <c:pt idx="365">
                  <c:v>39251</c:v>
                </c:pt>
                <c:pt idx="366">
                  <c:v>39252</c:v>
                </c:pt>
                <c:pt idx="367">
                  <c:v>39253</c:v>
                </c:pt>
                <c:pt idx="368">
                  <c:v>39254</c:v>
                </c:pt>
                <c:pt idx="369">
                  <c:v>39255</c:v>
                </c:pt>
                <c:pt idx="370">
                  <c:v>39258</c:v>
                </c:pt>
                <c:pt idx="371">
                  <c:v>39259</c:v>
                </c:pt>
                <c:pt idx="372">
                  <c:v>39260</c:v>
                </c:pt>
                <c:pt idx="373">
                  <c:v>39261</c:v>
                </c:pt>
                <c:pt idx="374">
                  <c:v>39262</c:v>
                </c:pt>
                <c:pt idx="375">
                  <c:v>39265</c:v>
                </c:pt>
                <c:pt idx="376">
                  <c:v>39266</c:v>
                </c:pt>
                <c:pt idx="377">
                  <c:v>39268</c:v>
                </c:pt>
                <c:pt idx="378">
                  <c:v>39269</c:v>
                </c:pt>
                <c:pt idx="379">
                  <c:v>39272</c:v>
                </c:pt>
                <c:pt idx="380">
                  <c:v>39273</c:v>
                </c:pt>
                <c:pt idx="381">
                  <c:v>39274</c:v>
                </c:pt>
                <c:pt idx="382">
                  <c:v>39275</c:v>
                </c:pt>
                <c:pt idx="383">
                  <c:v>39276</c:v>
                </c:pt>
                <c:pt idx="384">
                  <c:v>39279</c:v>
                </c:pt>
                <c:pt idx="385">
                  <c:v>39280</c:v>
                </c:pt>
                <c:pt idx="386">
                  <c:v>39281</c:v>
                </c:pt>
                <c:pt idx="387">
                  <c:v>39282</c:v>
                </c:pt>
                <c:pt idx="388">
                  <c:v>39283</c:v>
                </c:pt>
                <c:pt idx="389">
                  <c:v>39286</c:v>
                </c:pt>
                <c:pt idx="390">
                  <c:v>39287</c:v>
                </c:pt>
                <c:pt idx="391">
                  <c:v>39288</c:v>
                </c:pt>
                <c:pt idx="392">
                  <c:v>39289</c:v>
                </c:pt>
                <c:pt idx="393">
                  <c:v>39290</c:v>
                </c:pt>
                <c:pt idx="394">
                  <c:v>39293</c:v>
                </c:pt>
                <c:pt idx="395">
                  <c:v>39294</c:v>
                </c:pt>
                <c:pt idx="396">
                  <c:v>39295</c:v>
                </c:pt>
                <c:pt idx="397">
                  <c:v>39296</c:v>
                </c:pt>
                <c:pt idx="398">
                  <c:v>39297</c:v>
                </c:pt>
                <c:pt idx="399">
                  <c:v>39300</c:v>
                </c:pt>
                <c:pt idx="400">
                  <c:v>39301</c:v>
                </c:pt>
                <c:pt idx="401">
                  <c:v>39302</c:v>
                </c:pt>
                <c:pt idx="402">
                  <c:v>39303</c:v>
                </c:pt>
                <c:pt idx="403">
                  <c:v>39304</c:v>
                </c:pt>
                <c:pt idx="404">
                  <c:v>39307</c:v>
                </c:pt>
                <c:pt idx="405">
                  <c:v>39308</c:v>
                </c:pt>
                <c:pt idx="406">
                  <c:v>39309</c:v>
                </c:pt>
                <c:pt idx="407">
                  <c:v>39310</c:v>
                </c:pt>
                <c:pt idx="408">
                  <c:v>39311</c:v>
                </c:pt>
                <c:pt idx="409">
                  <c:v>39314</c:v>
                </c:pt>
                <c:pt idx="410">
                  <c:v>39315</c:v>
                </c:pt>
                <c:pt idx="411">
                  <c:v>39316</c:v>
                </c:pt>
                <c:pt idx="412">
                  <c:v>39317</c:v>
                </c:pt>
                <c:pt idx="413">
                  <c:v>39318</c:v>
                </c:pt>
                <c:pt idx="414">
                  <c:v>39321</c:v>
                </c:pt>
                <c:pt idx="415">
                  <c:v>39322</c:v>
                </c:pt>
                <c:pt idx="416">
                  <c:v>39323</c:v>
                </c:pt>
                <c:pt idx="417">
                  <c:v>39324</c:v>
                </c:pt>
                <c:pt idx="418">
                  <c:v>39325</c:v>
                </c:pt>
                <c:pt idx="419">
                  <c:v>39329</c:v>
                </c:pt>
                <c:pt idx="420">
                  <c:v>39330</c:v>
                </c:pt>
                <c:pt idx="421">
                  <c:v>39331</c:v>
                </c:pt>
                <c:pt idx="422">
                  <c:v>39332</c:v>
                </c:pt>
                <c:pt idx="423">
                  <c:v>39335</c:v>
                </c:pt>
                <c:pt idx="424">
                  <c:v>39336</c:v>
                </c:pt>
                <c:pt idx="425">
                  <c:v>39337</c:v>
                </c:pt>
                <c:pt idx="426">
                  <c:v>39338</c:v>
                </c:pt>
                <c:pt idx="427">
                  <c:v>39339</c:v>
                </c:pt>
                <c:pt idx="428">
                  <c:v>39342</c:v>
                </c:pt>
                <c:pt idx="429">
                  <c:v>39343</c:v>
                </c:pt>
                <c:pt idx="430">
                  <c:v>39344</c:v>
                </c:pt>
                <c:pt idx="431">
                  <c:v>39345</c:v>
                </c:pt>
                <c:pt idx="432">
                  <c:v>39346</c:v>
                </c:pt>
                <c:pt idx="433">
                  <c:v>39349</c:v>
                </c:pt>
                <c:pt idx="434">
                  <c:v>39350</c:v>
                </c:pt>
                <c:pt idx="435">
                  <c:v>39351</c:v>
                </c:pt>
                <c:pt idx="436">
                  <c:v>39352</c:v>
                </c:pt>
                <c:pt idx="437">
                  <c:v>39353</c:v>
                </c:pt>
                <c:pt idx="438">
                  <c:v>39356</c:v>
                </c:pt>
                <c:pt idx="439">
                  <c:v>39357</c:v>
                </c:pt>
                <c:pt idx="440">
                  <c:v>39358</c:v>
                </c:pt>
                <c:pt idx="441">
                  <c:v>39359</c:v>
                </c:pt>
                <c:pt idx="442">
                  <c:v>39360</c:v>
                </c:pt>
                <c:pt idx="443">
                  <c:v>39363</c:v>
                </c:pt>
                <c:pt idx="444">
                  <c:v>39364</c:v>
                </c:pt>
                <c:pt idx="445">
                  <c:v>39365</c:v>
                </c:pt>
                <c:pt idx="446">
                  <c:v>39366</c:v>
                </c:pt>
                <c:pt idx="447">
                  <c:v>39367</c:v>
                </c:pt>
                <c:pt idx="448">
                  <c:v>39370</c:v>
                </c:pt>
                <c:pt idx="449">
                  <c:v>39371</c:v>
                </c:pt>
                <c:pt idx="450">
                  <c:v>39372</c:v>
                </c:pt>
                <c:pt idx="451">
                  <c:v>39373</c:v>
                </c:pt>
                <c:pt idx="452">
                  <c:v>39374</c:v>
                </c:pt>
                <c:pt idx="453">
                  <c:v>39377</c:v>
                </c:pt>
                <c:pt idx="454">
                  <c:v>39378</c:v>
                </c:pt>
                <c:pt idx="455">
                  <c:v>39379</c:v>
                </c:pt>
                <c:pt idx="456">
                  <c:v>39380</c:v>
                </c:pt>
                <c:pt idx="457">
                  <c:v>39381</c:v>
                </c:pt>
                <c:pt idx="458">
                  <c:v>39384</c:v>
                </c:pt>
                <c:pt idx="459">
                  <c:v>39385</c:v>
                </c:pt>
                <c:pt idx="460">
                  <c:v>39386</c:v>
                </c:pt>
                <c:pt idx="461">
                  <c:v>39387</c:v>
                </c:pt>
                <c:pt idx="462">
                  <c:v>39388</c:v>
                </c:pt>
                <c:pt idx="463">
                  <c:v>39391</c:v>
                </c:pt>
                <c:pt idx="464">
                  <c:v>39392</c:v>
                </c:pt>
                <c:pt idx="465">
                  <c:v>39393</c:v>
                </c:pt>
                <c:pt idx="466">
                  <c:v>39394</c:v>
                </c:pt>
                <c:pt idx="467">
                  <c:v>39395</c:v>
                </c:pt>
                <c:pt idx="468">
                  <c:v>39398</c:v>
                </c:pt>
                <c:pt idx="469">
                  <c:v>39399</c:v>
                </c:pt>
                <c:pt idx="470">
                  <c:v>39400</c:v>
                </c:pt>
                <c:pt idx="471">
                  <c:v>39401</c:v>
                </c:pt>
                <c:pt idx="472">
                  <c:v>39402</c:v>
                </c:pt>
                <c:pt idx="473">
                  <c:v>39405</c:v>
                </c:pt>
                <c:pt idx="474">
                  <c:v>39406</c:v>
                </c:pt>
                <c:pt idx="475">
                  <c:v>39407</c:v>
                </c:pt>
                <c:pt idx="476">
                  <c:v>39409</c:v>
                </c:pt>
                <c:pt idx="477">
                  <c:v>39412</c:v>
                </c:pt>
                <c:pt idx="478">
                  <c:v>39413</c:v>
                </c:pt>
                <c:pt idx="479">
                  <c:v>39414</c:v>
                </c:pt>
                <c:pt idx="480">
                  <c:v>39415</c:v>
                </c:pt>
                <c:pt idx="481">
                  <c:v>39416</c:v>
                </c:pt>
                <c:pt idx="482">
                  <c:v>39419</c:v>
                </c:pt>
                <c:pt idx="483">
                  <c:v>39420</c:v>
                </c:pt>
                <c:pt idx="484">
                  <c:v>39421</c:v>
                </c:pt>
                <c:pt idx="485">
                  <c:v>39422</c:v>
                </c:pt>
                <c:pt idx="486">
                  <c:v>39423</c:v>
                </c:pt>
                <c:pt idx="487">
                  <c:v>39426</c:v>
                </c:pt>
                <c:pt idx="488">
                  <c:v>39427</c:v>
                </c:pt>
                <c:pt idx="489">
                  <c:v>39428</c:v>
                </c:pt>
                <c:pt idx="490">
                  <c:v>39429</c:v>
                </c:pt>
                <c:pt idx="491">
                  <c:v>39430</c:v>
                </c:pt>
                <c:pt idx="492">
                  <c:v>39433</c:v>
                </c:pt>
                <c:pt idx="493">
                  <c:v>39434</c:v>
                </c:pt>
                <c:pt idx="494">
                  <c:v>39435</c:v>
                </c:pt>
                <c:pt idx="495">
                  <c:v>39436</c:v>
                </c:pt>
                <c:pt idx="496">
                  <c:v>39437</c:v>
                </c:pt>
                <c:pt idx="497">
                  <c:v>39440</c:v>
                </c:pt>
                <c:pt idx="498">
                  <c:v>39442</c:v>
                </c:pt>
                <c:pt idx="499">
                  <c:v>39443</c:v>
                </c:pt>
                <c:pt idx="500">
                  <c:v>39444</c:v>
                </c:pt>
                <c:pt idx="501">
                  <c:v>39447</c:v>
                </c:pt>
                <c:pt idx="502">
                  <c:v>39449</c:v>
                </c:pt>
                <c:pt idx="503">
                  <c:v>39450</c:v>
                </c:pt>
                <c:pt idx="504">
                  <c:v>39451</c:v>
                </c:pt>
                <c:pt idx="505">
                  <c:v>39454</c:v>
                </c:pt>
                <c:pt idx="506">
                  <c:v>39455</c:v>
                </c:pt>
                <c:pt idx="507">
                  <c:v>39456</c:v>
                </c:pt>
                <c:pt idx="508">
                  <c:v>39457</c:v>
                </c:pt>
                <c:pt idx="509">
                  <c:v>39458</c:v>
                </c:pt>
                <c:pt idx="510">
                  <c:v>39461</c:v>
                </c:pt>
                <c:pt idx="511">
                  <c:v>39462</c:v>
                </c:pt>
                <c:pt idx="512">
                  <c:v>39463</c:v>
                </c:pt>
                <c:pt idx="513">
                  <c:v>39464</c:v>
                </c:pt>
                <c:pt idx="514">
                  <c:v>39465</c:v>
                </c:pt>
                <c:pt idx="515">
                  <c:v>39469</c:v>
                </c:pt>
                <c:pt idx="516">
                  <c:v>39470</c:v>
                </c:pt>
                <c:pt idx="517">
                  <c:v>39471</c:v>
                </c:pt>
                <c:pt idx="518">
                  <c:v>39472</c:v>
                </c:pt>
                <c:pt idx="519">
                  <c:v>39475</c:v>
                </c:pt>
                <c:pt idx="520">
                  <c:v>39476</c:v>
                </c:pt>
                <c:pt idx="521">
                  <c:v>39477</c:v>
                </c:pt>
                <c:pt idx="522">
                  <c:v>39478</c:v>
                </c:pt>
                <c:pt idx="523">
                  <c:v>39479</c:v>
                </c:pt>
                <c:pt idx="524">
                  <c:v>39482</c:v>
                </c:pt>
                <c:pt idx="525">
                  <c:v>39483</c:v>
                </c:pt>
                <c:pt idx="526">
                  <c:v>39484</c:v>
                </c:pt>
                <c:pt idx="527">
                  <c:v>39485</c:v>
                </c:pt>
                <c:pt idx="528">
                  <c:v>39486</c:v>
                </c:pt>
                <c:pt idx="529">
                  <c:v>39489</c:v>
                </c:pt>
                <c:pt idx="530">
                  <c:v>39490</c:v>
                </c:pt>
                <c:pt idx="531">
                  <c:v>39491</c:v>
                </c:pt>
                <c:pt idx="532">
                  <c:v>39492</c:v>
                </c:pt>
                <c:pt idx="533">
                  <c:v>39493</c:v>
                </c:pt>
                <c:pt idx="534">
                  <c:v>39497</c:v>
                </c:pt>
                <c:pt idx="535">
                  <c:v>39498</c:v>
                </c:pt>
                <c:pt idx="536">
                  <c:v>39499</c:v>
                </c:pt>
                <c:pt idx="537">
                  <c:v>39500</c:v>
                </c:pt>
                <c:pt idx="538">
                  <c:v>39503</c:v>
                </c:pt>
                <c:pt idx="539">
                  <c:v>39504</c:v>
                </c:pt>
                <c:pt idx="540">
                  <c:v>39505</c:v>
                </c:pt>
                <c:pt idx="541">
                  <c:v>39506</c:v>
                </c:pt>
                <c:pt idx="542">
                  <c:v>39507</c:v>
                </c:pt>
                <c:pt idx="543">
                  <c:v>39510</c:v>
                </c:pt>
                <c:pt idx="544">
                  <c:v>39511</c:v>
                </c:pt>
                <c:pt idx="545">
                  <c:v>39512</c:v>
                </c:pt>
                <c:pt idx="546">
                  <c:v>39513</c:v>
                </c:pt>
                <c:pt idx="547">
                  <c:v>39514</c:v>
                </c:pt>
                <c:pt idx="548">
                  <c:v>39517</c:v>
                </c:pt>
                <c:pt idx="549">
                  <c:v>39518</c:v>
                </c:pt>
                <c:pt idx="550">
                  <c:v>39519</c:v>
                </c:pt>
                <c:pt idx="551">
                  <c:v>39520</c:v>
                </c:pt>
                <c:pt idx="552">
                  <c:v>39521</c:v>
                </c:pt>
                <c:pt idx="553">
                  <c:v>39524</c:v>
                </c:pt>
                <c:pt idx="554">
                  <c:v>39525</c:v>
                </c:pt>
                <c:pt idx="555">
                  <c:v>39526</c:v>
                </c:pt>
                <c:pt idx="556">
                  <c:v>39527</c:v>
                </c:pt>
                <c:pt idx="557">
                  <c:v>39531</c:v>
                </c:pt>
                <c:pt idx="558">
                  <c:v>39532</c:v>
                </c:pt>
                <c:pt idx="559">
                  <c:v>39533</c:v>
                </c:pt>
                <c:pt idx="560">
                  <c:v>39534</c:v>
                </c:pt>
                <c:pt idx="561">
                  <c:v>39535</c:v>
                </c:pt>
                <c:pt idx="562">
                  <c:v>39538</c:v>
                </c:pt>
                <c:pt idx="563">
                  <c:v>39539</c:v>
                </c:pt>
                <c:pt idx="564">
                  <c:v>39540</c:v>
                </c:pt>
                <c:pt idx="565">
                  <c:v>39541</c:v>
                </c:pt>
                <c:pt idx="566">
                  <c:v>39542</c:v>
                </c:pt>
                <c:pt idx="567">
                  <c:v>39545</c:v>
                </c:pt>
                <c:pt idx="568">
                  <c:v>39546</c:v>
                </c:pt>
                <c:pt idx="569">
                  <c:v>39547</c:v>
                </c:pt>
                <c:pt idx="570">
                  <c:v>39548</c:v>
                </c:pt>
                <c:pt idx="571">
                  <c:v>39549</c:v>
                </c:pt>
                <c:pt idx="572">
                  <c:v>39552</c:v>
                </c:pt>
                <c:pt idx="573">
                  <c:v>39553</c:v>
                </c:pt>
                <c:pt idx="574">
                  <c:v>39554</c:v>
                </c:pt>
                <c:pt idx="575">
                  <c:v>39555</c:v>
                </c:pt>
                <c:pt idx="576">
                  <c:v>39556</c:v>
                </c:pt>
                <c:pt idx="577">
                  <c:v>39559</c:v>
                </c:pt>
                <c:pt idx="578">
                  <c:v>39560</c:v>
                </c:pt>
                <c:pt idx="579">
                  <c:v>39561</c:v>
                </c:pt>
                <c:pt idx="580">
                  <c:v>39562</c:v>
                </c:pt>
                <c:pt idx="581">
                  <c:v>39563</c:v>
                </c:pt>
                <c:pt idx="582">
                  <c:v>39566</c:v>
                </c:pt>
                <c:pt idx="583">
                  <c:v>39567</c:v>
                </c:pt>
                <c:pt idx="584">
                  <c:v>39568</c:v>
                </c:pt>
                <c:pt idx="585">
                  <c:v>39569</c:v>
                </c:pt>
                <c:pt idx="586">
                  <c:v>39570</c:v>
                </c:pt>
                <c:pt idx="587">
                  <c:v>39573</c:v>
                </c:pt>
                <c:pt idx="588">
                  <c:v>39574</c:v>
                </c:pt>
                <c:pt idx="589">
                  <c:v>39575</c:v>
                </c:pt>
                <c:pt idx="590">
                  <c:v>39576</c:v>
                </c:pt>
                <c:pt idx="591">
                  <c:v>39577</c:v>
                </c:pt>
                <c:pt idx="592">
                  <c:v>39580</c:v>
                </c:pt>
                <c:pt idx="593">
                  <c:v>39581</c:v>
                </c:pt>
                <c:pt idx="594">
                  <c:v>39582</c:v>
                </c:pt>
                <c:pt idx="595">
                  <c:v>39583</c:v>
                </c:pt>
                <c:pt idx="596">
                  <c:v>39584</c:v>
                </c:pt>
                <c:pt idx="597">
                  <c:v>39587</c:v>
                </c:pt>
                <c:pt idx="598">
                  <c:v>39588</c:v>
                </c:pt>
                <c:pt idx="599">
                  <c:v>39589</c:v>
                </c:pt>
                <c:pt idx="600">
                  <c:v>39590</c:v>
                </c:pt>
                <c:pt idx="601">
                  <c:v>39591</c:v>
                </c:pt>
                <c:pt idx="602">
                  <c:v>39595</c:v>
                </c:pt>
                <c:pt idx="603">
                  <c:v>39596</c:v>
                </c:pt>
                <c:pt idx="604">
                  <c:v>39597</c:v>
                </c:pt>
                <c:pt idx="605">
                  <c:v>39598</c:v>
                </c:pt>
                <c:pt idx="606">
                  <c:v>39601</c:v>
                </c:pt>
                <c:pt idx="607">
                  <c:v>39602</c:v>
                </c:pt>
                <c:pt idx="608">
                  <c:v>39603</c:v>
                </c:pt>
                <c:pt idx="609">
                  <c:v>39604</c:v>
                </c:pt>
                <c:pt idx="610">
                  <c:v>39605</c:v>
                </c:pt>
                <c:pt idx="611">
                  <c:v>39608</c:v>
                </c:pt>
                <c:pt idx="612">
                  <c:v>39609</c:v>
                </c:pt>
                <c:pt idx="613">
                  <c:v>39610</c:v>
                </c:pt>
                <c:pt idx="614">
                  <c:v>39611</c:v>
                </c:pt>
                <c:pt idx="615">
                  <c:v>39612</c:v>
                </c:pt>
                <c:pt idx="616">
                  <c:v>39615</c:v>
                </c:pt>
                <c:pt idx="617">
                  <c:v>39616</c:v>
                </c:pt>
                <c:pt idx="618">
                  <c:v>39617</c:v>
                </c:pt>
                <c:pt idx="619">
                  <c:v>39618</c:v>
                </c:pt>
                <c:pt idx="620">
                  <c:v>39619</c:v>
                </c:pt>
                <c:pt idx="621">
                  <c:v>39622</c:v>
                </c:pt>
                <c:pt idx="622">
                  <c:v>39623</c:v>
                </c:pt>
                <c:pt idx="623">
                  <c:v>39624</c:v>
                </c:pt>
                <c:pt idx="624">
                  <c:v>39625</c:v>
                </c:pt>
                <c:pt idx="625">
                  <c:v>39626</c:v>
                </c:pt>
                <c:pt idx="626">
                  <c:v>39629</c:v>
                </c:pt>
                <c:pt idx="627">
                  <c:v>39630</c:v>
                </c:pt>
                <c:pt idx="628">
                  <c:v>39631</c:v>
                </c:pt>
                <c:pt idx="629">
                  <c:v>39632</c:v>
                </c:pt>
                <c:pt idx="630">
                  <c:v>39636</c:v>
                </c:pt>
                <c:pt idx="631">
                  <c:v>39637</c:v>
                </c:pt>
                <c:pt idx="632">
                  <c:v>39638</c:v>
                </c:pt>
                <c:pt idx="633">
                  <c:v>39639</c:v>
                </c:pt>
                <c:pt idx="634">
                  <c:v>39640</c:v>
                </c:pt>
                <c:pt idx="635">
                  <c:v>39643</c:v>
                </c:pt>
                <c:pt idx="636">
                  <c:v>39644</c:v>
                </c:pt>
                <c:pt idx="637">
                  <c:v>39645</c:v>
                </c:pt>
                <c:pt idx="638">
                  <c:v>39646</c:v>
                </c:pt>
                <c:pt idx="639">
                  <c:v>39647</c:v>
                </c:pt>
                <c:pt idx="640">
                  <c:v>39650</c:v>
                </c:pt>
                <c:pt idx="641">
                  <c:v>39651</c:v>
                </c:pt>
                <c:pt idx="642">
                  <c:v>39652</c:v>
                </c:pt>
                <c:pt idx="643">
                  <c:v>39653</c:v>
                </c:pt>
                <c:pt idx="644">
                  <c:v>39654</c:v>
                </c:pt>
                <c:pt idx="645">
                  <c:v>39657</c:v>
                </c:pt>
                <c:pt idx="646">
                  <c:v>39658</c:v>
                </c:pt>
                <c:pt idx="647">
                  <c:v>39659</c:v>
                </c:pt>
                <c:pt idx="648">
                  <c:v>39660</c:v>
                </c:pt>
                <c:pt idx="649">
                  <c:v>39661</c:v>
                </c:pt>
                <c:pt idx="650">
                  <c:v>39664</c:v>
                </c:pt>
                <c:pt idx="651">
                  <c:v>39665</c:v>
                </c:pt>
                <c:pt idx="652">
                  <c:v>39666</c:v>
                </c:pt>
                <c:pt idx="653">
                  <c:v>39667</c:v>
                </c:pt>
                <c:pt idx="654">
                  <c:v>39668</c:v>
                </c:pt>
                <c:pt idx="655">
                  <c:v>39671</c:v>
                </c:pt>
                <c:pt idx="656">
                  <c:v>39672</c:v>
                </c:pt>
                <c:pt idx="657">
                  <c:v>39673</c:v>
                </c:pt>
                <c:pt idx="658">
                  <c:v>39674</c:v>
                </c:pt>
                <c:pt idx="659">
                  <c:v>39675</c:v>
                </c:pt>
                <c:pt idx="660">
                  <c:v>39678</c:v>
                </c:pt>
                <c:pt idx="661">
                  <c:v>39679</c:v>
                </c:pt>
                <c:pt idx="662">
                  <c:v>39680</c:v>
                </c:pt>
                <c:pt idx="663">
                  <c:v>39681</c:v>
                </c:pt>
                <c:pt idx="664">
                  <c:v>39682</c:v>
                </c:pt>
                <c:pt idx="665">
                  <c:v>39685</c:v>
                </c:pt>
                <c:pt idx="666">
                  <c:v>39686</c:v>
                </c:pt>
                <c:pt idx="667">
                  <c:v>39687</c:v>
                </c:pt>
                <c:pt idx="668">
                  <c:v>39688</c:v>
                </c:pt>
                <c:pt idx="669">
                  <c:v>39689</c:v>
                </c:pt>
                <c:pt idx="670">
                  <c:v>39693</c:v>
                </c:pt>
                <c:pt idx="671">
                  <c:v>39694</c:v>
                </c:pt>
                <c:pt idx="672">
                  <c:v>39695</c:v>
                </c:pt>
                <c:pt idx="673">
                  <c:v>39696</c:v>
                </c:pt>
                <c:pt idx="674">
                  <c:v>39699</c:v>
                </c:pt>
                <c:pt idx="675">
                  <c:v>39700</c:v>
                </c:pt>
                <c:pt idx="676">
                  <c:v>39701</c:v>
                </c:pt>
                <c:pt idx="677">
                  <c:v>39702</c:v>
                </c:pt>
                <c:pt idx="678">
                  <c:v>39703</c:v>
                </c:pt>
                <c:pt idx="679">
                  <c:v>39706</c:v>
                </c:pt>
                <c:pt idx="680">
                  <c:v>39707</c:v>
                </c:pt>
                <c:pt idx="681">
                  <c:v>39708</c:v>
                </c:pt>
                <c:pt idx="682">
                  <c:v>39709</c:v>
                </c:pt>
                <c:pt idx="683">
                  <c:v>39710</c:v>
                </c:pt>
                <c:pt idx="684">
                  <c:v>39713</c:v>
                </c:pt>
                <c:pt idx="685">
                  <c:v>39714</c:v>
                </c:pt>
                <c:pt idx="686">
                  <c:v>39715</c:v>
                </c:pt>
                <c:pt idx="687">
                  <c:v>39716</c:v>
                </c:pt>
                <c:pt idx="688">
                  <c:v>39717</c:v>
                </c:pt>
                <c:pt idx="689">
                  <c:v>39720</c:v>
                </c:pt>
                <c:pt idx="690">
                  <c:v>39721</c:v>
                </c:pt>
                <c:pt idx="691">
                  <c:v>39722</c:v>
                </c:pt>
                <c:pt idx="692">
                  <c:v>39723</c:v>
                </c:pt>
                <c:pt idx="693">
                  <c:v>39724</c:v>
                </c:pt>
                <c:pt idx="694">
                  <c:v>39727</c:v>
                </c:pt>
                <c:pt idx="695">
                  <c:v>39728</c:v>
                </c:pt>
                <c:pt idx="696">
                  <c:v>39729</c:v>
                </c:pt>
                <c:pt idx="697">
                  <c:v>39730</c:v>
                </c:pt>
                <c:pt idx="698">
                  <c:v>39731</c:v>
                </c:pt>
                <c:pt idx="699">
                  <c:v>39734</c:v>
                </c:pt>
                <c:pt idx="700">
                  <c:v>39735</c:v>
                </c:pt>
                <c:pt idx="701">
                  <c:v>39736</c:v>
                </c:pt>
                <c:pt idx="702">
                  <c:v>39737</c:v>
                </c:pt>
                <c:pt idx="703">
                  <c:v>39738</c:v>
                </c:pt>
                <c:pt idx="704">
                  <c:v>39741</c:v>
                </c:pt>
                <c:pt idx="705">
                  <c:v>39742</c:v>
                </c:pt>
                <c:pt idx="706">
                  <c:v>39743</c:v>
                </c:pt>
                <c:pt idx="707">
                  <c:v>39744</c:v>
                </c:pt>
                <c:pt idx="708">
                  <c:v>39745</c:v>
                </c:pt>
                <c:pt idx="709">
                  <c:v>39748</c:v>
                </c:pt>
                <c:pt idx="710">
                  <c:v>39749</c:v>
                </c:pt>
                <c:pt idx="711">
                  <c:v>39750</c:v>
                </c:pt>
                <c:pt idx="712">
                  <c:v>39751</c:v>
                </c:pt>
                <c:pt idx="713">
                  <c:v>39752</c:v>
                </c:pt>
                <c:pt idx="714">
                  <c:v>39755</c:v>
                </c:pt>
                <c:pt idx="715">
                  <c:v>39756</c:v>
                </c:pt>
                <c:pt idx="716">
                  <c:v>39757</c:v>
                </c:pt>
                <c:pt idx="717">
                  <c:v>39758</c:v>
                </c:pt>
                <c:pt idx="718">
                  <c:v>39759</c:v>
                </c:pt>
                <c:pt idx="719">
                  <c:v>39762</c:v>
                </c:pt>
                <c:pt idx="720">
                  <c:v>39763</c:v>
                </c:pt>
                <c:pt idx="721">
                  <c:v>39764</c:v>
                </c:pt>
                <c:pt idx="722">
                  <c:v>39765</c:v>
                </c:pt>
                <c:pt idx="723">
                  <c:v>39766</c:v>
                </c:pt>
                <c:pt idx="724">
                  <c:v>39769</c:v>
                </c:pt>
                <c:pt idx="725">
                  <c:v>39770</c:v>
                </c:pt>
                <c:pt idx="726">
                  <c:v>39771</c:v>
                </c:pt>
                <c:pt idx="727">
                  <c:v>39772</c:v>
                </c:pt>
                <c:pt idx="728">
                  <c:v>39773</c:v>
                </c:pt>
                <c:pt idx="729">
                  <c:v>39776</c:v>
                </c:pt>
                <c:pt idx="730">
                  <c:v>39777</c:v>
                </c:pt>
                <c:pt idx="731">
                  <c:v>39778</c:v>
                </c:pt>
                <c:pt idx="732">
                  <c:v>39780</c:v>
                </c:pt>
                <c:pt idx="733">
                  <c:v>39783</c:v>
                </c:pt>
                <c:pt idx="734">
                  <c:v>39784</c:v>
                </c:pt>
                <c:pt idx="735">
                  <c:v>39785</c:v>
                </c:pt>
                <c:pt idx="736">
                  <c:v>39786</c:v>
                </c:pt>
                <c:pt idx="737">
                  <c:v>39787</c:v>
                </c:pt>
                <c:pt idx="738">
                  <c:v>39790</c:v>
                </c:pt>
                <c:pt idx="739">
                  <c:v>39791</c:v>
                </c:pt>
                <c:pt idx="740">
                  <c:v>39792</c:v>
                </c:pt>
                <c:pt idx="741">
                  <c:v>39793</c:v>
                </c:pt>
                <c:pt idx="742">
                  <c:v>39794</c:v>
                </c:pt>
                <c:pt idx="743">
                  <c:v>39797</c:v>
                </c:pt>
                <c:pt idx="744">
                  <c:v>39798</c:v>
                </c:pt>
                <c:pt idx="745">
                  <c:v>39799</c:v>
                </c:pt>
                <c:pt idx="746">
                  <c:v>39800</c:v>
                </c:pt>
                <c:pt idx="747">
                  <c:v>39801</c:v>
                </c:pt>
                <c:pt idx="748">
                  <c:v>39804</c:v>
                </c:pt>
                <c:pt idx="749">
                  <c:v>39805</c:v>
                </c:pt>
                <c:pt idx="750">
                  <c:v>39806</c:v>
                </c:pt>
                <c:pt idx="751">
                  <c:v>39808</c:v>
                </c:pt>
                <c:pt idx="752">
                  <c:v>39811</c:v>
                </c:pt>
                <c:pt idx="753">
                  <c:v>39812</c:v>
                </c:pt>
                <c:pt idx="754">
                  <c:v>39813</c:v>
                </c:pt>
                <c:pt idx="755">
                  <c:v>39815</c:v>
                </c:pt>
                <c:pt idx="756">
                  <c:v>39818</c:v>
                </c:pt>
                <c:pt idx="757">
                  <c:v>39819</c:v>
                </c:pt>
                <c:pt idx="758">
                  <c:v>39820</c:v>
                </c:pt>
                <c:pt idx="759">
                  <c:v>39821</c:v>
                </c:pt>
                <c:pt idx="760">
                  <c:v>39822</c:v>
                </c:pt>
                <c:pt idx="761">
                  <c:v>39825</c:v>
                </c:pt>
                <c:pt idx="762">
                  <c:v>39826</c:v>
                </c:pt>
                <c:pt idx="763">
                  <c:v>39827</c:v>
                </c:pt>
                <c:pt idx="764">
                  <c:v>39828</c:v>
                </c:pt>
                <c:pt idx="765">
                  <c:v>39829</c:v>
                </c:pt>
                <c:pt idx="766">
                  <c:v>39833</c:v>
                </c:pt>
                <c:pt idx="767">
                  <c:v>39834</c:v>
                </c:pt>
                <c:pt idx="768">
                  <c:v>39835</c:v>
                </c:pt>
                <c:pt idx="769">
                  <c:v>39836</c:v>
                </c:pt>
                <c:pt idx="770">
                  <c:v>39839</c:v>
                </c:pt>
                <c:pt idx="771">
                  <c:v>39840</c:v>
                </c:pt>
                <c:pt idx="772">
                  <c:v>39841</c:v>
                </c:pt>
                <c:pt idx="773">
                  <c:v>39842</c:v>
                </c:pt>
                <c:pt idx="774">
                  <c:v>39843</c:v>
                </c:pt>
                <c:pt idx="775">
                  <c:v>39846</c:v>
                </c:pt>
                <c:pt idx="776">
                  <c:v>39847</c:v>
                </c:pt>
                <c:pt idx="777">
                  <c:v>39848</c:v>
                </c:pt>
                <c:pt idx="778">
                  <c:v>39849</c:v>
                </c:pt>
                <c:pt idx="779">
                  <c:v>39850</c:v>
                </c:pt>
                <c:pt idx="780">
                  <c:v>39853</c:v>
                </c:pt>
                <c:pt idx="781">
                  <c:v>39854</c:v>
                </c:pt>
                <c:pt idx="782">
                  <c:v>39855</c:v>
                </c:pt>
                <c:pt idx="783">
                  <c:v>39856</c:v>
                </c:pt>
                <c:pt idx="784">
                  <c:v>39857</c:v>
                </c:pt>
                <c:pt idx="785">
                  <c:v>39861</c:v>
                </c:pt>
                <c:pt idx="786">
                  <c:v>39862</c:v>
                </c:pt>
                <c:pt idx="787">
                  <c:v>39863</c:v>
                </c:pt>
                <c:pt idx="788">
                  <c:v>39864</c:v>
                </c:pt>
                <c:pt idx="789">
                  <c:v>39867</c:v>
                </c:pt>
                <c:pt idx="790">
                  <c:v>39868</c:v>
                </c:pt>
                <c:pt idx="791">
                  <c:v>39869</c:v>
                </c:pt>
                <c:pt idx="792">
                  <c:v>39870</c:v>
                </c:pt>
                <c:pt idx="793">
                  <c:v>39871</c:v>
                </c:pt>
                <c:pt idx="794">
                  <c:v>39874</c:v>
                </c:pt>
                <c:pt idx="795">
                  <c:v>39875</c:v>
                </c:pt>
                <c:pt idx="796">
                  <c:v>39876</c:v>
                </c:pt>
                <c:pt idx="797">
                  <c:v>39877</c:v>
                </c:pt>
                <c:pt idx="798">
                  <c:v>39878</c:v>
                </c:pt>
                <c:pt idx="799">
                  <c:v>39881</c:v>
                </c:pt>
                <c:pt idx="800">
                  <c:v>39882</c:v>
                </c:pt>
                <c:pt idx="801">
                  <c:v>39883</c:v>
                </c:pt>
                <c:pt idx="802">
                  <c:v>39884</c:v>
                </c:pt>
                <c:pt idx="803">
                  <c:v>39885</c:v>
                </c:pt>
                <c:pt idx="804">
                  <c:v>39888</c:v>
                </c:pt>
                <c:pt idx="805">
                  <c:v>39889</c:v>
                </c:pt>
                <c:pt idx="806">
                  <c:v>39890</c:v>
                </c:pt>
                <c:pt idx="807">
                  <c:v>39891</c:v>
                </c:pt>
                <c:pt idx="808">
                  <c:v>39892</c:v>
                </c:pt>
                <c:pt idx="809">
                  <c:v>39895</c:v>
                </c:pt>
                <c:pt idx="810">
                  <c:v>39896</c:v>
                </c:pt>
                <c:pt idx="811">
                  <c:v>39897</c:v>
                </c:pt>
                <c:pt idx="812">
                  <c:v>39898</c:v>
                </c:pt>
                <c:pt idx="813">
                  <c:v>39899</c:v>
                </c:pt>
                <c:pt idx="814">
                  <c:v>39902</c:v>
                </c:pt>
                <c:pt idx="815">
                  <c:v>39903</c:v>
                </c:pt>
                <c:pt idx="816">
                  <c:v>39904</c:v>
                </c:pt>
                <c:pt idx="817">
                  <c:v>39905</c:v>
                </c:pt>
                <c:pt idx="818">
                  <c:v>39906</c:v>
                </c:pt>
                <c:pt idx="819">
                  <c:v>39909</c:v>
                </c:pt>
                <c:pt idx="820">
                  <c:v>39910</c:v>
                </c:pt>
                <c:pt idx="821">
                  <c:v>39911</c:v>
                </c:pt>
                <c:pt idx="822">
                  <c:v>39912</c:v>
                </c:pt>
                <c:pt idx="823">
                  <c:v>39916</c:v>
                </c:pt>
                <c:pt idx="824">
                  <c:v>39917</c:v>
                </c:pt>
                <c:pt idx="825">
                  <c:v>39918</c:v>
                </c:pt>
                <c:pt idx="826">
                  <c:v>39919</c:v>
                </c:pt>
                <c:pt idx="827">
                  <c:v>39920</c:v>
                </c:pt>
                <c:pt idx="828">
                  <c:v>39923</c:v>
                </c:pt>
                <c:pt idx="829">
                  <c:v>39924</c:v>
                </c:pt>
                <c:pt idx="830">
                  <c:v>39925</c:v>
                </c:pt>
                <c:pt idx="831">
                  <c:v>39926</c:v>
                </c:pt>
                <c:pt idx="832">
                  <c:v>39927</c:v>
                </c:pt>
                <c:pt idx="833">
                  <c:v>39930</c:v>
                </c:pt>
                <c:pt idx="834">
                  <c:v>39931</c:v>
                </c:pt>
                <c:pt idx="835">
                  <c:v>39932</c:v>
                </c:pt>
                <c:pt idx="836">
                  <c:v>39933</c:v>
                </c:pt>
                <c:pt idx="837">
                  <c:v>39934</c:v>
                </c:pt>
                <c:pt idx="838">
                  <c:v>39937</c:v>
                </c:pt>
                <c:pt idx="839">
                  <c:v>39938</c:v>
                </c:pt>
                <c:pt idx="840">
                  <c:v>39939</c:v>
                </c:pt>
                <c:pt idx="841">
                  <c:v>39940</c:v>
                </c:pt>
                <c:pt idx="842">
                  <c:v>39941</c:v>
                </c:pt>
                <c:pt idx="843">
                  <c:v>39944</c:v>
                </c:pt>
                <c:pt idx="844">
                  <c:v>39945</c:v>
                </c:pt>
                <c:pt idx="845">
                  <c:v>39946</c:v>
                </c:pt>
                <c:pt idx="846">
                  <c:v>39947</c:v>
                </c:pt>
                <c:pt idx="847">
                  <c:v>39948</c:v>
                </c:pt>
                <c:pt idx="848">
                  <c:v>39951</c:v>
                </c:pt>
                <c:pt idx="849">
                  <c:v>39952</c:v>
                </c:pt>
                <c:pt idx="850">
                  <c:v>39953</c:v>
                </c:pt>
                <c:pt idx="851">
                  <c:v>39954</c:v>
                </c:pt>
                <c:pt idx="852">
                  <c:v>39955</c:v>
                </c:pt>
                <c:pt idx="853">
                  <c:v>39959</c:v>
                </c:pt>
                <c:pt idx="854">
                  <c:v>39960</c:v>
                </c:pt>
                <c:pt idx="855">
                  <c:v>39961</c:v>
                </c:pt>
                <c:pt idx="856">
                  <c:v>39962</c:v>
                </c:pt>
                <c:pt idx="857">
                  <c:v>39965</c:v>
                </c:pt>
                <c:pt idx="858">
                  <c:v>39966</c:v>
                </c:pt>
                <c:pt idx="859">
                  <c:v>39967</c:v>
                </c:pt>
                <c:pt idx="860">
                  <c:v>39968</c:v>
                </c:pt>
                <c:pt idx="861">
                  <c:v>39969</c:v>
                </c:pt>
                <c:pt idx="862">
                  <c:v>39972</c:v>
                </c:pt>
                <c:pt idx="863">
                  <c:v>39973</c:v>
                </c:pt>
                <c:pt idx="864">
                  <c:v>39974</c:v>
                </c:pt>
                <c:pt idx="865">
                  <c:v>39975</c:v>
                </c:pt>
                <c:pt idx="866">
                  <c:v>39976</c:v>
                </c:pt>
                <c:pt idx="867">
                  <c:v>39979</c:v>
                </c:pt>
                <c:pt idx="868">
                  <c:v>39980</c:v>
                </c:pt>
                <c:pt idx="869">
                  <c:v>39981</c:v>
                </c:pt>
                <c:pt idx="870">
                  <c:v>39982</c:v>
                </c:pt>
                <c:pt idx="871">
                  <c:v>39983</c:v>
                </c:pt>
                <c:pt idx="872">
                  <c:v>39986</c:v>
                </c:pt>
                <c:pt idx="873">
                  <c:v>39987</c:v>
                </c:pt>
                <c:pt idx="874">
                  <c:v>39988</c:v>
                </c:pt>
                <c:pt idx="875">
                  <c:v>39989</c:v>
                </c:pt>
                <c:pt idx="876">
                  <c:v>39990</c:v>
                </c:pt>
                <c:pt idx="877">
                  <c:v>39993</c:v>
                </c:pt>
                <c:pt idx="878">
                  <c:v>39994</c:v>
                </c:pt>
                <c:pt idx="879">
                  <c:v>39995</c:v>
                </c:pt>
                <c:pt idx="880">
                  <c:v>39996</c:v>
                </c:pt>
                <c:pt idx="881">
                  <c:v>40000</c:v>
                </c:pt>
                <c:pt idx="882">
                  <c:v>40001</c:v>
                </c:pt>
                <c:pt idx="883">
                  <c:v>40002</c:v>
                </c:pt>
                <c:pt idx="884">
                  <c:v>40003</c:v>
                </c:pt>
                <c:pt idx="885">
                  <c:v>40004</c:v>
                </c:pt>
                <c:pt idx="886">
                  <c:v>40007</c:v>
                </c:pt>
                <c:pt idx="887">
                  <c:v>40008</c:v>
                </c:pt>
                <c:pt idx="888">
                  <c:v>40009</c:v>
                </c:pt>
                <c:pt idx="889">
                  <c:v>40010</c:v>
                </c:pt>
                <c:pt idx="890">
                  <c:v>40011</c:v>
                </c:pt>
                <c:pt idx="891">
                  <c:v>40014</c:v>
                </c:pt>
                <c:pt idx="892">
                  <c:v>40015</c:v>
                </c:pt>
                <c:pt idx="893">
                  <c:v>40016</c:v>
                </c:pt>
                <c:pt idx="894">
                  <c:v>40017</c:v>
                </c:pt>
                <c:pt idx="895">
                  <c:v>40018</c:v>
                </c:pt>
                <c:pt idx="896">
                  <c:v>40021</c:v>
                </c:pt>
                <c:pt idx="897">
                  <c:v>40022</c:v>
                </c:pt>
                <c:pt idx="898">
                  <c:v>40023</c:v>
                </c:pt>
                <c:pt idx="899">
                  <c:v>40024</c:v>
                </c:pt>
                <c:pt idx="900">
                  <c:v>40025</c:v>
                </c:pt>
                <c:pt idx="901">
                  <c:v>40028</c:v>
                </c:pt>
                <c:pt idx="902">
                  <c:v>40029</c:v>
                </c:pt>
                <c:pt idx="903">
                  <c:v>40030</c:v>
                </c:pt>
                <c:pt idx="904">
                  <c:v>40031</c:v>
                </c:pt>
                <c:pt idx="905">
                  <c:v>40032</c:v>
                </c:pt>
                <c:pt idx="906">
                  <c:v>40035</c:v>
                </c:pt>
                <c:pt idx="907">
                  <c:v>40036</c:v>
                </c:pt>
                <c:pt idx="908">
                  <c:v>40037</c:v>
                </c:pt>
                <c:pt idx="909">
                  <c:v>40038</c:v>
                </c:pt>
                <c:pt idx="910">
                  <c:v>40039</c:v>
                </c:pt>
                <c:pt idx="911">
                  <c:v>40042</c:v>
                </c:pt>
                <c:pt idx="912">
                  <c:v>40043</c:v>
                </c:pt>
                <c:pt idx="913">
                  <c:v>40044</c:v>
                </c:pt>
                <c:pt idx="914">
                  <c:v>40045</c:v>
                </c:pt>
                <c:pt idx="915">
                  <c:v>40046</c:v>
                </c:pt>
                <c:pt idx="916">
                  <c:v>40049</c:v>
                </c:pt>
                <c:pt idx="917">
                  <c:v>40050</c:v>
                </c:pt>
                <c:pt idx="918">
                  <c:v>40051</c:v>
                </c:pt>
                <c:pt idx="919">
                  <c:v>40052</c:v>
                </c:pt>
                <c:pt idx="920">
                  <c:v>40053</c:v>
                </c:pt>
                <c:pt idx="921">
                  <c:v>40056</c:v>
                </c:pt>
                <c:pt idx="922">
                  <c:v>40057</c:v>
                </c:pt>
                <c:pt idx="923">
                  <c:v>40058</c:v>
                </c:pt>
                <c:pt idx="924">
                  <c:v>40059</c:v>
                </c:pt>
                <c:pt idx="925">
                  <c:v>40060</c:v>
                </c:pt>
                <c:pt idx="926">
                  <c:v>40064</c:v>
                </c:pt>
                <c:pt idx="927">
                  <c:v>40065</c:v>
                </c:pt>
                <c:pt idx="928">
                  <c:v>40066</c:v>
                </c:pt>
                <c:pt idx="929">
                  <c:v>40067</c:v>
                </c:pt>
                <c:pt idx="930">
                  <c:v>40070</c:v>
                </c:pt>
                <c:pt idx="931">
                  <c:v>40071</c:v>
                </c:pt>
                <c:pt idx="932">
                  <c:v>40072</c:v>
                </c:pt>
                <c:pt idx="933">
                  <c:v>40073</c:v>
                </c:pt>
                <c:pt idx="934">
                  <c:v>40074</c:v>
                </c:pt>
                <c:pt idx="935">
                  <c:v>40077</c:v>
                </c:pt>
                <c:pt idx="936">
                  <c:v>40078</c:v>
                </c:pt>
                <c:pt idx="937">
                  <c:v>40079</c:v>
                </c:pt>
                <c:pt idx="938">
                  <c:v>40080</c:v>
                </c:pt>
                <c:pt idx="939">
                  <c:v>40081</c:v>
                </c:pt>
                <c:pt idx="940">
                  <c:v>40084</c:v>
                </c:pt>
                <c:pt idx="941">
                  <c:v>40085</c:v>
                </c:pt>
                <c:pt idx="942">
                  <c:v>40086</c:v>
                </c:pt>
                <c:pt idx="943">
                  <c:v>40087</c:v>
                </c:pt>
                <c:pt idx="944">
                  <c:v>40088</c:v>
                </c:pt>
                <c:pt idx="945">
                  <c:v>40091</c:v>
                </c:pt>
                <c:pt idx="946">
                  <c:v>40092</c:v>
                </c:pt>
                <c:pt idx="947">
                  <c:v>40093</c:v>
                </c:pt>
                <c:pt idx="948">
                  <c:v>40094</c:v>
                </c:pt>
                <c:pt idx="949">
                  <c:v>40095</c:v>
                </c:pt>
                <c:pt idx="950">
                  <c:v>40098</c:v>
                </c:pt>
                <c:pt idx="951">
                  <c:v>40099</c:v>
                </c:pt>
                <c:pt idx="952">
                  <c:v>40100</c:v>
                </c:pt>
                <c:pt idx="953">
                  <c:v>40101</c:v>
                </c:pt>
                <c:pt idx="954">
                  <c:v>40102</c:v>
                </c:pt>
                <c:pt idx="955">
                  <c:v>40105</c:v>
                </c:pt>
                <c:pt idx="956">
                  <c:v>40106</c:v>
                </c:pt>
                <c:pt idx="957">
                  <c:v>40107</c:v>
                </c:pt>
                <c:pt idx="958">
                  <c:v>40108</c:v>
                </c:pt>
                <c:pt idx="959">
                  <c:v>40109</c:v>
                </c:pt>
                <c:pt idx="960">
                  <c:v>40112</c:v>
                </c:pt>
                <c:pt idx="961">
                  <c:v>40113</c:v>
                </c:pt>
                <c:pt idx="962">
                  <c:v>40114</c:v>
                </c:pt>
                <c:pt idx="963">
                  <c:v>40115</c:v>
                </c:pt>
                <c:pt idx="964">
                  <c:v>40116</c:v>
                </c:pt>
                <c:pt idx="965">
                  <c:v>40119</c:v>
                </c:pt>
                <c:pt idx="966">
                  <c:v>40120</c:v>
                </c:pt>
                <c:pt idx="967">
                  <c:v>40121</c:v>
                </c:pt>
                <c:pt idx="968">
                  <c:v>40122</c:v>
                </c:pt>
                <c:pt idx="969">
                  <c:v>40123</c:v>
                </c:pt>
                <c:pt idx="970">
                  <c:v>40126</c:v>
                </c:pt>
                <c:pt idx="971">
                  <c:v>40127</c:v>
                </c:pt>
                <c:pt idx="972">
                  <c:v>40128</c:v>
                </c:pt>
                <c:pt idx="973">
                  <c:v>40129</c:v>
                </c:pt>
                <c:pt idx="974">
                  <c:v>40130</c:v>
                </c:pt>
                <c:pt idx="975">
                  <c:v>40133</c:v>
                </c:pt>
                <c:pt idx="976">
                  <c:v>40134</c:v>
                </c:pt>
                <c:pt idx="977">
                  <c:v>40135</c:v>
                </c:pt>
                <c:pt idx="978">
                  <c:v>40136</c:v>
                </c:pt>
                <c:pt idx="979">
                  <c:v>40137</c:v>
                </c:pt>
                <c:pt idx="980">
                  <c:v>40140</c:v>
                </c:pt>
                <c:pt idx="981">
                  <c:v>40141</c:v>
                </c:pt>
                <c:pt idx="982">
                  <c:v>40142</c:v>
                </c:pt>
                <c:pt idx="983">
                  <c:v>40144</c:v>
                </c:pt>
                <c:pt idx="984">
                  <c:v>40147</c:v>
                </c:pt>
                <c:pt idx="985">
                  <c:v>40148</c:v>
                </c:pt>
                <c:pt idx="986">
                  <c:v>40149</c:v>
                </c:pt>
                <c:pt idx="987">
                  <c:v>40150</c:v>
                </c:pt>
                <c:pt idx="988">
                  <c:v>40151</c:v>
                </c:pt>
                <c:pt idx="989">
                  <c:v>40154</c:v>
                </c:pt>
                <c:pt idx="990">
                  <c:v>40155</c:v>
                </c:pt>
                <c:pt idx="991">
                  <c:v>40156</c:v>
                </c:pt>
                <c:pt idx="992">
                  <c:v>40157</c:v>
                </c:pt>
                <c:pt idx="993">
                  <c:v>40158</c:v>
                </c:pt>
                <c:pt idx="994">
                  <c:v>40161</c:v>
                </c:pt>
                <c:pt idx="995">
                  <c:v>40162</c:v>
                </c:pt>
                <c:pt idx="996">
                  <c:v>40163</c:v>
                </c:pt>
                <c:pt idx="997">
                  <c:v>40164</c:v>
                </c:pt>
                <c:pt idx="998">
                  <c:v>40165</c:v>
                </c:pt>
                <c:pt idx="999">
                  <c:v>40168</c:v>
                </c:pt>
                <c:pt idx="1000">
                  <c:v>40169</c:v>
                </c:pt>
                <c:pt idx="1001">
                  <c:v>40170</c:v>
                </c:pt>
                <c:pt idx="1002">
                  <c:v>40171</c:v>
                </c:pt>
                <c:pt idx="1003">
                  <c:v>40175</c:v>
                </c:pt>
                <c:pt idx="1004">
                  <c:v>40176</c:v>
                </c:pt>
                <c:pt idx="1005">
                  <c:v>40177</c:v>
                </c:pt>
                <c:pt idx="1006">
                  <c:v>40178</c:v>
                </c:pt>
                <c:pt idx="1007">
                  <c:v>40182</c:v>
                </c:pt>
                <c:pt idx="1008">
                  <c:v>40183</c:v>
                </c:pt>
                <c:pt idx="1009">
                  <c:v>40184</c:v>
                </c:pt>
                <c:pt idx="1010">
                  <c:v>40185</c:v>
                </c:pt>
                <c:pt idx="1011">
                  <c:v>40186</c:v>
                </c:pt>
                <c:pt idx="1012">
                  <c:v>40189</c:v>
                </c:pt>
                <c:pt idx="1013">
                  <c:v>40190</c:v>
                </c:pt>
                <c:pt idx="1014">
                  <c:v>40191</c:v>
                </c:pt>
                <c:pt idx="1015">
                  <c:v>40192</c:v>
                </c:pt>
                <c:pt idx="1016">
                  <c:v>40193</c:v>
                </c:pt>
                <c:pt idx="1017">
                  <c:v>40197</c:v>
                </c:pt>
                <c:pt idx="1018">
                  <c:v>40198</c:v>
                </c:pt>
                <c:pt idx="1019">
                  <c:v>40199</c:v>
                </c:pt>
                <c:pt idx="1020">
                  <c:v>40200</c:v>
                </c:pt>
                <c:pt idx="1021">
                  <c:v>40203</c:v>
                </c:pt>
                <c:pt idx="1022">
                  <c:v>40204</c:v>
                </c:pt>
                <c:pt idx="1023">
                  <c:v>40205</c:v>
                </c:pt>
                <c:pt idx="1024">
                  <c:v>40206</c:v>
                </c:pt>
                <c:pt idx="1025">
                  <c:v>40207</c:v>
                </c:pt>
                <c:pt idx="1026">
                  <c:v>40210</c:v>
                </c:pt>
                <c:pt idx="1027">
                  <c:v>40211</c:v>
                </c:pt>
                <c:pt idx="1028">
                  <c:v>40212</c:v>
                </c:pt>
                <c:pt idx="1029">
                  <c:v>40213</c:v>
                </c:pt>
                <c:pt idx="1030">
                  <c:v>40214</c:v>
                </c:pt>
                <c:pt idx="1031">
                  <c:v>40217</c:v>
                </c:pt>
                <c:pt idx="1032">
                  <c:v>40218</c:v>
                </c:pt>
                <c:pt idx="1033">
                  <c:v>40219</c:v>
                </c:pt>
                <c:pt idx="1034">
                  <c:v>40220</c:v>
                </c:pt>
                <c:pt idx="1035">
                  <c:v>40221</c:v>
                </c:pt>
                <c:pt idx="1036">
                  <c:v>40225</c:v>
                </c:pt>
                <c:pt idx="1037">
                  <c:v>40226</c:v>
                </c:pt>
                <c:pt idx="1038">
                  <c:v>40227</c:v>
                </c:pt>
                <c:pt idx="1039">
                  <c:v>40228</c:v>
                </c:pt>
                <c:pt idx="1040">
                  <c:v>40231</c:v>
                </c:pt>
                <c:pt idx="1041">
                  <c:v>40232</c:v>
                </c:pt>
                <c:pt idx="1042">
                  <c:v>40233</c:v>
                </c:pt>
                <c:pt idx="1043">
                  <c:v>40234</c:v>
                </c:pt>
                <c:pt idx="1044">
                  <c:v>40235</c:v>
                </c:pt>
                <c:pt idx="1045">
                  <c:v>40238</c:v>
                </c:pt>
                <c:pt idx="1046">
                  <c:v>40239</c:v>
                </c:pt>
                <c:pt idx="1047">
                  <c:v>40240</c:v>
                </c:pt>
                <c:pt idx="1048">
                  <c:v>40241</c:v>
                </c:pt>
                <c:pt idx="1049">
                  <c:v>40242</c:v>
                </c:pt>
                <c:pt idx="1050">
                  <c:v>40245</c:v>
                </c:pt>
                <c:pt idx="1051">
                  <c:v>40246</c:v>
                </c:pt>
                <c:pt idx="1052">
                  <c:v>40247</c:v>
                </c:pt>
                <c:pt idx="1053">
                  <c:v>40248</c:v>
                </c:pt>
                <c:pt idx="1054">
                  <c:v>40249</c:v>
                </c:pt>
                <c:pt idx="1055">
                  <c:v>40252</c:v>
                </c:pt>
                <c:pt idx="1056">
                  <c:v>40253</c:v>
                </c:pt>
                <c:pt idx="1057">
                  <c:v>40254</c:v>
                </c:pt>
                <c:pt idx="1058">
                  <c:v>40255</c:v>
                </c:pt>
                <c:pt idx="1059">
                  <c:v>40256</c:v>
                </c:pt>
                <c:pt idx="1060">
                  <c:v>40259</c:v>
                </c:pt>
                <c:pt idx="1061">
                  <c:v>40260</c:v>
                </c:pt>
                <c:pt idx="1062">
                  <c:v>40261</c:v>
                </c:pt>
                <c:pt idx="1063">
                  <c:v>40262</c:v>
                </c:pt>
                <c:pt idx="1064">
                  <c:v>40263</c:v>
                </c:pt>
                <c:pt idx="1065">
                  <c:v>40266</c:v>
                </c:pt>
                <c:pt idx="1066">
                  <c:v>40267</c:v>
                </c:pt>
                <c:pt idx="1067">
                  <c:v>40268</c:v>
                </c:pt>
                <c:pt idx="1068">
                  <c:v>40269</c:v>
                </c:pt>
                <c:pt idx="1069">
                  <c:v>40273</c:v>
                </c:pt>
                <c:pt idx="1070">
                  <c:v>40274</c:v>
                </c:pt>
                <c:pt idx="1071">
                  <c:v>40275</c:v>
                </c:pt>
                <c:pt idx="1072">
                  <c:v>40276</c:v>
                </c:pt>
                <c:pt idx="1073">
                  <c:v>40277</c:v>
                </c:pt>
                <c:pt idx="1074">
                  <c:v>40280</c:v>
                </c:pt>
                <c:pt idx="1075">
                  <c:v>40281</c:v>
                </c:pt>
                <c:pt idx="1076">
                  <c:v>40282</c:v>
                </c:pt>
                <c:pt idx="1077">
                  <c:v>40283</c:v>
                </c:pt>
                <c:pt idx="1078">
                  <c:v>40284</c:v>
                </c:pt>
                <c:pt idx="1079">
                  <c:v>40287</c:v>
                </c:pt>
                <c:pt idx="1080">
                  <c:v>40288</c:v>
                </c:pt>
                <c:pt idx="1081">
                  <c:v>40289</c:v>
                </c:pt>
                <c:pt idx="1082">
                  <c:v>40290</c:v>
                </c:pt>
                <c:pt idx="1083">
                  <c:v>40291</c:v>
                </c:pt>
                <c:pt idx="1084">
                  <c:v>40294</c:v>
                </c:pt>
                <c:pt idx="1085">
                  <c:v>40295</c:v>
                </c:pt>
                <c:pt idx="1086">
                  <c:v>40296</c:v>
                </c:pt>
                <c:pt idx="1087">
                  <c:v>40297</c:v>
                </c:pt>
                <c:pt idx="1088">
                  <c:v>40298</c:v>
                </c:pt>
                <c:pt idx="1089">
                  <c:v>40301</c:v>
                </c:pt>
                <c:pt idx="1090">
                  <c:v>40302</c:v>
                </c:pt>
                <c:pt idx="1091">
                  <c:v>40303</c:v>
                </c:pt>
                <c:pt idx="1092">
                  <c:v>40304</c:v>
                </c:pt>
                <c:pt idx="1093">
                  <c:v>40305</c:v>
                </c:pt>
                <c:pt idx="1094">
                  <c:v>40308</c:v>
                </c:pt>
                <c:pt idx="1095">
                  <c:v>40309</c:v>
                </c:pt>
                <c:pt idx="1096">
                  <c:v>40310</c:v>
                </c:pt>
                <c:pt idx="1097">
                  <c:v>40311</c:v>
                </c:pt>
                <c:pt idx="1098">
                  <c:v>40312</c:v>
                </c:pt>
                <c:pt idx="1099">
                  <c:v>40315</c:v>
                </c:pt>
                <c:pt idx="1100">
                  <c:v>40316</c:v>
                </c:pt>
                <c:pt idx="1101">
                  <c:v>40317</c:v>
                </c:pt>
                <c:pt idx="1102">
                  <c:v>40318</c:v>
                </c:pt>
                <c:pt idx="1103">
                  <c:v>40319</c:v>
                </c:pt>
                <c:pt idx="1104">
                  <c:v>40322</c:v>
                </c:pt>
                <c:pt idx="1105">
                  <c:v>40323</c:v>
                </c:pt>
                <c:pt idx="1106">
                  <c:v>40324</c:v>
                </c:pt>
                <c:pt idx="1107">
                  <c:v>40325</c:v>
                </c:pt>
                <c:pt idx="1108">
                  <c:v>40326</c:v>
                </c:pt>
                <c:pt idx="1109">
                  <c:v>40330</c:v>
                </c:pt>
                <c:pt idx="1110">
                  <c:v>40331</c:v>
                </c:pt>
                <c:pt idx="1111">
                  <c:v>40332</c:v>
                </c:pt>
                <c:pt idx="1112">
                  <c:v>40333</c:v>
                </c:pt>
                <c:pt idx="1113">
                  <c:v>40336</c:v>
                </c:pt>
                <c:pt idx="1114">
                  <c:v>40337</c:v>
                </c:pt>
                <c:pt idx="1115">
                  <c:v>40338</c:v>
                </c:pt>
                <c:pt idx="1116">
                  <c:v>40339</c:v>
                </c:pt>
                <c:pt idx="1117">
                  <c:v>40340</c:v>
                </c:pt>
                <c:pt idx="1118">
                  <c:v>40343</c:v>
                </c:pt>
                <c:pt idx="1119">
                  <c:v>40344</c:v>
                </c:pt>
                <c:pt idx="1120">
                  <c:v>40345</c:v>
                </c:pt>
                <c:pt idx="1121">
                  <c:v>40346</c:v>
                </c:pt>
                <c:pt idx="1122">
                  <c:v>40347</c:v>
                </c:pt>
                <c:pt idx="1123">
                  <c:v>40350</c:v>
                </c:pt>
                <c:pt idx="1124">
                  <c:v>40351</c:v>
                </c:pt>
                <c:pt idx="1125">
                  <c:v>40352</c:v>
                </c:pt>
                <c:pt idx="1126">
                  <c:v>40353</c:v>
                </c:pt>
                <c:pt idx="1127">
                  <c:v>40354</c:v>
                </c:pt>
                <c:pt idx="1128">
                  <c:v>40357</c:v>
                </c:pt>
                <c:pt idx="1129">
                  <c:v>40358</c:v>
                </c:pt>
                <c:pt idx="1130">
                  <c:v>40359</c:v>
                </c:pt>
                <c:pt idx="1131">
                  <c:v>40360</c:v>
                </c:pt>
                <c:pt idx="1132">
                  <c:v>40361</c:v>
                </c:pt>
                <c:pt idx="1133">
                  <c:v>40365</c:v>
                </c:pt>
                <c:pt idx="1134">
                  <c:v>40366</c:v>
                </c:pt>
                <c:pt idx="1135">
                  <c:v>40367</c:v>
                </c:pt>
                <c:pt idx="1136">
                  <c:v>40368</c:v>
                </c:pt>
                <c:pt idx="1137">
                  <c:v>40371</c:v>
                </c:pt>
                <c:pt idx="1138">
                  <c:v>40372</c:v>
                </c:pt>
                <c:pt idx="1139">
                  <c:v>40373</c:v>
                </c:pt>
                <c:pt idx="1140">
                  <c:v>40374</c:v>
                </c:pt>
                <c:pt idx="1141">
                  <c:v>40375</c:v>
                </c:pt>
                <c:pt idx="1142">
                  <c:v>40378</c:v>
                </c:pt>
                <c:pt idx="1143">
                  <c:v>40379</c:v>
                </c:pt>
                <c:pt idx="1144">
                  <c:v>40380</c:v>
                </c:pt>
                <c:pt idx="1145">
                  <c:v>40381</c:v>
                </c:pt>
                <c:pt idx="1146">
                  <c:v>40382</c:v>
                </c:pt>
                <c:pt idx="1147">
                  <c:v>40385</c:v>
                </c:pt>
                <c:pt idx="1148">
                  <c:v>40386</c:v>
                </c:pt>
                <c:pt idx="1149">
                  <c:v>40387</c:v>
                </c:pt>
                <c:pt idx="1150">
                  <c:v>40388</c:v>
                </c:pt>
                <c:pt idx="1151">
                  <c:v>40389</c:v>
                </c:pt>
                <c:pt idx="1152">
                  <c:v>40392</c:v>
                </c:pt>
                <c:pt idx="1153">
                  <c:v>40393</c:v>
                </c:pt>
                <c:pt idx="1154">
                  <c:v>40394</c:v>
                </c:pt>
                <c:pt idx="1155">
                  <c:v>40395</c:v>
                </c:pt>
                <c:pt idx="1156">
                  <c:v>40396</c:v>
                </c:pt>
                <c:pt idx="1157">
                  <c:v>40399</c:v>
                </c:pt>
                <c:pt idx="1158">
                  <c:v>40400</c:v>
                </c:pt>
                <c:pt idx="1159">
                  <c:v>40401</c:v>
                </c:pt>
                <c:pt idx="1160">
                  <c:v>40402</c:v>
                </c:pt>
                <c:pt idx="1161">
                  <c:v>40403</c:v>
                </c:pt>
                <c:pt idx="1162">
                  <c:v>40406</c:v>
                </c:pt>
                <c:pt idx="1163">
                  <c:v>40407</c:v>
                </c:pt>
                <c:pt idx="1164">
                  <c:v>40408</c:v>
                </c:pt>
                <c:pt idx="1165">
                  <c:v>40409</c:v>
                </c:pt>
                <c:pt idx="1166">
                  <c:v>40410</c:v>
                </c:pt>
                <c:pt idx="1167">
                  <c:v>40413</c:v>
                </c:pt>
                <c:pt idx="1168">
                  <c:v>40414</c:v>
                </c:pt>
                <c:pt idx="1169">
                  <c:v>40415</c:v>
                </c:pt>
                <c:pt idx="1170">
                  <c:v>40416</c:v>
                </c:pt>
                <c:pt idx="1171">
                  <c:v>40417</c:v>
                </c:pt>
                <c:pt idx="1172">
                  <c:v>40420</c:v>
                </c:pt>
                <c:pt idx="1173">
                  <c:v>40421</c:v>
                </c:pt>
                <c:pt idx="1174">
                  <c:v>40422</c:v>
                </c:pt>
                <c:pt idx="1175">
                  <c:v>40423</c:v>
                </c:pt>
                <c:pt idx="1176">
                  <c:v>40424</c:v>
                </c:pt>
                <c:pt idx="1177">
                  <c:v>40428</c:v>
                </c:pt>
                <c:pt idx="1178">
                  <c:v>40429</c:v>
                </c:pt>
                <c:pt idx="1179">
                  <c:v>40430</c:v>
                </c:pt>
                <c:pt idx="1180">
                  <c:v>40431</c:v>
                </c:pt>
                <c:pt idx="1181">
                  <c:v>40434</c:v>
                </c:pt>
                <c:pt idx="1182">
                  <c:v>40435</c:v>
                </c:pt>
                <c:pt idx="1183">
                  <c:v>40436</c:v>
                </c:pt>
                <c:pt idx="1184">
                  <c:v>40437</c:v>
                </c:pt>
                <c:pt idx="1185">
                  <c:v>40438</c:v>
                </c:pt>
                <c:pt idx="1186">
                  <c:v>40441</c:v>
                </c:pt>
                <c:pt idx="1187">
                  <c:v>40442</c:v>
                </c:pt>
                <c:pt idx="1188">
                  <c:v>40443</c:v>
                </c:pt>
                <c:pt idx="1189">
                  <c:v>40444</c:v>
                </c:pt>
                <c:pt idx="1190">
                  <c:v>40445</c:v>
                </c:pt>
                <c:pt idx="1191">
                  <c:v>40448</c:v>
                </c:pt>
                <c:pt idx="1192">
                  <c:v>40449</c:v>
                </c:pt>
                <c:pt idx="1193">
                  <c:v>40450</c:v>
                </c:pt>
                <c:pt idx="1194">
                  <c:v>40451</c:v>
                </c:pt>
                <c:pt idx="1195">
                  <c:v>40452</c:v>
                </c:pt>
                <c:pt idx="1196">
                  <c:v>40455</c:v>
                </c:pt>
                <c:pt idx="1197">
                  <c:v>40456</c:v>
                </c:pt>
                <c:pt idx="1198">
                  <c:v>40457</c:v>
                </c:pt>
                <c:pt idx="1199">
                  <c:v>40458</c:v>
                </c:pt>
                <c:pt idx="1200">
                  <c:v>40459</c:v>
                </c:pt>
                <c:pt idx="1201">
                  <c:v>40462</c:v>
                </c:pt>
                <c:pt idx="1202">
                  <c:v>40463</c:v>
                </c:pt>
                <c:pt idx="1203">
                  <c:v>40464</c:v>
                </c:pt>
                <c:pt idx="1204">
                  <c:v>40465</c:v>
                </c:pt>
                <c:pt idx="1205">
                  <c:v>40466</c:v>
                </c:pt>
                <c:pt idx="1206">
                  <c:v>40469</c:v>
                </c:pt>
                <c:pt idx="1207">
                  <c:v>40470</c:v>
                </c:pt>
                <c:pt idx="1208">
                  <c:v>40471</c:v>
                </c:pt>
                <c:pt idx="1209">
                  <c:v>40472</c:v>
                </c:pt>
                <c:pt idx="1210">
                  <c:v>40473</c:v>
                </c:pt>
                <c:pt idx="1211">
                  <c:v>40476</c:v>
                </c:pt>
                <c:pt idx="1212">
                  <c:v>40477</c:v>
                </c:pt>
                <c:pt idx="1213">
                  <c:v>40478</c:v>
                </c:pt>
                <c:pt idx="1214">
                  <c:v>40479</c:v>
                </c:pt>
                <c:pt idx="1215">
                  <c:v>40480</c:v>
                </c:pt>
                <c:pt idx="1216">
                  <c:v>40483</c:v>
                </c:pt>
                <c:pt idx="1217">
                  <c:v>40484</c:v>
                </c:pt>
                <c:pt idx="1218">
                  <c:v>40485</c:v>
                </c:pt>
                <c:pt idx="1219">
                  <c:v>40486</c:v>
                </c:pt>
                <c:pt idx="1220">
                  <c:v>40487</c:v>
                </c:pt>
                <c:pt idx="1221">
                  <c:v>40490</c:v>
                </c:pt>
                <c:pt idx="1222">
                  <c:v>40491</c:v>
                </c:pt>
                <c:pt idx="1223">
                  <c:v>40492</c:v>
                </c:pt>
                <c:pt idx="1224">
                  <c:v>40493</c:v>
                </c:pt>
                <c:pt idx="1225">
                  <c:v>40494</c:v>
                </c:pt>
                <c:pt idx="1226">
                  <c:v>40497</c:v>
                </c:pt>
                <c:pt idx="1227">
                  <c:v>40498</c:v>
                </c:pt>
                <c:pt idx="1228">
                  <c:v>40499</c:v>
                </c:pt>
                <c:pt idx="1229">
                  <c:v>40500</c:v>
                </c:pt>
                <c:pt idx="1230">
                  <c:v>40501</c:v>
                </c:pt>
                <c:pt idx="1231">
                  <c:v>40504</c:v>
                </c:pt>
                <c:pt idx="1232">
                  <c:v>40505</c:v>
                </c:pt>
                <c:pt idx="1233">
                  <c:v>40506</c:v>
                </c:pt>
                <c:pt idx="1234">
                  <c:v>40508</c:v>
                </c:pt>
                <c:pt idx="1235">
                  <c:v>40511</c:v>
                </c:pt>
                <c:pt idx="1236">
                  <c:v>40512</c:v>
                </c:pt>
                <c:pt idx="1237">
                  <c:v>40513</c:v>
                </c:pt>
                <c:pt idx="1238">
                  <c:v>40514</c:v>
                </c:pt>
                <c:pt idx="1239">
                  <c:v>40515</c:v>
                </c:pt>
                <c:pt idx="1240">
                  <c:v>40518</c:v>
                </c:pt>
                <c:pt idx="1241">
                  <c:v>40519</c:v>
                </c:pt>
                <c:pt idx="1242">
                  <c:v>40520</c:v>
                </c:pt>
                <c:pt idx="1243">
                  <c:v>40521</c:v>
                </c:pt>
                <c:pt idx="1244">
                  <c:v>40522</c:v>
                </c:pt>
                <c:pt idx="1245">
                  <c:v>40525</c:v>
                </c:pt>
                <c:pt idx="1246">
                  <c:v>40526</c:v>
                </c:pt>
                <c:pt idx="1247">
                  <c:v>40527</c:v>
                </c:pt>
                <c:pt idx="1248">
                  <c:v>40528</c:v>
                </c:pt>
                <c:pt idx="1249">
                  <c:v>40529</c:v>
                </c:pt>
                <c:pt idx="1250">
                  <c:v>40532</c:v>
                </c:pt>
                <c:pt idx="1251">
                  <c:v>40533</c:v>
                </c:pt>
                <c:pt idx="1252">
                  <c:v>40534</c:v>
                </c:pt>
                <c:pt idx="1253">
                  <c:v>40535</c:v>
                </c:pt>
                <c:pt idx="1254">
                  <c:v>40539</c:v>
                </c:pt>
                <c:pt idx="1255">
                  <c:v>40540</c:v>
                </c:pt>
                <c:pt idx="1256">
                  <c:v>40541</c:v>
                </c:pt>
                <c:pt idx="1257">
                  <c:v>40542</c:v>
                </c:pt>
                <c:pt idx="1258">
                  <c:v>40543</c:v>
                </c:pt>
                <c:pt idx="1259">
                  <c:v>40546</c:v>
                </c:pt>
                <c:pt idx="1260">
                  <c:v>40547</c:v>
                </c:pt>
                <c:pt idx="1261">
                  <c:v>40548</c:v>
                </c:pt>
                <c:pt idx="1262">
                  <c:v>40549</c:v>
                </c:pt>
                <c:pt idx="1263">
                  <c:v>40550</c:v>
                </c:pt>
                <c:pt idx="1264">
                  <c:v>40553</c:v>
                </c:pt>
                <c:pt idx="1265">
                  <c:v>40554</c:v>
                </c:pt>
                <c:pt idx="1266">
                  <c:v>40555</c:v>
                </c:pt>
                <c:pt idx="1267">
                  <c:v>40556</c:v>
                </c:pt>
                <c:pt idx="1268">
                  <c:v>40557</c:v>
                </c:pt>
                <c:pt idx="1269">
                  <c:v>40561</c:v>
                </c:pt>
                <c:pt idx="1270">
                  <c:v>40562</c:v>
                </c:pt>
                <c:pt idx="1271">
                  <c:v>40563</c:v>
                </c:pt>
                <c:pt idx="1272">
                  <c:v>40564</c:v>
                </c:pt>
                <c:pt idx="1273">
                  <c:v>40567</c:v>
                </c:pt>
                <c:pt idx="1274">
                  <c:v>40568</c:v>
                </c:pt>
                <c:pt idx="1275">
                  <c:v>40569</c:v>
                </c:pt>
                <c:pt idx="1276">
                  <c:v>40570</c:v>
                </c:pt>
                <c:pt idx="1277">
                  <c:v>40571</c:v>
                </c:pt>
                <c:pt idx="1278">
                  <c:v>40574</c:v>
                </c:pt>
                <c:pt idx="1279">
                  <c:v>40575</c:v>
                </c:pt>
                <c:pt idx="1280">
                  <c:v>40576</c:v>
                </c:pt>
                <c:pt idx="1281">
                  <c:v>40577</c:v>
                </c:pt>
                <c:pt idx="1282">
                  <c:v>40578</c:v>
                </c:pt>
                <c:pt idx="1283">
                  <c:v>40581</c:v>
                </c:pt>
                <c:pt idx="1284">
                  <c:v>40582</c:v>
                </c:pt>
                <c:pt idx="1285">
                  <c:v>40583</c:v>
                </c:pt>
                <c:pt idx="1286">
                  <c:v>40584</c:v>
                </c:pt>
                <c:pt idx="1287">
                  <c:v>40585</c:v>
                </c:pt>
                <c:pt idx="1288">
                  <c:v>40588</c:v>
                </c:pt>
                <c:pt idx="1289">
                  <c:v>40589</c:v>
                </c:pt>
                <c:pt idx="1290">
                  <c:v>40590</c:v>
                </c:pt>
                <c:pt idx="1291">
                  <c:v>40591</c:v>
                </c:pt>
                <c:pt idx="1292">
                  <c:v>40592</c:v>
                </c:pt>
                <c:pt idx="1293">
                  <c:v>40596</c:v>
                </c:pt>
                <c:pt idx="1294">
                  <c:v>40597</c:v>
                </c:pt>
                <c:pt idx="1295">
                  <c:v>40598</c:v>
                </c:pt>
                <c:pt idx="1296">
                  <c:v>40599</c:v>
                </c:pt>
                <c:pt idx="1297">
                  <c:v>40602</c:v>
                </c:pt>
                <c:pt idx="1298">
                  <c:v>40603</c:v>
                </c:pt>
                <c:pt idx="1299">
                  <c:v>40604</c:v>
                </c:pt>
                <c:pt idx="1300">
                  <c:v>40605</c:v>
                </c:pt>
                <c:pt idx="1301">
                  <c:v>40606</c:v>
                </c:pt>
                <c:pt idx="1302">
                  <c:v>40609</c:v>
                </c:pt>
                <c:pt idx="1303">
                  <c:v>40610</c:v>
                </c:pt>
                <c:pt idx="1304">
                  <c:v>40611</c:v>
                </c:pt>
                <c:pt idx="1305">
                  <c:v>40612</c:v>
                </c:pt>
                <c:pt idx="1306">
                  <c:v>40613</c:v>
                </c:pt>
                <c:pt idx="1307">
                  <c:v>40616</c:v>
                </c:pt>
                <c:pt idx="1308">
                  <c:v>40617</c:v>
                </c:pt>
                <c:pt idx="1309">
                  <c:v>40618</c:v>
                </c:pt>
                <c:pt idx="1310">
                  <c:v>40619</c:v>
                </c:pt>
                <c:pt idx="1311">
                  <c:v>40620</c:v>
                </c:pt>
                <c:pt idx="1312">
                  <c:v>40623</c:v>
                </c:pt>
                <c:pt idx="1313">
                  <c:v>40624</c:v>
                </c:pt>
                <c:pt idx="1314">
                  <c:v>40625</c:v>
                </c:pt>
                <c:pt idx="1315">
                  <c:v>40626</c:v>
                </c:pt>
                <c:pt idx="1316">
                  <c:v>40627</c:v>
                </c:pt>
                <c:pt idx="1317">
                  <c:v>40630</c:v>
                </c:pt>
                <c:pt idx="1318">
                  <c:v>40631</c:v>
                </c:pt>
                <c:pt idx="1319">
                  <c:v>40632</c:v>
                </c:pt>
                <c:pt idx="1320">
                  <c:v>40633</c:v>
                </c:pt>
                <c:pt idx="1321">
                  <c:v>40634</c:v>
                </c:pt>
                <c:pt idx="1322">
                  <c:v>40637</c:v>
                </c:pt>
                <c:pt idx="1323">
                  <c:v>40638</c:v>
                </c:pt>
                <c:pt idx="1324">
                  <c:v>40639</c:v>
                </c:pt>
                <c:pt idx="1325">
                  <c:v>40640</c:v>
                </c:pt>
                <c:pt idx="1326">
                  <c:v>40641</c:v>
                </c:pt>
                <c:pt idx="1327">
                  <c:v>40644</c:v>
                </c:pt>
                <c:pt idx="1328">
                  <c:v>40645</c:v>
                </c:pt>
                <c:pt idx="1329">
                  <c:v>40646</c:v>
                </c:pt>
                <c:pt idx="1330">
                  <c:v>40647</c:v>
                </c:pt>
                <c:pt idx="1331">
                  <c:v>40648</c:v>
                </c:pt>
                <c:pt idx="1332">
                  <c:v>40651</c:v>
                </c:pt>
                <c:pt idx="1333">
                  <c:v>40652</c:v>
                </c:pt>
                <c:pt idx="1334">
                  <c:v>40653</c:v>
                </c:pt>
                <c:pt idx="1335">
                  <c:v>40654</c:v>
                </c:pt>
                <c:pt idx="1336">
                  <c:v>40658</c:v>
                </c:pt>
                <c:pt idx="1337">
                  <c:v>40659</c:v>
                </c:pt>
                <c:pt idx="1338">
                  <c:v>40660</c:v>
                </c:pt>
                <c:pt idx="1339">
                  <c:v>40661</c:v>
                </c:pt>
                <c:pt idx="1340">
                  <c:v>40662</c:v>
                </c:pt>
                <c:pt idx="1341">
                  <c:v>40665</c:v>
                </c:pt>
                <c:pt idx="1342">
                  <c:v>40666</c:v>
                </c:pt>
                <c:pt idx="1343">
                  <c:v>40667</c:v>
                </c:pt>
                <c:pt idx="1344">
                  <c:v>40668</c:v>
                </c:pt>
                <c:pt idx="1345">
                  <c:v>40669</c:v>
                </c:pt>
                <c:pt idx="1346">
                  <c:v>40672</c:v>
                </c:pt>
                <c:pt idx="1347">
                  <c:v>40673</c:v>
                </c:pt>
                <c:pt idx="1348">
                  <c:v>40674</c:v>
                </c:pt>
                <c:pt idx="1349">
                  <c:v>40675</c:v>
                </c:pt>
                <c:pt idx="1350">
                  <c:v>40676</c:v>
                </c:pt>
                <c:pt idx="1351">
                  <c:v>40679</c:v>
                </c:pt>
                <c:pt idx="1352">
                  <c:v>40680</c:v>
                </c:pt>
                <c:pt idx="1353">
                  <c:v>40681</c:v>
                </c:pt>
                <c:pt idx="1354">
                  <c:v>40682</c:v>
                </c:pt>
                <c:pt idx="1355">
                  <c:v>40683</c:v>
                </c:pt>
                <c:pt idx="1356">
                  <c:v>40686</c:v>
                </c:pt>
                <c:pt idx="1357">
                  <c:v>40687</c:v>
                </c:pt>
                <c:pt idx="1358">
                  <c:v>40688</c:v>
                </c:pt>
                <c:pt idx="1359">
                  <c:v>40689</c:v>
                </c:pt>
                <c:pt idx="1360">
                  <c:v>40690</c:v>
                </c:pt>
                <c:pt idx="1361">
                  <c:v>40694</c:v>
                </c:pt>
                <c:pt idx="1362">
                  <c:v>40695</c:v>
                </c:pt>
                <c:pt idx="1363">
                  <c:v>40696</c:v>
                </c:pt>
                <c:pt idx="1364">
                  <c:v>40697</c:v>
                </c:pt>
                <c:pt idx="1365">
                  <c:v>40700</c:v>
                </c:pt>
                <c:pt idx="1366">
                  <c:v>40701</c:v>
                </c:pt>
                <c:pt idx="1367">
                  <c:v>40702</c:v>
                </c:pt>
                <c:pt idx="1368">
                  <c:v>40703</c:v>
                </c:pt>
                <c:pt idx="1369">
                  <c:v>40704</c:v>
                </c:pt>
                <c:pt idx="1370">
                  <c:v>40707</c:v>
                </c:pt>
                <c:pt idx="1371">
                  <c:v>40708</c:v>
                </c:pt>
                <c:pt idx="1372">
                  <c:v>40709</c:v>
                </c:pt>
                <c:pt idx="1373">
                  <c:v>40710</c:v>
                </c:pt>
                <c:pt idx="1374">
                  <c:v>40711</c:v>
                </c:pt>
                <c:pt idx="1375">
                  <c:v>40714</c:v>
                </c:pt>
                <c:pt idx="1376">
                  <c:v>40715</c:v>
                </c:pt>
                <c:pt idx="1377">
                  <c:v>40716</c:v>
                </c:pt>
                <c:pt idx="1378">
                  <c:v>40717</c:v>
                </c:pt>
                <c:pt idx="1379">
                  <c:v>40718</c:v>
                </c:pt>
                <c:pt idx="1380">
                  <c:v>40721</c:v>
                </c:pt>
                <c:pt idx="1381">
                  <c:v>40722</c:v>
                </c:pt>
                <c:pt idx="1382">
                  <c:v>40723</c:v>
                </c:pt>
                <c:pt idx="1383">
                  <c:v>40724</c:v>
                </c:pt>
                <c:pt idx="1384">
                  <c:v>40725</c:v>
                </c:pt>
                <c:pt idx="1385">
                  <c:v>40729</c:v>
                </c:pt>
                <c:pt idx="1386">
                  <c:v>40730</c:v>
                </c:pt>
                <c:pt idx="1387">
                  <c:v>40731</c:v>
                </c:pt>
                <c:pt idx="1388">
                  <c:v>40732</c:v>
                </c:pt>
                <c:pt idx="1389">
                  <c:v>40735</c:v>
                </c:pt>
                <c:pt idx="1390">
                  <c:v>40736</c:v>
                </c:pt>
                <c:pt idx="1391">
                  <c:v>40737</c:v>
                </c:pt>
                <c:pt idx="1392">
                  <c:v>40738</c:v>
                </c:pt>
                <c:pt idx="1393">
                  <c:v>40739</c:v>
                </c:pt>
                <c:pt idx="1394">
                  <c:v>40742</c:v>
                </c:pt>
                <c:pt idx="1395">
                  <c:v>40743</c:v>
                </c:pt>
                <c:pt idx="1396">
                  <c:v>40744</c:v>
                </c:pt>
                <c:pt idx="1397">
                  <c:v>40745</c:v>
                </c:pt>
                <c:pt idx="1398">
                  <c:v>40746</c:v>
                </c:pt>
                <c:pt idx="1399">
                  <c:v>40749</c:v>
                </c:pt>
                <c:pt idx="1400">
                  <c:v>40750</c:v>
                </c:pt>
                <c:pt idx="1401">
                  <c:v>40751</c:v>
                </c:pt>
                <c:pt idx="1402">
                  <c:v>40752</c:v>
                </c:pt>
                <c:pt idx="1403">
                  <c:v>40753</c:v>
                </c:pt>
                <c:pt idx="1404">
                  <c:v>40756</c:v>
                </c:pt>
                <c:pt idx="1405">
                  <c:v>40757</c:v>
                </c:pt>
                <c:pt idx="1406">
                  <c:v>40758</c:v>
                </c:pt>
                <c:pt idx="1407">
                  <c:v>40759</c:v>
                </c:pt>
                <c:pt idx="1408">
                  <c:v>40760</c:v>
                </c:pt>
                <c:pt idx="1409">
                  <c:v>40763</c:v>
                </c:pt>
                <c:pt idx="1410">
                  <c:v>40764</c:v>
                </c:pt>
                <c:pt idx="1411">
                  <c:v>40765</c:v>
                </c:pt>
                <c:pt idx="1412">
                  <c:v>40766</c:v>
                </c:pt>
                <c:pt idx="1413">
                  <c:v>40767</c:v>
                </c:pt>
                <c:pt idx="1414">
                  <c:v>40770</c:v>
                </c:pt>
                <c:pt idx="1415">
                  <c:v>40771</c:v>
                </c:pt>
                <c:pt idx="1416">
                  <c:v>40772</c:v>
                </c:pt>
                <c:pt idx="1417">
                  <c:v>40773</c:v>
                </c:pt>
                <c:pt idx="1418">
                  <c:v>40774</c:v>
                </c:pt>
                <c:pt idx="1419">
                  <c:v>40777</c:v>
                </c:pt>
                <c:pt idx="1420">
                  <c:v>40778</c:v>
                </c:pt>
                <c:pt idx="1421">
                  <c:v>40779</c:v>
                </c:pt>
                <c:pt idx="1422">
                  <c:v>40780</c:v>
                </c:pt>
                <c:pt idx="1423">
                  <c:v>40781</c:v>
                </c:pt>
                <c:pt idx="1424">
                  <c:v>40784</c:v>
                </c:pt>
                <c:pt idx="1425">
                  <c:v>40785</c:v>
                </c:pt>
                <c:pt idx="1426">
                  <c:v>40786</c:v>
                </c:pt>
                <c:pt idx="1427">
                  <c:v>40787</c:v>
                </c:pt>
                <c:pt idx="1428">
                  <c:v>40788</c:v>
                </c:pt>
                <c:pt idx="1429">
                  <c:v>40792</c:v>
                </c:pt>
                <c:pt idx="1430">
                  <c:v>40793</c:v>
                </c:pt>
                <c:pt idx="1431">
                  <c:v>40794</c:v>
                </c:pt>
                <c:pt idx="1432">
                  <c:v>40795</c:v>
                </c:pt>
                <c:pt idx="1433">
                  <c:v>40798</c:v>
                </c:pt>
                <c:pt idx="1434">
                  <c:v>40799</c:v>
                </c:pt>
                <c:pt idx="1435">
                  <c:v>40800</c:v>
                </c:pt>
                <c:pt idx="1436">
                  <c:v>40801</c:v>
                </c:pt>
                <c:pt idx="1437">
                  <c:v>40802</c:v>
                </c:pt>
                <c:pt idx="1438">
                  <c:v>40805</c:v>
                </c:pt>
                <c:pt idx="1439">
                  <c:v>40806</c:v>
                </c:pt>
                <c:pt idx="1440">
                  <c:v>40807</c:v>
                </c:pt>
                <c:pt idx="1441">
                  <c:v>40808</c:v>
                </c:pt>
                <c:pt idx="1442">
                  <c:v>40809</c:v>
                </c:pt>
                <c:pt idx="1443">
                  <c:v>40812</c:v>
                </c:pt>
                <c:pt idx="1444">
                  <c:v>40813</c:v>
                </c:pt>
                <c:pt idx="1445">
                  <c:v>40814</c:v>
                </c:pt>
                <c:pt idx="1446">
                  <c:v>40815</c:v>
                </c:pt>
                <c:pt idx="1447">
                  <c:v>40816</c:v>
                </c:pt>
                <c:pt idx="1448">
                  <c:v>40819</c:v>
                </c:pt>
                <c:pt idx="1449">
                  <c:v>40820</c:v>
                </c:pt>
                <c:pt idx="1450">
                  <c:v>40821</c:v>
                </c:pt>
                <c:pt idx="1451">
                  <c:v>40822</c:v>
                </c:pt>
                <c:pt idx="1452">
                  <c:v>40823</c:v>
                </c:pt>
                <c:pt idx="1453">
                  <c:v>40826</c:v>
                </c:pt>
                <c:pt idx="1454">
                  <c:v>40827</c:v>
                </c:pt>
                <c:pt idx="1455">
                  <c:v>40828</c:v>
                </c:pt>
                <c:pt idx="1456">
                  <c:v>40829</c:v>
                </c:pt>
                <c:pt idx="1457">
                  <c:v>40830</c:v>
                </c:pt>
                <c:pt idx="1458">
                  <c:v>40833</c:v>
                </c:pt>
                <c:pt idx="1459">
                  <c:v>40834</c:v>
                </c:pt>
                <c:pt idx="1460">
                  <c:v>40835</c:v>
                </c:pt>
                <c:pt idx="1461">
                  <c:v>40836</c:v>
                </c:pt>
                <c:pt idx="1462">
                  <c:v>40837</c:v>
                </c:pt>
                <c:pt idx="1463">
                  <c:v>40840</c:v>
                </c:pt>
                <c:pt idx="1464">
                  <c:v>40841</c:v>
                </c:pt>
                <c:pt idx="1465">
                  <c:v>40842</c:v>
                </c:pt>
                <c:pt idx="1466">
                  <c:v>40843</c:v>
                </c:pt>
                <c:pt idx="1467">
                  <c:v>40844</c:v>
                </c:pt>
                <c:pt idx="1468">
                  <c:v>40847</c:v>
                </c:pt>
                <c:pt idx="1469">
                  <c:v>40848</c:v>
                </c:pt>
                <c:pt idx="1470">
                  <c:v>40849</c:v>
                </c:pt>
                <c:pt idx="1471">
                  <c:v>40850</c:v>
                </c:pt>
                <c:pt idx="1472">
                  <c:v>40851</c:v>
                </c:pt>
                <c:pt idx="1473">
                  <c:v>40854</c:v>
                </c:pt>
                <c:pt idx="1474">
                  <c:v>40855</c:v>
                </c:pt>
                <c:pt idx="1475">
                  <c:v>40856</c:v>
                </c:pt>
                <c:pt idx="1476">
                  <c:v>40857</c:v>
                </c:pt>
                <c:pt idx="1477">
                  <c:v>40858</c:v>
                </c:pt>
                <c:pt idx="1478">
                  <c:v>40861</c:v>
                </c:pt>
                <c:pt idx="1479">
                  <c:v>40862</c:v>
                </c:pt>
                <c:pt idx="1480">
                  <c:v>40863</c:v>
                </c:pt>
                <c:pt idx="1481">
                  <c:v>40864</c:v>
                </c:pt>
                <c:pt idx="1482">
                  <c:v>40865</c:v>
                </c:pt>
                <c:pt idx="1483">
                  <c:v>40868</c:v>
                </c:pt>
                <c:pt idx="1484">
                  <c:v>40869</c:v>
                </c:pt>
                <c:pt idx="1485">
                  <c:v>40870</c:v>
                </c:pt>
                <c:pt idx="1486">
                  <c:v>40872</c:v>
                </c:pt>
                <c:pt idx="1487">
                  <c:v>40875</c:v>
                </c:pt>
                <c:pt idx="1488">
                  <c:v>40876</c:v>
                </c:pt>
                <c:pt idx="1489">
                  <c:v>40877</c:v>
                </c:pt>
                <c:pt idx="1490">
                  <c:v>40878</c:v>
                </c:pt>
                <c:pt idx="1491">
                  <c:v>40879</c:v>
                </c:pt>
                <c:pt idx="1492">
                  <c:v>40882</c:v>
                </c:pt>
                <c:pt idx="1493">
                  <c:v>40883</c:v>
                </c:pt>
                <c:pt idx="1494">
                  <c:v>40884</c:v>
                </c:pt>
                <c:pt idx="1495">
                  <c:v>40885</c:v>
                </c:pt>
                <c:pt idx="1496">
                  <c:v>40886</c:v>
                </c:pt>
                <c:pt idx="1497">
                  <c:v>40889</c:v>
                </c:pt>
                <c:pt idx="1498">
                  <c:v>40890</c:v>
                </c:pt>
                <c:pt idx="1499">
                  <c:v>40891</c:v>
                </c:pt>
                <c:pt idx="1500">
                  <c:v>40892</c:v>
                </c:pt>
                <c:pt idx="1501">
                  <c:v>40893</c:v>
                </c:pt>
                <c:pt idx="1502">
                  <c:v>40896</c:v>
                </c:pt>
                <c:pt idx="1503">
                  <c:v>40897</c:v>
                </c:pt>
                <c:pt idx="1504">
                  <c:v>40898</c:v>
                </c:pt>
                <c:pt idx="1505">
                  <c:v>40899</c:v>
                </c:pt>
                <c:pt idx="1506">
                  <c:v>40900</c:v>
                </c:pt>
                <c:pt idx="1507">
                  <c:v>40904</c:v>
                </c:pt>
                <c:pt idx="1508">
                  <c:v>40905</c:v>
                </c:pt>
                <c:pt idx="1509">
                  <c:v>40906</c:v>
                </c:pt>
                <c:pt idx="1510">
                  <c:v>40907</c:v>
                </c:pt>
                <c:pt idx="1511">
                  <c:v>40911</c:v>
                </c:pt>
                <c:pt idx="1512">
                  <c:v>40912</c:v>
                </c:pt>
                <c:pt idx="1513">
                  <c:v>40913</c:v>
                </c:pt>
                <c:pt idx="1514">
                  <c:v>40914</c:v>
                </c:pt>
                <c:pt idx="1515">
                  <c:v>40917</c:v>
                </c:pt>
                <c:pt idx="1516">
                  <c:v>40918</c:v>
                </c:pt>
                <c:pt idx="1517">
                  <c:v>40919</c:v>
                </c:pt>
                <c:pt idx="1518">
                  <c:v>40920</c:v>
                </c:pt>
                <c:pt idx="1519">
                  <c:v>40921</c:v>
                </c:pt>
                <c:pt idx="1520">
                  <c:v>40925</c:v>
                </c:pt>
                <c:pt idx="1521">
                  <c:v>40926</c:v>
                </c:pt>
                <c:pt idx="1522">
                  <c:v>40927</c:v>
                </c:pt>
                <c:pt idx="1523">
                  <c:v>40928</c:v>
                </c:pt>
                <c:pt idx="1524">
                  <c:v>40931</c:v>
                </c:pt>
                <c:pt idx="1525">
                  <c:v>40932</c:v>
                </c:pt>
                <c:pt idx="1526">
                  <c:v>40933</c:v>
                </c:pt>
                <c:pt idx="1527">
                  <c:v>40934</c:v>
                </c:pt>
                <c:pt idx="1528">
                  <c:v>40935</c:v>
                </c:pt>
                <c:pt idx="1529">
                  <c:v>40938</c:v>
                </c:pt>
                <c:pt idx="1530">
                  <c:v>40939</c:v>
                </c:pt>
                <c:pt idx="1531">
                  <c:v>40940</c:v>
                </c:pt>
                <c:pt idx="1532">
                  <c:v>40941</c:v>
                </c:pt>
                <c:pt idx="1533">
                  <c:v>40942</c:v>
                </c:pt>
                <c:pt idx="1534">
                  <c:v>40945</c:v>
                </c:pt>
                <c:pt idx="1535">
                  <c:v>40946</c:v>
                </c:pt>
                <c:pt idx="1536">
                  <c:v>40947</c:v>
                </c:pt>
                <c:pt idx="1537">
                  <c:v>40948</c:v>
                </c:pt>
                <c:pt idx="1538">
                  <c:v>40949</c:v>
                </c:pt>
                <c:pt idx="1539">
                  <c:v>40952</c:v>
                </c:pt>
                <c:pt idx="1540">
                  <c:v>40953</c:v>
                </c:pt>
                <c:pt idx="1541">
                  <c:v>40954</c:v>
                </c:pt>
                <c:pt idx="1542">
                  <c:v>40955</c:v>
                </c:pt>
                <c:pt idx="1543">
                  <c:v>40956</c:v>
                </c:pt>
                <c:pt idx="1544">
                  <c:v>40960</c:v>
                </c:pt>
                <c:pt idx="1545">
                  <c:v>40961</c:v>
                </c:pt>
                <c:pt idx="1546">
                  <c:v>40962</c:v>
                </c:pt>
                <c:pt idx="1547">
                  <c:v>40963</c:v>
                </c:pt>
                <c:pt idx="1548">
                  <c:v>40966</c:v>
                </c:pt>
                <c:pt idx="1549">
                  <c:v>40967</c:v>
                </c:pt>
                <c:pt idx="1550">
                  <c:v>40968</c:v>
                </c:pt>
                <c:pt idx="1551">
                  <c:v>40969</c:v>
                </c:pt>
                <c:pt idx="1552">
                  <c:v>40970</c:v>
                </c:pt>
                <c:pt idx="1553">
                  <c:v>40973</c:v>
                </c:pt>
                <c:pt idx="1554">
                  <c:v>40974</c:v>
                </c:pt>
                <c:pt idx="1555">
                  <c:v>40975</c:v>
                </c:pt>
                <c:pt idx="1556">
                  <c:v>40976</c:v>
                </c:pt>
                <c:pt idx="1557">
                  <c:v>40977</c:v>
                </c:pt>
                <c:pt idx="1558">
                  <c:v>40980</c:v>
                </c:pt>
                <c:pt idx="1559">
                  <c:v>40981</c:v>
                </c:pt>
                <c:pt idx="1560">
                  <c:v>40982</c:v>
                </c:pt>
                <c:pt idx="1561">
                  <c:v>40983</c:v>
                </c:pt>
                <c:pt idx="1562">
                  <c:v>40984</c:v>
                </c:pt>
                <c:pt idx="1563">
                  <c:v>40987</c:v>
                </c:pt>
                <c:pt idx="1564">
                  <c:v>40988</c:v>
                </c:pt>
                <c:pt idx="1565">
                  <c:v>40989</c:v>
                </c:pt>
                <c:pt idx="1566">
                  <c:v>40990</c:v>
                </c:pt>
                <c:pt idx="1567">
                  <c:v>40991</c:v>
                </c:pt>
                <c:pt idx="1568">
                  <c:v>40994</c:v>
                </c:pt>
                <c:pt idx="1569">
                  <c:v>40995</c:v>
                </c:pt>
                <c:pt idx="1570">
                  <c:v>40996</c:v>
                </c:pt>
                <c:pt idx="1571">
                  <c:v>40997</c:v>
                </c:pt>
                <c:pt idx="1572">
                  <c:v>40998</c:v>
                </c:pt>
                <c:pt idx="1573">
                  <c:v>41001</c:v>
                </c:pt>
                <c:pt idx="1574">
                  <c:v>41002</c:v>
                </c:pt>
                <c:pt idx="1575">
                  <c:v>41003</c:v>
                </c:pt>
                <c:pt idx="1576">
                  <c:v>41004</c:v>
                </c:pt>
                <c:pt idx="1577">
                  <c:v>41008</c:v>
                </c:pt>
                <c:pt idx="1578">
                  <c:v>41009</c:v>
                </c:pt>
                <c:pt idx="1579">
                  <c:v>41010</c:v>
                </c:pt>
                <c:pt idx="1580">
                  <c:v>41011</c:v>
                </c:pt>
                <c:pt idx="1581">
                  <c:v>41012</c:v>
                </c:pt>
                <c:pt idx="1582">
                  <c:v>41015</c:v>
                </c:pt>
                <c:pt idx="1583">
                  <c:v>41016</c:v>
                </c:pt>
                <c:pt idx="1584">
                  <c:v>41017</c:v>
                </c:pt>
                <c:pt idx="1585">
                  <c:v>41018</c:v>
                </c:pt>
                <c:pt idx="1586">
                  <c:v>41019</c:v>
                </c:pt>
                <c:pt idx="1587">
                  <c:v>41022</c:v>
                </c:pt>
                <c:pt idx="1588">
                  <c:v>41023</c:v>
                </c:pt>
                <c:pt idx="1589">
                  <c:v>41024</c:v>
                </c:pt>
                <c:pt idx="1590">
                  <c:v>41025</c:v>
                </c:pt>
                <c:pt idx="1591">
                  <c:v>41026</c:v>
                </c:pt>
                <c:pt idx="1592">
                  <c:v>41029</c:v>
                </c:pt>
                <c:pt idx="1593">
                  <c:v>41030</c:v>
                </c:pt>
                <c:pt idx="1594">
                  <c:v>41031</c:v>
                </c:pt>
                <c:pt idx="1595">
                  <c:v>41032</c:v>
                </c:pt>
                <c:pt idx="1596">
                  <c:v>41033</c:v>
                </c:pt>
                <c:pt idx="1597">
                  <c:v>41036</c:v>
                </c:pt>
                <c:pt idx="1598">
                  <c:v>41037</c:v>
                </c:pt>
                <c:pt idx="1599">
                  <c:v>41038</c:v>
                </c:pt>
                <c:pt idx="1600">
                  <c:v>41039</c:v>
                </c:pt>
                <c:pt idx="1601">
                  <c:v>41040</c:v>
                </c:pt>
                <c:pt idx="1602">
                  <c:v>41043</c:v>
                </c:pt>
                <c:pt idx="1603">
                  <c:v>41044</c:v>
                </c:pt>
                <c:pt idx="1604">
                  <c:v>41045</c:v>
                </c:pt>
                <c:pt idx="1605">
                  <c:v>41046</c:v>
                </c:pt>
                <c:pt idx="1606">
                  <c:v>41047</c:v>
                </c:pt>
                <c:pt idx="1607">
                  <c:v>41050</c:v>
                </c:pt>
                <c:pt idx="1608">
                  <c:v>41051</c:v>
                </c:pt>
                <c:pt idx="1609">
                  <c:v>41052</c:v>
                </c:pt>
                <c:pt idx="1610">
                  <c:v>41053</c:v>
                </c:pt>
                <c:pt idx="1611">
                  <c:v>41054</c:v>
                </c:pt>
                <c:pt idx="1612">
                  <c:v>41058</c:v>
                </c:pt>
                <c:pt idx="1613">
                  <c:v>41059</c:v>
                </c:pt>
                <c:pt idx="1614">
                  <c:v>41060</c:v>
                </c:pt>
                <c:pt idx="1615">
                  <c:v>41061</c:v>
                </c:pt>
                <c:pt idx="1616">
                  <c:v>41064</c:v>
                </c:pt>
                <c:pt idx="1617">
                  <c:v>41065</c:v>
                </c:pt>
                <c:pt idx="1618">
                  <c:v>41066</c:v>
                </c:pt>
                <c:pt idx="1619">
                  <c:v>41067</c:v>
                </c:pt>
                <c:pt idx="1620">
                  <c:v>41068</c:v>
                </c:pt>
                <c:pt idx="1621">
                  <c:v>41071</c:v>
                </c:pt>
                <c:pt idx="1622">
                  <c:v>41072</c:v>
                </c:pt>
                <c:pt idx="1623">
                  <c:v>41073</c:v>
                </c:pt>
                <c:pt idx="1624">
                  <c:v>41074</c:v>
                </c:pt>
                <c:pt idx="1625">
                  <c:v>41075</c:v>
                </c:pt>
                <c:pt idx="1626">
                  <c:v>41078</c:v>
                </c:pt>
                <c:pt idx="1627">
                  <c:v>41079</c:v>
                </c:pt>
                <c:pt idx="1628">
                  <c:v>41080</c:v>
                </c:pt>
                <c:pt idx="1629">
                  <c:v>41081</c:v>
                </c:pt>
                <c:pt idx="1630">
                  <c:v>41082</c:v>
                </c:pt>
                <c:pt idx="1631">
                  <c:v>41085</c:v>
                </c:pt>
                <c:pt idx="1632">
                  <c:v>41086</c:v>
                </c:pt>
                <c:pt idx="1633">
                  <c:v>41087</c:v>
                </c:pt>
                <c:pt idx="1634">
                  <c:v>41088</c:v>
                </c:pt>
                <c:pt idx="1635">
                  <c:v>41089</c:v>
                </c:pt>
                <c:pt idx="1636">
                  <c:v>41092</c:v>
                </c:pt>
                <c:pt idx="1637">
                  <c:v>41093</c:v>
                </c:pt>
                <c:pt idx="1638">
                  <c:v>41095</c:v>
                </c:pt>
                <c:pt idx="1639">
                  <c:v>41096</c:v>
                </c:pt>
                <c:pt idx="1640">
                  <c:v>41099</c:v>
                </c:pt>
                <c:pt idx="1641">
                  <c:v>41100</c:v>
                </c:pt>
                <c:pt idx="1642">
                  <c:v>41101</c:v>
                </c:pt>
                <c:pt idx="1643">
                  <c:v>41102</c:v>
                </c:pt>
                <c:pt idx="1644">
                  <c:v>41103</c:v>
                </c:pt>
                <c:pt idx="1645">
                  <c:v>41106</c:v>
                </c:pt>
                <c:pt idx="1646">
                  <c:v>41107</c:v>
                </c:pt>
                <c:pt idx="1647">
                  <c:v>41108</c:v>
                </c:pt>
                <c:pt idx="1648">
                  <c:v>41109</c:v>
                </c:pt>
                <c:pt idx="1649">
                  <c:v>41110</c:v>
                </c:pt>
                <c:pt idx="1650">
                  <c:v>41113</c:v>
                </c:pt>
                <c:pt idx="1651">
                  <c:v>41114</c:v>
                </c:pt>
                <c:pt idx="1652">
                  <c:v>41115</c:v>
                </c:pt>
                <c:pt idx="1653">
                  <c:v>41116</c:v>
                </c:pt>
                <c:pt idx="1654">
                  <c:v>41117</c:v>
                </c:pt>
                <c:pt idx="1655">
                  <c:v>41120</c:v>
                </c:pt>
                <c:pt idx="1656">
                  <c:v>41121</c:v>
                </c:pt>
                <c:pt idx="1657">
                  <c:v>41122</c:v>
                </c:pt>
                <c:pt idx="1658">
                  <c:v>41123</c:v>
                </c:pt>
                <c:pt idx="1659">
                  <c:v>41124</c:v>
                </c:pt>
                <c:pt idx="1660">
                  <c:v>41127</c:v>
                </c:pt>
                <c:pt idx="1661">
                  <c:v>41128</c:v>
                </c:pt>
                <c:pt idx="1662">
                  <c:v>41129</c:v>
                </c:pt>
                <c:pt idx="1663">
                  <c:v>41130</c:v>
                </c:pt>
                <c:pt idx="1664">
                  <c:v>41131</c:v>
                </c:pt>
                <c:pt idx="1665">
                  <c:v>41134</c:v>
                </c:pt>
                <c:pt idx="1666">
                  <c:v>41135</c:v>
                </c:pt>
                <c:pt idx="1667">
                  <c:v>41136</c:v>
                </c:pt>
                <c:pt idx="1668">
                  <c:v>41137</c:v>
                </c:pt>
                <c:pt idx="1669">
                  <c:v>41138</c:v>
                </c:pt>
                <c:pt idx="1670">
                  <c:v>41141</c:v>
                </c:pt>
                <c:pt idx="1671">
                  <c:v>41142</c:v>
                </c:pt>
                <c:pt idx="1672">
                  <c:v>41143</c:v>
                </c:pt>
                <c:pt idx="1673">
                  <c:v>41144</c:v>
                </c:pt>
                <c:pt idx="1674">
                  <c:v>41145</c:v>
                </c:pt>
                <c:pt idx="1675">
                  <c:v>41148</c:v>
                </c:pt>
                <c:pt idx="1676">
                  <c:v>41149</c:v>
                </c:pt>
                <c:pt idx="1677">
                  <c:v>41150</c:v>
                </c:pt>
                <c:pt idx="1678">
                  <c:v>41151</c:v>
                </c:pt>
                <c:pt idx="1679">
                  <c:v>41152</c:v>
                </c:pt>
                <c:pt idx="1680">
                  <c:v>41156</c:v>
                </c:pt>
                <c:pt idx="1681">
                  <c:v>41157</c:v>
                </c:pt>
                <c:pt idx="1682">
                  <c:v>41158</c:v>
                </c:pt>
                <c:pt idx="1683">
                  <c:v>41159</c:v>
                </c:pt>
                <c:pt idx="1684">
                  <c:v>41162</c:v>
                </c:pt>
                <c:pt idx="1685">
                  <c:v>41163</c:v>
                </c:pt>
                <c:pt idx="1686">
                  <c:v>41164</c:v>
                </c:pt>
                <c:pt idx="1687">
                  <c:v>41165</c:v>
                </c:pt>
                <c:pt idx="1688">
                  <c:v>41166</c:v>
                </c:pt>
                <c:pt idx="1689">
                  <c:v>41169</c:v>
                </c:pt>
                <c:pt idx="1690">
                  <c:v>41170</c:v>
                </c:pt>
                <c:pt idx="1691">
                  <c:v>41171</c:v>
                </c:pt>
                <c:pt idx="1692">
                  <c:v>41172</c:v>
                </c:pt>
                <c:pt idx="1693">
                  <c:v>41173</c:v>
                </c:pt>
                <c:pt idx="1694">
                  <c:v>41176</c:v>
                </c:pt>
                <c:pt idx="1695">
                  <c:v>41177</c:v>
                </c:pt>
                <c:pt idx="1696">
                  <c:v>41178</c:v>
                </c:pt>
                <c:pt idx="1697">
                  <c:v>41179</c:v>
                </c:pt>
                <c:pt idx="1698">
                  <c:v>41180</c:v>
                </c:pt>
                <c:pt idx="1699">
                  <c:v>41183</c:v>
                </c:pt>
                <c:pt idx="1700">
                  <c:v>41184</c:v>
                </c:pt>
                <c:pt idx="1701">
                  <c:v>41185</c:v>
                </c:pt>
                <c:pt idx="1702">
                  <c:v>41186</c:v>
                </c:pt>
                <c:pt idx="1703">
                  <c:v>41187</c:v>
                </c:pt>
                <c:pt idx="1704">
                  <c:v>41190</c:v>
                </c:pt>
                <c:pt idx="1705">
                  <c:v>41191</c:v>
                </c:pt>
                <c:pt idx="1706">
                  <c:v>41192</c:v>
                </c:pt>
                <c:pt idx="1707">
                  <c:v>41193</c:v>
                </c:pt>
                <c:pt idx="1708">
                  <c:v>41194</c:v>
                </c:pt>
                <c:pt idx="1709">
                  <c:v>41197</c:v>
                </c:pt>
                <c:pt idx="1710">
                  <c:v>41198</c:v>
                </c:pt>
                <c:pt idx="1711">
                  <c:v>41199</c:v>
                </c:pt>
                <c:pt idx="1712">
                  <c:v>41200</c:v>
                </c:pt>
                <c:pt idx="1713">
                  <c:v>41201</c:v>
                </c:pt>
                <c:pt idx="1714">
                  <c:v>41204</c:v>
                </c:pt>
                <c:pt idx="1715">
                  <c:v>41205</c:v>
                </c:pt>
                <c:pt idx="1716">
                  <c:v>41206</c:v>
                </c:pt>
                <c:pt idx="1717">
                  <c:v>41207</c:v>
                </c:pt>
                <c:pt idx="1718">
                  <c:v>41208</c:v>
                </c:pt>
                <c:pt idx="1719">
                  <c:v>41213</c:v>
                </c:pt>
                <c:pt idx="1720">
                  <c:v>41214</c:v>
                </c:pt>
                <c:pt idx="1721">
                  <c:v>41215</c:v>
                </c:pt>
                <c:pt idx="1722">
                  <c:v>41218</c:v>
                </c:pt>
                <c:pt idx="1723">
                  <c:v>41219</c:v>
                </c:pt>
                <c:pt idx="1724">
                  <c:v>41220</c:v>
                </c:pt>
                <c:pt idx="1725">
                  <c:v>41221</c:v>
                </c:pt>
                <c:pt idx="1726">
                  <c:v>41222</c:v>
                </c:pt>
                <c:pt idx="1727">
                  <c:v>41225</c:v>
                </c:pt>
                <c:pt idx="1728">
                  <c:v>41226</c:v>
                </c:pt>
                <c:pt idx="1729">
                  <c:v>41227</c:v>
                </c:pt>
                <c:pt idx="1730">
                  <c:v>41228</c:v>
                </c:pt>
                <c:pt idx="1731">
                  <c:v>41229</c:v>
                </c:pt>
                <c:pt idx="1732">
                  <c:v>41232</c:v>
                </c:pt>
                <c:pt idx="1733">
                  <c:v>41233</c:v>
                </c:pt>
                <c:pt idx="1734">
                  <c:v>41234</c:v>
                </c:pt>
                <c:pt idx="1735">
                  <c:v>41236</c:v>
                </c:pt>
                <c:pt idx="1736">
                  <c:v>41239</c:v>
                </c:pt>
                <c:pt idx="1737">
                  <c:v>41240</c:v>
                </c:pt>
                <c:pt idx="1738">
                  <c:v>41241</c:v>
                </c:pt>
                <c:pt idx="1739">
                  <c:v>41242</c:v>
                </c:pt>
                <c:pt idx="1740">
                  <c:v>41243</c:v>
                </c:pt>
                <c:pt idx="1741">
                  <c:v>41246</c:v>
                </c:pt>
                <c:pt idx="1742">
                  <c:v>41247</c:v>
                </c:pt>
                <c:pt idx="1743">
                  <c:v>41248</c:v>
                </c:pt>
                <c:pt idx="1744">
                  <c:v>41249</c:v>
                </c:pt>
                <c:pt idx="1745">
                  <c:v>41250</c:v>
                </c:pt>
                <c:pt idx="1746">
                  <c:v>41253</c:v>
                </c:pt>
                <c:pt idx="1747">
                  <c:v>41254</c:v>
                </c:pt>
                <c:pt idx="1748">
                  <c:v>41255</c:v>
                </c:pt>
                <c:pt idx="1749">
                  <c:v>41256</c:v>
                </c:pt>
                <c:pt idx="1750">
                  <c:v>41257</c:v>
                </c:pt>
                <c:pt idx="1751">
                  <c:v>41260</c:v>
                </c:pt>
                <c:pt idx="1752">
                  <c:v>41261</c:v>
                </c:pt>
                <c:pt idx="1753">
                  <c:v>41262</c:v>
                </c:pt>
                <c:pt idx="1754">
                  <c:v>41263</c:v>
                </c:pt>
                <c:pt idx="1755">
                  <c:v>41264</c:v>
                </c:pt>
                <c:pt idx="1756">
                  <c:v>41267</c:v>
                </c:pt>
                <c:pt idx="1757">
                  <c:v>41269</c:v>
                </c:pt>
                <c:pt idx="1758">
                  <c:v>41270</c:v>
                </c:pt>
                <c:pt idx="1759">
                  <c:v>41271</c:v>
                </c:pt>
                <c:pt idx="1760">
                  <c:v>41274</c:v>
                </c:pt>
                <c:pt idx="1761">
                  <c:v>41276</c:v>
                </c:pt>
                <c:pt idx="1762">
                  <c:v>41277</c:v>
                </c:pt>
                <c:pt idx="1763">
                  <c:v>41278</c:v>
                </c:pt>
                <c:pt idx="1764">
                  <c:v>41281</c:v>
                </c:pt>
                <c:pt idx="1765">
                  <c:v>41282</c:v>
                </c:pt>
                <c:pt idx="1766">
                  <c:v>41283</c:v>
                </c:pt>
                <c:pt idx="1767">
                  <c:v>41284</c:v>
                </c:pt>
                <c:pt idx="1768">
                  <c:v>41285</c:v>
                </c:pt>
                <c:pt idx="1769">
                  <c:v>41288</c:v>
                </c:pt>
                <c:pt idx="1770">
                  <c:v>41289</c:v>
                </c:pt>
                <c:pt idx="1771">
                  <c:v>41290</c:v>
                </c:pt>
                <c:pt idx="1772">
                  <c:v>41291</c:v>
                </c:pt>
                <c:pt idx="1773">
                  <c:v>41292</c:v>
                </c:pt>
                <c:pt idx="1774">
                  <c:v>41296</c:v>
                </c:pt>
                <c:pt idx="1775">
                  <c:v>41297</c:v>
                </c:pt>
                <c:pt idx="1776">
                  <c:v>41298</c:v>
                </c:pt>
                <c:pt idx="1777">
                  <c:v>41299</c:v>
                </c:pt>
                <c:pt idx="1778">
                  <c:v>41302</c:v>
                </c:pt>
                <c:pt idx="1779">
                  <c:v>41303</c:v>
                </c:pt>
                <c:pt idx="1780">
                  <c:v>41304</c:v>
                </c:pt>
                <c:pt idx="1781">
                  <c:v>41305</c:v>
                </c:pt>
                <c:pt idx="1782">
                  <c:v>41306</c:v>
                </c:pt>
                <c:pt idx="1783">
                  <c:v>41309</c:v>
                </c:pt>
                <c:pt idx="1784">
                  <c:v>41310</c:v>
                </c:pt>
                <c:pt idx="1785">
                  <c:v>41311</c:v>
                </c:pt>
                <c:pt idx="1786">
                  <c:v>41312</c:v>
                </c:pt>
                <c:pt idx="1787">
                  <c:v>41313</c:v>
                </c:pt>
                <c:pt idx="1788">
                  <c:v>41316</c:v>
                </c:pt>
                <c:pt idx="1789">
                  <c:v>41317</c:v>
                </c:pt>
                <c:pt idx="1790">
                  <c:v>41318</c:v>
                </c:pt>
                <c:pt idx="1791">
                  <c:v>41319</c:v>
                </c:pt>
                <c:pt idx="1792">
                  <c:v>41320</c:v>
                </c:pt>
                <c:pt idx="1793">
                  <c:v>41324</c:v>
                </c:pt>
                <c:pt idx="1794">
                  <c:v>41325</c:v>
                </c:pt>
                <c:pt idx="1795">
                  <c:v>41326</c:v>
                </c:pt>
                <c:pt idx="1796">
                  <c:v>41327</c:v>
                </c:pt>
                <c:pt idx="1797">
                  <c:v>41330</c:v>
                </c:pt>
                <c:pt idx="1798">
                  <c:v>41331</c:v>
                </c:pt>
                <c:pt idx="1799">
                  <c:v>41332</c:v>
                </c:pt>
                <c:pt idx="1800">
                  <c:v>41333</c:v>
                </c:pt>
                <c:pt idx="1801">
                  <c:v>41334</c:v>
                </c:pt>
                <c:pt idx="1802">
                  <c:v>41337</c:v>
                </c:pt>
                <c:pt idx="1803">
                  <c:v>41338</c:v>
                </c:pt>
                <c:pt idx="1804">
                  <c:v>41339</c:v>
                </c:pt>
                <c:pt idx="1805">
                  <c:v>41340</c:v>
                </c:pt>
                <c:pt idx="1806">
                  <c:v>41341</c:v>
                </c:pt>
                <c:pt idx="1807">
                  <c:v>41344</c:v>
                </c:pt>
                <c:pt idx="1808">
                  <c:v>41345</c:v>
                </c:pt>
                <c:pt idx="1809">
                  <c:v>41346</c:v>
                </c:pt>
                <c:pt idx="1810">
                  <c:v>41347</c:v>
                </c:pt>
                <c:pt idx="1811">
                  <c:v>41348</c:v>
                </c:pt>
                <c:pt idx="1812">
                  <c:v>41351</c:v>
                </c:pt>
                <c:pt idx="1813">
                  <c:v>41352</c:v>
                </c:pt>
                <c:pt idx="1814">
                  <c:v>41353</c:v>
                </c:pt>
                <c:pt idx="1815">
                  <c:v>41354</c:v>
                </c:pt>
                <c:pt idx="1816">
                  <c:v>41355</c:v>
                </c:pt>
                <c:pt idx="1817">
                  <c:v>41358</c:v>
                </c:pt>
                <c:pt idx="1818">
                  <c:v>41359</c:v>
                </c:pt>
                <c:pt idx="1819">
                  <c:v>41360</c:v>
                </c:pt>
                <c:pt idx="1820">
                  <c:v>41361</c:v>
                </c:pt>
                <c:pt idx="1821">
                  <c:v>41365</c:v>
                </c:pt>
                <c:pt idx="1822">
                  <c:v>41366</c:v>
                </c:pt>
                <c:pt idx="1823">
                  <c:v>41367</c:v>
                </c:pt>
                <c:pt idx="1824">
                  <c:v>41368</c:v>
                </c:pt>
                <c:pt idx="1825">
                  <c:v>41369</c:v>
                </c:pt>
                <c:pt idx="1826">
                  <c:v>41372</c:v>
                </c:pt>
                <c:pt idx="1827">
                  <c:v>41373</c:v>
                </c:pt>
                <c:pt idx="1828">
                  <c:v>41374</c:v>
                </c:pt>
                <c:pt idx="1829">
                  <c:v>41375</c:v>
                </c:pt>
                <c:pt idx="1830">
                  <c:v>41376</c:v>
                </c:pt>
                <c:pt idx="1831">
                  <c:v>41379</c:v>
                </c:pt>
                <c:pt idx="1832">
                  <c:v>41380</c:v>
                </c:pt>
                <c:pt idx="1833">
                  <c:v>41381</c:v>
                </c:pt>
                <c:pt idx="1834">
                  <c:v>41382</c:v>
                </c:pt>
                <c:pt idx="1835">
                  <c:v>41383</c:v>
                </c:pt>
                <c:pt idx="1836">
                  <c:v>41386</c:v>
                </c:pt>
                <c:pt idx="1837">
                  <c:v>41387</c:v>
                </c:pt>
                <c:pt idx="1838">
                  <c:v>41388</c:v>
                </c:pt>
                <c:pt idx="1839">
                  <c:v>41389</c:v>
                </c:pt>
                <c:pt idx="1840">
                  <c:v>41390</c:v>
                </c:pt>
                <c:pt idx="1841">
                  <c:v>41393</c:v>
                </c:pt>
                <c:pt idx="1842">
                  <c:v>41394</c:v>
                </c:pt>
                <c:pt idx="1843">
                  <c:v>41395</c:v>
                </c:pt>
                <c:pt idx="1844">
                  <c:v>41396</c:v>
                </c:pt>
                <c:pt idx="1845">
                  <c:v>41397</c:v>
                </c:pt>
                <c:pt idx="1846">
                  <c:v>41400</c:v>
                </c:pt>
                <c:pt idx="1847">
                  <c:v>41401</c:v>
                </c:pt>
                <c:pt idx="1848">
                  <c:v>41402</c:v>
                </c:pt>
                <c:pt idx="1849">
                  <c:v>41403</c:v>
                </c:pt>
                <c:pt idx="1850">
                  <c:v>41404</c:v>
                </c:pt>
                <c:pt idx="1851">
                  <c:v>41407</c:v>
                </c:pt>
                <c:pt idx="1852">
                  <c:v>41408</c:v>
                </c:pt>
                <c:pt idx="1853">
                  <c:v>41409</c:v>
                </c:pt>
                <c:pt idx="1854">
                  <c:v>41410</c:v>
                </c:pt>
                <c:pt idx="1855">
                  <c:v>41411</c:v>
                </c:pt>
                <c:pt idx="1856">
                  <c:v>41414</c:v>
                </c:pt>
                <c:pt idx="1857">
                  <c:v>41415</c:v>
                </c:pt>
                <c:pt idx="1858">
                  <c:v>41416</c:v>
                </c:pt>
                <c:pt idx="1859">
                  <c:v>41417</c:v>
                </c:pt>
                <c:pt idx="1860">
                  <c:v>41418</c:v>
                </c:pt>
                <c:pt idx="1861">
                  <c:v>41422</c:v>
                </c:pt>
                <c:pt idx="1862">
                  <c:v>41423</c:v>
                </c:pt>
                <c:pt idx="1863">
                  <c:v>41424</c:v>
                </c:pt>
                <c:pt idx="1864">
                  <c:v>41425</c:v>
                </c:pt>
                <c:pt idx="1865">
                  <c:v>41428</c:v>
                </c:pt>
                <c:pt idx="1866">
                  <c:v>41429</c:v>
                </c:pt>
                <c:pt idx="1867">
                  <c:v>41430</c:v>
                </c:pt>
                <c:pt idx="1868">
                  <c:v>41431</c:v>
                </c:pt>
                <c:pt idx="1869">
                  <c:v>41432</c:v>
                </c:pt>
                <c:pt idx="1870">
                  <c:v>41435</c:v>
                </c:pt>
                <c:pt idx="1871">
                  <c:v>41436</c:v>
                </c:pt>
                <c:pt idx="1872">
                  <c:v>41437</c:v>
                </c:pt>
                <c:pt idx="1873">
                  <c:v>41438</c:v>
                </c:pt>
                <c:pt idx="1874">
                  <c:v>41439</c:v>
                </c:pt>
                <c:pt idx="1875">
                  <c:v>41442</c:v>
                </c:pt>
                <c:pt idx="1876">
                  <c:v>41443</c:v>
                </c:pt>
                <c:pt idx="1877">
                  <c:v>41444</c:v>
                </c:pt>
                <c:pt idx="1878">
                  <c:v>41445</c:v>
                </c:pt>
                <c:pt idx="1879">
                  <c:v>41446</c:v>
                </c:pt>
                <c:pt idx="1880">
                  <c:v>41449</c:v>
                </c:pt>
                <c:pt idx="1881">
                  <c:v>41450</c:v>
                </c:pt>
                <c:pt idx="1882">
                  <c:v>41451</c:v>
                </c:pt>
                <c:pt idx="1883">
                  <c:v>41452</c:v>
                </c:pt>
                <c:pt idx="1884">
                  <c:v>41453</c:v>
                </c:pt>
                <c:pt idx="1885">
                  <c:v>41456</c:v>
                </c:pt>
                <c:pt idx="1886">
                  <c:v>41457</c:v>
                </c:pt>
                <c:pt idx="1887">
                  <c:v>41458</c:v>
                </c:pt>
                <c:pt idx="1888">
                  <c:v>41460</c:v>
                </c:pt>
                <c:pt idx="1889">
                  <c:v>41463</c:v>
                </c:pt>
                <c:pt idx="1890">
                  <c:v>41464</c:v>
                </c:pt>
                <c:pt idx="1891">
                  <c:v>41465</c:v>
                </c:pt>
                <c:pt idx="1892">
                  <c:v>41466</c:v>
                </c:pt>
                <c:pt idx="1893">
                  <c:v>41467</c:v>
                </c:pt>
                <c:pt idx="1894">
                  <c:v>41470</c:v>
                </c:pt>
                <c:pt idx="1895">
                  <c:v>41471</c:v>
                </c:pt>
                <c:pt idx="1896">
                  <c:v>41472</c:v>
                </c:pt>
                <c:pt idx="1897">
                  <c:v>41473</c:v>
                </c:pt>
                <c:pt idx="1898">
                  <c:v>41474</c:v>
                </c:pt>
                <c:pt idx="1899">
                  <c:v>41477</c:v>
                </c:pt>
                <c:pt idx="1900">
                  <c:v>41478</c:v>
                </c:pt>
                <c:pt idx="1901">
                  <c:v>41479</c:v>
                </c:pt>
                <c:pt idx="1902">
                  <c:v>41480</c:v>
                </c:pt>
                <c:pt idx="1903">
                  <c:v>41481</c:v>
                </c:pt>
                <c:pt idx="1904">
                  <c:v>41484</c:v>
                </c:pt>
                <c:pt idx="1905">
                  <c:v>41485</c:v>
                </c:pt>
                <c:pt idx="1906">
                  <c:v>41486</c:v>
                </c:pt>
                <c:pt idx="1907">
                  <c:v>41487</c:v>
                </c:pt>
                <c:pt idx="1908">
                  <c:v>41488</c:v>
                </c:pt>
                <c:pt idx="1909">
                  <c:v>41491</c:v>
                </c:pt>
                <c:pt idx="1910">
                  <c:v>41492</c:v>
                </c:pt>
                <c:pt idx="1911">
                  <c:v>41493</c:v>
                </c:pt>
                <c:pt idx="1912">
                  <c:v>41494</c:v>
                </c:pt>
                <c:pt idx="1913">
                  <c:v>41495</c:v>
                </c:pt>
                <c:pt idx="1914">
                  <c:v>41498</c:v>
                </c:pt>
                <c:pt idx="1915">
                  <c:v>41499</c:v>
                </c:pt>
                <c:pt idx="1916">
                  <c:v>41500</c:v>
                </c:pt>
                <c:pt idx="1917">
                  <c:v>41501</c:v>
                </c:pt>
                <c:pt idx="1918">
                  <c:v>41502</c:v>
                </c:pt>
                <c:pt idx="1919">
                  <c:v>41505</c:v>
                </c:pt>
                <c:pt idx="1920">
                  <c:v>41506</c:v>
                </c:pt>
                <c:pt idx="1921">
                  <c:v>41507</c:v>
                </c:pt>
                <c:pt idx="1922">
                  <c:v>41508</c:v>
                </c:pt>
                <c:pt idx="1923">
                  <c:v>41509</c:v>
                </c:pt>
                <c:pt idx="1924">
                  <c:v>41512</c:v>
                </c:pt>
                <c:pt idx="1925">
                  <c:v>41513</c:v>
                </c:pt>
                <c:pt idx="1926">
                  <c:v>41514</c:v>
                </c:pt>
                <c:pt idx="1927">
                  <c:v>41515</c:v>
                </c:pt>
                <c:pt idx="1928">
                  <c:v>41516</c:v>
                </c:pt>
                <c:pt idx="1929">
                  <c:v>41520</c:v>
                </c:pt>
                <c:pt idx="1930">
                  <c:v>41521</c:v>
                </c:pt>
                <c:pt idx="1931">
                  <c:v>41522</c:v>
                </c:pt>
                <c:pt idx="1932">
                  <c:v>41523</c:v>
                </c:pt>
                <c:pt idx="1933">
                  <c:v>41526</c:v>
                </c:pt>
                <c:pt idx="1934">
                  <c:v>41527</c:v>
                </c:pt>
                <c:pt idx="1935">
                  <c:v>41528</c:v>
                </c:pt>
                <c:pt idx="1936">
                  <c:v>41529</c:v>
                </c:pt>
                <c:pt idx="1937">
                  <c:v>41530</c:v>
                </c:pt>
                <c:pt idx="1938">
                  <c:v>41533</c:v>
                </c:pt>
                <c:pt idx="1939">
                  <c:v>41534</c:v>
                </c:pt>
                <c:pt idx="1940">
                  <c:v>41535</c:v>
                </c:pt>
                <c:pt idx="1941">
                  <c:v>41536</c:v>
                </c:pt>
                <c:pt idx="1942">
                  <c:v>41537</c:v>
                </c:pt>
                <c:pt idx="1943">
                  <c:v>41540</c:v>
                </c:pt>
                <c:pt idx="1944">
                  <c:v>41541</c:v>
                </c:pt>
                <c:pt idx="1945">
                  <c:v>41542</c:v>
                </c:pt>
                <c:pt idx="1946">
                  <c:v>41543</c:v>
                </c:pt>
                <c:pt idx="1947">
                  <c:v>41544</c:v>
                </c:pt>
                <c:pt idx="1948">
                  <c:v>41547</c:v>
                </c:pt>
                <c:pt idx="1949">
                  <c:v>41548</c:v>
                </c:pt>
                <c:pt idx="1950">
                  <c:v>41549</c:v>
                </c:pt>
                <c:pt idx="1951">
                  <c:v>41550</c:v>
                </c:pt>
                <c:pt idx="1952">
                  <c:v>41551</c:v>
                </c:pt>
                <c:pt idx="1953">
                  <c:v>41554</c:v>
                </c:pt>
                <c:pt idx="1954">
                  <c:v>41555</c:v>
                </c:pt>
                <c:pt idx="1955">
                  <c:v>41556</c:v>
                </c:pt>
                <c:pt idx="1956">
                  <c:v>41557</c:v>
                </c:pt>
                <c:pt idx="1957">
                  <c:v>41558</c:v>
                </c:pt>
                <c:pt idx="1958">
                  <c:v>41561</c:v>
                </c:pt>
                <c:pt idx="1959">
                  <c:v>41562</c:v>
                </c:pt>
                <c:pt idx="1960">
                  <c:v>41563</c:v>
                </c:pt>
                <c:pt idx="1961">
                  <c:v>41564</c:v>
                </c:pt>
                <c:pt idx="1962">
                  <c:v>41565</c:v>
                </c:pt>
                <c:pt idx="1963">
                  <c:v>41568</c:v>
                </c:pt>
                <c:pt idx="1964">
                  <c:v>41569</c:v>
                </c:pt>
                <c:pt idx="1965">
                  <c:v>41570</c:v>
                </c:pt>
                <c:pt idx="1966">
                  <c:v>41571</c:v>
                </c:pt>
                <c:pt idx="1967">
                  <c:v>41572</c:v>
                </c:pt>
                <c:pt idx="1968">
                  <c:v>41575</c:v>
                </c:pt>
                <c:pt idx="1969">
                  <c:v>41576</c:v>
                </c:pt>
                <c:pt idx="1970">
                  <c:v>41577</c:v>
                </c:pt>
                <c:pt idx="1971">
                  <c:v>41578</c:v>
                </c:pt>
                <c:pt idx="1972">
                  <c:v>41579</c:v>
                </c:pt>
                <c:pt idx="1973">
                  <c:v>41582</c:v>
                </c:pt>
                <c:pt idx="1974">
                  <c:v>41583</c:v>
                </c:pt>
                <c:pt idx="1975">
                  <c:v>41584</c:v>
                </c:pt>
                <c:pt idx="1976">
                  <c:v>41585</c:v>
                </c:pt>
                <c:pt idx="1977">
                  <c:v>41586</c:v>
                </c:pt>
                <c:pt idx="1978">
                  <c:v>41589</c:v>
                </c:pt>
                <c:pt idx="1979">
                  <c:v>41590</c:v>
                </c:pt>
                <c:pt idx="1980">
                  <c:v>41591</c:v>
                </c:pt>
                <c:pt idx="1981">
                  <c:v>41592</c:v>
                </c:pt>
                <c:pt idx="1982">
                  <c:v>41593</c:v>
                </c:pt>
                <c:pt idx="1983">
                  <c:v>41596</c:v>
                </c:pt>
                <c:pt idx="1984">
                  <c:v>41597</c:v>
                </c:pt>
                <c:pt idx="1985">
                  <c:v>41598</c:v>
                </c:pt>
                <c:pt idx="1986">
                  <c:v>41599</c:v>
                </c:pt>
                <c:pt idx="1987">
                  <c:v>41600</c:v>
                </c:pt>
                <c:pt idx="1988">
                  <c:v>41603</c:v>
                </c:pt>
                <c:pt idx="1989">
                  <c:v>41604</c:v>
                </c:pt>
                <c:pt idx="1990">
                  <c:v>41605</c:v>
                </c:pt>
                <c:pt idx="1991">
                  <c:v>41607</c:v>
                </c:pt>
                <c:pt idx="1992">
                  <c:v>41610</c:v>
                </c:pt>
                <c:pt idx="1993">
                  <c:v>41611</c:v>
                </c:pt>
                <c:pt idx="1994">
                  <c:v>41612</c:v>
                </c:pt>
                <c:pt idx="1995">
                  <c:v>41613</c:v>
                </c:pt>
                <c:pt idx="1996">
                  <c:v>41614</c:v>
                </c:pt>
                <c:pt idx="1997">
                  <c:v>41617</c:v>
                </c:pt>
                <c:pt idx="1998">
                  <c:v>41618</c:v>
                </c:pt>
                <c:pt idx="1999">
                  <c:v>41619</c:v>
                </c:pt>
                <c:pt idx="2000">
                  <c:v>41620</c:v>
                </c:pt>
                <c:pt idx="2001">
                  <c:v>41621</c:v>
                </c:pt>
                <c:pt idx="2002">
                  <c:v>41624</c:v>
                </c:pt>
                <c:pt idx="2003">
                  <c:v>41625</c:v>
                </c:pt>
                <c:pt idx="2004">
                  <c:v>41626</c:v>
                </c:pt>
                <c:pt idx="2005">
                  <c:v>41627</c:v>
                </c:pt>
                <c:pt idx="2006">
                  <c:v>41628</c:v>
                </c:pt>
                <c:pt idx="2007">
                  <c:v>41631</c:v>
                </c:pt>
                <c:pt idx="2008">
                  <c:v>41632</c:v>
                </c:pt>
                <c:pt idx="2009">
                  <c:v>41634</c:v>
                </c:pt>
                <c:pt idx="2010">
                  <c:v>41635</c:v>
                </c:pt>
                <c:pt idx="2011">
                  <c:v>41638</c:v>
                </c:pt>
                <c:pt idx="2012">
                  <c:v>41639</c:v>
                </c:pt>
                <c:pt idx="2013">
                  <c:v>41641</c:v>
                </c:pt>
                <c:pt idx="2014">
                  <c:v>41642</c:v>
                </c:pt>
                <c:pt idx="2015">
                  <c:v>41645</c:v>
                </c:pt>
                <c:pt idx="2016">
                  <c:v>41646</c:v>
                </c:pt>
                <c:pt idx="2017">
                  <c:v>41647</c:v>
                </c:pt>
                <c:pt idx="2018">
                  <c:v>41648</c:v>
                </c:pt>
                <c:pt idx="2019">
                  <c:v>41649</c:v>
                </c:pt>
                <c:pt idx="2020">
                  <c:v>41652</c:v>
                </c:pt>
                <c:pt idx="2021">
                  <c:v>41653</c:v>
                </c:pt>
                <c:pt idx="2022">
                  <c:v>41654</c:v>
                </c:pt>
                <c:pt idx="2023">
                  <c:v>41655</c:v>
                </c:pt>
                <c:pt idx="2024">
                  <c:v>41656</c:v>
                </c:pt>
                <c:pt idx="2025">
                  <c:v>41660</c:v>
                </c:pt>
                <c:pt idx="2026">
                  <c:v>41661</c:v>
                </c:pt>
                <c:pt idx="2027">
                  <c:v>41662</c:v>
                </c:pt>
                <c:pt idx="2028">
                  <c:v>41663</c:v>
                </c:pt>
                <c:pt idx="2029">
                  <c:v>41666</c:v>
                </c:pt>
                <c:pt idx="2030">
                  <c:v>41667</c:v>
                </c:pt>
                <c:pt idx="2031">
                  <c:v>41668</c:v>
                </c:pt>
                <c:pt idx="2032">
                  <c:v>41669</c:v>
                </c:pt>
                <c:pt idx="2033">
                  <c:v>41670</c:v>
                </c:pt>
                <c:pt idx="2034">
                  <c:v>41673</c:v>
                </c:pt>
                <c:pt idx="2035">
                  <c:v>41674</c:v>
                </c:pt>
                <c:pt idx="2036">
                  <c:v>41675</c:v>
                </c:pt>
                <c:pt idx="2037">
                  <c:v>41676</c:v>
                </c:pt>
                <c:pt idx="2038">
                  <c:v>41677</c:v>
                </c:pt>
                <c:pt idx="2039">
                  <c:v>41680</c:v>
                </c:pt>
                <c:pt idx="2040">
                  <c:v>41681</c:v>
                </c:pt>
                <c:pt idx="2041">
                  <c:v>41682</c:v>
                </c:pt>
                <c:pt idx="2042">
                  <c:v>41683</c:v>
                </c:pt>
                <c:pt idx="2043">
                  <c:v>41684</c:v>
                </c:pt>
                <c:pt idx="2044">
                  <c:v>41688</c:v>
                </c:pt>
                <c:pt idx="2045">
                  <c:v>41689</c:v>
                </c:pt>
                <c:pt idx="2046">
                  <c:v>41690</c:v>
                </c:pt>
                <c:pt idx="2047">
                  <c:v>41691</c:v>
                </c:pt>
                <c:pt idx="2048">
                  <c:v>41694</c:v>
                </c:pt>
                <c:pt idx="2049">
                  <c:v>41695</c:v>
                </c:pt>
                <c:pt idx="2050">
                  <c:v>41696</c:v>
                </c:pt>
                <c:pt idx="2051">
                  <c:v>41697</c:v>
                </c:pt>
                <c:pt idx="2052">
                  <c:v>41698</c:v>
                </c:pt>
                <c:pt idx="2053">
                  <c:v>41701</c:v>
                </c:pt>
                <c:pt idx="2054">
                  <c:v>41702</c:v>
                </c:pt>
                <c:pt idx="2055">
                  <c:v>41703</c:v>
                </c:pt>
                <c:pt idx="2056">
                  <c:v>41704</c:v>
                </c:pt>
                <c:pt idx="2057">
                  <c:v>41705</c:v>
                </c:pt>
                <c:pt idx="2058">
                  <c:v>41708</c:v>
                </c:pt>
                <c:pt idx="2059">
                  <c:v>41709</c:v>
                </c:pt>
                <c:pt idx="2060">
                  <c:v>41710</c:v>
                </c:pt>
                <c:pt idx="2061">
                  <c:v>41711</c:v>
                </c:pt>
                <c:pt idx="2062">
                  <c:v>41712</c:v>
                </c:pt>
                <c:pt idx="2063">
                  <c:v>41715</c:v>
                </c:pt>
                <c:pt idx="2064">
                  <c:v>41716</c:v>
                </c:pt>
                <c:pt idx="2065">
                  <c:v>41717</c:v>
                </c:pt>
                <c:pt idx="2066">
                  <c:v>41718</c:v>
                </c:pt>
                <c:pt idx="2067">
                  <c:v>41719</c:v>
                </c:pt>
                <c:pt idx="2068">
                  <c:v>41722</c:v>
                </c:pt>
                <c:pt idx="2069">
                  <c:v>41723</c:v>
                </c:pt>
                <c:pt idx="2070">
                  <c:v>41724</c:v>
                </c:pt>
                <c:pt idx="2071">
                  <c:v>41725</c:v>
                </c:pt>
                <c:pt idx="2072">
                  <c:v>41726</c:v>
                </c:pt>
                <c:pt idx="2073">
                  <c:v>41729</c:v>
                </c:pt>
                <c:pt idx="2074">
                  <c:v>41730</c:v>
                </c:pt>
                <c:pt idx="2075">
                  <c:v>41731</c:v>
                </c:pt>
                <c:pt idx="2076">
                  <c:v>41732</c:v>
                </c:pt>
                <c:pt idx="2077">
                  <c:v>41733</c:v>
                </c:pt>
                <c:pt idx="2078">
                  <c:v>41736</c:v>
                </c:pt>
                <c:pt idx="2079">
                  <c:v>41737</c:v>
                </c:pt>
                <c:pt idx="2080">
                  <c:v>41738</c:v>
                </c:pt>
                <c:pt idx="2081">
                  <c:v>41739</c:v>
                </c:pt>
                <c:pt idx="2082">
                  <c:v>41740</c:v>
                </c:pt>
                <c:pt idx="2083">
                  <c:v>41743</c:v>
                </c:pt>
                <c:pt idx="2084">
                  <c:v>41744</c:v>
                </c:pt>
                <c:pt idx="2085">
                  <c:v>41745</c:v>
                </c:pt>
                <c:pt idx="2086">
                  <c:v>41746</c:v>
                </c:pt>
                <c:pt idx="2087">
                  <c:v>41750</c:v>
                </c:pt>
                <c:pt idx="2088">
                  <c:v>41751</c:v>
                </c:pt>
                <c:pt idx="2089">
                  <c:v>41752</c:v>
                </c:pt>
                <c:pt idx="2090">
                  <c:v>41753</c:v>
                </c:pt>
                <c:pt idx="2091">
                  <c:v>41754</c:v>
                </c:pt>
                <c:pt idx="2092">
                  <c:v>41757</c:v>
                </c:pt>
                <c:pt idx="2093">
                  <c:v>41758</c:v>
                </c:pt>
                <c:pt idx="2094">
                  <c:v>41759</c:v>
                </c:pt>
                <c:pt idx="2095">
                  <c:v>41760</c:v>
                </c:pt>
                <c:pt idx="2096">
                  <c:v>41761</c:v>
                </c:pt>
                <c:pt idx="2097">
                  <c:v>41764</c:v>
                </c:pt>
                <c:pt idx="2098">
                  <c:v>41765</c:v>
                </c:pt>
                <c:pt idx="2099">
                  <c:v>41766</c:v>
                </c:pt>
                <c:pt idx="2100">
                  <c:v>41767</c:v>
                </c:pt>
                <c:pt idx="2101">
                  <c:v>41768</c:v>
                </c:pt>
                <c:pt idx="2102">
                  <c:v>41771</c:v>
                </c:pt>
                <c:pt idx="2103">
                  <c:v>41772</c:v>
                </c:pt>
                <c:pt idx="2104">
                  <c:v>41773</c:v>
                </c:pt>
                <c:pt idx="2105">
                  <c:v>41774</c:v>
                </c:pt>
                <c:pt idx="2106">
                  <c:v>41775</c:v>
                </c:pt>
                <c:pt idx="2107">
                  <c:v>41778</c:v>
                </c:pt>
                <c:pt idx="2108">
                  <c:v>41779</c:v>
                </c:pt>
                <c:pt idx="2109">
                  <c:v>41780</c:v>
                </c:pt>
                <c:pt idx="2110">
                  <c:v>41781</c:v>
                </c:pt>
                <c:pt idx="2111">
                  <c:v>41782</c:v>
                </c:pt>
                <c:pt idx="2112">
                  <c:v>41786</c:v>
                </c:pt>
                <c:pt idx="2113">
                  <c:v>41787</c:v>
                </c:pt>
                <c:pt idx="2114">
                  <c:v>41788</c:v>
                </c:pt>
                <c:pt idx="2115">
                  <c:v>41789</c:v>
                </c:pt>
                <c:pt idx="2116">
                  <c:v>41792</c:v>
                </c:pt>
                <c:pt idx="2117">
                  <c:v>41793</c:v>
                </c:pt>
                <c:pt idx="2118">
                  <c:v>41794</c:v>
                </c:pt>
                <c:pt idx="2119">
                  <c:v>41795</c:v>
                </c:pt>
                <c:pt idx="2120">
                  <c:v>41796</c:v>
                </c:pt>
                <c:pt idx="2121">
                  <c:v>41799</c:v>
                </c:pt>
                <c:pt idx="2122">
                  <c:v>41800</c:v>
                </c:pt>
                <c:pt idx="2123">
                  <c:v>41801</c:v>
                </c:pt>
                <c:pt idx="2124">
                  <c:v>41802</c:v>
                </c:pt>
                <c:pt idx="2125">
                  <c:v>41803</c:v>
                </c:pt>
                <c:pt idx="2126">
                  <c:v>41806</c:v>
                </c:pt>
                <c:pt idx="2127">
                  <c:v>41807</c:v>
                </c:pt>
                <c:pt idx="2128">
                  <c:v>41808</c:v>
                </c:pt>
                <c:pt idx="2129">
                  <c:v>41809</c:v>
                </c:pt>
                <c:pt idx="2130">
                  <c:v>41810</c:v>
                </c:pt>
                <c:pt idx="2131">
                  <c:v>41813</c:v>
                </c:pt>
                <c:pt idx="2132">
                  <c:v>41814</c:v>
                </c:pt>
                <c:pt idx="2133">
                  <c:v>41815</c:v>
                </c:pt>
                <c:pt idx="2134">
                  <c:v>41816</c:v>
                </c:pt>
                <c:pt idx="2135">
                  <c:v>41817</c:v>
                </c:pt>
                <c:pt idx="2136">
                  <c:v>41820</c:v>
                </c:pt>
                <c:pt idx="2137">
                  <c:v>41821</c:v>
                </c:pt>
                <c:pt idx="2138">
                  <c:v>41822</c:v>
                </c:pt>
                <c:pt idx="2139">
                  <c:v>41823</c:v>
                </c:pt>
                <c:pt idx="2140">
                  <c:v>41827</c:v>
                </c:pt>
                <c:pt idx="2141">
                  <c:v>41828</c:v>
                </c:pt>
                <c:pt idx="2142">
                  <c:v>41829</c:v>
                </c:pt>
                <c:pt idx="2143">
                  <c:v>41830</c:v>
                </c:pt>
                <c:pt idx="2144">
                  <c:v>41831</c:v>
                </c:pt>
                <c:pt idx="2145">
                  <c:v>41834</c:v>
                </c:pt>
                <c:pt idx="2146">
                  <c:v>41835</c:v>
                </c:pt>
                <c:pt idx="2147">
                  <c:v>41836</c:v>
                </c:pt>
                <c:pt idx="2148">
                  <c:v>41837</c:v>
                </c:pt>
                <c:pt idx="2149">
                  <c:v>41838</c:v>
                </c:pt>
                <c:pt idx="2150">
                  <c:v>41841</c:v>
                </c:pt>
                <c:pt idx="2151">
                  <c:v>41842</c:v>
                </c:pt>
                <c:pt idx="2152">
                  <c:v>41843</c:v>
                </c:pt>
                <c:pt idx="2153">
                  <c:v>41844</c:v>
                </c:pt>
                <c:pt idx="2154">
                  <c:v>41845</c:v>
                </c:pt>
                <c:pt idx="2155">
                  <c:v>41848</c:v>
                </c:pt>
                <c:pt idx="2156">
                  <c:v>41849</c:v>
                </c:pt>
                <c:pt idx="2157">
                  <c:v>41850</c:v>
                </c:pt>
                <c:pt idx="2158">
                  <c:v>41851</c:v>
                </c:pt>
                <c:pt idx="2159">
                  <c:v>41852</c:v>
                </c:pt>
                <c:pt idx="2160">
                  <c:v>41855</c:v>
                </c:pt>
                <c:pt idx="2161">
                  <c:v>41856</c:v>
                </c:pt>
                <c:pt idx="2162">
                  <c:v>41857</c:v>
                </c:pt>
                <c:pt idx="2163">
                  <c:v>41858</c:v>
                </c:pt>
                <c:pt idx="2164">
                  <c:v>41859</c:v>
                </c:pt>
                <c:pt idx="2165">
                  <c:v>41862</c:v>
                </c:pt>
                <c:pt idx="2166">
                  <c:v>41863</c:v>
                </c:pt>
                <c:pt idx="2167">
                  <c:v>41864</c:v>
                </c:pt>
                <c:pt idx="2168">
                  <c:v>41865</c:v>
                </c:pt>
                <c:pt idx="2169">
                  <c:v>41866</c:v>
                </c:pt>
                <c:pt idx="2170">
                  <c:v>41869</c:v>
                </c:pt>
                <c:pt idx="2171">
                  <c:v>41870</c:v>
                </c:pt>
                <c:pt idx="2172">
                  <c:v>41871</c:v>
                </c:pt>
                <c:pt idx="2173">
                  <c:v>41872</c:v>
                </c:pt>
                <c:pt idx="2174">
                  <c:v>41873</c:v>
                </c:pt>
                <c:pt idx="2175">
                  <c:v>41876</c:v>
                </c:pt>
                <c:pt idx="2176">
                  <c:v>41877</c:v>
                </c:pt>
                <c:pt idx="2177">
                  <c:v>41878</c:v>
                </c:pt>
                <c:pt idx="2178">
                  <c:v>41879</c:v>
                </c:pt>
                <c:pt idx="2179">
                  <c:v>41880</c:v>
                </c:pt>
                <c:pt idx="2180">
                  <c:v>41884</c:v>
                </c:pt>
                <c:pt idx="2181">
                  <c:v>41885</c:v>
                </c:pt>
                <c:pt idx="2182">
                  <c:v>41886</c:v>
                </c:pt>
                <c:pt idx="2183">
                  <c:v>41887</c:v>
                </c:pt>
                <c:pt idx="2184">
                  <c:v>41890</c:v>
                </c:pt>
                <c:pt idx="2185">
                  <c:v>41891</c:v>
                </c:pt>
                <c:pt idx="2186">
                  <c:v>41892</c:v>
                </c:pt>
                <c:pt idx="2187">
                  <c:v>41893</c:v>
                </c:pt>
                <c:pt idx="2188">
                  <c:v>41894</c:v>
                </c:pt>
                <c:pt idx="2189">
                  <c:v>41897</c:v>
                </c:pt>
                <c:pt idx="2190">
                  <c:v>41898</c:v>
                </c:pt>
                <c:pt idx="2191">
                  <c:v>41899</c:v>
                </c:pt>
                <c:pt idx="2192">
                  <c:v>41900</c:v>
                </c:pt>
                <c:pt idx="2193">
                  <c:v>41901</c:v>
                </c:pt>
                <c:pt idx="2194">
                  <c:v>41904</c:v>
                </c:pt>
                <c:pt idx="2195">
                  <c:v>41905</c:v>
                </c:pt>
                <c:pt idx="2196">
                  <c:v>41906</c:v>
                </c:pt>
                <c:pt idx="2197">
                  <c:v>41907</c:v>
                </c:pt>
                <c:pt idx="2198">
                  <c:v>41908</c:v>
                </c:pt>
                <c:pt idx="2199">
                  <c:v>41911</c:v>
                </c:pt>
                <c:pt idx="2200">
                  <c:v>41912</c:v>
                </c:pt>
                <c:pt idx="2201">
                  <c:v>41913</c:v>
                </c:pt>
                <c:pt idx="2202">
                  <c:v>41914</c:v>
                </c:pt>
                <c:pt idx="2203">
                  <c:v>41915</c:v>
                </c:pt>
                <c:pt idx="2204">
                  <c:v>41918</c:v>
                </c:pt>
                <c:pt idx="2205">
                  <c:v>41919</c:v>
                </c:pt>
                <c:pt idx="2206">
                  <c:v>41920</c:v>
                </c:pt>
                <c:pt idx="2207">
                  <c:v>41921</c:v>
                </c:pt>
                <c:pt idx="2208">
                  <c:v>41922</c:v>
                </c:pt>
                <c:pt idx="2209">
                  <c:v>41925</c:v>
                </c:pt>
                <c:pt idx="2210">
                  <c:v>41926</c:v>
                </c:pt>
                <c:pt idx="2211">
                  <c:v>41927</c:v>
                </c:pt>
                <c:pt idx="2212">
                  <c:v>41928</c:v>
                </c:pt>
                <c:pt idx="2213">
                  <c:v>41929</c:v>
                </c:pt>
                <c:pt idx="2214">
                  <c:v>41932</c:v>
                </c:pt>
                <c:pt idx="2215">
                  <c:v>41933</c:v>
                </c:pt>
                <c:pt idx="2216">
                  <c:v>41934</c:v>
                </c:pt>
                <c:pt idx="2217">
                  <c:v>41935</c:v>
                </c:pt>
                <c:pt idx="2218">
                  <c:v>41936</c:v>
                </c:pt>
                <c:pt idx="2219">
                  <c:v>41939</c:v>
                </c:pt>
                <c:pt idx="2220">
                  <c:v>41940</c:v>
                </c:pt>
                <c:pt idx="2221">
                  <c:v>41941</c:v>
                </c:pt>
                <c:pt idx="2222">
                  <c:v>41942</c:v>
                </c:pt>
                <c:pt idx="2223">
                  <c:v>41943</c:v>
                </c:pt>
                <c:pt idx="2224">
                  <c:v>41946</c:v>
                </c:pt>
                <c:pt idx="2225">
                  <c:v>41947</c:v>
                </c:pt>
                <c:pt idx="2226">
                  <c:v>41948</c:v>
                </c:pt>
                <c:pt idx="2227">
                  <c:v>41949</c:v>
                </c:pt>
                <c:pt idx="2228">
                  <c:v>41950</c:v>
                </c:pt>
                <c:pt idx="2229">
                  <c:v>41953</c:v>
                </c:pt>
                <c:pt idx="2230">
                  <c:v>41954</c:v>
                </c:pt>
                <c:pt idx="2231">
                  <c:v>41955</c:v>
                </c:pt>
                <c:pt idx="2232">
                  <c:v>41956</c:v>
                </c:pt>
                <c:pt idx="2233">
                  <c:v>41957</c:v>
                </c:pt>
                <c:pt idx="2234">
                  <c:v>41960</c:v>
                </c:pt>
                <c:pt idx="2235">
                  <c:v>41961</c:v>
                </c:pt>
                <c:pt idx="2236">
                  <c:v>41962</c:v>
                </c:pt>
                <c:pt idx="2237">
                  <c:v>41963</c:v>
                </c:pt>
                <c:pt idx="2238">
                  <c:v>41964</c:v>
                </c:pt>
                <c:pt idx="2239">
                  <c:v>41967</c:v>
                </c:pt>
                <c:pt idx="2240">
                  <c:v>41968</c:v>
                </c:pt>
                <c:pt idx="2241">
                  <c:v>41969</c:v>
                </c:pt>
                <c:pt idx="2242">
                  <c:v>41971</c:v>
                </c:pt>
                <c:pt idx="2243">
                  <c:v>41974</c:v>
                </c:pt>
                <c:pt idx="2244">
                  <c:v>41975</c:v>
                </c:pt>
                <c:pt idx="2245">
                  <c:v>41976</c:v>
                </c:pt>
                <c:pt idx="2246">
                  <c:v>41977</c:v>
                </c:pt>
                <c:pt idx="2247">
                  <c:v>41978</c:v>
                </c:pt>
                <c:pt idx="2248">
                  <c:v>41981</c:v>
                </c:pt>
                <c:pt idx="2249">
                  <c:v>41982</c:v>
                </c:pt>
                <c:pt idx="2250">
                  <c:v>41983</c:v>
                </c:pt>
                <c:pt idx="2251">
                  <c:v>41984</c:v>
                </c:pt>
                <c:pt idx="2252">
                  <c:v>41985</c:v>
                </c:pt>
                <c:pt idx="2253">
                  <c:v>41988</c:v>
                </c:pt>
                <c:pt idx="2254">
                  <c:v>41989</c:v>
                </c:pt>
                <c:pt idx="2255">
                  <c:v>41990</c:v>
                </c:pt>
                <c:pt idx="2256">
                  <c:v>41991</c:v>
                </c:pt>
                <c:pt idx="2257">
                  <c:v>41992</c:v>
                </c:pt>
                <c:pt idx="2258">
                  <c:v>41995</c:v>
                </c:pt>
                <c:pt idx="2259">
                  <c:v>41996</c:v>
                </c:pt>
                <c:pt idx="2260">
                  <c:v>41997</c:v>
                </c:pt>
                <c:pt idx="2261">
                  <c:v>41999</c:v>
                </c:pt>
                <c:pt idx="2262">
                  <c:v>42002</c:v>
                </c:pt>
                <c:pt idx="2263">
                  <c:v>42003</c:v>
                </c:pt>
                <c:pt idx="2264">
                  <c:v>42004</c:v>
                </c:pt>
                <c:pt idx="2265">
                  <c:v>42006</c:v>
                </c:pt>
                <c:pt idx="2266">
                  <c:v>42009</c:v>
                </c:pt>
                <c:pt idx="2267">
                  <c:v>42010</c:v>
                </c:pt>
                <c:pt idx="2268">
                  <c:v>42011</c:v>
                </c:pt>
                <c:pt idx="2269">
                  <c:v>42012</c:v>
                </c:pt>
                <c:pt idx="2270">
                  <c:v>42013</c:v>
                </c:pt>
                <c:pt idx="2271">
                  <c:v>42016</c:v>
                </c:pt>
                <c:pt idx="2272">
                  <c:v>42017</c:v>
                </c:pt>
                <c:pt idx="2273">
                  <c:v>42018</c:v>
                </c:pt>
                <c:pt idx="2274">
                  <c:v>42019</c:v>
                </c:pt>
                <c:pt idx="2275">
                  <c:v>42020</c:v>
                </c:pt>
                <c:pt idx="2276">
                  <c:v>42024</c:v>
                </c:pt>
                <c:pt idx="2277">
                  <c:v>42025</c:v>
                </c:pt>
                <c:pt idx="2278">
                  <c:v>42026</c:v>
                </c:pt>
                <c:pt idx="2279">
                  <c:v>42027</c:v>
                </c:pt>
                <c:pt idx="2280">
                  <c:v>42030</c:v>
                </c:pt>
                <c:pt idx="2281">
                  <c:v>42031</c:v>
                </c:pt>
                <c:pt idx="2282">
                  <c:v>42032</c:v>
                </c:pt>
                <c:pt idx="2283">
                  <c:v>42033</c:v>
                </c:pt>
                <c:pt idx="2284">
                  <c:v>42034</c:v>
                </c:pt>
                <c:pt idx="2285">
                  <c:v>42037</c:v>
                </c:pt>
                <c:pt idx="2286">
                  <c:v>42038</c:v>
                </c:pt>
                <c:pt idx="2287">
                  <c:v>42039</c:v>
                </c:pt>
                <c:pt idx="2288">
                  <c:v>42040</c:v>
                </c:pt>
                <c:pt idx="2289">
                  <c:v>42041</c:v>
                </c:pt>
                <c:pt idx="2290">
                  <c:v>42044</c:v>
                </c:pt>
                <c:pt idx="2291">
                  <c:v>42045</c:v>
                </c:pt>
                <c:pt idx="2292">
                  <c:v>42046</c:v>
                </c:pt>
                <c:pt idx="2293">
                  <c:v>42047</c:v>
                </c:pt>
                <c:pt idx="2294">
                  <c:v>42048</c:v>
                </c:pt>
                <c:pt idx="2295">
                  <c:v>42052</c:v>
                </c:pt>
                <c:pt idx="2296">
                  <c:v>42053</c:v>
                </c:pt>
                <c:pt idx="2297">
                  <c:v>42054</c:v>
                </c:pt>
                <c:pt idx="2298">
                  <c:v>42055</c:v>
                </c:pt>
                <c:pt idx="2299">
                  <c:v>42058</c:v>
                </c:pt>
                <c:pt idx="2300">
                  <c:v>42059</c:v>
                </c:pt>
                <c:pt idx="2301">
                  <c:v>42060</c:v>
                </c:pt>
                <c:pt idx="2302">
                  <c:v>42061</c:v>
                </c:pt>
                <c:pt idx="2303">
                  <c:v>42062</c:v>
                </c:pt>
                <c:pt idx="2304">
                  <c:v>42065</c:v>
                </c:pt>
                <c:pt idx="2305">
                  <c:v>42066</c:v>
                </c:pt>
                <c:pt idx="2306">
                  <c:v>42067</c:v>
                </c:pt>
                <c:pt idx="2307">
                  <c:v>42068</c:v>
                </c:pt>
                <c:pt idx="2308">
                  <c:v>42069</c:v>
                </c:pt>
                <c:pt idx="2309">
                  <c:v>42072</c:v>
                </c:pt>
                <c:pt idx="2310">
                  <c:v>42073</c:v>
                </c:pt>
                <c:pt idx="2311">
                  <c:v>42074</c:v>
                </c:pt>
                <c:pt idx="2312">
                  <c:v>42075</c:v>
                </c:pt>
                <c:pt idx="2313">
                  <c:v>42076</c:v>
                </c:pt>
                <c:pt idx="2314">
                  <c:v>42079</c:v>
                </c:pt>
                <c:pt idx="2315">
                  <c:v>42080</c:v>
                </c:pt>
                <c:pt idx="2316">
                  <c:v>42081</c:v>
                </c:pt>
                <c:pt idx="2317">
                  <c:v>42082</c:v>
                </c:pt>
                <c:pt idx="2318">
                  <c:v>42083</c:v>
                </c:pt>
                <c:pt idx="2319">
                  <c:v>42086</c:v>
                </c:pt>
                <c:pt idx="2320">
                  <c:v>42087</c:v>
                </c:pt>
                <c:pt idx="2321">
                  <c:v>42088</c:v>
                </c:pt>
                <c:pt idx="2322">
                  <c:v>42089</c:v>
                </c:pt>
                <c:pt idx="2323">
                  <c:v>42090</c:v>
                </c:pt>
                <c:pt idx="2324">
                  <c:v>42093</c:v>
                </c:pt>
                <c:pt idx="2325">
                  <c:v>42094</c:v>
                </c:pt>
                <c:pt idx="2326">
                  <c:v>42095</c:v>
                </c:pt>
                <c:pt idx="2327">
                  <c:v>42096</c:v>
                </c:pt>
                <c:pt idx="2328">
                  <c:v>42100</c:v>
                </c:pt>
                <c:pt idx="2329">
                  <c:v>42101</c:v>
                </c:pt>
                <c:pt idx="2330">
                  <c:v>42102</c:v>
                </c:pt>
                <c:pt idx="2331">
                  <c:v>42103</c:v>
                </c:pt>
                <c:pt idx="2332">
                  <c:v>42104</c:v>
                </c:pt>
                <c:pt idx="2333">
                  <c:v>42107</c:v>
                </c:pt>
                <c:pt idx="2334">
                  <c:v>42108</c:v>
                </c:pt>
                <c:pt idx="2335">
                  <c:v>42109</c:v>
                </c:pt>
                <c:pt idx="2336">
                  <c:v>42110</c:v>
                </c:pt>
                <c:pt idx="2337">
                  <c:v>42111</c:v>
                </c:pt>
                <c:pt idx="2338">
                  <c:v>42114</c:v>
                </c:pt>
                <c:pt idx="2339">
                  <c:v>42115</c:v>
                </c:pt>
                <c:pt idx="2340">
                  <c:v>42116</c:v>
                </c:pt>
                <c:pt idx="2341">
                  <c:v>42117</c:v>
                </c:pt>
                <c:pt idx="2342">
                  <c:v>42118</c:v>
                </c:pt>
                <c:pt idx="2343">
                  <c:v>42121</c:v>
                </c:pt>
                <c:pt idx="2344">
                  <c:v>42122</c:v>
                </c:pt>
                <c:pt idx="2345">
                  <c:v>42123</c:v>
                </c:pt>
                <c:pt idx="2346">
                  <c:v>42124</c:v>
                </c:pt>
                <c:pt idx="2347">
                  <c:v>42125</c:v>
                </c:pt>
                <c:pt idx="2348">
                  <c:v>42128</c:v>
                </c:pt>
                <c:pt idx="2349">
                  <c:v>42129</c:v>
                </c:pt>
                <c:pt idx="2350">
                  <c:v>42130</c:v>
                </c:pt>
                <c:pt idx="2351">
                  <c:v>42131</c:v>
                </c:pt>
                <c:pt idx="2352">
                  <c:v>42132</c:v>
                </c:pt>
                <c:pt idx="2353">
                  <c:v>42135</c:v>
                </c:pt>
                <c:pt idx="2354">
                  <c:v>42136</c:v>
                </c:pt>
                <c:pt idx="2355">
                  <c:v>42137</c:v>
                </c:pt>
                <c:pt idx="2356">
                  <c:v>42138</c:v>
                </c:pt>
                <c:pt idx="2357">
                  <c:v>42139</c:v>
                </c:pt>
                <c:pt idx="2358">
                  <c:v>42142</c:v>
                </c:pt>
                <c:pt idx="2359">
                  <c:v>42143</c:v>
                </c:pt>
                <c:pt idx="2360">
                  <c:v>42144</c:v>
                </c:pt>
                <c:pt idx="2361">
                  <c:v>42145</c:v>
                </c:pt>
                <c:pt idx="2362">
                  <c:v>42146</c:v>
                </c:pt>
                <c:pt idx="2363">
                  <c:v>42150</c:v>
                </c:pt>
                <c:pt idx="2364">
                  <c:v>42151</c:v>
                </c:pt>
                <c:pt idx="2365">
                  <c:v>42152</c:v>
                </c:pt>
                <c:pt idx="2366">
                  <c:v>42153</c:v>
                </c:pt>
                <c:pt idx="2367">
                  <c:v>42156</c:v>
                </c:pt>
                <c:pt idx="2368">
                  <c:v>42157</c:v>
                </c:pt>
                <c:pt idx="2369">
                  <c:v>42158</c:v>
                </c:pt>
                <c:pt idx="2370">
                  <c:v>42159</c:v>
                </c:pt>
                <c:pt idx="2371">
                  <c:v>42160</c:v>
                </c:pt>
                <c:pt idx="2372">
                  <c:v>42163</c:v>
                </c:pt>
                <c:pt idx="2373">
                  <c:v>42164</c:v>
                </c:pt>
                <c:pt idx="2374">
                  <c:v>42165</c:v>
                </c:pt>
                <c:pt idx="2375">
                  <c:v>42166</c:v>
                </c:pt>
                <c:pt idx="2376">
                  <c:v>42167</c:v>
                </c:pt>
                <c:pt idx="2377">
                  <c:v>42170</c:v>
                </c:pt>
                <c:pt idx="2378">
                  <c:v>42171</c:v>
                </c:pt>
                <c:pt idx="2379">
                  <c:v>42172</c:v>
                </c:pt>
                <c:pt idx="2380">
                  <c:v>42173</c:v>
                </c:pt>
                <c:pt idx="2381">
                  <c:v>42174</c:v>
                </c:pt>
                <c:pt idx="2382">
                  <c:v>42177</c:v>
                </c:pt>
                <c:pt idx="2383">
                  <c:v>42178</c:v>
                </c:pt>
                <c:pt idx="2384">
                  <c:v>42179</c:v>
                </c:pt>
                <c:pt idx="2385">
                  <c:v>42180</c:v>
                </c:pt>
                <c:pt idx="2386">
                  <c:v>42181</c:v>
                </c:pt>
                <c:pt idx="2387">
                  <c:v>42184</c:v>
                </c:pt>
                <c:pt idx="2388">
                  <c:v>42185</c:v>
                </c:pt>
                <c:pt idx="2389">
                  <c:v>42186</c:v>
                </c:pt>
                <c:pt idx="2390">
                  <c:v>42187</c:v>
                </c:pt>
                <c:pt idx="2391">
                  <c:v>42191</c:v>
                </c:pt>
                <c:pt idx="2392">
                  <c:v>42192</c:v>
                </c:pt>
                <c:pt idx="2393">
                  <c:v>42193</c:v>
                </c:pt>
                <c:pt idx="2394">
                  <c:v>42194</c:v>
                </c:pt>
                <c:pt idx="2395">
                  <c:v>42195</c:v>
                </c:pt>
                <c:pt idx="2396">
                  <c:v>42198</c:v>
                </c:pt>
                <c:pt idx="2397">
                  <c:v>42199</c:v>
                </c:pt>
                <c:pt idx="2398">
                  <c:v>42200</c:v>
                </c:pt>
                <c:pt idx="2399">
                  <c:v>42201</c:v>
                </c:pt>
                <c:pt idx="2400">
                  <c:v>42202</c:v>
                </c:pt>
                <c:pt idx="2401">
                  <c:v>42205</c:v>
                </c:pt>
                <c:pt idx="2402">
                  <c:v>42206</c:v>
                </c:pt>
                <c:pt idx="2403">
                  <c:v>42207</c:v>
                </c:pt>
                <c:pt idx="2404">
                  <c:v>42208</c:v>
                </c:pt>
                <c:pt idx="2405">
                  <c:v>42209</c:v>
                </c:pt>
                <c:pt idx="2406">
                  <c:v>42212</c:v>
                </c:pt>
                <c:pt idx="2407">
                  <c:v>42213</c:v>
                </c:pt>
                <c:pt idx="2408">
                  <c:v>42214</c:v>
                </c:pt>
                <c:pt idx="2409">
                  <c:v>42215</c:v>
                </c:pt>
                <c:pt idx="2410">
                  <c:v>42216</c:v>
                </c:pt>
                <c:pt idx="2411">
                  <c:v>42219</c:v>
                </c:pt>
                <c:pt idx="2412">
                  <c:v>42220</c:v>
                </c:pt>
                <c:pt idx="2413">
                  <c:v>42221</c:v>
                </c:pt>
                <c:pt idx="2414">
                  <c:v>42222</c:v>
                </c:pt>
                <c:pt idx="2415">
                  <c:v>42223</c:v>
                </c:pt>
                <c:pt idx="2416">
                  <c:v>42226</c:v>
                </c:pt>
                <c:pt idx="2417">
                  <c:v>42227</c:v>
                </c:pt>
                <c:pt idx="2418">
                  <c:v>42228</c:v>
                </c:pt>
                <c:pt idx="2419">
                  <c:v>42229</c:v>
                </c:pt>
                <c:pt idx="2420">
                  <c:v>42230</c:v>
                </c:pt>
                <c:pt idx="2421">
                  <c:v>42233</c:v>
                </c:pt>
                <c:pt idx="2422">
                  <c:v>42234</c:v>
                </c:pt>
                <c:pt idx="2423">
                  <c:v>42235</c:v>
                </c:pt>
                <c:pt idx="2424">
                  <c:v>42236</c:v>
                </c:pt>
                <c:pt idx="2425">
                  <c:v>42237</c:v>
                </c:pt>
                <c:pt idx="2426">
                  <c:v>42240</c:v>
                </c:pt>
                <c:pt idx="2427">
                  <c:v>42241</c:v>
                </c:pt>
                <c:pt idx="2428">
                  <c:v>42242</c:v>
                </c:pt>
                <c:pt idx="2429">
                  <c:v>42243</c:v>
                </c:pt>
                <c:pt idx="2430">
                  <c:v>42244</c:v>
                </c:pt>
                <c:pt idx="2431">
                  <c:v>42247</c:v>
                </c:pt>
                <c:pt idx="2432">
                  <c:v>42248</c:v>
                </c:pt>
                <c:pt idx="2433">
                  <c:v>42249</c:v>
                </c:pt>
                <c:pt idx="2434">
                  <c:v>42250</c:v>
                </c:pt>
                <c:pt idx="2435">
                  <c:v>42251</c:v>
                </c:pt>
                <c:pt idx="2436">
                  <c:v>42255</c:v>
                </c:pt>
                <c:pt idx="2437">
                  <c:v>42256</c:v>
                </c:pt>
                <c:pt idx="2438">
                  <c:v>42257</c:v>
                </c:pt>
                <c:pt idx="2439">
                  <c:v>42258</c:v>
                </c:pt>
                <c:pt idx="2440">
                  <c:v>42261</c:v>
                </c:pt>
                <c:pt idx="2441">
                  <c:v>42262</c:v>
                </c:pt>
                <c:pt idx="2442">
                  <c:v>42263</c:v>
                </c:pt>
                <c:pt idx="2443">
                  <c:v>42264</c:v>
                </c:pt>
                <c:pt idx="2444">
                  <c:v>42265</c:v>
                </c:pt>
                <c:pt idx="2445">
                  <c:v>42268</c:v>
                </c:pt>
                <c:pt idx="2446">
                  <c:v>42269</c:v>
                </c:pt>
                <c:pt idx="2447">
                  <c:v>42270</c:v>
                </c:pt>
                <c:pt idx="2448">
                  <c:v>42271</c:v>
                </c:pt>
                <c:pt idx="2449">
                  <c:v>42272</c:v>
                </c:pt>
                <c:pt idx="2450">
                  <c:v>42275</c:v>
                </c:pt>
                <c:pt idx="2451">
                  <c:v>42276</c:v>
                </c:pt>
                <c:pt idx="2452">
                  <c:v>42277</c:v>
                </c:pt>
                <c:pt idx="2453">
                  <c:v>42278</c:v>
                </c:pt>
                <c:pt idx="2454">
                  <c:v>42279</c:v>
                </c:pt>
                <c:pt idx="2455">
                  <c:v>42282</c:v>
                </c:pt>
                <c:pt idx="2456">
                  <c:v>42283</c:v>
                </c:pt>
                <c:pt idx="2457">
                  <c:v>42284</c:v>
                </c:pt>
                <c:pt idx="2458">
                  <c:v>42285</c:v>
                </c:pt>
                <c:pt idx="2459">
                  <c:v>42286</c:v>
                </c:pt>
                <c:pt idx="2460">
                  <c:v>42289</c:v>
                </c:pt>
                <c:pt idx="2461">
                  <c:v>42290</c:v>
                </c:pt>
                <c:pt idx="2462">
                  <c:v>42291</c:v>
                </c:pt>
                <c:pt idx="2463">
                  <c:v>42292</c:v>
                </c:pt>
                <c:pt idx="2464">
                  <c:v>42293</c:v>
                </c:pt>
                <c:pt idx="2465">
                  <c:v>42296</c:v>
                </c:pt>
                <c:pt idx="2466">
                  <c:v>42297</c:v>
                </c:pt>
                <c:pt idx="2467">
                  <c:v>42298</c:v>
                </c:pt>
                <c:pt idx="2468">
                  <c:v>42299</c:v>
                </c:pt>
                <c:pt idx="2469">
                  <c:v>42300</c:v>
                </c:pt>
                <c:pt idx="2470">
                  <c:v>42303</c:v>
                </c:pt>
                <c:pt idx="2471">
                  <c:v>42304</c:v>
                </c:pt>
                <c:pt idx="2472">
                  <c:v>42305</c:v>
                </c:pt>
                <c:pt idx="2473">
                  <c:v>42306</c:v>
                </c:pt>
                <c:pt idx="2474">
                  <c:v>42307</c:v>
                </c:pt>
                <c:pt idx="2475">
                  <c:v>42310</c:v>
                </c:pt>
                <c:pt idx="2476">
                  <c:v>42311</c:v>
                </c:pt>
                <c:pt idx="2477">
                  <c:v>42312</c:v>
                </c:pt>
                <c:pt idx="2478">
                  <c:v>42313</c:v>
                </c:pt>
                <c:pt idx="2479">
                  <c:v>42314</c:v>
                </c:pt>
                <c:pt idx="2480">
                  <c:v>42317</c:v>
                </c:pt>
                <c:pt idx="2481">
                  <c:v>42318</c:v>
                </c:pt>
                <c:pt idx="2482">
                  <c:v>42319</c:v>
                </c:pt>
                <c:pt idx="2483">
                  <c:v>42320</c:v>
                </c:pt>
                <c:pt idx="2484">
                  <c:v>42321</c:v>
                </c:pt>
                <c:pt idx="2485">
                  <c:v>42324</c:v>
                </c:pt>
                <c:pt idx="2486">
                  <c:v>42325</c:v>
                </c:pt>
                <c:pt idx="2487">
                  <c:v>42326</c:v>
                </c:pt>
                <c:pt idx="2488">
                  <c:v>42327</c:v>
                </c:pt>
                <c:pt idx="2489">
                  <c:v>42328</c:v>
                </c:pt>
                <c:pt idx="2490">
                  <c:v>42331</c:v>
                </c:pt>
                <c:pt idx="2491">
                  <c:v>42332</c:v>
                </c:pt>
                <c:pt idx="2492">
                  <c:v>42333</c:v>
                </c:pt>
                <c:pt idx="2493">
                  <c:v>42335</c:v>
                </c:pt>
                <c:pt idx="2494">
                  <c:v>42338</c:v>
                </c:pt>
                <c:pt idx="2495">
                  <c:v>42339</c:v>
                </c:pt>
                <c:pt idx="2496">
                  <c:v>42340</c:v>
                </c:pt>
                <c:pt idx="2497">
                  <c:v>42341</c:v>
                </c:pt>
                <c:pt idx="2498">
                  <c:v>42342</c:v>
                </c:pt>
                <c:pt idx="2499">
                  <c:v>42345</c:v>
                </c:pt>
                <c:pt idx="2500">
                  <c:v>42346</c:v>
                </c:pt>
                <c:pt idx="2501">
                  <c:v>42347</c:v>
                </c:pt>
                <c:pt idx="2502">
                  <c:v>42348</c:v>
                </c:pt>
                <c:pt idx="2503">
                  <c:v>42349</c:v>
                </c:pt>
                <c:pt idx="2504">
                  <c:v>42352</c:v>
                </c:pt>
                <c:pt idx="2505">
                  <c:v>42353</c:v>
                </c:pt>
                <c:pt idx="2506">
                  <c:v>42354</c:v>
                </c:pt>
                <c:pt idx="2507">
                  <c:v>42355</c:v>
                </c:pt>
                <c:pt idx="2508">
                  <c:v>42356</c:v>
                </c:pt>
                <c:pt idx="2509">
                  <c:v>42359</c:v>
                </c:pt>
                <c:pt idx="2510">
                  <c:v>42360</c:v>
                </c:pt>
                <c:pt idx="2511">
                  <c:v>42361</c:v>
                </c:pt>
                <c:pt idx="2512">
                  <c:v>42362</c:v>
                </c:pt>
                <c:pt idx="2513">
                  <c:v>42366</c:v>
                </c:pt>
                <c:pt idx="2514">
                  <c:v>42367</c:v>
                </c:pt>
                <c:pt idx="2515">
                  <c:v>42368</c:v>
                </c:pt>
                <c:pt idx="2516">
                  <c:v>42369</c:v>
                </c:pt>
                <c:pt idx="2517">
                  <c:v>42373</c:v>
                </c:pt>
                <c:pt idx="2518">
                  <c:v>42374</c:v>
                </c:pt>
                <c:pt idx="2519">
                  <c:v>42375</c:v>
                </c:pt>
                <c:pt idx="2520">
                  <c:v>42376</c:v>
                </c:pt>
                <c:pt idx="2521">
                  <c:v>42377</c:v>
                </c:pt>
                <c:pt idx="2522">
                  <c:v>42380</c:v>
                </c:pt>
                <c:pt idx="2523">
                  <c:v>42381</c:v>
                </c:pt>
                <c:pt idx="2524">
                  <c:v>42382</c:v>
                </c:pt>
                <c:pt idx="2525">
                  <c:v>42383</c:v>
                </c:pt>
                <c:pt idx="2526">
                  <c:v>42384</c:v>
                </c:pt>
                <c:pt idx="2527">
                  <c:v>42388</c:v>
                </c:pt>
                <c:pt idx="2528">
                  <c:v>42389</c:v>
                </c:pt>
                <c:pt idx="2529">
                  <c:v>42390</c:v>
                </c:pt>
                <c:pt idx="2530">
                  <c:v>42391</c:v>
                </c:pt>
                <c:pt idx="2531">
                  <c:v>42394</c:v>
                </c:pt>
                <c:pt idx="2532">
                  <c:v>42395</c:v>
                </c:pt>
                <c:pt idx="2533">
                  <c:v>42396</c:v>
                </c:pt>
                <c:pt idx="2534">
                  <c:v>42397</c:v>
                </c:pt>
                <c:pt idx="2535">
                  <c:v>42398</c:v>
                </c:pt>
                <c:pt idx="2536">
                  <c:v>42401</c:v>
                </c:pt>
                <c:pt idx="2537">
                  <c:v>42402</c:v>
                </c:pt>
                <c:pt idx="2538">
                  <c:v>42403</c:v>
                </c:pt>
                <c:pt idx="2539">
                  <c:v>42404</c:v>
                </c:pt>
                <c:pt idx="2540">
                  <c:v>42405</c:v>
                </c:pt>
                <c:pt idx="2541">
                  <c:v>42408</c:v>
                </c:pt>
                <c:pt idx="2542">
                  <c:v>42409</c:v>
                </c:pt>
                <c:pt idx="2543">
                  <c:v>42410</c:v>
                </c:pt>
                <c:pt idx="2544">
                  <c:v>42411</c:v>
                </c:pt>
                <c:pt idx="2545">
                  <c:v>42412</c:v>
                </c:pt>
                <c:pt idx="2546">
                  <c:v>42416</c:v>
                </c:pt>
                <c:pt idx="2547">
                  <c:v>42417</c:v>
                </c:pt>
                <c:pt idx="2548">
                  <c:v>42418</c:v>
                </c:pt>
                <c:pt idx="2549">
                  <c:v>42419</c:v>
                </c:pt>
                <c:pt idx="2550">
                  <c:v>42422</c:v>
                </c:pt>
                <c:pt idx="2551">
                  <c:v>42423</c:v>
                </c:pt>
                <c:pt idx="2552">
                  <c:v>42424</c:v>
                </c:pt>
                <c:pt idx="2553">
                  <c:v>42425</c:v>
                </c:pt>
                <c:pt idx="2554">
                  <c:v>42426</c:v>
                </c:pt>
                <c:pt idx="2555">
                  <c:v>42429</c:v>
                </c:pt>
                <c:pt idx="2556">
                  <c:v>42430</c:v>
                </c:pt>
                <c:pt idx="2557">
                  <c:v>42431</c:v>
                </c:pt>
                <c:pt idx="2558">
                  <c:v>42432</c:v>
                </c:pt>
                <c:pt idx="2559">
                  <c:v>42433</c:v>
                </c:pt>
                <c:pt idx="2560">
                  <c:v>42436</c:v>
                </c:pt>
                <c:pt idx="2561">
                  <c:v>42437</c:v>
                </c:pt>
                <c:pt idx="2562">
                  <c:v>42438</c:v>
                </c:pt>
                <c:pt idx="2563">
                  <c:v>42439</c:v>
                </c:pt>
                <c:pt idx="2564">
                  <c:v>42440</c:v>
                </c:pt>
                <c:pt idx="2565">
                  <c:v>42443</c:v>
                </c:pt>
                <c:pt idx="2566">
                  <c:v>42444</c:v>
                </c:pt>
                <c:pt idx="2567">
                  <c:v>42445</c:v>
                </c:pt>
                <c:pt idx="2568">
                  <c:v>42446</c:v>
                </c:pt>
                <c:pt idx="2569">
                  <c:v>42447</c:v>
                </c:pt>
                <c:pt idx="2570">
                  <c:v>42450</c:v>
                </c:pt>
                <c:pt idx="2571">
                  <c:v>42451</c:v>
                </c:pt>
                <c:pt idx="2572">
                  <c:v>42452</c:v>
                </c:pt>
                <c:pt idx="2573">
                  <c:v>42453</c:v>
                </c:pt>
                <c:pt idx="2574">
                  <c:v>42457</c:v>
                </c:pt>
                <c:pt idx="2575">
                  <c:v>42458</c:v>
                </c:pt>
                <c:pt idx="2576">
                  <c:v>42459</c:v>
                </c:pt>
                <c:pt idx="2577">
                  <c:v>42460</c:v>
                </c:pt>
                <c:pt idx="2578">
                  <c:v>42461</c:v>
                </c:pt>
                <c:pt idx="2579">
                  <c:v>42464</c:v>
                </c:pt>
                <c:pt idx="2580">
                  <c:v>42465</c:v>
                </c:pt>
                <c:pt idx="2581">
                  <c:v>42466</c:v>
                </c:pt>
                <c:pt idx="2582">
                  <c:v>42467</c:v>
                </c:pt>
                <c:pt idx="2583">
                  <c:v>42468</c:v>
                </c:pt>
                <c:pt idx="2584">
                  <c:v>42471</c:v>
                </c:pt>
                <c:pt idx="2585">
                  <c:v>42472</c:v>
                </c:pt>
                <c:pt idx="2586">
                  <c:v>42473</c:v>
                </c:pt>
                <c:pt idx="2587">
                  <c:v>42474</c:v>
                </c:pt>
                <c:pt idx="2588">
                  <c:v>42475</c:v>
                </c:pt>
                <c:pt idx="2589">
                  <c:v>42478</c:v>
                </c:pt>
                <c:pt idx="2590">
                  <c:v>42479</c:v>
                </c:pt>
                <c:pt idx="2591">
                  <c:v>42480</c:v>
                </c:pt>
                <c:pt idx="2592">
                  <c:v>42481</c:v>
                </c:pt>
                <c:pt idx="2593">
                  <c:v>42482</c:v>
                </c:pt>
                <c:pt idx="2594">
                  <c:v>42485</c:v>
                </c:pt>
                <c:pt idx="2595">
                  <c:v>42486</c:v>
                </c:pt>
                <c:pt idx="2596">
                  <c:v>42487</c:v>
                </c:pt>
                <c:pt idx="2597">
                  <c:v>42488</c:v>
                </c:pt>
                <c:pt idx="2598">
                  <c:v>42489</c:v>
                </c:pt>
                <c:pt idx="2599">
                  <c:v>42492</c:v>
                </c:pt>
                <c:pt idx="2600">
                  <c:v>42493</c:v>
                </c:pt>
                <c:pt idx="2601">
                  <c:v>42494</c:v>
                </c:pt>
                <c:pt idx="2602">
                  <c:v>42495</c:v>
                </c:pt>
                <c:pt idx="2603">
                  <c:v>42496</c:v>
                </c:pt>
                <c:pt idx="2604">
                  <c:v>42499</c:v>
                </c:pt>
              </c:numCache>
            </c:numRef>
          </c:cat>
          <c:val>
            <c:numRef>
              <c:f>volumes!$N$5:$N$2609</c:f>
              <c:numCache>
                <c:formatCode>General</c:formatCode>
                <c:ptCount val="2605"/>
                <c:pt idx="0">
                  <c:v>11.14</c:v>
                </c:pt>
                <c:pt idx="1">
                  <c:v>11.37</c:v>
                </c:pt>
                <c:pt idx="2">
                  <c:v>11.31</c:v>
                </c:pt>
                <c:pt idx="3">
                  <c:v>11</c:v>
                </c:pt>
                <c:pt idx="4">
                  <c:v>11.13</c:v>
                </c:pt>
                <c:pt idx="5">
                  <c:v>10.86</c:v>
                </c:pt>
                <c:pt idx="6">
                  <c:v>10.94</c:v>
                </c:pt>
                <c:pt idx="7">
                  <c:v>11.2</c:v>
                </c:pt>
                <c:pt idx="8">
                  <c:v>11.23</c:v>
                </c:pt>
                <c:pt idx="9">
                  <c:v>11.91</c:v>
                </c:pt>
                <c:pt idx="10">
                  <c:v>12.25</c:v>
                </c:pt>
                <c:pt idx="11">
                  <c:v>11.98</c:v>
                </c:pt>
                <c:pt idx="12">
                  <c:v>14.56</c:v>
                </c:pt>
                <c:pt idx="13">
                  <c:v>13.93</c:v>
                </c:pt>
                <c:pt idx="14">
                  <c:v>13.31</c:v>
                </c:pt>
                <c:pt idx="15">
                  <c:v>12.87</c:v>
                </c:pt>
                <c:pt idx="16">
                  <c:v>12.42</c:v>
                </c:pt>
                <c:pt idx="17">
                  <c:v>11.97</c:v>
                </c:pt>
                <c:pt idx="18">
                  <c:v>12.39</c:v>
                </c:pt>
                <c:pt idx="19">
                  <c:v>12.95</c:v>
                </c:pt>
                <c:pt idx="20">
                  <c:v>12.36</c:v>
                </c:pt>
                <c:pt idx="21">
                  <c:v>13.23</c:v>
                </c:pt>
                <c:pt idx="22">
                  <c:v>12.96</c:v>
                </c:pt>
                <c:pt idx="23">
                  <c:v>13.04</c:v>
                </c:pt>
                <c:pt idx="24">
                  <c:v>13.59</c:v>
                </c:pt>
                <c:pt idx="25">
                  <c:v>12.83</c:v>
                </c:pt>
                <c:pt idx="26">
                  <c:v>13.12</c:v>
                </c:pt>
                <c:pt idx="27">
                  <c:v>12.87</c:v>
                </c:pt>
                <c:pt idx="28">
                  <c:v>13.35</c:v>
                </c:pt>
                <c:pt idx="29">
                  <c:v>12.25</c:v>
                </c:pt>
                <c:pt idx="30">
                  <c:v>12.31</c:v>
                </c:pt>
                <c:pt idx="31">
                  <c:v>11.48</c:v>
                </c:pt>
                <c:pt idx="32">
                  <c:v>12.01</c:v>
                </c:pt>
                <c:pt idx="33">
                  <c:v>12.41</c:v>
                </c:pt>
                <c:pt idx="34">
                  <c:v>11.88</c:v>
                </c:pt>
                <c:pt idx="35">
                  <c:v>11.87</c:v>
                </c:pt>
                <c:pt idx="36">
                  <c:v>11.46</c:v>
                </c:pt>
                <c:pt idx="37">
                  <c:v>11.59</c:v>
                </c:pt>
                <c:pt idx="38">
                  <c:v>12.34</c:v>
                </c:pt>
                <c:pt idx="39">
                  <c:v>11.54</c:v>
                </c:pt>
                <c:pt idx="40">
                  <c:v>11.72</c:v>
                </c:pt>
                <c:pt idx="41">
                  <c:v>11.96</c:v>
                </c:pt>
                <c:pt idx="42">
                  <c:v>12.74</c:v>
                </c:pt>
                <c:pt idx="43">
                  <c:v>12.66</c:v>
                </c:pt>
                <c:pt idx="44">
                  <c:v>12.32</c:v>
                </c:pt>
                <c:pt idx="45">
                  <c:v>12.68</c:v>
                </c:pt>
                <c:pt idx="46">
                  <c:v>11.85</c:v>
                </c:pt>
                <c:pt idx="47">
                  <c:v>11.37</c:v>
                </c:pt>
                <c:pt idx="48">
                  <c:v>10.74</c:v>
                </c:pt>
                <c:pt idx="49">
                  <c:v>11.35</c:v>
                </c:pt>
                <c:pt idx="50">
                  <c:v>11.98</c:v>
                </c:pt>
                <c:pt idx="51">
                  <c:v>12.12</c:v>
                </c:pt>
                <c:pt idx="52">
                  <c:v>11.79</c:v>
                </c:pt>
                <c:pt idx="53">
                  <c:v>11.62</c:v>
                </c:pt>
                <c:pt idx="54">
                  <c:v>11.21</c:v>
                </c:pt>
                <c:pt idx="55">
                  <c:v>11.17</c:v>
                </c:pt>
                <c:pt idx="56">
                  <c:v>11.19</c:v>
                </c:pt>
                <c:pt idx="57">
                  <c:v>11.46</c:v>
                </c:pt>
                <c:pt idx="58">
                  <c:v>11.58</c:v>
                </c:pt>
                <c:pt idx="59">
                  <c:v>10.95</c:v>
                </c:pt>
                <c:pt idx="60">
                  <c:v>11.57</c:v>
                </c:pt>
                <c:pt idx="61">
                  <c:v>11.39</c:v>
                </c:pt>
                <c:pt idx="62">
                  <c:v>11.57</c:v>
                </c:pt>
                <c:pt idx="63">
                  <c:v>11.14</c:v>
                </c:pt>
                <c:pt idx="64">
                  <c:v>11.13</c:v>
                </c:pt>
                <c:pt idx="65">
                  <c:v>11.45</c:v>
                </c:pt>
                <c:pt idx="66">
                  <c:v>12.26</c:v>
                </c:pt>
                <c:pt idx="67">
                  <c:v>12.19</c:v>
                </c:pt>
                <c:pt idx="68">
                  <c:v>13</c:v>
                </c:pt>
                <c:pt idx="69">
                  <c:v>12.76</c:v>
                </c:pt>
                <c:pt idx="70">
                  <c:v>12.38</c:v>
                </c:pt>
                <c:pt idx="71">
                  <c:v>12.58</c:v>
                </c:pt>
                <c:pt idx="72">
                  <c:v>11.4</c:v>
                </c:pt>
                <c:pt idx="73">
                  <c:v>11.32</c:v>
                </c:pt>
                <c:pt idx="74">
                  <c:v>11.64</c:v>
                </c:pt>
                <c:pt idx="75">
                  <c:v>11.59</c:v>
                </c:pt>
                <c:pt idx="76">
                  <c:v>11.75</c:v>
                </c:pt>
                <c:pt idx="77">
                  <c:v>11.75</c:v>
                </c:pt>
                <c:pt idx="78">
                  <c:v>11.76</c:v>
                </c:pt>
                <c:pt idx="79">
                  <c:v>11.84</c:v>
                </c:pt>
                <c:pt idx="80">
                  <c:v>11.59</c:v>
                </c:pt>
                <c:pt idx="81">
                  <c:v>12.54</c:v>
                </c:pt>
                <c:pt idx="82">
                  <c:v>11.99</c:v>
                </c:pt>
                <c:pt idx="83">
                  <c:v>11.99</c:v>
                </c:pt>
                <c:pt idx="84">
                  <c:v>11.86</c:v>
                </c:pt>
                <c:pt idx="85">
                  <c:v>11.62</c:v>
                </c:pt>
                <c:pt idx="86">
                  <c:v>12</c:v>
                </c:pt>
                <c:pt idx="87">
                  <c:v>11.99</c:v>
                </c:pt>
                <c:pt idx="88">
                  <c:v>11.78</c:v>
                </c:pt>
                <c:pt idx="89">
                  <c:v>12.49</c:v>
                </c:pt>
                <c:pt idx="90">
                  <c:v>14.19</c:v>
                </c:pt>
                <c:pt idx="91">
                  <c:v>13.57</c:v>
                </c:pt>
                <c:pt idx="92">
                  <c:v>13.35</c:v>
                </c:pt>
                <c:pt idx="93">
                  <c:v>16.260000000000002</c:v>
                </c:pt>
                <c:pt idx="94">
                  <c:v>16.989999999999998</c:v>
                </c:pt>
                <c:pt idx="95">
                  <c:v>17.18</c:v>
                </c:pt>
                <c:pt idx="96">
                  <c:v>17.72</c:v>
                </c:pt>
                <c:pt idx="97">
                  <c:v>18.260000000000002</c:v>
                </c:pt>
                <c:pt idx="98">
                  <c:v>17.36</c:v>
                </c:pt>
                <c:pt idx="99">
                  <c:v>15.5</c:v>
                </c:pt>
                <c:pt idx="100">
                  <c:v>14.26</c:v>
                </c:pt>
                <c:pt idx="101">
                  <c:v>18.66</c:v>
                </c:pt>
                <c:pt idx="102">
                  <c:v>16.440000000000001</c:v>
                </c:pt>
                <c:pt idx="103">
                  <c:v>14.52</c:v>
                </c:pt>
                <c:pt idx="104">
                  <c:v>14.32</c:v>
                </c:pt>
                <c:pt idx="105">
                  <c:v>16.649999999999999</c:v>
                </c:pt>
                <c:pt idx="106">
                  <c:v>17.34</c:v>
                </c:pt>
                <c:pt idx="107">
                  <c:v>17.8</c:v>
                </c:pt>
                <c:pt idx="108">
                  <c:v>18.350000000000001</c:v>
                </c:pt>
                <c:pt idx="109">
                  <c:v>18.12</c:v>
                </c:pt>
                <c:pt idx="110">
                  <c:v>20.96</c:v>
                </c:pt>
                <c:pt idx="111">
                  <c:v>23.81</c:v>
                </c:pt>
                <c:pt idx="112">
                  <c:v>21.46</c:v>
                </c:pt>
                <c:pt idx="113">
                  <c:v>15.9</c:v>
                </c:pt>
                <c:pt idx="114">
                  <c:v>17.25</c:v>
                </c:pt>
                <c:pt idx="115">
                  <c:v>17.829999999999998</c:v>
                </c:pt>
                <c:pt idx="116">
                  <c:v>16.690000000000001</c:v>
                </c:pt>
                <c:pt idx="117">
                  <c:v>15.52</c:v>
                </c:pt>
                <c:pt idx="118">
                  <c:v>15.88</c:v>
                </c:pt>
                <c:pt idx="119">
                  <c:v>15.89</c:v>
                </c:pt>
                <c:pt idx="120">
                  <c:v>15.62</c:v>
                </c:pt>
                <c:pt idx="121">
                  <c:v>16.399999999999999</c:v>
                </c:pt>
                <c:pt idx="122">
                  <c:v>15.79</c:v>
                </c:pt>
                <c:pt idx="123">
                  <c:v>13.03</c:v>
                </c:pt>
                <c:pt idx="124">
                  <c:v>13.08</c:v>
                </c:pt>
                <c:pt idx="125">
                  <c:v>13.05</c:v>
                </c:pt>
                <c:pt idx="126">
                  <c:v>14.15</c:v>
                </c:pt>
                <c:pt idx="127">
                  <c:v>13.65</c:v>
                </c:pt>
                <c:pt idx="128">
                  <c:v>13.97</c:v>
                </c:pt>
                <c:pt idx="129">
                  <c:v>14.02</c:v>
                </c:pt>
                <c:pt idx="130">
                  <c:v>13.14</c:v>
                </c:pt>
                <c:pt idx="131">
                  <c:v>14.49</c:v>
                </c:pt>
                <c:pt idx="132">
                  <c:v>17.79</c:v>
                </c:pt>
                <c:pt idx="133">
                  <c:v>18.05</c:v>
                </c:pt>
                <c:pt idx="134">
                  <c:v>18.64</c:v>
                </c:pt>
                <c:pt idx="135">
                  <c:v>17.739999999999998</c:v>
                </c:pt>
                <c:pt idx="136">
                  <c:v>15.55</c:v>
                </c:pt>
                <c:pt idx="137">
                  <c:v>16.21</c:v>
                </c:pt>
                <c:pt idx="138">
                  <c:v>17.399999999999999</c:v>
                </c:pt>
                <c:pt idx="139">
                  <c:v>14.98</c:v>
                </c:pt>
                <c:pt idx="140">
                  <c:v>14.85</c:v>
                </c:pt>
                <c:pt idx="141">
                  <c:v>14.62</c:v>
                </c:pt>
                <c:pt idx="142">
                  <c:v>14.94</c:v>
                </c:pt>
                <c:pt idx="143">
                  <c:v>14.33</c:v>
                </c:pt>
                <c:pt idx="144">
                  <c:v>14.95</c:v>
                </c:pt>
                <c:pt idx="145">
                  <c:v>15.05</c:v>
                </c:pt>
                <c:pt idx="146">
                  <c:v>14.34</c:v>
                </c:pt>
                <c:pt idx="147">
                  <c:v>14.46</c:v>
                </c:pt>
                <c:pt idx="148">
                  <c:v>14.34</c:v>
                </c:pt>
                <c:pt idx="149">
                  <c:v>15.23</c:v>
                </c:pt>
                <c:pt idx="150">
                  <c:v>15.23</c:v>
                </c:pt>
                <c:pt idx="151">
                  <c:v>15.2</c:v>
                </c:pt>
                <c:pt idx="152">
                  <c:v>14.46</c:v>
                </c:pt>
                <c:pt idx="153">
                  <c:v>14.3</c:v>
                </c:pt>
                <c:pt idx="154">
                  <c:v>14.26</c:v>
                </c:pt>
                <c:pt idx="155">
                  <c:v>13.42</c:v>
                </c:pt>
                <c:pt idx="156">
                  <c:v>12.41</c:v>
                </c:pt>
                <c:pt idx="157">
                  <c:v>12.24</c:v>
                </c:pt>
                <c:pt idx="158">
                  <c:v>11.64</c:v>
                </c:pt>
                <c:pt idx="159">
                  <c:v>12.22</c:v>
                </c:pt>
                <c:pt idx="160">
                  <c:v>12.19</c:v>
                </c:pt>
                <c:pt idx="161">
                  <c:v>12.4</c:v>
                </c:pt>
                <c:pt idx="162">
                  <c:v>12.4</c:v>
                </c:pt>
                <c:pt idx="163">
                  <c:v>12.31</c:v>
                </c:pt>
                <c:pt idx="164">
                  <c:v>12.18</c:v>
                </c:pt>
                <c:pt idx="165">
                  <c:v>12.28</c:v>
                </c:pt>
                <c:pt idx="166">
                  <c:v>12.22</c:v>
                </c:pt>
                <c:pt idx="167">
                  <c:v>12.31</c:v>
                </c:pt>
                <c:pt idx="168">
                  <c:v>11.96</c:v>
                </c:pt>
                <c:pt idx="169">
                  <c:v>12.63</c:v>
                </c:pt>
                <c:pt idx="170">
                  <c:v>13.74</c:v>
                </c:pt>
                <c:pt idx="171">
                  <c:v>13.88</c:v>
                </c:pt>
                <c:pt idx="172">
                  <c:v>13.16</c:v>
                </c:pt>
                <c:pt idx="173">
                  <c:v>12.99</c:v>
                </c:pt>
                <c:pt idx="174">
                  <c:v>11.92</c:v>
                </c:pt>
                <c:pt idx="175">
                  <c:v>11.18</c:v>
                </c:pt>
                <c:pt idx="176">
                  <c:v>11.55</c:v>
                </c:pt>
                <c:pt idx="177">
                  <c:v>11.76</c:v>
                </c:pt>
                <c:pt idx="178">
                  <c:v>11.78</c:v>
                </c:pt>
                <c:pt idx="179">
                  <c:v>11.98</c:v>
                </c:pt>
                <c:pt idx="180">
                  <c:v>11.39</c:v>
                </c:pt>
                <c:pt idx="181">
                  <c:v>12.25</c:v>
                </c:pt>
                <c:pt idx="182">
                  <c:v>12.59</c:v>
                </c:pt>
                <c:pt idx="183">
                  <c:v>12.12</c:v>
                </c:pt>
                <c:pt idx="184">
                  <c:v>11.53</c:v>
                </c:pt>
                <c:pt idx="185">
                  <c:v>11.58</c:v>
                </c:pt>
                <c:pt idx="186">
                  <c:v>11.72</c:v>
                </c:pt>
                <c:pt idx="187">
                  <c:v>11.98</c:v>
                </c:pt>
                <c:pt idx="188">
                  <c:v>12.57</c:v>
                </c:pt>
                <c:pt idx="189">
                  <c:v>12.24</c:v>
                </c:pt>
                <c:pt idx="190">
                  <c:v>11.86</c:v>
                </c:pt>
                <c:pt idx="191">
                  <c:v>11.98</c:v>
                </c:pt>
                <c:pt idx="192">
                  <c:v>11.56</c:v>
                </c:pt>
                <c:pt idx="193">
                  <c:v>11.68</c:v>
                </c:pt>
                <c:pt idx="194">
                  <c:v>11.52</c:v>
                </c:pt>
                <c:pt idx="195">
                  <c:v>11.62</c:v>
                </c:pt>
                <c:pt idx="196">
                  <c:v>11.09</c:v>
                </c:pt>
                <c:pt idx="197">
                  <c:v>10.75</c:v>
                </c:pt>
                <c:pt idx="198">
                  <c:v>11.09</c:v>
                </c:pt>
                <c:pt idx="199">
                  <c:v>11.73</c:v>
                </c:pt>
                <c:pt idx="200">
                  <c:v>11.34</c:v>
                </c:pt>
                <c:pt idx="201">
                  <c:v>10.9</c:v>
                </c:pt>
                <c:pt idx="202">
                  <c:v>10.63</c:v>
                </c:pt>
                <c:pt idx="203">
                  <c:v>11.08</c:v>
                </c:pt>
                <c:pt idx="204">
                  <c:v>10.78</c:v>
                </c:pt>
                <c:pt idx="205">
                  <c:v>10.66</c:v>
                </c:pt>
                <c:pt idx="206">
                  <c:v>10.56</c:v>
                </c:pt>
                <c:pt idx="207">
                  <c:v>10.8</c:v>
                </c:pt>
                <c:pt idx="208">
                  <c:v>11.2</c:v>
                </c:pt>
                <c:pt idx="209">
                  <c:v>11.1</c:v>
                </c:pt>
                <c:pt idx="210">
                  <c:v>11.51</c:v>
                </c:pt>
                <c:pt idx="211">
                  <c:v>11.42</c:v>
                </c:pt>
                <c:pt idx="212">
                  <c:v>11.16</c:v>
                </c:pt>
                <c:pt idx="213">
                  <c:v>11.16</c:v>
                </c:pt>
                <c:pt idx="214">
                  <c:v>11.09</c:v>
                </c:pt>
                <c:pt idx="215">
                  <c:v>10.75</c:v>
                </c:pt>
                <c:pt idx="216">
                  <c:v>11.01</c:v>
                </c:pt>
                <c:pt idx="217">
                  <c:v>10.79</c:v>
                </c:pt>
                <c:pt idx="218">
                  <c:v>10.86</c:v>
                </c:pt>
                <c:pt idx="219">
                  <c:v>10.5</c:v>
                </c:pt>
                <c:pt idx="220">
                  <c:v>10.31</c:v>
                </c:pt>
                <c:pt idx="221">
                  <c:v>10.16</c:v>
                </c:pt>
                <c:pt idx="222">
                  <c:v>10.050000000000001</c:v>
                </c:pt>
                <c:pt idx="223">
                  <c:v>9.9700000000000006</c:v>
                </c:pt>
                <c:pt idx="224">
                  <c:v>9.9</c:v>
                </c:pt>
                <c:pt idx="225">
                  <c:v>10.14</c:v>
                </c:pt>
                <c:pt idx="226">
                  <c:v>10.73</c:v>
                </c:pt>
                <c:pt idx="227">
                  <c:v>12.3</c:v>
                </c:pt>
                <c:pt idx="228">
                  <c:v>11.62</c:v>
                </c:pt>
                <c:pt idx="229">
                  <c:v>10.83</c:v>
                </c:pt>
                <c:pt idx="230">
                  <c:v>10.91</c:v>
                </c:pt>
                <c:pt idx="231">
                  <c:v>11.66</c:v>
                </c:pt>
                <c:pt idx="232">
                  <c:v>11.23</c:v>
                </c:pt>
                <c:pt idx="233">
                  <c:v>11.27</c:v>
                </c:pt>
                <c:pt idx="234">
                  <c:v>11.33</c:v>
                </c:pt>
                <c:pt idx="235">
                  <c:v>12.67</c:v>
                </c:pt>
                <c:pt idx="236">
                  <c:v>12.07</c:v>
                </c:pt>
                <c:pt idx="237">
                  <c:v>10.71</c:v>
                </c:pt>
                <c:pt idx="238">
                  <c:v>10.65</c:v>
                </c:pt>
                <c:pt idx="239">
                  <c:v>10.18</c:v>
                </c:pt>
                <c:pt idx="240">
                  <c:v>9.9700000000000006</c:v>
                </c:pt>
                <c:pt idx="241">
                  <c:v>10.050000000000001</c:v>
                </c:pt>
                <c:pt idx="242">
                  <c:v>10.6</c:v>
                </c:pt>
                <c:pt idx="243">
                  <c:v>10.3</c:v>
                </c:pt>
                <c:pt idx="244">
                  <c:v>10.26</c:v>
                </c:pt>
                <c:pt idx="245">
                  <c:v>10.53</c:v>
                </c:pt>
                <c:pt idx="246">
                  <c:v>11.36</c:v>
                </c:pt>
                <c:pt idx="247">
                  <c:v>11.26</c:v>
                </c:pt>
                <c:pt idx="248">
                  <c:v>10.64</c:v>
                </c:pt>
                <c:pt idx="249">
                  <c:v>10.99</c:v>
                </c:pt>
                <c:pt idx="250">
                  <c:v>11.56</c:v>
                </c:pt>
                <c:pt idx="251">
                  <c:v>12.04</c:v>
                </c:pt>
                <c:pt idx="252">
                  <c:v>11.51</c:v>
                </c:pt>
                <c:pt idx="253">
                  <c:v>12.14</c:v>
                </c:pt>
                <c:pt idx="254">
                  <c:v>12</c:v>
                </c:pt>
                <c:pt idx="255">
                  <c:v>11.91</c:v>
                </c:pt>
                <c:pt idx="256">
                  <c:v>11.47</c:v>
                </c:pt>
                <c:pt idx="257">
                  <c:v>10.87</c:v>
                </c:pt>
                <c:pt idx="258">
                  <c:v>10.15</c:v>
                </c:pt>
                <c:pt idx="259">
                  <c:v>10.74</c:v>
                </c:pt>
                <c:pt idx="260">
                  <c:v>10.59</c:v>
                </c:pt>
                <c:pt idx="261">
                  <c:v>10.85</c:v>
                </c:pt>
                <c:pt idx="262">
                  <c:v>10.4</c:v>
                </c:pt>
                <c:pt idx="263">
                  <c:v>10.77</c:v>
                </c:pt>
                <c:pt idx="264">
                  <c:v>10.34</c:v>
                </c:pt>
                <c:pt idx="265">
                  <c:v>9.89</c:v>
                </c:pt>
                <c:pt idx="266">
                  <c:v>11.22</c:v>
                </c:pt>
                <c:pt idx="267">
                  <c:v>11.13</c:v>
                </c:pt>
                <c:pt idx="268">
                  <c:v>11.45</c:v>
                </c:pt>
                <c:pt idx="269">
                  <c:v>10.96</c:v>
                </c:pt>
                <c:pt idx="270">
                  <c:v>10.42</c:v>
                </c:pt>
                <c:pt idx="271">
                  <c:v>10.31</c:v>
                </c:pt>
                <c:pt idx="272">
                  <c:v>10.08</c:v>
                </c:pt>
                <c:pt idx="273">
                  <c:v>10.55</c:v>
                </c:pt>
                <c:pt idx="274">
                  <c:v>10.65</c:v>
                </c:pt>
                <c:pt idx="275">
                  <c:v>10.32</c:v>
                </c:pt>
                <c:pt idx="276">
                  <c:v>10.44</c:v>
                </c:pt>
                <c:pt idx="277">
                  <c:v>11.1</c:v>
                </c:pt>
                <c:pt idx="278">
                  <c:v>11.61</c:v>
                </c:pt>
                <c:pt idx="279">
                  <c:v>10.34</c:v>
                </c:pt>
                <c:pt idx="280">
                  <c:v>10.23</c:v>
                </c:pt>
                <c:pt idx="281">
                  <c:v>10.220000000000001</c:v>
                </c:pt>
                <c:pt idx="282">
                  <c:v>10.02</c:v>
                </c:pt>
                <c:pt idx="283">
                  <c:v>10.24</c:v>
                </c:pt>
                <c:pt idx="284">
                  <c:v>10.199999999999999</c:v>
                </c:pt>
                <c:pt idx="285">
                  <c:v>10.18</c:v>
                </c:pt>
                <c:pt idx="286">
                  <c:v>10.58</c:v>
                </c:pt>
                <c:pt idx="287">
                  <c:v>11.15</c:v>
                </c:pt>
                <c:pt idx="288">
                  <c:v>18.309999999999999</c:v>
                </c:pt>
                <c:pt idx="289">
                  <c:v>15.42</c:v>
                </c:pt>
                <c:pt idx="290">
                  <c:v>15.82</c:v>
                </c:pt>
                <c:pt idx="291">
                  <c:v>18.61</c:v>
                </c:pt>
                <c:pt idx="292">
                  <c:v>19.63</c:v>
                </c:pt>
                <c:pt idx="293">
                  <c:v>15.96</c:v>
                </c:pt>
                <c:pt idx="294">
                  <c:v>15.24</c:v>
                </c:pt>
                <c:pt idx="295">
                  <c:v>14.29</c:v>
                </c:pt>
                <c:pt idx="296">
                  <c:v>14.09</c:v>
                </c:pt>
                <c:pt idx="297">
                  <c:v>13.99</c:v>
                </c:pt>
                <c:pt idx="298">
                  <c:v>18.13</c:v>
                </c:pt>
                <c:pt idx="299">
                  <c:v>17.27</c:v>
                </c:pt>
                <c:pt idx="300">
                  <c:v>16.43</c:v>
                </c:pt>
                <c:pt idx="301">
                  <c:v>16.79</c:v>
                </c:pt>
                <c:pt idx="302">
                  <c:v>14.59</c:v>
                </c:pt>
                <c:pt idx="303">
                  <c:v>13.27</c:v>
                </c:pt>
                <c:pt idx="304">
                  <c:v>12.19</c:v>
                </c:pt>
                <c:pt idx="305">
                  <c:v>12.93</c:v>
                </c:pt>
                <c:pt idx="306">
                  <c:v>12.95</c:v>
                </c:pt>
                <c:pt idx="307">
                  <c:v>13.16</c:v>
                </c:pt>
                <c:pt idx="308">
                  <c:v>13.48</c:v>
                </c:pt>
                <c:pt idx="309">
                  <c:v>14.98</c:v>
                </c:pt>
                <c:pt idx="310">
                  <c:v>15.14</c:v>
                </c:pt>
                <c:pt idx="311">
                  <c:v>14.64</c:v>
                </c:pt>
                <c:pt idx="312">
                  <c:v>14.53</c:v>
                </c:pt>
                <c:pt idx="313">
                  <c:v>13.46</c:v>
                </c:pt>
                <c:pt idx="314">
                  <c:v>13.24</c:v>
                </c:pt>
                <c:pt idx="315">
                  <c:v>13.23</c:v>
                </c:pt>
                <c:pt idx="316">
                  <c:v>13.14</c:v>
                </c:pt>
                <c:pt idx="317">
                  <c:v>12.68</c:v>
                </c:pt>
                <c:pt idx="318">
                  <c:v>13.49</c:v>
                </c:pt>
                <c:pt idx="319">
                  <c:v>12.71</c:v>
                </c:pt>
                <c:pt idx="320">
                  <c:v>12.2</c:v>
                </c:pt>
                <c:pt idx="321">
                  <c:v>11.98</c:v>
                </c:pt>
                <c:pt idx="322">
                  <c:v>12.14</c:v>
                </c:pt>
                <c:pt idx="323">
                  <c:v>12.42</c:v>
                </c:pt>
                <c:pt idx="324">
                  <c:v>12.54</c:v>
                </c:pt>
                <c:pt idx="325">
                  <c:v>12.07</c:v>
                </c:pt>
                <c:pt idx="326">
                  <c:v>13.04</c:v>
                </c:pt>
                <c:pt idx="327">
                  <c:v>13.12</c:v>
                </c:pt>
                <c:pt idx="328">
                  <c:v>13.21</c:v>
                </c:pt>
                <c:pt idx="329">
                  <c:v>12.79</c:v>
                </c:pt>
                <c:pt idx="330">
                  <c:v>12.45</c:v>
                </c:pt>
                <c:pt idx="331">
                  <c:v>14.22</c:v>
                </c:pt>
                <c:pt idx="332">
                  <c:v>13.51</c:v>
                </c:pt>
                <c:pt idx="333">
                  <c:v>13.08</c:v>
                </c:pt>
                <c:pt idx="334">
                  <c:v>13.09</c:v>
                </c:pt>
                <c:pt idx="335">
                  <c:v>12.91</c:v>
                </c:pt>
                <c:pt idx="336">
                  <c:v>13.15</c:v>
                </c:pt>
                <c:pt idx="337">
                  <c:v>13.21</c:v>
                </c:pt>
                <c:pt idx="338">
                  <c:v>12.88</c:v>
                </c:pt>
                <c:pt idx="339">
                  <c:v>13.6</c:v>
                </c:pt>
                <c:pt idx="340">
                  <c:v>12.95</c:v>
                </c:pt>
                <c:pt idx="341">
                  <c:v>13.96</c:v>
                </c:pt>
                <c:pt idx="342">
                  <c:v>14.01</c:v>
                </c:pt>
                <c:pt idx="343">
                  <c:v>13.5</c:v>
                </c:pt>
                <c:pt idx="344">
                  <c:v>13.51</c:v>
                </c:pt>
                <c:pt idx="345">
                  <c:v>12.76</c:v>
                </c:pt>
                <c:pt idx="346">
                  <c:v>13.3</c:v>
                </c:pt>
                <c:pt idx="347">
                  <c:v>13.06</c:v>
                </c:pt>
                <c:pt idx="348">
                  <c:v>13.24</c:v>
                </c:pt>
                <c:pt idx="349">
                  <c:v>14.08</c:v>
                </c:pt>
                <c:pt idx="350">
                  <c:v>13.34</c:v>
                </c:pt>
                <c:pt idx="351">
                  <c:v>13.53</c:v>
                </c:pt>
                <c:pt idx="352">
                  <c:v>12.83</c:v>
                </c:pt>
                <c:pt idx="353">
                  <c:v>13.05</c:v>
                </c:pt>
                <c:pt idx="354">
                  <c:v>12.78</c:v>
                </c:pt>
                <c:pt idx="355">
                  <c:v>13.29</c:v>
                </c:pt>
                <c:pt idx="356">
                  <c:v>13.63</c:v>
                </c:pt>
                <c:pt idx="357">
                  <c:v>14.87</c:v>
                </c:pt>
                <c:pt idx="358">
                  <c:v>17.059999999999999</c:v>
                </c:pt>
                <c:pt idx="359">
                  <c:v>14.84</c:v>
                </c:pt>
                <c:pt idx="360">
                  <c:v>14.71</c:v>
                </c:pt>
                <c:pt idx="361">
                  <c:v>16.670000000000002</c:v>
                </c:pt>
                <c:pt idx="362">
                  <c:v>14.73</c:v>
                </c:pt>
                <c:pt idx="363">
                  <c:v>13.64</c:v>
                </c:pt>
                <c:pt idx="364">
                  <c:v>13.94</c:v>
                </c:pt>
                <c:pt idx="365">
                  <c:v>13.42</c:v>
                </c:pt>
                <c:pt idx="366">
                  <c:v>12.85</c:v>
                </c:pt>
                <c:pt idx="367">
                  <c:v>14.67</c:v>
                </c:pt>
                <c:pt idx="368">
                  <c:v>14.21</c:v>
                </c:pt>
                <c:pt idx="369">
                  <c:v>15.75</c:v>
                </c:pt>
                <c:pt idx="370">
                  <c:v>16.649999999999999</c:v>
                </c:pt>
                <c:pt idx="371">
                  <c:v>18.89</c:v>
                </c:pt>
                <c:pt idx="372">
                  <c:v>15.53</c:v>
                </c:pt>
                <c:pt idx="373">
                  <c:v>15.54</c:v>
                </c:pt>
                <c:pt idx="374">
                  <c:v>16.23</c:v>
                </c:pt>
                <c:pt idx="375">
                  <c:v>15.4</c:v>
                </c:pt>
                <c:pt idx="376">
                  <c:v>14.92</c:v>
                </c:pt>
                <c:pt idx="377">
                  <c:v>15.48</c:v>
                </c:pt>
                <c:pt idx="378">
                  <c:v>14.72</c:v>
                </c:pt>
                <c:pt idx="379">
                  <c:v>15.16</c:v>
                </c:pt>
                <c:pt idx="380">
                  <c:v>17.57</c:v>
                </c:pt>
                <c:pt idx="381">
                  <c:v>16.64</c:v>
                </c:pt>
                <c:pt idx="382">
                  <c:v>15.54</c:v>
                </c:pt>
                <c:pt idx="383">
                  <c:v>15.15</c:v>
                </c:pt>
                <c:pt idx="384">
                  <c:v>15.59</c:v>
                </c:pt>
                <c:pt idx="385">
                  <c:v>15.63</c:v>
                </c:pt>
                <c:pt idx="386">
                  <c:v>16</c:v>
                </c:pt>
                <c:pt idx="387">
                  <c:v>15.23</c:v>
                </c:pt>
                <c:pt idx="388">
                  <c:v>16.95</c:v>
                </c:pt>
                <c:pt idx="389">
                  <c:v>16.809999999999999</c:v>
                </c:pt>
                <c:pt idx="390">
                  <c:v>18.55</c:v>
                </c:pt>
                <c:pt idx="391">
                  <c:v>18.100000000000001</c:v>
                </c:pt>
                <c:pt idx="392">
                  <c:v>20.74</c:v>
                </c:pt>
                <c:pt idx="393">
                  <c:v>24.17</c:v>
                </c:pt>
                <c:pt idx="394">
                  <c:v>20.87</c:v>
                </c:pt>
                <c:pt idx="395">
                  <c:v>23.52</c:v>
                </c:pt>
                <c:pt idx="396">
                  <c:v>23.67</c:v>
                </c:pt>
                <c:pt idx="397">
                  <c:v>21.22</c:v>
                </c:pt>
                <c:pt idx="398">
                  <c:v>25.16</c:v>
                </c:pt>
                <c:pt idx="399">
                  <c:v>22.94</c:v>
                </c:pt>
                <c:pt idx="400">
                  <c:v>21.56</c:v>
                </c:pt>
                <c:pt idx="401">
                  <c:v>21.45</c:v>
                </c:pt>
                <c:pt idx="402">
                  <c:v>26.48</c:v>
                </c:pt>
                <c:pt idx="403">
                  <c:v>28.3</c:v>
                </c:pt>
                <c:pt idx="404">
                  <c:v>26.57</c:v>
                </c:pt>
                <c:pt idx="405">
                  <c:v>27.68</c:v>
                </c:pt>
                <c:pt idx="406">
                  <c:v>30.67</c:v>
                </c:pt>
                <c:pt idx="407">
                  <c:v>30.83</c:v>
                </c:pt>
                <c:pt idx="408">
                  <c:v>29.99</c:v>
                </c:pt>
                <c:pt idx="409">
                  <c:v>26.33</c:v>
                </c:pt>
                <c:pt idx="410">
                  <c:v>25.25</c:v>
                </c:pt>
                <c:pt idx="411">
                  <c:v>22.89</c:v>
                </c:pt>
                <c:pt idx="412">
                  <c:v>22.62</c:v>
                </c:pt>
                <c:pt idx="413">
                  <c:v>20.72</c:v>
                </c:pt>
                <c:pt idx="414">
                  <c:v>22.72</c:v>
                </c:pt>
                <c:pt idx="415">
                  <c:v>26.3</c:v>
                </c:pt>
                <c:pt idx="416">
                  <c:v>23.81</c:v>
                </c:pt>
                <c:pt idx="417">
                  <c:v>25.06</c:v>
                </c:pt>
                <c:pt idx="418">
                  <c:v>23.38</c:v>
                </c:pt>
                <c:pt idx="419">
                  <c:v>22.78</c:v>
                </c:pt>
                <c:pt idx="420">
                  <c:v>24.58</c:v>
                </c:pt>
                <c:pt idx="421">
                  <c:v>23.99</c:v>
                </c:pt>
                <c:pt idx="422">
                  <c:v>26.23</c:v>
                </c:pt>
                <c:pt idx="423">
                  <c:v>27.38</c:v>
                </c:pt>
                <c:pt idx="424">
                  <c:v>25.27</c:v>
                </c:pt>
                <c:pt idx="425">
                  <c:v>24.96</c:v>
                </c:pt>
                <c:pt idx="426">
                  <c:v>24.76</c:v>
                </c:pt>
                <c:pt idx="427">
                  <c:v>24.92</c:v>
                </c:pt>
                <c:pt idx="428">
                  <c:v>26.48</c:v>
                </c:pt>
                <c:pt idx="429">
                  <c:v>20.350000000000001</c:v>
                </c:pt>
                <c:pt idx="430">
                  <c:v>20.03</c:v>
                </c:pt>
                <c:pt idx="431">
                  <c:v>20.45</c:v>
                </c:pt>
                <c:pt idx="432">
                  <c:v>19</c:v>
                </c:pt>
                <c:pt idx="433">
                  <c:v>19.37</c:v>
                </c:pt>
                <c:pt idx="434">
                  <c:v>18.600000000000001</c:v>
                </c:pt>
                <c:pt idx="435">
                  <c:v>17.63</c:v>
                </c:pt>
                <c:pt idx="436">
                  <c:v>17</c:v>
                </c:pt>
                <c:pt idx="437">
                  <c:v>18</c:v>
                </c:pt>
                <c:pt idx="438">
                  <c:v>17.84</c:v>
                </c:pt>
                <c:pt idx="439">
                  <c:v>18.489999999999998</c:v>
                </c:pt>
                <c:pt idx="440">
                  <c:v>18.8</c:v>
                </c:pt>
                <c:pt idx="441">
                  <c:v>18.440000000000001</c:v>
                </c:pt>
                <c:pt idx="442">
                  <c:v>16.91</c:v>
                </c:pt>
                <c:pt idx="443">
                  <c:v>17.46</c:v>
                </c:pt>
                <c:pt idx="444">
                  <c:v>16.12</c:v>
                </c:pt>
                <c:pt idx="445">
                  <c:v>16.670000000000002</c:v>
                </c:pt>
                <c:pt idx="446">
                  <c:v>18.88</c:v>
                </c:pt>
                <c:pt idx="447">
                  <c:v>17.73</c:v>
                </c:pt>
                <c:pt idx="448">
                  <c:v>19.25</c:v>
                </c:pt>
                <c:pt idx="449">
                  <c:v>20.02</c:v>
                </c:pt>
                <c:pt idx="450">
                  <c:v>18.54</c:v>
                </c:pt>
                <c:pt idx="451">
                  <c:v>18.5</c:v>
                </c:pt>
                <c:pt idx="452">
                  <c:v>22.96</c:v>
                </c:pt>
                <c:pt idx="453">
                  <c:v>21.64</c:v>
                </c:pt>
                <c:pt idx="454">
                  <c:v>20.41</c:v>
                </c:pt>
                <c:pt idx="455">
                  <c:v>20.8</c:v>
                </c:pt>
                <c:pt idx="456">
                  <c:v>21.17</c:v>
                </c:pt>
                <c:pt idx="457">
                  <c:v>19.559999999999999</c:v>
                </c:pt>
                <c:pt idx="458">
                  <c:v>19.87</c:v>
                </c:pt>
                <c:pt idx="459">
                  <c:v>21.07</c:v>
                </c:pt>
                <c:pt idx="460">
                  <c:v>18.53</c:v>
                </c:pt>
                <c:pt idx="461">
                  <c:v>23.21</c:v>
                </c:pt>
                <c:pt idx="462">
                  <c:v>23.01</c:v>
                </c:pt>
                <c:pt idx="463">
                  <c:v>24.31</c:v>
                </c:pt>
                <c:pt idx="464">
                  <c:v>21.39</c:v>
                </c:pt>
                <c:pt idx="465">
                  <c:v>26.49</c:v>
                </c:pt>
                <c:pt idx="466">
                  <c:v>26.16</c:v>
                </c:pt>
                <c:pt idx="467">
                  <c:v>28.5</c:v>
                </c:pt>
                <c:pt idx="468">
                  <c:v>31.09</c:v>
                </c:pt>
                <c:pt idx="469">
                  <c:v>24.1</c:v>
                </c:pt>
                <c:pt idx="470">
                  <c:v>25.94</c:v>
                </c:pt>
                <c:pt idx="471">
                  <c:v>28.06</c:v>
                </c:pt>
                <c:pt idx="472">
                  <c:v>25.49</c:v>
                </c:pt>
                <c:pt idx="473">
                  <c:v>26.01</c:v>
                </c:pt>
                <c:pt idx="474">
                  <c:v>24.88</c:v>
                </c:pt>
                <c:pt idx="475">
                  <c:v>26.84</c:v>
                </c:pt>
                <c:pt idx="476">
                  <c:v>25.61</c:v>
                </c:pt>
                <c:pt idx="477">
                  <c:v>28.91</c:v>
                </c:pt>
                <c:pt idx="478">
                  <c:v>26.28</c:v>
                </c:pt>
                <c:pt idx="479">
                  <c:v>24.11</c:v>
                </c:pt>
                <c:pt idx="480">
                  <c:v>23.97</c:v>
                </c:pt>
                <c:pt idx="481">
                  <c:v>22.87</c:v>
                </c:pt>
                <c:pt idx="482">
                  <c:v>23.61</c:v>
                </c:pt>
                <c:pt idx="483">
                  <c:v>23.79</c:v>
                </c:pt>
                <c:pt idx="484">
                  <c:v>22.53</c:v>
                </c:pt>
                <c:pt idx="485">
                  <c:v>20.96</c:v>
                </c:pt>
                <c:pt idx="486">
                  <c:v>20.85</c:v>
                </c:pt>
                <c:pt idx="487">
                  <c:v>20.74</c:v>
                </c:pt>
                <c:pt idx="488">
                  <c:v>23.59</c:v>
                </c:pt>
                <c:pt idx="489">
                  <c:v>22.47</c:v>
                </c:pt>
                <c:pt idx="490">
                  <c:v>22.56</c:v>
                </c:pt>
                <c:pt idx="491">
                  <c:v>23.27</c:v>
                </c:pt>
                <c:pt idx="492">
                  <c:v>24.52</c:v>
                </c:pt>
                <c:pt idx="493">
                  <c:v>22.64</c:v>
                </c:pt>
                <c:pt idx="494">
                  <c:v>21.68</c:v>
                </c:pt>
                <c:pt idx="495">
                  <c:v>20.58</c:v>
                </c:pt>
                <c:pt idx="496">
                  <c:v>18.47</c:v>
                </c:pt>
                <c:pt idx="497">
                  <c:v>18.600000000000001</c:v>
                </c:pt>
                <c:pt idx="498">
                  <c:v>18.66</c:v>
                </c:pt>
                <c:pt idx="499">
                  <c:v>20.260000000000002</c:v>
                </c:pt>
                <c:pt idx="500">
                  <c:v>20.74</c:v>
                </c:pt>
                <c:pt idx="501">
                  <c:v>22.5</c:v>
                </c:pt>
                <c:pt idx="502">
                  <c:v>23.17</c:v>
                </c:pt>
                <c:pt idx="503">
                  <c:v>22.49</c:v>
                </c:pt>
                <c:pt idx="504">
                  <c:v>23.94</c:v>
                </c:pt>
                <c:pt idx="505">
                  <c:v>23.79</c:v>
                </c:pt>
                <c:pt idx="506">
                  <c:v>25.43</c:v>
                </c:pt>
                <c:pt idx="507">
                  <c:v>24.12</c:v>
                </c:pt>
                <c:pt idx="508">
                  <c:v>23.45</c:v>
                </c:pt>
                <c:pt idx="509">
                  <c:v>23.68</c:v>
                </c:pt>
                <c:pt idx="510">
                  <c:v>22.9</c:v>
                </c:pt>
                <c:pt idx="511">
                  <c:v>23.34</c:v>
                </c:pt>
                <c:pt idx="512">
                  <c:v>24.38</c:v>
                </c:pt>
                <c:pt idx="513">
                  <c:v>28.46</c:v>
                </c:pt>
                <c:pt idx="514">
                  <c:v>27.18</c:v>
                </c:pt>
                <c:pt idx="515">
                  <c:v>31.01</c:v>
                </c:pt>
                <c:pt idx="516">
                  <c:v>29.02</c:v>
                </c:pt>
                <c:pt idx="517">
                  <c:v>27.78</c:v>
                </c:pt>
                <c:pt idx="518">
                  <c:v>29.08</c:v>
                </c:pt>
                <c:pt idx="519">
                  <c:v>27.78</c:v>
                </c:pt>
                <c:pt idx="520">
                  <c:v>27.32</c:v>
                </c:pt>
                <c:pt idx="521">
                  <c:v>27.62</c:v>
                </c:pt>
                <c:pt idx="522">
                  <c:v>26.2</c:v>
                </c:pt>
                <c:pt idx="523">
                  <c:v>24.02</c:v>
                </c:pt>
                <c:pt idx="524">
                  <c:v>25.99</c:v>
                </c:pt>
                <c:pt idx="525">
                  <c:v>28.24</c:v>
                </c:pt>
                <c:pt idx="526">
                  <c:v>28.97</c:v>
                </c:pt>
                <c:pt idx="527">
                  <c:v>27.66</c:v>
                </c:pt>
                <c:pt idx="528">
                  <c:v>28.01</c:v>
                </c:pt>
                <c:pt idx="529">
                  <c:v>27.6</c:v>
                </c:pt>
                <c:pt idx="530">
                  <c:v>26.33</c:v>
                </c:pt>
                <c:pt idx="531">
                  <c:v>24.88</c:v>
                </c:pt>
                <c:pt idx="532">
                  <c:v>25.54</c:v>
                </c:pt>
                <c:pt idx="533">
                  <c:v>25.02</c:v>
                </c:pt>
                <c:pt idx="534">
                  <c:v>25.59</c:v>
                </c:pt>
                <c:pt idx="535">
                  <c:v>24.4</c:v>
                </c:pt>
                <c:pt idx="536">
                  <c:v>25.12</c:v>
                </c:pt>
                <c:pt idx="537">
                  <c:v>24.06</c:v>
                </c:pt>
                <c:pt idx="538">
                  <c:v>23.03</c:v>
                </c:pt>
                <c:pt idx="539">
                  <c:v>21.9</c:v>
                </c:pt>
                <c:pt idx="540">
                  <c:v>22.69</c:v>
                </c:pt>
                <c:pt idx="541">
                  <c:v>23.53</c:v>
                </c:pt>
                <c:pt idx="542">
                  <c:v>26.54</c:v>
                </c:pt>
                <c:pt idx="543">
                  <c:v>26.28</c:v>
                </c:pt>
                <c:pt idx="544">
                  <c:v>25.52</c:v>
                </c:pt>
                <c:pt idx="545">
                  <c:v>24.6</c:v>
                </c:pt>
                <c:pt idx="546">
                  <c:v>27.55</c:v>
                </c:pt>
                <c:pt idx="547">
                  <c:v>27.49</c:v>
                </c:pt>
                <c:pt idx="548">
                  <c:v>29.38</c:v>
                </c:pt>
                <c:pt idx="549">
                  <c:v>26.36</c:v>
                </c:pt>
                <c:pt idx="550">
                  <c:v>27.22</c:v>
                </c:pt>
                <c:pt idx="551">
                  <c:v>27.29</c:v>
                </c:pt>
                <c:pt idx="552">
                  <c:v>31.16</c:v>
                </c:pt>
                <c:pt idx="553">
                  <c:v>32.24</c:v>
                </c:pt>
                <c:pt idx="554">
                  <c:v>25.79</c:v>
                </c:pt>
                <c:pt idx="555">
                  <c:v>29.84</c:v>
                </c:pt>
                <c:pt idx="556">
                  <c:v>26.62</c:v>
                </c:pt>
                <c:pt idx="557">
                  <c:v>25.73</c:v>
                </c:pt>
                <c:pt idx="558">
                  <c:v>25.72</c:v>
                </c:pt>
                <c:pt idx="559">
                  <c:v>26.08</c:v>
                </c:pt>
                <c:pt idx="560">
                  <c:v>25.88</c:v>
                </c:pt>
                <c:pt idx="561">
                  <c:v>25.71</c:v>
                </c:pt>
                <c:pt idx="562">
                  <c:v>25.61</c:v>
                </c:pt>
                <c:pt idx="563">
                  <c:v>22.68</c:v>
                </c:pt>
                <c:pt idx="564">
                  <c:v>23.43</c:v>
                </c:pt>
                <c:pt idx="565">
                  <c:v>23.21</c:v>
                </c:pt>
                <c:pt idx="566">
                  <c:v>22.45</c:v>
                </c:pt>
                <c:pt idx="567">
                  <c:v>22.42</c:v>
                </c:pt>
                <c:pt idx="568">
                  <c:v>22.36</c:v>
                </c:pt>
                <c:pt idx="569">
                  <c:v>22.81</c:v>
                </c:pt>
                <c:pt idx="570">
                  <c:v>21.98</c:v>
                </c:pt>
                <c:pt idx="571">
                  <c:v>23.46</c:v>
                </c:pt>
                <c:pt idx="572">
                  <c:v>23.82</c:v>
                </c:pt>
                <c:pt idx="573">
                  <c:v>22.78</c:v>
                </c:pt>
                <c:pt idx="574">
                  <c:v>20.53</c:v>
                </c:pt>
                <c:pt idx="575">
                  <c:v>20.37</c:v>
                </c:pt>
                <c:pt idx="576">
                  <c:v>20.13</c:v>
                </c:pt>
                <c:pt idx="577">
                  <c:v>20.5</c:v>
                </c:pt>
                <c:pt idx="578">
                  <c:v>20.87</c:v>
                </c:pt>
                <c:pt idx="579">
                  <c:v>20.260000000000002</c:v>
                </c:pt>
                <c:pt idx="580">
                  <c:v>20.059999999999999</c:v>
                </c:pt>
                <c:pt idx="581">
                  <c:v>19.59</c:v>
                </c:pt>
                <c:pt idx="582">
                  <c:v>19.64</c:v>
                </c:pt>
                <c:pt idx="583">
                  <c:v>20.239999999999998</c:v>
                </c:pt>
                <c:pt idx="584">
                  <c:v>20.79</c:v>
                </c:pt>
                <c:pt idx="585">
                  <c:v>18.88</c:v>
                </c:pt>
                <c:pt idx="586">
                  <c:v>18.18</c:v>
                </c:pt>
                <c:pt idx="587">
                  <c:v>18.899999999999999</c:v>
                </c:pt>
                <c:pt idx="588">
                  <c:v>18.21</c:v>
                </c:pt>
                <c:pt idx="589">
                  <c:v>19.73</c:v>
                </c:pt>
                <c:pt idx="590">
                  <c:v>19.399999999999999</c:v>
                </c:pt>
                <c:pt idx="591">
                  <c:v>19.41</c:v>
                </c:pt>
                <c:pt idx="592">
                  <c:v>17.79</c:v>
                </c:pt>
                <c:pt idx="593">
                  <c:v>17.98</c:v>
                </c:pt>
                <c:pt idx="594">
                  <c:v>17.66</c:v>
                </c:pt>
                <c:pt idx="595">
                  <c:v>16.3</c:v>
                </c:pt>
                <c:pt idx="596">
                  <c:v>16.47</c:v>
                </c:pt>
                <c:pt idx="597">
                  <c:v>17.010000000000002</c:v>
                </c:pt>
                <c:pt idx="598">
                  <c:v>17.579999999999998</c:v>
                </c:pt>
                <c:pt idx="599">
                  <c:v>18.59</c:v>
                </c:pt>
                <c:pt idx="600">
                  <c:v>18.05</c:v>
                </c:pt>
                <c:pt idx="601">
                  <c:v>19.55</c:v>
                </c:pt>
                <c:pt idx="602">
                  <c:v>19.64</c:v>
                </c:pt>
                <c:pt idx="603">
                  <c:v>19.07</c:v>
                </c:pt>
                <c:pt idx="604">
                  <c:v>18.14</c:v>
                </c:pt>
                <c:pt idx="605">
                  <c:v>17.829999999999998</c:v>
                </c:pt>
                <c:pt idx="606">
                  <c:v>19.829999999999998</c:v>
                </c:pt>
                <c:pt idx="607">
                  <c:v>20.239999999999998</c:v>
                </c:pt>
                <c:pt idx="608">
                  <c:v>20.8</c:v>
                </c:pt>
                <c:pt idx="609">
                  <c:v>18.63</c:v>
                </c:pt>
                <c:pt idx="610">
                  <c:v>23.56</c:v>
                </c:pt>
                <c:pt idx="611">
                  <c:v>23.12</c:v>
                </c:pt>
                <c:pt idx="612">
                  <c:v>23.18</c:v>
                </c:pt>
                <c:pt idx="613">
                  <c:v>24.12</c:v>
                </c:pt>
                <c:pt idx="614">
                  <c:v>23.33</c:v>
                </c:pt>
                <c:pt idx="615">
                  <c:v>21.22</c:v>
                </c:pt>
                <c:pt idx="616">
                  <c:v>20.95</c:v>
                </c:pt>
                <c:pt idx="617">
                  <c:v>21.13</c:v>
                </c:pt>
                <c:pt idx="618">
                  <c:v>22.24</c:v>
                </c:pt>
                <c:pt idx="619">
                  <c:v>21.58</c:v>
                </c:pt>
                <c:pt idx="620">
                  <c:v>22.87</c:v>
                </c:pt>
                <c:pt idx="621">
                  <c:v>22.64</c:v>
                </c:pt>
                <c:pt idx="622">
                  <c:v>22.42</c:v>
                </c:pt>
                <c:pt idx="623">
                  <c:v>21.14</c:v>
                </c:pt>
                <c:pt idx="624">
                  <c:v>23.93</c:v>
                </c:pt>
                <c:pt idx="625">
                  <c:v>23.44</c:v>
                </c:pt>
                <c:pt idx="626">
                  <c:v>23.95</c:v>
                </c:pt>
                <c:pt idx="627">
                  <c:v>23.65</c:v>
                </c:pt>
                <c:pt idx="628">
                  <c:v>25.92</c:v>
                </c:pt>
                <c:pt idx="629">
                  <c:v>24.78</c:v>
                </c:pt>
                <c:pt idx="630">
                  <c:v>25.78</c:v>
                </c:pt>
                <c:pt idx="631">
                  <c:v>23.15</c:v>
                </c:pt>
                <c:pt idx="632">
                  <c:v>25.23</c:v>
                </c:pt>
                <c:pt idx="633">
                  <c:v>25.59</c:v>
                </c:pt>
                <c:pt idx="634">
                  <c:v>27.49</c:v>
                </c:pt>
                <c:pt idx="635">
                  <c:v>28.48</c:v>
                </c:pt>
                <c:pt idx="636">
                  <c:v>28.54</c:v>
                </c:pt>
                <c:pt idx="637">
                  <c:v>25.1</c:v>
                </c:pt>
                <c:pt idx="638">
                  <c:v>25.01</c:v>
                </c:pt>
                <c:pt idx="639">
                  <c:v>24.05</c:v>
                </c:pt>
                <c:pt idx="640">
                  <c:v>23.05</c:v>
                </c:pt>
                <c:pt idx="641">
                  <c:v>21.18</c:v>
                </c:pt>
                <c:pt idx="642">
                  <c:v>21.31</c:v>
                </c:pt>
                <c:pt idx="643">
                  <c:v>23.44</c:v>
                </c:pt>
                <c:pt idx="644">
                  <c:v>22.91</c:v>
                </c:pt>
                <c:pt idx="645">
                  <c:v>24.23</c:v>
                </c:pt>
                <c:pt idx="646">
                  <c:v>22.03</c:v>
                </c:pt>
                <c:pt idx="647">
                  <c:v>21.21</c:v>
                </c:pt>
                <c:pt idx="648">
                  <c:v>22.94</c:v>
                </c:pt>
                <c:pt idx="649">
                  <c:v>22.57</c:v>
                </c:pt>
                <c:pt idx="650">
                  <c:v>23.49</c:v>
                </c:pt>
                <c:pt idx="651">
                  <c:v>21.14</c:v>
                </c:pt>
                <c:pt idx="652">
                  <c:v>20.23</c:v>
                </c:pt>
                <c:pt idx="653">
                  <c:v>21.15</c:v>
                </c:pt>
                <c:pt idx="654">
                  <c:v>20.66</c:v>
                </c:pt>
                <c:pt idx="655">
                  <c:v>20.12</c:v>
                </c:pt>
                <c:pt idx="656">
                  <c:v>21.17</c:v>
                </c:pt>
                <c:pt idx="657">
                  <c:v>21.55</c:v>
                </c:pt>
                <c:pt idx="658">
                  <c:v>20.34</c:v>
                </c:pt>
                <c:pt idx="659">
                  <c:v>19.579999999999998</c:v>
                </c:pt>
                <c:pt idx="660">
                  <c:v>20.98</c:v>
                </c:pt>
                <c:pt idx="661">
                  <c:v>21.28</c:v>
                </c:pt>
                <c:pt idx="662">
                  <c:v>20.420000000000002</c:v>
                </c:pt>
                <c:pt idx="663">
                  <c:v>19.82</c:v>
                </c:pt>
                <c:pt idx="664">
                  <c:v>18.809999999999999</c:v>
                </c:pt>
                <c:pt idx="665">
                  <c:v>20.97</c:v>
                </c:pt>
                <c:pt idx="666">
                  <c:v>20.49</c:v>
                </c:pt>
                <c:pt idx="667">
                  <c:v>19.760000000000002</c:v>
                </c:pt>
                <c:pt idx="668">
                  <c:v>19.43</c:v>
                </c:pt>
                <c:pt idx="669">
                  <c:v>20.65</c:v>
                </c:pt>
                <c:pt idx="670">
                  <c:v>21.99</c:v>
                </c:pt>
                <c:pt idx="671">
                  <c:v>21.43</c:v>
                </c:pt>
                <c:pt idx="672">
                  <c:v>24.03</c:v>
                </c:pt>
                <c:pt idx="673">
                  <c:v>23.06</c:v>
                </c:pt>
                <c:pt idx="674">
                  <c:v>22.64</c:v>
                </c:pt>
                <c:pt idx="675">
                  <c:v>25.47</c:v>
                </c:pt>
                <c:pt idx="676">
                  <c:v>24.52</c:v>
                </c:pt>
                <c:pt idx="677">
                  <c:v>24.39</c:v>
                </c:pt>
                <c:pt idx="678">
                  <c:v>25.66</c:v>
                </c:pt>
                <c:pt idx="679">
                  <c:v>31.7</c:v>
                </c:pt>
                <c:pt idx="680">
                  <c:v>30.3</c:v>
                </c:pt>
                <c:pt idx="681">
                  <c:v>36.22</c:v>
                </c:pt>
                <c:pt idx="682">
                  <c:v>33.1</c:v>
                </c:pt>
                <c:pt idx="683">
                  <c:v>32.07</c:v>
                </c:pt>
                <c:pt idx="684">
                  <c:v>33.85</c:v>
                </c:pt>
                <c:pt idx="685">
                  <c:v>35.72</c:v>
                </c:pt>
                <c:pt idx="686">
                  <c:v>35.19</c:v>
                </c:pt>
                <c:pt idx="687">
                  <c:v>32.82</c:v>
                </c:pt>
                <c:pt idx="688">
                  <c:v>34.74</c:v>
                </c:pt>
                <c:pt idx="689">
                  <c:v>46.72</c:v>
                </c:pt>
                <c:pt idx="690">
                  <c:v>39.39</c:v>
                </c:pt>
                <c:pt idx="691">
                  <c:v>39.81</c:v>
                </c:pt>
                <c:pt idx="692">
                  <c:v>45.26</c:v>
                </c:pt>
                <c:pt idx="693">
                  <c:v>45.14</c:v>
                </c:pt>
                <c:pt idx="694">
                  <c:v>52.05</c:v>
                </c:pt>
                <c:pt idx="695">
                  <c:v>53.68</c:v>
                </c:pt>
                <c:pt idx="696">
                  <c:v>57.53</c:v>
                </c:pt>
                <c:pt idx="697">
                  <c:v>63.92</c:v>
                </c:pt>
                <c:pt idx="698">
                  <c:v>69.95</c:v>
                </c:pt>
                <c:pt idx="699">
                  <c:v>54.99</c:v>
                </c:pt>
                <c:pt idx="700">
                  <c:v>55.13</c:v>
                </c:pt>
                <c:pt idx="701">
                  <c:v>69.25</c:v>
                </c:pt>
                <c:pt idx="702">
                  <c:v>67.61</c:v>
                </c:pt>
                <c:pt idx="703">
                  <c:v>70.33</c:v>
                </c:pt>
                <c:pt idx="704">
                  <c:v>52.97</c:v>
                </c:pt>
                <c:pt idx="705">
                  <c:v>53.11</c:v>
                </c:pt>
                <c:pt idx="706">
                  <c:v>69.650000000000006</c:v>
                </c:pt>
                <c:pt idx="707">
                  <c:v>67.8</c:v>
                </c:pt>
                <c:pt idx="708">
                  <c:v>79.13</c:v>
                </c:pt>
                <c:pt idx="709">
                  <c:v>80.06</c:v>
                </c:pt>
                <c:pt idx="710">
                  <c:v>66.959999999999994</c:v>
                </c:pt>
                <c:pt idx="711">
                  <c:v>69.959999999999994</c:v>
                </c:pt>
                <c:pt idx="712">
                  <c:v>62.9</c:v>
                </c:pt>
                <c:pt idx="713">
                  <c:v>59.89</c:v>
                </c:pt>
                <c:pt idx="714">
                  <c:v>53.68</c:v>
                </c:pt>
                <c:pt idx="715">
                  <c:v>47.73</c:v>
                </c:pt>
                <c:pt idx="716">
                  <c:v>54.56</c:v>
                </c:pt>
                <c:pt idx="717">
                  <c:v>63.68</c:v>
                </c:pt>
                <c:pt idx="718">
                  <c:v>56.1</c:v>
                </c:pt>
                <c:pt idx="719">
                  <c:v>59.98</c:v>
                </c:pt>
                <c:pt idx="720">
                  <c:v>61.44</c:v>
                </c:pt>
                <c:pt idx="721">
                  <c:v>66.459999999999994</c:v>
                </c:pt>
                <c:pt idx="722">
                  <c:v>59.83</c:v>
                </c:pt>
                <c:pt idx="723">
                  <c:v>66.31</c:v>
                </c:pt>
                <c:pt idx="724">
                  <c:v>69.150000000000006</c:v>
                </c:pt>
                <c:pt idx="725">
                  <c:v>67.64</c:v>
                </c:pt>
                <c:pt idx="726">
                  <c:v>74.260000000000005</c:v>
                </c:pt>
                <c:pt idx="727">
                  <c:v>80.86</c:v>
                </c:pt>
                <c:pt idx="728">
                  <c:v>72.67</c:v>
                </c:pt>
                <c:pt idx="729">
                  <c:v>64.7</c:v>
                </c:pt>
                <c:pt idx="730">
                  <c:v>60.9</c:v>
                </c:pt>
                <c:pt idx="731">
                  <c:v>54.92</c:v>
                </c:pt>
                <c:pt idx="732">
                  <c:v>55.28</c:v>
                </c:pt>
                <c:pt idx="733">
                  <c:v>68.510000000000005</c:v>
                </c:pt>
                <c:pt idx="734">
                  <c:v>62.98</c:v>
                </c:pt>
                <c:pt idx="735">
                  <c:v>60.72</c:v>
                </c:pt>
                <c:pt idx="736">
                  <c:v>63.64</c:v>
                </c:pt>
                <c:pt idx="737">
                  <c:v>59.93</c:v>
                </c:pt>
                <c:pt idx="738">
                  <c:v>58.49</c:v>
                </c:pt>
                <c:pt idx="739">
                  <c:v>58.91</c:v>
                </c:pt>
                <c:pt idx="740">
                  <c:v>55.73</c:v>
                </c:pt>
                <c:pt idx="741">
                  <c:v>55.78</c:v>
                </c:pt>
                <c:pt idx="742">
                  <c:v>54.28</c:v>
                </c:pt>
                <c:pt idx="743">
                  <c:v>56.76</c:v>
                </c:pt>
                <c:pt idx="744">
                  <c:v>52.37</c:v>
                </c:pt>
                <c:pt idx="745">
                  <c:v>49.84</c:v>
                </c:pt>
                <c:pt idx="746">
                  <c:v>47.34</c:v>
                </c:pt>
                <c:pt idx="747">
                  <c:v>44.93</c:v>
                </c:pt>
                <c:pt idx="748">
                  <c:v>44.56</c:v>
                </c:pt>
                <c:pt idx="749">
                  <c:v>45.02</c:v>
                </c:pt>
                <c:pt idx="750">
                  <c:v>44.21</c:v>
                </c:pt>
                <c:pt idx="751">
                  <c:v>43.38</c:v>
                </c:pt>
                <c:pt idx="752">
                  <c:v>43.9</c:v>
                </c:pt>
                <c:pt idx="753">
                  <c:v>41.63</c:v>
                </c:pt>
                <c:pt idx="754">
                  <c:v>40</c:v>
                </c:pt>
                <c:pt idx="755">
                  <c:v>39.19</c:v>
                </c:pt>
                <c:pt idx="756">
                  <c:v>39.08</c:v>
                </c:pt>
                <c:pt idx="757">
                  <c:v>38.56</c:v>
                </c:pt>
                <c:pt idx="758">
                  <c:v>43.39</c:v>
                </c:pt>
                <c:pt idx="759">
                  <c:v>42.56</c:v>
                </c:pt>
                <c:pt idx="760">
                  <c:v>42.82</c:v>
                </c:pt>
                <c:pt idx="761">
                  <c:v>45.84</c:v>
                </c:pt>
                <c:pt idx="762">
                  <c:v>43.27</c:v>
                </c:pt>
                <c:pt idx="763">
                  <c:v>49.14</c:v>
                </c:pt>
                <c:pt idx="764">
                  <c:v>51</c:v>
                </c:pt>
                <c:pt idx="765">
                  <c:v>46.11</c:v>
                </c:pt>
                <c:pt idx="766">
                  <c:v>56.65</c:v>
                </c:pt>
                <c:pt idx="767">
                  <c:v>46.42</c:v>
                </c:pt>
                <c:pt idx="768">
                  <c:v>47.29</c:v>
                </c:pt>
                <c:pt idx="769">
                  <c:v>47.27</c:v>
                </c:pt>
                <c:pt idx="770">
                  <c:v>45.69</c:v>
                </c:pt>
                <c:pt idx="771">
                  <c:v>42.25</c:v>
                </c:pt>
                <c:pt idx="772">
                  <c:v>39.659999999999997</c:v>
                </c:pt>
                <c:pt idx="773">
                  <c:v>42.63</c:v>
                </c:pt>
                <c:pt idx="774">
                  <c:v>44.84</c:v>
                </c:pt>
                <c:pt idx="775">
                  <c:v>45.52</c:v>
                </c:pt>
                <c:pt idx="776">
                  <c:v>43.06</c:v>
                </c:pt>
                <c:pt idx="777">
                  <c:v>43.85</c:v>
                </c:pt>
                <c:pt idx="778">
                  <c:v>43.73</c:v>
                </c:pt>
                <c:pt idx="779">
                  <c:v>43.37</c:v>
                </c:pt>
                <c:pt idx="780">
                  <c:v>43.64</c:v>
                </c:pt>
                <c:pt idx="781">
                  <c:v>46.67</c:v>
                </c:pt>
                <c:pt idx="782">
                  <c:v>44.53</c:v>
                </c:pt>
                <c:pt idx="783">
                  <c:v>41.25</c:v>
                </c:pt>
                <c:pt idx="784">
                  <c:v>42.93</c:v>
                </c:pt>
                <c:pt idx="785">
                  <c:v>48.66</c:v>
                </c:pt>
                <c:pt idx="786">
                  <c:v>48.46</c:v>
                </c:pt>
                <c:pt idx="787">
                  <c:v>47.08</c:v>
                </c:pt>
                <c:pt idx="788">
                  <c:v>49.3</c:v>
                </c:pt>
                <c:pt idx="789">
                  <c:v>52.62</c:v>
                </c:pt>
                <c:pt idx="790">
                  <c:v>45.49</c:v>
                </c:pt>
                <c:pt idx="791">
                  <c:v>44.67</c:v>
                </c:pt>
                <c:pt idx="792">
                  <c:v>44.66</c:v>
                </c:pt>
                <c:pt idx="793">
                  <c:v>46.35</c:v>
                </c:pt>
                <c:pt idx="794">
                  <c:v>52.65</c:v>
                </c:pt>
                <c:pt idx="795">
                  <c:v>50.93</c:v>
                </c:pt>
                <c:pt idx="796">
                  <c:v>47.56</c:v>
                </c:pt>
                <c:pt idx="797">
                  <c:v>50.17</c:v>
                </c:pt>
                <c:pt idx="798">
                  <c:v>49.33</c:v>
                </c:pt>
                <c:pt idx="799">
                  <c:v>49.68</c:v>
                </c:pt>
                <c:pt idx="800">
                  <c:v>44.37</c:v>
                </c:pt>
                <c:pt idx="801">
                  <c:v>43.61</c:v>
                </c:pt>
                <c:pt idx="802">
                  <c:v>41.18</c:v>
                </c:pt>
                <c:pt idx="803">
                  <c:v>42.36</c:v>
                </c:pt>
                <c:pt idx="804">
                  <c:v>43.74</c:v>
                </c:pt>
                <c:pt idx="805">
                  <c:v>40.799999999999997</c:v>
                </c:pt>
                <c:pt idx="806">
                  <c:v>40.06</c:v>
                </c:pt>
                <c:pt idx="807">
                  <c:v>43.68</c:v>
                </c:pt>
                <c:pt idx="808">
                  <c:v>45.89</c:v>
                </c:pt>
                <c:pt idx="809">
                  <c:v>43.23</c:v>
                </c:pt>
                <c:pt idx="810">
                  <c:v>42.93</c:v>
                </c:pt>
                <c:pt idx="811">
                  <c:v>42.25</c:v>
                </c:pt>
                <c:pt idx="812">
                  <c:v>40.36</c:v>
                </c:pt>
                <c:pt idx="813">
                  <c:v>41.04</c:v>
                </c:pt>
                <c:pt idx="814">
                  <c:v>45.54</c:v>
                </c:pt>
                <c:pt idx="815">
                  <c:v>44.14</c:v>
                </c:pt>
                <c:pt idx="816">
                  <c:v>42.28</c:v>
                </c:pt>
                <c:pt idx="817">
                  <c:v>42.04</c:v>
                </c:pt>
                <c:pt idx="818">
                  <c:v>39.700000000000003</c:v>
                </c:pt>
                <c:pt idx="819">
                  <c:v>40.93</c:v>
                </c:pt>
                <c:pt idx="820">
                  <c:v>40.39</c:v>
                </c:pt>
                <c:pt idx="821">
                  <c:v>38.85</c:v>
                </c:pt>
                <c:pt idx="822">
                  <c:v>36.53</c:v>
                </c:pt>
                <c:pt idx="823">
                  <c:v>37.81</c:v>
                </c:pt>
                <c:pt idx="824">
                  <c:v>37.67</c:v>
                </c:pt>
                <c:pt idx="825">
                  <c:v>36.17</c:v>
                </c:pt>
                <c:pt idx="826">
                  <c:v>35.79</c:v>
                </c:pt>
                <c:pt idx="827">
                  <c:v>33.94</c:v>
                </c:pt>
                <c:pt idx="828">
                  <c:v>39.18</c:v>
                </c:pt>
                <c:pt idx="829">
                  <c:v>37.14</c:v>
                </c:pt>
                <c:pt idx="830">
                  <c:v>38.1</c:v>
                </c:pt>
                <c:pt idx="831">
                  <c:v>37.15</c:v>
                </c:pt>
                <c:pt idx="832">
                  <c:v>36.82</c:v>
                </c:pt>
                <c:pt idx="833">
                  <c:v>38.32</c:v>
                </c:pt>
                <c:pt idx="834">
                  <c:v>37.950000000000003</c:v>
                </c:pt>
                <c:pt idx="835">
                  <c:v>36.08</c:v>
                </c:pt>
                <c:pt idx="836">
                  <c:v>36.5</c:v>
                </c:pt>
                <c:pt idx="837">
                  <c:v>35.299999999999997</c:v>
                </c:pt>
                <c:pt idx="838">
                  <c:v>34.53</c:v>
                </c:pt>
                <c:pt idx="839">
                  <c:v>33.36</c:v>
                </c:pt>
                <c:pt idx="840">
                  <c:v>32.450000000000003</c:v>
                </c:pt>
                <c:pt idx="841">
                  <c:v>33.44</c:v>
                </c:pt>
                <c:pt idx="842">
                  <c:v>32.049999999999997</c:v>
                </c:pt>
                <c:pt idx="843">
                  <c:v>32.869999999999997</c:v>
                </c:pt>
                <c:pt idx="844">
                  <c:v>31.8</c:v>
                </c:pt>
                <c:pt idx="845">
                  <c:v>33.65</c:v>
                </c:pt>
                <c:pt idx="846">
                  <c:v>31.37</c:v>
                </c:pt>
                <c:pt idx="847">
                  <c:v>33.119999999999997</c:v>
                </c:pt>
                <c:pt idx="848">
                  <c:v>30.24</c:v>
                </c:pt>
                <c:pt idx="849">
                  <c:v>28.8</c:v>
                </c:pt>
                <c:pt idx="850">
                  <c:v>29.03</c:v>
                </c:pt>
                <c:pt idx="851">
                  <c:v>31.35</c:v>
                </c:pt>
                <c:pt idx="852">
                  <c:v>32.630000000000003</c:v>
                </c:pt>
                <c:pt idx="853">
                  <c:v>30.62</c:v>
                </c:pt>
                <c:pt idx="854">
                  <c:v>32.36</c:v>
                </c:pt>
                <c:pt idx="855">
                  <c:v>31.67</c:v>
                </c:pt>
                <c:pt idx="856">
                  <c:v>28.92</c:v>
                </c:pt>
                <c:pt idx="857">
                  <c:v>30.04</c:v>
                </c:pt>
                <c:pt idx="858">
                  <c:v>29.63</c:v>
                </c:pt>
                <c:pt idx="859">
                  <c:v>31.02</c:v>
                </c:pt>
                <c:pt idx="860">
                  <c:v>30.18</c:v>
                </c:pt>
                <c:pt idx="861">
                  <c:v>29.62</c:v>
                </c:pt>
                <c:pt idx="862">
                  <c:v>29.77</c:v>
                </c:pt>
                <c:pt idx="863">
                  <c:v>28.27</c:v>
                </c:pt>
                <c:pt idx="864">
                  <c:v>28.46</c:v>
                </c:pt>
                <c:pt idx="865">
                  <c:v>28.11</c:v>
                </c:pt>
                <c:pt idx="866">
                  <c:v>28.15</c:v>
                </c:pt>
                <c:pt idx="867">
                  <c:v>30.81</c:v>
                </c:pt>
                <c:pt idx="868">
                  <c:v>32.68</c:v>
                </c:pt>
                <c:pt idx="869">
                  <c:v>31.54</c:v>
                </c:pt>
                <c:pt idx="870">
                  <c:v>30.03</c:v>
                </c:pt>
                <c:pt idx="871">
                  <c:v>27.99</c:v>
                </c:pt>
                <c:pt idx="872">
                  <c:v>31.17</c:v>
                </c:pt>
                <c:pt idx="873">
                  <c:v>30.58</c:v>
                </c:pt>
                <c:pt idx="874">
                  <c:v>29.05</c:v>
                </c:pt>
                <c:pt idx="875">
                  <c:v>26.36</c:v>
                </c:pt>
                <c:pt idx="876">
                  <c:v>25.93</c:v>
                </c:pt>
                <c:pt idx="877">
                  <c:v>25.35</c:v>
                </c:pt>
                <c:pt idx="878">
                  <c:v>26.35</c:v>
                </c:pt>
                <c:pt idx="879">
                  <c:v>26.22</c:v>
                </c:pt>
                <c:pt idx="880">
                  <c:v>27.95</c:v>
                </c:pt>
                <c:pt idx="881">
                  <c:v>29</c:v>
                </c:pt>
                <c:pt idx="882">
                  <c:v>30.85</c:v>
                </c:pt>
                <c:pt idx="883">
                  <c:v>31.3</c:v>
                </c:pt>
                <c:pt idx="884">
                  <c:v>29.78</c:v>
                </c:pt>
                <c:pt idx="885">
                  <c:v>29.02</c:v>
                </c:pt>
                <c:pt idx="886">
                  <c:v>26.31</c:v>
                </c:pt>
                <c:pt idx="887">
                  <c:v>25.02</c:v>
                </c:pt>
                <c:pt idx="888">
                  <c:v>25.89</c:v>
                </c:pt>
                <c:pt idx="889">
                  <c:v>25.42</c:v>
                </c:pt>
                <c:pt idx="890">
                  <c:v>24.34</c:v>
                </c:pt>
                <c:pt idx="891">
                  <c:v>24.4</c:v>
                </c:pt>
                <c:pt idx="892">
                  <c:v>23.87</c:v>
                </c:pt>
                <c:pt idx="893">
                  <c:v>23.47</c:v>
                </c:pt>
                <c:pt idx="894">
                  <c:v>23.43</c:v>
                </c:pt>
                <c:pt idx="895">
                  <c:v>23.09</c:v>
                </c:pt>
                <c:pt idx="896">
                  <c:v>24.28</c:v>
                </c:pt>
                <c:pt idx="897">
                  <c:v>25.01</c:v>
                </c:pt>
                <c:pt idx="898">
                  <c:v>25.61</c:v>
                </c:pt>
                <c:pt idx="899">
                  <c:v>25.4</c:v>
                </c:pt>
                <c:pt idx="900">
                  <c:v>25.92</c:v>
                </c:pt>
                <c:pt idx="901">
                  <c:v>25.56</c:v>
                </c:pt>
                <c:pt idx="902">
                  <c:v>24.89</c:v>
                </c:pt>
                <c:pt idx="903">
                  <c:v>24.9</c:v>
                </c:pt>
                <c:pt idx="904">
                  <c:v>25.67</c:v>
                </c:pt>
                <c:pt idx="905">
                  <c:v>24.76</c:v>
                </c:pt>
                <c:pt idx="906">
                  <c:v>24.99</c:v>
                </c:pt>
                <c:pt idx="907">
                  <c:v>25.99</c:v>
                </c:pt>
                <c:pt idx="908">
                  <c:v>25.45</c:v>
                </c:pt>
                <c:pt idx="909">
                  <c:v>24.71</c:v>
                </c:pt>
                <c:pt idx="910">
                  <c:v>24.27</c:v>
                </c:pt>
                <c:pt idx="911">
                  <c:v>27.89</c:v>
                </c:pt>
                <c:pt idx="912">
                  <c:v>26.18</c:v>
                </c:pt>
                <c:pt idx="913">
                  <c:v>26.26</c:v>
                </c:pt>
                <c:pt idx="914">
                  <c:v>25.09</c:v>
                </c:pt>
                <c:pt idx="915">
                  <c:v>25.01</c:v>
                </c:pt>
                <c:pt idx="916">
                  <c:v>25.14</c:v>
                </c:pt>
                <c:pt idx="917">
                  <c:v>24.92</c:v>
                </c:pt>
                <c:pt idx="918">
                  <c:v>24.95</c:v>
                </c:pt>
                <c:pt idx="919">
                  <c:v>24.68</c:v>
                </c:pt>
                <c:pt idx="920">
                  <c:v>24.76</c:v>
                </c:pt>
                <c:pt idx="921">
                  <c:v>26.01</c:v>
                </c:pt>
                <c:pt idx="922">
                  <c:v>29.15</c:v>
                </c:pt>
                <c:pt idx="923">
                  <c:v>28.9</c:v>
                </c:pt>
                <c:pt idx="924">
                  <c:v>27.1</c:v>
                </c:pt>
                <c:pt idx="925">
                  <c:v>25.26</c:v>
                </c:pt>
                <c:pt idx="926">
                  <c:v>25.62</c:v>
                </c:pt>
                <c:pt idx="927">
                  <c:v>24.32</c:v>
                </c:pt>
                <c:pt idx="928">
                  <c:v>23.55</c:v>
                </c:pt>
                <c:pt idx="929">
                  <c:v>24.15</c:v>
                </c:pt>
                <c:pt idx="930">
                  <c:v>23.86</c:v>
                </c:pt>
                <c:pt idx="931">
                  <c:v>23.42</c:v>
                </c:pt>
                <c:pt idx="932">
                  <c:v>23.69</c:v>
                </c:pt>
                <c:pt idx="933">
                  <c:v>23.65</c:v>
                </c:pt>
                <c:pt idx="934">
                  <c:v>23.92</c:v>
                </c:pt>
                <c:pt idx="935">
                  <c:v>24.06</c:v>
                </c:pt>
                <c:pt idx="936">
                  <c:v>23.08</c:v>
                </c:pt>
                <c:pt idx="937">
                  <c:v>23.49</c:v>
                </c:pt>
                <c:pt idx="938">
                  <c:v>24.95</c:v>
                </c:pt>
                <c:pt idx="939">
                  <c:v>25.61</c:v>
                </c:pt>
                <c:pt idx="940">
                  <c:v>24.88</c:v>
                </c:pt>
                <c:pt idx="941">
                  <c:v>25.19</c:v>
                </c:pt>
                <c:pt idx="942">
                  <c:v>25.61</c:v>
                </c:pt>
                <c:pt idx="943">
                  <c:v>28.27</c:v>
                </c:pt>
                <c:pt idx="944">
                  <c:v>28.68</c:v>
                </c:pt>
                <c:pt idx="945">
                  <c:v>26.84</c:v>
                </c:pt>
                <c:pt idx="946">
                  <c:v>25.7</c:v>
                </c:pt>
                <c:pt idx="947">
                  <c:v>24.68</c:v>
                </c:pt>
                <c:pt idx="948">
                  <c:v>24.18</c:v>
                </c:pt>
                <c:pt idx="949">
                  <c:v>23.12</c:v>
                </c:pt>
                <c:pt idx="950">
                  <c:v>23.01</c:v>
                </c:pt>
                <c:pt idx="951">
                  <c:v>22.99</c:v>
                </c:pt>
                <c:pt idx="952">
                  <c:v>22.86</c:v>
                </c:pt>
                <c:pt idx="953">
                  <c:v>21.72</c:v>
                </c:pt>
                <c:pt idx="954">
                  <c:v>21.43</c:v>
                </c:pt>
                <c:pt idx="955">
                  <c:v>21.49</c:v>
                </c:pt>
                <c:pt idx="956">
                  <c:v>20.9</c:v>
                </c:pt>
                <c:pt idx="957">
                  <c:v>22.22</c:v>
                </c:pt>
                <c:pt idx="958">
                  <c:v>20.69</c:v>
                </c:pt>
                <c:pt idx="959">
                  <c:v>22.27</c:v>
                </c:pt>
                <c:pt idx="960">
                  <c:v>24.31</c:v>
                </c:pt>
                <c:pt idx="961">
                  <c:v>24.83</c:v>
                </c:pt>
                <c:pt idx="962">
                  <c:v>27.91</c:v>
                </c:pt>
                <c:pt idx="963">
                  <c:v>24.76</c:v>
                </c:pt>
                <c:pt idx="964">
                  <c:v>30.69</c:v>
                </c:pt>
                <c:pt idx="965">
                  <c:v>29.78</c:v>
                </c:pt>
                <c:pt idx="966">
                  <c:v>28.81</c:v>
                </c:pt>
                <c:pt idx="967">
                  <c:v>27.72</c:v>
                </c:pt>
                <c:pt idx="968">
                  <c:v>25.43</c:v>
                </c:pt>
                <c:pt idx="969">
                  <c:v>24.19</c:v>
                </c:pt>
                <c:pt idx="970">
                  <c:v>23.15</c:v>
                </c:pt>
                <c:pt idx="971">
                  <c:v>22.84</c:v>
                </c:pt>
                <c:pt idx="972">
                  <c:v>23.04</c:v>
                </c:pt>
                <c:pt idx="973">
                  <c:v>24.24</c:v>
                </c:pt>
                <c:pt idx="974">
                  <c:v>23.36</c:v>
                </c:pt>
                <c:pt idx="975">
                  <c:v>22.89</c:v>
                </c:pt>
                <c:pt idx="976">
                  <c:v>22.41</c:v>
                </c:pt>
                <c:pt idx="977">
                  <c:v>21.63</c:v>
                </c:pt>
                <c:pt idx="978">
                  <c:v>22.63</c:v>
                </c:pt>
                <c:pt idx="979">
                  <c:v>22.19</c:v>
                </c:pt>
                <c:pt idx="980">
                  <c:v>21.16</c:v>
                </c:pt>
                <c:pt idx="981">
                  <c:v>20.47</c:v>
                </c:pt>
                <c:pt idx="982">
                  <c:v>20.48</c:v>
                </c:pt>
                <c:pt idx="983">
                  <c:v>24.74</c:v>
                </c:pt>
                <c:pt idx="984">
                  <c:v>24.51</c:v>
                </c:pt>
                <c:pt idx="985">
                  <c:v>21.92</c:v>
                </c:pt>
                <c:pt idx="986">
                  <c:v>21.12</c:v>
                </c:pt>
                <c:pt idx="987">
                  <c:v>22.46</c:v>
                </c:pt>
                <c:pt idx="988">
                  <c:v>21.25</c:v>
                </c:pt>
                <c:pt idx="989">
                  <c:v>22.1</c:v>
                </c:pt>
                <c:pt idx="990">
                  <c:v>23.69</c:v>
                </c:pt>
                <c:pt idx="991">
                  <c:v>22.66</c:v>
                </c:pt>
                <c:pt idx="992">
                  <c:v>22.32</c:v>
                </c:pt>
                <c:pt idx="993">
                  <c:v>21.59</c:v>
                </c:pt>
                <c:pt idx="994">
                  <c:v>21.15</c:v>
                </c:pt>
                <c:pt idx="995">
                  <c:v>21.49</c:v>
                </c:pt>
                <c:pt idx="996">
                  <c:v>20.54</c:v>
                </c:pt>
                <c:pt idx="997">
                  <c:v>22.51</c:v>
                </c:pt>
                <c:pt idx="998">
                  <c:v>21.68</c:v>
                </c:pt>
                <c:pt idx="999">
                  <c:v>20.49</c:v>
                </c:pt>
                <c:pt idx="1000">
                  <c:v>19.54</c:v>
                </c:pt>
                <c:pt idx="1001">
                  <c:v>19.71</c:v>
                </c:pt>
                <c:pt idx="1002">
                  <c:v>19.47</c:v>
                </c:pt>
                <c:pt idx="1003">
                  <c:v>19.93</c:v>
                </c:pt>
                <c:pt idx="1004">
                  <c:v>20.010000000000002</c:v>
                </c:pt>
                <c:pt idx="1005">
                  <c:v>19.96</c:v>
                </c:pt>
                <c:pt idx="1006">
                  <c:v>21.68</c:v>
                </c:pt>
                <c:pt idx="1007">
                  <c:v>20.04</c:v>
                </c:pt>
                <c:pt idx="1008">
                  <c:v>19.350000000000001</c:v>
                </c:pt>
                <c:pt idx="1009">
                  <c:v>19.16</c:v>
                </c:pt>
                <c:pt idx="1010">
                  <c:v>19.059999999999999</c:v>
                </c:pt>
                <c:pt idx="1011">
                  <c:v>18.13</c:v>
                </c:pt>
                <c:pt idx="1012">
                  <c:v>17.55</c:v>
                </c:pt>
                <c:pt idx="1013">
                  <c:v>18.25</c:v>
                </c:pt>
                <c:pt idx="1014">
                  <c:v>17.850000000000001</c:v>
                </c:pt>
                <c:pt idx="1015">
                  <c:v>17.63</c:v>
                </c:pt>
                <c:pt idx="1016">
                  <c:v>17.91</c:v>
                </c:pt>
                <c:pt idx="1017">
                  <c:v>17.579999999999998</c:v>
                </c:pt>
                <c:pt idx="1018">
                  <c:v>18.68</c:v>
                </c:pt>
                <c:pt idx="1019">
                  <c:v>22.27</c:v>
                </c:pt>
                <c:pt idx="1020">
                  <c:v>27.31</c:v>
                </c:pt>
                <c:pt idx="1021">
                  <c:v>25.41</c:v>
                </c:pt>
                <c:pt idx="1022">
                  <c:v>24.55</c:v>
                </c:pt>
                <c:pt idx="1023">
                  <c:v>23.14</c:v>
                </c:pt>
                <c:pt idx="1024">
                  <c:v>23.73</c:v>
                </c:pt>
                <c:pt idx="1025">
                  <c:v>24.62</c:v>
                </c:pt>
                <c:pt idx="1026">
                  <c:v>22.59</c:v>
                </c:pt>
                <c:pt idx="1027">
                  <c:v>21.48</c:v>
                </c:pt>
                <c:pt idx="1028">
                  <c:v>21.6</c:v>
                </c:pt>
                <c:pt idx="1029">
                  <c:v>26.08</c:v>
                </c:pt>
                <c:pt idx="1030">
                  <c:v>26.11</c:v>
                </c:pt>
                <c:pt idx="1031">
                  <c:v>26.51</c:v>
                </c:pt>
                <c:pt idx="1032">
                  <c:v>26</c:v>
                </c:pt>
                <c:pt idx="1033">
                  <c:v>25.4</c:v>
                </c:pt>
                <c:pt idx="1034">
                  <c:v>23.96</c:v>
                </c:pt>
                <c:pt idx="1035">
                  <c:v>22.73</c:v>
                </c:pt>
                <c:pt idx="1036">
                  <c:v>22.25</c:v>
                </c:pt>
                <c:pt idx="1037">
                  <c:v>21.72</c:v>
                </c:pt>
                <c:pt idx="1038">
                  <c:v>20.63</c:v>
                </c:pt>
                <c:pt idx="1039">
                  <c:v>20.02</c:v>
                </c:pt>
                <c:pt idx="1040">
                  <c:v>19.940000000000001</c:v>
                </c:pt>
                <c:pt idx="1041">
                  <c:v>21.37</c:v>
                </c:pt>
                <c:pt idx="1042">
                  <c:v>20.27</c:v>
                </c:pt>
                <c:pt idx="1043">
                  <c:v>20.100000000000001</c:v>
                </c:pt>
                <c:pt idx="1044">
                  <c:v>19.5</c:v>
                </c:pt>
                <c:pt idx="1045">
                  <c:v>19.260000000000002</c:v>
                </c:pt>
                <c:pt idx="1046">
                  <c:v>19.059999999999999</c:v>
                </c:pt>
                <c:pt idx="1047">
                  <c:v>18.829999999999998</c:v>
                </c:pt>
                <c:pt idx="1048">
                  <c:v>18.72</c:v>
                </c:pt>
                <c:pt idx="1049">
                  <c:v>17.420000000000002</c:v>
                </c:pt>
                <c:pt idx="1050">
                  <c:v>17.79</c:v>
                </c:pt>
                <c:pt idx="1051">
                  <c:v>17.920000000000002</c:v>
                </c:pt>
                <c:pt idx="1052">
                  <c:v>18.57</c:v>
                </c:pt>
                <c:pt idx="1053">
                  <c:v>18.059999999999999</c:v>
                </c:pt>
                <c:pt idx="1054">
                  <c:v>17.579999999999998</c:v>
                </c:pt>
                <c:pt idx="1055">
                  <c:v>18</c:v>
                </c:pt>
                <c:pt idx="1056">
                  <c:v>17.690000000000001</c:v>
                </c:pt>
                <c:pt idx="1057">
                  <c:v>16.91</c:v>
                </c:pt>
                <c:pt idx="1058">
                  <c:v>16.62</c:v>
                </c:pt>
                <c:pt idx="1059">
                  <c:v>16.97</c:v>
                </c:pt>
                <c:pt idx="1060">
                  <c:v>16.87</c:v>
                </c:pt>
                <c:pt idx="1061">
                  <c:v>16.350000000000001</c:v>
                </c:pt>
                <c:pt idx="1062">
                  <c:v>17.55</c:v>
                </c:pt>
                <c:pt idx="1063">
                  <c:v>18.399999999999999</c:v>
                </c:pt>
                <c:pt idx="1064">
                  <c:v>17.77</c:v>
                </c:pt>
                <c:pt idx="1065">
                  <c:v>17.59</c:v>
                </c:pt>
                <c:pt idx="1066">
                  <c:v>17.13</c:v>
                </c:pt>
                <c:pt idx="1067">
                  <c:v>17.59</c:v>
                </c:pt>
                <c:pt idx="1068">
                  <c:v>17.47</c:v>
                </c:pt>
                <c:pt idx="1069">
                  <c:v>17.02</c:v>
                </c:pt>
                <c:pt idx="1070">
                  <c:v>16.23</c:v>
                </c:pt>
                <c:pt idx="1071">
                  <c:v>16.62</c:v>
                </c:pt>
                <c:pt idx="1072">
                  <c:v>16.48</c:v>
                </c:pt>
                <c:pt idx="1073">
                  <c:v>16.14</c:v>
                </c:pt>
                <c:pt idx="1074">
                  <c:v>15.58</c:v>
                </c:pt>
                <c:pt idx="1075">
                  <c:v>16.2</c:v>
                </c:pt>
                <c:pt idx="1076">
                  <c:v>15.59</c:v>
                </c:pt>
                <c:pt idx="1077">
                  <c:v>15.89</c:v>
                </c:pt>
                <c:pt idx="1078">
                  <c:v>18.36</c:v>
                </c:pt>
                <c:pt idx="1079">
                  <c:v>17.34</c:v>
                </c:pt>
                <c:pt idx="1080">
                  <c:v>15.73</c:v>
                </c:pt>
                <c:pt idx="1081">
                  <c:v>16.32</c:v>
                </c:pt>
                <c:pt idx="1082">
                  <c:v>16.47</c:v>
                </c:pt>
                <c:pt idx="1083">
                  <c:v>16.62</c:v>
                </c:pt>
                <c:pt idx="1084">
                  <c:v>17.47</c:v>
                </c:pt>
                <c:pt idx="1085">
                  <c:v>22.81</c:v>
                </c:pt>
                <c:pt idx="1086">
                  <c:v>21.08</c:v>
                </c:pt>
                <c:pt idx="1087">
                  <c:v>18.440000000000001</c:v>
                </c:pt>
                <c:pt idx="1088">
                  <c:v>22.05</c:v>
                </c:pt>
                <c:pt idx="1089">
                  <c:v>20.190000000000001</c:v>
                </c:pt>
                <c:pt idx="1090">
                  <c:v>23.84</c:v>
                </c:pt>
                <c:pt idx="1091">
                  <c:v>24.91</c:v>
                </c:pt>
                <c:pt idx="1092">
                  <c:v>32.799999999999997</c:v>
                </c:pt>
                <c:pt idx="1093">
                  <c:v>40.950000000000003</c:v>
                </c:pt>
                <c:pt idx="1094">
                  <c:v>28.84</c:v>
                </c:pt>
                <c:pt idx="1095">
                  <c:v>28.32</c:v>
                </c:pt>
                <c:pt idx="1096">
                  <c:v>25.52</c:v>
                </c:pt>
                <c:pt idx="1097">
                  <c:v>26.68</c:v>
                </c:pt>
                <c:pt idx="1098">
                  <c:v>31.24</c:v>
                </c:pt>
                <c:pt idx="1099">
                  <c:v>30.84</c:v>
                </c:pt>
                <c:pt idx="1100">
                  <c:v>33.549999999999997</c:v>
                </c:pt>
                <c:pt idx="1101">
                  <c:v>35.32</c:v>
                </c:pt>
                <c:pt idx="1102">
                  <c:v>45.79</c:v>
                </c:pt>
                <c:pt idx="1103">
                  <c:v>40.1</c:v>
                </c:pt>
                <c:pt idx="1104">
                  <c:v>38.32</c:v>
                </c:pt>
                <c:pt idx="1105">
                  <c:v>34.61</c:v>
                </c:pt>
                <c:pt idx="1106">
                  <c:v>35.020000000000003</c:v>
                </c:pt>
                <c:pt idx="1107">
                  <c:v>29.68</c:v>
                </c:pt>
                <c:pt idx="1108">
                  <c:v>32.07</c:v>
                </c:pt>
                <c:pt idx="1109">
                  <c:v>35.54</c:v>
                </c:pt>
                <c:pt idx="1110">
                  <c:v>30.17</c:v>
                </c:pt>
                <c:pt idx="1111">
                  <c:v>29.46</c:v>
                </c:pt>
                <c:pt idx="1112">
                  <c:v>35.479999999999997</c:v>
                </c:pt>
                <c:pt idx="1113">
                  <c:v>36.57</c:v>
                </c:pt>
                <c:pt idx="1114">
                  <c:v>33.700000000000003</c:v>
                </c:pt>
                <c:pt idx="1115">
                  <c:v>33.729999999999997</c:v>
                </c:pt>
                <c:pt idx="1116">
                  <c:v>30.57</c:v>
                </c:pt>
                <c:pt idx="1117">
                  <c:v>28.79</c:v>
                </c:pt>
                <c:pt idx="1118">
                  <c:v>28.58</c:v>
                </c:pt>
                <c:pt idx="1119">
                  <c:v>25.87</c:v>
                </c:pt>
                <c:pt idx="1120">
                  <c:v>25.92</c:v>
                </c:pt>
                <c:pt idx="1121">
                  <c:v>25.05</c:v>
                </c:pt>
                <c:pt idx="1122">
                  <c:v>23.95</c:v>
                </c:pt>
                <c:pt idx="1123">
                  <c:v>24.88</c:v>
                </c:pt>
                <c:pt idx="1124">
                  <c:v>27.05</c:v>
                </c:pt>
                <c:pt idx="1125">
                  <c:v>26.91</c:v>
                </c:pt>
                <c:pt idx="1126">
                  <c:v>29.74</c:v>
                </c:pt>
                <c:pt idx="1127">
                  <c:v>28.53</c:v>
                </c:pt>
                <c:pt idx="1128">
                  <c:v>29</c:v>
                </c:pt>
                <c:pt idx="1129">
                  <c:v>34.130000000000003</c:v>
                </c:pt>
                <c:pt idx="1130">
                  <c:v>34.54</c:v>
                </c:pt>
                <c:pt idx="1131">
                  <c:v>32.86</c:v>
                </c:pt>
                <c:pt idx="1132">
                  <c:v>30.12</c:v>
                </c:pt>
                <c:pt idx="1133">
                  <c:v>29.65</c:v>
                </c:pt>
                <c:pt idx="1134">
                  <c:v>26.84</c:v>
                </c:pt>
                <c:pt idx="1135">
                  <c:v>25.71</c:v>
                </c:pt>
                <c:pt idx="1136">
                  <c:v>24.98</c:v>
                </c:pt>
                <c:pt idx="1137">
                  <c:v>24.43</c:v>
                </c:pt>
                <c:pt idx="1138">
                  <c:v>24.56</c:v>
                </c:pt>
                <c:pt idx="1139">
                  <c:v>24.89</c:v>
                </c:pt>
                <c:pt idx="1140">
                  <c:v>25.14</c:v>
                </c:pt>
                <c:pt idx="1141">
                  <c:v>26.25</c:v>
                </c:pt>
                <c:pt idx="1142">
                  <c:v>25.97</c:v>
                </c:pt>
                <c:pt idx="1143">
                  <c:v>23.93</c:v>
                </c:pt>
                <c:pt idx="1144">
                  <c:v>25.64</c:v>
                </c:pt>
                <c:pt idx="1145">
                  <c:v>24.63</c:v>
                </c:pt>
                <c:pt idx="1146">
                  <c:v>23.47</c:v>
                </c:pt>
                <c:pt idx="1147">
                  <c:v>22.73</c:v>
                </c:pt>
                <c:pt idx="1148">
                  <c:v>23.19</c:v>
                </c:pt>
                <c:pt idx="1149">
                  <c:v>24.25</c:v>
                </c:pt>
                <c:pt idx="1150">
                  <c:v>24.13</c:v>
                </c:pt>
                <c:pt idx="1151">
                  <c:v>23.5</c:v>
                </c:pt>
                <c:pt idx="1152">
                  <c:v>22.01</c:v>
                </c:pt>
                <c:pt idx="1153">
                  <c:v>22.63</c:v>
                </c:pt>
                <c:pt idx="1154">
                  <c:v>22.21</c:v>
                </c:pt>
                <c:pt idx="1155">
                  <c:v>22.1</c:v>
                </c:pt>
                <c:pt idx="1156">
                  <c:v>21.74</c:v>
                </c:pt>
                <c:pt idx="1157">
                  <c:v>22.14</c:v>
                </c:pt>
                <c:pt idx="1158">
                  <c:v>22.37</c:v>
                </c:pt>
                <c:pt idx="1159">
                  <c:v>25.39</c:v>
                </c:pt>
                <c:pt idx="1160">
                  <c:v>25.73</c:v>
                </c:pt>
                <c:pt idx="1161">
                  <c:v>26.24</c:v>
                </c:pt>
                <c:pt idx="1162">
                  <c:v>26.1</c:v>
                </c:pt>
                <c:pt idx="1163">
                  <c:v>24.33</c:v>
                </c:pt>
                <c:pt idx="1164">
                  <c:v>24.59</c:v>
                </c:pt>
                <c:pt idx="1165">
                  <c:v>26.44</c:v>
                </c:pt>
                <c:pt idx="1166">
                  <c:v>25.49</c:v>
                </c:pt>
                <c:pt idx="1167">
                  <c:v>25.66</c:v>
                </c:pt>
                <c:pt idx="1168">
                  <c:v>27.46</c:v>
                </c:pt>
                <c:pt idx="1169">
                  <c:v>26.7</c:v>
                </c:pt>
                <c:pt idx="1170">
                  <c:v>27.37</c:v>
                </c:pt>
                <c:pt idx="1171">
                  <c:v>24.45</c:v>
                </c:pt>
                <c:pt idx="1172">
                  <c:v>27.21</c:v>
                </c:pt>
                <c:pt idx="1173">
                  <c:v>26.05</c:v>
                </c:pt>
                <c:pt idx="1174">
                  <c:v>23.89</c:v>
                </c:pt>
                <c:pt idx="1175">
                  <c:v>23.19</c:v>
                </c:pt>
                <c:pt idx="1176">
                  <c:v>21.31</c:v>
                </c:pt>
                <c:pt idx="1177">
                  <c:v>23.8</c:v>
                </c:pt>
                <c:pt idx="1178">
                  <c:v>23.25</c:v>
                </c:pt>
                <c:pt idx="1179">
                  <c:v>22.81</c:v>
                </c:pt>
                <c:pt idx="1180">
                  <c:v>21.99</c:v>
                </c:pt>
                <c:pt idx="1181">
                  <c:v>21.21</c:v>
                </c:pt>
                <c:pt idx="1182">
                  <c:v>21.56</c:v>
                </c:pt>
                <c:pt idx="1183">
                  <c:v>22.1</c:v>
                </c:pt>
                <c:pt idx="1184">
                  <c:v>21.72</c:v>
                </c:pt>
                <c:pt idx="1185">
                  <c:v>22.01</c:v>
                </c:pt>
                <c:pt idx="1186">
                  <c:v>21.5</c:v>
                </c:pt>
                <c:pt idx="1187">
                  <c:v>22.35</c:v>
                </c:pt>
                <c:pt idx="1188">
                  <c:v>22.51</c:v>
                </c:pt>
                <c:pt idx="1189">
                  <c:v>23.87</c:v>
                </c:pt>
                <c:pt idx="1190">
                  <c:v>21.71</c:v>
                </c:pt>
                <c:pt idx="1191">
                  <c:v>22.54</c:v>
                </c:pt>
                <c:pt idx="1192">
                  <c:v>22.6</c:v>
                </c:pt>
                <c:pt idx="1193">
                  <c:v>23.25</c:v>
                </c:pt>
                <c:pt idx="1194">
                  <c:v>23.7</c:v>
                </c:pt>
                <c:pt idx="1195">
                  <c:v>22.5</c:v>
                </c:pt>
                <c:pt idx="1196">
                  <c:v>23.53</c:v>
                </c:pt>
                <c:pt idx="1197">
                  <c:v>21.76</c:v>
                </c:pt>
                <c:pt idx="1198">
                  <c:v>21.49</c:v>
                </c:pt>
                <c:pt idx="1199">
                  <c:v>21.56</c:v>
                </c:pt>
                <c:pt idx="1200">
                  <c:v>20.71</c:v>
                </c:pt>
                <c:pt idx="1201">
                  <c:v>18.96</c:v>
                </c:pt>
                <c:pt idx="1202">
                  <c:v>18.93</c:v>
                </c:pt>
                <c:pt idx="1203">
                  <c:v>19.07</c:v>
                </c:pt>
                <c:pt idx="1204">
                  <c:v>19.88</c:v>
                </c:pt>
                <c:pt idx="1205">
                  <c:v>19.03</c:v>
                </c:pt>
                <c:pt idx="1206">
                  <c:v>19.09</c:v>
                </c:pt>
                <c:pt idx="1207">
                  <c:v>20.63</c:v>
                </c:pt>
                <c:pt idx="1208">
                  <c:v>19.79</c:v>
                </c:pt>
                <c:pt idx="1209">
                  <c:v>19.27</c:v>
                </c:pt>
                <c:pt idx="1210">
                  <c:v>18.78</c:v>
                </c:pt>
                <c:pt idx="1211">
                  <c:v>19.850000000000001</c:v>
                </c:pt>
                <c:pt idx="1212">
                  <c:v>20.22</c:v>
                </c:pt>
                <c:pt idx="1213">
                  <c:v>20.71</c:v>
                </c:pt>
                <c:pt idx="1214">
                  <c:v>20.88</c:v>
                </c:pt>
                <c:pt idx="1215">
                  <c:v>21.2</c:v>
                </c:pt>
                <c:pt idx="1216">
                  <c:v>21.83</c:v>
                </c:pt>
                <c:pt idx="1217">
                  <c:v>21.57</c:v>
                </c:pt>
                <c:pt idx="1218">
                  <c:v>19.559999999999999</c:v>
                </c:pt>
                <c:pt idx="1219">
                  <c:v>18.52</c:v>
                </c:pt>
                <c:pt idx="1220">
                  <c:v>18.260000000000002</c:v>
                </c:pt>
                <c:pt idx="1221">
                  <c:v>18.29</c:v>
                </c:pt>
                <c:pt idx="1222">
                  <c:v>19.079999999999998</c:v>
                </c:pt>
                <c:pt idx="1223">
                  <c:v>18.47</c:v>
                </c:pt>
                <c:pt idx="1224">
                  <c:v>18.64</c:v>
                </c:pt>
                <c:pt idx="1225">
                  <c:v>20.61</c:v>
                </c:pt>
                <c:pt idx="1226">
                  <c:v>20.2</c:v>
                </c:pt>
                <c:pt idx="1227">
                  <c:v>22.58</c:v>
                </c:pt>
                <c:pt idx="1228">
                  <c:v>21.76</c:v>
                </c:pt>
                <c:pt idx="1229">
                  <c:v>18.75</c:v>
                </c:pt>
                <c:pt idx="1230">
                  <c:v>18.04</c:v>
                </c:pt>
                <c:pt idx="1231">
                  <c:v>18.37</c:v>
                </c:pt>
                <c:pt idx="1232">
                  <c:v>20.63</c:v>
                </c:pt>
                <c:pt idx="1233">
                  <c:v>19.559999999999999</c:v>
                </c:pt>
                <c:pt idx="1234">
                  <c:v>22.22</c:v>
                </c:pt>
                <c:pt idx="1235">
                  <c:v>21.53</c:v>
                </c:pt>
                <c:pt idx="1236">
                  <c:v>23.54</c:v>
                </c:pt>
                <c:pt idx="1237">
                  <c:v>21.36</c:v>
                </c:pt>
                <c:pt idx="1238">
                  <c:v>19.39</c:v>
                </c:pt>
                <c:pt idx="1239">
                  <c:v>18.010000000000002</c:v>
                </c:pt>
                <c:pt idx="1240">
                  <c:v>18.02</c:v>
                </c:pt>
                <c:pt idx="1241">
                  <c:v>17.989999999999998</c:v>
                </c:pt>
                <c:pt idx="1242">
                  <c:v>17.739999999999998</c:v>
                </c:pt>
                <c:pt idx="1243">
                  <c:v>17.25</c:v>
                </c:pt>
                <c:pt idx="1244">
                  <c:v>17.61</c:v>
                </c:pt>
                <c:pt idx="1245">
                  <c:v>17.55</c:v>
                </c:pt>
                <c:pt idx="1246">
                  <c:v>17.61</c:v>
                </c:pt>
                <c:pt idx="1247">
                  <c:v>17.940000000000001</c:v>
                </c:pt>
                <c:pt idx="1248">
                  <c:v>17.39</c:v>
                </c:pt>
                <c:pt idx="1249">
                  <c:v>16.11</c:v>
                </c:pt>
                <c:pt idx="1250">
                  <c:v>16.41</c:v>
                </c:pt>
                <c:pt idx="1251">
                  <c:v>16.489999999999998</c:v>
                </c:pt>
                <c:pt idx="1252">
                  <c:v>15.45</c:v>
                </c:pt>
                <c:pt idx="1253">
                  <c:v>16.47</c:v>
                </c:pt>
                <c:pt idx="1254">
                  <c:v>17.670000000000002</c:v>
                </c:pt>
                <c:pt idx="1255">
                  <c:v>17.52</c:v>
                </c:pt>
                <c:pt idx="1256">
                  <c:v>17.28</c:v>
                </c:pt>
                <c:pt idx="1257">
                  <c:v>17.52</c:v>
                </c:pt>
                <c:pt idx="1258">
                  <c:v>17.75</c:v>
                </c:pt>
                <c:pt idx="1259">
                  <c:v>17.61</c:v>
                </c:pt>
                <c:pt idx="1260">
                  <c:v>17.38</c:v>
                </c:pt>
                <c:pt idx="1261">
                  <c:v>17.02</c:v>
                </c:pt>
                <c:pt idx="1262">
                  <c:v>17.399999999999999</c:v>
                </c:pt>
                <c:pt idx="1263">
                  <c:v>17.14</c:v>
                </c:pt>
                <c:pt idx="1264">
                  <c:v>17.54</c:v>
                </c:pt>
                <c:pt idx="1265">
                  <c:v>16.89</c:v>
                </c:pt>
                <c:pt idx="1266">
                  <c:v>16.239999999999998</c:v>
                </c:pt>
                <c:pt idx="1267">
                  <c:v>16.39</c:v>
                </c:pt>
                <c:pt idx="1268">
                  <c:v>15.46</c:v>
                </c:pt>
                <c:pt idx="1269">
                  <c:v>15.87</c:v>
                </c:pt>
                <c:pt idx="1270">
                  <c:v>17.309999999999999</c:v>
                </c:pt>
                <c:pt idx="1271">
                  <c:v>17.989999999999998</c:v>
                </c:pt>
                <c:pt idx="1272">
                  <c:v>18.47</c:v>
                </c:pt>
                <c:pt idx="1273">
                  <c:v>17.649999999999999</c:v>
                </c:pt>
                <c:pt idx="1274">
                  <c:v>17.59</c:v>
                </c:pt>
                <c:pt idx="1275">
                  <c:v>16.64</c:v>
                </c:pt>
                <c:pt idx="1276">
                  <c:v>16.149999999999999</c:v>
                </c:pt>
                <c:pt idx="1277">
                  <c:v>20.04</c:v>
                </c:pt>
                <c:pt idx="1278">
                  <c:v>19.53</c:v>
                </c:pt>
                <c:pt idx="1279">
                  <c:v>17.63</c:v>
                </c:pt>
                <c:pt idx="1280">
                  <c:v>17.3</c:v>
                </c:pt>
                <c:pt idx="1281">
                  <c:v>16.690000000000001</c:v>
                </c:pt>
                <c:pt idx="1282">
                  <c:v>15.93</c:v>
                </c:pt>
                <c:pt idx="1283">
                  <c:v>16.28</c:v>
                </c:pt>
                <c:pt idx="1284">
                  <c:v>15.81</c:v>
                </c:pt>
                <c:pt idx="1285">
                  <c:v>15.87</c:v>
                </c:pt>
                <c:pt idx="1286">
                  <c:v>16.09</c:v>
                </c:pt>
                <c:pt idx="1287">
                  <c:v>15.69</c:v>
                </c:pt>
                <c:pt idx="1288">
                  <c:v>15.95</c:v>
                </c:pt>
                <c:pt idx="1289">
                  <c:v>16.37</c:v>
                </c:pt>
                <c:pt idx="1290">
                  <c:v>16.72</c:v>
                </c:pt>
                <c:pt idx="1291">
                  <c:v>16.59</c:v>
                </c:pt>
                <c:pt idx="1292">
                  <c:v>16.43</c:v>
                </c:pt>
                <c:pt idx="1293">
                  <c:v>20.8</c:v>
                </c:pt>
                <c:pt idx="1294">
                  <c:v>22.13</c:v>
                </c:pt>
                <c:pt idx="1295">
                  <c:v>21.32</c:v>
                </c:pt>
                <c:pt idx="1296">
                  <c:v>19.22</c:v>
                </c:pt>
                <c:pt idx="1297">
                  <c:v>18.350000000000001</c:v>
                </c:pt>
                <c:pt idx="1298">
                  <c:v>21.01</c:v>
                </c:pt>
                <c:pt idx="1299">
                  <c:v>20.7</c:v>
                </c:pt>
                <c:pt idx="1300">
                  <c:v>18.600000000000001</c:v>
                </c:pt>
                <c:pt idx="1301">
                  <c:v>19.059999999999999</c:v>
                </c:pt>
                <c:pt idx="1302">
                  <c:v>20.66</c:v>
                </c:pt>
                <c:pt idx="1303">
                  <c:v>19.82</c:v>
                </c:pt>
                <c:pt idx="1304">
                  <c:v>20.22</c:v>
                </c:pt>
                <c:pt idx="1305">
                  <c:v>21.88</c:v>
                </c:pt>
                <c:pt idx="1306">
                  <c:v>20.079999999999998</c:v>
                </c:pt>
                <c:pt idx="1307">
                  <c:v>21.13</c:v>
                </c:pt>
                <c:pt idx="1308">
                  <c:v>24.32</c:v>
                </c:pt>
                <c:pt idx="1309">
                  <c:v>29.4</c:v>
                </c:pt>
                <c:pt idx="1310">
                  <c:v>26.37</c:v>
                </c:pt>
                <c:pt idx="1311">
                  <c:v>24.44</c:v>
                </c:pt>
                <c:pt idx="1312">
                  <c:v>20.61</c:v>
                </c:pt>
                <c:pt idx="1313">
                  <c:v>20.21</c:v>
                </c:pt>
                <c:pt idx="1314">
                  <c:v>19.170000000000002</c:v>
                </c:pt>
                <c:pt idx="1315">
                  <c:v>18</c:v>
                </c:pt>
                <c:pt idx="1316">
                  <c:v>17.91</c:v>
                </c:pt>
                <c:pt idx="1317">
                  <c:v>19.440000000000001</c:v>
                </c:pt>
                <c:pt idx="1318">
                  <c:v>18.16</c:v>
                </c:pt>
                <c:pt idx="1319">
                  <c:v>17.71</c:v>
                </c:pt>
                <c:pt idx="1320">
                  <c:v>17.739999999999998</c:v>
                </c:pt>
                <c:pt idx="1321">
                  <c:v>17.399999999999999</c:v>
                </c:pt>
                <c:pt idx="1322">
                  <c:v>17.5</c:v>
                </c:pt>
                <c:pt idx="1323">
                  <c:v>17.25</c:v>
                </c:pt>
                <c:pt idx="1324">
                  <c:v>16.899999999999999</c:v>
                </c:pt>
                <c:pt idx="1325">
                  <c:v>17.11</c:v>
                </c:pt>
                <c:pt idx="1326">
                  <c:v>17.87</c:v>
                </c:pt>
                <c:pt idx="1327">
                  <c:v>16.59</c:v>
                </c:pt>
                <c:pt idx="1328">
                  <c:v>17.09</c:v>
                </c:pt>
                <c:pt idx="1329">
                  <c:v>16.920000000000002</c:v>
                </c:pt>
                <c:pt idx="1330">
                  <c:v>16.27</c:v>
                </c:pt>
                <c:pt idx="1331">
                  <c:v>15.32</c:v>
                </c:pt>
                <c:pt idx="1332">
                  <c:v>16.96</c:v>
                </c:pt>
                <c:pt idx="1333">
                  <c:v>15.83</c:v>
                </c:pt>
                <c:pt idx="1334">
                  <c:v>15.07</c:v>
                </c:pt>
                <c:pt idx="1335">
                  <c:v>14.69</c:v>
                </c:pt>
                <c:pt idx="1336">
                  <c:v>15.77</c:v>
                </c:pt>
                <c:pt idx="1337">
                  <c:v>15.62</c:v>
                </c:pt>
                <c:pt idx="1338">
                  <c:v>15.35</c:v>
                </c:pt>
                <c:pt idx="1339">
                  <c:v>14.62</c:v>
                </c:pt>
                <c:pt idx="1340">
                  <c:v>14.75</c:v>
                </c:pt>
                <c:pt idx="1341">
                  <c:v>15.99</c:v>
                </c:pt>
                <c:pt idx="1342">
                  <c:v>16.7</c:v>
                </c:pt>
                <c:pt idx="1343">
                  <c:v>17.079999999999998</c:v>
                </c:pt>
                <c:pt idx="1344">
                  <c:v>18.2</c:v>
                </c:pt>
                <c:pt idx="1345">
                  <c:v>18.399999999999999</c:v>
                </c:pt>
                <c:pt idx="1346">
                  <c:v>17.16</c:v>
                </c:pt>
                <c:pt idx="1347">
                  <c:v>15.91</c:v>
                </c:pt>
                <c:pt idx="1348">
                  <c:v>16.95</c:v>
                </c:pt>
                <c:pt idx="1349">
                  <c:v>16.03</c:v>
                </c:pt>
                <c:pt idx="1350">
                  <c:v>17.07</c:v>
                </c:pt>
                <c:pt idx="1351">
                  <c:v>18.239999999999998</c:v>
                </c:pt>
                <c:pt idx="1352">
                  <c:v>17.55</c:v>
                </c:pt>
                <c:pt idx="1353">
                  <c:v>16.23</c:v>
                </c:pt>
                <c:pt idx="1354">
                  <c:v>15.52</c:v>
                </c:pt>
                <c:pt idx="1355">
                  <c:v>17.43</c:v>
                </c:pt>
                <c:pt idx="1356">
                  <c:v>18.27</c:v>
                </c:pt>
                <c:pt idx="1357">
                  <c:v>17.82</c:v>
                </c:pt>
                <c:pt idx="1358">
                  <c:v>17.07</c:v>
                </c:pt>
                <c:pt idx="1359">
                  <c:v>16.09</c:v>
                </c:pt>
                <c:pt idx="1360">
                  <c:v>15.98</c:v>
                </c:pt>
                <c:pt idx="1361">
                  <c:v>15.45</c:v>
                </c:pt>
                <c:pt idx="1362">
                  <c:v>18.3</c:v>
                </c:pt>
                <c:pt idx="1363">
                  <c:v>18.09</c:v>
                </c:pt>
                <c:pt idx="1364">
                  <c:v>17.95</c:v>
                </c:pt>
                <c:pt idx="1365">
                  <c:v>18.489999999999998</c:v>
                </c:pt>
                <c:pt idx="1366">
                  <c:v>18.07</c:v>
                </c:pt>
                <c:pt idx="1367">
                  <c:v>18.79</c:v>
                </c:pt>
                <c:pt idx="1368">
                  <c:v>17.77</c:v>
                </c:pt>
                <c:pt idx="1369">
                  <c:v>18.86</c:v>
                </c:pt>
                <c:pt idx="1370">
                  <c:v>19.61</c:v>
                </c:pt>
                <c:pt idx="1371">
                  <c:v>18.260000000000002</c:v>
                </c:pt>
                <c:pt idx="1372">
                  <c:v>21.32</c:v>
                </c:pt>
                <c:pt idx="1373">
                  <c:v>22.73</c:v>
                </c:pt>
                <c:pt idx="1374">
                  <c:v>21.85</c:v>
                </c:pt>
                <c:pt idx="1375">
                  <c:v>19.989999999999998</c:v>
                </c:pt>
                <c:pt idx="1376">
                  <c:v>18.86</c:v>
                </c:pt>
                <c:pt idx="1377">
                  <c:v>18.52</c:v>
                </c:pt>
                <c:pt idx="1378">
                  <c:v>19.29</c:v>
                </c:pt>
                <c:pt idx="1379">
                  <c:v>21.1</c:v>
                </c:pt>
                <c:pt idx="1380">
                  <c:v>20.56</c:v>
                </c:pt>
                <c:pt idx="1381">
                  <c:v>19.170000000000002</c:v>
                </c:pt>
                <c:pt idx="1382">
                  <c:v>17.27</c:v>
                </c:pt>
                <c:pt idx="1383">
                  <c:v>16.52</c:v>
                </c:pt>
                <c:pt idx="1384">
                  <c:v>15.87</c:v>
                </c:pt>
                <c:pt idx="1385">
                  <c:v>16.059999999999999</c:v>
                </c:pt>
                <c:pt idx="1386">
                  <c:v>16.34</c:v>
                </c:pt>
                <c:pt idx="1387">
                  <c:v>15.95</c:v>
                </c:pt>
                <c:pt idx="1388">
                  <c:v>15.95</c:v>
                </c:pt>
                <c:pt idx="1389">
                  <c:v>18.39</c:v>
                </c:pt>
                <c:pt idx="1390">
                  <c:v>19.87</c:v>
                </c:pt>
                <c:pt idx="1391">
                  <c:v>19.91</c:v>
                </c:pt>
                <c:pt idx="1392">
                  <c:v>20.8</c:v>
                </c:pt>
                <c:pt idx="1393">
                  <c:v>19.53</c:v>
                </c:pt>
                <c:pt idx="1394">
                  <c:v>20.95</c:v>
                </c:pt>
                <c:pt idx="1395">
                  <c:v>19.21</c:v>
                </c:pt>
                <c:pt idx="1396">
                  <c:v>19.09</c:v>
                </c:pt>
                <c:pt idx="1397">
                  <c:v>17.559999999999999</c:v>
                </c:pt>
                <c:pt idx="1398">
                  <c:v>17.52</c:v>
                </c:pt>
                <c:pt idx="1399">
                  <c:v>19.350000000000001</c:v>
                </c:pt>
                <c:pt idx="1400">
                  <c:v>20.23</c:v>
                </c:pt>
                <c:pt idx="1401">
                  <c:v>22.98</c:v>
                </c:pt>
                <c:pt idx="1402">
                  <c:v>23.74</c:v>
                </c:pt>
                <c:pt idx="1403">
                  <c:v>25.25</c:v>
                </c:pt>
                <c:pt idx="1404">
                  <c:v>23.66</c:v>
                </c:pt>
                <c:pt idx="1405">
                  <c:v>24.79</c:v>
                </c:pt>
                <c:pt idx="1406">
                  <c:v>23.38</c:v>
                </c:pt>
                <c:pt idx="1407">
                  <c:v>31.66</c:v>
                </c:pt>
                <c:pt idx="1408">
                  <c:v>32</c:v>
                </c:pt>
                <c:pt idx="1409">
                  <c:v>48</c:v>
                </c:pt>
                <c:pt idx="1410">
                  <c:v>35.06</c:v>
                </c:pt>
                <c:pt idx="1411">
                  <c:v>42.99</c:v>
                </c:pt>
                <c:pt idx="1412">
                  <c:v>39</c:v>
                </c:pt>
                <c:pt idx="1413">
                  <c:v>36.36</c:v>
                </c:pt>
                <c:pt idx="1414">
                  <c:v>31.87</c:v>
                </c:pt>
                <c:pt idx="1415">
                  <c:v>32.85</c:v>
                </c:pt>
                <c:pt idx="1416">
                  <c:v>31.58</c:v>
                </c:pt>
                <c:pt idx="1417">
                  <c:v>42.67</c:v>
                </c:pt>
                <c:pt idx="1418">
                  <c:v>43.05</c:v>
                </c:pt>
                <c:pt idx="1419">
                  <c:v>42.44</c:v>
                </c:pt>
                <c:pt idx="1420">
                  <c:v>36.270000000000003</c:v>
                </c:pt>
                <c:pt idx="1421">
                  <c:v>35.9</c:v>
                </c:pt>
                <c:pt idx="1422">
                  <c:v>39.76</c:v>
                </c:pt>
                <c:pt idx="1423">
                  <c:v>35.590000000000003</c:v>
                </c:pt>
                <c:pt idx="1424">
                  <c:v>32.28</c:v>
                </c:pt>
                <c:pt idx="1425">
                  <c:v>32.89</c:v>
                </c:pt>
                <c:pt idx="1426">
                  <c:v>31.62</c:v>
                </c:pt>
                <c:pt idx="1427">
                  <c:v>31.82</c:v>
                </c:pt>
                <c:pt idx="1428">
                  <c:v>33.92</c:v>
                </c:pt>
                <c:pt idx="1429">
                  <c:v>37</c:v>
                </c:pt>
                <c:pt idx="1430">
                  <c:v>33.380000000000003</c:v>
                </c:pt>
                <c:pt idx="1431">
                  <c:v>34.32</c:v>
                </c:pt>
                <c:pt idx="1432">
                  <c:v>38.520000000000003</c:v>
                </c:pt>
                <c:pt idx="1433">
                  <c:v>38.590000000000003</c:v>
                </c:pt>
                <c:pt idx="1434">
                  <c:v>36.909999999999997</c:v>
                </c:pt>
                <c:pt idx="1435">
                  <c:v>34.6</c:v>
                </c:pt>
                <c:pt idx="1436">
                  <c:v>31.97</c:v>
                </c:pt>
                <c:pt idx="1437">
                  <c:v>30.98</c:v>
                </c:pt>
                <c:pt idx="1438">
                  <c:v>32.729999999999997</c:v>
                </c:pt>
                <c:pt idx="1439">
                  <c:v>32.86</c:v>
                </c:pt>
                <c:pt idx="1440">
                  <c:v>37.32</c:v>
                </c:pt>
                <c:pt idx="1441">
                  <c:v>41.35</c:v>
                </c:pt>
                <c:pt idx="1442">
                  <c:v>41.25</c:v>
                </c:pt>
                <c:pt idx="1443">
                  <c:v>39.020000000000003</c:v>
                </c:pt>
                <c:pt idx="1444">
                  <c:v>37.71</c:v>
                </c:pt>
                <c:pt idx="1445">
                  <c:v>41.08</c:v>
                </c:pt>
                <c:pt idx="1446">
                  <c:v>38.840000000000003</c:v>
                </c:pt>
                <c:pt idx="1447">
                  <c:v>42.96</c:v>
                </c:pt>
                <c:pt idx="1448">
                  <c:v>45.45</c:v>
                </c:pt>
                <c:pt idx="1449">
                  <c:v>40.82</c:v>
                </c:pt>
                <c:pt idx="1450">
                  <c:v>37.81</c:v>
                </c:pt>
                <c:pt idx="1451">
                  <c:v>36.270000000000003</c:v>
                </c:pt>
                <c:pt idx="1452">
                  <c:v>36.200000000000003</c:v>
                </c:pt>
                <c:pt idx="1453">
                  <c:v>33.020000000000003</c:v>
                </c:pt>
                <c:pt idx="1454">
                  <c:v>32.86</c:v>
                </c:pt>
                <c:pt idx="1455">
                  <c:v>31.26</c:v>
                </c:pt>
                <c:pt idx="1456">
                  <c:v>30.7</c:v>
                </c:pt>
                <c:pt idx="1457">
                  <c:v>28.24</c:v>
                </c:pt>
                <c:pt idx="1458">
                  <c:v>33.39</c:v>
                </c:pt>
                <c:pt idx="1459">
                  <c:v>31.56</c:v>
                </c:pt>
                <c:pt idx="1460">
                  <c:v>34.44</c:v>
                </c:pt>
                <c:pt idx="1461">
                  <c:v>34.78</c:v>
                </c:pt>
                <c:pt idx="1462">
                  <c:v>31.32</c:v>
                </c:pt>
                <c:pt idx="1463">
                  <c:v>29.26</c:v>
                </c:pt>
                <c:pt idx="1464">
                  <c:v>32.22</c:v>
                </c:pt>
                <c:pt idx="1465">
                  <c:v>29.86</c:v>
                </c:pt>
                <c:pt idx="1466">
                  <c:v>25.46</c:v>
                </c:pt>
                <c:pt idx="1467">
                  <c:v>24.53</c:v>
                </c:pt>
                <c:pt idx="1468">
                  <c:v>29.96</c:v>
                </c:pt>
                <c:pt idx="1469">
                  <c:v>34.770000000000003</c:v>
                </c:pt>
                <c:pt idx="1470">
                  <c:v>32.74</c:v>
                </c:pt>
                <c:pt idx="1471">
                  <c:v>30.5</c:v>
                </c:pt>
                <c:pt idx="1472">
                  <c:v>30.16</c:v>
                </c:pt>
                <c:pt idx="1473">
                  <c:v>29.85</c:v>
                </c:pt>
                <c:pt idx="1474">
                  <c:v>27.48</c:v>
                </c:pt>
                <c:pt idx="1475">
                  <c:v>36.159999999999997</c:v>
                </c:pt>
                <c:pt idx="1476">
                  <c:v>32.81</c:v>
                </c:pt>
                <c:pt idx="1477">
                  <c:v>30.04</c:v>
                </c:pt>
                <c:pt idx="1478">
                  <c:v>31.13</c:v>
                </c:pt>
                <c:pt idx="1479">
                  <c:v>31.22</c:v>
                </c:pt>
                <c:pt idx="1480">
                  <c:v>33.51</c:v>
                </c:pt>
                <c:pt idx="1481">
                  <c:v>34.51</c:v>
                </c:pt>
                <c:pt idx="1482">
                  <c:v>32</c:v>
                </c:pt>
                <c:pt idx="1483">
                  <c:v>32.909999999999997</c:v>
                </c:pt>
                <c:pt idx="1484">
                  <c:v>31.97</c:v>
                </c:pt>
                <c:pt idx="1485">
                  <c:v>33.979999999999997</c:v>
                </c:pt>
                <c:pt idx="1486">
                  <c:v>34.47</c:v>
                </c:pt>
                <c:pt idx="1487">
                  <c:v>32.130000000000003</c:v>
                </c:pt>
                <c:pt idx="1488">
                  <c:v>30.64</c:v>
                </c:pt>
                <c:pt idx="1489">
                  <c:v>27.8</c:v>
                </c:pt>
                <c:pt idx="1490">
                  <c:v>27.41</c:v>
                </c:pt>
                <c:pt idx="1491">
                  <c:v>27.52</c:v>
                </c:pt>
                <c:pt idx="1492">
                  <c:v>27.84</c:v>
                </c:pt>
                <c:pt idx="1493">
                  <c:v>28.13</c:v>
                </c:pt>
                <c:pt idx="1494">
                  <c:v>28.67</c:v>
                </c:pt>
                <c:pt idx="1495">
                  <c:v>30.59</c:v>
                </c:pt>
                <c:pt idx="1496">
                  <c:v>26.38</c:v>
                </c:pt>
                <c:pt idx="1497">
                  <c:v>25.67</c:v>
                </c:pt>
                <c:pt idx="1498">
                  <c:v>25.41</c:v>
                </c:pt>
                <c:pt idx="1499">
                  <c:v>26.04</c:v>
                </c:pt>
                <c:pt idx="1500">
                  <c:v>25.11</c:v>
                </c:pt>
                <c:pt idx="1501">
                  <c:v>24.29</c:v>
                </c:pt>
                <c:pt idx="1502">
                  <c:v>24.92</c:v>
                </c:pt>
                <c:pt idx="1503">
                  <c:v>23.22</c:v>
                </c:pt>
                <c:pt idx="1504">
                  <c:v>21.43</c:v>
                </c:pt>
                <c:pt idx="1505">
                  <c:v>21.16</c:v>
                </c:pt>
                <c:pt idx="1506">
                  <c:v>20.73</c:v>
                </c:pt>
                <c:pt idx="1507">
                  <c:v>21.91</c:v>
                </c:pt>
                <c:pt idx="1508">
                  <c:v>23.52</c:v>
                </c:pt>
                <c:pt idx="1509">
                  <c:v>22.65</c:v>
                </c:pt>
                <c:pt idx="1510">
                  <c:v>23.4</c:v>
                </c:pt>
                <c:pt idx="1511">
                  <c:v>22.97</c:v>
                </c:pt>
                <c:pt idx="1512">
                  <c:v>22.22</c:v>
                </c:pt>
                <c:pt idx="1513">
                  <c:v>21.48</c:v>
                </c:pt>
                <c:pt idx="1514">
                  <c:v>20.63</c:v>
                </c:pt>
                <c:pt idx="1515">
                  <c:v>21.07</c:v>
                </c:pt>
                <c:pt idx="1516">
                  <c:v>20.69</c:v>
                </c:pt>
                <c:pt idx="1517">
                  <c:v>21.05</c:v>
                </c:pt>
                <c:pt idx="1518">
                  <c:v>20.47</c:v>
                </c:pt>
                <c:pt idx="1519">
                  <c:v>20.91</c:v>
                </c:pt>
                <c:pt idx="1520">
                  <c:v>22.2</c:v>
                </c:pt>
                <c:pt idx="1521">
                  <c:v>20.89</c:v>
                </c:pt>
                <c:pt idx="1522">
                  <c:v>19.87</c:v>
                </c:pt>
                <c:pt idx="1523">
                  <c:v>18.28</c:v>
                </c:pt>
                <c:pt idx="1524">
                  <c:v>18.670000000000002</c:v>
                </c:pt>
                <c:pt idx="1525">
                  <c:v>18.91</c:v>
                </c:pt>
                <c:pt idx="1526">
                  <c:v>18.309999999999999</c:v>
                </c:pt>
                <c:pt idx="1527">
                  <c:v>18.57</c:v>
                </c:pt>
                <c:pt idx="1528">
                  <c:v>18.53</c:v>
                </c:pt>
                <c:pt idx="1529">
                  <c:v>19.399999999999999</c:v>
                </c:pt>
                <c:pt idx="1530">
                  <c:v>19.440000000000001</c:v>
                </c:pt>
                <c:pt idx="1531">
                  <c:v>18.55</c:v>
                </c:pt>
                <c:pt idx="1532">
                  <c:v>17.98</c:v>
                </c:pt>
                <c:pt idx="1533">
                  <c:v>17.100000000000001</c:v>
                </c:pt>
                <c:pt idx="1534">
                  <c:v>17.760000000000002</c:v>
                </c:pt>
                <c:pt idx="1535">
                  <c:v>17.649999999999999</c:v>
                </c:pt>
                <c:pt idx="1536">
                  <c:v>18.16</c:v>
                </c:pt>
                <c:pt idx="1537">
                  <c:v>18.63</c:v>
                </c:pt>
                <c:pt idx="1538">
                  <c:v>20.79</c:v>
                </c:pt>
                <c:pt idx="1539">
                  <c:v>19.04</c:v>
                </c:pt>
                <c:pt idx="1540">
                  <c:v>19.54</c:v>
                </c:pt>
                <c:pt idx="1541">
                  <c:v>21.14</c:v>
                </c:pt>
                <c:pt idx="1542">
                  <c:v>19.22</c:v>
                </c:pt>
                <c:pt idx="1543">
                  <c:v>17.78</c:v>
                </c:pt>
                <c:pt idx="1544">
                  <c:v>18.190000000000001</c:v>
                </c:pt>
                <c:pt idx="1545">
                  <c:v>18.190000000000001</c:v>
                </c:pt>
                <c:pt idx="1546">
                  <c:v>16.8</c:v>
                </c:pt>
                <c:pt idx="1547">
                  <c:v>17.309999999999999</c:v>
                </c:pt>
                <c:pt idx="1548">
                  <c:v>18.190000000000001</c:v>
                </c:pt>
                <c:pt idx="1549">
                  <c:v>17.96</c:v>
                </c:pt>
                <c:pt idx="1550">
                  <c:v>18.43</c:v>
                </c:pt>
                <c:pt idx="1551">
                  <c:v>17.260000000000002</c:v>
                </c:pt>
                <c:pt idx="1552">
                  <c:v>17.29</c:v>
                </c:pt>
                <c:pt idx="1553">
                  <c:v>18.05</c:v>
                </c:pt>
                <c:pt idx="1554">
                  <c:v>20.87</c:v>
                </c:pt>
                <c:pt idx="1555">
                  <c:v>19.07</c:v>
                </c:pt>
                <c:pt idx="1556">
                  <c:v>17.95</c:v>
                </c:pt>
                <c:pt idx="1557">
                  <c:v>17.11</c:v>
                </c:pt>
                <c:pt idx="1558">
                  <c:v>15.64</c:v>
                </c:pt>
                <c:pt idx="1559">
                  <c:v>14.8</c:v>
                </c:pt>
                <c:pt idx="1560">
                  <c:v>15.31</c:v>
                </c:pt>
                <c:pt idx="1561">
                  <c:v>15.42</c:v>
                </c:pt>
                <c:pt idx="1562">
                  <c:v>14.47</c:v>
                </c:pt>
                <c:pt idx="1563">
                  <c:v>15.04</c:v>
                </c:pt>
                <c:pt idx="1564">
                  <c:v>15.58</c:v>
                </c:pt>
                <c:pt idx="1565">
                  <c:v>15.13</c:v>
                </c:pt>
                <c:pt idx="1566">
                  <c:v>15.57</c:v>
                </c:pt>
                <c:pt idx="1567">
                  <c:v>14.82</c:v>
                </c:pt>
                <c:pt idx="1568">
                  <c:v>14.26</c:v>
                </c:pt>
                <c:pt idx="1569">
                  <c:v>15.59</c:v>
                </c:pt>
                <c:pt idx="1570">
                  <c:v>15.47</c:v>
                </c:pt>
                <c:pt idx="1571">
                  <c:v>15.48</c:v>
                </c:pt>
                <c:pt idx="1572">
                  <c:v>15.5</c:v>
                </c:pt>
                <c:pt idx="1573">
                  <c:v>15.64</c:v>
                </c:pt>
                <c:pt idx="1574">
                  <c:v>15.66</c:v>
                </c:pt>
                <c:pt idx="1575">
                  <c:v>16.440000000000001</c:v>
                </c:pt>
                <c:pt idx="1576">
                  <c:v>16.7</c:v>
                </c:pt>
                <c:pt idx="1577">
                  <c:v>18.809999999999999</c:v>
                </c:pt>
                <c:pt idx="1578">
                  <c:v>20.39</c:v>
                </c:pt>
                <c:pt idx="1579">
                  <c:v>20.02</c:v>
                </c:pt>
                <c:pt idx="1580">
                  <c:v>17.2</c:v>
                </c:pt>
                <c:pt idx="1581">
                  <c:v>19.55</c:v>
                </c:pt>
                <c:pt idx="1582">
                  <c:v>19.55</c:v>
                </c:pt>
                <c:pt idx="1583">
                  <c:v>18.46</c:v>
                </c:pt>
                <c:pt idx="1584">
                  <c:v>18.64</c:v>
                </c:pt>
                <c:pt idx="1585">
                  <c:v>18.36</c:v>
                </c:pt>
                <c:pt idx="1586">
                  <c:v>17.440000000000001</c:v>
                </c:pt>
                <c:pt idx="1587">
                  <c:v>18.97</c:v>
                </c:pt>
                <c:pt idx="1588">
                  <c:v>18.100000000000001</c:v>
                </c:pt>
                <c:pt idx="1589">
                  <c:v>16.82</c:v>
                </c:pt>
                <c:pt idx="1590">
                  <c:v>16.239999999999998</c:v>
                </c:pt>
                <c:pt idx="1591">
                  <c:v>16.32</c:v>
                </c:pt>
                <c:pt idx="1592">
                  <c:v>17.149999999999999</c:v>
                </c:pt>
                <c:pt idx="1593">
                  <c:v>16.600000000000001</c:v>
                </c:pt>
                <c:pt idx="1594">
                  <c:v>16.88</c:v>
                </c:pt>
                <c:pt idx="1595">
                  <c:v>17.559999999999999</c:v>
                </c:pt>
                <c:pt idx="1596">
                  <c:v>19.16</c:v>
                </c:pt>
                <c:pt idx="1597">
                  <c:v>18.940000000000001</c:v>
                </c:pt>
                <c:pt idx="1598">
                  <c:v>19.05</c:v>
                </c:pt>
                <c:pt idx="1599">
                  <c:v>20.079999999999998</c:v>
                </c:pt>
                <c:pt idx="1600">
                  <c:v>18.829999999999998</c:v>
                </c:pt>
                <c:pt idx="1601">
                  <c:v>19.89</c:v>
                </c:pt>
                <c:pt idx="1602">
                  <c:v>21.87</c:v>
                </c:pt>
                <c:pt idx="1603">
                  <c:v>21.97</c:v>
                </c:pt>
                <c:pt idx="1604">
                  <c:v>22.27</c:v>
                </c:pt>
                <c:pt idx="1605">
                  <c:v>24.49</c:v>
                </c:pt>
                <c:pt idx="1606">
                  <c:v>25.1</c:v>
                </c:pt>
                <c:pt idx="1607">
                  <c:v>22.01</c:v>
                </c:pt>
                <c:pt idx="1608">
                  <c:v>22.48</c:v>
                </c:pt>
                <c:pt idx="1609">
                  <c:v>22.33</c:v>
                </c:pt>
                <c:pt idx="1610">
                  <c:v>21.54</c:v>
                </c:pt>
                <c:pt idx="1611">
                  <c:v>21.76</c:v>
                </c:pt>
                <c:pt idx="1612">
                  <c:v>21.03</c:v>
                </c:pt>
                <c:pt idx="1613">
                  <c:v>24.14</c:v>
                </c:pt>
                <c:pt idx="1614">
                  <c:v>24.06</c:v>
                </c:pt>
                <c:pt idx="1615">
                  <c:v>26.66</c:v>
                </c:pt>
                <c:pt idx="1616">
                  <c:v>26.12</c:v>
                </c:pt>
                <c:pt idx="1617">
                  <c:v>24.68</c:v>
                </c:pt>
                <c:pt idx="1618">
                  <c:v>22.16</c:v>
                </c:pt>
                <c:pt idx="1619">
                  <c:v>21.72</c:v>
                </c:pt>
                <c:pt idx="1620">
                  <c:v>21.23</c:v>
                </c:pt>
                <c:pt idx="1621">
                  <c:v>23.56</c:v>
                </c:pt>
                <c:pt idx="1622">
                  <c:v>22.09</c:v>
                </c:pt>
                <c:pt idx="1623">
                  <c:v>24.27</c:v>
                </c:pt>
                <c:pt idx="1624">
                  <c:v>21.68</c:v>
                </c:pt>
                <c:pt idx="1625">
                  <c:v>21.11</c:v>
                </c:pt>
                <c:pt idx="1626">
                  <c:v>18.32</c:v>
                </c:pt>
                <c:pt idx="1627">
                  <c:v>18.38</c:v>
                </c:pt>
                <c:pt idx="1628">
                  <c:v>17.239999999999998</c:v>
                </c:pt>
                <c:pt idx="1629">
                  <c:v>20.079999999999998</c:v>
                </c:pt>
                <c:pt idx="1630">
                  <c:v>18.11</c:v>
                </c:pt>
                <c:pt idx="1631">
                  <c:v>20.38</c:v>
                </c:pt>
                <c:pt idx="1632">
                  <c:v>19.72</c:v>
                </c:pt>
                <c:pt idx="1633">
                  <c:v>19.45</c:v>
                </c:pt>
                <c:pt idx="1634">
                  <c:v>19.71</c:v>
                </c:pt>
                <c:pt idx="1635">
                  <c:v>17.079999999999998</c:v>
                </c:pt>
                <c:pt idx="1636">
                  <c:v>16.8</c:v>
                </c:pt>
                <c:pt idx="1637">
                  <c:v>16.66</c:v>
                </c:pt>
                <c:pt idx="1638">
                  <c:v>17.5</c:v>
                </c:pt>
                <c:pt idx="1639">
                  <c:v>17.100000000000001</c:v>
                </c:pt>
                <c:pt idx="1640">
                  <c:v>17.98</c:v>
                </c:pt>
                <c:pt idx="1641">
                  <c:v>18.72</c:v>
                </c:pt>
                <c:pt idx="1642">
                  <c:v>17.95</c:v>
                </c:pt>
                <c:pt idx="1643">
                  <c:v>18.329999999999998</c:v>
                </c:pt>
                <c:pt idx="1644">
                  <c:v>16.739999999999998</c:v>
                </c:pt>
                <c:pt idx="1645">
                  <c:v>17.11</c:v>
                </c:pt>
                <c:pt idx="1646">
                  <c:v>16.48</c:v>
                </c:pt>
                <c:pt idx="1647">
                  <c:v>16.16</c:v>
                </c:pt>
                <c:pt idx="1648">
                  <c:v>15.45</c:v>
                </c:pt>
                <c:pt idx="1649">
                  <c:v>16.27</c:v>
                </c:pt>
                <c:pt idx="1650">
                  <c:v>18.62</c:v>
                </c:pt>
                <c:pt idx="1651">
                  <c:v>20.47</c:v>
                </c:pt>
                <c:pt idx="1652">
                  <c:v>19.34</c:v>
                </c:pt>
                <c:pt idx="1653">
                  <c:v>17.53</c:v>
                </c:pt>
                <c:pt idx="1654">
                  <c:v>16.7</c:v>
                </c:pt>
                <c:pt idx="1655">
                  <c:v>18.03</c:v>
                </c:pt>
                <c:pt idx="1656">
                  <c:v>18.93</c:v>
                </c:pt>
                <c:pt idx="1657">
                  <c:v>18.96</c:v>
                </c:pt>
                <c:pt idx="1658">
                  <c:v>17.57</c:v>
                </c:pt>
                <c:pt idx="1659">
                  <c:v>15.64</c:v>
                </c:pt>
                <c:pt idx="1660">
                  <c:v>15.95</c:v>
                </c:pt>
                <c:pt idx="1661">
                  <c:v>15.99</c:v>
                </c:pt>
                <c:pt idx="1662">
                  <c:v>15.32</c:v>
                </c:pt>
                <c:pt idx="1663">
                  <c:v>15.28</c:v>
                </c:pt>
                <c:pt idx="1664">
                  <c:v>14.74</c:v>
                </c:pt>
                <c:pt idx="1665">
                  <c:v>13.7</c:v>
                </c:pt>
                <c:pt idx="1666">
                  <c:v>14.85</c:v>
                </c:pt>
                <c:pt idx="1667">
                  <c:v>14.63</c:v>
                </c:pt>
                <c:pt idx="1668">
                  <c:v>14.29</c:v>
                </c:pt>
                <c:pt idx="1669">
                  <c:v>13.45</c:v>
                </c:pt>
                <c:pt idx="1670">
                  <c:v>14.02</c:v>
                </c:pt>
                <c:pt idx="1671">
                  <c:v>15.02</c:v>
                </c:pt>
                <c:pt idx="1672">
                  <c:v>15.11</c:v>
                </c:pt>
                <c:pt idx="1673">
                  <c:v>15.96</c:v>
                </c:pt>
                <c:pt idx="1674">
                  <c:v>15.18</c:v>
                </c:pt>
                <c:pt idx="1675">
                  <c:v>16.350000000000001</c:v>
                </c:pt>
                <c:pt idx="1676">
                  <c:v>16.489999999999998</c:v>
                </c:pt>
                <c:pt idx="1677">
                  <c:v>17.059999999999999</c:v>
                </c:pt>
                <c:pt idx="1678">
                  <c:v>17.829999999999998</c:v>
                </c:pt>
                <c:pt idx="1679">
                  <c:v>17.47</c:v>
                </c:pt>
                <c:pt idx="1680">
                  <c:v>17.98</c:v>
                </c:pt>
                <c:pt idx="1681">
                  <c:v>17.739999999999998</c:v>
                </c:pt>
                <c:pt idx="1682">
                  <c:v>15.6</c:v>
                </c:pt>
                <c:pt idx="1683">
                  <c:v>14.38</c:v>
                </c:pt>
                <c:pt idx="1684">
                  <c:v>16.28</c:v>
                </c:pt>
                <c:pt idx="1685">
                  <c:v>16.41</c:v>
                </c:pt>
                <c:pt idx="1686">
                  <c:v>15.8</c:v>
                </c:pt>
                <c:pt idx="1687">
                  <c:v>14.05</c:v>
                </c:pt>
                <c:pt idx="1688">
                  <c:v>14.51</c:v>
                </c:pt>
                <c:pt idx="1689">
                  <c:v>14.59</c:v>
                </c:pt>
                <c:pt idx="1690">
                  <c:v>14.18</c:v>
                </c:pt>
                <c:pt idx="1691">
                  <c:v>13.88</c:v>
                </c:pt>
                <c:pt idx="1692">
                  <c:v>14.07</c:v>
                </c:pt>
                <c:pt idx="1693">
                  <c:v>13.98</c:v>
                </c:pt>
                <c:pt idx="1694">
                  <c:v>14.15</c:v>
                </c:pt>
                <c:pt idx="1695">
                  <c:v>15.43</c:v>
                </c:pt>
                <c:pt idx="1696">
                  <c:v>16.809999999999999</c:v>
                </c:pt>
                <c:pt idx="1697">
                  <c:v>14.84</c:v>
                </c:pt>
                <c:pt idx="1698">
                  <c:v>15.73</c:v>
                </c:pt>
                <c:pt idx="1699">
                  <c:v>16.32</c:v>
                </c:pt>
                <c:pt idx="1700">
                  <c:v>15.71</c:v>
                </c:pt>
                <c:pt idx="1701">
                  <c:v>15.43</c:v>
                </c:pt>
                <c:pt idx="1702">
                  <c:v>14.55</c:v>
                </c:pt>
                <c:pt idx="1703">
                  <c:v>14.33</c:v>
                </c:pt>
                <c:pt idx="1704">
                  <c:v>15.11</c:v>
                </c:pt>
                <c:pt idx="1705">
                  <c:v>16.37</c:v>
                </c:pt>
                <c:pt idx="1706">
                  <c:v>16.29</c:v>
                </c:pt>
                <c:pt idx="1707">
                  <c:v>15.59</c:v>
                </c:pt>
                <c:pt idx="1708">
                  <c:v>16.14</c:v>
                </c:pt>
                <c:pt idx="1709">
                  <c:v>15.27</c:v>
                </c:pt>
                <c:pt idx="1710">
                  <c:v>15.22</c:v>
                </c:pt>
                <c:pt idx="1711">
                  <c:v>15.07</c:v>
                </c:pt>
                <c:pt idx="1712">
                  <c:v>15.03</c:v>
                </c:pt>
                <c:pt idx="1713">
                  <c:v>17.059999999999999</c:v>
                </c:pt>
                <c:pt idx="1714">
                  <c:v>16.62</c:v>
                </c:pt>
                <c:pt idx="1715">
                  <c:v>18.829999999999998</c:v>
                </c:pt>
                <c:pt idx="1716">
                  <c:v>18.329999999999998</c:v>
                </c:pt>
                <c:pt idx="1717">
                  <c:v>18.12</c:v>
                </c:pt>
                <c:pt idx="1718">
                  <c:v>17.809999999999999</c:v>
                </c:pt>
                <c:pt idx="1719">
                  <c:v>18.600000000000001</c:v>
                </c:pt>
                <c:pt idx="1720">
                  <c:v>16.690000000000001</c:v>
                </c:pt>
                <c:pt idx="1721">
                  <c:v>17.59</c:v>
                </c:pt>
                <c:pt idx="1722">
                  <c:v>18.420000000000002</c:v>
                </c:pt>
                <c:pt idx="1723">
                  <c:v>17.579999999999998</c:v>
                </c:pt>
                <c:pt idx="1724">
                  <c:v>19.079999999999998</c:v>
                </c:pt>
                <c:pt idx="1725">
                  <c:v>18.489999999999998</c:v>
                </c:pt>
                <c:pt idx="1726">
                  <c:v>18.61</c:v>
                </c:pt>
                <c:pt idx="1727">
                  <c:v>16.68</c:v>
                </c:pt>
                <c:pt idx="1728">
                  <c:v>16.649999999999999</c:v>
                </c:pt>
                <c:pt idx="1729">
                  <c:v>17.920000000000002</c:v>
                </c:pt>
                <c:pt idx="1730">
                  <c:v>17.989999999999998</c:v>
                </c:pt>
                <c:pt idx="1731">
                  <c:v>16.41</c:v>
                </c:pt>
                <c:pt idx="1732">
                  <c:v>15.24</c:v>
                </c:pt>
                <c:pt idx="1733">
                  <c:v>15.08</c:v>
                </c:pt>
                <c:pt idx="1734">
                  <c:v>15.31</c:v>
                </c:pt>
                <c:pt idx="1735">
                  <c:v>15.14</c:v>
                </c:pt>
                <c:pt idx="1736">
                  <c:v>15.5</c:v>
                </c:pt>
                <c:pt idx="1737">
                  <c:v>15.92</c:v>
                </c:pt>
                <c:pt idx="1738">
                  <c:v>15.51</c:v>
                </c:pt>
                <c:pt idx="1739">
                  <c:v>15.06</c:v>
                </c:pt>
                <c:pt idx="1740">
                  <c:v>15.87</c:v>
                </c:pt>
                <c:pt idx="1741">
                  <c:v>16.64</c:v>
                </c:pt>
                <c:pt idx="1742">
                  <c:v>17.12</c:v>
                </c:pt>
                <c:pt idx="1743">
                  <c:v>16.46</c:v>
                </c:pt>
                <c:pt idx="1744">
                  <c:v>16.579999999999998</c:v>
                </c:pt>
                <c:pt idx="1745">
                  <c:v>15.9</c:v>
                </c:pt>
                <c:pt idx="1746">
                  <c:v>16.05</c:v>
                </c:pt>
                <c:pt idx="1747">
                  <c:v>15.57</c:v>
                </c:pt>
                <c:pt idx="1748">
                  <c:v>15.95</c:v>
                </c:pt>
                <c:pt idx="1749">
                  <c:v>16.559999999999999</c:v>
                </c:pt>
                <c:pt idx="1750">
                  <c:v>17</c:v>
                </c:pt>
                <c:pt idx="1751">
                  <c:v>16.34</c:v>
                </c:pt>
                <c:pt idx="1752">
                  <c:v>15.57</c:v>
                </c:pt>
                <c:pt idx="1753">
                  <c:v>17.36</c:v>
                </c:pt>
                <c:pt idx="1754">
                  <c:v>17.670000000000002</c:v>
                </c:pt>
                <c:pt idx="1755">
                  <c:v>17.84</c:v>
                </c:pt>
                <c:pt idx="1756">
                  <c:v>18.59</c:v>
                </c:pt>
                <c:pt idx="1757">
                  <c:v>19.48</c:v>
                </c:pt>
                <c:pt idx="1758">
                  <c:v>19.47</c:v>
                </c:pt>
                <c:pt idx="1759">
                  <c:v>22.72</c:v>
                </c:pt>
                <c:pt idx="1760">
                  <c:v>18.02</c:v>
                </c:pt>
                <c:pt idx="1761">
                  <c:v>14.68</c:v>
                </c:pt>
                <c:pt idx="1762">
                  <c:v>14.56</c:v>
                </c:pt>
                <c:pt idx="1763">
                  <c:v>13.83</c:v>
                </c:pt>
                <c:pt idx="1764">
                  <c:v>13.79</c:v>
                </c:pt>
                <c:pt idx="1765">
                  <c:v>13.62</c:v>
                </c:pt>
                <c:pt idx="1766">
                  <c:v>13.81</c:v>
                </c:pt>
                <c:pt idx="1767">
                  <c:v>13.49</c:v>
                </c:pt>
                <c:pt idx="1768">
                  <c:v>13.36</c:v>
                </c:pt>
                <c:pt idx="1769">
                  <c:v>13.52</c:v>
                </c:pt>
                <c:pt idx="1770">
                  <c:v>13.55</c:v>
                </c:pt>
                <c:pt idx="1771">
                  <c:v>13.42</c:v>
                </c:pt>
                <c:pt idx="1772">
                  <c:v>13.57</c:v>
                </c:pt>
                <c:pt idx="1773">
                  <c:v>12.46</c:v>
                </c:pt>
                <c:pt idx="1774">
                  <c:v>12.43</c:v>
                </c:pt>
                <c:pt idx="1775">
                  <c:v>12.46</c:v>
                </c:pt>
                <c:pt idx="1776">
                  <c:v>12.69</c:v>
                </c:pt>
                <c:pt idx="1777">
                  <c:v>12.89</c:v>
                </c:pt>
                <c:pt idx="1778">
                  <c:v>13.57</c:v>
                </c:pt>
                <c:pt idx="1779">
                  <c:v>13.31</c:v>
                </c:pt>
                <c:pt idx="1780">
                  <c:v>14.32</c:v>
                </c:pt>
                <c:pt idx="1781">
                  <c:v>14.28</c:v>
                </c:pt>
                <c:pt idx="1782">
                  <c:v>12.9</c:v>
                </c:pt>
                <c:pt idx="1783">
                  <c:v>14.67</c:v>
                </c:pt>
                <c:pt idx="1784">
                  <c:v>13.72</c:v>
                </c:pt>
                <c:pt idx="1785">
                  <c:v>13.41</c:v>
                </c:pt>
                <c:pt idx="1786">
                  <c:v>13.5</c:v>
                </c:pt>
                <c:pt idx="1787">
                  <c:v>13.02</c:v>
                </c:pt>
                <c:pt idx="1788">
                  <c:v>12.94</c:v>
                </c:pt>
                <c:pt idx="1789">
                  <c:v>12.64</c:v>
                </c:pt>
                <c:pt idx="1790">
                  <c:v>12.98</c:v>
                </c:pt>
                <c:pt idx="1791">
                  <c:v>12.66</c:v>
                </c:pt>
                <c:pt idx="1792">
                  <c:v>12.46</c:v>
                </c:pt>
                <c:pt idx="1793">
                  <c:v>12.31</c:v>
                </c:pt>
                <c:pt idx="1794">
                  <c:v>14.68</c:v>
                </c:pt>
                <c:pt idx="1795">
                  <c:v>15.22</c:v>
                </c:pt>
                <c:pt idx="1796">
                  <c:v>14.17</c:v>
                </c:pt>
                <c:pt idx="1797">
                  <c:v>18.989999999999998</c:v>
                </c:pt>
                <c:pt idx="1798">
                  <c:v>16.87</c:v>
                </c:pt>
                <c:pt idx="1799">
                  <c:v>14.73</c:v>
                </c:pt>
                <c:pt idx="1800">
                  <c:v>15.51</c:v>
                </c:pt>
                <c:pt idx="1801">
                  <c:v>15.36</c:v>
                </c:pt>
                <c:pt idx="1802">
                  <c:v>14.01</c:v>
                </c:pt>
                <c:pt idx="1803">
                  <c:v>13.48</c:v>
                </c:pt>
                <c:pt idx="1804">
                  <c:v>13.53</c:v>
                </c:pt>
                <c:pt idx="1805">
                  <c:v>13.06</c:v>
                </c:pt>
                <c:pt idx="1806">
                  <c:v>12.59</c:v>
                </c:pt>
                <c:pt idx="1807">
                  <c:v>11.56</c:v>
                </c:pt>
                <c:pt idx="1808">
                  <c:v>12.27</c:v>
                </c:pt>
                <c:pt idx="1809">
                  <c:v>11.83</c:v>
                </c:pt>
                <c:pt idx="1810">
                  <c:v>11.3</c:v>
                </c:pt>
                <c:pt idx="1811">
                  <c:v>11.3</c:v>
                </c:pt>
                <c:pt idx="1812">
                  <c:v>13.36</c:v>
                </c:pt>
                <c:pt idx="1813">
                  <c:v>14.39</c:v>
                </c:pt>
                <c:pt idx="1814">
                  <c:v>12.67</c:v>
                </c:pt>
                <c:pt idx="1815">
                  <c:v>13.99</c:v>
                </c:pt>
                <c:pt idx="1816">
                  <c:v>13.57</c:v>
                </c:pt>
                <c:pt idx="1817">
                  <c:v>13.74</c:v>
                </c:pt>
                <c:pt idx="1818">
                  <c:v>12.77</c:v>
                </c:pt>
                <c:pt idx="1819">
                  <c:v>13.15</c:v>
                </c:pt>
                <c:pt idx="1820">
                  <c:v>12.7</c:v>
                </c:pt>
                <c:pt idx="1821">
                  <c:v>13.58</c:v>
                </c:pt>
                <c:pt idx="1822">
                  <c:v>12.78</c:v>
                </c:pt>
                <c:pt idx="1823">
                  <c:v>14.21</c:v>
                </c:pt>
                <c:pt idx="1824">
                  <c:v>13.89</c:v>
                </c:pt>
                <c:pt idx="1825">
                  <c:v>13.92</c:v>
                </c:pt>
                <c:pt idx="1826">
                  <c:v>13.19</c:v>
                </c:pt>
                <c:pt idx="1827">
                  <c:v>12.84</c:v>
                </c:pt>
                <c:pt idx="1828">
                  <c:v>12.36</c:v>
                </c:pt>
                <c:pt idx="1829">
                  <c:v>12.24</c:v>
                </c:pt>
                <c:pt idx="1830">
                  <c:v>12.06</c:v>
                </c:pt>
                <c:pt idx="1831">
                  <c:v>17.27</c:v>
                </c:pt>
                <c:pt idx="1832">
                  <c:v>13.96</c:v>
                </c:pt>
                <c:pt idx="1833">
                  <c:v>16.510000000000002</c:v>
                </c:pt>
                <c:pt idx="1834">
                  <c:v>17.559999999999999</c:v>
                </c:pt>
                <c:pt idx="1835">
                  <c:v>14.97</c:v>
                </c:pt>
                <c:pt idx="1836">
                  <c:v>14.39</c:v>
                </c:pt>
                <c:pt idx="1837">
                  <c:v>13.48</c:v>
                </c:pt>
                <c:pt idx="1838">
                  <c:v>13.61</c:v>
                </c:pt>
                <c:pt idx="1839">
                  <c:v>13.62</c:v>
                </c:pt>
                <c:pt idx="1840">
                  <c:v>13.61</c:v>
                </c:pt>
                <c:pt idx="1841">
                  <c:v>13.71</c:v>
                </c:pt>
                <c:pt idx="1842">
                  <c:v>13.52</c:v>
                </c:pt>
                <c:pt idx="1843">
                  <c:v>14.49</c:v>
                </c:pt>
                <c:pt idx="1844">
                  <c:v>13.59</c:v>
                </c:pt>
                <c:pt idx="1845">
                  <c:v>12.85</c:v>
                </c:pt>
                <c:pt idx="1846">
                  <c:v>12.66</c:v>
                </c:pt>
                <c:pt idx="1847">
                  <c:v>12.83</c:v>
                </c:pt>
                <c:pt idx="1848">
                  <c:v>12.66</c:v>
                </c:pt>
                <c:pt idx="1849">
                  <c:v>13.13</c:v>
                </c:pt>
                <c:pt idx="1850">
                  <c:v>12.59</c:v>
                </c:pt>
                <c:pt idx="1851">
                  <c:v>12.55</c:v>
                </c:pt>
                <c:pt idx="1852">
                  <c:v>12.77</c:v>
                </c:pt>
                <c:pt idx="1853">
                  <c:v>12.81</c:v>
                </c:pt>
                <c:pt idx="1854">
                  <c:v>13.07</c:v>
                </c:pt>
                <c:pt idx="1855">
                  <c:v>12.45</c:v>
                </c:pt>
                <c:pt idx="1856">
                  <c:v>13.02</c:v>
                </c:pt>
                <c:pt idx="1857">
                  <c:v>13.37</c:v>
                </c:pt>
                <c:pt idx="1858">
                  <c:v>13.82</c:v>
                </c:pt>
                <c:pt idx="1859">
                  <c:v>14.07</c:v>
                </c:pt>
                <c:pt idx="1860">
                  <c:v>13.99</c:v>
                </c:pt>
                <c:pt idx="1861">
                  <c:v>14.48</c:v>
                </c:pt>
                <c:pt idx="1862">
                  <c:v>14.83</c:v>
                </c:pt>
                <c:pt idx="1863">
                  <c:v>14.53</c:v>
                </c:pt>
                <c:pt idx="1864">
                  <c:v>16.3</c:v>
                </c:pt>
                <c:pt idx="1865">
                  <c:v>16.28</c:v>
                </c:pt>
                <c:pt idx="1866">
                  <c:v>16.27</c:v>
                </c:pt>
                <c:pt idx="1867">
                  <c:v>17.5</c:v>
                </c:pt>
                <c:pt idx="1868">
                  <c:v>16.63</c:v>
                </c:pt>
                <c:pt idx="1869">
                  <c:v>15.14</c:v>
                </c:pt>
                <c:pt idx="1870">
                  <c:v>15.44</c:v>
                </c:pt>
                <c:pt idx="1871">
                  <c:v>17.07</c:v>
                </c:pt>
                <c:pt idx="1872">
                  <c:v>18.59</c:v>
                </c:pt>
                <c:pt idx="1873">
                  <c:v>16.41</c:v>
                </c:pt>
                <c:pt idx="1874">
                  <c:v>17.149999999999999</c:v>
                </c:pt>
                <c:pt idx="1875">
                  <c:v>16.8</c:v>
                </c:pt>
                <c:pt idx="1876">
                  <c:v>16.61</c:v>
                </c:pt>
                <c:pt idx="1877">
                  <c:v>16.64</c:v>
                </c:pt>
                <c:pt idx="1878">
                  <c:v>20.49</c:v>
                </c:pt>
                <c:pt idx="1879">
                  <c:v>18.899999999999999</c:v>
                </c:pt>
                <c:pt idx="1880">
                  <c:v>20.11</c:v>
                </c:pt>
                <c:pt idx="1881">
                  <c:v>18.47</c:v>
                </c:pt>
                <c:pt idx="1882">
                  <c:v>17.21</c:v>
                </c:pt>
                <c:pt idx="1883">
                  <c:v>16.86</c:v>
                </c:pt>
                <c:pt idx="1884">
                  <c:v>16.86</c:v>
                </c:pt>
                <c:pt idx="1885">
                  <c:v>16.37</c:v>
                </c:pt>
                <c:pt idx="1886">
                  <c:v>16.440000000000001</c:v>
                </c:pt>
                <c:pt idx="1887">
                  <c:v>16.2</c:v>
                </c:pt>
                <c:pt idx="1888">
                  <c:v>14.89</c:v>
                </c:pt>
                <c:pt idx="1889">
                  <c:v>14.78</c:v>
                </c:pt>
                <c:pt idx="1890">
                  <c:v>14.35</c:v>
                </c:pt>
                <c:pt idx="1891">
                  <c:v>14.21</c:v>
                </c:pt>
                <c:pt idx="1892">
                  <c:v>14.01</c:v>
                </c:pt>
                <c:pt idx="1893">
                  <c:v>13.84</c:v>
                </c:pt>
                <c:pt idx="1894">
                  <c:v>13.79</c:v>
                </c:pt>
                <c:pt idx="1895">
                  <c:v>14.42</c:v>
                </c:pt>
                <c:pt idx="1896">
                  <c:v>13.78</c:v>
                </c:pt>
                <c:pt idx="1897">
                  <c:v>13.77</c:v>
                </c:pt>
                <c:pt idx="1898">
                  <c:v>12.54</c:v>
                </c:pt>
                <c:pt idx="1899">
                  <c:v>12.29</c:v>
                </c:pt>
                <c:pt idx="1900">
                  <c:v>12.66</c:v>
                </c:pt>
                <c:pt idx="1901">
                  <c:v>13.18</c:v>
                </c:pt>
                <c:pt idx="1902">
                  <c:v>12.97</c:v>
                </c:pt>
                <c:pt idx="1903">
                  <c:v>12.72</c:v>
                </c:pt>
                <c:pt idx="1904">
                  <c:v>13.39</c:v>
                </c:pt>
                <c:pt idx="1905">
                  <c:v>13.39</c:v>
                </c:pt>
                <c:pt idx="1906">
                  <c:v>13.45</c:v>
                </c:pt>
                <c:pt idx="1907">
                  <c:v>12.94</c:v>
                </c:pt>
                <c:pt idx="1908">
                  <c:v>11.98</c:v>
                </c:pt>
                <c:pt idx="1909">
                  <c:v>11.84</c:v>
                </c:pt>
                <c:pt idx="1910">
                  <c:v>12.72</c:v>
                </c:pt>
                <c:pt idx="1911">
                  <c:v>12.98</c:v>
                </c:pt>
                <c:pt idx="1912">
                  <c:v>12.73</c:v>
                </c:pt>
                <c:pt idx="1913">
                  <c:v>13.41</c:v>
                </c:pt>
                <c:pt idx="1914">
                  <c:v>12.81</c:v>
                </c:pt>
                <c:pt idx="1915">
                  <c:v>12.31</c:v>
                </c:pt>
                <c:pt idx="1916">
                  <c:v>13.04</c:v>
                </c:pt>
                <c:pt idx="1917">
                  <c:v>14.73</c:v>
                </c:pt>
                <c:pt idx="1918">
                  <c:v>14.37</c:v>
                </c:pt>
                <c:pt idx="1919">
                  <c:v>15.1</c:v>
                </c:pt>
                <c:pt idx="1920">
                  <c:v>14.91</c:v>
                </c:pt>
                <c:pt idx="1921">
                  <c:v>15.94</c:v>
                </c:pt>
                <c:pt idx="1922">
                  <c:v>14.76</c:v>
                </c:pt>
                <c:pt idx="1923">
                  <c:v>13.98</c:v>
                </c:pt>
                <c:pt idx="1924">
                  <c:v>14.99</c:v>
                </c:pt>
                <c:pt idx="1925">
                  <c:v>16.77</c:v>
                </c:pt>
                <c:pt idx="1926">
                  <c:v>16.489999999999998</c:v>
                </c:pt>
                <c:pt idx="1927">
                  <c:v>16.809999999999999</c:v>
                </c:pt>
                <c:pt idx="1928">
                  <c:v>17.010000000000002</c:v>
                </c:pt>
                <c:pt idx="1929">
                  <c:v>16.61</c:v>
                </c:pt>
                <c:pt idx="1930">
                  <c:v>15.88</c:v>
                </c:pt>
                <c:pt idx="1931">
                  <c:v>15.77</c:v>
                </c:pt>
                <c:pt idx="1932">
                  <c:v>15.85</c:v>
                </c:pt>
                <c:pt idx="1933">
                  <c:v>15.63</c:v>
                </c:pt>
                <c:pt idx="1934">
                  <c:v>14.53</c:v>
                </c:pt>
                <c:pt idx="1935">
                  <c:v>13.82</c:v>
                </c:pt>
                <c:pt idx="1936">
                  <c:v>14.29</c:v>
                </c:pt>
                <c:pt idx="1937">
                  <c:v>14.16</c:v>
                </c:pt>
                <c:pt idx="1938">
                  <c:v>14.38</c:v>
                </c:pt>
                <c:pt idx="1939">
                  <c:v>14.53</c:v>
                </c:pt>
                <c:pt idx="1940">
                  <c:v>13.59</c:v>
                </c:pt>
                <c:pt idx="1941">
                  <c:v>13.16</c:v>
                </c:pt>
                <c:pt idx="1942">
                  <c:v>13.12</c:v>
                </c:pt>
                <c:pt idx="1943">
                  <c:v>14.31</c:v>
                </c:pt>
                <c:pt idx="1944">
                  <c:v>14.08</c:v>
                </c:pt>
                <c:pt idx="1945">
                  <c:v>14.01</c:v>
                </c:pt>
                <c:pt idx="1946">
                  <c:v>14.06</c:v>
                </c:pt>
                <c:pt idx="1947">
                  <c:v>15.46</c:v>
                </c:pt>
                <c:pt idx="1948">
                  <c:v>16.600000000000001</c:v>
                </c:pt>
                <c:pt idx="1949">
                  <c:v>15.54</c:v>
                </c:pt>
                <c:pt idx="1950">
                  <c:v>16.600000000000001</c:v>
                </c:pt>
                <c:pt idx="1951">
                  <c:v>17.670000000000002</c:v>
                </c:pt>
                <c:pt idx="1952">
                  <c:v>16.739999999999998</c:v>
                </c:pt>
                <c:pt idx="1953">
                  <c:v>19.41</c:v>
                </c:pt>
                <c:pt idx="1954">
                  <c:v>20.34</c:v>
                </c:pt>
                <c:pt idx="1955">
                  <c:v>19.600000000000001</c:v>
                </c:pt>
                <c:pt idx="1956">
                  <c:v>16.48</c:v>
                </c:pt>
                <c:pt idx="1957">
                  <c:v>15.72</c:v>
                </c:pt>
                <c:pt idx="1958">
                  <c:v>16.07</c:v>
                </c:pt>
                <c:pt idx="1959">
                  <c:v>18.66</c:v>
                </c:pt>
                <c:pt idx="1960">
                  <c:v>14.71</c:v>
                </c:pt>
                <c:pt idx="1961">
                  <c:v>13.48</c:v>
                </c:pt>
                <c:pt idx="1962">
                  <c:v>13.04</c:v>
                </c:pt>
                <c:pt idx="1963">
                  <c:v>13.16</c:v>
                </c:pt>
                <c:pt idx="1964">
                  <c:v>13.33</c:v>
                </c:pt>
                <c:pt idx="1965">
                  <c:v>13.42</c:v>
                </c:pt>
                <c:pt idx="1966">
                  <c:v>13.2</c:v>
                </c:pt>
                <c:pt idx="1967">
                  <c:v>13.09</c:v>
                </c:pt>
                <c:pt idx="1968">
                  <c:v>13.31</c:v>
                </c:pt>
                <c:pt idx="1969">
                  <c:v>13.41</c:v>
                </c:pt>
                <c:pt idx="1970">
                  <c:v>13.65</c:v>
                </c:pt>
                <c:pt idx="1971">
                  <c:v>13.75</c:v>
                </c:pt>
                <c:pt idx="1972">
                  <c:v>13.28</c:v>
                </c:pt>
                <c:pt idx="1973">
                  <c:v>12.93</c:v>
                </c:pt>
                <c:pt idx="1974">
                  <c:v>13.27</c:v>
                </c:pt>
                <c:pt idx="1975">
                  <c:v>12.67</c:v>
                </c:pt>
                <c:pt idx="1976">
                  <c:v>13.91</c:v>
                </c:pt>
                <c:pt idx="1977">
                  <c:v>12.9</c:v>
                </c:pt>
                <c:pt idx="1978">
                  <c:v>12.53</c:v>
                </c:pt>
                <c:pt idx="1979">
                  <c:v>12.82</c:v>
                </c:pt>
                <c:pt idx="1980">
                  <c:v>12.52</c:v>
                </c:pt>
                <c:pt idx="1981">
                  <c:v>12.37</c:v>
                </c:pt>
                <c:pt idx="1982">
                  <c:v>12.19</c:v>
                </c:pt>
                <c:pt idx="1983">
                  <c:v>13.1</c:v>
                </c:pt>
                <c:pt idx="1984">
                  <c:v>13.39</c:v>
                </c:pt>
                <c:pt idx="1985">
                  <c:v>13.4</c:v>
                </c:pt>
                <c:pt idx="1986">
                  <c:v>12.66</c:v>
                </c:pt>
                <c:pt idx="1987">
                  <c:v>12.26</c:v>
                </c:pt>
                <c:pt idx="1988">
                  <c:v>12.79</c:v>
                </c:pt>
                <c:pt idx="1989">
                  <c:v>12.81</c:v>
                </c:pt>
                <c:pt idx="1990">
                  <c:v>12.98</c:v>
                </c:pt>
                <c:pt idx="1991">
                  <c:v>13.7</c:v>
                </c:pt>
                <c:pt idx="1992">
                  <c:v>14.23</c:v>
                </c:pt>
                <c:pt idx="1993">
                  <c:v>14.55</c:v>
                </c:pt>
                <c:pt idx="1994">
                  <c:v>14.7</c:v>
                </c:pt>
                <c:pt idx="1995">
                  <c:v>15.08</c:v>
                </c:pt>
                <c:pt idx="1996">
                  <c:v>13.79</c:v>
                </c:pt>
                <c:pt idx="1997">
                  <c:v>13.49</c:v>
                </c:pt>
                <c:pt idx="1998">
                  <c:v>13.91</c:v>
                </c:pt>
                <c:pt idx="1999">
                  <c:v>15.42</c:v>
                </c:pt>
                <c:pt idx="2000">
                  <c:v>15.54</c:v>
                </c:pt>
                <c:pt idx="2001">
                  <c:v>15.76</c:v>
                </c:pt>
                <c:pt idx="2002">
                  <c:v>16.03</c:v>
                </c:pt>
                <c:pt idx="2003">
                  <c:v>16.21</c:v>
                </c:pt>
                <c:pt idx="2004">
                  <c:v>13.8</c:v>
                </c:pt>
                <c:pt idx="2005">
                  <c:v>14.15</c:v>
                </c:pt>
                <c:pt idx="2006">
                  <c:v>13.79</c:v>
                </c:pt>
                <c:pt idx="2007">
                  <c:v>13.04</c:v>
                </c:pt>
                <c:pt idx="2008">
                  <c:v>12.48</c:v>
                </c:pt>
                <c:pt idx="2009">
                  <c:v>12.33</c:v>
                </c:pt>
                <c:pt idx="2010">
                  <c:v>12.46</c:v>
                </c:pt>
                <c:pt idx="2011">
                  <c:v>13.56</c:v>
                </c:pt>
                <c:pt idx="2012">
                  <c:v>13.72</c:v>
                </c:pt>
                <c:pt idx="2013">
                  <c:v>14.23</c:v>
                </c:pt>
                <c:pt idx="2014">
                  <c:v>13.76</c:v>
                </c:pt>
                <c:pt idx="2015">
                  <c:v>13.55</c:v>
                </c:pt>
                <c:pt idx="2016">
                  <c:v>12.92</c:v>
                </c:pt>
                <c:pt idx="2017">
                  <c:v>12.87</c:v>
                </c:pt>
                <c:pt idx="2018">
                  <c:v>12.89</c:v>
                </c:pt>
                <c:pt idx="2019">
                  <c:v>12.14</c:v>
                </c:pt>
                <c:pt idx="2020">
                  <c:v>13.28</c:v>
                </c:pt>
                <c:pt idx="2021">
                  <c:v>12.28</c:v>
                </c:pt>
                <c:pt idx="2022">
                  <c:v>12.28</c:v>
                </c:pt>
                <c:pt idx="2023">
                  <c:v>12.53</c:v>
                </c:pt>
                <c:pt idx="2024">
                  <c:v>12.44</c:v>
                </c:pt>
                <c:pt idx="2025">
                  <c:v>12.87</c:v>
                </c:pt>
                <c:pt idx="2026">
                  <c:v>12.84</c:v>
                </c:pt>
                <c:pt idx="2027">
                  <c:v>13.77</c:v>
                </c:pt>
                <c:pt idx="2028">
                  <c:v>18.14</c:v>
                </c:pt>
                <c:pt idx="2029">
                  <c:v>17.420000000000002</c:v>
                </c:pt>
                <c:pt idx="2030">
                  <c:v>15.8</c:v>
                </c:pt>
                <c:pt idx="2031">
                  <c:v>17.350000000000001</c:v>
                </c:pt>
                <c:pt idx="2032">
                  <c:v>17.29</c:v>
                </c:pt>
                <c:pt idx="2033">
                  <c:v>18.41</c:v>
                </c:pt>
                <c:pt idx="2034">
                  <c:v>21.44</c:v>
                </c:pt>
                <c:pt idx="2035">
                  <c:v>19.11</c:v>
                </c:pt>
                <c:pt idx="2036">
                  <c:v>19.95</c:v>
                </c:pt>
                <c:pt idx="2037">
                  <c:v>17.23</c:v>
                </c:pt>
                <c:pt idx="2038">
                  <c:v>15.29</c:v>
                </c:pt>
                <c:pt idx="2039">
                  <c:v>15.26</c:v>
                </c:pt>
                <c:pt idx="2040">
                  <c:v>14.51</c:v>
                </c:pt>
                <c:pt idx="2041">
                  <c:v>14.3</c:v>
                </c:pt>
                <c:pt idx="2042">
                  <c:v>14.14</c:v>
                </c:pt>
                <c:pt idx="2043">
                  <c:v>13.57</c:v>
                </c:pt>
                <c:pt idx="2044">
                  <c:v>13.87</c:v>
                </c:pt>
                <c:pt idx="2045">
                  <c:v>15.5</c:v>
                </c:pt>
                <c:pt idx="2046">
                  <c:v>14.79</c:v>
                </c:pt>
                <c:pt idx="2047">
                  <c:v>14.68</c:v>
                </c:pt>
                <c:pt idx="2048">
                  <c:v>14.23</c:v>
                </c:pt>
                <c:pt idx="2049">
                  <c:v>13.67</c:v>
                </c:pt>
                <c:pt idx="2050">
                  <c:v>14.35</c:v>
                </c:pt>
                <c:pt idx="2051">
                  <c:v>14.04</c:v>
                </c:pt>
                <c:pt idx="2052">
                  <c:v>14</c:v>
                </c:pt>
                <c:pt idx="2053">
                  <c:v>16</c:v>
                </c:pt>
                <c:pt idx="2054">
                  <c:v>14.1</c:v>
                </c:pt>
                <c:pt idx="2055">
                  <c:v>13.89</c:v>
                </c:pt>
                <c:pt idx="2056">
                  <c:v>14.21</c:v>
                </c:pt>
                <c:pt idx="2057">
                  <c:v>14.11</c:v>
                </c:pt>
                <c:pt idx="2058">
                  <c:v>14.2</c:v>
                </c:pt>
                <c:pt idx="2059">
                  <c:v>14.8</c:v>
                </c:pt>
                <c:pt idx="2060">
                  <c:v>14.47</c:v>
                </c:pt>
                <c:pt idx="2061">
                  <c:v>16.22</c:v>
                </c:pt>
                <c:pt idx="2062">
                  <c:v>17.82</c:v>
                </c:pt>
                <c:pt idx="2063">
                  <c:v>15.64</c:v>
                </c:pt>
                <c:pt idx="2064">
                  <c:v>14.52</c:v>
                </c:pt>
                <c:pt idx="2065">
                  <c:v>15.12</c:v>
                </c:pt>
                <c:pt idx="2066">
                  <c:v>14.52</c:v>
                </c:pt>
                <c:pt idx="2067">
                  <c:v>15</c:v>
                </c:pt>
                <c:pt idx="2068">
                  <c:v>15.09</c:v>
                </c:pt>
                <c:pt idx="2069">
                  <c:v>14.02</c:v>
                </c:pt>
                <c:pt idx="2070">
                  <c:v>14.93</c:v>
                </c:pt>
                <c:pt idx="2071">
                  <c:v>14.62</c:v>
                </c:pt>
                <c:pt idx="2072">
                  <c:v>14.41</c:v>
                </c:pt>
                <c:pt idx="2073">
                  <c:v>13.88</c:v>
                </c:pt>
                <c:pt idx="2074">
                  <c:v>13.1</c:v>
                </c:pt>
                <c:pt idx="2075">
                  <c:v>13.09</c:v>
                </c:pt>
                <c:pt idx="2076">
                  <c:v>13.37</c:v>
                </c:pt>
                <c:pt idx="2077">
                  <c:v>13.96</c:v>
                </c:pt>
                <c:pt idx="2078">
                  <c:v>15.57</c:v>
                </c:pt>
                <c:pt idx="2079">
                  <c:v>14.89</c:v>
                </c:pt>
                <c:pt idx="2080">
                  <c:v>13.82</c:v>
                </c:pt>
                <c:pt idx="2081">
                  <c:v>15.89</c:v>
                </c:pt>
                <c:pt idx="2082">
                  <c:v>17.03</c:v>
                </c:pt>
                <c:pt idx="2083">
                  <c:v>16.11</c:v>
                </c:pt>
                <c:pt idx="2084">
                  <c:v>15.61</c:v>
                </c:pt>
                <c:pt idx="2085">
                  <c:v>14.18</c:v>
                </c:pt>
                <c:pt idx="2086">
                  <c:v>13.36</c:v>
                </c:pt>
                <c:pt idx="2087">
                  <c:v>13.25</c:v>
                </c:pt>
                <c:pt idx="2088">
                  <c:v>13.19</c:v>
                </c:pt>
                <c:pt idx="2089">
                  <c:v>13.27</c:v>
                </c:pt>
                <c:pt idx="2090">
                  <c:v>13.32</c:v>
                </c:pt>
                <c:pt idx="2091">
                  <c:v>14.06</c:v>
                </c:pt>
                <c:pt idx="2092">
                  <c:v>13.97</c:v>
                </c:pt>
                <c:pt idx="2093">
                  <c:v>13.71</c:v>
                </c:pt>
                <c:pt idx="2094">
                  <c:v>13.41</c:v>
                </c:pt>
                <c:pt idx="2095">
                  <c:v>13.25</c:v>
                </c:pt>
                <c:pt idx="2096">
                  <c:v>12.91</c:v>
                </c:pt>
                <c:pt idx="2097">
                  <c:v>13.29</c:v>
                </c:pt>
                <c:pt idx="2098">
                  <c:v>13.8</c:v>
                </c:pt>
                <c:pt idx="2099">
                  <c:v>13.4</c:v>
                </c:pt>
                <c:pt idx="2100">
                  <c:v>13.43</c:v>
                </c:pt>
                <c:pt idx="2101">
                  <c:v>12.92</c:v>
                </c:pt>
                <c:pt idx="2102">
                  <c:v>12.23</c:v>
                </c:pt>
                <c:pt idx="2103">
                  <c:v>12.13</c:v>
                </c:pt>
                <c:pt idx="2104">
                  <c:v>12.17</c:v>
                </c:pt>
                <c:pt idx="2105">
                  <c:v>13.17</c:v>
                </c:pt>
                <c:pt idx="2106">
                  <c:v>12.44</c:v>
                </c:pt>
                <c:pt idx="2107">
                  <c:v>12.42</c:v>
                </c:pt>
                <c:pt idx="2108">
                  <c:v>12.96</c:v>
                </c:pt>
                <c:pt idx="2109">
                  <c:v>11.91</c:v>
                </c:pt>
                <c:pt idx="2110">
                  <c:v>12.03</c:v>
                </c:pt>
                <c:pt idx="2111">
                  <c:v>11.36</c:v>
                </c:pt>
                <c:pt idx="2112">
                  <c:v>11.51</c:v>
                </c:pt>
                <c:pt idx="2113">
                  <c:v>11.68</c:v>
                </c:pt>
                <c:pt idx="2114">
                  <c:v>11.57</c:v>
                </c:pt>
                <c:pt idx="2115">
                  <c:v>11.4</c:v>
                </c:pt>
                <c:pt idx="2116">
                  <c:v>11.58</c:v>
                </c:pt>
                <c:pt idx="2117">
                  <c:v>11.87</c:v>
                </c:pt>
                <c:pt idx="2118">
                  <c:v>12.08</c:v>
                </c:pt>
                <c:pt idx="2119">
                  <c:v>11.68</c:v>
                </c:pt>
                <c:pt idx="2120">
                  <c:v>10.73</c:v>
                </c:pt>
                <c:pt idx="2121">
                  <c:v>11.15</c:v>
                </c:pt>
                <c:pt idx="2122">
                  <c:v>10.99</c:v>
                </c:pt>
                <c:pt idx="2123">
                  <c:v>11.6</c:v>
                </c:pt>
                <c:pt idx="2124">
                  <c:v>12.56</c:v>
                </c:pt>
                <c:pt idx="2125">
                  <c:v>12.18</c:v>
                </c:pt>
                <c:pt idx="2126">
                  <c:v>12.65</c:v>
                </c:pt>
                <c:pt idx="2127">
                  <c:v>12.06</c:v>
                </c:pt>
                <c:pt idx="2128">
                  <c:v>10.61</c:v>
                </c:pt>
                <c:pt idx="2129">
                  <c:v>10.62</c:v>
                </c:pt>
                <c:pt idx="2130">
                  <c:v>10.85</c:v>
                </c:pt>
                <c:pt idx="2131">
                  <c:v>10.98</c:v>
                </c:pt>
                <c:pt idx="2132">
                  <c:v>12.13</c:v>
                </c:pt>
                <c:pt idx="2133">
                  <c:v>11.59</c:v>
                </c:pt>
                <c:pt idx="2134">
                  <c:v>11.63</c:v>
                </c:pt>
                <c:pt idx="2135">
                  <c:v>11.26</c:v>
                </c:pt>
                <c:pt idx="2136">
                  <c:v>11.57</c:v>
                </c:pt>
                <c:pt idx="2137">
                  <c:v>11.15</c:v>
                </c:pt>
                <c:pt idx="2138">
                  <c:v>10.82</c:v>
                </c:pt>
                <c:pt idx="2139">
                  <c:v>10.32</c:v>
                </c:pt>
                <c:pt idx="2140">
                  <c:v>11.33</c:v>
                </c:pt>
                <c:pt idx="2141">
                  <c:v>11.98</c:v>
                </c:pt>
                <c:pt idx="2142">
                  <c:v>11.65</c:v>
                </c:pt>
                <c:pt idx="2143">
                  <c:v>12.59</c:v>
                </c:pt>
                <c:pt idx="2144">
                  <c:v>12.08</c:v>
                </c:pt>
                <c:pt idx="2145">
                  <c:v>11.82</c:v>
                </c:pt>
                <c:pt idx="2146">
                  <c:v>11.96</c:v>
                </c:pt>
                <c:pt idx="2147">
                  <c:v>11</c:v>
                </c:pt>
                <c:pt idx="2148">
                  <c:v>14.54</c:v>
                </c:pt>
                <c:pt idx="2149">
                  <c:v>12.06</c:v>
                </c:pt>
                <c:pt idx="2150">
                  <c:v>12.81</c:v>
                </c:pt>
                <c:pt idx="2151">
                  <c:v>12.24</c:v>
                </c:pt>
                <c:pt idx="2152">
                  <c:v>11.52</c:v>
                </c:pt>
                <c:pt idx="2153">
                  <c:v>11.84</c:v>
                </c:pt>
                <c:pt idx="2154">
                  <c:v>12.69</c:v>
                </c:pt>
                <c:pt idx="2155">
                  <c:v>12.56</c:v>
                </c:pt>
                <c:pt idx="2156">
                  <c:v>13.28</c:v>
                </c:pt>
                <c:pt idx="2157">
                  <c:v>13.33</c:v>
                </c:pt>
                <c:pt idx="2158">
                  <c:v>16.95</c:v>
                </c:pt>
                <c:pt idx="2159">
                  <c:v>17.03</c:v>
                </c:pt>
                <c:pt idx="2160">
                  <c:v>15.12</c:v>
                </c:pt>
                <c:pt idx="2161">
                  <c:v>16.87</c:v>
                </c:pt>
                <c:pt idx="2162">
                  <c:v>16.37</c:v>
                </c:pt>
                <c:pt idx="2163">
                  <c:v>16.66</c:v>
                </c:pt>
                <c:pt idx="2164">
                  <c:v>15.77</c:v>
                </c:pt>
                <c:pt idx="2165">
                  <c:v>14.23</c:v>
                </c:pt>
                <c:pt idx="2166">
                  <c:v>14.13</c:v>
                </c:pt>
                <c:pt idx="2167">
                  <c:v>12.9</c:v>
                </c:pt>
                <c:pt idx="2168">
                  <c:v>12.42</c:v>
                </c:pt>
                <c:pt idx="2169">
                  <c:v>13.15</c:v>
                </c:pt>
                <c:pt idx="2170">
                  <c:v>12.32</c:v>
                </c:pt>
                <c:pt idx="2171">
                  <c:v>12.21</c:v>
                </c:pt>
                <c:pt idx="2172">
                  <c:v>11.78</c:v>
                </c:pt>
                <c:pt idx="2173">
                  <c:v>11.76</c:v>
                </c:pt>
                <c:pt idx="2174">
                  <c:v>11.47</c:v>
                </c:pt>
                <c:pt idx="2175">
                  <c:v>11.7</c:v>
                </c:pt>
                <c:pt idx="2176">
                  <c:v>11.63</c:v>
                </c:pt>
                <c:pt idx="2177">
                  <c:v>11.78</c:v>
                </c:pt>
                <c:pt idx="2178">
                  <c:v>12.05</c:v>
                </c:pt>
                <c:pt idx="2179">
                  <c:v>11.98</c:v>
                </c:pt>
                <c:pt idx="2180">
                  <c:v>12.25</c:v>
                </c:pt>
                <c:pt idx="2181">
                  <c:v>12.36</c:v>
                </c:pt>
                <c:pt idx="2182">
                  <c:v>12.64</c:v>
                </c:pt>
                <c:pt idx="2183">
                  <c:v>12.09</c:v>
                </c:pt>
                <c:pt idx="2184">
                  <c:v>12.66</c:v>
                </c:pt>
                <c:pt idx="2185">
                  <c:v>13.5</c:v>
                </c:pt>
                <c:pt idx="2186">
                  <c:v>12.88</c:v>
                </c:pt>
                <c:pt idx="2187">
                  <c:v>12.8</c:v>
                </c:pt>
                <c:pt idx="2188">
                  <c:v>13.31</c:v>
                </c:pt>
                <c:pt idx="2189">
                  <c:v>14.12</c:v>
                </c:pt>
                <c:pt idx="2190">
                  <c:v>12.73</c:v>
                </c:pt>
                <c:pt idx="2191">
                  <c:v>12.65</c:v>
                </c:pt>
                <c:pt idx="2192">
                  <c:v>12.03</c:v>
                </c:pt>
                <c:pt idx="2193">
                  <c:v>12.11</c:v>
                </c:pt>
                <c:pt idx="2194">
                  <c:v>13.69</c:v>
                </c:pt>
                <c:pt idx="2195">
                  <c:v>14.93</c:v>
                </c:pt>
                <c:pt idx="2196">
                  <c:v>13.27</c:v>
                </c:pt>
                <c:pt idx="2197">
                  <c:v>15.64</c:v>
                </c:pt>
                <c:pt idx="2198">
                  <c:v>14.85</c:v>
                </c:pt>
                <c:pt idx="2199">
                  <c:v>15.98</c:v>
                </c:pt>
                <c:pt idx="2200">
                  <c:v>16.309999999999999</c:v>
                </c:pt>
                <c:pt idx="2201">
                  <c:v>16.71</c:v>
                </c:pt>
                <c:pt idx="2202">
                  <c:v>16.16</c:v>
                </c:pt>
                <c:pt idx="2203">
                  <c:v>14.55</c:v>
                </c:pt>
                <c:pt idx="2204">
                  <c:v>15.46</c:v>
                </c:pt>
                <c:pt idx="2205">
                  <c:v>17.2</c:v>
                </c:pt>
                <c:pt idx="2206">
                  <c:v>15.11</c:v>
                </c:pt>
                <c:pt idx="2207">
                  <c:v>18.760000000000002</c:v>
                </c:pt>
                <c:pt idx="2208">
                  <c:v>21.24</c:v>
                </c:pt>
                <c:pt idx="2209">
                  <c:v>24.64</c:v>
                </c:pt>
                <c:pt idx="2210">
                  <c:v>22.79</c:v>
                </c:pt>
                <c:pt idx="2211">
                  <c:v>26.25</c:v>
                </c:pt>
                <c:pt idx="2212">
                  <c:v>25.2</c:v>
                </c:pt>
                <c:pt idx="2213">
                  <c:v>21.99</c:v>
                </c:pt>
                <c:pt idx="2214">
                  <c:v>18.57</c:v>
                </c:pt>
                <c:pt idx="2215">
                  <c:v>16.079999999999998</c:v>
                </c:pt>
                <c:pt idx="2216">
                  <c:v>17.87</c:v>
                </c:pt>
                <c:pt idx="2217">
                  <c:v>16.53</c:v>
                </c:pt>
                <c:pt idx="2218">
                  <c:v>16.11</c:v>
                </c:pt>
                <c:pt idx="2219">
                  <c:v>16.04</c:v>
                </c:pt>
                <c:pt idx="2220">
                  <c:v>14.39</c:v>
                </c:pt>
                <c:pt idx="2221">
                  <c:v>15.15</c:v>
                </c:pt>
                <c:pt idx="2222">
                  <c:v>14.52</c:v>
                </c:pt>
                <c:pt idx="2223">
                  <c:v>14.03</c:v>
                </c:pt>
                <c:pt idx="2224">
                  <c:v>14.73</c:v>
                </c:pt>
                <c:pt idx="2225">
                  <c:v>14.89</c:v>
                </c:pt>
                <c:pt idx="2226">
                  <c:v>14.17</c:v>
                </c:pt>
                <c:pt idx="2227">
                  <c:v>13.67</c:v>
                </c:pt>
                <c:pt idx="2228">
                  <c:v>13.12</c:v>
                </c:pt>
                <c:pt idx="2229">
                  <c:v>12.67</c:v>
                </c:pt>
                <c:pt idx="2230">
                  <c:v>12.92</c:v>
                </c:pt>
                <c:pt idx="2231">
                  <c:v>13.02</c:v>
                </c:pt>
                <c:pt idx="2232">
                  <c:v>13.79</c:v>
                </c:pt>
                <c:pt idx="2233">
                  <c:v>13.31</c:v>
                </c:pt>
                <c:pt idx="2234">
                  <c:v>13.99</c:v>
                </c:pt>
                <c:pt idx="2235">
                  <c:v>13.86</c:v>
                </c:pt>
                <c:pt idx="2236">
                  <c:v>13.96</c:v>
                </c:pt>
                <c:pt idx="2237">
                  <c:v>13.58</c:v>
                </c:pt>
                <c:pt idx="2238">
                  <c:v>12.9</c:v>
                </c:pt>
                <c:pt idx="2239">
                  <c:v>12.62</c:v>
                </c:pt>
                <c:pt idx="2240">
                  <c:v>12.25</c:v>
                </c:pt>
                <c:pt idx="2241">
                  <c:v>12.07</c:v>
                </c:pt>
                <c:pt idx="2242">
                  <c:v>13.33</c:v>
                </c:pt>
                <c:pt idx="2243">
                  <c:v>14.29</c:v>
                </c:pt>
                <c:pt idx="2244">
                  <c:v>12.85</c:v>
                </c:pt>
                <c:pt idx="2245">
                  <c:v>12.47</c:v>
                </c:pt>
                <c:pt idx="2246">
                  <c:v>12.38</c:v>
                </c:pt>
                <c:pt idx="2247">
                  <c:v>11.82</c:v>
                </c:pt>
                <c:pt idx="2248">
                  <c:v>14.21</c:v>
                </c:pt>
                <c:pt idx="2249">
                  <c:v>14.89</c:v>
                </c:pt>
                <c:pt idx="2250">
                  <c:v>18.53</c:v>
                </c:pt>
                <c:pt idx="2251">
                  <c:v>20.079999999999998</c:v>
                </c:pt>
                <c:pt idx="2252">
                  <c:v>21.08</c:v>
                </c:pt>
                <c:pt idx="2253">
                  <c:v>20.420000000000002</c:v>
                </c:pt>
                <c:pt idx="2254">
                  <c:v>23.57</c:v>
                </c:pt>
                <c:pt idx="2255">
                  <c:v>19.440000000000001</c:v>
                </c:pt>
                <c:pt idx="2256">
                  <c:v>16.809999999999999</c:v>
                </c:pt>
                <c:pt idx="2257">
                  <c:v>16.489999999999998</c:v>
                </c:pt>
                <c:pt idx="2258">
                  <c:v>15.25</c:v>
                </c:pt>
                <c:pt idx="2259">
                  <c:v>14.8</c:v>
                </c:pt>
                <c:pt idx="2260">
                  <c:v>14.37</c:v>
                </c:pt>
                <c:pt idx="2261">
                  <c:v>14.5</c:v>
                </c:pt>
                <c:pt idx="2262">
                  <c:v>15.06</c:v>
                </c:pt>
                <c:pt idx="2263">
                  <c:v>15.92</c:v>
                </c:pt>
                <c:pt idx="2264">
                  <c:v>19.2</c:v>
                </c:pt>
                <c:pt idx="2265">
                  <c:v>17.79</c:v>
                </c:pt>
                <c:pt idx="2266">
                  <c:v>19.920000000000002</c:v>
                </c:pt>
                <c:pt idx="2267">
                  <c:v>21.12</c:v>
                </c:pt>
                <c:pt idx="2268">
                  <c:v>19.309999999999999</c:v>
                </c:pt>
                <c:pt idx="2269">
                  <c:v>17.010000000000002</c:v>
                </c:pt>
                <c:pt idx="2270">
                  <c:v>17.55</c:v>
                </c:pt>
                <c:pt idx="2271">
                  <c:v>19.600000000000001</c:v>
                </c:pt>
                <c:pt idx="2272">
                  <c:v>20.56</c:v>
                </c:pt>
                <c:pt idx="2273">
                  <c:v>21.48</c:v>
                </c:pt>
                <c:pt idx="2274">
                  <c:v>22.39</c:v>
                </c:pt>
                <c:pt idx="2275">
                  <c:v>20.95</c:v>
                </c:pt>
                <c:pt idx="2276">
                  <c:v>19.89</c:v>
                </c:pt>
                <c:pt idx="2277">
                  <c:v>18.850000000000001</c:v>
                </c:pt>
                <c:pt idx="2278">
                  <c:v>16.399999999999999</c:v>
                </c:pt>
                <c:pt idx="2279">
                  <c:v>16.66</c:v>
                </c:pt>
                <c:pt idx="2280">
                  <c:v>15.52</c:v>
                </c:pt>
                <c:pt idx="2281">
                  <c:v>17.22</c:v>
                </c:pt>
                <c:pt idx="2282">
                  <c:v>20.440000000000001</c:v>
                </c:pt>
                <c:pt idx="2283">
                  <c:v>18.760000000000002</c:v>
                </c:pt>
                <c:pt idx="2284">
                  <c:v>20.97</c:v>
                </c:pt>
                <c:pt idx="2285">
                  <c:v>19.43</c:v>
                </c:pt>
                <c:pt idx="2286">
                  <c:v>17.329999999999998</c:v>
                </c:pt>
                <c:pt idx="2287">
                  <c:v>18.329999999999998</c:v>
                </c:pt>
                <c:pt idx="2288">
                  <c:v>16.850000000000001</c:v>
                </c:pt>
                <c:pt idx="2289">
                  <c:v>17.29</c:v>
                </c:pt>
                <c:pt idx="2290">
                  <c:v>18.55</c:v>
                </c:pt>
                <c:pt idx="2291">
                  <c:v>17.23</c:v>
                </c:pt>
                <c:pt idx="2292">
                  <c:v>16.96</c:v>
                </c:pt>
                <c:pt idx="2293">
                  <c:v>15.34</c:v>
                </c:pt>
                <c:pt idx="2294">
                  <c:v>14.69</c:v>
                </c:pt>
                <c:pt idx="2295">
                  <c:v>15.8</c:v>
                </c:pt>
                <c:pt idx="2296">
                  <c:v>15.45</c:v>
                </c:pt>
                <c:pt idx="2297">
                  <c:v>15.29</c:v>
                </c:pt>
                <c:pt idx="2298">
                  <c:v>14.3</c:v>
                </c:pt>
                <c:pt idx="2299">
                  <c:v>14.56</c:v>
                </c:pt>
                <c:pt idx="2300">
                  <c:v>13.69</c:v>
                </c:pt>
                <c:pt idx="2301">
                  <c:v>13.84</c:v>
                </c:pt>
                <c:pt idx="2302">
                  <c:v>13.91</c:v>
                </c:pt>
                <c:pt idx="2303">
                  <c:v>13.34</c:v>
                </c:pt>
                <c:pt idx="2304">
                  <c:v>13.04</c:v>
                </c:pt>
                <c:pt idx="2305">
                  <c:v>13.86</c:v>
                </c:pt>
                <c:pt idx="2306">
                  <c:v>14.23</c:v>
                </c:pt>
                <c:pt idx="2307">
                  <c:v>14.04</c:v>
                </c:pt>
                <c:pt idx="2308">
                  <c:v>15.2</c:v>
                </c:pt>
                <c:pt idx="2309">
                  <c:v>15.06</c:v>
                </c:pt>
                <c:pt idx="2310">
                  <c:v>16.690000000000001</c:v>
                </c:pt>
                <c:pt idx="2311">
                  <c:v>16.87</c:v>
                </c:pt>
                <c:pt idx="2312">
                  <c:v>15.42</c:v>
                </c:pt>
                <c:pt idx="2313">
                  <c:v>16</c:v>
                </c:pt>
                <c:pt idx="2314">
                  <c:v>15.61</c:v>
                </c:pt>
                <c:pt idx="2315">
                  <c:v>15.66</c:v>
                </c:pt>
                <c:pt idx="2316">
                  <c:v>13.97</c:v>
                </c:pt>
                <c:pt idx="2317">
                  <c:v>14.07</c:v>
                </c:pt>
                <c:pt idx="2318">
                  <c:v>13.02</c:v>
                </c:pt>
                <c:pt idx="2319">
                  <c:v>13.41</c:v>
                </c:pt>
                <c:pt idx="2320">
                  <c:v>13.62</c:v>
                </c:pt>
                <c:pt idx="2321">
                  <c:v>15.44</c:v>
                </c:pt>
                <c:pt idx="2322">
                  <c:v>15.8</c:v>
                </c:pt>
                <c:pt idx="2323">
                  <c:v>15.07</c:v>
                </c:pt>
                <c:pt idx="2324">
                  <c:v>14.51</c:v>
                </c:pt>
                <c:pt idx="2325">
                  <c:v>15.29</c:v>
                </c:pt>
                <c:pt idx="2326">
                  <c:v>15.11</c:v>
                </c:pt>
                <c:pt idx="2327">
                  <c:v>14.67</c:v>
                </c:pt>
                <c:pt idx="2328">
                  <c:v>14.74</c:v>
                </c:pt>
                <c:pt idx="2329">
                  <c:v>14.78</c:v>
                </c:pt>
                <c:pt idx="2330">
                  <c:v>13.98</c:v>
                </c:pt>
                <c:pt idx="2331">
                  <c:v>13.09</c:v>
                </c:pt>
                <c:pt idx="2332">
                  <c:v>12.58</c:v>
                </c:pt>
                <c:pt idx="2333">
                  <c:v>13.94</c:v>
                </c:pt>
                <c:pt idx="2334">
                  <c:v>13.67</c:v>
                </c:pt>
                <c:pt idx="2335">
                  <c:v>12.84</c:v>
                </c:pt>
                <c:pt idx="2336">
                  <c:v>12.6</c:v>
                </c:pt>
                <c:pt idx="2337">
                  <c:v>13.89</c:v>
                </c:pt>
                <c:pt idx="2338">
                  <c:v>13.3</c:v>
                </c:pt>
                <c:pt idx="2339">
                  <c:v>13.25</c:v>
                </c:pt>
                <c:pt idx="2340">
                  <c:v>12.71</c:v>
                </c:pt>
                <c:pt idx="2341">
                  <c:v>12.48</c:v>
                </c:pt>
                <c:pt idx="2342">
                  <c:v>12.29</c:v>
                </c:pt>
                <c:pt idx="2343">
                  <c:v>13.12</c:v>
                </c:pt>
                <c:pt idx="2344">
                  <c:v>12.41</c:v>
                </c:pt>
                <c:pt idx="2345">
                  <c:v>13.39</c:v>
                </c:pt>
                <c:pt idx="2346">
                  <c:v>14.55</c:v>
                </c:pt>
                <c:pt idx="2347">
                  <c:v>12.7</c:v>
                </c:pt>
                <c:pt idx="2348">
                  <c:v>12.85</c:v>
                </c:pt>
                <c:pt idx="2349">
                  <c:v>14.31</c:v>
                </c:pt>
                <c:pt idx="2350">
                  <c:v>15.15</c:v>
                </c:pt>
                <c:pt idx="2351">
                  <c:v>15.13</c:v>
                </c:pt>
                <c:pt idx="2352">
                  <c:v>12.86</c:v>
                </c:pt>
                <c:pt idx="2353">
                  <c:v>13.85</c:v>
                </c:pt>
                <c:pt idx="2354">
                  <c:v>13.86</c:v>
                </c:pt>
                <c:pt idx="2355">
                  <c:v>13.76</c:v>
                </c:pt>
                <c:pt idx="2356">
                  <c:v>12.74</c:v>
                </c:pt>
                <c:pt idx="2357">
                  <c:v>12.38</c:v>
                </c:pt>
                <c:pt idx="2358">
                  <c:v>12.73</c:v>
                </c:pt>
                <c:pt idx="2359">
                  <c:v>12.85</c:v>
                </c:pt>
                <c:pt idx="2360">
                  <c:v>12.88</c:v>
                </c:pt>
                <c:pt idx="2361">
                  <c:v>12.11</c:v>
                </c:pt>
                <c:pt idx="2362">
                  <c:v>12.13</c:v>
                </c:pt>
                <c:pt idx="2363">
                  <c:v>14.06</c:v>
                </c:pt>
                <c:pt idx="2364">
                  <c:v>13.27</c:v>
                </c:pt>
                <c:pt idx="2365">
                  <c:v>13.31</c:v>
                </c:pt>
                <c:pt idx="2366">
                  <c:v>13.84</c:v>
                </c:pt>
                <c:pt idx="2367">
                  <c:v>13.97</c:v>
                </c:pt>
                <c:pt idx="2368">
                  <c:v>14.24</c:v>
                </c:pt>
                <c:pt idx="2369">
                  <c:v>13.66</c:v>
                </c:pt>
                <c:pt idx="2370">
                  <c:v>14.71</c:v>
                </c:pt>
                <c:pt idx="2371">
                  <c:v>14.21</c:v>
                </c:pt>
                <c:pt idx="2372">
                  <c:v>15.29</c:v>
                </c:pt>
                <c:pt idx="2373">
                  <c:v>14.47</c:v>
                </c:pt>
                <c:pt idx="2374">
                  <c:v>13.22</c:v>
                </c:pt>
                <c:pt idx="2375">
                  <c:v>12.85</c:v>
                </c:pt>
                <c:pt idx="2376">
                  <c:v>13.78</c:v>
                </c:pt>
                <c:pt idx="2377">
                  <c:v>15.39</c:v>
                </c:pt>
                <c:pt idx="2378">
                  <c:v>14.81</c:v>
                </c:pt>
                <c:pt idx="2379">
                  <c:v>14.5</c:v>
                </c:pt>
                <c:pt idx="2380">
                  <c:v>13.19</c:v>
                </c:pt>
                <c:pt idx="2381">
                  <c:v>13.96</c:v>
                </c:pt>
                <c:pt idx="2382">
                  <c:v>12.74</c:v>
                </c:pt>
                <c:pt idx="2383">
                  <c:v>12.11</c:v>
                </c:pt>
                <c:pt idx="2384">
                  <c:v>13.26</c:v>
                </c:pt>
                <c:pt idx="2385">
                  <c:v>14.01</c:v>
                </c:pt>
                <c:pt idx="2386">
                  <c:v>14.02</c:v>
                </c:pt>
                <c:pt idx="2387">
                  <c:v>18.850000000000001</c:v>
                </c:pt>
                <c:pt idx="2388">
                  <c:v>18.23</c:v>
                </c:pt>
                <c:pt idx="2389">
                  <c:v>16.09</c:v>
                </c:pt>
                <c:pt idx="2390">
                  <c:v>16.79</c:v>
                </c:pt>
                <c:pt idx="2391">
                  <c:v>17.010000000000002</c:v>
                </c:pt>
                <c:pt idx="2392">
                  <c:v>16.09</c:v>
                </c:pt>
                <c:pt idx="2393">
                  <c:v>19.66</c:v>
                </c:pt>
                <c:pt idx="2394">
                  <c:v>19.97</c:v>
                </c:pt>
                <c:pt idx="2395">
                  <c:v>16.829999999999998</c:v>
                </c:pt>
                <c:pt idx="2396">
                  <c:v>13.9</c:v>
                </c:pt>
                <c:pt idx="2397">
                  <c:v>13.37</c:v>
                </c:pt>
                <c:pt idx="2398">
                  <c:v>13.23</c:v>
                </c:pt>
                <c:pt idx="2399">
                  <c:v>12.11</c:v>
                </c:pt>
                <c:pt idx="2400">
                  <c:v>11.95</c:v>
                </c:pt>
                <c:pt idx="2401">
                  <c:v>12.25</c:v>
                </c:pt>
                <c:pt idx="2402">
                  <c:v>12.22</c:v>
                </c:pt>
                <c:pt idx="2403">
                  <c:v>12.12</c:v>
                </c:pt>
                <c:pt idx="2404">
                  <c:v>12.64</c:v>
                </c:pt>
                <c:pt idx="2405">
                  <c:v>13.74</c:v>
                </c:pt>
                <c:pt idx="2406">
                  <c:v>15.6</c:v>
                </c:pt>
                <c:pt idx="2407">
                  <c:v>13.44</c:v>
                </c:pt>
                <c:pt idx="2408">
                  <c:v>12.5</c:v>
                </c:pt>
                <c:pt idx="2409">
                  <c:v>12.13</c:v>
                </c:pt>
                <c:pt idx="2410">
                  <c:v>12.12</c:v>
                </c:pt>
                <c:pt idx="2411">
                  <c:v>12.56</c:v>
                </c:pt>
                <c:pt idx="2412">
                  <c:v>13</c:v>
                </c:pt>
                <c:pt idx="2413">
                  <c:v>12.51</c:v>
                </c:pt>
                <c:pt idx="2414">
                  <c:v>13.77</c:v>
                </c:pt>
                <c:pt idx="2415">
                  <c:v>13.39</c:v>
                </c:pt>
                <c:pt idx="2416">
                  <c:v>12.23</c:v>
                </c:pt>
                <c:pt idx="2417">
                  <c:v>13.71</c:v>
                </c:pt>
                <c:pt idx="2418">
                  <c:v>13.61</c:v>
                </c:pt>
                <c:pt idx="2419">
                  <c:v>13.49</c:v>
                </c:pt>
                <c:pt idx="2420">
                  <c:v>12.83</c:v>
                </c:pt>
                <c:pt idx="2421">
                  <c:v>13.02</c:v>
                </c:pt>
                <c:pt idx="2422">
                  <c:v>13.79</c:v>
                </c:pt>
                <c:pt idx="2423">
                  <c:v>15.25</c:v>
                </c:pt>
                <c:pt idx="2424">
                  <c:v>19.14</c:v>
                </c:pt>
                <c:pt idx="2425">
                  <c:v>28.03</c:v>
                </c:pt>
                <c:pt idx="2426">
                  <c:v>40.74</c:v>
                </c:pt>
                <c:pt idx="2427">
                  <c:v>36.020000000000003</c:v>
                </c:pt>
                <c:pt idx="2428">
                  <c:v>30.32</c:v>
                </c:pt>
                <c:pt idx="2429">
                  <c:v>26.1</c:v>
                </c:pt>
                <c:pt idx="2430">
                  <c:v>26.05</c:v>
                </c:pt>
                <c:pt idx="2431">
                  <c:v>28.43</c:v>
                </c:pt>
                <c:pt idx="2432">
                  <c:v>31.4</c:v>
                </c:pt>
                <c:pt idx="2433">
                  <c:v>26.09</c:v>
                </c:pt>
                <c:pt idx="2434">
                  <c:v>25.61</c:v>
                </c:pt>
                <c:pt idx="2435">
                  <c:v>27.8</c:v>
                </c:pt>
                <c:pt idx="2436">
                  <c:v>24.9</c:v>
                </c:pt>
                <c:pt idx="2437">
                  <c:v>26.23</c:v>
                </c:pt>
                <c:pt idx="2438">
                  <c:v>24.37</c:v>
                </c:pt>
                <c:pt idx="2439">
                  <c:v>23.2</c:v>
                </c:pt>
                <c:pt idx="2440">
                  <c:v>24.25</c:v>
                </c:pt>
                <c:pt idx="2441">
                  <c:v>22.54</c:v>
                </c:pt>
                <c:pt idx="2442">
                  <c:v>21.35</c:v>
                </c:pt>
                <c:pt idx="2443">
                  <c:v>21.14</c:v>
                </c:pt>
                <c:pt idx="2444">
                  <c:v>22.28</c:v>
                </c:pt>
                <c:pt idx="2445">
                  <c:v>20.14</c:v>
                </c:pt>
                <c:pt idx="2446">
                  <c:v>22.44</c:v>
                </c:pt>
                <c:pt idx="2447">
                  <c:v>22.13</c:v>
                </c:pt>
                <c:pt idx="2448">
                  <c:v>23.47</c:v>
                </c:pt>
                <c:pt idx="2449">
                  <c:v>23.62</c:v>
                </c:pt>
                <c:pt idx="2450">
                  <c:v>27.63</c:v>
                </c:pt>
                <c:pt idx="2451">
                  <c:v>26.83</c:v>
                </c:pt>
                <c:pt idx="2452">
                  <c:v>24.5</c:v>
                </c:pt>
                <c:pt idx="2453">
                  <c:v>22.55</c:v>
                </c:pt>
                <c:pt idx="2454">
                  <c:v>20.94</c:v>
                </c:pt>
                <c:pt idx="2455">
                  <c:v>19.54</c:v>
                </c:pt>
                <c:pt idx="2456">
                  <c:v>19.399999999999999</c:v>
                </c:pt>
                <c:pt idx="2457">
                  <c:v>18.399999999999999</c:v>
                </c:pt>
                <c:pt idx="2458">
                  <c:v>17.420000000000002</c:v>
                </c:pt>
                <c:pt idx="2459">
                  <c:v>17.079999999999998</c:v>
                </c:pt>
                <c:pt idx="2460">
                  <c:v>16.170000000000002</c:v>
                </c:pt>
                <c:pt idx="2461">
                  <c:v>17.670000000000002</c:v>
                </c:pt>
                <c:pt idx="2462">
                  <c:v>18.03</c:v>
                </c:pt>
                <c:pt idx="2463">
                  <c:v>16.05</c:v>
                </c:pt>
                <c:pt idx="2464">
                  <c:v>15.05</c:v>
                </c:pt>
                <c:pt idx="2465">
                  <c:v>14.98</c:v>
                </c:pt>
                <c:pt idx="2466">
                  <c:v>15.75</c:v>
                </c:pt>
                <c:pt idx="2467">
                  <c:v>16.7</c:v>
                </c:pt>
                <c:pt idx="2468">
                  <c:v>14.45</c:v>
                </c:pt>
                <c:pt idx="2469">
                  <c:v>14.46</c:v>
                </c:pt>
                <c:pt idx="2470">
                  <c:v>15.29</c:v>
                </c:pt>
                <c:pt idx="2471">
                  <c:v>15.43</c:v>
                </c:pt>
                <c:pt idx="2472">
                  <c:v>14.33</c:v>
                </c:pt>
                <c:pt idx="2473">
                  <c:v>14.61</c:v>
                </c:pt>
                <c:pt idx="2474">
                  <c:v>15.07</c:v>
                </c:pt>
                <c:pt idx="2475">
                  <c:v>14.15</c:v>
                </c:pt>
                <c:pt idx="2476">
                  <c:v>14.54</c:v>
                </c:pt>
                <c:pt idx="2477">
                  <c:v>15.51</c:v>
                </c:pt>
                <c:pt idx="2478">
                  <c:v>15.05</c:v>
                </c:pt>
                <c:pt idx="2479">
                  <c:v>14.33</c:v>
                </c:pt>
                <c:pt idx="2480">
                  <c:v>16.52</c:v>
                </c:pt>
                <c:pt idx="2481">
                  <c:v>15.29</c:v>
                </c:pt>
                <c:pt idx="2482">
                  <c:v>16.059999999999999</c:v>
                </c:pt>
                <c:pt idx="2483">
                  <c:v>18.37</c:v>
                </c:pt>
                <c:pt idx="2484">
                  <c:v>20.079999999999998</c:v>
                </c:pt>
                <c:pt idx="2485">
                  <c:v>18.16</c:v>
                </c:pt>
                <c:pt idx="2486">
                  <c:v>18.84</c:v>
                </c:pt>
                <c:pt idx="2487">
                  <c:v>16.850000000000001</c:v>
                </c:pt>
                <c:pt idx="2488">
                  <c:v>16.989999999999998</c:v>
                </c:pt>
                <c:pt idx="2489">
                  <c:v>15.47</c:v>
                </c:pt>
                <c:pt idx="2490">
                  <c:v>15.62</c:v>
                </c:pt>
                <c:pt idx="2491">
                  <c:v>15.93</c:v>
                </c:pt>
                <c:pt idx="2492">
                  <c:v>15.19</c:v>
                </c:pt>
                <c:pt idx="2493">
                  <c:v>15.12</c:v>
                </c:pt>
                <c:pt idx="2494">
                  <c:v>16.13</c:v>
                </c:pt>
                <c:pt idx="2495">
                  <c:v>14.67</c:v>
                </c:pt>
                <c:pt idx="2496">
                  <c:v>15.91</c:v>
                </c:pt>
                <c:pt idx="2497">
                  <c:v>18.11</c:v>
                </c:pt>
                <c:pt idx="2498">
                  <c:v>14.81</c:v>
                </c:pt>
                <c:pt idx="2499">
                  <c:v>15.84</c:v>
                </c:pt>
                <c:pt idx="2500">
                  <c:v>17.600000000000001</c:v>
                </c:pt>
                <c:pt idx="2501">
                  <c:v>19.61</c:v>
                </c:pt>
                <c:pt idx="2502">
                  <c:v>19.34</c:v>
                </c:pt>
                <c:pt idx="2503">
                  <c:v>24.39</c:v>
                </c:pt>
                <c:pt idx="2504">
                  <c:v>22.73</c:v>
                </c:pt>
                <c:pt idx="2505">
                  <c:v>20.95</c:v>
                </c:pt>
                <c:pt idx="2506">
                  <c:v>17.86</c:v>
                </c:pt>
                <c:pt idx="2507">
                  <c:v>18.940000000000001</c:v>
                </c:pt>
                <c:pt idx="2508">
                  <c:v>20.7</c:v>
                </c:pt>
                <c:pt idx="2509">
                  <c:v>18.7</c:v>
                </c:pt>
                <c:pt idx="2510">
                  <c:v>16.600000000000001</c:v>
                </c:pt>
                <c:pt idx="2511">
                  <c:v>15.57</c:v>
                </c:pt>
                <c:pt idx="2512">
                  <c:v>15.74</c:v>
                </c:pt>
                <c:pt idx="2513">
                  <c:v>16.91</c:v>
                </c:pt>
                <c:pt idx="2514">
                  <c:v>16.079999999999998</c:v>
                </c:pt>
                <c:pt idx="2515">
                  <c:v>17.29</c:v>
                </c:pt>
                <c:pt idx="2516">
                  <c:v>18.21</c:v>
                </c:pt>
                <c:pt idx="2517">
                  <c:v>20.7</c:v>
                </c:pt>
                <c:pt idx="2518">
                  <c:v>19.34</c:v>
                </c:pt>
                <c:pt idx="2519">
                  <c:v>20.59</c:v>
                </c:pt>
                <c:pt idx="2520">
                  <c:v>24.99</c:v>
                </c:pt>
                <c:pt idx="2521">
                  <c:v>27.01</c:v>
                </c:pt>
                <c:pt idx="2522">
                  <c:v>24.3</c:v>
                </c:pt>
                <c:pt idx="2523">
                  <c:v>22.47</c:v>
                </c:pt>
                <c:pt idx="2524">
                  <c:v>25.22</c:v>
                </c:pt>
                <c:pt idx="2525">
                  <c:v>23.95</c:v>
                </c:pt>
                <c:pt idx="2526">
                  <c:v>27.02</c:v>
                </c:pt>
                <c:pt idx="2527">
                  <c:v>26.05</c:v>
                </c:pt>
                <c:pt idx="2528">
                  <c:v>27.59</c:v>
                </c:pt>
                <c:pt idx="2529">
                  <c:v>26.69</c:v>
                </c:pt>
                <c:pt idx="2530">
                  <c:v>22.34</c:v>
                </c:pt>
                <c:pt idx="2531">
                  <c:v>24.15</c:v>
                </c:pt>
                <c:pt idx="2532">
                  <c:v>22.5</c:v>
                </c:pt>
                <c:pt idx="2533">
                  <c:v>23.11</c:v>
                </c:pt>
                <c:pt idx="2534">
                  <c:v>22.42</c:v>
                </c:pt>
                <c:pt idx="2535">
                  <c:v>20.2</c:v>
                </c:pt>
                <c:pt idx="2536">
                  <c:v>19.98</c:v>
                </c:pt>
                <c:pt idx="2537">
                  <c:v>21.98</c:v>
                </c:pt>
                <c:pt idx="2538">
                  <c:v>21.65</c:v>
                </c:pt>
                <c:pt idx="2539">
                  <c:v>21.84</c:v>
                </c:pt>
                <c:pt idx="2540">
                  <c:v>23.38</c:v>
                </c:pt>
                <c:pt idx="2541">
                  <c:v>26</c:v>
                </c:pt>
                <c:pt idx="2542">
                  <c:v>26.54</c:v>
                </c:pt>
                <c:pt idx="2543">
                  <c:v>26.29</c:v>
                </c:pt>
                <c:pt idx="2544">
                  <c:v>28.14</c:v>
                </c:pt>
                <c:pt idx="2545">
                  <c:v>25.4</c:v>
                </c:pt>
                <c:pt idx="2546">
                  <c:v>24.11</c:v>
                </c:pt>
                <c:pt idx="2547">
                  <c:v>22.31</c:v>
                </c:pt>
                <c:pt idx="2548">
                  <c:v>21.64</c:v>
                </c:pt>
                <c:pt idx="2549">
                  <c:v>20.53</c:v>
                </c:pt>
                <c:pt idx="2550">
                  <c:v>19.38</c:v>
                </c:pt>
                <c:pt idx="2551">
                  <c:v>20.98</c:v>
                </c:pt>
                <c:pt idx="2552">
                  <c:v>20.72</c:v>
                </c:pt>
                <c:pt idx="2553">
                  <c:v>19.11</c:v>
                </c:pt>
                <c:pt idx="2554">
                  <c:v>19.809999999999999</c:v>
                </c:pt>
                <c:pt idx="2555">
                  <c:v>20.55</c:v>
                </c:pt>
                <c:pt idx="2556">
                  <c:v>17.7</c:v>
                </c:pt>
                <c:pt idx="2557">
                  <c:v>17.09</c:v>
                </c:pt>
                <c:pt idx="2558">
                  <c:v>16.7</c:v>
                </c:pt>
                <c:pt idx="2559">
                  <c:v>16.86</c:v>
                </c:pt>
                <c:pt idx="2560">
                  <c:v>17.350000000000001</c:v>
                </c:pt>
                <c:pt idx="2561">
                  <c:v>18.670000000000002</c:v>
                </c:pt>
                <c:pt idx="2562">
                  <c:v>18.34</c:v>
                </c:pt>
                <c:pt idx="2563">
                  <c:v>18.05</c:v>
                </c:pt>
                <c:pt idx="2564">
                  <c:v>16.5</c:v>
                </c:pt>
                <c:pt idx="2565">
                  <c:v>16.920000000000002</c:v>
                </c:pt>
                <c:pt idx="2566">
                  <c:v>16.84</c:v>
                </c:pt>
                <c:pt idx="2567">
                  <c:v>14.99</c:v>
                </c:pt>
                <c:pt idx="2568">
                  <c:v>14.44</c:v>
                </c:pt>
                <c:pt idx="2569">
                  <c:v>14.02</c:v>
                </c:pt>
                <c:pt idx="2570">
                  <c:v>13.79</c:v>
                </c:pt>
                <c:pt idx="2571">
                  <c:v>14.17</c:v>
                </c:pt>
                <c:pt idx="2572">
                  <c:v>14.94</c:v>
                </c:pt>
                <c:pt idx="2573">
                  <c:v>14.74</c:v>
                </c:pt>
                <c:pt idx="2574">
                  <c:v>15.24</c:v>
                </c:pt>
                <c:pt idx="2575">
                  <c:v>13.82</c:v>
                </c:pt>
                <c:pt idx="2576">
                  <c:v>13.56</c:v>
                </c:pt>
                <c:pt idx="2577">
                  <c:v>13.95</c:v>
                </c:pt>
                <c:pt idx="2578">
                  <c:v>13.1</c:v>
                </c:pt>
                <c:pt idx="2579">
                  <c:v>14.12</c:v>
                </c:pt>
                <c:pt idx="2580">
                  <c:v>15.42</c:v>
                </c:pt>
                <c:pt idx="2581">
                  <c:v>14.09</c:v>
                </c:pt>
                <c:pt idx="2582">
                  <c:v>16.16</c:v>
                </c:pt>
                <c:pt idx="2583">
                  <c:v>15.36</c:v>
                </c:pt>
                <c:pt idx="2584">
                  <c:v>16.260000000000002</c:v>
                </c:pt>
                <c:pt idx="2585">
                  <c:v>14.85</c:v>
                </c:pt>
                <c:pt idx="2586">
                  <c:v>13.84</c:v>
                </c:pt>
                <c:pt idx="2587">
                  <c:v>13.72</c:v>
                </c:pt>
                <c:pt idx="2588">
                  <c:v>13.62</c:v>
                </c:pt>
                <c:pt idx="2589">
                  <c:v>13.35</c:v>
                </c:pt>
                <c:pt idx="2590">
                  <c:v>13.24</c:v>
                </c:pt>
                <c:pt idx="2591">
                  <c:v>13.28</c:v>
                </c:pt>
                <c:pt idx="2592">
                  <c:v>13.95</c:v>
                </c:pt>
                <c:pt idx="2593">
                  <c:v>13.22</c:v>
                </c:pt>
                <c:pt idx="2594">
                  <c:v>14.08</c:v>
                </c:pt>
                <c:pt idx="2595">
                  <c:v>13.96</c:v>
                </c:pt>
                <c:pt idx="2596">
                  <c:v>13.77</c:v>
                </c:pt>
                <c:pt idx="2597">
                  <c:v>15.22</c:v>
                </c:pt>
                <c:pt idx="2598">
                  <c:v>15.7</c:v>
                </c:pt>
                <c:pt idx="2599">
                  <c:v>14.68</c:v>
                </c:pt>
                <c:pt idx="2600">
                  <c:v>15.6</c:v>
                </c:pt>
                <c:pt idx="2601">
                  <c:v>16.05</c:v>
                </c:pt>
                <c:pt idx="2602">
                  <c:v>15.91</c:v>
                </c:pt>
                <c:pt idx="2603">
                  <c:v>14.72</c:v>
                </c:pt>
                <c:pt idx="2604">
                  <c:v>14.57</c:v>
                </c:pt>
              </c:numCache>
            </c:numRef>
          </c:val>
          <c:smooth val="0"/>
          <c:extLst xmlns:c16r2="http://schemas.microsoft.com/office/drawing/2015/06/chart">
            <c:ext xmlns:c16="http://schemas.microsoft.com/office/drawing/2014/chart" uri="{C3380CC4-5D6E-409C-BE32-E72D297353CC}">
              <c16:uniqueId val="{00000001-0E3D-4F39-BDFA-90DD928988AF}"/>
            </c:ext>
          </c:extLst>
        </c:ser>
        <c:dLbls>
          <c:showLegendKey val="0"/>
          <c:showVal val="0"/>
          <c:showCatName val="0"/>
          <c:showSerName val="0"/>
          <c:showPercent val="0"/>
          <c:showBubbleSize val="0"/>
        </c:dLbls>
        <c:marker val="1"/>
        <c:smooth val="0"/>
        <c:axId val="552556800"/>
        <c:axId val="552555264"/>
      </c:lineChart>
      <c:dateAx>
        <c:axId val="552551936"/>
        <c:scaling>
          <c:orientation val="minMax"/>
        </c:scaling>
        <c:delete val="0"/>
        <c:axPos val="b"/>
        <c:numFmt formatCode="m/d/yyyy" sourceLinked="1"/>
        <c:majorTickMark val="none"/>
        <c:minorTickMark val="none"/>
        <c:tickLblPos val="nextTo"/>
        <c:crossAx val="552553472"/>
        <c:crosses val="autoZero"/>
        <c:auto val="1"/>
        <c:lblOffset val="100"/>
        <c:baseTimeUnit val="days"/>
      </c:dateAx>
      <c:valAx>
        <c:axId val="552553472"/>
        <c:scaling>
          <c:orientation val="minMax"/>
        </c:scaling>
        <c:delete val="0"/>
        <c:axPos val="l"/>
        <c:majorGridlines/>
        <c:numFmt formatCode="_(* #,##0.00_);_(* \(#,##0.00\);_(* &quot;-&quot;??_);_(@_)" sourceLinked="1"/>
        <c:majorTickMark val="none"/>
        <c:minorTickMark val="none"/>
        <c:tickLblPos val="nextTo"/>
        <c:spPr>
          <a:ln w="9525">
            <a:noFill/>
          </a:ln>
        </c:spPr>
        <c:crossAx val="552551936"/>
        <c:crosses val="autoZero"/>
        <c:crossBetween val="between"/>
      </c:valAx>
      <c:valAx>
        <c:axId val="552555264"/>
        <c:scaling>
          <c:orientation val="minMax"/>
        </c:scaling>
        <c:delete val="0"/>
        <c:axPos val="r"/>
        <c:numFmt formatCode="General" sourceLinked="1"/>
        <c:majorTickMark val="out"/>
        <c:minorTickMark val="none"/>
        <c:tickLblPos val="nextTo"/>
        <c:crossAx val="552556800"/>
        <c:crosses val="max"/>
        <c:crossBetween val="between"/>
      </c:valAx>
      <c:dateAx>
        <c:axId val="552556800"/>
        <c:scaling>
          <c:orientation val="minMax"/>
        </c:scaling>
        <c:delete val="1"/>
        <c:axPos val="b"/>
        <c:numFmt formatCode="m/d/yyyy" sourceLinked="1"/>
        <c:majorTickMark val="out"/>
        <c:minorTickMark val="none"/>
        <c:tickLblPos val="nextTo"/>
        <c:crossAx val="552555264"/>
        <c:crosses val="autoZero"/>
        <c:auto val="1"/>
        <c:lblOffset val="100"/>
        <c:baseTimeUnit val="days"/>
      </c:dateAx>
    </c:plotArea>
    <c:legend>
      <c:legendPos val="b"/>
      <c:layout/>
      <c:overlay val="0"/>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VIX</a:t>
            </a:r>
            <a:r>
              <a:rPr lang="en-US" baseline="0" dirty="0"/>
              <a:t> Index historical values</a:t>
            </a:r>
            <a:endParaRPr lang="en-US" dirty="0"/>
          </a:p>
        </c:rich>
      </c:tx>
      <c:layout/>
      <c:overlay val="0"/>
    </c:title>
    <c:autoTitleDeleted val="0"/>
    <c:plotArea>
      <c:layout/>
      <c:lineChart>
        <c:grouping val="standard"/>
        <c:varyColors val="0"/>
        <c:ser>
          <c:idx val="0"/>
          <c:order val="0"/>
          <c:tx>
            <c:strRef>
              <c:f>Sheet1!$AA$4</c:f>
              <c:strCache>
                <c:ptCount val="1"/>
                <c:pt idx="0">
                  <c:v>VIX Index</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A$5:$AA$2522</c:f>
              <c:numCache>
                <c:formatCode>General</c:formatCode>
                <c:ptCount val="2518"/>
                <c:pt idx="0">
                  <c:v>11.99</c:v>
                </c:pt>
                <c:pt idx="1">
                  <c:v>11.78</c:v>
                </c:pt>
                <c:pt idx="2">
                  <c:v>12.49</c:v>
                </c:pt>
                <c:pt idx="3">
                  <c:v>14.19</c:v>
                </c:pt>
                <c:pt idx="4">
                  <c:v>13.57</c:v>
                </c:pt>
                <c:pt idx="5">
                  <c:v>13.35</c:v>
                </c:pt>
                <c:pt idx="6">
                  <c:v>16.260000000000002</c:v>
                </c:pt>
                <c:pt idx="7">
                  <c:v>16.989999999999998</c:v>
                </c:pt>
                <c:pt idx="8">
                  <c:v>17.18</c:v>
                </c:pt>
                <c:pt idx="9">
                  <c:v>17.72</c:v>
                </c:pt>
                <c:pt idx="10">
                  <c:v>18.260000000000002</c:v>
                </c:pt>
                <c:pt idx="11">
                  <c:v>17.36</c:v>
                </c:pt>
                <c:pt idx="12">
                  <c:v>15.5</c:v>
                </c:pt>
                <c:pt idx="13">
                  <c:v>14.26</c:v>
                </c:pt>
                <c:pt idx="14">
                  <c:v>18.66</c:v>
                </c:pt>
                <c:pt idx="15">
                  <c:v>16.440000000000001</c:v>
                </c:pt>
                <c:pt idx="16">
                  <c:v>14.52</c:v>
                </c:pt>
                <c:pt idx="17">
                  <c:v>14.32</c:v>
                </c:pt>
                <c:pt idx="18">
                  <c:v>16.649999999999999</c:v>
                </c:pt>
                <c:pt idx="19">
                  <c:v>17.34</c:v>
                </c:pt>
                <c:pt idx="20">
                  <c:v>17.8</c:v>
                </c:pt>
                <c:pt idx="21">
                  <c:v>18.350000000000001</c:v>
                </c:pt>
                <c:pt idx="22">
                  <c:v>18.12</c:v>
                </c:pt>
                <c:pt idx="23">
                  <c:v>20.96</c:v>
                </c:pt>
                <c:pt idx="24">
                  <c:v>23.81</c:v>
                </c:pt>
                <c:pt idx="25">
                  <c:v>21.46</c:v>
                </c:pt>
                <c:pt idx="26">
                  <c:v>15.9</c:v>
                </c:pt>
                <c:pt idx="27">
                  <c:v>17.25</c:v>
                </c:pt>
                <c:pt idx="28">
                  <c:v>17.829999999999998</c:v>
                </c:pt>
                <c:pt idx="29">
                  <c:v>16.690000000000001</c:v>
                </c:pt>
                <c:pt idx="30">
                  <c:v>15.52</c:v>
                </c:pt>
                <c:pt idx="31">
                  <c:v>15.88</c:v>
                </c:pt>
                <c:pt idx="32">
                  <c:v>15.89</c:v>
                </c:pt>
                <c:pt idx="33">
                  <c:v>15.62</c:v>
                </c:pt>
                <c:pt idx="34">
                  <c:v>16.399999999999999</c:v>
                </c:pt>
                <c:pt idx="35">
                  <c:v>15.79</c:v>
                </c:pt>
                <c:pt idx="36">
                  <c:v>13.03</c:v>
                </c:pt>
                <c:pt idx="37">
                  <c:v>13.08</c:v>
                </c:pt>
                <c:pt idx="38">
                  <c:v>13.05</c:v>
                </c:pt>
                <c:pt idx="39">
                  <c:v>14.15</c:v>
                </c:pt>
                <c:pt idx="40">
                  <c:v>13.65</c:v>
                </c:pt>
                <c:pt idx="41">
                  <c:v>13.97</c:v>
                </c:pt>
                <c:pt idx="42">
                  <c:v>14.02</c:v>
                </c:pt>
                <c:pt idx="43">
                  <c:v>13.14</c:v>
                </c:pt>
                <c:pt idx="44">
                  <c:v>14.49</c:v>
                </c:pt>
                <c:pt idx="45">
                  <c:v>17.79</c:v>
                </c:pt>
                <c:pt idx="46">
                  <c:v>18.05</c:v>
                </c:pt>
                <c:pt idx="47">
                  <c:v>18.64</c:v>
                </c:pt>
                <c:pt idx="48">
                  <c:v>17.739999999999998</c:v>
                </c:pt>
                <c:pt idx="49">
                  <c:v>15.55</c:v>
                </c:pt>
                <c:pt idx="50">
                  <c:v>16.21</c:v>
                </c:pt>
                <c:pt idx="51">
                  <c:v>17.399999999999999</c:v>
                </c:pt>
                <c:pt idx="52">
                  <c:v>14.98</c:v>
                </c:pt>
                <c:pt idx="53">
                  <c:v>14.85</c:v>
                </c:pt>
                <c:pt idx="54">
                  <c:v>14.62</c:v>
                </c:pt>
                <c:pt idx="55">
                  <c:v>14.94</c:v>
                </c:pt>
                <c:pt idx="56">
                  <c:v>14.33</c:v>
                </c:pt>
                <c:pt idx="57">
                  <c:v>14.95</c:v>
                </c:pt>
                <c:pt idx="58">
                  <c:v>15.05</c:v>
                </c:pt>
                <c:pt idx="59">
                  <c:v>14.34</c:v>
                </c:pt>
                <c:pt idx="60">
                  <c:v>14.46</c:v>
                </c:pt>
                <c:pt idx="61">
                  <c:v>14.34</c:v>
                </c:pt>
                <c:pt idx="62">
                  <c:v>15.23</c:v>
                </c:pt>
                <c:pt idx="63">
                  <c:v>15.23</c:v>
                </c:pt>
                <c:pt idx="64">
                  <c:v>15.2</c:v>
                </c:pt>
                <c:pt idx="65">
                  <c:v>14.46</c:v>
                </c:pt>
                <c:pt idx="66">
                  <c:v>14.3</c:v>
                </c:pt>
                <c:pt idx="67">
                  <c:v>14.26</c:v>
                </c:pt>
                <c:pt idx="68">
                  <c:v>13.42</c:v>
                </c:pt>
                <c:pt idx="69">
                  <c:v>12.41</c:v>
                </c:pt>
                <c:pt idx="70">
                  <c:v>12.24</c:v>
                </c:pt>
                <c:pt idx="71">
                  <c:v>11.64</c:v>
                </c:pt>
                <c:pt idx="72">
                  <c:v>12.22</c:v>
                </c:pt>
                <c:pt idx="73">
                  <c:v>12.19</c:v>
                </c:pt>
                <c:pt idx="74">
                  <c:v>12.4</c:v>
                </c:pt>
                <c:pt idx="75">
                  <c:v>12.4</c:v>
                </c:pt>
                <c:pt idx="76">
                  <c:v>12.31</c:v>
                </c:pt>
                <c:pt idx="77">
                  <c:v>12.18</c:v>
                </c:pt>
                <c:pt idx="78">
                  <c:v>12.28</c:v>
                </c:pt>
                <c:pt idx="79">
                  <c:v>12.22</c:v>
                </c:pt>
                <c:pt idx="80">
                  <c:v>12.31</c:v>
                </c:pt>
                <c:pt idx="81">
                  <c:v>11.96</c:v>
                </c:pt>
                <c:pt idx="82">
                  <c:v>12.63</c:v>
                </c:pt>
                <c:pt idx="83">
                  <c:v>13.74</c:v>
                </c:pt>
                <c:pt idx="84">
                  <c:v>13.88</c:v>
                </c:pt>
                <c:pt idx="85">
                  <c:v>13.16</c:v>
                </c:pt>
                <c:pt idx="86">
                  <c:v>12.99</c:v>
                </c:pt>
                <c:pt idx="87">
                  <c:v>11.92</c:v>
                </c:pt>
                <c:pt idx="88">
                  <c:v>11.18</c:v>
                </c:pt>
                <c:pt idx="89">
                  <c:v>11.55</c:v>
                </c:pt>
                <c:pt idx="90">
                  <c:v>11.76</c:v>
                </c:pt>
                <c:pt idx="91">
                  <c:v>11.78</c:v>
                </c:pt>
                <c:pt idx="92">
                  <c:v>11.98</c:v>
                </c:pt>
                <c:pt idx="93">
                  <c:v>11.39</c:v>
                </c:pt>
                <c:pt idx="94">
                  <c:v>12.25</c:v>
                </c:pt>
                <c:pt idx="95">
                  <c:v>12.59</c:v>
                </c:pt>
                <c:pt idx="96">
                  <c:v>12.12</c:v>
                </c:pt>
                <c:pt idx="97">
                  <c:v>11.53</c:v>
                </c:pt>
                <c:pt idx="98">
                  <c:v>11.58</c:v>
                </c:pt>
                <c:pt idx="99">
                  <c:v>11.72</c:v>
                </c:pt>
                <c:pt idx="100">
                  <c:v>11.98</c:v>
                </c:pt>
                <c:pt idx="101">
                  <c:v>12.57</c:v>
                </c:pt>
                <c:pt idx="102">
                  <c:v>12.24</c:v>
                </c:pt>
                <c:pt idx="103">
                  <c:v>11.86</c:v>
                </c:pt>
                <c:pt idx="104">
                  <c:v>11.98</c:v>
                </c:pt>
                <c:pt idx="105">
                  <c:v>11.56</c:v>
                </c:pt>
                <c:pt idx="106">
                  <c:v>11.68</c:v>
                </c:pt>
                <c:pt idx="107">
                  <c:v>11.52</c:v>
                </c:pt>
                <c:pt idx="108">
                  <c:v>11.62</c:v>
                </c:pt>
                <c:pt idx="109">
                  <c:v>11.09</c:v>
                </c:pt>
                <c:pt idx="110">
                  <c:v>10.75</c:v>
                </c:pt>
                <c:pt idx="111">
                  <c:v>11.09</c:v>
                </c:pt>
                <c:pt idx="112">
                  <c:v>11.73</c:v>
                </c:pt>
                <c:pt idx="113">
                  <c:v>11.34</c:v>
                </c:pt>
                <c:pt idx="114">
                  <c:v>10.9</c:v>
                </c:pt>
                <c:pt idx="115">
                  <c:v>10.63</c:v>
                </c:pt>
                <c:pt idx="116">
                  <c:v>11.08</c:v>
                </c:pt>
                <c:pt idx="117">
                  <c:v>10.78</c:v>
                </c:pt>
                <c:pt idx="118">
                  <c:v>10.66</c:v>
                </c:pt>
                <c:pt idx="119">
                  <c:v>10.56</c:v>
                </c:pt>
                <c:pt idx="120">
                  <c:v>10.8</c:v>
                </c:pt>
                <c:pt idx="121">
                  <c:v>11.2</c:v>
                </c:pt>
                <c:pt idx="122">
                  <c:v>11.1</c:v>
                </c:pt>
                <c:pt idx="123">
                  <c:v>11.51</c:v>
                </c:pt>
                <c:pt idx="124">
                  <c:v>11.42</c:v>
                </c:pt>
                <c:pt idx="125">
                  <c:v>11.16</c:v>
                </c:pt>
                <c:pt idx="126">
                  <c:v>11.16</c:v>
                </c:pt>
                <c:pt idx="127">
                  <c:v>11.09</c:v>
                </c:pt>
                <c:pt idx="128">
                  <c:v>10.75</c:v>
                </c:pt>
                <c:pt idx="129">
                  <c:v>11.01</c:v>
                </c:pt>
                <c:pt idx="130">
                  <c:v>10.79</c:v>
                </c:pt>
                <c:pt idx="131">
                  <c:v>10.86</c:v>
                </c:pt>
                <c:pt idx="132">
                  <c:v>10.5</c:v>
                </c:pt>
                <c:pt idx="133">
                  <c:v>10.31</c:v>
                </c:pt>
                <c:pt idx="134">
                  <c:v>10.16</c:v>
                </c:pt>
                <c:pt idx="135">
                  <c:v>10.050000000000001</c:v>
                </c:pt>
                <c:pt idx="136">
                  <c:v>9.9700000000000006</c:v>
                </c:pt>
                <c:pt idx="137">
                  <c:v>9.9</c:v>
                </c:pt>
                <c:pt idx="138">
                  <c:v>10.14</c:v>
                </c:pt>
                <c:pt idx="139">
                  <c:v>10.73</c:v>
                </c:pt>
                <c:pt idx="140">
                  <c:v>12.3</c:v>
                </c:pt>
                <c:pt idx="141">
                  <c:v>11.62</c:v>
                </c:pt>
                <c:pt idx="142">
                  <c:v>10.83</c:v>
                </c:pt>
                <c:pt idx="143">
                  <c:v>10.91</c:v>
                </c:pt>
                <c:pt idx="144">
                  <c:v>11.66</c:v>
                </c:pt>
                <c:pt idx="145">
                  <c:v>11.23</c:v>
                </c:pt>
                <c:pt idx="146">
                  <c:v>11.27</c:v>
                </c:pt>
                <c:pt idx="147">
                  <c:v>11.33</c:v>
                </c:pt>
                <c:pt idx="148">
                  <c:v>12.67</c:v>
                </c:pt>
                <c:pt idx="149">
                  <c:v>12.07</c:v>
                </c:pt>
                <c:pt idx="150">
                  <c:v>10.71</c:v>
                </c:pt>
                <c:pt idx="151">
                  <c:v>10.65</c:v>
                </c:pt>
                <c:pt idx="152">
                  <c:v>10.18</c:v>
                </c:pt>
                <c:pt idx="153">
                  <c:v>9.9700000000000006</c:v>
                </c:pt>
                <c:pt idx="154">
                  <c:v>10.050000000000001</c:v>
                </c:pt>
                <c:pt idx="155">
                  <c:v>10.6</c:v>
                </c:pt>
                <c:pt idx="156">
                  <c:v>10.3</c:v>
                </c:pt>
                <c:pt idx="157">
                  <c:v>10.26</c:v>
                </c:pt>
                <c:pt idx="158">
                  <c:v>10.53</c:v>
                </c:pt>
                <c:pt idx="159">
                  <c:v>11.36</c:v>
                </c:pt>
                <c:pt idx="160">
                  <c:v>11.26</c:v>
                </c:pt>
                <c:pt idx="161">
                  <c:v>10.64</c:v>
                </c:pt>
                <c:pt idx="162">
                  <c:v>10.99</c:v>
                </c:pt>
                <c:pt idx="163">
                  <c:v>11.56</c:v>
                </c:pt>
                <c:pt idx="164">
                  <c:v>12.04</c:v>
                </c:pt>
                <c:pt idx="165">
                  <c:v>11.51</c:v>
                </c:pt>
                <c:pt idx="166">
                  <c:v>12.14</c:v>
                </c:pt>
                <c:pt idx="167">
                  <c:v>12</c:v>
                </c:pt>
                <c:pt idx="168">
                  <c:v>11.91</c:v>
                </c:pt>
                <c:pt idx="169">
                  <c:v>11.47</c:v>
                </c:pt>
                <c:pt idx="170">
                  <c:v>10.87</c:v>
                </c:pt>
                <c:pt idx="171">
                  <c:v>10.15</c:v>
                </c:pt>
                <c:pt idx="172">
                  <c:v>10.74</c:v>
                </c:pt>
                <c:pt idx="173">
                  <c:v>10.59</c:v>
                </c:pt>
                <c:pt idx="174">
                  <c:v>10.85</c:v>
                </c:pt>
                <c:pt idx="175">
                  <c:v>10.4</c:v>
                </c:pt>
                <c:pt idx="176">
                  <c:v>10.77</c:v>
                </c:pt>
                <c:pt idx="177">
                  <c:v>10.34</c:v>
                </c:pt>
                <c:pt idx="178">
                  <c:v>9.89</c:v>
                </c:pt>
                <c:pt idx="179">
                  <c:v>11.22</c:v>
                </c:pt>
                <c:pt idx="180">
                  <c:v>11.13</c:v>
                </c:pt>
                <c:pt idx="181">
                  <c:v>11.45</c:v>
                </c:pt>
                <c:pt idx="182">
                  <c:v>10.96</c:v>
                </c:pt>
                <c:pt idx="183">
                  <c:v>10.42</c:v>
                </c:pt>
                <c:pt idx="184">
                  <c:v>10.31</c:v>
                </c:pt>
                <c:pt idx="185">
                  <c:v>10.08</c:v>
                </c:pt>
                <c:pt idx="186">
                  <c:v>10.55</c:v>
                </c:pt>
                <c:pt idx="187">
                  <c:v>10.65</c:v>
                </c:pt>
                <c:pt idx="188">
                  <c:v>10.32</c:v>
                </c:pt>
                <c:pt idx="189">
                  <c:v>10.44</c:v>
                </c:pt>
                <c:pt idx="190">
                  <c:v>11.1</c:v>
                </c:pt>
                <c:pt idx="191">
                  <c:v>11.61</c:v>
                </c:pt>
                <c:pt idx="192">
                  <c:v>10.34</c:v>
                </c:pt>
                <c:pt idx="193">
                  <c:v>10.23</c:v>
                </c:pt>
                <c:pt idx="194">
                  <c:v>10.220000000000001</c:v>
                </c:pt>
                <c:pt idx="195">
                  <c:v>10.02</c:v>
                </c:pt>
                <c:pt idx="196">
                  <c:v>10.24</c:v>
                </c:pt>
                <c:pt idx="197">
                  <c:v>10.199999999999999</c:v>
                </c:pt>
                <c:pt idx="198">
                  <c:v>10.18</c:v>
                </c:pt>
                <c:pt idx="199">
                  <c:v>10.58</c:v>
                </c:pt>
                <c:pt idx="200">
                  <c:v>11.15</c:v>
                </c:pt>
                <c:pt idx="201">
                  <c:v>18.309999999999999</c:v>
                </c:pt>
                <c:pt idx="202">
                  <c:v>15.42</c:v>
                </c:pt>
                <c:pt idx="203">
                  <c:v>15.82</c:v>
                </c:pt>
                <c:pt idx="204">
                  <c:v>18.61</c:v>
                </c:pt>
                <c:pt idx="205">
                  <c:v>19.63</c:v>
                </c:pt>
                <c:pt idx="206">
                  <c:v>15.96</c:v>
                </c:pt>
                <c:pt idx="207">
                  <c:v>15.24</c:v>
                </c:pt>
                <c:pt idx="208">
                  <c:v>14.29</c:v>
                </c:pt>
                <c:pt idx="209">
                  <c:v>14.09</c:v>
                </c:pt>
                <c:pt idx="210">
                  <c:v>13.99</c:v>
                </c:pt>
                <c:pt idx="211">
                  <c:v>18.13</c:v>
                </c:pt>
                <c:pt idx="212">
                  <c:v>17.27</c:v>
                </c:pt>
                <c:pt idx="213">
                  <c:v>16.43</c:v>
                </c:pt>
                <c:pt idx="214">
                  <c:v>16.79</c:v>
                </c:pt>
                <c:pt idx="215">
                  <c:v>14.59</c:v>
                </c:pt>
                <c:pt idx="216">
                  <c:v>13.27</c:v>
                </c:pt>
                <c:pt idx="217">
                  <c:v>12.19</c:v>
                </c:pt>
                <c:pt idx="218">
                  <c:v>12.93</c:v>
                </c:pt>
                <c:pt idx="219">
                  <c:v>12.95</c:v>
                </c:pt>
                <c:pt idx="220">
                  <c:v>13.16</c:v>
                </c:pt>
                <c:pt idx="221">
                  <c:v>13.48</c:v>
                </c:pt>
                <c:pt idx="222">
                  <c:v>14.98</c:v>
                </c:pt>
                <c:pt idx="223">
                  <c:v>15.14</c:v>
                </c:pt>
                <c:pt idx="224">
                  <c:v>14.64</c:v>
                </c:pt>
                <c:pt idx="225">
                  <c:v>14.53</c:v>
                </c:pt>
                <c:pt idx="226">
                  <c:v>13.46</c:v>
                </c:pt>
                <c:pt idx="227">
                  <c:v>13.24</c:v>
                </c:pt>
                <c:pt idx="228">
                  <c:v>13.23</c:v>
                </c:pt>
                <c:pt idx="229">
                  <c:v>13.14</c:v>
                </c:pt>
                <c:pt idx="230">
                  <c:v>12.68</c:v>
                </c:pt>
                <c:pt idx="231">
                  <c:v>13.49</c:v>
                </c:pt>
                <c:pt idx="232">
                  <c:v>12.71</c:v>
                </c:pt>
                <c:pt idx="233">
                  <c:v>12.2</c:v>
                </c:pt>
                <c:pt idx="234">
                  <c:v>11.98</c:v>
                </c:pt>
                <c:pt idx="235">
                  <c:v>12.14</c:v>
                </c:pt>
                <c:pt idx="236">
                  <c:v>12.42</c:v>
                </c:pt>
                <c:pt idx="237">
                  <c:v>12.54</c:v>
                </c:pt>
                <c:pt idx="238">
                  <c:v>12.07</c:v>
                </c:pt>
                <c:pt idx="239">
                  <c:v>13.04</c:v>
                </c:pt>
                <c:pt idx="240">
                  <c:v>13.12</c:v>
                </c:pt>
                <c:pt idx="241">
                  <c:v>13.21</c:v>
                </c:pt>
                <c:pt idx="242">
                  <c:v>12.79</c:v>
                </c:pt>
                <c:pt idx="243">
                  <c:v>12.45</c:v>
                </c:pt>
                <c:pt idx="244">
                  <c:v>14.22</c:v>
                </c:pt>
                <c:pt idx="245">
                  <c:v>13.51</c:v>
                </c:pt>
                <c:pt idx="246">
                  <c:v>13.08</c:v>
                </c:pt>
                <c:pt idx="247">
                  <c:v>13.09</c:v>
                </c:pt>
                <c:pt idx="248">
                  <c:v>12.91</c:v>
                </c:pt>
                <c:pt idx="249">
                  <c:v>13.15</c:v>
                </c:pt>
                <c:pt idx="250">
                  <c:v>13.21</c:v>
                </c:pt>
                <c:pt idx="251">
                  <c:v>12.88</c:v>
                </c:pt>
                <c:pt idx="252">
                  <c:v>13.6</c:v>
                </c:pt>
                <c:pt idx="253">
                  <c:v>12.95</c:v>
                </c:pt>
                <c:pt idx="254">
                  <c:v>13.96</c:v>
                </c:pt>
                <c:pt idx="255">
                  <c:v>14.01</c:v>
                </c:pt>
                <c:pt idx="256">
                  <c:v>13.5</c:v>
                </c:pt>
                <c:pt idx="257">
                  <c:v>13.51</c:v>
                </c:pt>
                <c:pt idx="258">
                  <c:v>12.76</c:v>
                </c:pt>
                <c:pt idx="259">
                  <c:v>13.3</c:v>
                </c:pt>
                <c:pt idx="260">
                  <c:v>13.06</c:v>
                </c:pt>
                <c:pt idx="261">
                  <c:v>13.24</c:v>
                </c:pt>
                <c:pt idx="262">
                  <c:v>14.08</c:v>
                </c:pt>
                <c:pt idx="263">
                  <c:v>13.34</c:v>
                </c:pt>
                <c:pt idx="264">
                  <c:v>13.53</c:v>
                </c:pt>
                <c:pt idx="265">
                  <c:v>12.83</c:v>
                </c:pt>
                <c:pt idx="266">
                  <c:v>13.05</c:v>
                </c:pt>
                <c:pt idx="267">
                  <c:v>12.78</c:v>
                </c:pt>
                <c:pt idx="268">
                  <c:v>13.29</c:v>
                </c:pt>
                <c:pt idx="269">
                  <c:v>13.63</c:v>
                </c:pt>
                <c:pt idx="270">
                  <c:v>14.87</c:v>
                </c:pt>
                <c:pt idx="271">
                  <c:v>17.059999999999999</c:v>
                </c:pt>
                <c:pt idx="272">
                  <c:v>14.84</c:v>
                </c:pt>
                <c:pt idx="273">
                  <c:v>14.71</c:v>
                </c:pt>
                <c:pt idx="274">
                  <c:v>16.670000000000002</c:v>
                </c:pt>
                <c:pt idx="275">
                  <c:v>14.73</c:v>
                </c:pt>
                <c:pt idx="276">
                  <c:v>13.64</c:v>
                </c:pt>
                <c:pt idx="277">
                  <c:v>13.94</c:v>
                </c:pt>
                <c:pt idx="278">
                  <c:v>13.42</c:v>
                </c:pt>
                <c:pt idx="279">
                  <c:v>12.85</c:v>
                </c:pt>
                <c:pt idx="280">
                  <c:v>14.67</c:v>
                </c:pt>
                <c:pt idx="281">
                  <c:v>14.21</c:v>
                </c:pt>
                <c:pt idx="282">
                  <c:v>15.75</c:v>
                </c:pt>
                <c:pt idx="283">
                  <c:v>16.649999999999999</c:v>
                </c:pt>
                <c:pt idx="284">
                  <c:v>18.89</c:v>
                </c:pt>
                <c:pt idx="285">
                  <c:v>15.53</c:v>
                </c:pt>
                <c:pt idx="286">
                  <c:v>15.54</c:v>
                </c:pt>
                <c:pt idx="287">
                  <c:v>16.23</c:v>
                </c:pt>
                <c:pt idx="288">
                  <c:v>15.4</c:v>
                </c:pt>
                <c:pt idx="289">
                  <c:v>14.92</c:v>
                </c:pt>
                <c:pt idx="290">
                  <c:v>15.48</c:v>
                </c:pt>
                <c:pt idx="291">
                  <c:v>14.72</c:v>
                </c:pt>
                <c:pt idx="292">
                  <c:v>15.16</c:v>
                </c:pt>
                <c:pt idx="293">
                  <c:v>17.57</c:v>
                </c:pt>
                <c:pt idx="294">
                  <c:v>16.64</c:v>
                </c:pt>
                <c:pt idx="295">
                  <c:v>15.54</c:v>
                </c:pt>
                <c:pt idx="296">
                  <c:v>15.15</c:v>
                </c:pt>
                <c:pt idx="297">
                  <c:v>15.59</c:v>
                </c:pt>
                <c:pt idx="298">
                  <c:v>15.63</c:v>
                </c:pt>
                <c:pt idx="299">
                  <c:v>16</c:v>
                </c:pt>
                <c:pt idx="300">
                  <c:v>15.23</c:v>
                </c:pt>
                <c:pt idx="301">
                  <c:v>16.95</c:v>
                </c:pt>
                <c:pt idx="302">
                  <c:v>16.809999999999999</c:v>
                </c:pt>
                <c:pt idx="303">
                  <c:v>18.55</c:v>
                </c:pt>
                <c:pt idx="304">
                  <c:v>18.100000000000001</c:v>
                </c:pt>
                <c:pt idx="305">
                  <c:v>20.74</c:v>
                </c:pt>
                <c:pt idx="306">
                  <c:v>24.17</c:v>
                </c:pt>
                <c:pt idx="307">
                  <c:v>20.87</c:v>
                </c:pt>
                <c:pt idx="308">
                  <c:v>23.52</c:v>
                </c:pt>
                <c:pt idx="309">
                  <c:v>23.67</c:v>
                </c:pt>
                <c:pt idx="310">
                  <c:v>21.22</c:v>
                </c:pt>
                <c:pt idx="311">
                  <c:v>25.16</c:v>
                </c:pt>
                <c:pt idx="312">
                  <c:v>22.94</c:v>
                </c:pt>
                <c:pt idx="313">
                  <c:v>21.56</c:v>
                </c:pt>
                <c:pt idx="314">
                  <c:v>21.45</c:v>
                </c:pt>
                <c:pt idx="315">
                  <c:v>26.48</c:v>
                </c:pt>
                <c:pt idx="316">
                  <c:v>28.3</c:v>
                </c:pt>
                <c:pt idx="317">
                  <c:v>26.57</c:v>
                </c:pt>
                <c:pt idx="318">
                  <c:v>27.68</c:v>
                </c:pt>
                <c:pt idx="319">
                  <c:v>30.67</c:v>
                </c:pt>
                <c:pt idx="320">
                  <c:v>30.83</c:v>
                </c:pt>
                <c:pt idx="321">
                  <c:v>29.99</c:v>
                </c:pt>
                <c:pt idx="322">
                  <c:v>26.33</c:v>
                </c:pt>
                <c:pt idx="323">
                  <c:v>25.25</c:v>
                </c:pt>
                <c:pt idx="324">
                  <c:v>22.89</c:v>
                </c:pt>
                <c:pt idx="325">
                  <c:v>22.62</c:v>
                </c:pt>
                <c:pt idx="326">
                  <c:v>20.72</c:v>
                </c:pt>
                <c:pt idx="327">
                  <c:v>22.72</c:v>
                </c:pt>
                <c:pt idx="328">
                  <c:v>26.3</c:v>
                </c:pt>
                <c:pt idx="329">
                  <c:v>23.81</c:v>
                </c:pt>
                <c:pt idx="330">
                  <c:v>25.06</c:v>
                </c:pt>
                <c:pt idx="331">
                  <c:v>23.38</c:v>
                </c:pt>
                <c:pt idx="332">
                  <c:v>22.78</c:v>
                </c:pt>
                <c:pt idx="333">
                  <c:v>24.58</c:v>
                </c:pt>
                <c:pt idx="334">
                  <c:v>23.99</c:v>
                </c:pt>
                <c:pt idx="335">
                  <c:v>26.23</c:v>
                </c:pt>
                <c:pt idx="336">
                  <c:v>27.38</c:v>
                </c:pt>
                <c:pt idx="337">
                  <c:v>25.27</c:v>
                </c:pt>
                <c:pt idx="338">
                  <c:v>24.96</c:v>
                </c:pt>
                <c:pt idx="339">
                  <c:v>24.76</c:v>
                </c:pt>
                <c:pt idx="340">
                  <c:v>24.92</c:v>
                </c:pt>
                <c:pt idx="341">
                  <c:v>26.48</c:v>
                </c:pt>
                <c:pt idx="342">
                  <c:v>20.350000000000001</c:v>
                </c:pt>
                <c:pt idx="343">
                  <c:v>20.03</c:v>
                </c:pt>
                <c:pt idx="344">
                  <c:v>20.45</c:v>
                </c:pt>
                <c:pt idx="345">
                  <c:v>19</c:v>
                </c:pt>
                <c:pt idx="346">
                  <c:v>19.37</c:v>
                </c:pt>
                <c:pt idx="347">
                  <c:v>18.600000000000001</c:v>
                </c:pt>
                <c:pt idx="348">
                  <c:v>17.63</c:v>
                </c:pt>
                <c:pt idx="349">
                  <c:v>17</c:v>
                </c:pt>
                <c:pt idx="350">
                  <c:v>18</c:v>
                </c:pt>
                <c:pt idx="351">
                  <c:v>17.84</c:v>
                </c:pt>
                <c:pt idx="352">
                  <c:v>18.489999999999998</c:v>
                </c:pt>
                <c:pt idx="353">
                  <c:v>18.8</c:v>
                </c:pt>
                <c:pt idx="354">
                  <c:v>18.440000000000001</c:v>
                </c:pt>
                <c:pt idx="355">
                  <c:v>16.91</c:v>
                </c:pt>
                <c:pt idx="356">
                  <c:v>17.46</c:v>
                </c:pt>
                <c:pt idx="357">
                  <c:v>16.12</c:v>
                </c:pt>
                <c:pt idx="358">
                  <c:v>16.670000000000002</c:v>
                </c:pt>
                <c:pt idx="359">
                  <c:v>18.88</c:v>
                </c:pt>
                <c:pt idx="360">
                  <c:v>17.73</c:v>
                </c:pt>
                <c:pt idx="361">
                  <c:v>19.25</c:v>
                </c:pt>
                <c:pt idx="362">
                  <c:v>20.02</c:v>
                </c:pt>
                <c:pt idx="363">
                  <c:v>18.54</c:v>
                </c:pt>
                <c:pt idx="364">
                  <c:v>18.5</c:v>
                </c:pt>
                <c:pt idx="365">
                  <c:v>22.96</c:v>
                </c:pt>
                <c:pt idx="366">
                  <c:v>21.64</c:v>
                </c:pt>
                <c:pt idx="367">
                  <c:v>20.41</c:v>
                </c:pt>
                <c:pt idx="368">
                  <c:v>20.8</c:v>
                </c:pt>
                <c:pt idx="369">
                  <c:v>21.17</c:v>
                </c:pt>
                <c:pt idx="370">
                  <c:v>19.559999999999999</c:v>
                </c:pt>
                <c:pt idx="371">
                  <c:v>19.87</c:v>
                </c:pt>
                <c:pt idx="372">
                  <c:v>21.07</c:v>
                </c:pt>
                <c:pt idx="373">
                  <c:v>18.53</c:v>
                </c:pt>
                <c:pt idx="374">
                  <c:v>23.21</c:v>
                </c:pt>
                <c:pt idx="375">
                  <c:v>23.01</c:v>
                </c:pt>
                <c:pt idx="376">
                  <c:v>24.31</c:v>
                </c:pt>
                <c:pt idx="377">
                  <c:v>21.39</c:v>
                </c:pt>
                <c:pt idx="378">
                  <c:v>26.49</c:v>
                </c:pt>
                <c:pt idx="379">
                  <c:v>26.16</c:v>
                </c:pt>
                <c:pt idx="380">
                  <c:v>28.5</c:v>
                </c:pt>
                <c:pt idx="381">
                  <c:v>31.09</c:v>
                </c:pt>
                <c:pt idx="382">
                  <c:v>24.1</c:v>
                </c:pt>
                <c:pt idx="383">
                  <c:v>25.94</c:v>
                </c:pt>
                <c:pt idx="384">
                  <c:v>28.06</c:v>
                </c:pt>
                <c:pt idx="385">
                  <c:v>25.49</c:v>
                </c:pt>
                <c:pt idx="386">
                  <c:v>26.01</c:v>
                </c:pt>
                <c:pt idx="387">
                  <c:v>24.88</c:v>
                </c:pt>
                <c:pt idx="388">
                  <c:v>26.84</c:v>
                </c:pt>
                <c:pt idx="389">
                  <c:v>25.61</c:v>
                </c:pt>
                <c:pt idx="390">
                  <c:v>28.91</c:v>
                </c:pt>
                <c:pt idx="391">
                  <c:v>26.28</c:v>
                </c:pt>
                <c:pt idx="392">
                  <c:v>24.11</c:v>
                </c:pt>
                <c:pt idx="393">
                  <c:v>23.97</c:v>
                </c:pt>
                <c:pt idx="394">
                  <c:v>22.87</c:v>
                </c:pt>
                <c:pt idx="395">
                  <c:v>23.61</c:v>
                </c:pt>
                <c:pt idx="396">
                  <c:v>23.79</c:v>
                </c:pt>
                <c:pt idx="397">
                  <c:v>22.53</c:v>
                </c:pt>
                <c:pt idx="398">
                  <c:v>20.96</c:v>
                </c:pt>
                <c:pt idx="399">
                  <c:v>20.85</c:v>
                </c:pt>
                <c:pt idx="400">
                  <c:v>20.74</c:v>
                </c:pt>
                <c:pt idx="401">
                  <c:v>23.59</c:v>
                </c:pt>
                <c:pt idx="402">
                  <c:v>22.47</c:v>
                </c:pt>
                <c:pt idx="403">
                  <c:v>22.56</c:v>
                </c:pt>
                <c:pt idx="404">
                  <c:v>23.27</c:v>
                </c:pt>
                <c:pt idx="405">
                  <c:v>24.52</c:v>
                </c:pt>
                <c:pt idx="406">
                  <c:v>22.64</c:v>
                </c:pt>
                <c:pt idx="407">
                  <c:v>21.68</c:v>
                </c:pt>
                <c:pt idx="408">
                  <c:v>20.58</c:v>
                </c:pt>
                <c:pt idx="409">
                  <c:v>18.47</c:v>
                </c:pt>
                <c:pt idx="410">
                  <c:v>18.600000000000001</c:v>
                </c:pt>
                <c:pt idx="411">
                  <c:v>18.66</c:v>
                </c:pt>
                <c:pt idx="412">
                  <c:v>20.260000000000002</c:v>
                </c:pt>
                <c:pt idx="413">
                  <c:v>20.74</c:v>
                </c:pt>
                <c:pt idx="414">
                  <c:v>22.5</c:v>
                </c:pt>
                <c:pt idx="415">
                  <c:v>23.17</c:v>
                </c:pt>
                <c:pt idx="416">
                  <c:v>22.49</c:v>
                </c:pt>
                <c:pt idx="417">
                  <c:v>23.94</c:v>
                </c:pt>
                <c:pt idx="418">
                  <c:v>23.79</c:v>
                </c:pt>
                <c:pt idx="419">
                  <c:v>25.43</c:v>
                </c:pt>
                <c:pt idx="420">
                  <c:v>24.12</c:v>
                </c:pt>
                <c:pt idx="421">
                  <c:v>23.45</c:v>
                </c:pt>
                <c:pt idx="422">
                  <c:v>23.68</c:v>
                </c:pt>
                <c:pt idx="423">
                  <c:v>22.9</c:v>
                </c:pt>
                <c:pt idx="424">
                  <c:v>23.34</c:v>
                </c:pt>
                <c:pt idx="425">
                  <c:v>24.38</c:v>
                </c:pt>
                <c:pt idx="426">
                  <c:v>28.46</c:v>
                </c:pt>
                <c:pt idx="427">
                  <c:v>27.18</c:v>
                </c:pt>
                <c:pt idx="428">
                  <c:v>31.01</c:v>
                </c:pt>
                <c:pt idx="429">
                  <c:v>29.02</c:v>
                </c:pt>
                <c:pt idx="430">
                  <c:v>27.78</c:v>
                </c:pt>
                <c:pt idx="431">
                  <c:v>29.08</c:v>
                </c:pt>
                <c:pt idx="432">
                  <c:v>27.78</c:v>
                </c:pt>
                <c:pt idx="433">
                  <c:v>27.32</c:v>
                </c:pt>
                <c:pt idx="434">
                  <c:v>27.62</c:v>
                </c:pt>
                <c:pt idx="435">
                  <c:v>26.2</c:v>
                </c:pt>
                <c:pt idx="436">
                  <c:v>24.02</c:v>
                </c:pt>
                <c:pt idx="437">
                  <c:v>25.99</c:v>
                </c:pt>
                <c:pt idx="438">
                  <c:v>28.24</c:v>
                </c:pt>
                <c:pt idx="439">
                  <c:v>28.97</c:v>
                </c:pt>
                <c:pt idx="440">
                  <c:v>27.66</c:v>
                </c:pt>
                <c:pt idx="441">
                  <c:v>28.01</c:v>
                </c:pt>
                <c:pt idx="442">
                  <c:v>27.6</c:v>
                </c:pt>
                <c:pt idx="443">
                  <c:v>26.33</c:v>
                </c:pt>
                <c:pt idx="444">
                  <c:v>24.88</c:v>
                </c:pt>
                <c:pt idx="445">
                  <c:v>25.54</c:v>
                </c:pt>
                <c:pt idx="446">
                  <c:v>25.02</c:v>
                </c:pt>
                <c:pt idx="447">
                  <c:v>25.59</c:v>
                </c:pt>
                <c:pt idx="448">
                  <c:v>24.4</c:v>
                </c:pt>
                <c:pt idx="449">
                  <c:v>25.12</c:v>
                </c:pt>
                <c:pt idx="450">
                  <c:v>24.06</c:v>
                </c:pt>
                <c:pt idx="451">
                  <c:v>23.03</c:v>
                </c:pt>
                <c:pt idx="452">
                  <c:v>21.9</c:v>
                </c:pt>
                <c:pt idx="453">
                  <c:v>22.69</c:v>
                </c:pt>
                <c:pt idx="454">
                  <c:v>23.53</c:v>
                </c:pt>
                <c:pt idx="455">
                  <c:v>26.54</c:v>
                </c:pt>
                <c:pt idx="456">
                  <c:v>26.28</c:v>
                </c:pt>
                <c:pt idx="457">
                  <c:v>25.52</c:v>
                </c:pt>
                <c:pt idx="458">
                  <c:v>24.6</c:v>
                </c:pt>
                <c:pt idx="459">
                  <c:v>27.55</c:v>
                </c:pt>
                <c:pt idx="460">
                  <c:v>27.49</c:v>
                </c:pt>
                <c:pt idx="461">
                  <c:v>29.38</c:v>
                </c:pt>
                <c:pt idx="462">
                  <c:v>26.36</c:v>
                </c:pt>
                <c:pt idx="463">
                  <c:v>27.22</c:v>
                </c:pt>
                <c:pt idx="464">
                  <c:v>27.29</c:v>
                </c:pt>
                <c:pt idx="465">
                  <c:v>31.16</c:v>
                </c:pt>
                <c:pt idx="466">
                  <c:v>32.24</c:v>
                </c:pt>
                <c:pt idx="467">
                  <c:v>25.79</c:v>
                </c:pt>
                <c:pt idx="468">
                  <c:v>29.84</c:v>
                </c:pt>
                <c:pt idx="469">
                  <c:v>26.62</c:v>
                </c:pt>
                <c:pt idx="470">
                  <c:v>25.73</c:v>
                </c:pt>
                <c:pt idx="471">
                  <c:v>25.72</c:v>
                </c:pt>
                <c:pt idx="472">
                  <c:v>26.08</c:v>
                </c:pt>
                <c:pt idx="473">
                  <c:v>25.88</c:v>
                </c:pt>
                <c:pt idx="474">
                  <c:v>25.71</c:v>
                </c:pt>
                <c:pt idx="475">
                  <c:v>25.61</c:v>
                </c:pt>
                <c:pt idx="476">
                  <c:v>22.68</c:v>
                </c:pt>
                <c:pt idx="477">
                  <c:v>23.43</c:v>
                </c:pt>
                <c:pt idx="478">
                  <c:v>23.21</c:v>
                </c:pt>
                <c:pt idx="479">
                  <c:v>22.45</c:v>
                </c:pt>
                <c:pt idx="480">
                  <c:v>22.42</c:v>
                </c:pt>
                <c:pt idx="481">
                  <c:v>22.36</c:v>
                </c:pt>
                <c:pt idx="482">
                  <c:v>22.81</c:v>
                </c:pt>
                <c:pt idx="483">
                  <c:v>21.98</c:v>
                </c:pt>
                <c:pt idx="484">
                  <c:v>23.46</c:v>
                </c:pt>
                <c:pt idx="485">
                  <c:v>23.82</c:v>
                </c:pt>
                <c:pt idx="486">
                  <c:v>22.78</c:v>
                </c:pt>
                <c:pt idx="487">
                  <c:v>20.53</c:v>
                </c:pt>
                <c:pt idx="488">
                  <c:v>20.37</c:v>
                </c:pt>
                <c:pt idx="489">
                  <c:v>20.13</c:v>
                </c:pt>
                <c:pt idx="490">
                  <c:v>20.5</c:v>
                </c:pt>
                <c:pt idx="491">
                  <c:v>20.87</c:v>
                </c:pt>
                <c:pt idx="492">
                  <c:v>20.260000000000002</c:v>
                </c:pt>
                <c:pt idx="493">
                  <c:v>20.059999999999999</c:v>
                </c:pt>
                <c:pt idx="494">
                  <c:v>19.59</c:v>
                </c:pt>
                <c:pt idx="495">
                  <c:v>19.64</c:v>
                </c:pt>
                <c:pt idx="496">
                  <c:v>20.239999999999998</c:v>
                </c:pt>
                <c:pt idx="497">
                  <c:v>20.79</c:v>
                </c:pt>
                <c:pt idx="498">
                  <c:v>18.88</c:v>
                </c:pt>
                <c:pt idx="499">
                  <c:v>18.18</c:v>
                </c:pt>
                <c:pt idx="500">
                  <c:v>18.899999999999999</c:v>
                </c:pt>
                <c:pt idx="501">
                  <c:v>18.21</c:v>
                </c:pt>
                <c:pt idx="502">
                  <c:v>19.73</c:v>
                </c:pt>
                <c:pt idx="503">
                  <c:v>19.399999999999999</c:v>
                </c:pt>
                <c:pt idx="504">
                  <c:v>19.41</c:v>
                </c:pt>
                <c:pt idx="505">
                  <c:v>17.79</c:v>
                </c:pt>
                <c:pt idx="506">
                  <c:v>17.98</c:v>
                </c:pt>
                <c:pt idx="507">
                  <c:v>17.66</c:v>
                </c:pt>
                <c:pt idx="508">
                  <c:v>16.3</c:v>
                </c:pt>
                <c:pt idx="509">
                  <c:v>16.47</c:v>
                </c:pt>
                <c:pt idx="510">
                  <c:v>17.010000000000002</c:v>
                </c:pt>
                <c:pt idx="511">
                  <c:v>17.579999999999998</c:v>
                </c:pt>
                <c:pt idx="512">
                  <c:v>18.59</c:v>
                </c:pt>
                <c:pt idx="513">
                  <c:v>18.05</c:v>
                </c:pt>
                <c:pt idx="514">
                  <c:v>19.55</c:v>
                </c:pt>
                <c:pt idx="515">
                  <c:v>19.64</c:v>
                </c:pt>
                <c:pt idx="516">
                  <c:v>19.07</c:v>
                </c:pt>
                <c:pt idx="517">
                  <c:v>18.14</c:v>
                </c:pt>
                <c:pt idx="518">
                  <c:v>17.829999999999998</c:v>
                </c:pt>
                <c:pt idx="519">
                  <c:v>19.829999999999998</c:v>
                </c:pt>
                <c:pt idx="520">
                  <c:v>20.239999999999998</c:v>
                </c:pt>
                <c:pt idx="521">
                  <c:v>20.8</c:v>
                </c:pt>
                <c:pt idx="522">
                  <c:v>18.63</c:v>
                </c:pt>
                <c:pt idx="523">
                  <c:v>23.56</c:v>
                </c:pt>
                <c:pt idx="524">
                  <c:v>23.12</c:v>
                </c:pt>
                <c:pt idx="525">
                  <c:v>23.18</c:v>
                </c:pt>
                <c:pt idx="526">
                  <c:v>24.12</c:v>
                </c:pt>
                <c:pt idx="527">
                  <c:v>23.33</c:v>
                </c:pt>
                <c:pt idx="528">
                  <c:v>21.22</c:v>
                </c:pt>
                <c:pt idx="529">
                  <c:v>20.95</c:v>
                </c:pt>
                <c:pt idx="530">
                  <c:v>21.13</c:v>
                </c:pt>
                <c:pt idx="531">
                  <c:v>22.24</c:v>
                </c:pt>
                <c:pt idx="532">
                  <c:v>21.58</c:v>
                </c:pt>
                <c:pt idx="533">
                  <c:v>22.87</c:v>
                </c:pt>
                <c:pt idx="534">
                  <c:v>22.64</c:v>
                </c:pt>
                <c:pt idx="535">
                  <c:v>22.42</c:v>
                </c:pt>
                <c:pt idx="536">
                  <c:v>21.14</c:v>
                </c:pt>
                <c:pt idx="537">
                  <c:v>23.93</c:v>
                </c:pt>
                <c:pt idx="538">
                  <c:v>23.44</c:v>
                </c:pt>
                <c:pt idx="539">
                  <c:v>23.95</c:v>
                </c:pt>
                <c:pt idx="540">
                  <c:v>23.65</c:v>
                </c:pt>
                <c:pt idx="541">
                  <c:v>25.92</c:v>
                </c:pt>
                <c:pt idx="542">
                  <c:v>24.78</c:v>
                </c:pt>
                <c:pt idx="543">
                  <c:v>25.78</c:v>
                </c:pt>
                <c:pt idx="544">
                  <c:v>23.15</c:v>
                </c:pt>
                <c:pt idx="545">
                  <c:v>25.23</c:v>
                </c:pt>
                <c:pt idx="546">
                  <c:v>25.59</c:v>
                </c:pt>
                <c:pt idx="547">
                  <c:v>27.49</c:v>
                </c:pt>
                <c:pt idx="548">
                  <c:v>28.48</c:v>
                </c:pt>
                <c:pt idx="549">
                  <c:v>28.54</c:v>
                </c:pt>
                <c:pt idx="550">
                  <c:v>25.1</c:v>
                </c:pt>
                <c:pt idx="551">
                  <c:v>25.01</c:v>
                </c:pt>
                <c:pt idx="552">
                  <c:v>24.05</c:v>
                </c:pt>
                <c:pt idx="553">
                  <c:v>23.05</c:v>
                </c:pt>
                <c:pt idx="554">
                  <c:v>21.18</c:v>
                </c:pt>
                <c:pt idx="555">
                  <c:v>21.31</c:v>
                </c:pt>
                <c:pt idx="556">
                  <c:v>23.44</c:v>
                </c:pt>
                <c:pt idx="557">
                  <c:v>22.91</c:v>
                </c:pt>
                <c:pt idx="558">
                  <c:v>24.23</c:v>
                </c:pt>
                <c:pt idx="559">
                  <c:v>22.03</c:v>
                </c:pt>
                <c:pt idx="560">
                  <c:v>21.21</c:v>
                </c:pt>
                <c:pt idx="561">
                  <c:v>22.94</c:v>
                </c:pt>
                <c:pt idx="562">
                  <c:v>22.57</c:v>
                </c:pt>
                <c:pt idx="563">
                  <c:v>23.49</c:v>
                </c:pt>
                <c:pt idx="564">
                  <c:v>21.14</c:v>
                </c:pt>
                <c:pt idx="565">
                  <c:v>20.23</c:v>
                </c:pt>
                <c:pt idx="566">
                  <c:v>21.15</c:v>
                </c:pt>
                <c:pt idx="567">
                  <c:v>20.66</c:v>
                </c:pt>
                <c:pt idx="568">
                  <c:v>20.12</c:v>
                </c:pt>
                <c:pt idx="569">
                  <c:v>21.17</c:v>
                </c:pt>
                <c:pt idx="570">
                  <c:v>21.55</c:v>
                </c:pt>
                <c:pt idx="571">
                  <c:v>20.34</c:v>
                </c:pt>
                <c:pt idx="572">
                  <c:v>19.579999999999998</c:v>
                </c:pt>
                <c:pt idx="573">
                  <c:v>20.98</c:v>
                </c:pt>
                <c:pt idx="574">
                  <c:v>21.28</c:v>
                </c:pt>
                <c:pt idx="575">
                  <c:v>20.420000000000002</c:v>
                </c:pt>
                <c:pt idx="576">
                  <c:v>19.82</c:v>
                </c:pt>
                <c:pt idx="577">
                  <c:v>18.809999999999999</c:v>
                </c:pt>
                <c:pt idx="578">
                  <c:v>20.97</c:v>
                </c:pt>
                <c:pt idx="579">
                  <c:v>20.49</c:v>
                </c:pt>
                <c:pt idx="580">
                  <c:v>19.760000000000002</c:v>
                </c:pt>
                <c:pt idx="581">
                  <c:v>19.43</c:v>
                </c:pt>
                <c:pt idx="582">
                  <c:v>20.65</c:v>
                </c:pt>
                <c:pt idx="583">
                  <c:v>21.99</c:v>
                </c:pt>
                <c:pt idx="584">
                  <c:v>21.43</c:v>
                </c:pt>
                <c:pt idx="585">
                  <c:v>24.03</c:v>
                </c:pt>
                <c:pt idx="586">
                  <c:v>23.06</c:v>
                </c:pt>
                <c:pt idx="587">
                  <c:v>22.64</c:v>
                </c:pt>
                <c:pt idx="588">
                  <c:v>25.47</c:v>
                </c:pt>
                <c:pt idx="589">
                  <c:v>24.52</c:v>
                </c:pt>
                <c:pt idx="590">
                  <c:v>24.39</c:v>
                </c:pt>
                <c:pt idx="591">
                  <c:v>25.66</c:v>
                </c:pt>
                <c:pt idx="592">
                  <c:v>31.7</c:v>
                </c:pt>
                <c:pt idx="593">
                  <c:v>30.3</c:v>
                </c:pt>
                <c:pt idx="594">
                  <c:v>36.22</c:v>
                </c:pt>
                <c:pt idx="595">
                  <c:v>33.1</c:v>
                </c:pt>
                <c:pt idx="596">
                  <c:v>32.07</c:v>
                </c:pt>
                <c:pt idx="597">
                  <c:v>33.85</c:v>
                </c:pt>
                <c:pt idx="598">
                  <c:v>35.72</c:v>
                </c:pt>
                <c:pt idx="599">
                  <c:v>35.19</c:v>
                </c:pt>
                <c:pt idx="600">
                  <c:v>32.82</c:v>
                </c:pt>
                <c:pt idx="601">
                  <c:v>34.74</c:v>
                </c:pt>
                <c:pt idx="602">
                  <c:v>46.72</c:v>
                </c:pt>
                <c:pt idx="603">
                  <c:v>39.39</c:v>
                </c:pt>
                <c:pt idx="604">
                  <c:v>39.81</c:v>
                </c:pt>
                <c:pt idx="605">
                  <c:v>45.26</c:v>
                </c:pt>
                <c:pt idx="606">
                  <c:v>45.14</c:v>
                </c:pt>
                <c:pt idx="607">
                  <c:v>52.05</c:v>
                </c:pt>
                <c:pt idx="608">
                  <c:v>53.68</c:v>
                </c:pt>
                <c:pt idx="609">
                  <c:v>57.53</c:v>
                </c:pt>
                <c:pt idx="610">
                  <c:v>63.92</c:v>
                </c:pt>
                <c:pt idx="611">
                  <c:v>69.95</c:v>
                </c:pt>
                <c:pt idx="612">
                  <c:v>54.99</c:v>
                </c:pt>
                <c:pt idx="613">
                  <c:v>55.13</c:v>
                </c:pt>
                <c:pt idx="614">
                  <c:v>69.25</c:v>
                </c:pt>
                <c:pt idx="615">
                  <c:v>67.61</c:v>
                </c:pt>
                <c:pt idx="616">
                  <c:v>70.33</c:v>
                </c:pt>
                <c:pt idx="617">
                  <c:v>52.97</c:v>
                </c:pt>
                <c:pt idx="618">
                  <c:v>53.11</c:v>
                </c:pt>
                <c:pt idx="619">
                  <c:v>69.650000000000006</c:v>
                </c:pt>
                <c:pt idx="620">
                  <c:v>67.8</c:v>
                </c:pt>
                <c:pt idx="621">
                  <c:v>79.13</c:v>
                </c:pt>
                <c:pt idx="622">
                  <c:v>80.06</c:v>
                </c:pt>
                <c:pt idx="623">
                  <c:v>66.959999999999994</c:v>
                </c:pt>
                <c:pt idx="624">
                  <c:v>69.959999999999994</c:v>
                </c:pt>
                <c:pt idx="625">
                  <c:v>62.9</c:v>
                </c:pt>
                <c:pt idx="626">
                  <c:v>59.89</c:v>
                </c:pt>
                <c:pt idx="627">
                  <c:v>53.68</c:v>
                </c:pt>
                <c:pt idx="628">
                  <c:v>47.73</c:v>
                </c:pt>
                <c:pt idx="629">
                  <c:v>54.56</c:v>
                </c:pt>
                <c:pt idx="630">
                  <c:v>63.68</c:v>
                </c:pt>
                <c:pt idx="631">
                  <c:v>56.1</c:v>
                </c:pt>
                <c:pt idx="632">
                  <c:v>59.98</c:v>
                </c:pt>
                <c:pt idx="633">
                  <c:v>61.44</c:v>
                </c:pt>
                <c:pt idx="634">
                  <c:v>66.459999999999994</c:v>
                </c:pt>
                <c:pt idx="635">
                  <c:v>59.83</c:v>
                </c:pt>
                <c:pt idx="636">
                  <c:v>66.31</c:v>
                </c:pt>
                <c:pt idx="637">
                  <c:v>69.150000000000006</c:v>
                </c:pt>
                <c:pt idx="638">
                  <c:v>67.64</c:v>
                </c:pt>
                <c:pt idx="639">
                  <c:v>74.260000000000005</c:v>
                </c:pt>
                <c:pt idx="640">
                  <c:v>80.86</c:v>
                </c:pt>
                <c:pt idx="641">
                  <c:v>72.67</c:v>
                </c:pt>
                <c:pt idx="642">
                  <c:v>64.7</c:v>
                </c:pt>
                <c:pt idx="643">
                  <c:v>60.9</c:v>
                </c:pt>
                <c:pt idx="644">
                  <c:v>54.92</c:v>
                </c:pt>
                <c:pt idx="645">
                  <c:v>55.28</c:v>
                </c:pt>
                <c:pt idx="646">
                  <c:v>68.510000000000005</c:v>
                </c:pt>
                <c:pt idx="647">
                  <c:v>62.98</c:v>
                </c:pt>
                <c:pt idx="648">
                  <c:v>60.72</c:v>
                </c:pt>
                <c:pt idx="649">
                  <c:v>63.64</c:v>
                </c:pt>
                <c:pt idx="650">
                  <c:v>59.93</c:v>
                </c:pt>
                <c:pt idx="651">
                  <c:v>58.49</c:v>
                </c:pt>
                <c:pt idx="652">
                  <c:v>58.91</c:v>
                </c:pt>
                <c:pt idx="653">
                  <c:v>55.73</c:v>
                </c:pt>
                <c:pt idx="654">
                  <c:v>55.78</c:v>
                </c:pt>
                <c:pt idx="655">
                  <c:v>54.28</c:v>
                </c:pt>
                <c:pt idx="656">
                  <c:v>56.76</c:v>
                </c:pt>
                <c:pt idx="657">
                  <c:v>52.37</c:v>
                </c:pt>
                <c:pt idx="658">
                  <c:v>49.84</c:v>
                </c:pt>
                <c:pt idx="659">
                  <c:v>47.34</c:v>
                </c:pt>
                <c:pt idx="660">
                  <c:v>44.93</c:v>
                </c:pt>
                <c:pt idx="661">
                  <c:v>44.56</c:v>
                </c:pt>
                <c:pt idx="662">
                  <c:v>45.02</c:v>
                </c:pt>
                <c:pt idx="663">
                  <c:v>44.21</c:v>
                </c:pt>
                <c:pt idx="664">
                  <c:v>43.38</c:v>
                </c:pt>
                <c:pt idx="665">
                  <c:v>43.9</c:v>
                </c:pt>
                <c:pt idx="666">
                  <c:v>41.63</c:v>
                </c:pt>
                <c:pt idx="667">
                  <c:v>40</c:v>
                </c:pt>
                <c:pt idx="668">
                  <c:v>39.19</c:v>
                </c:pt>
                <c:pt idx="669">
                  <c:v>39.08</c:v>
                </c:pt>
                <c:pt idx="670">
                  <c:v>38.56</c:v>
                </c:pt>
                <c:pt idx="671">
                  <c:v>43.39</c:v>
                </c:pt>
                <c:pt idx="672">
                  <c:v>42.56</c:v>
                </c:pt>
                <c:pt idx="673">
                  <c:v>42.82</c:v>
                </c:pt>
                <c:pt idx="674">
                  <c:v>45.84</c:v>
                </c:pt>
                <c:pt idx="675">
                  <c:v>43.27</c:v>
                </c:pt>
                <c:pt idx="676">
                  <c:v>49.14</c:v>
                </c:pt>
                <c:pt idx="677">
                  <c:v>51</c:v>
                </c:pt>
                <c:pt idx="678">
                  <c:v>46.11</c:v>
                </c:pt>
                <c:pt idx="679">
                  <c:v>56.65</c:v>
                </c:pt>
                <c:pt idx="680">
                  <c:v>46.42</c:v>
                </c:pt>
                <c:pt idx="681">
                  <c:v>47.29</c:v>
                </c:pt>
                <c:pt idx="682">
                  <c:v>47.27</c:v>
                </c:pt>
                <c:pt idx="683">
                  <c:v>45.69</c:v>
                </c:pt>
                <c:pt idx="684">
                  <c:v>42.25</c:v>
                </c:pt>
                <c:pt idx="685">
                  <c:v>39.659999999999997</c:v>
                </c:pt>
                <c:pt idx="686">
                  <c:v>42.63</c:v>
                </c:pt>
                <c:pt idx="687">
                  <c:v>44.84</c:v>
                </c:pt>
                <c:pt idx="688">
                  <c:v>45.52</c:v>
                </c:pt>
                <c:pt idx="689">
                  <c:v>43.06</c:v>
                </c:pt>
                <c:pt idx="690">
                  <c:v>43.85</c:v>
                </c:pt>
                <c:pt idx="691">
                  <c:v>43.73</c:v>
                </c:pt>
                <c:pt idx="692">
                  <c:v>43.37</c:v>
                </c:pt>
                <c:pt idx="693">
                  <c:v>43.64</c:v>
                </c:pt>
                <c:pt idx="694">
                  <c:v>46.67</c:v>
                </c:pt>
                <c:pt idx="695">
                  <c:v>44.53</c:v>
                </c:pt>
                <c:pt idx="696">
                  <c:v>41.25</c:v>
                </c:pt>
                <c:pt idx="697">
                  <c:v>42.93</c:v>
                </c:pt>
                <c:pt idx="698">
                  <c:v>48.66</c:v>
                </c:pt>
                <c:pt idx="699">
                  <c:v>48.46</c:v>
                </c:pt>
                <c:pt idx="700">
                  <c:v>47.08</c:v>
                </c:pt>
                <c:pt idx="701">
                  <c:v>49.3</c:v>
                </c:pt>
                <c:pt idx="702">
                  <c:v>52.62</c:v>
                </c:pt>
                <c:pt idx="703">
                  <c:v>45.49</c:v>
                </c:pt>
                <c:pt idx="704">
                  <c:v>44.67</c:v>
                </c:pt>
                <c:pt idx="705">
                  <c:v>44.66</c:v>
                </c:pt>
                <c:pt idx="706">
                  <c:v>46.35</c:v>
                </c:pt>
                <c:pt idx="707">
                  <c:v>52.65</c:v>
                </c:pt>
                <c:pt idx="708">
                  <c:v>50.93</c:v>
                </c:pt>
                <c:pt idx="709">
                  <c:v>47.56</c:v>
                </c:pt>
                <c:pt idx="710">
                  <c:v>50.17</c:v>
                </c:pt>
                <c:pt idx="711">
                  <c:v>49.33</c:v>
                </c:pt>
                <c:pt idx="712">
                  <c:v>49.68</c:v>
                </c:pt>
                <c:pt idx="713">
                  <c:v>44.37</c:v>
                </c:pt>
                <c:pt idx="714">
                  <c:v>43.61</c:v>
                </c:pt>
                <c:pt idx="715">
                  <c:v>41.18</c:v>
                </c:pt>
                <c:pt idx="716">
                  <c:v>42.36</c:v>
                </c:pt>
                <c:pt idx="717">
                  <c:v>43.74</c:v>
                </c:pt>
                <c:pt idx="718">
                  <c:v>40.799999999999997</c:v>
                </c:pt>
                <c:pt idx="719">
                  <c:v>40.06</c:v>
                </c:pt>
                <c:pt idx="720">
                  <c:v>43.68</c:v>
                </c:pt>
                <c:pt idx="721">
                  <c:v>45.89</c:v>
                </c:pt>
                <c:pt idx="722">
                  <c:v>43.23</c:v>
                </c:pt>
                <c:pt idx="723">
                  <c:v>42.93</c:v>
                </c:pt>
                <c:pt idx="724">
                  <c:v>42.25</c:v>
                </c:pt>
                <c:pt idx="725">
                  <c:v>40.36</c:v>
                </c:pt>
                <c:pt idx="726">
                  <c:v>41.04</c:v>
                </c:pt>
                <c:pt idx="727">
                  <c:v>45.54</c:v>
                </c:pt>
                <c:pt idx="728">
                  <c:v>44.14</c:v>
                </c:pt>
                <c:pt idx="729">
                  <c:v>42.28</c:v>
                </c:pt>
                <c:pt idx="730">
                  <c:v>42.04</c:v>
                </c:pt>
                <c:pt idx="731">
                  <c:v>39.700000000000003</c:v>
                </c:pt>
                <c:pt idx="732">
                  <c:v>40.93</c:v>
                </c:pt>
                <c:pt idx="733">
                  <c:v>40.39</c:v>
                </c:pt>
                <c:pt idx="734">
                  <c:v>38.85</c:v>
                </c:pt>
                <c:pt idx="735">
                  <c:v>36.53</c:v>
                </c:pt>
                <c:pt idx="736">
                  <c:v>37.81</c:v>
                </c:pt>
                <c:pt idx="737">
                  <c:v>37.67</c:v>
                </c:pt>
                <c:pt idx="738">
                  <c:v>36.17</c:v>
                </c:pt>
                <c:pt idx="739">
                  <c:v>35.79</c:v>
                </c:pt>
                <c:pt idx="740">
                  <c:v>33.94</c:v>
                </c:pt>
                <c:pt idx="741">
                  <c:v>39.18</c:v>
                </c:pt>
                <c:pt idx="742">
                  <c:v>37.14</c:v>
                </c:pt>
                <c:pt idx="743">
                  <c:v>38.1</c:v>
                </c:pt>
                <c:pt idx="744">
                  <c:v>37.15</c:v>
                </c:pt>
                <c:pt idx="745">
                  <c:v>36.82</c:v>
                </c:pt>
                <c:pt idx="746">
                  <c:v>38.32</c:v>
                </c:pt>
                <c:pt idx="747">
                  <c:v>37.950000000000003</c:v>
                </c:pt>
                <c:pt idx="748">
                  <c:v>36.08</c:v>
                </c:pt>
                <c:pt idx="749">
                  <c:v>36.5</c:v>
                </c:pt>
                <c:pt idx="750">
                  <c:v>35.299999999999997</c:v>
                </c:pt>
                <c:pt idx="751">
                  <c:v>34.53</c:v>
                </c:pt>
                <c:pt idx="752">
                  <c:v>33.36</c:v>
                </c:pt>
                <c:pt idx="753">
                  <c:v>32.450000000000003</c:v>
                </c:pt>
                <c:pt idx="754">
                  <c:v>33.44</c:v>
                </c:pt>
                <c:pt idx="755">
                  <c:v>32.049999999999997</c:v>
                </c:pt>
                <c:pt idx="756">
                  <c:v>32.869999999999997</c:v>
                </c:pt>
                <c:pt idx="757">
                  <c:v>31.8</c:v>
                </c:pt>
                <c:pt idx="758">
                  <c:v>33.65</c:v>
                </c:pt>
                <c:pt idx="759">
                  <c:v>31.37</c:v>
                </c:pt>
                <c:pt idx="760">
                  <c:v>33.119999999999997</c:v>
                </c:pt>
                <c:pt idx="761">
                  <c:v>30.24</c:v>
                </c:pt>
                <c:pt idx="762">
                  <c:v>28.8</c:v>
                </c:pt>
                <c:pt idx="763">
                  <c:v>29.03</c:v>
                </c:pt>
                <c:pt idx="764">
                  <c:v>31.35</c:v>
                </c:pt>
                <c:pt idx="765">
                  <c:v>32.630000000000003</c:v>
                </c:pt>
                <c:pt idx="766">
                  <c:v>30.62</c:v>
                </c:pt>
                <c:pt idx="767">
                  <c:v>32.36</c:v>
                </c:pt>
                <c:pt idx="768">
                  <c:v>31.67</c:v>
                </c:pt>
                <c:pt idx="769">
                  <c:v>28.92</c:v>
                </c:pt>
                <c:pt idx="770">
                  <c:v>30.04</c:v>
                </c:pt>
                <c:pt idx="771">
                  <c:v>29.63</c:v>
                </c:pt>
                <c:pt idx="772">
                  <c:v>31.02</c:v>
                </c:pt>
                <c:pt idx="773">
                  <c:v>30.18</c:v>
                </c:pt>
                <c:pt idx="774">
                  <c:v>29.62</c:v>
                </c:pt>
                <c:pt idx="775">
                  <c:v>29.77</c:v>
                </c:pt>
                <c:pt idx="776">
                  <c:v>28.27</c:v>
                </c:pt>
                <c:pt idx="777">
                  <c:v>28.46</c:v>
                </c:pt>
                <c:pt idx="778">
                  <c:v>28.11</c:v>
                </c:pt>
                <c:pt idx="779">
                  <c:v>28.15</c:v>
                </c:pt>
                <c:pt idx="780">
                  <c:v>30.81</c:v>
                </c:pt>
                <c:pt idx="781">
                  <c:v>32.68</c:v>
                </c:pt>
                <c:pt idx="782">
                  <c:v>31.54</c:v>
                </c:pt>
                <c:pt idx="783">
                  <c:v>30.03</c:v>
                </c:pt>
                <c:pt idx="784">
                  <c:v>27.99</c:v>
                </c:pt>
                <c:pt idx="785">
                  <c:v>31.17</c:v>
                </c:pt>
                <c:pt idx="786">
                  <c:v>30.58</c:v>
                </c:pt>
                <c:pt idx="787">
                  <c:v>29.05</c:v>
                </c:pt>
                <c:pt idx="788">
                  <c:v>26.36</c:v>
                </c:pt>
                <c:pt idx="789">
                  <c:v>25.93</c:v>
                </c:pt>
                <c:pt idx="790">
                  <c:v>25.35</c:v>
                </c:pt>
                <c:pt idx="791">
                  <c:v>26.35</c:v>
                </c:pt>
                <c:pt idx="792">
                  <c:v>26.22</c:v>
                </c:pt>
                <c:pt idx="793">
                  <c:v>27.95</c:v>
                </c:pt>
                <c:pt idx="794">
                  <c:v>29</c:v>
                </c:pt>
                <c:pt idx="795">
                  <c:v>30.85</c:v>
                </c:pt>
                <c:pt idx="796">
                  <c:v>31.3</c:v>
                </c:pt>
                <c:pt idx="797">
                  <c:v>29.78</c:v>
                </c:pt>
                <c:pt idx="798">
                  <c:v>29.02</c:v>
                </c:pt>
                <c:pt idx="799">
                  <c:v>26.31</c:v>
                </c:pt>
                <c:pt idx="800">
                  <c:v>25.02</c:v>
                </c:pt>
                <c:pt idx="801">
                  <c:v>25.89</c:v>
                </c:pt>
                <c:pt idx="802">
                  <c:v>25.42</c:v>
                </c:pt>
                <c:pt idx="803">
                  <c:v>24.34</c:v>
                </c:pt>
                <c:pt idx="804">
                  <c:v>24.4</c:v>
                </c:pt>
                <c:pt idx="805">
                  <c:v>23.87</c:v>
                </c:pt>
                <c:pt idx="806">
                  <c:v>23.47</c:v>
                </c:pt>
                <c:pt idx="807">
                  <c:v>23.43</c:v>
                </c:pt>
                <c:pt idx="808">
                  <c:v>23.09</c:v>
                </c:pt>
                <c:pt idx="809">
                  <c:v>24.28</c:v>
                </c:pt>
                <c:pt idx="810">
                  <c:v>25.01</c:v>
                </c:pt>
                <c:pt idx="811">
                  <c:v>25.61</c:v>
                </c:pt>
                <c:pt idx="812">
                  <c:v>25.4</c:v>
                </c:pt>
                <c:pt idx="813">
                  <c:v>25.92</c:v>
                </c:pt>
                <c:pt idx="814">
                  <c:v>25.56</c:v>
                </c:pt>
                <c:pt idx="815">
                  <c:v>24.89</c:v>
                </c:pt>
                <c:pt idx="816">
                  <c:v>24.9</c:v>
                </c:pt>
                <c:pt idx="817">
                  <c:v>25.67</c:v>
                </c:pt>
                <c:pt idx="818">
                  <c:v>24.76</c:v>
                </c:pt>
                <c:pt idx="819">
                  <c:v>24.99</c:v>
                </c:pt>
                <c:pt idx="820">
                  <c:v>25.99</c:v>
                </c:pt>
                <c:pt idx="821">
                  <c:v>25.45</c:v>
                </c:pt>
                <c:pt idx="822">
                  <c:v>24.71</c:v>
                </c:pt>
                <c:pt idx="823">
                  <c:v>24.27</c:v>
                </c:pt>
                <c:pt idx="824">
                  <c:v>27.89</c:v>
                </c:pt>
                <c:pt idx="825">
                  <c:v>26.18</c:v>
                </c:pt>
                <c:pt idx="826">
                  <c:v>26.26</c:v>
                </c:pt>
                <c:pt idx="827">
                  <c:v>25.09</c:v>
                </c:pt>
                <c:pt idx="828">
                  <c:v>25.01</c:v>
                </c:pt>
                <c:pt idx="829">
                  <c:v>25.14</c:v>
                </c:pt>
                <c:pt idx="830">
                  <c:v>24.92</c:v>
                </c:pt>
                <c:pt idx="831">
                  <c:v>24.95</c:v>
                </c:pt>
                <c:pt idx="832">
                  <c:v>24.68</c:v>
                </c:pt>
                <c:pt idx="833">
                  <c:v>24.76</c:v>
                </c:pt>
                <c:pt idx="834">
                  <c:v>26.01</c:v>
                </c:pt>
                <c:pt idx="835">
                  <c:v>29.15</c:v>
                </c:pt>
                <c:pt idx="836">
                  <c:v>28.9</c:v>
                </c:pt>
                <c:pt idx="837">
                  <c:v>27.1</c:v>
                </c:pt>
                <c:pt idx="838">
                  <c:v>25.26</c:v>
                </c:pt>
                <c:pt idx="839">
                  <c:v>25.62</c:v>
                </c:pt>
                <c:pt idx="840">
                  <c:v>24.32</c:v>
                </c:pt>
                <c:pt idx="841">
                  <c:v>23.55</c:v>
                </c:pt>
                <c:pt idx="842">
                  <c:v>24.15</c:v>
                </c:pt>
                <c:pt idx="843">
                  <c:v>23.86</c:v>
                </c:pt>
                <c:pt idx="844">
                  <c:v>23.42</c:v>
                </c:pt>
                <c:pt idx="845">
                  <c:v>23.69</c:v>
                </c:pt>
                <c:pt idx="846">
                  <c:v>23.65</c:v>
                </c:pt>
                <c:pt idx="847">
                  <c:v>23.92</c:v>
                </c:pt>
                <c:pt idx="848">
                  <c:v>24.06</c:v>
                </c:pt>
                <c:pt idx="849">
                  <c:v>23.08</c:v>
                </c:pt>
                <c:pt idx="850">
                  <c:v>23.49</c:v>
                </c:pt>
                <c:pt idx="851">
                  <c:v>24.95</c:v>
                </c:pt>
                <c:pt idx="852">
                  <c:v>25.61</c:v>
                </c:pt>
                <c:pt idx="853">
                  <c:v>24.88</c:v>
                </c:pt>
                <c:pt idx="854">
                  <c:v>25.19</c:v>
                </c:pt>
                <c:pt idx="855">
                  <c:v>25.61</c:v>
                </c:pt>
                <c:pt idx="856">
                  <c:v>28.27</c:v>
                </c:pt>
                <c:pt idx="857">
                  <c:v>28.68</c:v>
                </c:pt>
                <c:pt idx="858">
                  <c:v>26.84</c:v>
                </c:pt>
                <c:pt idx="859">
                  <c:v>25.7</c:v>
                </c:pt>
                <c:pt idx="860">
                  <c:v>24.68</c:v>
                </c:pt>
                <c:pt idx="861">
                  <c:v>24.18</c:v>
                </c:pt>
                <c:pt idx="862">
                  <c:v>23.12</c:v>
                </c:pt>
                <c:pt idx="863">
                  <c:v>23.01</c:v>
                </c:pt>
                <c:pt idx="864">
                  <c:v>22.99</c:v>
                </c:pt>
                <c:pt idx="865">
                  <c:v>22.86</c:v>
                </c:pt>
                <c:pt idx="866">
                  <c:v>21.72</c:v>
                </c:pt>
                <c:pt idx="867">
                  <c:v>21.43</c:v>
                </c:pt>
                <c:pt idx="868">
                  <c:v>21.49</c:v>
                </c:pt>
                <c:pt idx="869">
                  <c:v>20.9</c:v>
                </c:pt>
                <c:pt idx="870">
                  <c:v>22.22</c:v>
                </c:pt>
                <c:pt idx="871">
                  <c:v>20.69</c:v>
                </c:pt>
                <c:pt idx="872">
                  <c:v>22.27</c:v>
                </c:pt>
                <c:pt idx="873">
                  <c:v>24.31</c:v>
                </c:pt>
                <c:pt idx="874">
                  <c:v>24.83</c:v>
                </c:pt>
                <c:pt idx="875">
                  <c:v>27.91</c:v>
                </c:pt>
                <c:pt idx="876">
                  <c:v>24.76</c:v>
                </c:pt>
                <c:pt idx="877">
                  <c:v>30.69</c:v>
                </c:pt>
                <c:pt idx="878">
                  <c:v>29.78</c:v>
                </c:pt>
                <c:pt idx="879">
                  <c:v>28.81</c:v>
                </c:pt>
                <c:pt idx="880">
                  <c:v>27.72</c:v>
                </c:pt>
                <c:pt idx="881">
                  <c:v>25.43</c:v>
                </c:pt>
                <c:pt idx="882">
                  <c:v>24.19</c:v>
                </c:pt>
                <c:pt idx="883">
                  <c:v>23.15</c:v>
                </c:pt>
                <c:pt idx="884">
                  <c:v>22.84</c:v>
                </c:pt>
                <c:pt idx="885">
                  <c:v>23.04</c:v>
                </c:pt>
                <c:pt idx="886">
                  <c:v>24.24</c:v>
                </c:pt>
                <c:pt idx="887">
                  <c:v>23.36</c:v>
                </c:pt>
                <c:pt idx="888">
                  <c:v>22.89</c:v>
                </c:pt>
                <c:pt idx="889">
                  <c:v>22.41</c:v>
                </c:pt>
                <c:pt idx="890">
                  <c:v>21.63</c:v>
                </c:pt>
                <c:pt idx="891">
                  <c:v>22.63</c:v>
                </c:pt>
                <c:pt idx="892">
                  <c:v>22.19</c:v>
                </c:pt>
                <c:pt idx="893">
                  <c:v>21.16</c:v>
                </c:pt>
                <c:pt idx="894">
                  <c:v>20.47</c:v>
                </c:pt>
                <c:pt idx="895">
                  <c:v>20.48</c:v>
                </c:pt>
                <c:pt idx="896">
                  <c:v>24.74</c:v>
                </c:pt>
                <c:pt idx="897">
                  <c:v>24.51</c:v>
                </c:pt>
                <c:pt idx="898">
                  <c:v>21.92</c:v>
                </c:pt>
                <c:pt idx="899">
                  <c:v>21.12</c:v>
                </c:pt>
                <c:pt idx="900">
                  <c:v>22.46</c:v>
                </c:pt>
                <c:pt idx="901">
                  <c:v>21.25</c:v>
                </c:pt>
                <c:pt idx="902">
                  <c:v>22.1</c:v>
                </c:pt>
                <c:pt idx="903">
                  <c:v>23.69</c:v>
                </c:pt>
                <c:pt idx="904">
                  <c:v>22.66</c:v>
                </c:pt>
                <c:pt idx="905">
                  <c:v>22.32</c:v>
                </c:pt>
                <c:pt idx="906">
                  <c:v>21.59</c:v>
                </c:pt>
                <c:pt idx="907">
                  <c:v>21.15</c:v>
                </c:pt>
                <c:pt idx="908">
                  <c:v>21.49</c:v>
                </c:pt>
                <c:pt idx="909">
                  <c:v>20.54</c:v>
                </c:pt>
                <c:pt idx="910">
                  <c:v>22.51</c:v>
                </c:pt>
                <c:pt idx="911">
                  <c:v>21.68</c:v>
                </c:pt>
                <c:pt idx="912">
                  <c:v>20.49</c:v>
                </c:pt>
                <c:pt idx="913">
                  <c:v>19.54</c:v>
                </c:pt>
                <c:pt idx="914">
                  <c:v>19.71</c:v>
                </c:pt>
                <c:pt idx="915">
                  <c:v>19.47</c:v>
                </c:pt>
                <c:pt idx="916">
                  <c:v>19.93</c:v>
                </c:pt>
                <c:pt idx="917">
                  <c:v>20.010000000000002</c:v>
                </c:pt>
                <c:pt idx="918">
                  <c:v>19.96</c:v>
                </c:pt>
                <c:pt idx="919">
                  <c:v>21.68</c:v>
                </c:pt>
                <c:pt idx="920">
                  <c:v>20.04</c:v>
                </c:pt>
                <c:pt idx="921">
                  <c:v>19.350000000000001</c:v>
                </c:pt>
                <c:pt idx="922">
                  <c:v>19.16</c:v>
                </c:pt>
                <c:pt idx="923">
                  <c:v>19.059999999999999</c:v>
                </c:pt>
                <c:pt idx="924">
                  <c:v>18.13</c:v>
                </c:pt>
                <c:pt idx="925">
                  <c:v>17.55</c:v>
                </c:pt>
                <c:pt idx="926">
                  <c:v>18.25</c:v>
                </c:pt>
                <c:pt idx="927">
                  <c:v>17.850000000000001</c:v>
                </c:pt>
                <c:pt idx="928">
                  <c:v>17.63</c:v>
                </c:pt>
                <c:pt idx="929">
                  <c:v>17.91</c:v>
                </c:pt>
                <c:pt idx="930">
                  <c:v>17.579999999999998</c:v>
                </c:pt>
                <c:pt idx="931">
                  <c:v>18.68</c:v>
                </c:pt>
                <c:pt idx="932">
                  <c:v>22.27</c:v>
                </c:pt>
                <c:pt idx="933">
                  <c:v>27.31</c:v>
                </c:pt>
                <c:pt idx="934">
                  <c:v>25.41</c:v>
                </c:pt>
                <c:pt idx="935">
                  <c:v>24.55</c:v>
                </c:pt>
                <c:pt idx="936">
                  <c:v>23.14</c:v>
                </c:pt>
                <c:pt idx="937">
                  <c:v>23.73</c:v>
                </c:pt>
                <c:pt idx="938">
                  <c:v>24.62</c:v>
                </c:pt>
                <c:pt idx="939">
                  <c:v>22.59</c:v>
                </c:pt>
                <c:pt idx="940">
                  <c:v>21.48</c:v>
                </c:pt>
                <c:pt idx="941">
                  <c:v>21.6</c:v>
                </c:pt>
                <c:pt idx="942">
                  <c:v>26.08</c:v>
                </c:pt>
                <c:pt idx="943">
                  <c:v>26.11</c:v>
                </c:pt>
                <c:pt idx="944">
                  <c:v>26.51</c:v>
                </c:pt>
                <c:pt idx="945">
                  <c:v>26</c:v>
                </c:pt>
                <c:pt idx="946">
                  <c:v>25.4</c:v>
                </c:pt>
                <c:pt idx="947">
                  <c:v>23.96</c:v>
                </c:pt>
                <c:pt idx="948">
                  <c:v>22.73</c:v>
                </c:pt>
                <c:pt idx="949">
                  <c:v>22.25</c:v>
                </c:pt>
                <c:pt idx="950">
                  <c:v>21.72</c:v>
                </c:pt>
                <c:pt idx="951">
                  <c:v>20.63</c:v>
                </c:pt>
                <c:pt idx="952">
                  <c:v>20.02</c:v>
                </c:pt>
                <c:pt idx="953">
                  <c:v>19.940000000000001</c:v>
                </c:pt>
                <c:pt idx="954">
                  <c:v>21.37</c:v>
                </c:pt>
                <c:pt idx="955">
                  <c:v>20.27</c:v>
                </c:pt>
                <c:pt idx="956">
                  <c:v>20.100000000000001</c:v>
                </c:pt>
                <c:pt idx="957">
                  <c:v>19.5</c:v>
                </c:pt>
                <c:pt idx="958">
                  <c:v>19.260000000000002</c:v>
                </c:pt>
                <c:pt idx="959">
                  <c:v>19.059999999999999</c:v>
                </c:pt>
                <c:pt idx="960">
                  <c:v>18.829999999999998</c:v>
                </c:pt>
                <c:pt idx="961">
                  <c:v>18.72</c:v>
                </c:pt>
                <c:pt idx="962">
                  <c:v>17.420000000000002</c:v>
                </c:pt>
                <c:pt idx="963">
                  <c:v>17.79</c:v>
                </c:pt>
                <c:pt idx="964">
                  <c:v>17.920000000000002</c:v>
                </c:pt>
                <c:pt idx="965">
                  <c:v>18.57</c:v>
                </c:pt>
                <c:pt idx="966">
                  <c:v>18.059999999999999</c:v>
                </c:pt>
                <c:pt idx="967">
                  <c:v>17.579999999999998</c:v>
                </c:pt>
                <c:pt idx="968">
                  <c:v>18</c:v>
                </c:pt>
                <c:pt idx="969">
                  <c:v>17.690000000000001</c:v>
                </c:pt>
                <c:pt idx="970">
                  <c:v>16.91</c:v>
                </c:pt>
                <c:pt idx="971">
                  <c:v>16.62</c:v>
                </c:pt>
                <c:pt idx="972">
                  <c:v>16.97</c:v>
                </c:pt>
                <c:pt idx="973">
                  <c:v>16.87</c:v>
                </c:pt>
                <c:pt idx="974">
                  <c:v>16.350000000000001</c:v>
                </c:pt>
                <c:pt idx="975">
                  <c:v>17.55</c:v>
                </c:pt>
                <c:pt idx="976">
                  <c:v>18.399999999999999</c:v>
                </c:pt>
                <c:pt idx="977">
                  <c:v>17.77</c:v>
                </c:pt>
                <c:pt idx="978">
                  <c:v>17.59</c:v>
                </c:pt>
                <c:pt idx="979">
                  <c:v>17.13</c:v>
                </c:pt>
                <c:pt idx="980">
                  <c:v>17.59</c:v>
                </c:pt>
                <c:pt idx="981">
                  <c:v>17.47</c:v>
                </c:pt>
                <c:pt idx="982">
                  <c:v>17.02</c:v>
                </c:pt>
                <c:pt idx="983">
                  <c:v>16.23</c:v>
                </c:pt>
                <c:pt idx="984">
                  <c:v>16.62</c:v>
                </c:pt>
                <c:pt idx="985">
                  <c:v>16.48</c:v>
                </c:pt>
                <c:pt idx="986">
                  <c:v>16.14</c:v>
                </c:pt>
                <c:pt idx="987">
                  <c:v>15.58</c:v>
                </c:pt>
                <c:pt idx="988">
                  <c:v>16.2</c:v>
                </c:pt>
                <c:pt idx="989">
                  <c:v>15.59</c:v>
                </c:pt>
                <c:pt idx="990">
                  <c:v>15.89</c:v>
                </c:pt>
                <c:pt idx="991">
                  <c:v>18.36</c:v>
                </c:pt>
                <c:pt idx="992">
                  <c:v>17.34</c:v>
                </c:pt>
                <c:pt idx="993">
                  <c:v>15.73</c:v>
                </c:pt>
                <c:pt idx="994">
                  <c:v>16.32</c:v>
                </c:pt>
                <c:pt idx="995">
                  <c:v>16.47</c:v>
                </c:pt>
                <c:pt idx="996">
                  <c:v>16.62</c:v>
                </c:pt>
                <c:pt idx="997">
                  <c:v>17.47</c:v>
                </c:pt>
                <c:pt idx="998">
                  <c:v>22.81</c:v>
                </c:pt>
                <c:pt idx="999">
                  <c:v>21.08</c:v>
                </c:pt>
                <c:pt idx="1000">
                  <c:v>18.440000000000001</c:v>
                </c:pt>
                <c:pt idx="1001">
                  <c:v>22.05</c:v>
                </c:pt>
                <c:pt idx="1002">
                  <c:v>20.190000000000001</c:v>
                </c:pt>
                <c:pt idx="1003">
                  <c:v>23.84</c:v>
                </c:pt>
                <c:pt idx="1004">
                  <c:v>24.91</c:v>
                </c:pt>
                <c:pt idx="1005">
                  <c:v>32.799999999999997</c:v>
                </c:pt>
                <c:pt idx="1006">
                  <c:v>40.950000000000003</c:v>
                </c:pt>
                <c:pt idx="1007">
                  <c:v>28.84</c:v>
                </c:pt>
                <c:pt idx="1008">
                  <c:v>28.32</c:v>
                </c:pt>
                <c:pt idx="1009">
                  <c:v>25.52</c:v>
                </c:pt>
                <c:pt idx="1010">
                  <c:v>26.68</c:v>
                </c:pt>
                <c:pt idx="1011">
                  <c:v>31.24</c:v>
                </c:pt>
                <c:pt idx="1012">
                  <c:v>30.84</c:v>
                </c:pt>
                <c:pt idx="1013">
                  <c:v>33.549999999999997</c:v>
                </c:pt>
                <c:pt idx="1014">
                  <c:v>35.32</c:v>
                </c:pt>
                <c:pt idx="1015">
                  <c:v>45.79</c:v>
                </c:pt>
                <c:pt idx="1016">
                  <c:v>40.1</c:v>
                </c:pt>
                <c:pt idx="1017">
                  <c:v>38.32</c:v>
                </c:pt>
                <c:pt idx="1018">
                  <c:v>34.61</c:v>
                </c:pt>
                <c:pt idx="1019">
                  <c:v>35.020000000000003</c:v>
                </c:pt>
                <c:pt idx="1020">
                  <c:v>29.68</c:v>
                </c:pt>
                <c:pt idx="1021">
                  <c:v>32.07</c:v>
                </c:pt>
                <c:pt idx="1022">
                  <c:v>35.54</c:v>
                </c:pt>
                <c:pt idx="1023">
                  <c:v>30.17</c:v>
                </c:pt>
                <c:pt idx="1024">
                  <c:v>29.46</c:v>
                </c:pt>
                <c:pt idx="1025">
                  <c:v>35.479999999999997</c:v>
                </c:pt>
                <c:pt idx="1026">
                  <c:v>36.57</c:v>
                </c:pt>
                <c:pt idx="1027">
                  <c:v>33.700000000000003</c:v>
                </c:pt>
                <c:pt idx="1028">
                  <c:v>33.729999999999997</c:v>
                </c:pt>
                <c:pt idx="1029">
                  <c:v>30.57</c:v>
                </c:pt>
                <c:pt idx="1030">
                  <c:v>28.79</c:v>
                </c:pt>
                <c:pt idx="1031">
                  <c:v>28.58</c:v>
                </c:pt>
                <c:pt idx="1032">
                  <c:v>25.87</c:v>
                </c:pt>
                <c:pt idx="1033">
                  <c:v>25.92</c:v>
                </c:pt>
                <c:pt idx="1034">
                  <c:v>25.05</c:v>
                </c:pt>
                <c:pt idx="1035">
                  <c:v>23.95</c:v>
                </c:pt>
                <c:pt idx="1036">
                  <c:v>24.88</c:v>
                </c:pt>
                <c:pt idx="1037">
                  <c:v>27.05</c:v>
                </c:pt>
                <c:pt idx="1038">
                  <c:v>26.91</c:v>
                </c:pt>
                <c:pt idx="1039">
                  <c:v>29.74</c:v>
                </c:pt>
                <c:pt idx="1040">
                  <c:v>28.53</c:v>
                </c:pt>
                <c:pt idx="1041">
                  <c:v>29</c:v>
                </c:pt>
                <c:pt idx="1042">
                  <c:v>34.130000000000003</c:v>
                </c:pt>
                <c:pt idx="1043">
                  <c:v>34.54</c:v>
                </c:pt>
                <c:pt idx="1044">
                  <c:v>32.86</c:v>
                </c:pt>
                <c:pt idx="1045">
                  <c:v>30.12</c:v>
                </c:pt>
                <c:pt idx="1046">
                  <c:v>29.65</c:v>
                </c:pt>
                <c:pt idx="1047">
                  <c:v>26.84</c:v>
                </c:pt>
                <c:pt idx="1048">
                  <c:v>25.71</c:v>
                </c:pt>
                <c:pt idx="1049">
                  <c:v>24.98</c:v>
                </c:pt>
                <c:pt idx="1050">
                  <c:v>24.43</c:v>
                </c:pt>
                <c:pt idx="1051">
                  <c:v>24.56</c:v>
                </c:pt>
                <c:pt idx="1052">
                  <c:v>24.89</c:v>
                </c:pt>
                <c:pt idx="1053">
                  <c:v>25.14</c:v>
                </c:pt>
                <c:pt idx="1054">
                  <c:v>26.25</c:v>
                </c:pt>
                <c:pt idx="1055">
                  <c:v>25.97</c:v>
                </c:pt>
                <c:pt idx="1056">
                  <c:v>23.93</c:v>
                </c:pt>
                <c:pt idx="1057">
                  <c:v>25.64</c:v>
                </c:pt>
                <c:pt idx="1058">
                  <c:v>24.63</c:v>
                </c:pt>
                <c:pt idx="1059">
                  <c:v>23.47</c:v>
                </c:pt>
                <c:pt idx="1060">
                  <c:v>22.73</c:v>
                </c:pt>
                <c:pt idx="1061">
                  <c:v>23.19</c:v>
                </c:pt>
                <c:pt idx="1062">
                  <c:v>24.25</c:v>
                </c:pt>
                <c:pt idx="1063">
                  <c:v>24.13</c:v>
                </c:pt>
                <c:pt idx="1064">
                  <c:v>23.5</c:v>
                </c:pt>
                <c:pt idx="1065">
                  <c:v>22.01</c:v>
                </c:pt>
                <c:pt idx="1066">
                  <c:v>22.63</c:v>
                </c:pt>
                <c:pt idx="1067">
                  <c:v>22.21</c:v>
                </c:pt>
                <c:pt idx="1068">
                  <c:v>22.1</c:v>
                </c:pt>
                <c:pt idx="1069">
                  <c:v>21.74</c:v>
                </c:pt>
                <c:pt idx="1070">
                  <c:v>22.14</c:v>
                </c:pt>
                <c:pt idx="1071">
                  <c:v>22.37</c:v>
                </c:pt>
                <c:pt idx="1072">
                  <c:v>25.39</c:v>
                </c:pt>
                <c:pt idx="1073">
                  <c:v>25.73</c:v>
                </c:pt>
                <c:pt idx="1074">
                  <c:v>26.24</c:v>
                </c:pt>
                <c:pt idx="1075">
                  <c:v>26.1</c:v>
                </c:pt>
                <c:pt idx="1076">
                  <c:v>24.33</c:v>
                </c:pt>
                <c:pt idx="1077">
                  <c:v>24.59</c:v>
                </c:pt>
                <c:pt idx="1078">
                  <c:v>26.44</c:v>
                </c:pt>
                <c:pt idx="1079">
                  <c:v>25.49</c:v>
                </c:pt>
                <c:pt idx="1080">
                  <c:v>25.66</c:v>
                </c:pt>
                <c:pt idx="1081">
                  <c:v>27.46</c:v>
                </c:pt>
                <c:pt idx="1082">
                  <c:v>26.7</c:v>
                </c:pt>
                <c:pt idx="1083">
                  <c:v>27.37</c:v>
                </c:pt>
                <c:pt idx="1084">
                  <c:v>24.45</c:v>
                </c:pt>
                <c:pt idx="1085">
                  <c:v>27.21</c:v>
                </c:pt>
                <c:pt idx="1086">
                  <c:v>26.05</c:v>
                </c:pt>
                <c:pt idx="1087">
                  <c:v>23.89</c:v>
                </c:pt>
                <c:pt idx="1088">
                  <c:v>23.19</c:v>
                </c:pt>
                <c:pt idx="1089">
                  <c:v>21.31</c:v>
                </c:pt>
                <c:pt idx="1090">
                  <c:v>23.8</c:v>
                </c:pt>
                <c:pt idx="1091">
                  <c:v>23.25</c:v>
                </c:pt>
                <c:pt idx="1092">
                  <c:v>22.81</c:v>
                </c:pt>
                <c:pt idx="1093">
                  <c:v>21.99</c:v>
                </c:pt>
                <c:pt idx="1094">
                  <c:v>21.21</c:v>
                </c:pt>
                <c:pt idx="1095">
                  <c:v>21.56</c:v>
                </c:pt>
                <c:pt idx="1096">
                  <c:v>22.1</c:v>
                </c:pt>
                <c:pt idx="1097">
                  <c:v>21.72</c:v>
                </c:pt>
                <c:pt idx="1098">
                  <c:v>22.01</c:v>
                </c:pt>
                <c:pt idx="1099">
                  <c:v>21.5</c:v>
                </c:pt>
                <c:pt idx="1100">
                  <c:v>22.35</c:v>
                </c:pt>
                <c:pt idx="1101">
                  <c:v>22.51</c:v>
                </c:pt>
                <c:pt idx="1102">
                  <c:v>23.87</c:v>
                </c:pt>
                <c:pt idx="1103">
                  <c:v>21.71</c:v>
                </c:pt>
                <c:pt idx="1104">
                  <c:v>22.54</c:v>
                </c:pt>
                <c:pt idx="1105">
                  <c:v>22.6</c:v>
                </c:pt>
                <c:pt idx="1106">
                  <c:v>23.25</c:v>
                </c:pt>
                <c:pt idx="1107">
                  <c:v>23.7</c:v>
                </c:pt>
                <c:pt idx="1108">
                  <c:v>22.5</c:v>
                </c:pt>
                <c:pt idx="1109">
                  <c:v>23.53</c:v>
                </c:pt>
                <c:pt idx="1110">
                  <c:v>21.76</c:v>
                </c:pt>
                <c:pt idx="1111">
                  <c:v>21.49</c:v>
                </c:pt>
                <c:pt idx="1112">
                  <c:v>21.56</c:v>
                </c:pt>
                <c:pt idx="1113">
                  <c:v>20.71</c:v>
                </c:pt>
                <c:pt idx="1114">
                  <c:v>18.96</c:v>
                </c:pt>
                <c:pt idx="1115">
                  <c:v>18.93</c:v>
                </c:pt>
                <c:pt idx="1116">
                  <c:v>19.07</c:v>
                </c:pt>
                <c:pt idx="1117">
                  <c:v>19.88</c:v>
                </c:pt>
                <c:pt idx="1118">
                  <c:v>19.03</c:v>
                </c:pt>
                <c:pt idx="1119">
                  <c:v>19.09</c:v>
                </c:pt>
                <c:pt idx="1120">
                  <c:v>20.63</c:v>
                </c:pt>
                <c:pt idx="1121">
                  <c:v>19.79</c:v>
                </c:pt>
                <c:pt idx="1122">
                  <c:v>19.27</c:v>
                </c:pt>
                <c:pt idx="1123">
                  <c:v>18.78</c:v>
                </c:pt>
                <c:pt idx="1124">
                  <c:v>19.850000000000001</c:v>
                </c:pt>
                <c:pt idx="1125">
                  <c:v>20.22</c:v>
                </c:pt>
                <c:pt idx="1126">
                  <c:v>20.71</c:v>
                </c:pt>
                <c:pt idx="1127">
                  <c:v>20.88</c:v>
                </c:pt>
                <c:pt idx="1128">
                  <c:v>21.2</c:v>
                </c:pt>
                <c:pt idx="1129">
                  <c:v>21.83</c:v>
                </c:pt>
                <c:pt idx="1130">
                  <c:v>21.57</c:v>
                </c:pt>
                <c:pt idx="1131">
                  <c:v>19.559999999999999</c:v>
                </c:pt>
                <c:pt idx="1132">
                  <c:v>18.52</c:v>
                </c:pt>
                <c:pt idx="1133">
                  <c:v>18.260000000000002</c:v>
                </c:pt>
                <c:pt idx="1134">
                  <c:v>18.29</c:v>
                </c:pt>
                <c:pt idx="1135">
                  <c:v>19.079999999999998</c:v>
                </c:pt>
                <c:pt idx="1136">
                  <c:v>18.47</c:v>
                </c:pt>
                <c:pt idx="1137">
                  <c:v>18.64</c:v>
                </c:pt>
                <c:pt idx="1138">
                  <c:v>20.61</c:v>
                </c:pt>
                <c:pt idx="1139">
                  <c:v>20.2</c:v>
                </c:pt>
                <c:pt idx="1140">
                  <c:v>22.58</c:v>
                </c:pt>
                <c:pt idx="1141">
                  <c:v>21.76</c:v>
                </c:pt>
                <c:pt idx="1142">
                  <c:v>18.75</c:v>
                </c:pt>
                <c:pt idx="1143">
                  <c:v>18.04</c:v>
                </c:pt>
                <c:pt idx="1144">
                  <c:v>18.37</c:v>
                </c:pt>
                <c:pt idx="1145">
                  <c:v>20.63</c:v>
                </c:pt>
                <c:pt idx="1146">
                  <c:v>19.559999999999999</c:v>
                </c:pt>
                <c:pt idx="1147">
                  <c:v>22.22</c:v>
                </c:pt>
                <c:pt idx="1148">
                  <c:v>21.53</c:v>
                </c:pt>
                <c:pt idx="1149">
                  <c:v>23.54</c:v>
                </c:pt>
                <c:pt idx="1150">
                  <c:v>21.36</c:v>
                </c:pt>
                <c:pt idx="1151">
                  <c:v>19.39</c:v>
                </c:pt>
                <c:pt idx="1152">
                  <c:v>18.010000000000002</c:v>
                </c:pt>
                <c:pt idx="1153">
                  <c:v>18.02</c:v>
                </c:pt>
                <c:pt idx="1154">
                  <c:v>17.989999999999998</c:v>
                </c:pt>
                <c:pt idx="1155">
                  <c:v>17.739999999999998</c:v>
                </c:pt>
                <c:pt idx="1156">
                  <c:v>17.25</c:v>
                </c:pt>
                <c:pt idx="1157">
                  <c:v>17.61</c:v>
                </c:pt>
                <c:pt idx="1158">
                  <c:v>17.55</c:v>
                </c:pt>
                <c:pt idx="1159">
                  <c:v>17.61</c:v>
                </c:pt>
                <c:pt idx="1160">
                  <c:v>17.940000000000001</c:v>
                </c:pt>
                <c:pt idx="1161">
                  <c:v>17.39</c:v>
                </c:pt>
                <c:pt idx="1162">
                  <c:v>16.11</c:v>
                </c:pt>
                <c:pt idx="1163">
                  <c:v>16.41</c:v>
                </c:pt>
                <c:pt idx="1164">
                  <c:v>16.489999999999998</c:v>
                </c:pt>
                <c:pt idx="1165">
                  <c:v>15.45</c:v>
                </c:pt>
                <c:pt idx="1166">
                  <c:v>16.47</c:v>
                </c:pt>
                <c:pt idx="1167">
                  <c:v>17.670000000000002</c:v>
                </c:pt>
                <c:pt idx="1168">
                  <c:v>17.52</c:v>
                </c:pt>
                <c:pt idx="1169">
                  <c:v>17.28</c:v>
                </c:pt>
                <c:pt idx="1170">
                  <c:v>17.52</c:v>
                </c:pt>
                <c:pt idx="1171">
                  <c:v>17.75</c:v>
                </c:pt>
                <c:pt idx="1172">
                  <c:v>17.61</c:v>
                </c:pt>
                <c:pt idx="1173">
                  <c:v>17.38</c:v>
                </c:pt>
                <c:pt idx="1174">
                  <c:v>17.02</c:v>
                </c:pt>
                <c:pt idx="1175">
                  <c:v>17.399999999999999</c:v>
                </c:pt>
                <c:pt idx="1176">
                  <c:v>17.14</c:v>
                </c:pt>
                <c:pt idx="1177">
                  <c:v>17.54</c:v>
                </c:pt>
                <c:pt idx="1178">
                  <c:v>16.89</c:v>
                </c:pt>
                <c:pt idx="1179">
                  <c:v>16.239999999999998</c:v>
                </c:pt>
                <c:pt idx="1180">
                  <c:v>16.39</c:v>
                </c:pt>
                <c:pt idx="1181">
                  <c:v>15.46</c:v>
                </c:pt>
                <c:pt idx="1182">
                  <c:v>15.87</c:v>
                </c:pt>
                <c:pt idx="1183">
                  <c:v>17.309999999999999</c:v>
                </c:pt>
                <c:pt idx="1184">
                  <c:v>17.989999999999998</c:v>
                </c:pt>
                <c:pt idx="1185">
                  <c:v>18.47</c:v>
                </c:pt>
                <c:pt idx="1186">
                  <c:v>17.649999999999999</c:v>
                </c:pt>
                <c:pt idx="1187">
                  <c:v>17.59</c:v>
                </c:pt>
                <c:pt idx="1188">
                  <c:v>16.64</c:v>
                </c:pt>
                <c:pt idx="1189">
                  <c:v>16.149999999999999</c:v>
                </c:pt>
                <c:pt idx="1190">
                  <c:v>20.04</c:v>
                </c:pt>
                <c:pt idx="1191">
                  <c:v>19.53</c:v>
                </c:pt>
                <c:pt idx="1192">
                  <c:v>17.63</c:v>
                </c:pt>
                <c:pt idx="1193">
                  <c:v>17.3</c:v>
                </c:pt>
                <c:pt idx="1194">
                  <c:v>16.690000000000001</c:v>
                </c:pt>
                <c:pt idx="1195">
                  <c:v>15.93</c:v>
                </c:pt>
                <c:pt idx="1196">
                  <c:v>16.28</c:v>
                </c:pt>
                <c:pt idx="1197">
                  <c:v>15.81</c:v>
                </c:pt>
                <c:pt idx="1198">
                  <c:v>15.87</c:v>
                </c:pt>
                <c:pt idx="1199">
                  <c:v>16.09</c:v>
                </c:pt>
                <c:pt idx="1200">
                  <c:v>15.69</c:v>
                </c:pt>
                <c:pt idx="1201">
                  <c:v>15.95</c:v>
                </c:pt>
                <c:pt idx="1202">
                  <c:v>16.37</c:v>
                </c:pt>
                <c:pt idx="1203">
                  <c:v>16.72</c:v>
                </c:pt>
                <c:pt idx="1204">
                  <c:v>16.59</c:v>
                </c:pt>
                <c:pt idx="1205">
                  <c:v>16.43</c:v>
                </c:pt>
                <c:pt idx="1206">
                  <c:v>20.8</c:v>
                </c:pt>
                <c:pt idx="1207">
                  <c:v>22.13</c:v>
                </c:pt>
                <c:pt idx="1208">
                  <c:v>21.32</c:v>
                </c:pt>
                <c:pt idx="1209">
                  <c:v>19.22</c:v>
                </c:pt>
                <c:pt idx="1210">
                  <c:v>18.350000000000001</c:v>
                </c:pt>
                <c:pt idx="1211">
                  <c:v>21.01</c:v>
                </c:pt>
                <c:pt idx="1212">
                  <c:v>20.7</c:v>
                </c:pt>
                <c:pt idx="1213">
                  <c:v>18.600000000000001</c:v>
                </c:pt>
                <c:pt idx="1214">
                  <c:v>19.059999999999999</c:v>
                </c:pt>
                <c:pt idx="1215">
                  <c:v>20.66</c:v>
                </c:pt>
                <c:pt idx="1216">
                  <c:v>19.82</c:v>
                </c:pt>
                <c:pt idx="1217">
                  <c:v>20.22</c:v>
                </c:pt>
                <c:pt idx="1218">
                  <c:v>21.88</c:v>
                </c:pt>
                <c:pt idx="1219">
                  <c:v>20.079999999999998</c:v>
                </c:pt>
                <c:pt idx="1220">
                  <c:v>21.13</c:v>
                </c:pt>
                <c:pt idx="1221">
                  <c:v>24.32</c:v>
                </c:pt>
                <c:pt idx="1222">
                  <c:v>29.4</c:v>
                </c:pt>
                <c:pt idx="1223">
                  <c:v>26.37</c:v>
                </c:pt>
                <c:pt idx="1224">
                  <c:v>24.44</c:v>
                </c:pt>
                <c:pt idx="1225">
                  <c:v>20.61</c:v>
                </c:pt>
                <c:pt idx="1226">
                  <c:v>20.21</c:v>
                </c:pt>
                <c:pt idx="1227">
                  <c:v>19.170000000000002</c:v>
                </c:pt>
                <c:pt idx="1228">
                  <c:v>18</c:v>
                </c:pt>
                <c:pt idx="1229">
                  <c:v>17.91</c:v>
                </c:pt>
                <c:pt idx="1230">
                  <c:v>19.440000000000001</c:v>
                </c:pt>
                <c:pt idx="1231">
                  <c:v>18.16</c:v>
                </c:pt>
                <c:pt idx="1232">
                  <c:v>17.71</c:v>
                </c:pt>
                <c:pt idx="1233">
                  <c:v>17.739999999999998</c:v>
                </c:pt>
                <c:pt idx="1234">
                  <c:v>17.399999999999999</c:v>
                </c:pt>
                <c:pt idx="1235">
                  <c:v>17.5</c:v>
                </c:pt>
                <c:pt idx="1236">
                  <c:v>17.25</c:v>
                </c:pt>
                <c:pt idx="1237">
                  <c:v>16.899999999999999</c:v>
                </c:pt>
                <c:pt idx="1238">
                  <c:v>17.11</c:v>
                </c:pt>
                <c:pt idx="1239">
                  <c:v>17.87</c:v>
                </c:pt>
                <c:pt idx="1240">
                  <c:v>16.59</c:v>
                </c:pt>
                <c:pt idx="1241">
                  <c:v>17.09</c:v>
                </c:pt>
                <c:pt idx="1242">
                  <c:v>16.920000000000002</c:v>
                </c:pt>
                <c:pt idx="1243">
                  <c:v>16.27</c:v>
                </c:pt>
                <c:pt idx="1244">
                  <c:v>15.32</c:v>
                </c:pt>
                <c:pt idx="1245">
                  <c:v>16.96</c:v>
                </c:pt>
                <c:pt idx="1246">
                  <c:v>15.83</c:v>
                </c:pt>
                <c:pt idx="1247">
                  <c:v>15.07</c:v>
                </c:pt>
                <c:pt idx="1248">
                  <c:v>14.69</c:v>
                </c:pt>
                <c:pt idx="1249">
                  <c:v>15.77</c:v>
                </c:pt>
                <c:pt idx="1250">
                  <c:v>15.62</c:v>
                </c:pt>
                <c:pt idx="1251">
                  <c:v>15.35</c:v>
                </c:pt>
                <c:pt idx="1252">
                  <c:v>14.62</c:v>
                </c:pt>
                <c:pt idx="1253">
                  <c:v>14.75</c:v>
                </c:pt>
                <c:pt idx="1254">
                  <c:v>15.99</c:v>
                </c:pt>
                <c:pt idx="1255">
                  <c:v>16.7</c:v>
                </c:pt>
                <c:pt idx="1256">
                  <c:v>17.079999999999998</c:v>
                </c:pt>
                <c:pt idx="1257">
                  <c:v>18.2</c:v>
                </c:pt>
                <c:pt idx="1258">
                  <c:v>18.399999999999999</c:v>
                </c:pt>
                <c:pt idx="1259">
                  <c:v>17.16</c:v>
                </c:pt>
                <c:pt idx="1260">
                  <c:v>15.91</c:v>
                </c:pt>
                <c:pt idx="1261">
                  <c:v>16.95</c:v>
                </c:pt>
                <c:pt idx="1262">
                  <c:v>16.03</c:v>
                </c:pt>
                <c:pt idx="1263">
                  <c:v>17.07</c:v>
                </c:pt>
                <c:pt idx="1264">
                  <c:v>18.239999999999998</c:v>
                </c:pt>
                <c:pt idx="1265">
                  <c:v>17.55</c:v>
                </c:pt>
                <c:pt idx="1266">
                  <c:v>16.23</c:v>
                </c:pt>
                <c:pt idx="1267">
                  <c:v>15.52</c:v>
                </c:pt>
                <c:pt idx="1268">
                  <c:v>17.43</c:v>
                </c:pt>
                <c:pt idx="1269">
                  <c:v>18.27</c:v>
                </c:pt>
                <c:pt idx="1270">
                  <c:v>17.82</c:v>
                </c:pt>
                <c:pt idx="1271">
                  <c:v>17.07</c:v>
                </c:pt>
                <c:pt idx="1272">
                  <c:v>16.09</c:v>
                </c:pt>
                <c:pt idx="1273">
                  <c:v>15.98</c:v>
                </c:pt>
                <c:pt idx="1274">
                  <c:v>15.45</c:v>
                </c:pt>
                <c:pt idx="1275">
                  <c:v>18.3</c:v>
                </c:pt>
                <c:pt idx="1276">
                  <c:v>18.09</c:v>
                </c:pt>
                <c:pt idx="1277">
                  <c:v>17.95</c:v>
                </c:pt>
                <c:pt idx="1278">
                  <c:v>18.489999999999998</c:v>
                </c:pt>
                <c:pt idx="1279">
                  <c:v>18.07</c:v>
                </c:pt>
                <c:pt idx="1280">
                  <c:v>18.79</c:v>
                </c:pt>
                <c:pt idx="1281">
                  <c:v>17.77</c:v>
                </c:pt>
                <c:pt idx="1282">
                  <c:v>18.86</c:v>
                </c:pt>
                <c:pt idx="1283">
                  <c:v>19.61</c:v>
                </c:pt>
                <c:pt idx="1284">
                  <c:v>18.260000000000002</c:v>
                </c:pt>
                <c:pt idx="1285">
                  <c:v>21.32</c:v>
                </c:pt>
                <c:pt idx="1286">
                  <c:v>22.73</c:v>
                </c:pt>
                <c:pt idx="1287">
                  <c:v>21.85</c:v>
                </c:pt>
                <c:pt idx="1288">
                  <c:v>19.989999999999998</c:v>
                </c:pt>
                <c:pt idx="1289">
                  <c:v>18.86</c:v>
                </c:pt>
                <c:pt idx="1290">
                  <c:v>18.52</c:v>
                </c:pt>
                <c:pt idx="1291">
                  <c:v>19.29</c:v>
                </c:pt>
                <c:pt idx="1292">
                  <c:v>21.1</c:v>
                </c:pt>
                <c:pt idx="1293">
                  <c:v>20.56</c:v>
                </c:pt>
                <c:pt idx="1294">
                  <c:v>19.170000000000002</c:v>
                </c:pt>
                <c:pt idx="1295">
                  <c:v>17.27</c:v>
                </c:pt>
                <c:pt idx="1296">
                  <c:v>16.52</c:v>
                </c:pt>
                <c:pt idx="1297">
                  <c:v>15.87</c:v>
                </c:pt>
                <c:pt idx="1298">
                  <c:v>16.059999999999999</c:v>
                </c:pt>
                <c:pt idx="1299">
                  <c:v>16.34</c:v>
                </c:pt>
                <c:pt idx="1300">
                  <c:v>15.95</c:v>
                </c:pt>
                <c:pt idx="1301">
                  <c:v>15.95</c:v>
                </c:pt>
                <c:pt idx="1302">
                  <c:v>18.39</c:v>
                </c:pt>
                <c:pt idx="1303">
                  <c:v>19.87</c:v>
                </c:pt>
                <c:pt idx="1304">
                  <c:v>19.91</c:v>
                </c:pt>
                <c:pt idx="1305">
                  <c:v>20.8</c:v>
                </c:pt>
                <c:pt idx="1306">
                  <c:v>19.53</c:v>
                </c:pt>
                <c:pt idx="1307">
                  <c:v>20.95</c:v>
                </c:pt>
                <c:pt idx="1308">
                  <c:v>19.21</c:v>
                </c:pt>
                <c:pt idx="1309">
                  <c:v>19.09</c:v>
                </c:pt>
                <c:pt idx="1310">
                  <c:v>17.559999999999999</c:v>
                </c:pt>
                <c:pt idx="1311">
                  <c:v>17.52</c:v>
                </c:pt>
                <c:pt idx="1312">
                  <c:v>19.350000000000001</c:v>
                </c:pt>
                <c:pt idx="1313">
                  <c:v>20.23</c:v>
                </c:pt>
                <c:pt idx="1314">
                  <c:v>22.98</c:v>
                </c:pt>
                <c:pt idx="1315">
                  <c:v>23.74</c:v>
                </c:pt>
                <c:pt idx="1316">
                  <c:v>25.25</c:v>
                </c:pt>
                <c:pt idx="1317">
                  <c:v>23.66</c:v>
                </c:pt>
                <c:pt idx="1318">
                  <c:v>24.79</c:v>
                </c:pt>
                <c:pt idx="1319">
                  <c:v>23.38</c:v>
                </c:pt>
                <c:pt idx="1320">
                  <c:v>31.66</c:v>
                </c:pt>
                <c:pt idx="1321">
                  <c:v>32</c:v>
                </c:pt>
                <c:pt idx="1322">
                  <c:v>48</c:v>
                </c:pt>
                <c:pt idx="1323">
                  <c:v>35.06</c:v>
                </c:pt>
                <c:pt idx="1324">
                  <c:v>42.99</c:v>
                </c:pt>
                <c:pt idx="1325">
                  <c:v>39</c:v>
                </c:pt>
                <c:pt idx="1326">
                  <c:v>36.36</c:v>
                </c:pt>
                <c:pt idx="1327">
                  <c:v>31.87</c:v>
                </c:pt>
                <c:pt idx="1328">
                  <c:v>32.85</c:v>
                </c:pt>
                <c:pt idx="1329">
                  <c:v>31.58</c:v>
                </c:pt>
                <c:pt idx="1330">
                  <c:v>42.67</c:v>
                </c:pt>
                <c:pt idx="1331">
                  <c:v>43.05</c:v>
                </c:pt>
                <c:pt idx="1332">
                  <c:v>42.44</c:v>
                </c:pt>
                <c:pt idx="1333">
                  <c:v>36.270000000000003</c:v>
                </c:pt>
                <c:pt idx="1334">
                  <c:v>35.9</c:v>
                </c:pt>
                <c:pt idx="1335">
                  <c:v>39.76</c:v>
                </c:pt>
                <c:pt idx="1336">
                  <c:v>35.590000000000003</c:v>
                </c:pt>
                <c:pt idx="1337">
                  <c:v>32.28</c:v>
                </c:pt>
                <c:pt idx="1338">
                  <c:v>32.89</c:v>
                </c:pt>
                <c:pt idx="1339">
                  <c:v>31.62</c:v>
                </c:pt>
                <c:pt idx="1340">
                  <c:v>31.82</c:v>
                </c:pt>
                <c:pt idx="1341">
                  <c:v>33.92</c:v>
                </c:pt>
                <c:pt idx="1342">
                  <c:v>37</c:v>
                </c:pt>
                <c:pt idx="1343">
                  <c:v>33.380000000000003</c:v>
                </c:pt>
                <c:pt idx="1344">
                  <c:v>34.32</c:v>
                </c:pt>
                <c:pt idx="1345">
                  <c:v>38.520000000000003</c:v>
                </c:pt>
                <c:pt idx="1346">
                  <c:v>38.590000000000003</c:v>
                </c:pt>
                <c:pt idx="1347">
                  <c:v>36.909999999999997</c:v>
                </c:pt>
                <c:pt idx="1348">
                  <c:v>34.6</c:v>
                </c:pt>
                <c:pt idx="1349">
                  <c:v>31.97</c:v>
                </c:pt>
                <c:pt idx="1350">
                  <c:v>30.98</c:v>
                </c:pt>
                <c:pt idx="1351">
                  <c:v>32.729999999999997</c:v>
                </c:pt>
                <c:pt idx="1352">
                  <c:v>32.86</c:v>
                </c:pt>
                <c:pt idx="1353">
                  <c:v>37.32</c:v>
                </c:pt>
                <c:pt idx="1354">
                  <c:v>41.35</c:v>
                </c:pt>
                <c:pt idx="1355">
                  <c:v>41.25</c:v>
                </c:pt>
                <c:pt idx="1356">
                  <c:v>39.020000000000003</c:v>
                </c:pt>
                <c:pt idx="1357">
                  <c:v>37.71</c:v>
                </c:pt>
                <c:pt idx="1358">
                  <c:v>41.08</c:v>
                </c:pt>
                <c:pt idx="1359">
                  <c:v>38.840000000000003</c:v>
                </c:pt>
                <c:pt idx="1360">
                  <c:v>42.96</c:v>
                </c:pt>
                <c:pt idx="1361">
                  <c:v>45.45</c:v>
                </c:pt>
                <c:pt idx="1362">
                  <c:v>40.82</c:v>
                </c:pt>
                <c:pt idx="1363">
                  <c:v>37.81</c:v>
                </c:pt>
                <c:pt idx="1364">
                  <c:v>36.270000000000003</c:v>
                </c:pt>
                <c:pt idx="1365">
                  <c:v>36.200000000000003</c:v>
                </c:pt>
                <c:pt idx="1366">
                  <c:v>33.020000000000003</c:v>
                </c:pt>
                <c:pt idx="1367">
                  <c:v>32.86</c:v>
                </c:pt>
                <c:pt idx="1368">
                  <c:v>31.26</c:v>
                </c:pt>
                <c:pt idx="1369">
                  <c:v>30.7</c:v>
                </c:pt>
                <c:pt idx="1370">
                  <c:v>28.24</c:v>
                </c:pt>
                <c:pt idx="1371">
                  <c:v>33.39</c:v>
                </c:pt>
                <c:pt idx="1372">
                  <c:v>31.56</c:v>
                </c:pt>
                <c:pt idx="1373">
                  <c:v>34.44</c:v>
                </c:pt>
                <c:pt idx="1374">
                  <c:v>34.78</c:v>
                </c:pt>
                <c:pt idx="1375">
                  <c:v>31.32</c:v>
                </c:pt>
                <c:pt idx="1376">
                  <c:v>29.26</c:v>
                </c:pt>
                <c:pt idx="1377">
                  <c:v>32.22</c:v>
                </c:pt>
                <c:pt idx="1378">
                  <c:v>29.86</c:v>
                </c:pt>
                <c:pt idx="1379">
                  <c:v>25.46</c:v>
                </c:pt>
                <c:pt idx="1380">
                  <c:v>24.53</c:v>
                </c:pt>
                <c:pt idx="1381">
                  <c:v>29.96</c:v>
                </c:pt>
                <c:pt idx="1382">
                  <c:v>34.770000000000003</c:v>
                </c:pt>
                <c:pt idx="1383">
                  <c:v>32.74</c:v>
                </c:pt>
                <c:pt idx="1384">
                  <c:v>30.5</c:v>
                </c:pt>
                <c:pt idx="1385">
                  <c:v>30.16</c:v>
                </c:pt>
                <c:pt idx="1386">
                  <c:v>29.85</c:v>
                </c:pt>
                <c:pt idx="1387">
                  <c:v>27.48</c:v>
                </c:pt>
                <c:pt idx="1388">
                  <c:v>36.159999999999997</c:v>
                </c:pt>
                <c:pt idx="1389">
                  <c:v>32.81</c:v>
                </c:pt>
                <c:pt idx="1390">
                  <c:v>30.04</c:v>
                </c:pt>
                <c:pt idx="1391">
                  <c:v>31.13</c:v>
                </c:pt>
                <c:pt idx="1392">
                  <c:v>31.22</c:v>
                </c:pt>
                <c:pt idx="1393">
                  <c:v>33.51</c:v>
                </c:pt>
                <c:pt idx="1394">
                  <c:v>34.51</c:v>
                </c:pt>
                <c:pt idx="1395">
                  <c:v>32</c:v>
                </c:pt>
                <c:pt idx="1396">
                  <c:v>32.909999999999997</c:v>
                </c:pt>
                <c:pt idx="1397">
                  <c:v>31.97</c:v>
                </c:pt>
                <c:pt idx="1398">
                  <c:v>33.979999999999997</c:v>
                </c:pt>
                <c:pt idx="1399">
                  <c:v>34.47</c:v>
                </c:pt>
                <c:pt idx="1400">
                  <c:v>32.130000000000003</c:v>
                </c:pt>
                <c:pt idx="1401">
                  <c:v>30.64</c:v>
                </c:pt>
                <c:pt idx="1402">
                  <c:v>27.8</c:v>
                </c:pt>
                <c:pt idx="1403">
                  <c:v>27.41</c:v>
                </c:pt>
                <c:pt idx="1404">
                  <c:v>27.52</c:v>
                </c:pt>
                <c:pt idx="1405">
                  <c:v>27.84</c:v>
                </c:pt>
                <c:pt idx="1406">
                  <c:v>28.13</c:v>
                </c:pt>
                <c:pt idx="1407">
                  <c:v>28.67</c:v>
                </c:pt>
                <c:pt idx="1408">
                  <c:v>30.59</c:v>
                </c:pt>
                <c:pt idx="1409">
                  <c:v>26.38</c:v>
                </c:pt>
                <c:pt idx="1410">
                  <c:v>25.67</c:v>
                </c:pt>
                <c:pt idx="1411">
                  <c:v>25.41</c:v>
                </c:pt>
                <c:pt idx="1412">
                  <c:v>26.04</c:v>
                </c:pt>
                <c:pt idx="1413">
                  <c:v>25.11</c:v>
                </c:pt>
                <c:pt idx="1414">
                  <c:v>24.29</c:v>
                </c:pt>
                <c:pt idx="1415">
                  <c:v>24.92</c:v>
                </c:pt>
                <c:pt idx="1416">
                  <c:v>23.22</c:v>
                </c:pt>
                <c:pt idx="1417">
                  <c:v>21.43</c:v>
                </c:pt>
                <c:pt idx="1418">
                  <c:v>21.16</c:v>
                </c:pt>
                <c:pt idx="1419">
                  <c:v>20.73</c:v>
                </c:pt>
                <c:pt idx="1420">
                  <c:v>21.91</c:v>
                </c:pt>
                <c:pt idx="1421">
                  <c:v>23.52</c:v>
                </c:pt>
                <c:pt idx="1422">
                  <c:v>22.65</c:v>
                </c:pt>
                <c:pt idx="1423">
                  <c:v>23.4</c:v>
                </c:pt>
                <c:pt idx="1424">
                  <c:v>22.97</c:v>
                </c:pt>
                <c:pt idx="1425">
                  <c:v>22.22</c:v>
                </c:pt>
                <c:pt idx="1426">
                  <c:v>21.48</c:v>
                </c:pt>
                <c:pt idx="1427">
                  <c:v>20.63</c:v>
                </c:pt>
                <c:pt idx="1428">
                  <c:v>21.07</c:v>
                </c:pt>
                <c:pt idx="1429">
                  <c:v>20.69</c:v>
                </c:pt>
                <c:pt idx="1430">
                  <c:v>21.05</c:v>
                </c:pt>
                <c:pt idx="1431">
                  <c:v>20.47</c:v>
                </c:pt>
                <c:pt idx="1432">
                  <c:v>20.91</c:v>
                </c:pt>
                <c:pt idx="1433">
                  <c:v>22.2</c:v>
                </c:pt>
                <c:pt idx="1434">
                  <c:v>20.89</c:v>
                </c:pt>
                <c:pt idx="1435">
                  <c:v>19.87</c:v>
                </c:pt>
                <c:pt idx="1436">
                  <c:v>18.28</c:v>
                </c:pt>
                <c:pt idx="1437">
                  <c:v>18.670000000000002</c:v>
                </c:pt>
                <c:pt idx="1438">
                  <c:v>18.91</c:v>
                </c:pt>
                <c:pt idx="1439">
                  <c:v>18.309999999999999</c:v>
                </c:pt>
                <c:pt idx="1440">
                  <c:v>18.57</c:v>
                </c:pt>
                <c:pt idx="1441">
                  <c:v>18.53</c:v>
                </c:pt>
                <c:pt idx="1442">
                  <c:v>19.399999999999999</c:v>
                </c:pt>
                <c:pt idx="1443">
                  <c:v>19.440000000000001</c:v>
                </c:pt>
                <c:pt idx="1444">
                  <c:v>18.55</c:v>
                </c:pt>
                <c:pt idx="1445">
                  <c:v>17.98</c:v>
                </c:pt>
                <c:pt idx="1446">
                  <c:v>17.100000000000001</c:v>
                </c:pt>
                <c:pt idx="1447">
                  <c:v>17.760000000000002</c:v>
                </c:pt>
                <c:pt idx="1448">
                  <c:v>17.649999999999999</c:v>
                </c:pt>
                <c:pt idx="1449">
                  <c:v>18.16</c:v>
                </c:pt>
                <c:pt idx="1450">
                  <c:v>18.63</c:v>
                </c:pt>
                <c:pt idx="1451">
                  <c:v>20.79</c:v>
                </c:pt>
                <c:pt idx="1452">
                  <c:v>19.04</c:v>
                </c:pt>
                <c:pt idx="1453">
                  <c:v>19.54</c:v>
                </c:pt>
                <c:pt idx="1454">
                  <c:v>21.14</c:v>
                </c:pt>
                <c:pt idx="1455">
                  <c:v>19.22</c:v>
                </c:pt>
                <c:pt idx="1456">
                  <c:v>17.78</c:v>
                </c:pt>
                <c:pt idx="1457">
                  <c:v>18.190000000000001</c:v>
                </c:pt>
                <c:pt idx="1458">
                  <c:v>18.190000000000001</c:v>
                </c:pt>
                <c:pt idx="1459">
                  <c:v>16.8</c:v>
                </c:pt>
                <c:pt idx="1460">
                  <c:v>17.309999999999999</c:v>
                </c:pt>
                <c:pt idx="1461">
                  <c:v>18.190000000000001</c:v>
                </c:pt>
                <c:pt idx="1462">
                  <c:v>17.96</c:v>
                </c:pt>
                <c:pt idx="1463">
                  <c:v>18.43</c:v>
                </c:pt>
                <c:pt idx="1464">
                  <c:v>17.260000000000002</c:v>
                </c:pt>
                <c:pt idx="1465">
                  <c:v>17.29</c:v>
                </c:pt>
                <c:pt idx="1466">
                  <c:v>18.05</c:v>
                </c:pt>
                <c:pt idx="1467">
                  <c:v>20.87</c:v>
                </c:pt>
                <c:pt idx="1468">
                  <c:v>19.07</c:v>
                </c:pt>
                <c:pt idx="1469">
                  <c:v>17.95</c:v>
                </c:pt>
                <c:pt idx="1470">
                  <c:v>17.11</c:v>
                </c:pt>
                <c:pt idx="1471">
                  <c:v>15.64</c:v>
                </c:pt>
                <c:pt idx="1472">
                  <c:v>14.8</c:v>
                </c:pt>
                <c:pt idx="1473">
                  <c:v>15.31</c:v>
                </c:pt>
                <c:pt idx="1474">
                  <c:v>15.42</c:v>
                </c:pt>
                <c:pt idx="1475">
                  <c:v>14.47</c:v>
                </c:pt>
                <c:pt idx="1476">
                  <c:v>15.04</c:v>
                </c:pt>
                <c:pt idx="1477">
                  <c:v>15.58</c:v>
                </c:pt>
                <c:pt idx="1478">
                  <c:v>15.13</c:v>
                </c:pt>
                <c:pt idx="1479">
                  <c:v>15.57</c:v>
                </c:pt>
                <c:pt idx="1480">
                  <c:v>14.82</c:v>
                </c:pt>
                <c:pt idx="1481">
                  <c:v>14.26</c:v>
                </c:pt>
                <c:pt idx="1482">
                  <c:v>15.59</c:v>
                </c:pt>
                <c:pt idx="1483">
                  <c:v>15.47</c:v>
                </c:pt>
                <c:pt idx="1484">
                  <c:v>15.48</c:v>
                </c:pt>
                <c:pt idx="1485">
                  <c:v>15.5</c:v>
                </c:pt>
                <c:pt idx="1486">
                  <c:v>15.64</c:v>
                </c:pt>
                <c:pt idx="1487">
                  <c:v>15.66</c:v>
                </c:pt>
                <c:pt idx="1488">
                  <c:v>16.440000000000001</c:v>
                </c:pt>
                <c:pt idx="1489">
                  <c:v>16.7</c:v>
                </c:pt>
                <c:pt idx="1490">
                  <c:v>18.809999999999999</c:v>
                </c:pt>
                <c:pt idx="1491">
                  <c:v>20.39</c:v>
                </c:pt>
                <c:pt idx="1492">
                  <c:v>20.02</c:v>
                </c:pt>
                <c:pt idx="1493">
                  <c:v>17.2</c:v>
                </c:pt>
                <c:pt idx="1494">
                  <c:v>19.55</c:v>
                </c:pt>
                <c:pt idx="1495">
                  <c:v>19.55</c:v>
                </c:pt>
                <c:pt idx="1496">
                  <c:v>18.46</c:v>
                </c:pt>
                <c:pt idx="1497">
                  <c:v>18.64</c:v>
                </c:pt>
                <c:pt idx="1498">
                  <c:v>18.36</c:v>
                </c:pt>
                <c:pt idx="1499">
                  <c:v>17.440000000000001</c:v>
                </c:pt>
                <c:pt idx="1500">
                  <c:v>18.97</c:v>
                </c:pt>
                <c:pt idx="1501">
                  <c:v>18.100000000000001</c:v>
                </c:pt>
                <c:pt idx="1502">
                  <c:v>16.82</c:v>
                </c:pt>
                <c:pt idx="1503">
                  <c:v>16.239999999999998</c:v>
                </c:pt>
                <c:pt idx="1504">
                  <c:v>16.32</c:v>
                </c:pt>
                <c:pt idx="1505">
                  <c:v>17.149999999999999</c:v>
                </c:pt>
                <c:pt idx="1506">
                  <c:v>16.600000000000001</c:v>
                </c:pt>
                <c:pt idx="1507">
                  <c:v>16.88</c:v>
                </c:pt>
                <c:pt idx="1508">
                  <c:v>17.559999999999999</c:v>
                </c:pt>
                <c:pt idx="1509">
                  <c:v>19.16</c:v>
                </c:pt>
                <c:pt idx="1510">
                  <c:v>18.940000000000001</c:v>
                </c:pt>
                <c:pt idx="1511">
                  <c:v>19.05</c:v>
                </c:pt>
                <c:pt idx="1512">
                  <c:v>20.079999999999998</c:v>
                </c:pt>
                <c:pt idx="1513">
                  <c:v>18.829999999999998</c:v>
                </c:pt>
                <c:pt idx="1514">
                  <c:v>19.89</c:v>
                </c:pt>
                <c:pt idx="1515">
                  <c:v>21.87</c:v>
                </c:pt>
                <c:pt idx="1516">
                  <c:v>21.97</c:v>
                </c:pt>
                <c:pt idx="1517">
                  <c:v>22.27</c:v>
                </c:pt>
                <c:pt idx="1518">
                  <c:v>24.49</c:v>
                </c:pt>
                <c:pt idx="1519">
                  <c:v>25.1</c:v>
                </c:pt>
                <c:pt idx="1520">
                  <c:v>22.01</c:v>
                </c:pt>
                <c:pt idx="1521">
                  <c:v>22.48</c:v>
                </c:pt>
                <c:pt idx="1522">
                  <c:v>22.33</c:v>
                </c:pt>
                <c:pt idx="1523">
                  <c:v>21.54</c:v>
                </c:pt>
                <c:pt idx="1524">
                  <c:v>21.76</c:v>
                </c:pt>
                <c:pt idx="1525">
                  <c:v>21.03</c:v>
                </c:pt>
                <c:pt idx="1526">
                  <c:v>24.14</c:v>
                </c:pt>
                <c:pt idx="1527">
                  <c:v>24.06</c:v>
                </c:pt>
                <c:pt idx="1528">
                  <c:v>26.66</c:v>
                </c:pt>
                <c:pt idx="1529">
                  <c:v>26.12</c:v>
                </c:pt>
                <c:pt idx="1530">
                  <c:v>24.68</c:v>
                </c:pt>
                <c:pt idx="1531">
                  <c:v>22.16</c:v>
                </c:pt>
                <c:pt idx="1532">
                  <c:v>21.72</c:v>
                </c:pt>
                <c:pt idx="1533">
                  <c:v>21.23</c:v>
                </c:pt>
                <c:pt idx="1534">
                  <c:v>23.56</c:v>
                </c:pt>
                <c:pt idx="1535">
                  <c:v>22.09</c:v>
                </c:pt>
                <c:pt idx="1536">
                  <c:v>24.27</c:v>
                </c:pt>
                <c:pt idx="1537">
                  <c:v>21.68</c:v>
                </c:pt>
                <c:pt idx="1538">
                  <c:v>21.11</c:v>
                </c:pt>
                <c:pt idx="1539">
                  <c:v>18.32</c:v>
                </c:pt>
                <c:pt idx="1540">
                  <c:v>18.38</c:v>
                </c:pt>
                <c:pt idx="1541">
                  <c:v>17.239999999999998</c:v>
                </c:pt>
                <c:pt idx="1542">
                  <c:v>20.079999999999998</c:v>
                </c:pt>
                <c:pt idx="1543">
                  <c:v>18.11</c:v>
                </c:pt>
                <c:pt idx="1544">
                  <c:v>20.38</c:v>
                </c:pt>
                <c:pt idx="1545">
                  <c:v>19.72</c:v>
                </c:pt>
                <c:pt idx="1546">
                  <c:v>19.45</c:v>
                </c:pt>
                <c:pt idx="1547">
                  <c:v>19.71</c:v>
                </c:pt>
                <c:pt idx="1548">
                  <c:v>17.079999999999998</c:v>
                </c:pt>
                <c:pt idx="1549">
                  <c:v>16.8</c:v>
                </c:pt>
                <c:pt idx="1550">
                  <c:v>16.66</c:v>
                </c:pt>
                <c:pt idx="1551">
                  <c:v>17.5</c:v>
                </c:pt>
                <c:pt idx="1552">
                  <c:v>17.100000000000001</c:v>
                </c:pt>
                <c:pt idx="1553">
                  <c:v>17.98</c:v>
                </c:pt>
                <c:pt idx="1554">
                  <c:v>18.72</c:v>
                </c:pt>
                <c:pt idx="1555">
                  <c:v>17.95</c:v>
                </c:pt>
                <c:pt idx="1556">
                  <c:v>18.329999999999998</c:v>
                </c:pt>
                <c:pt idx="1557">
                  <c:v>16.739999999999998</c:v>
                </c:pt>
                <c:pt idx="1558">
                  <c:v>17.11</c:v>
                </c:pt>
                <c:pt idx="1559">
                  <c:v>16.48</c:v>
                </c:pt>
                <c:pt idx="1560">
                  <c:v>16.16</c:v>
                </c:pt>
                <c:pt idx="1561">
                  <c:v>15.45</c:v>
                </c:pt>
                <c:pt idx="1562">
                  <c:v>16.27</c:v>
                </c:pt>
                <c:pt idx="1563">
                  <c:v>18.62</c:v>
                </c:pt>
                <c:pt idx="1564">
                  <c:v>20.47</c:v>
                </c:pt>
                <c:pt idx="1565">
                  <c:v>19.34</c:v>
                </c:pt>
                <c:pt idx="1566">
                  <c:v>17.53</c:v>
                </c:pt>
                <c:pt idx="1567">
                  <c:v>16.7</c:v>
                </c:pt>
                <c:pt idx="1568">
                  <c:v>18.03</c:v>
                </c:pt>
                <c:pt idx="1569">
                  <c:v>18.93</c:v>
                </c:pt>
                <c:pt idx="1570">
                  <c:v>18.96</c:v>
                </c:pt>
                <c:pt idx="1571">
                  <c:v>17.57</c:v>
                </c:pt>
                <c:pt idx="1572">
                  <c:v>15.64</c:v>
                </c:pt>
                <c:pt idx="1573">
                  <c:v>15.95</c:v>
                </c:pt>
                <c:pt idx="1574">
                  <c:v>15.99</c:v>
                </c:pt>
                <c:pt idx="1575">
                  <c:v>15.32</c:v>
                </c:pt>
                <c:pt idx="1576">
                  <c:v>15.28</c:v>
                </c:pt>
                <c:pt idx="1577">
                  <c:v>14.74</c:v>
                </c:pt>
                <c:pt idx="1578">
                  <c:v>13.7</c:v>
                </c:pt>
                <c:pt idx="1579">
                  <c:v>14.85</c:v>
                </c:pt>
                <c:pt idx="1580">
                  <c:v>14.63</c:v>
                </c:pt>
                <c:pt idx="1581">
                  <c:v>14.29</c:v>
                </c:pt>
                <c:pt idx="1582">
                  <c:v>13.45</c:v>
                </c:pt>
                <c:pt idx="1583">
                  <c:v>14.02</c:v>
                </c:pt>
                <c:pt idx="1584">
                  <c:v>15.02</c:v>
                </c:pt>
                <c:pt idx="1585">
                  <c:v>15.11</c:v>
                </c:pt>
                <c:pt idx="1586">
                  <c:v>15.96</c:v>
                </c:pt>
                <c:pt idx="1587">
                  <c:v>15.18</c:v>
                </c:pt>
                <c:pt idx="1588">
                  <c:v>16.350000000000001</c:v>
                </c:pt>
                <c:pt idx="1589">
                  <c:v>16.489999999999998</c:v>
                </c:pt>
                <c:pt idx="1590">
                  <c:v>17.059999999999999</c:v>
                </c:pt>
                <c:pt idx="1591">
                  <c:v>17.829999999999998</c:v>
                </c:pt>
                <c:pt idx="1592">
                  <c:v>17.47</c:v>
                </c:pt>
                <c:pt idx="1593">
                  <c:v>17.98</c:v>
                </c:pt>
                <c:pt idx="1594">
                  <c:v>17.739999999999998</c:v>
                </c:pt>
                <c:pt idx="1595">
                  <c:v>15.6</c:v>
                </c:pt>
                <c:pt idx="1596">
                  <c:v>14.38</c:v>
                </c:pt>
                <c:pt idx="1597">
                  <c:v>16.28</c:v>
                </c:pt>
                <c:pt idx="1598">
                  <c:v>16.41</c:v>
                </c:pt>
                <c:pt idx="1599">
                  <c:v>15.8</c:v>
                </c:pt>
                <c:pt idx="1600">
                  <c:v>14.05</c:v>
                </c:pt>
                <c:pt idx="1601">
                  <c:v>14.51</c:v>
                </c:pt>
                <c:pt idx="1602">
                  <c:v>14.59</c:v>
                </c:pt>
                <c:pt idx="1603">
                  <c:v>14.18</c:v>
                </c:pt>
                <c:pt idx="1604">
                  <c:v>13.88</c:v>
                </c:pt>
                <c:pt idx="1605">
                  <c:v>14.07</c:v>
                </c:pt>
                <c:pt idx="1606">
                  <c:v>13.98</c:v>
                </c:pt>
                <c:pt idx="1607">
                  <c:v>14.15</c:v>
                </c:pt>
                <c:pt idx="1608">
                  <c:v>15.43</c:v>
                </c:pt>
                <c:pt idx="1609">
                  <c:v>16.809999999999999</c:v>
                </c:pt>
                <c:pt idx="1610">
                  <c:v>14.84</c:v>
                </c:pt>
                <c:pt idx="1611">
                  <c:v>15.73</c:v>
                </c:pt>
                <c:pt idx="1612">
                  <c:v>16.32</c:v>
                </c:pt>
                <c:pt idx="1613">
                  <c:v>15.71</c:v>
                </c:pt>
                <c:pt idx="1614">
                  <c:v>15.43</c:v>
                </c:pt>
                <c:pt idx="1615">
                  <c:v>14.55</c:v>
                </c:pt>
                <c:pt idx="1616">
                  <c:v>14.33</c:v>
                </c:pt>
                <c:pt idx="1617">
                  <c:v>15.11</c:v>
                </c:pt>
                <c:pt idx="1618">
                  <c:v>16.37</c:v>
                </c:pt>
                <c:pt idx="1619">
                  <c:v>16.29</c:v>
                </c:pt>
                <c:pt idx="1620">
                  <c:v>15.59</c:v>
                </c:pt>
                <c:pt idx="1621">
                  <c:v>16.14</c:v>
                </c:pt>
                <c:pt idx="1622">
                  <c:v>15.27</c:v>
                </c:pt>
                <c:pt idx="1623">
                  <c:v>15.22</c:v>
                </c:pt>
                <c:pt idx="1624">
                  <c:v>15.07</c:v>
                </c:pt>
                <c:pt idx="1625">
                  <c:v>15.03</c:v>
                </c:pt>
                <c:pt idx="1626">
                  <c:v>17.059999999999999</c:v>
                </c:pt>
                <c:pt idx="1627">
                  <c:v>16.62</c:v>
                </c:pt>
                <c:pt idx="1628">
                  <c:v>18.829999999999998</c:v>
                </c:pt>
                <c:pt idx="1629">
                  <c:v>18.329999999999998</c:v>
                </c:pt>
                <c:pt idx="1630">
                  <c:v>18.12</c:v>
                </c:pt>
                <c:pt idx="1631">
                  <c:v>17.809999999999999</c:v>
                </c:pt>
                <c:pt idx="1632">
                  <c:v>18.600000000000001</c:v>
                </c:pt>
                <c:pt idx="1633">
                  <c:v>16.690000000000001</c:v>
                </c:pt>
                <c:pt idx="1634">
                  <c:v>17.59</c:v>
                </c:pt>
                <c:pt idx="1635">
                  <c:v>18.420000000000002</c:v>
                </c:pt>
                <c:pt idx="1636">
                  <c:v>17.579999999999998</c:v>
                </c:pt>
                <c:pt idx="1637">
                  <c:v>19.079999999999998</c:v>
                </c:pt>
                <c:pt idx="1638">
                  <c:v>18.489999999999998</c:v>
                </c:pt>
                <c:pt idx="1639">
                  <c:v>18.61</c:v>
                </c:pt>
                <c:pt idx="1640">
                  <c:v>16.68</c:v>
                </c:pt>
                <c:pt idx="1641">
                  <c:v>16.649999999999999</c:v>
                </c:pt>
                <c:pt idx="1642">
                  <c:v>17.920000000000002</c:v>
                </c:pt>
                <c:pt idx="1643">
                  <c:v>17.989999999999998</c:v>
                </c:pt>
                <c:pt idx="1644">
                  <c:v>16.41</c:v>
                </c:pt>
                <c:pt idx="1645">
                  <c:v>15.24</c:v>
                </c:pt>
                <c:pt idx="1646">
                  <c:v>15.08</c:v>
                </c:pt>
                <c:pt idx="1647">
                  <c:v>15.31</c:v>
                </c:pt>
                <c:pt idx="1648">
                  <c:v>15.14</c:v>
                </c:pt>
                <c:pt idx="1649">
                  <c:v>15.5</c:v>
                </c:pt>
                <c:pt idx="1650">
                  <c:v>15.92</c:v>
                </c:pt>
                <c:pt idx="1651">
                  <c:v>15.51</c:v>
                </c:pt>
                <c:pt idx="1652">
                  <c:v>15.06</c:v>
                </c:pt>
                <c:pt idx="1653">
                  <c:v>15.87</c:v>
                </c:pt>
                <c:pt idx="1654">
                  <c:v>16.64</c:v>
                </c:pt>
                <c:pt idx="1655">
                  <c:v>17.12</c:v>
                </c:pt>
                <c:pt idx="1656">
                  <c:v>16.46</c:v>
                </c:pt>
                <c:pt idx="1657">
                  <c:v>16.579999999999998</c:v>
                </c:pt>
                <c:pt idx="1658">
                  <c:v>15.9</c:v>
                </c:pt>
                <c:pt idx="1659">
                  <c:v>16.05</c:v>
                </c:pt>
                <c:pt idx="1660">
                  <c:v>15.57</c:v>
                </c:pt>
                <c:pt idx="1661">
                  <c:v>15.95</c:v>
                </c:pt>
                <c:pt idx="1662">
                  <c:v>16.559999999999999</c:v>
                </c:pt>
                <c:pt idx="1663">
                  <c:v>17</c:v>
                </c:pt>
                <c:pt idx="1664">
                  <c:v>16.34</c:v>
                </c:pt>
                <c:pt idx="1665">
                  <c:v>15.57</c:v>
                </c:pt>
                <c:pt idx="1666">
                  <c:v>17.36</c:v>
                </c:pt>
                <c:pt idx="1667">
                  <c:v>17.670000000000002</c:v>
                </c:pt>
                <c:pt idx="1668">
                  <c:v>17.84</c:v>
                </c:pt>
                <c:pt idx="1669">
                  <c:v>18.59</c:v>
                </c:pt>
                <c:pt idx="1670">
                  <c:v>19.48</c:v>
                </c:pt>
                <c:pt idx="1671">
                  <c:v>19.47</c:v>
                </c:pt>
                <c:pt idx="1672">
                  <c:v>22.72</c:v>
                </c:pt>
                <c:pt idx="1673">
                  <c:v>18.02</c:v>
                </c:pt>
                <c:pt idx="1674">
                  <c:v>14.68</c:v>
                </c:pt>
                <c:pt idx="1675">
                  <c:v>14.56</c:v>
                </c:pt>
                <c:pt idx="1676">
                  <c:v>13.83</c:v>
                </c:pt>
                <c:pt idx="1677">
                  <c:v>13.79</c:v>
                </c:pt>
                <c:pt idx="1678">
                  <c:v>13.62</c:v>
                </c:pt>
                <c:pt idx="1679">
                  <c:v>13.81</c:v>
                </c:pt>
                <c:pt idx="1680">
                  <c:v>13.49</c:v>
                </c:pt>
                <c:pt idx="1681">
                  <c:v>13.36</c:v>
                </c:pt>
                <c:pt idx="1682">
                  <c:v>13.52</c:v>
                </c:pt>
                <c:pt idx="1683">
                  <c:v>13.55</c:v>
                </c:pt>
                <c:pt idx="1684">
                  <c:v>13.42</c:v>
                </c:pt>
                <c:pt idx="1685">
                  <c:v>13.57</c:v>
                </c:pt>
                <c:pt idx="1686">
                  <c:v>12.46</c:v>
                </c:pt>
                <c:pt idx="1687">
                  <c:v>12.43</c:v>
                </c:pt>
                <c:pt idx="1688">
                  <c:v>12.46</c:v>
                </c:pt>
                <c:pt idx="1689">
                  <c:v>12.69</c:v>
                </c:pt>
                <c:pt idx="1690">
                  <c:v>12.89</c:v>
                </c:pt>
                <c:pt idx="1691">
                  <c:v>13.57</c:v>
                </c:pt>
                <c:pt idx="1692">
                  <c:v>13.31</c:v>
                </c:pt>
                <c:pt idx="1693">
                  <c:v>14.32</c:v>
                </c:pt>
                <c:pt idx="1694">
                  <c:v>14.28</c:v>
                </c:pt>
                <c:pt idx="1695">
                  <c:v>12.9</c:v>
                </c:pt>
                <c:pt idx="1696">
                  <c:v>14.67</c:v>
                </c:pt>
                <c:pt idx="1697">
                  <c:v>13.72</c:v>
                </c:pt>
                <c:pt idx="1698">
                  <c:v>13.41</c:v>
                </c:pt>
                <c:pt idx="1699">
                  <c:v>13.5</c:v>
                </c:pt>
                <c:pt idx="1700">
                  <c:v>13.02</c:v>
                </c:pt>
                <c:pt idx="1701">
                  <c:v>12.94</c:v>
                </c:pt>
                <c:pt idx="1702">
                  <c:v>12.64</c:v>
                </c:pt>
                <c:pt idx="1703">
                  <c:v>12.98</c:v>
                </c:pt>
                <c:pt idx="1704">
                  <c:v>12.66</c:v>
                </c:pt>
                <c:pt idx="1705">
                  <c:v>12.46</c:v>
                </c:pt>
                <c:pt idx="1706">
                  <c:v>12.31</c:v>
                </c:pt>
                <c:pt idx="1707">
                  <c:v>14.68</c:v>
                </c:pt>
                <c:pt idx="1708">
                  <c:v>15.22</c:v>
                </c:pt>
                <c:pt idx="1709">
                  <c:v>14.17</c:v>
                </c:pt>
                <c:pt idx="1710">
                  <c:v>18.989999999999998</c:v>
                </c:pt>
                <c:pt idx="1711">
                  <c:v>16.87</c:v>
                </c:pt>
                <c:pt idx="1712">
                  <c:v>14.73</c:v>
                </c:pt>
                <c:pt idx="1713">
                  <c:v>15.51</c:v>
                </c:pt>
                <c:pt idx="1714">
                  <c:v>15.36</c:v>
                </c:pt>
                <c:pt idx="1715">
                  <c:v>14.01</c:v>
                </c:pt>
                <c:pt idx="1716">
                  <c:v>13.48</c:v>
                </c:pt>
                <c:pt idx="1717">
                  <c:v>13.53</c:v>
                </c:pt>
                <c:pt idx="1718">
                  <c:v>13.06</c:v>
                </c:pt>
                <c:pt idx="1719">
                  <c:v>12.59</c:v>
                </c:pt>
                <c:pt idx="1720">
                  <c:v>11.56</c:v>
                </c:pt>
                <c:pt idx="1721">
                  <c:v>12.27</c:v>
                </c:pt>
                <c:pt idx="1722">
                  <c:v>11.83</c:v>
                </c:pt>
                <c:pt idx="1723">
                  <c:v>11.3</c:v>
                </c:pt>
                <c:pt idx="1724">
                  <c:v>11.3</c:v>
                </c:pt>
                <c:pt idx="1725">
                  <c:v>13.36</c:v>
                </c:pt>
                <c:pt idx="1726">
                  <c:v>14.39</c:v>
                </c:pt>
                <c:pt idx="1727">
                  <c:v>12.67</c:v>
                </c:pt>
                <c:pt idx="1728">
                  <c:v>13.99</c:v>
                </c:pt>
                <c:pt idx="1729">
                  <c:v>13.57</c:v>
                </c:pt>
                <c:pt idx="1730">
                  <c:v>13.74</c:v>
                </c:pt>
                <c:pt idx="1731">
                  <c:v>12.77</c:v>
                </c:pt>
                <c:pt idx="1732">
                  <c:v>13.15</c:v>
                </c:pt>
                <c:pt idx="1733">
                  <c:v>12.7</c:v>
                </c:pt>
                <c:pt idx="1734">
                  <c:v>13.58</c:v>
                </c:pt>
                <c:pt idx="1735">
                  <c:v>12.78</c:v>
                </c:pt>
                <c:pt idx="1736">
                  <c:v>14.21</c:v>
                </c:pt>
                <c:pt idx="1737">
                  <c:v>13.89</c:v>
                </c:pt>
                <c:pt idx="1738">
                  <c:v>13.92</c:v>
                </c:pt>
                <c:pt idx="1739">
                  <c:v>13.19</c:v>
                </c:pt>
                <c:pt idx="1740">
                  <c:v>12.84</c:v>
                </c:pt>
                <c:pt idx="1741">
                  <c:v>12.36</c:v>
                </c:pt>
                <c:pt idx="1742">
                  <c:v>12.24</c:v>
                </c:pt>
                <c:pt idx="1743">
                  <c:v>12.06</c:v>
                </c:pt>
                <c:pt idx="1744">
                  <c:v>17.27</c:v>
                </c:pt>
                <c:pt idx="1745">
                  <c:v>13.96</c:v>
                </c:pt>
                <c:pt idx="1746">
                  <c:v>16.510000000000002</c:v>
                </c:pt>
                <c:pt idx="1747">
                  <c:v>17.559999999999999</c:v>
                </c:pt>
                <c:pt idx="1748">
                  <c:v>14.97</c:v>
                </c:pt>
                <c:pt idx="1749">
                  <c:v>14.39</c:v>
                </c:pt>
                <c:pt idx="1750">
                  <c:v>13.48</c:v>
                </c:pt>
                <c:pt idx="1751">
                  <c:v>13.61</c:v>
                </c:pt>
                <c:pt idx="1752">
                  <c:v>13.62</c:v>
                </c:pt>
                <c:pt idx="1753">
                  <c:v>13.61</c:v>
                </c:pt>
                <c:pt idx="1754">
                  <c:v>13.71</c:v>
                </c:pt>
                <c:pt idx="1755">
                  <c:v>13.52</c:v>
                </c:pt>
                <c:pt idx="1756">
                  <c:v>14.49</c:v>
                </c:pt>
                <c:pt idx="1757">
                  <c:v>13.59</c:v>
                </c:pt>
                <c:pt idx="1758">
                  <c:v>12.85</c:v>
                </c:pt>
                <c:pt idx="1759">
                  <c:v>12.66</c:v>
                </c:pt>
                <c:pt idx="1760">
                  <c:v>12.83</c:v>
                </c:pt>
                <c:pt idx="1761">
                  <c:v>12.66</c:v>
                </c:pt>
                <c:pt idx="1762">
                  <c:v>13.13</c:v>
                </c:pt>
                <c:pt idx="1763">
                  <c:v>12.59</c:v>
                </c:pt>
                <c:pt idx="1764">
                  <c:v>12.55</c:v>
                </c:pt>
                <c:pt idx="1765">
                  <c:v>12.77</c:v>
                </c:pt>
                <c:pt idx="1766">
                  <c:v>12.81</c:v>
                </c:pt>
                <c:pt idx="1767">
                  <c:v>13.07</c:v>
                </c:pt>
                <c:pt idx="1768">
                  <c:v>12.45</c:v>
                </c:pt>
                <c:pt idx="1769">
                  <c:v>13.02</c:v>
                </c:pt>
                <c:pt idx="1770">
                  <c:v>13.37</c:v>
                </c:pt>
                <c:pt idx="1771">
                  <c:v>13.82</c:v>
                </c:pt>
                <c:pt idx="1772">
                  <c:v>14.07</c:v>
                </c:pt>
                <c:pt idx="1773">
                  <c:v>13.99</c:v>
                </c:pt>
                <c:pt idx="1774">
                  <c:v>14.48</c:v>
                </c:pt>
                <c:pt idx="1775">
                  <c:v>14.83</c:v>
                </c:pt>
                <c:pt idx="1776">
                  <c:v>14.53</c:v>
                </c:pt>
                <c:pt idx="1777">
                  <c:v>16.3</c:v>
                </c:pt>
                <c:pt idx="1778">
                  <c:v>16.28</c:v>
                </c:pt>
                <c:pt idx="1779">
                  <c:v>16.27</c:v>
                </c:pt>
                <c:pt idx="1780">
                  <c:v>17.5</c:v>
                </c:pt>
                <c:pt idx="1781">
                  <c:v>16.63</c:v>
                </c:pt>
                <c:pt idx="1782">
                  <c:v>15.14</c:v>
                </c:pt>
                <c:pt idx="1783">
                  <c:v>15.44</c:v>
                </c:pt>
                <c:pt idx="1784">
                  <c:v>17.07</c:v>
                </c:pt>
                <c:pt idx="1785">
                  <c:v>18.59</c:v>
                </c:pt>
                <c:pt idx="1786">
                  <c:v>16.41</c:v>
                </c:pt>
                <c:pt idx="1787">
                  <c:v>17.149999999999999</c:v>
                </c:pt>
                <c:pt idx="1788">
                  <c:v>16.8</c:v>
                </c:pt>
                <c:pt idx="1789">
                  <c:v>16.61</c:v>
                </c:pt>
                <c:pt idx="1790">
                  <c:v>16.64</c:v>
                </c:pt>
                <c:pt idx="1791">
                  <c:v>20.49</c:v>
                </c:pt>
                <c:pt idx="1792">
                  <c:v>18.899999999999999</c:v>
                </c:pt>
                <c:pt idx="1793">
                  <c:v>20.11</c:v>
                </c:pt>
                <c:pt idx="1794">
                  <c:v>18.47</c:v>
                </c:pt>
                <c:pt idx="1795">
                  <c:v>17.21</c:v>
                </c:pt>
                <c:pt idx="1796">
                  <c:v>16.86</c:v>
                </c:pt>
                <c:pt idx="1797">
                  <c:v>16.86</c:v>
                </c:pt>
                <c:pt idx="1798">
                  <c:v>16.37</c:v>
                </c:pt>
                <c:pt idx="1799">
                  <c:v>16.440000000000001</c:v>
                </c:pt>
                <c:pt idx="1800">
                  <c:v>16.2</c:v>
                </c:pt>
                <c:pt idx="1801">
                  <c:v>14.89</c:v>
                </c:pt>
                <c:pt idx="1802">
                  <c:v>14.78</c:v>
                </c:pt>
                <c:pt idx="1803">
                  <c:v>14.35</c:v>
                </c:pt>
                <c:pt idx="1804">
                  <c:v>14.21</c:v>
                </c:pt>
                <c:pt idx="1805">
                  <c:v>14.01</c:v>
                </c:pt>
                <c:pt idx="1806">
                  <c:v>13.84</c:v>
                </c:pt>
                <c:pt idx="1807">
                  <c:v>13.79</c:v>
                </c:pt>
                <c:pt idx="1808">
                  <c:v>14.42</c:v>
                </c:pt>
                <c:pt idx="1809">
                  <c:v>13.78</c:v>
                </c:pt>
                <c:pt idx="1810">
                  <c:v>13.77</c:v>
                </c:pt>
                <c:pt idx="1811">
                  <c:v>12.54</c:v>
                </c:pt>
                <c:pt idx="1812">
                  <c:v>12.29</c:v>
                </c:pt>
                <c:pt idx="1813">
                  <c:v>12.66</c:v>
                </c:pt>
                <c:pt idx="1814">
                  <c:v>13.18</c:v>
                </c:pt>
                <c:pt idx="1815">
                  <c:v>12.97</c:v>
                </c:pt>
                <c:pt idx="1816">
                  <c:v>12.72</c:v>
                </c:pt>
                <c:pt idx="1817">
                  <c:v>13.39</c:v>
                </c:pt>
                <c:pt idx="1818">
                  <c:v>13.39</c:v>
                </c:pt>
                <c:pt idx="1819">
                  <c:v>13.45</c:v>
                </c:pt>
                <c:pt idx="1820">
                  <c:v>12.94</c:v>
                </c:pt>
                <c:pt idx="1821">
                  <c:v>11.98</c:v>
                </c:pt>
                <c:pt idx="1822">
                  <c:v>11.84</c:v>
                </c:pt>
                <c:pt idx="1823">
                  <c:v>12.72</c:v>
                </c:pt>
                <c:pt idx="1824">
                  <c:v>12.98</c:v>
                </c:pt>
                <c:pt idx="1825">
                  <c:v>12.73</c:v>
                </c:pt>
                <c:pt idx="1826">
                  <c:v>13.41</c:v>
                </c:pt>
                <c:pt idx="1827">
                  <c:v>12.81</c:v>
                </c:pt>
                <c:pt idx="1828">
                  <c:v>12.31</c:v>
                </c:pt>
                <c:pt idx="1829">
                  <c:v>13.04</c:v>
                </c:pt>
                <c:pt idx="1830">
                  <c:v>14.73</c:v>
                </c:pt>
                <c:pt idx="1831">
                  <c:v>14.37</c:v>
                </c:pt>
                <c:pt idx="1832">
                  <c:v>15.1</c:v>
                </c:pt>
                <c:pt idx="1833">
                  <c:v>14.91</c:v>
                </c:pt>
                <c:pt idx="1834">
                  <c:v>15.94</c:v>
                </c:pt>
                <c:pt idx="1835">
                  <c:v>14.76</c:v>
                </c:pt>
                <c:pt idx="1836">
                  <c:v>13.98</c:v>
                </c:pt>
                <c:pt idx="1837">
                  <c:v>14.99</c:v>
                </c:pt>
                <c:pt idx="1838">
                  <c:v>16.77</c:v>
                </c:pt>
                <c:pt idx="1839">
                  <c:v>16.489999999999998</c:v>
                </c:pt>
                <c:pt idx="1840">
                  <c:v>16.809999999999999</c:v>
                </c:pt>
                <c:pt idx="1841">
                  <c:v>17.010000000000002</c:v>
                </c:pt>
                <c:pt idx="1842">
                  <c:v>16.61</c:v>
                </c:pt>
                <c:pt idx="1843">
                  <c:v>15.88</c:v>
                </c:pt>
                <c:pt idx="1844">
                  <c:v>15.77</c:v>
                </c:pt>
                <c:pt idx="1845">
                  <c:v>15.85</c:v>
                </c:pt>
                <c:pt idx="1846">
                  <c:v>15.63</c:v>
                </c:pt>
                <c:pt idx="1847">
                  <c:v>14.53</c:v>
                </c:pt>
                <c:pt idx="1848">
                  <c:v>13.82</c:v>
                </c:pt>
                <c:pt idx="1849">
                  <c:v>14.29</c:v>
                </c:pt>
                <c:pt idx="1850">
                  <c:v>14.16</c:v>
                </c:pt>
                <c:pt idx="1851">
                  <c:v>14.38</c:v>
                </c:pt>
                <c:pt idx="1852">
                  <c:v>14.53</c:v>
                </c:pt>
                <c:pt idx="1853">
                  <c:v>13.59</c:v>
                </c:pt>
                <c:pt idx="1854">
                  <c:v>13.16</c:v>
                </c:pt>
                <c:pt idx="1855">
                  <c:v>13.12</c:v>
                </c:pt>
                <c:pt idx="1856">
                  <c:v>14.31</c:v>
                </c:pt>
                <c:pt idx="1857">
                  <c:v>14.08</c:v>
                </c:pt>
                <c:pt idx="1858">
                  <c:v>14.01</c:v>
                </c:pt>
                <c:pt idx="1859">
                  <c:v>14.06</c:v>
                </c:pt>
                <c:pt idx="1860">
                  <c:v>15.46</c:v>
                </c:pt>
                <c:pt idx="1861">
                  <c:v>16.600000000000001</c:v>
                </c:pt>
                <c:pt idx="1862">
                  <c:v>15.54</c:v>
                </c:pt>
                <c:pt idx="1863">
                  <c:v>16.600000000000001</c:v>
                </c:pt>
                <c:pt idx="1864">
                  <c:v>17.670000000000002</c:v>
                </c:pt>
                <c:pt idx="1865">
                  <c:v>16.739999999999998</c:v>
                </c:pt>
                <c:pt idx="1866">
                  <c:v>19.41</c:v>
                </c:pt>
                <c:pt idx="1867">
                  <c:v>20.34</c:v>
                </c:pt>
                <c:pt idx="1868">
                  <c:v>19.600000000000001</c:v>
                </c:pt>
                <c:pt idx="1869">
                  <c:v>16.48</c:v>
                </c:pt>
                <c:pt idx="1870">
                  <c:v>15.72</c:v>
                </c:pt>
                <c:pt idx="1871">
                  <c:v>16.07</c:v>
                </c:pt>
                <c:pt idx="1872">
                  <c:v>18.66</c:v>
                </c:pt>
                <c:pt idx="1873">
                  <c:v>14.71</c:v>
                </c:pt>
                <c:pt idx="1874">
                  <c:v>13.48</c:v>
                </c:pt>
                <c:pt idx="1875">
                  <c:v>13.04</c:v>
                </c:pt>
                <c:pt idx="1876">
                  <c:v>13.16</c:v>
                </c:pt>
                <c:pt idx="1877">
                  <c:v>13.33</c:v>
                </c:pt>
                <c:pt idx="1878">
                  <c:v>13.42</c:v>
                </c:pt>
                <c:pt idx="1879">
                  <c:v>13.2</c:v>
                </c:pt>
                <c:pt idx="1880">
                  <c:v>13.09</c:v>
                </c:pt>
                <c:pt idx="1881">
                  <c:v>13.31</c:v>
                </c:pt>
                <c:pt idx="1882">
                  <c:v>13.41</c:v>
                </c:pt>
                <c:pt idx="1883">
                  <c:v>13.65</c:v>
                </c:pt>
                <c:pt idx="1884">
                  <c:v>13.75</c:v>
                </c:pt>
                <c:pt idx="1885">
                  <c:v>13.28</c:v>
                </c:pt>
                <c:pt idx="1886">
                  <c:v>12.93</c:v>
                </c:pt>
                <c:pt idx="1887">
                  <c:v>13.27</c:v>
                </c:pt>
                <c:pt idx="1888">
                  <c:v>12.67</c:v>
                </c:pt>
                <c:pt idx="1889">
                  <c:v>13.91</c:v>
                </c:pt>
                <c:pt idx="1890">
                  <c:v>12.9</c:v>
                </c:pt>
                <c:pt idx="1891">
                  <c:v>12.53</c:v>
                </c:pt>
                <c:pt idx="1892">
                  <c:v>12.82</c:v>
                </c:pt>
                <c:pt idx="1893">
                  <c:v>12.52</c:v>
                </c:pt>
                <c:pt idx="1894">
                  <c:v>12.37</c:v>
                </c:pt>
                <c:pt idx="1895">
                  <c:v>12.19</c:v>
                </c:pt>
                <c:pt idx="1896">
                  <c:v>13.1</c:v>
                </c:pt>
                <c:pt idx="1897">
                  <c:v>13.39</c:v>
                </c:pt>
                <c:pt idx="1898">
                  <c:v>13.4</c:v>
                </c:pt>
                <c:pt idx="1899">
                  <c:v>12.66</c:v>
                </c:pt>
                <c:pt idx="1900">
                  <c:v>12.26</c:v>
                </c:pt>
                <c:pt idx="1901">
                  <c:v>12.79</c:v>
                </c:pt>
                <c:pt idx="1902">
                  <c:v>12.81</c:v>
                </c:pt>
                <c:pt idx="1903">
                  <c:v>12.98</c:v>
                </c:pt>
                <c:pt idx="1904">
                  <c:v>13.7</c:v>
                </c:pt>
                <c:pt idx="1905">
                  <c:v>14.23</c:v>
                </c:pt>
                <c:pt idx="1906">
                  <c:v>14.55</c:v>
                </c:pt>
                <c:pt idx="1907">
                  <c:v>14.7</c:v>
                </c:pt>
                <c:pt idx="1908">
                  <c:v>15.08</c:v>
                </c:pt>
                <c:pt idx="1909">
                  <c:v>13.79</c:v>
                </c:pt>
                <c:pt idx="1910">
                  <c:v>13.49</c:v>
                </c:pt>
                <c:pt idx="1911">
                  <c:v>13.91</c:v>
                </c:pt>
                <c:pt idx="1912">
                  <c:v>15.42</c:v>
                </c:pt>
                <c:pt idx="1913">
                  <c:v>15.54</c:v>
                </c:pt>
                <c:pt idx="1914">
                  <c:v>15.76</c:v>
                </c:pt>
                <c:pt idx="1915">
                  <c:v>16.03</c:v>
                </c:pt>
                <c:pt idx="1916">
                  <c:v>16.21</c:v>
                </c:pt>
                <c:pt idx="1917">
                  <c:v>13.8</c:v>
                </c:pt>
                <c:pt idx="1918">
                  <c:v>14.15</c:v>
                </c:pt>
                <c:pt idx="1919">
                  <c:v>13.79</c:v>
                </c:pt>
                <c:pt idx="1920">
                  <c:v>13.04</c:v>
                </c:pt>
                <c:pt idx="1921">
                  <c:v>12.48</c:v>
                </c:pt>
                <c:pt idx="1922">
                  <c:v>12.33</c:v>
                </c:pt>
                <c:pt idx="1923">
                  <c:v>12.46</c:v>
                </c:pt>
                <c:pt idx="1924">
                  <c:v>13.56</c:v>
                </c:pt>
                <c:pt idx="1925">
                  <c:v>13.72</c:v>
                </c:pt>
                <c:pt idx="1926">
                  <c:v>14.23</c:v>
                </c:pt>
                <c:pt idx="1927">
                  <c:v>13.76</c:v>
                </c:pt>
                <c:pt idx="1928">
                  <c:v>13.55</c:v>
                </c:pt>
                <c:pt idx="1929">
                  <c:v>12.92</c:v>
                </c:pt>
                <c:pt idx="1930">
                  <c:v>12.87</c:v>
                </c:pt>
                <c:pt idx="1931">
                  <c:v>12.89</c:v>
                </c:pt>
                <c:pt idx="1932">
                  <c:v>12.14</c:v>
                </c:pt>
                <c:pt idx="1933">
                  <c:v>13.28</c:v>
                </c:pt>
                <c:pt idx="1934">
                  <c:v>12.28</c:v>
                </c:pt>
                <c:pt idx="1935">
                  <c:v>12.28</c:v>
                </c:pt>
                <c:pt idx="1936">
                  <c:v>12.53</c:v>
                </c:pt>
                <c:pt idx="1937">
                  <c:v>12.44</c:v>
                </c:pt>
                <c:pt idx="1938">
                  <c:v>12.87</c:v>
                </c:pt>
                <c:pt idx="1939">
                  <c:v>12.84</c:v>
                </c:pt>
                <c:pt idx="1940">
                  <c:v>13.77</c:v>
                </c:pt>
                <c:pt idx="1941">
                  <c:v>18.14</c:v>
                </c:pt>
                <c:pt idx="1942">
                  <c:v>17.420000000000002</c:v>
                </c:pt>
                <c:pt idx="1943">
                  <c:v>15.8</c:v>
                </c:pt>
                <c:pt idx="1944">
                  <c:v>17.350000000000001</c:v>
                </c:pt>
                <c:pt idx="1945">
                  <c:v>17.29</c:v>
                </c:pt>
                <c:pt idx="1946">
                  <c:v>18.41</c:v>
                </c:pt>
                <c:pt idx="1947">
                  <c:v>21.44</c:v>
                </c:pt>
                <c:pt idx="1948">
                  <c:v>19.11</c:v>
                </c:pt>
                <c:pt idx="1949">
                  <c:v>19.95</c:v>
                </c:pt>
                <c:pt idx="1950">
                  <c:v>17.23</c:v>
                </c:pt>
                <c:pt idx="1951">
                  <c:v>15.29</c:v>
                </c:pt>
                <c:pt idx="1952">
                  <c:v>15.26</c:v>
                </c:pt>
                <c:pt idx="1953">
                  <c:v>14.51</c:v>
                </c:pt>
                <c:pt idx="1954">
                  <c:v>14.3</c:v>
                </c:pt>
                <c:pt idx="1955">
                  <c:v>14.14</c:v>
                </c:pt>
                <c:pt idx="1956">
                  <c:v>13.57</c:v>
                </c:pt>
                <c:pt idx="1957">
                  <c:v>13.87</c:v>
                </c:pt>
                <c:pt idx="1958">
                  <c:v>15.5</c:v>
                </c:pt>
                <c:pt idx="1959">
                  <c:v>14.79</c:v>
                </c:pt>
                <c:pt idx="1960">
                  <c:v>14.68</c:v>
                </c:pt>
                <c:pt idx="1961">
                  <c:v>14.23</c:v>
                </c:pt>
                <c:pt idx="1962">
                  <c:v>13.67</c:v>
                </c:pt>
                <c:pt idx="1963">
                  <c:v>14.35</c:v>
                </c:pt>
                <c:pt idx="1964">
                  <c:v>14.04</c:v>
                </c:pt>
                <c:pt idx="1965">
                  <c:v>14</c:v>
                </c:pt>
                <c:pt idx="1966">
                  <c:v>16</c:v>
                </c:pt>
                <c:pt idx="1967">
                  <c:v>14.1</c:v>
                </c:pt>
                <c:pt idx="1968">
                  <c:v>13.89</c:v>
                </c:pt>
                <c:pt idx="1969">
                  <c:v>14.21</c:v>
                </c:pt>
                <c:pt idx="1970">
                  <c:v>14.11</c:v>
                </c:pt>
                <c:pt idx="1971">
                  <c:v>14.2</c:v>
                </c:pt>
                <c:pt idx="1972">
                  <c:v>14.8</c:v>
                </c:pt>
                <c:pt idx="1973">
                  <c:v>14.47</c:v>
                </c:pt>
                <c:pt idx="1974">
                  <c:v>16.22</c:v>
                </c:pt>
                <c:pt idx="1975">
                  <c:v>17.82</c:v>
                </c:pt>
                <c:pt idx="1976">
                  <c:v>15.64</c:v>
                </c:pt>
                <c:pt idx="1977">
                  <c:v>14.52</c:v>
                </c:pt>
                <c:pt idx="1978">
                  <c:v>15.12</c:v>
                </c:pt>
                <c:pt idx="1979">
                  <c:v>14.52</c:v>
                </c:pt>
                <c:pt idx="1980">
                  <c:v>15</c:v>
                </c:pt>
                <c:pt idx="1981">
                  <c:v>15.09</c:v>
                </c:pt>
                <c:pt idx="1982">
                  <c:v>14.02</c:v>
                </c:pt>
                <c:pt idx="1983">
                  <c:v>14.93</c:v>
                </c:pt>
                <c:pt idx="1984">
                  <c:v>14.62</c:v>
                </c:pt>
                <c:pt idx="1985">
                  <c:v>14.41</c:v>
                </c:pt>
                <c:pt idx="1986">
                  <c:v>13.88</c:v>
                </c:pt>
                <c:pt idx="1987">
                  <c:v>13.1</c:v>
                </c:pt>
                <c:pt idx="1988">
                  <c:v>13.09</c:v>
                </c:pt>
                <c:pt idx="1989">
                  <c:v>13.37</c:v>
                </c:pt>
                <c:pt idx="1990">
                  <c:v>13.96</c:v>
                </c:pt>
                <c:pt idx="1991">
                  <c:v>15.57</c:v>
                </c:pt>
                <c:pt idx="1992">
                  <c:v>14.89</c:v>
                </c:pt>
                <c:pt idx="1993">
                  <c:v>13.82</c:v>
                </c:pt>
                <c:pt idx="1994">
                  <c:v>15.89</c:v>
                </c:pt>
                <c:pt idx="1995">
                  <c:v>17.03</c:v>
                </c:pt>
                <c:pt idx="1996">
                  <c:v>16.11</c:v>
                </c:pt>
                <c:pt idx="1997">
                  <c:v>15.61</c:v>
                </c:pt>
                <c:pt idx="1998">
                  <c:v>14.18</c:v>
                </c:pt>
                <c:pt idx="1999">
                  <c:v>13.36</c:v>
                </c:pt>
                <c:pt idx="2000">
                  <c:v>13.25</c:v>
                </c:pt>
                <c:pt idx="2001">
                  <c:v>13.19</c:v>
                </c:pt>
                <c:pt idx="2002">
                  <c:v>13.27</c:v>
                </c:pt>
                <c:pt idx="2003">
                  <c:v>13.32</c:v>
                </c:pt>
                <c:pt idx="2004">
                  <c:v>14.06</c:v>
                </c:pt>
                <c:pt idx="2005">
                  <c:v>13.97</c:v>
                </c:pt>
                <c:pt idx="2006">
                  <c:v>13.71</c:v>
                </c:pt>
                <c:pt idx="2007">
                  <c:v>13.41</c:v>
                </c:pt>
                <c:pt idx="2008">
                  <c:v>13.25</c:v>
                </c:pt>
                <c:pt idx="2009">
                  <c:v>12.91</c:v>
                </c:pt>
                <c:pt idx="2010">
                  <c:v>13.29</c:v>
                </c:pt>
                <c:pt idx="2011">
                  <c:v>13.8</c:v>
                </c:pt>
                <c:pt idx="2012">
                  <c:v>13.4</c:v>
                </c:pt>
                <c:pt idx="2013">
                  <c:v>13.43</c:v>
                </c:pt>
                <c:pt idx="2014">
                  <c:v>12.92</c:v>
                </c:pt>
                <c:pt idx="2015">
                  <c:v>12.23</c:v>
                </c:pt>
                <c:pt idx="2016">
                  <c:v>12.13</c:v>
                </c:pt>
                <c:pt idx="2017">
                  <c:v>12.17</c:v>
                </c:pt>
                <c:pt idx="2018">
                  <c:v>13.17</c:v>
                </c:pt>
                <c:pt idx="2019">
                  <c:v>12.44</c:v>
                </c:pt>
                <c:pt idx="2020">
                  <c:v>12.42</c:v>
                </c:pt>
                <c:pt idx="2021">
                  <c:v>12.96</c:v>
                </c:pt>
                <c:pt idx="2022">
                  <c:v>11.91</c:v>
                </c:pt>
                <c:pt idx="2023">
                  <c:v>12.03</c:v>
                </c:pt>
                <c:pt idx="2024">
                  <c:v>11.36</c:v>
                </c:pt>
                <c:pt idx="2025">
                  <c:v>11.51</c:v>
                </c:pt>
                <c:pt idx="2026">
                  <c:v>11.68</c:v>
                </c:pt>
                <c:pt idx="2027">
                  <c:v>11.57</c:v>
                </c:pt>
                <c:pt idx="2028">
                  <c:v>11.4</c:v>
                </c:pt>
                <c:pt idx="2029">
                  <c:v>11.58</c:v>
                </c:pt>
                <c:pt idx="2030">
                  <c:v>11.87</c:v>
                </c:pt>
                <c:pt idx="2031">
                  <c:v>12.08</c:v>
                </c:pt>
                <c:pt idx="2032">
                  <c:v>11.68</c:v>
                </c:pt>
                <c:pt idx="2033">
                  <c:v>10.73</c:v>
                </c:pt>
                <c:pt idx="2034">
                  <c:v>11.15</c:v>
                </c:pt>
                <c:pt idx="2035">
                  <c:v>10.99</c:v>
                </c:pt>
                <c:pt idx="2036">
                  <c:v>11.6</c:v>
                </c:pt>
                <c:pt idx="2037">
                  <c:v>12.56</c:v>
                </c:pt>
                <c:pt idx="2038">
                  <c:v>12.18</c:v>
                </c:pt>
                <c:pt idx="2039">
                  <c:v>12.65</c:v>
                </c:pt>
                <c:pt idx="2040">
                  <c:v>12.06</c:v>
                </c:pt>
                <c:pt idx="2041">
                  <c:v>10.61</c:v>
                </c:pt>
                <c:pt idx="2042">
                  <c:v>10.62</c:v>
                </c:pt>
                <c:pt idx="2043">
                  <c:v>10.85</c:v>
                </c:pt>
                <c:pt idx="2044">
                  <c:v>10.98</c:v>
                </c:pt>
                <c:pt idx="2045">
                  <c:v>12.13</c:v>
                </c:pt>
                <c:pt idx="2046">
                  <c:v>11.59</c:v>
                </c:pt>
                <c:pt idx="2047">
                  <c:v>11.63</c:v>
                </c:pt>
                <c:pt idx="2048">
                  <c:v>11.26</c:v>
                </c:pt>
                <c:pt idx="2049">
                  <c:v>11.57</c:v>
                </c:pt>
                <c:pt idx="2050">
                  <c:v>11.15</c:v>
                </c:pt>
                <c:pt idx="2051">
                  <c:v>10.82</c:v>
                </c:pt>
                <c:pt idx="2052">
                  <c:v>10.32</c:v>
                </c:pt>
                <c:pt idx="2053">
                  <c:v>11.33</c:v>
                </c:pt>
                <c:pt idx="2054">
                  <c:v>11.98</c:v>
                </c:pt>
                <c:pt idx="2055">
                  <c:v>11.65</c:v>
                </c:pt>
                <c:pt idx="2056">
                  <c:v>12.59</c:v>
                </c:pt>
                <c:pt idx="2057">
                  <c:v>12.08</c:v>
                </c:pt>
                <c:pt idx="2058">
                  <c:v>11.82</c:v>
                </c:pt>
                <c:pt idx="2059">
                  <c:v>11.96</c:v>
                </c:pt>
                <c:pt idx="2060">
                  <c:v>11</c:v>
                </c:pt>
                <c:pt idx="2061">
                  <c:v>14.54</c:v>
                </c:pt>
                <c:pt idx="2062">
                  <c:v>12.06</c:v>
                </c:pt>
                <c:pt idx="2063">
                  <c:v>12.81</c:v>
                </c:pt>
                <c:pt idx="2064">
                  <c:v>12.24</c:v>
                </c:pt>
                <c:pt idx="2065">
                  <c:v>11.52</c:v>
                </c:pt>
                <c:pt idx="2066">
                  <c:v>11.84</c:v>
                </c:pt>
                <c:pt idx="2067">
                  <c:v>12.69</c:v>
                </c:pt>
                <c:pt idx="2068">
                  <c:v>12.56</c:v>
                </c:pt>
                <c:pt idx="2069">
                  <c:v>13.28</c:v>
                </c:pt>
                <c:pt idx="2070">
                  <c:v>13.33</c:v>
                </c:pt>
                <c:pt idx="2071">
                  <c:v>16.95</c:v>
                </c:pt>
                <c:pt idx="2072">
                  <c:v>17.03</c:v>
                </c:pt>
                <c:pt idx="2073">
                  <c:v>15.12</c:v>
                </c:pt>
                <c:pt idx="2074">
                  <c:v>16.87</c:v>
                </c:pt>
                <c:pt idx="2075">
                  <c:v>16.37</c:v>
                </c:pt>
                <c:pt idx="2076">
                  <c:v>16.66</c:v>
                </c:pt>
                <c:pt idx="2077">
                  <c:v>15.77</c:v>
                </c:pt>
                <c:pt idx="2078">
                  <c:v>14.23</c:v>
                </c:pt>
                <c:pt idx="2079">
                  <c:v>14.13</c:v>
                </c:pt>
                <c:pt idx="2080">
                  <c:v>12.9</c:v>
                </c:pt>
                <c:pt idx="2081">
                  <c:v>12.42</c:v>
                </c:pt>
                <c:pt idx="2082">
                  <c:v>13.15</c:v>
                </c:pt>
                <c:pt idx="2083">
                  <c:v>12.32</c:v>
                </c:pt>
                <c:pt idx="2084">
                  <c:v>12.21</c:v>
                </c:pt>
                <c:pt idx="2085">
                  <c:v>11.78</c:v>
                </c:pt>
                <c:pt idx="2086">
                  <c:v>11.76</c:v>
                </c:pt>
                <c:pt idx="2087">
                  <c:v>11.47</c:v>
                </c:pt>
                <c:pt idx="2088">
                  <c:v>11.7</c:v>
                </c:pt>
                <c:pt idx="2089">
                  <c:v>11.63</c:v>
                </c:pt>
                <c:pt idx="2090">
                  <c:v>11.78</c:v>
                </c:pt>
                <c:pt idx="2091">
                  <c:v>12.05</c:v>
                </c:pt>
                <c:pt idx="2092">
                  <c:v>11.98</c:v>
                </c:pt>
                <c:pt idx="2093">
                  <c:v>12.25</c:v>
                </c:pt>
                <c:pt idx="2094">
                  <c:v>12.36</c:v>
                </c:pt>
                <c:pt idx="2095">
                  <c:v>12.64</c:v>
                </c:pt>
                <c:pt idx="2096">
                  <c:v>12.09</c:v>
                </c:pt>
                <c:pt idx="2097">
                  <c:v>12.66</c:v>
                </c:pt>
                <c:pt idx="2098">
                  <c:v>13.5</c:v>
                </c:pt>
                <c:pt idx="2099">
                  <c:v>12.88</c:v>
                </c:pt>
                <c:pt idx="2100">
                  <c:v>12.8</c:v>
                </c:pt>
                <c:pt idx="2101">
                  <c:v>13.31</c:v>
                </c:pt>
                <c:pt idx="2102">
                  <c:v>14.12</c:v>
                </c:pt>
                <c:pt idx="2103">
                  <c:v>12.73</c:v>
                </c:pt>
                <c:pt idx="2104">
                  <c:v>12.65</c:v>
                </c:pt>
                <c:pt idx="2105">
                  <c:v>12.03</c:v>
                </c:pt>
                <c:pt idx="2106">
                  <c:v>12.11</c:v>
                </c:pt>
                <c:pt idx="2107">
                  <c:v>13.69</c:v>
                </c:pt>
                <c:pt idx="2108">
                  <c:v>14.93</c:v>
                </c:pt>
                <c:pt idx="2109">
                  <c:v>13.27</c:v>
                </c:pt>
                <c:pt idx="2110">
                  <c:v>15.64</c:v>
                </c:pt>
                <c:pt idx="2111">
                  <c:v>14.85</c:v>
                </c:pt>
                <c:pt idx="2112">
                  <c:v>15.98</c:v>
                </c:pt>
                <c:pt idx="2113">
                  <c:v>16.309999999999999</c:v>
                </c:pt>
                <c:pt idx="2114">
                  <c:v>16.71</c:v>
                </c:pt>
                <c:pt idx="2115">
                  <c:v>16.16</c:v>
                </c:pt>
                <c:pt idx="2116">
                  <c:v>14.55</c:v>
                </c:pt>
                <c:pt idx="2117">
                  <c:v>15.46</c:v>
                </c:pt>
                <c:pt idx="2118">
                  <c:v>17.2</c:v>
                </c:pt>
                <c:pt idx="2119">
                  <c:v>15.11</c:v>
                </c:pt>
                <c:pt idx="2120">
                  <c:v>18.760000000000002</c:v>
                </c:pt>
                <c:pt idx="2121">
                  <c:v>21.24</c:v>
                </c:pt>
                <c:pt idx="2122">
                  <c:v>24.64</c:v>
                </c:pt>
                <c:pt idx="2123">
                  <c:v>22.79</c:v>
                </c:pt>
                <c:pt idx="2124">
                  <c:v>26.25</c:v>
                </c:pt>
                <c:pt idx="2125">
                  <c:v>25.2</c:v>
                </c:pt>
                <c:pt idx="2126">
                  <c:v>21.99</c:v>
                </c:pt>
                <c:pt idx="2127">
                  <c:v>18.57</c:v>
                </c:pt>
                <c:pt idx="2128">
                  <c:v>16.079999999999998</c:v>
                </c:pt>
                <c:pt idx="2129">
                  <c:v>17.87</c:v>
                </c:pt>
                <c:pt idx="2130">
                  <c:v>16.53</c:v>
                </c:pt>
                <c:pt idx="2131">
                  <c:v>16.11</c:v>
                </c:pt>
                <c:pt idx="2132">
                  <c:v>16.04</c:v>
                </c:pt>
                <c:pt idx="2133">
                  <c:v>14.39</c:v>
                </c:pt>
                <c:pt idx="2134">
                  <c:v>15.15</c:v>
                </c:pt>
                <c:pt idx="2135">
                  <c:v>14.52</c:v>
                </c:pt>
                <c:pt idx="2136">
                  <c:v>14.03</c:v>
                </c:pt>
                <c:pt idx="2137">
                  <c:v>14.73</c:v>
                </c:pt>
                <c:pt idx="2138">
                  <c:v>14.89</c:v>
                </c:pt>
                <c:pt idx="2139">
                  <c:v>14.17</c:v>
                </c:pt>
                <c:pt idx="2140">
                  <c:v>13.67</c:v>
                </c:pt>
                <c:pt idx="2141">
                  <c:v>13.12</c:v>
                </c:pt>
                <c:pt idx="2142">
                  <c:v>12.67</c:v>
                </c:pt>
                <c:pt idx="2143">
                  <c:v>12.92</c:v>
                </c:pt>
                <c:pt idx="2144">
                  <c:v>13.02</c:v>
                </c:pt>
                <c:pt idx="2145">
                  <c:v>13.79</c:v>
                </c:pt>
                <c:pt idx="2146">
                  <c:v>13.31</c:v>
                </c:pt>
                <c:pt idx="2147">
                  <c:v>13.99</c:v>
                </c:pt>
                <c:pt idx="2148">
                  <c:v>13.86</c:v>
                </c:pt>
                <c:pt idx="2149">
                  <c:v>13.96</c:v>
                </c:pt>
                <c:pt idx="2150">
                  <c:v>13.58</c:v>
                </c:pt>
                <c:pt idx="2151">
                  <c:v>12.9</c:v>
                </c:pt>
                <c:pt idx="2152">
                  <c:v>12.62</c:v>
                </c:pt>
                <c:pt idx="2153">
                  <c:v>12.25</c:v>
                </c:pt>
                <c:pt idx="2154">
                  <c:v>12.07</c:v>
                </c:pt>
                <c:pt idx="2155">
                  <c:v>13.33</c:v>
                </c:pt>
                <c:pt idx="2156">
                  <c:v>14.29</c:v>
                </c:pt>
                <c:pt idx="2157">
                  <c:v>12.85</c:v>
                </c:pt>
                <c:pt idx="2158">
                  <c:v>12.47</c:v>
                </c:pt>
                <c:pt idx="2159">
                  <c:v>12.38</c:v>
                </c:pt>
                <c:pt idx="2160">
                  <c:v>11.82</c:v>
                </c:pt>
                <c:pt idx="2161">
                  <c:v>14.21</c:v>
                </c:pt>
                <c:pt idx="2162">
                  <c:v>14.89</c:v>
                </c:pt>
                <c:pt idx="2163">
                  <c:v>18.53</c:v>
                </c:pt>
                <c:pt idx="2164">
                  <c:v>20.079999999999998</c:v>
                </c:pt>
                <c:pt idx="2165">
                  <c:v>21.08</c:v>
                </c:pt>
                <c:pt idx="2166">
                  <c:v>20.420000000000002</c:v>
                </c:pt>
                <c:pt idx="2167">
                  <c:v>23.57</c:v>
                </c:pt>
                <c:pt idx="2168">
                  <c:v>19.440000000000001</c:v>
                </c:pt>
                <c:pt idx="2169">
                  <c:v>16.809999999999999</c:v>
                </c:pt>
                <c:pt idx="2170">
                  <c:v>16.489999999999998</c:v>
                </c:pt>
                <c:pt idx="2171">
                  <c:v>15.25</c:v>
                </c:pt>
                <c:pt idx="2172">
                  <c:v>14.8</c:v>
                </c:pt>
                <c:pt idx="2173">
                  <c:v>14.37</c:v>
                </c:pt>
                <c:pt idx="2174">
                  <c:v>14.5</c:v>
                </c:pt>
                <c:pt idx="2175">
                  <c:v>15.06</c:v>
                </c:pt>
                <c:pt idx="2176">
                  <c:v>15.92</c:v>
                </c:pt>
                <c:pt idx="2177">
                  <c:v>19.2</c:v>
                </c:pt>
                <c:pt idx="2178">
                  <c:v>17.79</c:v>
                </c:pt>
                <c:pt idx="2179">
                  <c:v>19.920000000000002</c:v>
                </c:pt>
                <c:pt idx="2180">
                  <c:v>21.12</c:v>
                </c:pt>
                <c:pt idx="2181">
                  <c:v>19.309999999999999</c:v>
                </c:pt>
                <c:pt idx="2182">
                  <c:v>17.010000000000002</c:v>
                </c:pt>
                <c:pt idx="2183">
                  <c:v>17.55</c:v>
                </c:pt>
                <c:pt idx="2184">
                  <c:v>19.600000000000001</c:v>
                </c:pt>
                <c:pt idx="2185">
                  <c:v>20.56</c:v>
                </c:pt>
                <c:pt idx="2186">
                  <c:v>21.48</c:v>
                </c:pt>
                <c:pt idx="2187">
                  <c:v>22.39</c:v>
                </c:pt>
                <c:pt idx="2188">
                  <c:v>20.95</c:v>
                </c:pt>
                <c:pt idx="2189">
                  <c:v>19.89</c:v>
                </c:pt>
                <c:pt idx="2190">
                  <c:v>18.850000000000001</c:v>
                </c:pt>
                <c:pt idx="2191">
                  <c:v>16.399999999999999</c:v>
                </c:pt>
                <c:pt idx="2192">
                  <c:v>16.66</c:v>
                </c:pt>
                <c:pt idx="2193">
                  <c:v>15.52</c:v>
                </c:pt>
                <c:pt idx="2194">
                  <c:v>17.22</c:v>
                </c:pt>
                <c:pt idx="2195">
                  <c:v>20.440000000000001</c:v>
                </c:pt>
                <c:pt idx="2196">
                  <c:v>18.760000000000002</c:v>
                </c:pt>
                <c:pt idx="2197">
                  <c:v>20.97</c:v>
                </c:pt>
                <c:pt idx="2198">
                  <c:v>19.43</c:v>
                </c:pt>
                <c:pt idx="2199">
                  <c:v>17.329999999999998</c:v>
                </c:pt>
                <c:pt idx="2200">
                  <c:v>18.329999999999998</c:v>
                </c:pt>
                <c:pt idx="2201">
                  <c:v>16.850000000000001</c:v>
                </c:pt>
                <c:pt idx="2202">
                  <c:v>17.29</c:v>
                </c:pt>
                <c:pt idx="2203">
                  <c:v>18.55</c:v>
                </c:pt>
                <c:pt idx="2204">
                  <c:v>17.23</c:v>
                </c:pt>
                <c:pt idx="2205">
                  <c:v>16.96</c:v>
                </c:pt>
                <c:pt idx="2206">
                  <c:v>15.34</c:v>
                </c:pt>
                <c:pt idx="2207">
                  <c:v>14.69</c:v>
                </c:pt>
                <c:pt idx="2208">
                  <c:v>15.8</c:v>
                </c:pt>
                <c:pt idx="2209">
                  <c:v>15.45</c:v>
                </c:pt>
                <c:pt idx="2210">
                  <c:v>15.29</c:v>
                </c:pt>
                <c:pt idx="2211">
                  <c:v>14.3</c:v>
                </c:pt>
                <c:pt idx="2212">
                  <c:v>14.56</c:v>
                </c:pt>
                <c:pt idx="2213">
                  <c:v>13.69</c:v>
                </c:pt>
                <c:pt idx="2214">
                  <c:v>13.84</c:v>
                </c:pt>
                <c:pt idx="2215">
                  <c:v>13.91</c:v>
                </c:pt>
                <c:pt idx="2216">
                  <c:v>13.34</c:v>
                </c:pt>
                <c:pt idx="2217">
                  <c:v>13.04</c:v>
                </c:pt>
                <c:pt idx="2218">
                  <c:v>13.86</c:v>
                </c:pt>
                <c:pt idx="2219">
                  <c:v>14.23</c:v>
                </c:pt>
                <c:pt idx="2220">
                  <c:v>14.04</c:v>
                </c:pt>
                <c:pt idx="2221">
                  <c:v>15.2</c:v>
                </c:pt>
                <c:pt idx="2222">
                  <c:v>15.06</c:v>
                </c:pt>
                <c:pt idx="2223">
                  <c:v>16.690000000000001</c:v>
                </c:pt>
                <c:pt idx="2224">
                  <c:v>16.87</c:v>
                </c:pt>
                <c:pt idx="2225">
                  <c:v>15.42</c:v>
                </c:pt>
                <c:pt idx="2226">
                  <c:v>16</c:v>
                </c:pt>
                <c:pt idx="2227">
                  <c:v>15.61</c:v>
                </c:pt>
                <c:pt idx="2228">
                  <c:v>15.66</c:v>
                </c:pt>
                <c:pt idx="2229">
                  <c:v>13.97</c:v>
                </c:pt>
                <c:pt idx="2230">
                  <c:v>14.07</c:v>
                </c:pt>
                <c:pt idx="2231">
                  <c:v>13.02</c:v>
                </c:pt>
                <c:pt idx="2232">
                  <c:v>13.41</c:v>
                </c:pt>
                <c:pt idx="2233">
                  <c:v>13.62</c:v>
                </c:pt>
                <c:pt idx="2234">
                  <c:v>15.44</c:v>
                </c:pt>
                <c:pt idx="2235">
                  <c:v>15.8</c:v>
                </c:pt>
                <c:pt idx="2236">
                  <c:v>15.07</c:v>
                </c:pt>
                <c:pt idx="2237">
                  <c:v>14.51</c:v>
                </c:pt>
                <c:pt idx="2238">
                  <c:v>15.29</c:v>
                </c:pt>
                <c:pt idx="2239">
                  <c:v>15.11</c:v>
                </c:pt>
                <c:pt idx="2240">
                  <c:v>14.67</c:v>
                </c:pt>
                <c:pt idx="2241">
                  <c:v>14.74</c:v>
                </c:pt>
                <c:pt idx="2242">
                  <c:v>14.78</c:v>
                </c:pt>
                <c:pt idx="2243">
                  <c:v>13.98</c:v>
                </c:pt>
                <c:pt idx="2244">
                  <c:v>13.09</c:v>
                </c:pt>
                <c:pt idx="2245">
                  <c:v>12.58</c:v>
                </c:pt>
                <c:pt idx="2246">
                  <c:v>13.94</c:v>
                </c:pt>
                <c:pt idx="2247">
                  <c:v>13.67</c:v>
                </c:pt>
                <c:pt idx="2248">
                  <c:v>12.84</c:v>
                </c:pt>
                <c:pt idx="2249">
                  <c:v>12.6</c:v>
                </c:pt>
                <c:pt idx="2250">
                  <c:v>13.89</c:v>
                </c:pt>
                <c:pt idx="2251">
                  <c:v>13.3</c:v>
                </c:pt>
                <c:pt idx="2252">
                  <c:v>13.25</c:v>
                </c:pt>
                <c:pt idx="2253">
                  <c:v>12.71</c:v>
                </c:pt>
                <c:pt idx="2254">
                  <c:v>12.48</c:v>
                </c:pt>
                <c:pt idx="2255">
                  <c:v>12.29</c:v>
                </c:pt>
                <c:pt idx="2256">
                  <c:v>13.12</c:v>
                </c:pt>
                <c:pt idx="2257">
                  <c:v>12.41</c:v>
                </c:pt>
                <c:pt idx="2258">
                  <c:v>13.39</c:v>
                </c:pt>
                <c:pt idx="2259">
                  <c:v>14.55</c:v>
                </c:pt>
                <c:pt idx="2260">
                  <c:v>12.7</c:v>
                </c:pt>
                <c:pt idx="2261">
                  <c:v>12.85</c:v>
                </c:pt>
                <c:pt idx="2262">
                  <c:v>14.31</c:v>
                </c:pt>
                <c:pt idx="2263">
                  <c:v>15.15</c:v>
                </c:pt>
                <c:pt idx="2264">
                  <c:v>15.13</c:v>
                </c:pt>
                <c:pt idx="2265">
                  <c:v>12.86</c:v>
                </c:pt>
                <c:pt idx="2266">
                  <c:v>13.85</c:v>
                </c:pt>
                <c:pt idx="2267">
                  <c:v>13.86</c:v>
                </c:pt>
                <c:pt idx="2268">
                  <c:v>13.76</c:v>
                </c:pt>
                <c:pt idx="2269">
                  <c:v>12.74</c:v>
                </c:pt>
                <c:pt idx="2270">
                  <c:v>12.38</c:v>
                </c:pt>
                <c:pt idx="2271">
                  <c:v>12.73</c:v>
                </c:pt>
                <c:pt idx="2272">
                  <c:v>12.85</c:v>
                </c:pt>
                <c:pt idx="2273">
                  <c:v>12.88</c:v>
                </c:pt>
                <c:pt idx="2274">
                  <c:v>12.11</c:v>
                </c:pt>
                <c:pt idx="2275">
                  <c:v>12.13</c:v>
                </c:pt>
                <c:pt idx="2276">
                  <c:v>14.06</c:v>
                </c:pt>
                <c:pt idx="2277">
                  <c:v>13.27</c:v>
                </c:pt>
                <c:pt idx="2278">
                  <c:v>13.31</c:v>
                </c:pt>
                <c:pt idx="2279">
                  <c:v>13.84</c:v>
                </c:pt>
                <c:pt idx="2280">
                  <c:v>13.97</c:v>
                </c:pt>
                <c:pt idx="2281">
                  <c:v>14.24</c:v>
                </c:pt>
                <c:pt idx="2282">
                  <c:v>13.66</c:v>
                </c:pt>
                <c:pt idx="2283">
                  <c:v>14.71</c:v>
                </c:pt>
                <c:pt idx="2284">
                  <c:v>14.21</c:v>
                </c:pt>
                <c:pt idx="2285">
                  <c:v>15.29</c:v>
                </c:pt>
                <c:pt idx="2286">
                  <c:v>14.47</c:v>
                </c:pt>
                <c:pt idx="2287">
                  <c:v>13.22</c:v>
                </c:pt>
                <c:pt idx="2288">
                  <c:v>12.85</c:v>
                </c:pt>
                <c:pt idx="2289">
                  <c:v>13.78</c:v>
                </c:pt>
                <c:pt idx="2290">
                  <c:v>15.39</c:v>
                </c:pt>
                <c:pt idx="2291">
                  <c:v>14.81</c:v>
                </c:pt>
                <c:pt idx="2292">
                  <c:v>14.5</c:v>
                </c:pt>
                <c:pt idx="2293">
                  <c:v>13.19</c:v>
                </c:pt>
                <c:pt idx="2294">
                  <c:v>13.96</c:v>
                </c:pt>
                <c:pt idx="2295">
                  <c:v>12.74</c:v>
                </c:pt>
                <c:pt idx="2296">
                  <c:v>12.11</c:v>
                </c:pt>
                <c:pt idx="2297">
                  <c:v>13.26</c:v>
                </c:pt>
                <c:pt idx="2298">
                  <c:v>14.01</c:v>
                </c:pt>
                <c:pt idx="2299">
                  <c:v>14.02</c:v>
                </c:pt>
                <c:pt idx="2300">
                  <c:v>18.850000000000001</c:v>
                </c:pt>
                <c:pt idx="2301">
                  <c:v>18.23</c:v>
                </c:pt>
                <c:pt idx="2302">
                  <c:v>16.09</c:v>
                </c:pt>
                <c:pt idx="2303">
                  <c:v>16.79</c:v>
                </c:pt>
                <c:pt idx="2304">
                  <c:v>17.010000000000002</c:v>
                </c:pt>
                <c:pt idx="2305">
                  <c:v>16.09</c:v>
                </c:pt>
                <c:pt idx="2306">
                  <c:v>19.66</c:v>
                </c:pt>
                <c:pt idx="2307">
                  <c:v>19.97</c:v>
                </c:pt>
                <c:pt idx="2308">
                  <c:v>16.829999999999998</c:v>
                </c:pt>
                <c:pt idx="2309">
                  <c:v>13.9</c:v>
                </c:pt>
                <c:pt idx="2310">
                  <c:v>13.37</c:v>
                </c:pt>
                <c:pt idx="2311">
                  <c:v>13.23</c:v>
                </c:pt>
                <c:pt idx="2312">
                  <c:v>12.11</c:v>
                </c:pt>
                <c:pt idx="2313">
                  <c:v>11.95</c:v>
                </c:pt>
                <c:pt idx="2314">
                  <c:v>12.25</c:v>
                </c:pt>
                <c:pt idx="2315">
                  <c:v>12.22</c:v>
                </c:pt>
                <c:pt idx="2316">
                  <c:v>12.12</c:v>
                </c:pt>
                <c:pt idx="2317">
                  <c:v>12.64</c:v>
                </c:pt>
                <c:pt idx="2318">
                  <c:v>13.74</c:v>
                </c:pt>
                <c:pt idx="2319">
                  <c:v>15.6</c:v>
                </c:pt>
                <c:pt idx="2320">
                  <c:v>13.44</c:v>
                </c:pt>
                <c:pt idx="2321">
                  <c:v>12.5</c:v>
                </c:pt>
                <c:pt idx="2322">
                  <c:v>12.13</c:v>
                </c:pt>
                <c:pt idx="2323">
                  <c:v>12.12</c:v>
                </c:pt>
                <c:pt idx="2324">
                  <c:v>12.56</c:v>
                </c:pt>
                <c:pt idx="2325">
                  <c:v>13</c:v>
                </c:pt>
                <c:pt idx="2326">
                  <c:v>12.51</c:v>
                </c:pt>
                <c:pt idx="2327">
                  <c:v>13.77</c:v>
                </c:pt>
                <c:pt idx="2328">
                  <c:v>13.39</c:v>
                </c:pt>
                <c:pt idx="2329">
                  <c:v>12.23</c:v>
                </c:pt>
                <c:pt idx="2330">
                  <c:v>13.71</c:v>
                </c:pt>
                <c:pt idx="2331">
                  <c:v>13.61</c:v>
                </c:pt>
                <c:pt idx="2332">
                  <c:v>13.49</c:v>
                </c:pt>
                <c:pt idx="2333">
                  <c:v>12.83</c:v>
                </c:pt>
                <c:pt idx="2334">
                  <c:v>13.02</c:v>
                </c:pt>
                <c:pt idx="2335">
                  <c:v>13.79</c:v>
                </c:pt>
                <c:pt idx="2336">
                  <c:v>15.25</c:v>
                </c:pt>
                <c:pt idx="2337">
                  <c:v>19.14</c:v>
                </c:pt>
                <c:pt idx="2338">
                  <c:v>28.03</c:v>
                </c:pt>
                <c:pt idx="2339">
                  <c:v>40.74</c:v>
                </c:pt>
                <c:pt idx="2340">
                  <c:v>36.020000000000003</c:v>
                </c:pt>
                <c:pt idx="2341">
                  <c:v>30.32</c:v>
                </c:pt>
                <c:pt idx="2342">
                  <c:v>26.1</c:v>
                </c:pt>
                <c:pt idx="2343">
                  <c:v>26.05</c:v>
                </c:pt>
                <c:pt idx="2344">
                  <c:v>28.43</c:v>
                </c:pt>
                <c:pt idx="2345">
                  <c:v>31.4</c:v>
                </c:pt>
                <c:pt idx="2346">
                  <c:v>26.09</c:v>
                </c:pt>
                <c:pt idx="2347">
                  <c:v>25.61</c:v>
                </c:pt>
                <c:pt idx="2348">
                  <c:v>27.8</c:v>
                </c:pt>
                <c:pt idx="2349">
                  <c:v>24.9</c:v>
                </c:pt>
                <c:pt idx="2350">
                  <c:v>26.23</c:v>
                </c:pt>
                <c:pt idx="2351">
                  <c:v>24.37</c:v>
                </c:pt>
                <c:pt idx="2352">
                  <c:v>23.2</c:v>
                </c:pt>
                <c:pt idx="2353">
                  <c:v>24.25</c:v>
                </c:pt>
                <c:pt idx="2354">
                  <c:v>22.54</c:v>
                </c:pt>
                <c:pt idx="2355">
                  <c:v>21.35</c:v>
                </c:pt>
                <c:pt idx="2356">
                  <c:v>21.14</c:v>
                </c:pt>
                <c:pt idx="2357">
                  <c:v>22.28</c:v>
                </c:pt>
                <c:pt idx="2358">
                  <c:v>20.14</c:v>
                </c:pt>
                <c:pt idx="2359">
                  <c:v>22.44</c:v>
                </c:pt>
                <c:pt idx="2360">
                  <c:v>22.13</c:v>
                </c:pt>
                <c:pt idx="2361">
                  <c:v>23.47</c:v>
                </c:pt>
                <c:pt idx="2362">
                  <c:v>23.62</c:v>
                </c:pt>
                <c:pt idx="2363">
                  <c:v>27.63</c:v>
                </c:pt>
                <c:pt idx="2364">
                  <c:v>26.83</c:v>
                </c:pt>
                <c:pt idx="2365">
                  <c:v>24.5</c:v>
                </c:pt>
                <c:pt idx="2366">
                  <c:v>22.55</c:v>
                </c:pt>
                <c:pt idx="2367">
                  <c:v>20.94</c:v>
                </c:pt>
                <c:pt idx="2368">
                  <c:v>19.54</c:v>
                </c:pt>
                <c:pt idx="2369">
                  <c:v>19.399999999999999</c:v>
                </c:pt>
                <c:pt idx="2370">
                  <c:v>18.399999999999999</c:v>
                </c:pt>
                <c:pt idx="2371">
                  <c:v>17.420000000000002</c:v>
                </c:pt>
                <c:pt idx="2372">
                  <c:v>17.079999999999998</c:v>
                </c:pt>
                <c:pt idx="2373">
                  <c:v>16.170000000000002</c:v>
                </c:pt>
                <c:pt idx="2374">
                  <c:v>17.670000000000002</c:v>
                </c:pt>
                <c:pt idx="2375">
                  <c:v>18.03</c:v>
                </c:pt>
                <c:pt idx="2376">
                  <c:v>16.05</c:v>
                </c:pt>
                <c:pt idx="2377">
                  <c:v>15.05</c:v>
                </c:pt>
                <c:pt idx="2378">
                  <c:v>14.98</c:v>
                </c:pt>
                <c:pt idx="2379">
                  <c:v>15.75</c:v>
                </c:pt>
                <c:pt idx="2380">
                  <c:v>16.7</c:v>
                </c:pt>
                <c:pt idx="2381">
                  <c:v>14.45</c:v>
                </c:pt>
                <c:pt idx="2382">
                  <c:v>14.46</c:v>
                </c:pt>
                <c:pt idx="2383">
                  <c:v>15.29</c:v>
                </c:pt>
                <c:pt idx="2384">
                  <c:v>15.43</c:v>
                </c:pt>
                <c:pt idx="2385">
                  <c:v>14.33</c:v>
                </c:pt>
                <c:pt idx="2386">
                  <c:v>14.61</c:v>
                </c:pt>
                <c:pt idx="2387">
                  <c:v>15.07</c:v>
                </c:pt>
                <c:pt idx="2388">
                  <c:v>14.15</c:v>
                </c:pt>
                <c:pt idx="2389">
                  <c:v>14.54</c:v>
                </c:pt>
                <c:pt idx="2390">
                  <c:v>15.51</c:v>
                </c:pt>
                <c:pt idx="2391">
                  <c:v>15.05</c:v>
                </c:pt>
                <c:pt idx="2392">
                  <c:v>14.33</c:v>
                </c:pt>
                <c:pt idx="2393">
                  <c:v>16.52</c:v>
                </c:pt>
                <c:pt idx="2394">
                  <c:v>15.29</c:v>
                </c:pt>
                <c:pt idx="2395">
                  <c:v>16.059999999999999</c:v>
                </c:pt>
                <c:pt idx="2396">
                  <c:v>18.37</c:v>
                </c:pt>
                <c:pt idx="2397">
                  <c:v>20.079999999999998</c:v>
                </c:pt>
                <c:pt idx="2398">
                  <c:v>18.16</c:v>
                </c:pt>
                <c:pt idx="2399">
                  <c:v>18.84</c:v>
                </c:pt>
                <c:pt idx="2400">
                  <c:v>16.850000000000001</c:v>
                </c:pt>
                <c:pt idx="2401">
                  <c:v>16.989999999999998</c:v>
                </c:pt>
                <c:pt idx="2402">
                  <c:v>15.47</c:v>
                </c:pt>
                <c:pt idx="2403">
                  <c:v>15.62</c:v>
                </c:pt>
                <c:pt idx="2404">
                  <c:v>15.93</c:v>
                </c:pt>
                <c:pt idx="2405">
                  <c:v>15.19</c:v>
                </c:pt>
                <c:pt idx="2406">
                  <c:v>15.12</c:v>
                </c:pt>
                <c:pt idx="2407">
                  <c:v>16.13</c:v>
                </c:pt>
                <c:pt idx="2408">
                  <c:v>14.67</c:v>
                </c:pt>
                <c:pt idx="2409">
                  <c:v>15.91</c:v>
                </c:pt>
                <c:pt idx="2410">
                  <c:v>18.11</c:v>
                </c:pt>
                <c:pt idx="2411">
                  <c:v>14.81</c:v>
                </c:pt>
                <c:pt idx="2412">
                  <c:v>15.84</c:v>
                </c:pt>
                <c:pt idx="2413">
                  <c:v>17.600000000000001</c:v>
                </c:pt>
                <c:pt idx="2414">
                  <c:v>19.61</c:v>
                </c:pt>
                <c:pt idx="2415">
                  <c:v>19.34</c:v>
                </c:pt>
                <c:pt idx="2416">
                  <c:v>24.39</c:v>
                </c:pt>
                <c:pt idx="2417">
                  <c:v>22.73</c:v>
                </c:pt>
                <c:pt idx="2418">
                  <c:v>20.95</c:v>
                </c:pt>
                <c:pt idx="2419">
                  <c:v>17.86</c:v>
                </c:pt>
                <c:pt idx="2420">
                  <c:v>18.940000000000001</c:v>
                </c:pt>
                <c:pt idx="2421">
                  <c:v>20.7</c:v>
                </c:pt>
                <c:pt idx="2422">
                  <c:v>18.7</c:v>
                </c:pt>
                <c:pt idx="2423">
                  <c:v>16.600000000000001</c:v>
                </c:pt>
                <c:pt idx="2424">
                  <c:v>15.57</c:v>
                </c:pt>
                <c:pt idx="2425">
                  <c:v>15.74</c:v>
                </c:pt>
                <c:pt idx="2426">
                  <c:v>16.91</c:v>
                </c:pt>
                <c:pt idx="2427">
                  <c:v>16.079999999999998</c:v>
                </c:pt>
                <c:pt idx="2428">
                  <c:v>17.29</c:v>
                </c:pt>
                <c:pt idx="2429">
                  <c:v>18.21</c:v>
                </c:pt>
                <c:pt idx="2430">
                  <c:v>20.7</c:v>
                </c:pt>
                <c:pt idx="2431">
                  <c:v>19.34</c:v>
                </c:pt>
                <c:pt idx="2432">
                  <c:v>20.59</c:v>
                </c:pt>
                <c:pt idx="2433">
                  <c:v>24.99</c:v>
                </c:pt>
                <c:pt idx="2434">
                  <c:v>27.01</c:v>
                </c:pt>
                <c:pt idx="2435">
                  <c:v>24.3</c:v>
                </c:pt>
                <c:pt idx="2436">
                  <c:v>22.47</c:v>
                </c:pt>
                <c:pt idx="2437">
                  <c:v>25.22</c:v>
                </c:pt>
                <c:pt idx="2438">
                  <c:v>23.95</c:v>
                </c:pt>
                <c:pt idx="2439">
                  <c:v>27.02</c:v>
                </c:pt>
                <c:pt idx="2440">
                  <c:v>26.05</c:v>
                </c:pt>
                <c:pt idx="2441">
                  <c:v>27.59</c:v>
                </c:pt>
                <c:pt idx="2442">
                  <c:v>26.69</c:v>
                </c:pt>
                <c:pt idx="2443">
                  <c:v>22.34</c:v>
                </c:pt>
                <c:pt idx="2444">
                  <c:v>24.15</c:v>
                </c:pt>
                <c:pt idx="2445">
                  <c:v>22.5</c:v>
                </c:pt>
                <c:pt idx="2446">
                  <c:v>23.11</c:v>
                </c:pt>
                <c:pt idx="2447">
                  <c:v>22.42</c:v>
                </c:pt>
                <c:pt idx="2448">
                  <c:v>20.2</c:v>
                </c:pt>
                <c:pt idx="2449">
                  <c:v>19.98</c:v>
                </c:pt>
                <c:pt idx="2450">
                  <c:v>21.98</c:v>
                </c:pt>
                <c:pt idx="2451">
                  <c:v>21.65</c:v>
                </c:pt>
                <c:pt idx="2452">
                  <c:v>21.84</c:v>
                </c:pt>
                <c:pt idx="2453">
                  <c:v>23.38</c:v>
                </c:pt>
                <c:pt idx="2454">
                  <c:v>26</c:v>
                </c:pt>
                <c:pt idx="2455">
                  <c:v>26.54</c:v>
                </c:pt>
                <c:pt idx="2456">
                  <c:v>26.29</c:v>
                </c:pt>
                <c:pt idx="2457">
                  <c:v>28.14</c:v>
                </c:pt>
                <c:pt idx="2458">
                  <c:v>25.4</c:v>
                </c:pt>
                <c:pt idx="2459">
                  <c:v>24.11</c:v>
                </c:pt>
                <c:pt idx="2460">
                  <c:v>22.31</c:v>
                </c:pt>
                <c:pt idx="2461">
                  <c:v>21.64</c:v>
                </c:pt>
                <c:pt idx="2462">
                  <c:v>20.53</c:v>
                </c:pt>
                <c:pt idx="2463">
                  <c:v>19.38</c:v>
                </c:pt>
                <c:pt idx="2464">
                  <c:v>20.98</c:v>
                </c:pt>
                <c:pt idx="2465">
                  <c:v>20.72</c:v>
                </c:pt>
                <c:pt idx="2466">
                  <c:v>19.11</c:v>
                </c:pt>
                <c:pt idx="2467">
                  <c:v>19.809999999999999</c:v>
                </c:pt>
                <c:pt idx="2468">
                  <c:v>20.55</c:v>
                </c:pt>
                <c:pt idx="2469">
                  <c:v>17.7</c:v>
                </c:pt>
                <c:pt idx="2470">
                  <c:v>17.09</c:v>
                </c:pt>
                <c:pt idx="2471">
                  <c:v>16.7</c:v>
                </c:pt>
                <c:pt idx="2472">
                  <c:v>16.86</c:v>
                </c:pt>
                <c:pt idx="2473">
                  <c:v>17.350000000000001</c:v>
                </c:pt>
                <c:pt idx="2474">
                  <c:v>18.670000000000002</c:v>
                </c:pt>
                <c:pt idx="2475">
                  <c:v>18.34</c:v>
                </c:pt>
                <c:pt idx="2476">
                  <c:v>18.05</c:v>
                </c:pt>
                <c:pt idx="2477">
                  <c:v>16.5</c:v>
                </c:pt>
                <c:pt idx="2478">
                  <c:v>16.920000000000002</c:v>
                </c:pt>
                <c:pt idx="2479">
                  <c:v>16.84</c:v>
                </c:pt>
                <c:pt idx="2480">
                  <c:v>14.99</c:v>
                </c:pt>
                <c:pt idx="2481">
                  <c:v>14.44</c:v>
                </c:pt>
                <c:pt idx="2482">
                  <c:v>14.02</c:v>
                </c:pt>
                <c:pt idx="2483">
                  <c:v>13.79</c:v>
                </c:pt>
                <c:pt idx="2484">
                  <c:v>14.17</c:v>
                </c:pt>
                <c:pt idx="2485">
                  <c:v>14.94</c:v>
                </c:pt>
                <c:pt idx="2486">
                  <c:v>14.74</c:v>
                </c:pt>
                <c:pt idx="2487">
                  <c:v>15.24</c:v>
                </c:pt>
                <c:pt idx="2488">
                  <c:v>13.82</c:v>
                </c:pt>
                <c:pt idx="2489">
                  <c:v>13.56</c:v>
                </c:pt>
                <c:pt idx="2490">
                  <c:v>13.95</c:v>
                </c:pt>
                <c:pt idx="2491">
                  <c:v>13.1</c:v>
                </c:pt>
                <c:pt idx="2492">
                  <c:v>14.12</c:v>
                </c:pt>
                <c:pt idx="2493">
                  <c:v>15.42</c:v>
                </c:pt>
                <c:pt idx="2494">
                  <c:v>14.09</c:v>
                </c:pt>
                <c:pt idx="2495">
                  <c:v>16.16</c:v>
                </c:pt>
                <c:pt idx="2496">
                  <c:v>15.36</c:v>
                </c:pt>
                <c:pt idx="2497">
                  <c:v>16.260000000000002</c:v>
                </c:pt>
                <c:pt idx="2498">
                  <c:v>14.85</c:v>
                </c:pt>
                <c:pt idx="2499">
                  <c:v>13.84</c:v>
                </c:pt>
                <c:pt idx="2500">
                  <c:v>13.72</c:v>
                </c:pt>
                <c:pt idx="2501">
                  <c:v>13.62</c:v>
                </c:pt>
                <c:pt idx="2502">
                  <c:v>13.35</c:v>
                </c:pt>
                <c:pt idx="2503">
                  <c:v>13.24</c:v>
                </c:pt>
                <c:pt idx="2504">
                  <c:v>13.28</c:v>
                </c:pt>
                <c:pt idx="2505">
                  <c:v>13.95</c:v>
                </c:pt>
                <c:pt idx="2506">
                  <c:v>13.22</c:v>
                </c:pt>
                <c:pt idx="2507">
                  <c:v>14.08</c:v>
                </c:pt>
                <c:pt idx="2508">
                  <c:v>13.96</c:v>
                </c:pt>
                <c:pt idx="2509">
                  <c:v>13.77</c:v>
                </c:pt>
                <c:pt idx="2510">
                  <c:v>15.22</c:v>
                </c:pt>
                <c:pt idx="2511">
                  <c:v>15.7</c:v>
                </c:pt>
                <c:pt idx="2512">
                  <c:v>14.68</c:v>
                </c:pt>
                <c:pt idx="2513">
                  <c:v>15.6</c:v>
                </c:pt>
                <c:pt idx="2514">
                  <c:v>16.05</c:v>
                </c:pt>
                <c:pt idx="2515">
                  <c:v>15.91</c:v>
                </c:pt>
                <c:pt idx="2516">
                  <c:v>14.72</c:v>
                </c:pt>
                <c:pt idx="2517">
                  <c:v>14.57</c:v>
                </c:pt>
              </c:numCache>
            </c:numRef>
          </c:val>
          <c:smooth val="0"/>
          <c:extLst xmlns:c16r2="http://schemas.microsoft.com/office/drawing/2015/06/chart">
            <c:ext xmlns:c16="http://schemas.microsoft.com/office/drawing/2014/chart" uri="{C3380CC4-5D6E-409C-BE32-E72D297353CC}">
              <c16:uniqueId val="{00000000-531A-4BD8-B7C1-7E67E1B4FFCE}"/>
            </c:ext>
          </c:extLst>
        </c:ser>
        <c:ser>
          <c:idx val="1"/>
          <c:order val="1"/>
          <c:tx>
            <c:strRef>
              <c:f>Sheet1!$AC$4</c:f>
              <c:strCache>
                <c:ptCount val="1"/>
                <c:pt idx="0">
                  <c:v>10Y Historical Average</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C$5:$AC$2522</c:f>
              <c:numCache>
                <c:formatCode>General</c:formatCode>
                <c:ptCount val="2518"/>
                <c:pt idx="0">
                  <c:v>20.655131056393973</c:v>
                </c:pt>
                <c:pt idx="1">
                  <c:v>20.655131056393973</c:v>
                </c:pt>
                <c:pt idx="2">
                  <c:v>20.655131056393973</c:v>
                </c:pt>
                <c:pt idx="3">
                  <c:v>20.655131056393973</c:v>
                </c:pt>
                <c:pt idx="4">
                  <c:v>20.655131056393973</c:v>
                </c:pt>
                <c:pt idx="5">
                  <c:v>20.655131056393973</c:v>
                </c:pt>
                <c:pt idx="6">
                  <c:v>20.655131056393973</c:v>
                </c:pt>
                <c:pt idx="7">
                  <c:v>20.655131056393973</c:v>
                </c:pt>
                <c:pt idx="8">
                  <c:v>20.655131056393973</c:v>
                </c:pt>
                <c:pt idx="9">
                  <c:v>20.655131056393973</c:v>
                </c:pt>
                <c:pt idx="10">
                  <c:v>20.655131056393973</c:v>
                </c:pt>
                <c:pt idx="11">
                  <c:v>20.655131056393973</c:v>
                </c:pt>
                <c:pt idx="12">
                  <c:v>20.655131056393973</c:v>
                </c:pt>
                <c:pt idx="13">
                  <c:v>20.655131056393973</c:v>
                </c:pt>
                <c:pt idx="14">
                  <c:v>20.655131056393973</c:v>
                </c:pt>
                <c:pt idx="15">
                  <c:v>20.655131056393973</c:v>
                </c:pt>
                <c:pt idx="16">
                  <c:v>20.655131056393973</c:v>
                </c:pt>
                <c:pt idx="17">
                  <c:v>20.655131056393973</c:v>
                </c:pt>
                <c:pt idx="18">
                  <c:v>20.655131056393973</c:v>
                </c:pt>
                <c:pt idx="19">
                  <c:v>20.655131056393973</c:v>
                </c:pt>
                <c:pt idx="20">
                  <c:v>20.655131056393973</c:v>
                </c:pt>
                <c:pt idx="21">
                  <c:v>20.655131056393973</c:v>
                </c:pt>
                <c:pt idx="22">
                  <c:v>20.655131056393973</c:v>
                </c:pt>
                <c:pt idx="23">
                  <c:v>20.655131056393973</c:v>
                </c:pt>
                <c:pt idx="24">
                  <c:v>20.655131056393973</c:v>
                </c:pt>
                <c:pt idx="25">
                  <c:v>20.655131056393973</c:v>
                </c:pt>
                <c:pt idx="26">
                  <c:v>20.655131056393973</c:v>
                </c:pt>
                <c:pt idx="27">
                  <c:v>20.655131056393973</c:v>
                </c:pt>
                <c:pt idx="28">
                  <c:v>20.655131056393973</c:v>
                </c:pt>
                <c:pt idx="29">
                  <c:v>20.655131056393973</c:v>
                </c:pt>
                <c:pt idx="30">
                  <c:v>20.655131056393973</c:v>
                </c:pt>
                <c:pt idx="31">
                  <c:v>20.655131056393973</c:v>
                </c:pt>
                <c:pt idx="32">
                  <c:v>20.655131056393973</c:v>
                </c:pt>
                <c:pt idx="33">
                  <c:v>20.655131056393973</c:v>
                </c:pt>
                <c:pt idx="34">
                  <c:v>20.655131056393973</c:v>
                </c:pt>
                <c:pt idx="35">
                  <c:v>20.655131056393973</c:v>
                </c:pt>
                <c:pt idx="36">
                  <c:v>20.655131056393973</c:v>
                </c:pt>
                <c:pt idx="37">
                  <c:v>20.655131056393973</c:v>
                </c:pt>
                <c:pt idx="38">
                  <c:v>20.655131056393973</c:v>
                </c:pt>
                <c:pt idx="39">
                  <c:v>20.655131056393973</c:v>
                </c:pt>
                <c:pt idx="40">
                  <c:v>20.655131056393973</c:v>
                </c:pt>
                <c:pt idx="41">
                  <c:v>20.655131056393973</c:v>
                </c:pt>
                <c:pt idx="42">
                  <c:v>20.655131056393973</c:v>
                </c:pt>
                <c:pt idx="43">
                  <c:v>20.655131056393973</c:v>
                </c:pt>
                <c:pt idx="44">
                  <c:v>20.655131056393973</c:v>
                </c:pt>
                <c:pt idx="45">
                  <c:v>20.655131056393973</c:v>
                </c:pt>
                <c:pt idx="46">
                  <c:v>20.655131056393973</c:v>
                </c:pt>
                <c:pt idx="47">
                  <c:v>20.655131056393973</c:v>
                </c:pt>
                <c:pt idx="48">
                  <c:v>20.655131056393973</c:v>
                </c:pt>
                <c:pt idx="49">
                  <c:v>20.655131056393973</c:v>
                </c:pt>
                <c:pt idx="50">
                  <c:v>20.655131056393973</c:v>
                </c:pt>
                <c:pt idx="51">
                  <c:v>20.655131056393973</c:v>
                </c:pt>
                <c:pt idx="52">
                  <c:v>20.655131056393973</c:v>
                </c:pt>
                <c:pt idx="53">
                  <c:v>20.655131056393973</c:v>
                </c:pt>
                <c:pt idx="54">
                  <c:v>20.655131056393973</c:v>
                </c:pt>
                <c:pt idx="55">
                  <c:v>20.655131056393973</c:v>
                </c:pt>
                <c:pt idx="56">
                  <c:v>20.655131056393973</c:v>
                </c:pt>
                <c:pt idx="57">
                  <c:v>20.655131056393973</c:v>
                </c:pt>
                <c:pt idx="58">
                  <c:v>20.655131056393973</c:v>
                </c:pt>
                <c:pt idx="59">
                  <c:v>20.655131056393973</c:v>
                </c:pt>
                <c:pt idx="60">
                  <c:v>20.655131056393973</c:v>
                </c:pt>
                <c:pt idx="61">
                  <c:v>20.655131056393973</c:v>
                </c:pt>
                <c:pt idx="62">
                  <c:v>20.655131056393973</c:v>
                </c:pt>
                <c:pt idx="63">
                  <c:v>20.655131056393973</c:v>
                </c:pt>
                <c:pt idx="64">
                  <c:v>20.655131056393973</c:v>
                </c:pt>
                <c:pt idx="65">
                  <c:v>20.655131056393973</c:v>
                </c:pt>
                <c:pt idx="66">
                  <c:v>20.655131056393973</c:v>
                </c:pt>
                <c:pt idx="67">
                  <c:v>20.655131056393973</c:v>
                </c:pt>
                <c:pt idx="68">
                  <c:v>20.655131056393973</c:v>
                </c:pt>
                <c:pt idx="69">
                  <c:v>20.655131056393973</c:v>
                </c:pt>
                <c:pt idx="70">
                  <c:v>20.655131056393973</c:v>
                </c:pt>
                <c:pt idx="71">
                  <c:v>20.655131056393973</c:v>
                </c:pt>
                <c:pt idx="72">
                  <c:v>20.655131056393973</c:v>
                </c:pt>
                <c:pt idx="73">
                  <c:v>20.655131056393973</c:v>
                </c:pt>
                <c:pt idx="74">
                  <c:v>20.655131056393973</c:v>
                </c:pt>
                <c:pt idx="75">
                  <c:v>20.655131056393973</c:v>
                </c:pt>
                <c:pt idx="76">
                  <c:v>20.655131056393973</c:v>
                </c:pt>
                <c:pt idx="77">
                  <c:v>20.655131056393973</c:v>
                </c:pt>
                <c:pt idx="78">
                  <c:v>20.655131056393973</c:v>
                </c:pt>
                <c:pt idx="79">
                  <c:v>20.655131056393973</c:v>
                </c:pt>
                <c:pt idx="80">
                  <c:v>20.655131056393973</c:v>
                </c:pt>
                <c:pt idx="81">
                  <c:v>20.655131056393973</c:v>
                </c:pt>
                <c:pt idx="82">
                  <c:v>20.655131056393973</c:v>
                </c:pt>
                <c:pt idx="83">
                  <c:v>20.655131056393973</c:v>
                </c:pt>
                <c:pt idx="84">
                  <c:v>20.655131056393973</c:v>
                </c:pt>
                <c:pt idx="85">
                  <c:v>20.655131056393973</c:v>
                </c:pt>
                <c:pt idx="86">
                  <c:v>20.655131056393973</c:v>
                </c:pt>
                <c:pt idx="87">
                  <c:v>20.655131056393973</c:v>
                </c:pt>
                <c:pt idx="88">
                  <c:v>20.655131056393973</c:v>
                </c:pt>
                <c:pt idx="89">
                  <c:v>20.655131056393973</c:v>
                </c:pt>
                <c:pt idx="90">
                  <c:v>20.655131056393973</c:v>
                </c:pt>
                <c:pt idx="91">
                  <c:v>20.655131056393973</c:v>
                </c:pt>
                <c:pt idx="92">
                  <c:v>20.655131056393973</c:v>
                </c:pt>
                <c:pt idx="93">
                  <c:v>20.655131056393973</c:v>
                </c:pt>
                <c:pt idx="94">
                  <c:v>20.655131056393973</c:v>
                </c:pt>
                <c:pt idx="95">
                  <c:v>20.655131056393973</c:v>
                </c:pt>
                <c:pt idx="96">
                  <c:v>20.655131056393973</c:v>
                </c:pt>
                <c:pt idx="97">
                  <c:v>20.655131056393973</c:v>
                </c:pt>
                <c:pt idx="98">
                  <c:v>20.655131056393973</c:v>
                </c:pt>
                <c:pt idx="99">
                  <c:v>20.655131056393973</c:v>
                </c:pt>
                <c:pt idx="100">
                  <c:v>20.655131056393973</c:v>
                </c:pt>
                <c:pt idx="101">
                  <c:v>20.655131056393973</c:v>
                </c:pt>
                <c:pt idx="102">
                  <c:v>20.655131056393973</c:v>
                </c:pt>
                <c:pt idx="103">
                  <c:v>20.655131056393973</c:v>
                </c:pt>
                <c:pt idx="104">
                  <c:v>20.655131056393973</c:v>
                </c:pt>
                <c:pt idx="105">
                  <c:v>20.655131056393973</c:v>
                </c:pt>
                <c:pt idx="106">
                  <c:v>20.655131056393973</c:v>
                </c:pt>
                <c:pt idx="107">
                  <c:v>20.655131056393973</c:v>
                </c:pt>
                <c:pt idx="108">
                  <c:v>20.655131056393973</c:v>
                </c:pt>
                <c:pt idx="109">
                  <c:v>20.655131056393973</c:v>
                </c:pt>
                <c:pt idx="110">
                  <c:v>20.655131056393973</c:v>
                </c:pt>
                <c:pt idx="111">
                  <c:v>20.655131056393973</c:v>
                </c:pt>
                <c:pt idx="112">
                  <c:v>20.655131056393973</c:v>
                </c:pt>
                <c:pt idx="113">
                  <c:v>20.655131056393973</c:v>
                </c:pt>
                <c:pt idx="114">
                  <c:v>20.655131056393973</c:v>
                </c:pt>
                <c:pt idx="115">
                  <c:v>20.655131056393973</c:v>
                </c:pt>
                <c:pt idx="116">
                  <c:v>20.655131056393973</c:v>
                </c:pt>
                <c:pt idx="117">
                  <c:v>20.655131056393973</c:v>
                </c:pt>
                <c:pt idx="118">
                  <c:v>20.655131056393973</c:v>
                </c:pt>
                <c:pt idx="119">
                  <c:v>20.655131056393973</c:v>
                </c:pt>
                <c:pt idx="120">
                  <c:v>20.655131056393973</c:v>
                </c:pt>
                <c:pt idx="121">
                  <c:v>20.655131056393973</c:v>
                </c:pt>
                <c:pt idx="122">
                  <c:v>20.655131056393973</c:v>
                </c:pt>
                <c:pt idx="123">
                  <c:v>20.655131056393973</c:v>
                </c:pt>
                <c:pt idx="124">
                  <c:v>20.655131056393973</c:v>
                </c:pt>
                <c:pt idx="125">
                  <c:v>20.655131056393973</c:v>
                </c:pt>
                <c:pt idx="126">
                  <c:v>20.655131056393973</c:v>
                </c:pt>
                <c:pt idx="127">
                  <c:v>20.655131056393973</c:v>
                </c:pt>
                <c:pt idx="128">
                  <c:v>20.655131056393973</c:v>
                </c:pt>
                <c:pt idx="129">
                  <c:v>20.655131056393973</c:v>
                </c:pt>
                <c:pt idx="130">
                  <c:v>20.655131056393973</c:v>
                </c:pt>
                <c:pt idx="131">
                  <c:v>20.655131056393973</c:v>
                </c:pt>
                <c:pt idx="132">
                  <c:v>20.655131056393973</c:v>
                </c:pt>
                <c:pt idx="133">
                  <c:v>20.655131056393973</c:v>
                </c:pt>
                <c:pt idx="134">
                  <c:v>20.655131056393973</c:v>
                </c:pt>
                <c:pt idx="135">
                  <c:v>20.655131056393973</c:v>
                </c:pt>
                <c:pt idx="136">
                  <c:v>20.655131056393973</c:v>
                </c:pt>
                <c:pt idx="137">
                  <c:v>20.655131056393973</c:v>
                </c:pt>
                <c:pt idx="138">
                  <c:v>20.655131056393973</c:v>
                </c:pt>
                <c:pt idx="139">
                  <c:v>20.655131056393973</c:v>
                </c:pt>
                <c:pt idx="140">
                  <c:v>20.655131056393973</c:v>
                </c:pt>
                <c:pt idx="141">
                  <c:v>20.655131056393973</c:v>
                </c:pt>
                <c:pt idx="142">
                  <c:v>20.655131056393973</c:v>
                </c:pt>
                <c:pt idx="143">
                  <c:v>20.655131056393973</c:v>
                </c:pt>
                <c:pt idx="144">
                  <c:v>20.655131056393973</c:v>
                </c:pt>
                <c:pt idx="145">
                  <c:v>20.655131056393973</c:v>
                </c:pt>
                <c:pt idx="146">
                  <c:v>20.655131056393973</c:v>
                </c:pt>
                <c:pt idx="147">
                  <c:v>20.655131056393973</c:v>
                </c:pt>
                <c:pt idx="148">
                  <c:v>20.655131056393973</c:v>
                </c:pt>
                <c:pt idx="149">
                  <c:v>20.655131056393973</c:v>
                </c:pt>
                <c:pt idx="150">
                  <c:v>20.655131056393973</c:v>
                </c:pt>
                <c:pt idx="151">
                  <c:v>20.655131056393973</c:v>
                </c:pt>
                <c:pt idx="152">
                  <c:v>20.655131056393973</c:v>
                </c:pt>
                <c:pt idx="153">
                  <c:v>20.655131056393973</c:v>
                </c:pt>
                <c:pt idx="154">
                  <c:v>20.655131056393973</c:v>
                </c:pt>
                <c:pt idx="155">
                  <c:v>20.655131056393973</c:v>
                </c:pt>
                <c:pt idx="156">
                  <c:v>20.655131056393973</c:v>
                </c:pt>
                <c:pt idx="157">
                  <c:v>20.655131056393973</c:v>
                </c:pt>
                <c:pt idx="158">
                  <c:v>20.655131056393973</c:v>
                </c:pt>
                <c:pt idx="159">
                  <c:v>20.655131056393973</c:v>
                </c:pt>
                <c:pt idx="160">
                  <c:v>20.655131056393973</c:v>
                </c:pt>
                <c:pt idx="161">
                  <c:v>20.655131056393973</c:v>
                </c:pt>
                <c:pt idx="162">
                  <c:v>20.655131056393973</c:v>
                </c:pt>
                <c:pt idx="163">
                  <c:v>20.655131056393973</c:v>
                </c:pt>
                <c:pt idx="164">
                  <c:v>20.655131056393973</c:v>
                </c:pt>
                <c:pt idx="165">
                  <c:v>20.655131056393973</c:v>
                </c:pt>
                <c:pt idx="166">
                  <c:v>20.655131056393973</c:v>
                </c:pt>
                <c:pt idx="167">
                  <c:v>20.655131056393973</c:v>
                </c:pt>
                <c:pt idx="168">
                  <c:v>20.655131056393973</c:v>
                </c:pt>
                <c:pt idx="169">
                  <c:v>20.655131056393973</c:v>
                </c:pt>
                <c:pt idx="170">
                  <c:v>20.655131056393973</c:v>
                </c:pt>
                <c:pt idx="171">
                  <c:v>20.655131056393973</c:v>
                </c:pt>
                <c:pt idx="172">
                  <c:v>20.655131056393973</c:v>
                </c:pt>
                <c:pt idx="173">
                  <c:v>20.655131056393973</c:v>
                </c:pt>
                <c:pt idx="174">
                  <c:v>20.655131056393973</c:v>
                </c:pt>
                <c:pt idx="175">
                  <c:v>20.655131056393973</c:v>
                </c:pt>
                <c:pt idx="176">
                  <c:v>20.655131056393973</c:v>
                </c:pt>
                <c:pt idx="177">
                  <c:v>20.655131056393973</c:v>
                </c:pt>
                <c:pt idx="178">
                  <c:v>20.655131056393973</c:v>
                </c:pt>
                <c:pt idx="179">
                  <c:v>20.655131056393973</c:v>
                </c:pt>
                <c:pt idx="180">
                  <c:v>20.655131056393973</c:v>
                </c:pt>
                <c:pt idx="181">
                  <c:v>20.655131056393973</c:v>
                </c:pt>
                <c:pt idx="182">
                  <c:v>20.655131056393973</c:v>
                </c:pt>
                <c:pt idx="183">
                  <c:v>20.655131056393973</c:v>
                </c:pt>
                <c:pt idx="184">
                  <c:v>20.655131056393973</c:v>
                </c:pt>
                <c:pt idx="185">
                  <c:v>20.655131056393973</c:v>
                </c:pt>
                <c:pt idx="186">
                  <c:v>20.655131056393973</c:v>
                </c:pt>
                <c:pt idx="187">
                  <c:v>20.655131056393973</c:v>
                </c:pt>
                <c:pt idx="188">
                  <c:v>20.655131056393973</c:v>
                </c:pt>
                <c:pt idx="189">
                  <c:v>20.655131056393973</c:v>
                </c:pt>
                <c:pt idx="190">
                  <c:v>20.655131056393973</c:v>
                </c:pt>
                <c:pt idx="191">
                  <c:v>20.655131056393973</c:v>
                </c:pt>
                <c:pt idx="192">
                  <c:v>20.655131056393973</c:v>
                </c:pt>
                <c:pt idx="193">
                  <c:v>20.655131056393973</c:v>
                </c:pt>
                <c:pt idx="194">
                  <c:v>20.655131056393973</c:v>
                </c:pt>
                <c:pt idx="195">
                  <c:v>20.655131056393973</c:v>
                </c:pt>
                <c:pt idx="196">
                  <c:v>20.655131056393973</c:v>
                </c:pt>
                <c:pt idx="197">
                  <c:v>20.655131056393973</c:v>
                </c:pt>
                <c:pt idx="198">
                  <c:v>20.655131056393973</c:v>
                </c:pt>
                <c:pt idx="199">
                  <c:v>20.655131056393973</c:v>
                </c:pt>
                <c:pt idx="200">
                  <c:v>20.655131056393973</c:v>
                </c:pt>
                <c:pt idx="201">
                  <c:v>20.655131056393973</c:v>
                </c:pt>
                <c:pt idx="202">
                  <c:v>20.655131056393973</c:v>
                </c:pt>
                <c:pt idx="203">
                  <c:v>20.655131056393973</c:v>
                </c:pt>
                <c:pt idx="204">
                  <c:v>20.655131056393973</c:v>
                </c:pt>
                <c:pt idx="205">
                  <c:v>20.655131056393973</c:v>
                </c:pt>
                <c:pt idx="206">
                  <c:v>20.655131056393973</c:v>
                </c:pt>
                <c:pt idx="207">
                  <c:v>20.655131056393973</c:v>
                </c:pt>
                <c:pt idx="208">
                  <c:v>20.655131056393973</c:v>
                </c:pt>
                <c:pt idx="209">
                  <c:v>20.655131056393973</c:v>
                </c:pt>
                <c:pt idx="210">
                  <c:v>20.655131056393973</c:v>
                </c:pt>
                <c:pt idx="211">
                  <c:v>20.655131056393973</c:v>
                </c:pt>
                <c:pt idx="212">
                  <c:v>20.655131056393973</c:v>
                </c:pt>
                <c:pt idx="213">
                  <c:v>20.655131056393973</c:v>
                </c:pt>
                <c:pt idx="214">
                  <c:v>20.655131056393973</c:v>
                </c:pt>
                <c:pt idx="215">
                  <c:v>20.655131056393973</c:v>
                </c:pt>
                <c:pt idx="216">
                  <c:v>20.655131056393973</c:v>
                </c:pt>
                <c:pt idx="217">
                  <c:v>20.655131056393973</c:v>
                </c:pt>
                <c:pt idx="218">
                  <c:v>20.655131056393973</c:v>
                </c:pt>
                <c:pt idx="219">
                  <c:v>20.655131056393973</c:v>
                </c:pt>
                <c:pt idx="220">
                  <c:v>20.655131056393973</c:v>
                </c:pt>
                <c:pt idx="221">
                  <c:v>20.655131056393973</c:v>
                </c:pt>
                <c:pt idx="222">
                  <c:v>20.655131056393973</c:v>
                </c:pt>
                <c:pt idx="223">
                  <c:v>20.655131056393973</c:v>
                </c:pt>
                <c:pt idx="224">
                  <c:v>20.655131056393973</c:v>
                </c:pt>
                <c:pt idx="225">
                  <c:v>20.655131056393973</c:v>
                </c:pt>
                <c:pt idx="226">
                  <c:v>20.655131056393973</c:v>
                </c:pt>
                <c:pt idx="227">
                  <c:v>20.655131056393973</c:v>
                </c:pt>
                <c:pt idx="228">
                  <c:v>20.655131056393973</c:v>
                </c:pt>
                <c:pt idx="229">
                  <c:v>20.655131056393973</c:v>
                </c:pt>
                <c:pt idx="230">
                  <c:v>20.655131056393973</c:v>
                </c:pt>
                <c:pt idx="231">
                  <c:v>20.655131056393973</c:v>
                </c:pt>
                <c:pt idx="232">
                  <c:v>20.655131056393973</c:v>
                </c:pt>
                <c:pt idx="233">
                  <c:v>20.655131056393973</c:v>
                </c:pt>
                <c:pt idx="234">
                  <c:v>20.655131056393973</c:v>
                </c:pt>
                <c:pt idx="235">
                  <c:v>20.655131056393973</c:v>
                </c:pt>
                <c:pt idx="236">
                  <c:v>20.655131056393973</c:v>
                </c:pt>
                <c:pt idx="237">
                  <c:v>20.655131056393973</c:v>
                </c:pt>
                <c:pt idx="238">
                  <c:v>20.655131056393973</c:v>
                </c:pt>
                <c:pt idx="239">
                  <c:v>20.655131056393973</c:v>
                </c:pt>
                <c:pt idx="240">
                  <c:v>20.655131056393973</c:v>
                </c:pt>
                <c:pt idx="241">
                  <c:v>20.655131056393973</c:v>
                </c:pt>
                <c:pt idx="242">
                  <c:v>20.655131056393973</c:v>
                </c:pt>
                <c:pt idx="243">
                  <c:v>20.655131056393973</c:v>
                </c:pt>
                <c:pt idx="244">
                  <c:v>20.655131056393973</c:v>
                </c:pt>
                <c:pt idx="245">
                  <c:v>20.655131056393973</c:v>
                </c:pt>
                <c:pt idx="246">
                  <c:v>20.655131056393973</c:v>
                </c:pt>
                <c:pt idx="247">
                  <c:v>20.655131056393973</c:v>
                </c:pt>
                <c:pt idx="248">
                  <c:v>20.655131056393973</c:v>
                </c:pt>
                <c:pt idx="249">
                  <c:v>20.655131056393973</c:v>
                </c:pt>
                <c:pt idx="250">
                  <c:v>20.655131056393973</c:v>
                </c:pt>
                <c:pt idx="251">
                  <c:v>20.655131056393973</c:v>
                </c:pt>
                <c:pt idx="252">
                  <c:v>20.655131056393973</c:v>
                </c:pt>
                <c:pt idx="253">
                  <c:v>20.655131056393973</c:v>
                </c:pt>
                <c:pt idx="254">
                  <c:v>20.655131056393973</c:v>
                </c:pt>
                <c:pt idx="255">
                  <c:v>20.655131056393973</c:v>
                </c:pt>
                <c:pt idx="256">
                  <c:v>20.655131056393973</c:v>
                </c:pt>
                <c:pt idx="257">
                  <c:v>20.655131056393973</c:v>
                </c:pt>
                <c:pt idx="258">
                  <c:v>20.655131056393973</c:v>
                </c:pt>
                <c:pt idx="259">
                  <c:v>20.655131056393973</c:v>
                </c:pt>
                <c:pt idx="260">
                  <c:v>20.655131056393973</c:v>
                </c:pt>
                <c:pt idx="261">
                  <c:v>20.655131056393973</c:v>
                </c:pt>
                <c:pt idx="262">
                  <c:v>20.655131056393973</c:v>
                </c:pt>
                <c:pt idx="263">
                  <c:v>20.655131056393973</c:v>
                </c:pt>
                <c:pt idx="264">
                  <c:v>20.655131056393973</c:v>
                </c:pt>
                <c:pt idx="265">
                  <c:v>20.655131056393973</c:v>
                </c:pt>
                <c:pt idx="266">
                  <c:v>20.655131056393973</c:v>
                </c:pt>
                <c:pt idx="267">
                  <c:v>20.655131056393973</c:v>
                </c:pt>
                <c:pt idx="268">
                  <c:v>20.655131056393973</c:v>
                </c:pt>
                <c:pt idx="269">
                  <c:v>20.655131056393973</c:v>
                </c:pt>
                <c:pt idx="270">
                  <c:v>20.655131056393973</c:v>
                </c:pt>
                <c:pt idx="271">
                  <c:v>20.655131056393973</c:v>
                </c:pt>
                <c:pt idx="272">
                  <c:v>20.655131056393973</c:v>
                </c:pt>
                <c:pt idx="273">
                  <c:v>20.655131056393973</c:v>
                </c:pt>
                <c:pt idx="274">
                  <c:v>20.655131056393973</c:v>
                </c:pt>
                <c:pt idx="275">
                  <c:v>20.655131056393973</c:v>
                </c:pt>
                <c:pt idx="276">
                  <c:v>20.655131056393973</c:v>
                </c:pt>
                <c:pt idx="277">
                  <c:v>20.655131056393973</c:v>
                </c:pt>
                <c:pt idx="278">
                  <c:v>20.655131056393973</c:v>
                </c:pt>
                <c:pt idx="279">
                  <c:v>20.655131056393973</c:v>
                </c:pt>
                <c:pt idx="280">
                  <c:v>20.655131056393973</c:v>
                </c:pt>
                <c:pt idx="281">
                  <c:v>20.655131056393973</c:v>
                </c:pt>
                <c:pt idx="282">
                  <c:v>20.655131056393973</c:v>
                </c:pt>
                <c:pt idx="283">
                  <c:v>20.655131056393973</c:v>
                </c:pt>
                <c:pt idx="284">
                  <c:v>20.655131056393973</c:v>
                </c:pt>
                <c:pt idx="285">
                  <c:v>20.655131056393973</c:v>
                </c:pt>
                <c:pt idx="286">
                  <c:v>20.655131056393973</c:v>
                </c:pt>
                <c:pt idx="287">
                  <c:v>20.655131056393973</c:v>
                </c:pt>
                <c:pt idx="288">
                  <c:v>20.655131056393973</c:v>
                </c:pt>
                <c:pt idx="289">
                  <c:v>20.655131056393973</c:v>
                </c:pt>
                <c:pt idx="290">
                  <c:v>20.655131056393973</c:v>
                </c:pt>
                <c:pt idx="291">
                  <c:v>20.655131056393973</c:v>
                </c:pt>
                <c:pt idx="292">
                  <c:v>20.655131056393973</c:v>
                </c:pt>
                <c:pt idx="293">
                  <c:v>20.655131056393973</c:v>
                </c:pt>
                <c:pt idx="294">
                  <c:v>20.655131056393973</c:v>
                </c:pt>
                <c:pt idx="295">
                  <c:v>20.655131056393973</c:v>
                </c:pt>
                <c:pt idx="296">
                  <c:v>20.655131056393973</c:v>
                </c:pt>
                <c:pt idx="297">
                  <c:v>20.655131056393973</c:v>
                </c:pt>
                <c:pt idx="298">
                  <c:v>20.655131056393973</c:v>
                </c:pt>
                <c:pt idx="299">
                  <c:v>20.655131056393973</c:v>
                </c:pt>
                <c:pt idx="300">
                  <c:v>20.655131056393973</c:v>
                </c:pt>
                <c:pt idx="301">
                  <c:v>20.655131056393973</c:v>
                </c:pt>
                <c:pt idx="302">
                  <c:v>20.655131056393973</c:v>
                </c:pt>
                <c:pt idx="303">
                  <c:v>20.655131056393973</c:v>
                </c:pt>
                <c:pt idx="304">
                  <c:v>20.655131056393973</c:v>
                </c:pt>
                <c:pt idx="305">
                  <c:v>20.655131056393973</c:v>
                </c:pt>
                <c:pt idx="306">
                  <c:v>20.655131056393973</c:v>
                </c:pt>
                <c:pt idx="307">
                  <c:v>20.655131056393973</c:v>
                </c:pt>
                <c:pt idx="308">
                  <c:v>20.655131056393973</c:v>
                </c:pt>
                <c:pt idx="309">
                  <c:v>20.655131056393973</c:v>
                </c:pt>
                <c:pt idx="310">
                  <c:v>20.655131056393973</c:v>
                </c:pt>
                <c:pt idx="311">
                  <c:v>20.655131056393973</c:v>
                </c:pt>
                <c:pt idx="312">
                  <c:v>20.655131056393973</c:v>
                </c:pt>
                <c:pt idx="313">
                  <c:v>20.655131056393973</c:v>
                </c:pt>
                <c:pt idx="314">
                  <c:v>20.655131056393973</c:v>
                </c:pt>
                <c:pt idx="315">
                  <c:v>20.655131056393973</c:v>
                </c:pt>
                <c:pt idx="316">
                  <c:v>20.655131056393973</c:v>
                </c:pt>
                <c:pt idx="317">
                  <c:v>20.655131056393973</c:v>
                </c:pt>
                <c:pt idx="318">
                  <c:v>20.655131056393973</c:v>
                </c:pt>
                <c:pt idx="319">
                  <c:v>20.655131056393973</c:v>
                </c:pt>
                <c:pt idx="320">
                  <c:v>20.655131056393973</c:v>
                </c:pt>
                <c:pt idx="321">
                  <c:v>20.655131056393973</c:v>
                </c:pt>
                <c:pt idx="322">
                  <c:v>20.655131056393973</c:v>
                </c:pt>
                <c:pt idx="323">
                  <c:v>20.655131056393973</c:v>
                </c:pt>
                <c:pt idx="324">
                  <c:v>20.655131056393973</c:v>
                </c:pt>
                <c:pt idx="325">
                  <c:v>20.655131056393973</c:v>
                </c:pt>
                <c:pt idx="326">
                  <c:v>20.655131056393973</c:v>
                </c:pt>
                <c:pt idx="327">
                  <c:v>20.655131056393973</c:v>
                </c:pt>
                <c:pt idx="328">
                  <c:v>20.655131056393973</c:v>
                </c:pt>
                <c:pt idx="329">
                  <c:v>20.655131056393973</c:v>
                </c:pt>
                <c:pt idx="330">
                  <c:v>20.655131056393973</c:v>
                </c:pt>
                <c:pt idx="331">
                  <c:v>20.655131056393973</c:v>
                </c:pt>
                <c:pt idx="332">
                  <c:v>20.655131056393973</c:v>
                </c:pt>
                <c:pt idx="333">
                  <c:v>20.655131056393973</c:v>
                </c:pt>
                <c:pt idx="334">
                  <c:v>20.655131056393973</c:v>
                </c:pt>
                <c:pt idx="335">
                  <c:v>20.655131056393973</c:v>
                </c:pt>
                <c:pt idx="336">
                  <c:v>20.655131056393973</c:v>
                </c:pt>
                <c:pt idx="337">
                  <c:v>20.655131056393973</c:v>
                </c:pt>
                <c:pt idx="338">
                  <c:v>20.655131056393973</c:v>
                </c:pt>
                <c:pt idx="339">
                  <c:v>20.655131056393973</c:v>
                </c:pt>
                <c:pt idx="340">
                  <c:v>20.655131056393973</c:v>
                </c:pt>
                <c:pt idx="341">
                  <c:v>20.655131056393973</c:v>
                </c:pt>
                <c:pt idx="342">
                  <c:v>20.655131056393973</c:v>
                </c:pt>
                <c:pt idx="343">
                  <c:v>20.655131056393973</c:v>
                </c:pt>
                <c:pt idx="344">
                  <c:v>20.655131056393973</c:v>
                </c:pt>
                <c:pt idx="345">
                  <c:v>20.655131056393973</c:v>
                </c:pt>
                <c:pt idx="346">
                  <c:v>20.655131056393973</c:v>
                </c:pt>
                <c:pt idx="347">
                  <c:v>20.655131056393973</c:v>
                </c:pt>
                <c:pt idx="348">
                  <c:v>20.655131056393973</c:v>
                </c:pt>
                <c:pt idx="349">
                  <c:v>20.655131056393973</c:v>
                </c:pt>
                <c:pt idx="350">
                  <c:v>20.655131056393973</c:v>
                </c:pt>
                <c:pt idx="351">
                  <c:v>20.655131056393973</c:v>
                </c:pt>
                <c:pt idx="352">
                  <c:v>20.655131056393973</c:v>
                </c:pt>
                <c:pt idx="353">
                  <c:v>20.655131056393973</c:v>
                </c:pt>
                <c:pt idx="354">
                  <c:v>20.655131056393973</c:v>
                </c:pt>
                <c:pt idx="355">
                  <c:v>20.655131056393973</c:v>
                </c:pt>
                <c:pt idx="356">
                  <c:v>20.655131056393973</c:v>
                </c:pt>
                <c:pt idx="357">
                  <c:v>20.655131056393973</c:v>
                </c:pt>
                <c:pt idx="358">
                  <c:v>20.655131056393973</c:v>
                </c:pt>
                <c:pt idx="359">
                  <c:v>20.655131056393973</c:v>
                </c:pt>
                <c:pt idx="360">
                  <c:v>20.655131056393973</c:v>
                </c:pt>
                <c:pt idx="361">
                  <c:v>20.655131056393973</c:v>
                </c:pt>
                <c:pt idx="362">
                  <c:v>20.655131056393973</c:v>
                </c:pt>
                <c:pt idx="363">
                  <c:v>20.655131056393973</c:v>
                </c:pt>
                <c:pt idx="364">
                  <c:v>20.655131056393973</c:v>
                </c:pt>
                <c:pt idx="365">
                  <c:v>20.655131056393973</c:v>
                </c:pt>
                <c:pt idx="366">
                  <c:v>20.655131056393973</c:v>
                </c:pt>
                <c:pt idx="367">
                  <c:v>20.655131056393973</c:v>
                </c:pt>
                <c:pt idx="368">
                  <c:v>20.655131056393973</c:v>
                </c:pt>
                <c:pt idx="369">
                  <c:v>20.655131056393973</c:v>
                </c:pt>
                <c:pt idx="370">
                  <c:v>20.655131056393973</c:v>
                </c:pt>
                <c:pt idx="371">
                  <c:v>20.655131056393973</c:v>
                </c:pt>
                <c:pt idx="372">
                  <c:v>20.655131056393973</c:v>
                </c:pt>
                <c:pt idx="373">
                  <c:v>20.655131056393973</c:v>
                </c:pt>
                <c:pt idx="374">
                  <c:v>20.655131056393973</c:v>
                </c:pt>
                <c:pt idx="375">
                  <c:v>20.655131056393973</c:v>
                </c:pt>
                <c:pt idx="376">
                  <c:v>20.655131056393973</c:v>
                </c:pt>
                <c:pt idx="377">
                  <c:v>20.655131056393973</c:v>
                </c:pt>
                <c:pt idx="378">
                  <c:v>20.655131056393973</c:v>
                </c:pt>
                <c:pt idx="379">
                  <c:v>20.655131056393973</c:v>
                </c:pt>
                <c:pt idx="380">
                  <c:v>20.655131056393973</c:v>
                </c:pt>
                <c:pt idx="381">
                  <c:v>20.655131056393973</c:v>
                </c:pt>
                <c:pt idx="382">
                  <c:v>20.655131056393973</c:v>
                </c:pt>
                <c:pt idx="383">
                  <c:v>20.655131056393973</c:v>
                </c:pt>
                <c:pt idx="384">
                  <c:v>20.655131056393973</c:v>
                </c:pt>
                <c:pt idx="385">
                  <c:v>20.655131056393973</c:v>
                </c:pt>
                <c:pt idx="386">
                  <c:v>20.655131056393973</c:v>
                </c:pt>
                <c:pt idx="387">
                  <c:v>20.655131056393973</c:v>
                </c:pt>
                <c:pt idx="388">
                  <c:v>20.655131056393973</c:v>
                </c:pt>
                <c:pt idx="389">
                  <c:v>20.655131056393973</c:v>
                </c:pt>
                <c:pt idx="390">
                  <c:v>20.655131056393973</c:v>
                </c:pt>
                <c:pt idx="391">
                  <c:v>20.655131056393973</c:v>
                </c:pt>
                <c:pt idx="392">
                  <c:v>20.655131056393973</c:v>
                </c:pt>
                <c:pt idx="393">
                  <c:v>20.655131056393973</c:v>
                </c:pt>
                <c:pt idx="394">
                  <c:v>20.655131056393973</c:v>
                </c:pt>
                <c:pt idx="395">
                  <c:v>20.655131056393973</c:v>
                </c:pt>
                <c:pt idx="396">
                  <c:v>20.655131056393973</c:v>
                </c:pt>
                <c:pt idx="397">
                  <c:v>20.655131056393973</c:v>
                </c:pt>
                <c:pt idx="398">
                  <c:v>20.655131056393973</c:v>
                </c:pt>
                <c:pt idx="399">
                  <c:v>20.655131056393973</c:v>
                </c:pt>
                <c:pt idx="400">
                  <c:v>20.655131056393973</c:v>
                </c:pt>
                <c:pt idx="401">
                  <c:v>20.655131056393973</c:v>
                </c:pt>
                <c:pt idx="402">
                  <c:v>20.655131056393973</c:v>
                </c:pt>
                <c:pt idx="403">
                  <c:v>20.655131056393973</c:v>
                </c:pt>
                <c:pt idx="404">
                  <c:v>20.655131056393973</c:v>
                </c:pt>
                <c:pt idx="405">
                  <c:v>20.655131056393973</c:v>
                </c:pt>
                <c:pt idx="406">
                  <c:v>20.655131056393973</c:v>
                </c:pt>
                <c:pt idx="407">
                  <c:v>20.655131056393973</c:v>
                </c:pt>
                <c:pt idx="408">
                  <c:v>20.655131056393973</c:v>
                </c:pt>
                <c:pt idx="409">
                  <c:v>20.655131056393973</c:v>
                </c:pt>
                <c:pt idx="410">
                  <c:v>20.655131056393973</c:v>
                </c:pt>
                <c:pt idx="411">
                  <c:v>20.655131056393973</c:v>
                </c:pt>
                <c:pt idx="412">
                  <c:v>20.655131056393973</c:v>
                </c:pt>
                <c:pt idx="413">
                  <c:v>20.655131056393973</c:v>
                </c:pt>
                <c:pt idx="414">
                  <c:v>20.655131056393973</c:v>
                </c:pt>
                <c:pt idx="415">
                  <c:v>20.655131056393973</c:v>
                </c:pt>
                <c:pt idx="416">
                  <c:v>20.655131056393973</c:v>
                </c:pt>
                <c:pt idx="417">
                  <c:v>20.655131056393973</c:v>
                </c:pt>
                <c:pt idx="418">
                  <c:v>20.655131056393973</c:v>
                </c:pt>
                <c:pt idx="419">
                  <c:v>20.655131056393973</c:v>
                </c:pt>
                <c:pt idx="420">
                  <c:v>20.655131056393973</c:v>
                </c:pt>
                <c:pt idx="421">
                  <c:v>20.655131056393973</c:v>
                </c:pt>
                <c:pt idx="422">
                  <c:v>20.655131056393973</c:v>
                </c:pt>
                <c:pt idx="423">
                  <c:v>20.655131056393973</c:v>
                </c:pt>
                <c:pt idx="424">
                  <c:v>20.655131056393973</c:v>
                </c:pt>
                <c:pt idx="425">
                  <c:v>20.655131056393973</c:v>
                </c:pt>
                <c:pt idx="426">
                  <c:v>20.655131056393973</c:v>
                </c:pt>
                <c:pt idx="427">
                  <c:v>20.655131056393973</c:v>
                </c:pt>
                <c:pt idx="428">
                  <c:v>20.655131056393973</c:v>
                </c:pt>
                <c:pt idx="429">
                  <c:v>20.655131056393973</c:v>
                </c:pt>
                <c:pt idx="430">
                  <c:v>20.655131056393973</c:v>
                </c:pt>
                <c:pt idx="431">
                  <c:v>20.655131056393973</c:v>
                </c:pt>
                <c:pt idx="432">
                  <c:v>20.655131056393973</c:v>
                </c:pt>
                <c:pt idx="433">
                  <c:v>20.655131056393973</c:v>
                </c:pt>
                <c:pt idx="434">
                  <c:v>20.655131056393973</c:v>
                </c:pt>
                <c:pt idx="435">
                  <c:v>20.655131056393973</c:v>
                </c:pt>
                <c:pt idx="436">
                  <c:v>20.655131056393973</c:v>
                </c:pt>
                <c:pt idx="437">
                  <c:v>20.655131056393973</c:v>
                </c:pt>
                <c:pt idx="438">
                  <c:v>20.655131056393973</c:v>
                </c:pt>
                <c:pt idx="439">
                  <c:v>20.655131056393973</c:v>
                </c:pt>
                <c:pt idx="440">
                  <c:v>20.655131056393973</c:v>
                </c:pt>
                <c:pt idx="441">
                  <c:v>20.655131056393973</c:v>
                </c:pt>
                <c:pt idx="442">
                  <c:v>20.655131056393973</c:v>
                </c:pt>
                <c:pt idx="443">
                  <c:v>20.655131056393973</c:v>
                </c:pt>
                <c:pt idx="444">
                  <c:v>20.655131056393973</c:v>
                </c:pt>
                <c:pt idx="445">
                  <c:v>20.655131056393973</c:v>
                </c:pt>
                <c:pt idx="446">
                  <c:v>20.655131056393973</c:v>
                </c:pt>
                <c:pt idx="447">
                  <c:v>20.655131056393973</c:v>
                </c:pt>
                <c:pt idx="448">
                  <c:v>20.655131056393973</c:v>
                </c:pt>
                <c:pt idx="449">
                  <c:v>20.655131056393973</c:v>
                </c:pt>
                <c:pt idx="450">
                  <c:v>20.655131056393973</c:v>
                </c:pt>
                <c:pt idx="451">
                  <c:v>20.655131056393973</c:v>
                </c:pt>
                <c:pt idx="452">
                  <c:v>20.655131056393973</c:v>
                </c:pt>
                <c:pt idx="453">
                  <c:v>20.655131056393973</c:v>
                </c:pt>
                <c:pt idx="454">
                  <c:v>20.655131056393973</c:v>
                </c:pt>
                <c:pt idx="455">
                  <c:v>20.655131056393973</c:v>
                </c:pt>
                <c:pt idx="456">
                  <c:v>20.655131056393973</c:v>
                </c:pt>
                <c:pt idx="457">
                  <c:v>20.655131056393973</c:v>
                </c:pt>
                <c:pt idx="458">
                  <c:v>20.655131056393973</c:v>
                </c:pt>
                <c:pt idx="459">
                  <c:v>20.655131056393973</c:v>
                </c:pt>
                <c:pt idx="460">
                  <c:v>20.655131056393973</c:v>
                </c:pt>
                <c:pt idx="461">
                  <c:v>20.655131056393973</c:v>
                </c:pt>
                <c:pt idx="462">
                  <c:v>20.655131056393973</c:v>
                </c:pt>
                <c:pt idx="463">
                  <c:v>20.655131056393973</c:v>
                </c:pt>
                <c:pt idx="464">
                  <c:v>20.655131056393973</c:v>
                </c:pt>
                <c:pt idx="465">
                  <c:v>20.655131056393973</c:v>
                </c:pt>
                <c:pt idx="466">
                  <c:v>20.655131056393973</c:v>
                </c:pt>
                <c:pt idx="467">
                  <c:v>20.655131056393973</c:v>
                </c:pt>
                <c:pt idx="468">
                  <c:v>20.655131056393973</c:v>
                </c:pt>
                <c:pt idx="469">
                  <c:v>20.655131056393973</c:v>
                </c:pt>
                <c:pt idx="470">
                  <c:v>20.655131056393973</c:v>
                </c:pt>
                <c:pt idx="471">
                  <c:v>20.655131056393973</c:v>
                </c:pt>
                <c:pt idx="472">
                  <c:v>20.655131056393973</c:v>
                </c:pt>
                <c:pt idx="473">
                  <c:v>20.655131056393973</c:v>
                </c:pt>
                <c:pt idx="474">
                  <c:v>20.655131056393973</c:v>
                </c:pt>
                <c:pt idx="475">
                  <c:v>20.655131056393973</c:v>
                </c:pt>
                <c:pt idx="476">
                  <c:v>20.655131056393973</c:v>
                </c:pt>
                <c:pt idx="477">
                  <c:v>20.655131056393973</c:v>
                </c:pt>
                <c:pt idx="478">
                  <c:v>20.655131056393973</c:v>
                </c:pt>
                <c:pt idx="479">
                  <c:v>20.655131056393973</c:v>
                </c:pt>
                <c:pt idx="480">
                  <c:v>20.655131056393973</c:v>
                </c:pt>
                <c:pt idx="481">
                  <c:v>20.655131056393973</c:v>
                </c:pt>
                <c:pt idx="482">
                  <c:v>20.655131056393973</c:v>
                </c:pt>
                <c:pt idx="483">
                  <c:v>20.655131056393973</c:v>
                </c:pt>
                <c:pt idx="484">
                  <c:v>20.655131056393973</c:v>
                </c:pt>
                <c:pt idx="485">
                  <c:v>20.655131056393973</c:v>
                </c:pt>
                <c:pt idx="486">
                  <c:v>20.655131056393973</c:v>
                </c:pt>
                <c:pt idx="487">
                  <c:v>20.655131056393973</c:v>
                </c:pt>
                <c:pt idx="488">
                  <c:v>20.655131056393973</c:v>
                </c:pt>
                <c:pt idx="489">
                  <c:v>20.655131056393973</c:v>
                </c:pt>
                <c:pt idx="490">
                  <c:v>20.655131056393973</c:v>
                </c:pt>
                <c:pt idx="491">
                  <c:v>20.655131056393973</c:v>
                </c:pt>
                <c:pt idx="492">
                  <c:v>20.655131056393973</c:v>
                </c:pt>
                <c:pt idx="493">
                  <c:v>20.655131056393973</c:v>
                </c:pt>
                <c:pt idx="494">
                  <c:v>20.655131056393973</c:v>
                </c:pt>
                <c:pt idx="495">
                  <c:v>20.655131056393973</c:v>
                </c:pt>
                <c:pt idx="496">
                  <c:v>20.655131056393973</c:v>
                </c:pt>
                <c:pt idx="497">
                  <c:v>20.655131056393973</c:v>
                </c:pt>
                <c:pt idx="498">
                  <c:v>20.655131056393973</c:v>
                </c:pt>
                <c:pt idx="499">
                  <c:v>20.655131056393973</c:v>
                </c:pt>
                <c:pt idx="500">
                  <c:v>20.655131056393973</c:v>
                </c:pt>
                <c:pt idx="501">
                  <c:v>20.655131056393973</c:v>
                </c:pt>
                <c:pt idx="502">
                  <c:v>20.655131056393973</c:v>
                </c:pt>
                <c:pt idx="503">
                  <c:v>20.655131056393973</c:v>
                </c:pt>
                <c:pt idx="504">
                  <c:v>20.655131056393973</c:v>
                </c:pt>
                <c:pt idx="505">
                  <c:v>20.655131056393973</c:v>
                </c:pt>
                <c:pt idx="506">
                  <c:v>20.655131056393973</c:v>
                </c:pt>
                <c:pt idx="507">
                  <c:v>20.655131056393973</c:v>
                </c:pt>
                <c:pt idx="508">
                  <c:v>20.655131056393973</c:v>
                </c:pt>
                <c:pt idx="509">
                  <c:v>20.655131056393973</c:v>
                </c:pt>
                <c:pt idx="510">
                  <c:v>20.655131056393973</c:v>
                </c:pt>
                <c:pt idx="511">
                  <c:v>20.655131056393973</c:v>
                </c:pt>
                <c:pt idx="512">
                  <c:v>20.655131056393973</c:v>
                </c:pt>
                <c:pt idx="513">
                  <c:v>20.655131056393973</c:v>
                </c:pt>
                <c:pt idx="514">
                  <c:v>20.655131056393973</c:v>
                </c:pt>
                <c:pt idx="515">
                  <c:v>20.655131056393973</c:v>
                </c:pt>
                <c:pt idx="516">
                  <c:v>20.655131056393973</c:v>
                </c:pt>
                <c:pt idx="517">
                  <c:v>20.655131056393973</c:v>
                </c:pt>
                <c:pt idx="518">
                  <c:v>20.655131056393973</c:v>
                </c:pt>
                <c:pt idx="519">
                  <c:v>20.655131056393973</c:v>
                </c:pt>
                <c:pt idx="520">
                  <c:v>20.655131056393973</c:v>
                </c:pt>
                <c:pt idx="521">
                  <c:v>20.655131056393973</c:v>
                </c:pt>
                <c:pt idx="522">
                  <c:v>20.655131056393973</c:v>
                </c:pt>
                <c:pt idx="523">
                  <c:v>20.655131056393973</c:v>
                </c:pt>
                <c:pt idx="524">
                  <c:v>20.655131056393973</c:v>
                </c:pt>
                <c:pt idx="525">
                  <c:v>20.655131056393973</c:v>
                </c:pt>
                <c:pt idx="526">
                  <c:v>20.655131056393973</c:v>
                </c:pt>
                <c:pt idx="527">
                  <c:v>20.655131056393973</c:v>
                </c:pt>
                <c:pt idx="528">
                  <c:v>20.655131056393973</c:v>
                </c:pt>
                <c:pt idx="529">
                  <c:v>20.655131056393973</c:v>
                </c:pt>
                <c:pt idx="530">
                  <c:v>20.655131056393973</c:v>
                </c:pt>
                <c:pt idx="531">
                  <c:v>20.655131056393973</c:v>
                </c:pt>
                <c:pt idx="532">
                  <c:v>20.655131056393973</c:v>
                </c:pt>
                <c:pt idx="533">
                  <c:v>20.655131056393973</c:v>
                </c:pt>
                <c:pt idx="534">
                  <c:v>20.655131056393973</c:v>
                </c:pt>
                <c:pt idx="535">
                  <c:v>20.655131056393973</c:v>
                </c:pt>
                <c:pt idx="536">
                  <c:v>20.655131056393973</c:v>
                </c:pt>
                <c:pt idx="537">
                  <c:v>20.655131056393973</c:v>
                </c:pt>
                <c:pt idx="538">
                  <c:v>20.655131056393973</c:v>
                </c:pt>
                <c:pt idx="539">
                  <c:v>20.655131056393973</c:v>
                </c:pt>
                <c:pt idx="540">
                  <c:v>20.655131056393973</c:v>
                </c:pt>
                <c:pt idx="541">
                  <c:v>20.655131056393973</c:v>
                </c:pt>
                <c:pt idx="542">
                  <c:v>20.655131056393973</c:v>
                </c:pt>
                <c:pt idx="543">
                  <c:v>20.655131056393973</c:v>
                </c:pt>
                <c:pt idx="544">
                  <c:v>20.655131056393973</c:v>
                </c:pt>
                <c:pt idx="545">
                  <c:v>20.655131056393973</c:v>
                </c:pt>
                <c:pt idx="546">
                  <c:v>20.655131056393973</c:v>
                </c:pt>
                <c:pt idx="547">
                  <c:v>20.655131056393973</c:v>
                </c:pt>
                <c:pt idx="548">
                  <c:v>20.655131056393973</c:v>
                </c:pt>
                <c:pt idx="549">
                  <c:v>20.655131056393973</c:v>
                </c:pt>
                <c:pt idx="550">
                  <c:v>20.655131056393973</c:v>
                </c:pt>
                <c:pt idx="551">
                  <c:v>20.655131056393973</c:v>
                </c:pt>
                <c:pt idx="552">
                  <c:v>20.655131056393973</c:v>
                </c:pt>
                <c:pt idx="553">
                  <c:v>20.655131056393973</c:v>
                </c:pt>
                <c:pt idx="554">
                  <c:v>20.655131056393973</c:v>
                </c:pt>
                <c:pt idx="555">
                  <c:v>20.655131056393973</c:v>
                </c:pt>
                <c:pt idx="556">
                  <c:v>20.655131056393973</c:v>
                </c:pt>
                <c:pt idx="557">
                  <c:v>20.655131056393973</c:v>
                </c:pt>
                <c:pt idx="558">
                  <c:v>20.655131056393973</c:v>
                </c:pt>
                <c:pt idx="559">
                  <c:v>20.655131056393973</c:v>
                </c:pt>
                <c:pt idx="560">
                  <c:v>20.655131056393973</c:v>
                </c:pt>
                <c:pt idx="561">
                  <c:v>20.655131056393973</c:v>
                </c:pt>
                <c:pt idx="562">
                  <c:v>20.655131056393973</c:v>
                </c:pt>
                <c:pt idx="563">
                  <c:v>20.655131056393973</c:v>
                </c:pt>
                <c:pt idx="564">
                  <c:v>20.655131056393973</c:v>
                </c:pt>
                <c:pt idx="565">
                  <c:v>20.655131056393973</c:v>
                </c:pt>
                <c:pt idx="566">
                  <c:v>20.655131056393973</c:v>
                </c:pt>
                <c:pt idx="567">
                  <c:v>20.655131056393973</c:v>
                </c:pt>
                <c:pt idx="568">
                  <c:v>20.655131056393973</c:v>
                </c:pt>
                <c:pt idx="569">
                  <c:v>20.655131056393973</c:v>
                </c:pt>
                <c:pt idx="570">
                  <c:v>20.655131056393973</c:v>
                </c:pt>
                <c:pt idx="571">
                  <c:v>20.655131056393973</c:v>
                </c:pt>
                <c:pt idx="572">
                  <c:v>20.655131056393973</c:v>
                </c:pt>
                <c:pt idx="573">
                  <c:v>20.655131056393973</c:v>
                </c:pt>
                <c:pt idx="574">
                  <c:v>20.655131056393973</c:v>
                </c:pt>
                <c:pt idx="575">
                  <c:v>20.655131056393973</c:v>
                </c:pt>
                <c:pt idx="576">
                  <c:v>20.655131056393973</c:v>
                </c:pt>
                <c:pt idx="577">
                  <c:v>20.655131056393973</c:v>
                </c:pt>
                <c:pt idx="578">
                  <c:v>20.655131056393973</c:v>
                </c:pt>
                <c:pt idx="579">
                  <c:v>20.655131056393973</c:v>
                </c:pt>
                <c:pt idx="580">
                  <c:v>20.655131056393973</c:v>
                </c:pt>
                <c:pt idx="581">
                  <c:v>20.655131056393973</c:v>
                </c:pt>
                <c:pt idx="582">
                  <c:v>20.655131056393973</c:v>
                </c:pt>
                <c:pt idx="583">
                  <c:v>20.655131056393973</c:v>
                </c:pt>
                <c:pt idx="584">
                  <c:v>20.655131056393973</c:v>
                </c:pt>
                <c:pt idx="585">
                  <c:v>20.655131056393973</c:v>
                </c:pt>
                <c:pt idx="586">
                  <c:v>20.655131056393973</c:v>
                </c:pt>
                <c:pt idx="587">
                  <c:v>20.655131056393973</c:v>
                </c:pt>
                <c:pt idx="588">
                  <c:v>20.655131056393973</c:v>
                </c:pt>
                <c:pt idx="589">
                  <c:v>20.655131056393973</c:v>
                </c:pt>
                <c:pt idx="590">
                  <c:v>20.655131056393973</c:v>
                </c:pt>
                <c:pt idx="591">
                  <c:v>20.655131056393973</c:v>
                </c:pt>
                <c:pt idx="592">
                  <c:v>20.655131056393973</c:v>
                </c:pt>
                <c:pt idx="593">
                  <c:v>20.655131056393973</c:v>
                </c:pt>
                <c:pt idx="594">
                  <c:v>20.655131056393973</c:v>
                </c:pt>
                <c:pt idx="595">
                  <c:v>20.655131056393973</c:v>
                </c:pt>
                <c:pt idx="596">
                  <c:v>20.655131056393973</c:v>
                </c:pt>
                <c:pt idx="597">
                  <c:v>20.655131056393973</c:v>
                </c:pt>
                <c:pt idx="598">
                  <c:v>20.655131056393973</c:v>
                </c:pt>
                <c:pt idx="599">
                  <c:v>20.655131056393973</c:v>
                </c:pt>
                <c:pt idx="600">
                  <c:v>20.655131056393973</c:v>
                </c:pt>
                <c:pt idx="601">
                  <c:v>20.655131056393973</c:v>
                </c:pt>
                <c:pt idx="602">
                  <c:v>20.655131056393973</c:v>
                </c:pt>
                <c:pt idx="603">
                  <c:v>20.655131056393973</c:v>
                </c:pt>
                <c:pt idx="604">
                  <c:v>20.655131056393973</c:v>
                </c:pt>
                <c:pt idx="605">
                  <c:v>20.655131056393973</c:v>
                </c:pt>
                <c:pt idx="606">
                  <c:v>20.655131056393973</c:v>
                </c:pt>
                <c:pt idx="607">
                  <c:v>20.655131056393973</c:v>
                </c:pt>
                <c:pt idx="608">
                  <c:v>20.655131056393973</c:v>
                </c:pt>
                <c:pt idx="609">
                  <c:v>20.655131056393973</c:v>
                </c:pt>
                <c:pt idx="610">
                  <c:v>20.655131056393973</c:v>
                </c:pt>
                <c:pt idx="611">
                  <c:v>20.655131056393973</c:v>
                </c:pt>
                <c:pt idx="612">
                  <c:v>20.655131056393973</c:v>
                </c:pt>
                <c:pt idx="613">
                  <c:v>20.655131056393973</c:v>
                </c:pt>
                <c:pt idx="614">
                  <c:v>20.655131056393973</c:v>
                </c:pt>
                <c:pt idx="615">
                  <c:v>20.655131056393973</c:v>
                </c:pt>
                <c:pt idx="616">
                  <c:v>20.655131056393973</c:v>
                </c:pt>
                <c:pt idx="617">
                  <c:v>20.655131056393973</c:v>
                </c:pt>
                <c:pt idx="618">
                  <c:v>20.655131056393973</c:v>
                </c:pt>
                <c:pt idx="619">
                  <c:v>20.655131056393973</c:v>
                </c:pt>
                <c:pt idx="620">
                  <c:v>20.655131056393973</c:v>
                </c:pt>
                <c:pt idx="621">
                  <c:v>20.655131056393973</c:v>
                </c:pt>
                <c:pt idx="622">
                  <c:v>20.655131056393973</c:v>
                </c:pt>
                <c:pt idx="623">
                  <c:v>20.655131056393973</c:v>
                </c:pt>
                <c:pt idx="624">
                  <c:v>20.655131056393973</c:v>
                </c:pt>
                <c:pt idx="625">
                  <c:v>20.655131056393973</c:v>
                </c:pt>
                <c:pt idx="626">
                  <c:v>20.655131056393973</c:v>
                </c:pt>
                <c:pt idx="627">
                  <c:v>20.655131056393973</c:v>
                </c:pt>
                <c:pt idx="628">
                  <c:v>20.655131056393973</c:v>
                </c:pt>
                <c:pt idx="629">
                  <c:v>20.655131056393973</c:v>
                </c:pt>
                <c:pt idx="630">
                  <c:v>20.655131056393973</c:v>
                </c:pt>
                <c:pt idx="631">
                  <c:v>20.655131056393973</c:v>
                </c:pt>
                <c:pt idx="632">
                  <c:v>20.655131056393973</c:v>
                </c:pt>
                <c:pt idx="633">
                  <c:v>20.655131056393973</c:v>
                </c:pt>
                <c:pt idx="634">
                  <c:v>20.655131056393973</c:v>
                </c:pt>
                <c:pt idx="635">
                  <c:v>20.655131056393973</c:v>
                </c:pt>
                <c:pt idx="636">
                  <c:v>20.655131056393973</c:v>
                </c:pt>
                <c:pt idx="637">
                  <c:v>20.655131056393973</c:v>
                </c:pt>
                <c:pt idx="638">
                  <c:v>20.655131056393973</c:v>
                </c:pt>
                <c:pt idx="639">
                  <c:v>20.655131056393973</c:v>
                </c:pt>
                <c:pt idx="640">
                  <c:v>20.655131056393973</c:v>
                </c:pt>
                <c:pt idx="641">
                  <c:v>20.655131056393973</c:v>
                </c:pt>
                <c:pt idx="642">
                  <c:v>20.655131056393973</c:v>
                </c:pt>
                <c:pt idx="643">
                  <c:v>20.655131056393973</c:v>
                </c:pt>
                <c:pt idx="644">
                  <c:v>20.655131056393973</c:v>
                </c:pt>
                <c:pt idx="645">
                  <c:v>20.655131056393973</c:v>
                </c:pt>
                <c:pt idx="646">
                  <c:v>20.655131056393973</c:v>
                </c:pt>
                <c:pt idx="647">
                  <c:v>20.655131056393973</c:v>
                </c:pt>
                <c:pt idx="648">
                  <c:v>20.655131056393973</c:v>
                </c:pt>
                <c:pt idx="649">
                  <c:v>20.655131056393973</c:v>
                </c:pt>
                <c:pt idx="650">
                  <c:v>20.655131056393973</c:v>
                </c:pt>
                <c:pt idx="651">
                  <c:v>20.655131056393973</c:v>
                </c:pt>
                <c:pt idx="652">
                  <c:v>20.655131056393973</c:v>
                </c:pt>
                <c:pt idx="653">
                  <c:v>20.655131056393973</c:v>
                </c:pt>
                <c:pt idx="654">
                  <c:v>20.655131056393973</c:v>
                </c:pt>
                <c:pt idx="655">
                  <c:v>20.655131056393973</c:v>
                </c:pt>
                <c:pt idx="656">
                  <c:v>20.655131056393973</c:v>
                </c:pt>
                <c:pt idx="657">
                  <c:v>20.655131056393973</c:v>
                </c:pt>
                <c:pt idx="658">
                  <c:v>20.655131056393973</c:v>
                </c:pt>
                <c:pt idx="659">
                  <c:v>20.655131056393973</c:v>
                </c:pt>
                <c:pt idx="660">
                  <c:v>20.655131056393973</c:v>
                </c:pt>
                <c:pt idx="661">
                  <c:v>20.655131056393973</c:v>
                </c:pt>
                <c:pt idx="662">
                  <c:v>20.655131056393973</c:v>
                </c:pt>
                <c:pt idx="663">
                  <c:v>20.655131056393973</c:v>
                </c:pt>
                <c:pt idx="664">
                  <c:v>20.655131056393973</c:v>
                </c:pt>
                <c:pt idx="665">
                  <c:v>20.655131056393973</c:v>
                </c:pt>
                <c:pt idx="666">
                  <c:v>20.655131056393973</c:v>
                </c:pt>
                <c:pt idx="667">
                  <c:v>20.655131056393973</c:v>
                </c:pt>
                <c:pt idx="668">
                  <c:v>20.655131056393973</c:v>
                </c:pt>
                <c:pt idx="669">
                  <c:v>20.655131056393973</c:v>
                </c:pt>
                <c:pt idx="670">
                  <c:v>20.655131056393973</c:v>
                </c:pt>
                <c:pt idx="671">
                  <c:v>20.655131056393973</c:v>
                </c:pt>
                <c:pt idx="672">
                  <c:v>20.655131056393973</c:v>
                </c:pt>
                <c:pt idx="673">
                  <c:v>20.655131056393973</c:v>
                </c:pt>
                <c:pt idx="674">
                  <c:v>20.655131056393973</c:v>
                </c:pt>
                <c:pt idx="675">
                  <c:v>20.655131056393973</c:v>
                </c:pt>
                <c:pt idx="676">
                  <c:v>20.655131056393973</c:v>
                </c:pt>
                <c:pt idx="677">
                  <c:v>20.655131056393973</c:v>
                </c:pt>
                <c:pt idx="678">
                  <c:v>20.655131056393973</c:v>
                </c:pt>
                <c:pt idx="679">
                  <c:v>20.655131056393973</c:v>
                </c:pt>
                <c:pt idx="680">
                  <c:v>20.655131056393973</c:v>
                </c:pt>
                <c:pt idx="681">
                  <c:v>20.655131056393973</c:v>
                </c:pt>
                <c:pt idx="682">
                  <c:v>20.655131056393973</c:v>
                </c:pt>
                <c:pt idx="683">
                  <c:v>20.655131056393973</c:v>
                </c:pt>
                <c:pt idx="684">
                  <c:v>20.655131056393973</c:v>
                </c:pt>
                <c:pt idx="685">
                  <c:v>20.655131056393973</c:v>
                </c:pt>
                <c:pt idx="686">
                  <c:v>20.655131056393973</c:v>
                </c:pt>
                <c:pt idx="687">
                  <c:v>20.655131056393973</c:v>
                </c:pt>
                <c:pt idx="688">
                  <c:v>20.655131056393973</c:v>
                </c:pt>
                <c:pt idx="689">
                  <c:v>20.655131056393973</c:v>
                </c:pt>
                <c:pt idx="690">
                  <c:v>20.655131056393973</c:v>
                </c:pt>
                <c:pt idx="691">
                  <c:v>20.655131056393973</c:v>
                </c:pt>
                <c:pt idx="692">
                  <c:v>20.655131056393973</c:v>
                </c:pt>
                <c:pt idx="693">
                  <c:v>20.655131056393973</c:v>
                </c:pt>
                <c:pt idx="694">
                  <c:v>20.655131056393973</c:v>
                </c:pt>
                <c:pt idx="695">
                  <c:v>20.655131056393973</c:v>
                </c:pt>
                <c:pt idx="696">
                  <c:v>20.655131056393973</c:v>
                </c:pt>
                <c:pt idx="697">
                  <c:v>20.655131056393973</c:v>
                </c:pt>
                <c:pt idx="698">
                  <c:v>20.655131056393973</c:v>
                </c:pt>
                <c:pt idx="699">
                  <c:v>20.655131056393973</c:v>
                </c:pt>
                <c:pt idx="700">
                  <c:v>20.655131056393973</c:v>
                </c:pt>
                <c:pt idx="701">
                  <c:v>20.655131056393973</c:v>
                </c:pt>
                <c:pt idx="702">
                  <c:v>20.655131056393973</c:v>
                </c:pt>
                <c:pt idx="703">
                  <c:v>20.655131056393973</c:v>
                </c:pt>
                <c:pt idx="704">
                  <c:v>20.655131056393973</c:v>
                </c:pt>
                <c:pt idx="705">
                  <c:v>20.655131056393973</c:v>
                </c:pt>
                <c:pt idx="706">
                  <c:v>20.655131056393973</c:v>
                </c:pt>
                <c:pt idx="707">
                  <c:v>20.655131056393973</c:v>
                </c:pt>
                <c:pt idx="708">
                  <c:v>20.655131056393973</c:v>
                </c:pt>
                <c:pt idx="709">
                  <c:v>20.655131056393973</c:v>
                </c:pt>
                <c:pt idx="710">
                  <c:v>20.655131056393973</c:v>
                </c:pt>
                <c:pt idx="711">
                  <c:v>20.655131056393973</c:v>
                </c:pt>
                <c:pt idx="712">
                  <c:v>20.655131056393973</c:v>
                </c:pt>
                <c:pt idx="713">
                  <c:v>20.655131056393973</c:v>
                </c:pt>
                <c:pt idx="714">
                  <c:v>20.655131056393973</c:v>
                </c:pt>
                <c:pt idx="715">
                  <c:v>20.655131056393973</c:v>
                </c:pt>
                <c:pt idx="716">
                  <c:v>20.655131056393973</c:v>
                </c:pt>
                <c:pt idx="717">
                  <c:v>20.655131056393973</c:v>
                </c:pt>
                <c:pt idx="718">
                  <c:v>20.655131056393973</c:v>
                </c:pt>
                <c:pt idx="719">
                  <c:v>20.655131056393973</c:v>
                </c:pt>
                <c:pt idx="720">
                  <c:v>20.655131056393973</c:v>
                </c:pt>
                <c:pt idx="721">
                  <c:v>20.655131056393973</c:v>
                </c:pt>
                <c:pt idx="722">
                  <c:v>20.655131056393973</c:v>
                </c:pt>
                <c:pt idx="723">
                  <c:v>20.655131056393973</c:v>
                </c:pt>
                <c:pt idx="724">
                  <c:v>20.655131056393973</c:v>
                </c:pt>
                <c:pt idx="725">
                  <c:v>20.655131056393973</c:v>
                </c:pt>
                <c:pt idx="726">
                  <c:v>20.655131056393973</c:v>
                </c:pt>
                <c:pt idx="727">
                  <c:v>20.655131056393973</c:v>
                </c:pt>
                <c:pt idx="728">
                  <c:v>20.655131056393973</c:v>
                </c:pt>
                <c:pt idx="729">
                  <c:v>20.655131056393973</c:v>
                </c:pt>
                <c:pt idx="730">
                  <c:v>20.655131056393973</c:v>
                </c:pt>
                <c:pt idx="731">
                  <c:v>20.655131056393973</c:v>
                </c:pt>
                <c:pt idx="732">
                  <c:v>20.655131056393973</c:v>
                </c:pt>
                <c:pt idx="733">
                  <c:v>20.655131056393973</c:v>
                </c:pt>
                <c:pt idx="734">
                  <c:v>20.655131056393973</c:v>
                </c:pt>
                <c:pt idx="735">
                  <c:v>20.655131056393973</c:v>
                </c:pt>
                <c:pt idx="736">
                  <c:v>20.655131056393973</c:v>
                </c:pt>
                <c:pt idx="737">
                  <c:v>20.655131056393973</c:v>
                </c:pt>
                <c:pt idx="738">
                  <c:v>20.655131056393973</c:v>
                </c:pt>
                <c:pt idx="739">
                  <c:v>20.655131056393973</c:v>
                </c:pt>
                <c:pt idx="740">
                  <c:v>20.655131056393973</c:v>
                </c:pt>
                <c:pt idx="741">
                  <c:v>20.655131056393973</c:v>
                </c:pt>
                <c:pt idx="742">
                  <c:v>20.655131056393973</c:v>
                </c:pt>
                <c:pt idx="743">
                  <c:v>20.655131056393973</c:v>
                </c:pt>
                <c:pt idx="744">
                  <c:v>20.655131056393973</c:v>
                </c:pt>
                <c:pt idx="745">
                  <c:v>20.655131056393973</c:v>
                </c:pt>
                <c:pt idx="746">
                  <c:v>20.655131056393973</c:v>
                </c:pt>
                <c:pt idx="747">
                  <c:v>20.655131056393973</c:v>
                </c:pt>
                <c:pt idx="748">
                  <c:v>20.655131056393973</c:v>
                </c:pt>
                <c:pt idx="749">
                  <c:v>20.655131056393973</c:v>
                </c:pt>
                <c:pt idx="750">
                  <c:v>20.655131056393973</c:v>
                </c:pt>
                <c:pt idx="751">
                  <c:v>20.655131056393973</c:v>
                </c:pt>
                <c:pt idx="752">
                  <c:v>20.655131056393973</c:v>
                </c:pt>
                <c:pt idx="753">
                  <c:v>20.655131056393973</c:v>
                </c:pt>
                <c:pt idx="754">
                  <c:v>20.655131056393973</c:v>
                </c:pt>
                <c:pt idx="755">
                  <c:v>20.655131056393973</c:v>
                </c:pt>
                <c:pt idx="756">
                  <c:v>20.655131056393973</c:v>
                </c:pt>
                <c:pt idx="757">
                  <c:v>20.655131056393973</c:v>
                </c:pt>
                <c:pt idx="758">
                  <c:v>20.655131056393973</c:v>
                </c:pt>
                <c:pt idx="759">
                  <c:v>20.655131056393973</c:v>
                </c:pt>
                <c:pt idx="760">
                  <c:v>20.655131056393973</c:v>
                </c:pt>
                <c:pt idx="761">
                  <c:v>20.655131056393973</c:v>
                </c:pt>
                <c:pt idx="762">
                  <c:v>20.655131056393973</c:v>
                </c:pt>
                <c:pt idx="763">
                  <c:v>20.655131056393973</c:v>
                </c:pt>
                <c:pt idx="764">
                  <c:v>20.655131056393973</c:v>
                </c:pt>
                <c:pt idx="765">
                  <c:v>20.655131056393973</c:v>
                </c:pt>
                <c:pt idx="766">
                  <c:v>20.655131056393973</c:v>
                </c:pt>
                <c:pt idx="767">
                  <c:v>20.655131056393973</c:v>
                </c:pt>
                <c:pt idx="768">
                  <c:v>20.655131056393973</c:v>
                </c:pt>
                <c:pt idx="769">
                  <c:v>20.655131056393973</c:v>
                </c:pt>
                <c:pt idx="770">
                  <c:v>20.655131056393973</c:v>
                </c:pt>
                <c:pt idx="771">
                  <c:v>20.655131056393973</c:v>
                </c:pt>
                <c:pt idx="772">
                  <c:v>20.655131056393973</c:v>
                </c:pt>
                <c:pt idx="773">
                  <c:v>20.655131056393973</c:v>
                </c:pt>
                <c:pt idx="774">
                  <c:v>20.655131056393973</c:v>
                </c:pt>
                <c:pt idx="775">
                  <c:v>20.655131056393973</c:v>
                </c:pt>
                <c:pt idx="776">
                  <c:v>20.655131056393973</c:v>
                </c:pt>
                <c:pt idx="777">
                  <c:v>20.655131056393973</c:v>
                </c:pt>
                <c:pt idx="778">
                  <c:v>20.655131056393973</c:v>
                </c:pt>
                <c:pt idx="779">
                  <c:v>20.655131056393973</c:v>
                </c:pt>
                <c:pt idx="780">
                  <c:v>20.655131056393973</c:v>
                </c:pt>
                <c:pt idx="781">
                  <c:v>20.655131056393973</c:v>
                </c:pt>
                <c:pt idx="782">
                  <c:v>20.655131056393973</c:v>
                </c:pt>
                <c:pt idx="783">
                  <c:v>20.655131056393973</c:v>
                </c:pt>
                <c:pt idx="784">
                  <c:v>20.655131056393973</c:v>
                </c:pt>
                <c:pt idx="785">
                  <c:v>20.655131056393973</c:v>
                </c:pt>
                <c:pt idx="786">
                  <c:v>20.655131056393973</c:v>
                </c:pt>
                <c:pt idx="787">
                  <c:v>20.655131056393973</c:v>
                </c:pt>
                <c:pt idx="788">
                  <c:v>20.655131056393973</c:v>
                </c:pt>
                <c:pt idx="789">
                  <c:v>20.655131056393973</c:v>
                </c:pt>
                <c:pt idx="790">
                  <c:v>20.655131056393973</c:v>
                </c:pt>
                <c:pt idx="791">
                  <c:v>20.655131056393973</c:v>
                </c:pt>
                <c:pt idx="792">
                  <c:v>20.655131056393973</c:v>
                </c:pt>
                <c:pt idx="793">
                  <c:v>20.655131056393973</c:v>
                </c:pt>
                <c:pt idx="794">
                  <c:v>20.655131056393973</c:v>
                </c:pt>
                <c:pt idx="795">
                  <c:v>20.655131056393973</c:v>
                </c:pt>
                <c:pt idx="796">
                  <c:v>20.655131056393973</c:v>
                </c:pt>
                <c:pt idx="797">
                  <c:v>20.655131056393973</c:v>
                </c:pt>
                <c:pt idx="798">
                  <c:v>20.655131056393973</c:v>
                </c:pt>
                <c:pt idx="799">
                  <c:v>20.655131056393973</c:v>
                </c:pt>
                <c:pt idx="800">
                  <c:v>20.655131056393973</c:v>
                </c:pt>
                <c:pt idx="801">
                  <c:v>20.655131056393973</c:v>
                </c:pt>
                <c:pt idx="802">
                  <c:v>20.655131056393973</c:v>
                </c:pt>
                <c:pt idx="803">
                  <c:v>20.655131056393973</c:v>
                </c:pt>
                <c:pt idx="804">
                  <c:v>20.655131056393973</c:v>
                </c:pt>
                <c:pt idx="805">
                  <c:v>20.655131056393973</c:v>
                </c:pt>
                <c:pt idx="806">
                  <c:v>20.655131056393973</c:v>
                </c:pt>
                <c:pt idx="807">
                  <c:v>20.655131056393973</c:v>
                </c:pt>
                <c:pt idx="808">
                  <c:v>20.655131056393973</c:v>
                </c:pt>
                <c:pt idx="809">
                  <c:v>20.655131056393973</c:v>
                </c:pt>
                <c:pt idx="810">
                  <c:v>20.655131056393973</c:v>
                </c:pt>
                <c:pt idx="811">
                  <c:v>20.655131056393973</c:v>
                </c:pt>
                <c:pt idx="812">
                  <c:v>20.655131056393973</c:v>
                </c:pt>
                <c:pt idx="813">
                  <c:v>20.655131056393973</c:v>
                </c:pt>
                <c:pt idx="814">
                  <c:v>20.655131056393973</c:v>
                </c:pt>
                <c:pt idx="815">
                  <c:v>20.655131056393973</c:v>
                </c:pt>
                <c:pt idx="816">
                  <c:v>20.655131056393973</c:v>
                </c:pt>
                <c:pt idx="817">
                  <c:v>20.655131056393973</c:v>
                </c:pt>
                <c:pt idx="818">
                  <c:v>20.655131056393973</c:v>
                </c:pt>
                <c:pt idx="819">
                  <c:v>20.655131056393973</c:v>
                </c:pt>
                <c:pt idx="820">
                  <c:v>20.655131056393973</c:v>
                </c:pt>
                <c:pt idx="821">
                  <c:v>20.655131056393973</c:v>
                </c:pt>
                <c:pt idx="822">
                  <c:v>20.655131056393973</c:v>
                </c:pt>
                <c:pt idx="823">
                  <c:v>20.655131056393973</c:v>
                </c:pt>
                <c:pt idx="824">
                  <c:v>20.655131056393973</c:v>
                </c:pt>
                <c:pt idx="825">
                  <c:v>20.655131056393973</c:v>
                </c:pt>
                <c:pt idx="826">
                  <c:v>20.655131056393973</c:v>
                </c:pt>
                <c:pt idx="827">
                  <c:v>20.655131056393973</c:v>
                </c:pt>
                <c:pt idx="828">
                  <c:v>20.655131056393973</c:v>
                </c:pt>
                <c:pt idx="829">
                  <c:v>20.655131056393973</c:v>
                </c:pt>
                <c:pt idx="830">
                  <c:v>20.655131056393973</c:v>
                </c:pt>
                <c:pt idx="831">
                  <c:v>20.655131056393973</c:v>
                </c:pt>
                <c:pt idx="832">
                  <c:v>20.655131056393973</c:v>
                </c:pt>
                <c:pt idx="833">
                  <c:v>20.655131056393973</c:v>
                </c:pt>
                <c:pt idx="834">
                  <c:v>20.655131056393973</c:v>
                </c:pt>
                <c:pt idx="835">
                  <c:v>20.655131056393973</c:v>
                </c:pt>
                <c:pt idx="836">
                  <c:v>20.655131056393973</c:v>
                </c:pt>
                <c:pt idx="837">
                  <c:v>20.655131056393973</c:v>
                </c:pt>
                <c:pt idx="838">
                  <c:v>20.655131056393973</c:v>
                </c:pt>
                <c:pt idx="839">
                  <c:v>20.655131056393973</c:v>
                </c:pt>
                <c:pt idx="840">
                  <c:v>20.655131056393973</c:v>
                </c:pt>
                <c:pt idx="841">
                  <c:v>20.655131056393973</c:v>
                </c:pt>
                <c:pt idx="842">
                  <c:v>20.655131056393973</c:v>
                </c:pt>
                <c:pt idx="843">
                  <c:v>20.655131056393973</c:v>
                </c:pt>
                <c:pt idx="844">
                  <c:v>20.655131056393973</c:v>
                </c:pt>
                <c:pt idx="845">
                  <c:v>20.655131056393973</c:v>
                </c:pt>
                <c:pt idx="846">
                  <c:v>20.655131056393973</c:v>
                </c:pt>
                <c:pt idx="847">
                  <c:v>20.655131056393973</c:v>
                </c:pt>
                <c:pt idx="848">
                  <c:v>20.655131056393973</c:v>
                </c:pt>
                <c:pt idx="849">
                  <c:v>20.655131056393973</c:v>
                </c:pt>
                <c:pt idx="850">
                  <c:v>20.655131056393973</c:v>
                </c:pt>
                <c:pt idx="851">
                  <c:v>20.655131056393973</c:v>
                </c:pt>
                <c:pt idx="852">
                  <c:v>20.655131056393973</c:v>
                </c:pt>
                <c:pt idx="853">
                  <c:v>20.655131056393973</c:v>
                </c:pt>
                <c:pt idx="854">
                  <c:v>20.655131056393973</c:v>
                </c:pt>
                <c:pt idx="855">
                  <c:v>20.655131056393973</c:v>
                </c:pt>
                <c:pt idx="856">
                  <c:v>20.655131056393973</c:v>
                </c:pt>
                <c:pt idx="857">
                  <c:v>20.655131056393973</c:v>
                </c:pt>
                <c:pt idx="858">
                  <c:v>20.655131056393973</c:v>
                </c:pt>
                <c:pt idx="859">
                  <c:v>20.655131056393973</c:v>
                </c:pt>
                <c:pt idx="860">
                  <c:v>20.655131056393973</c:v>
                </c:pt>
                <c:pt idx="861">
                  <c:v>20.655131056393973</c:v>
                </c:pt>
                <c:pt idx="862">
                  <c:v>20.655131056393973</c:v>
                </c:pt>
                <c:pt idx="863">
                  <c:v>20.655131056393973</c:v>
                </c:pt>
                <c:pt idx="864">
                  <c:v>20.655131056393973</c:v>
                </c:pt>
                <c:pt idx="865">
                  <c:v>20.655131056393973</c:v>
                </c:pt>
                <c:pt idx="866">
                  <c:v>20.655131056393973</c:v>
                </c:pt>
                <c:pt idx="867">
                  <c:v>20.655131056393973</c:v>
                </c:pt>
                <c:pt idx="868">
                  <c:v>20.655131056393973</c:v>
                </c:pt>
                <c:pt idx="869">
                  <c:v>20.655131056393973</c:v>
                </c:pt>
                <c:pt idx="870">
                  <c:v>20.655131056393973</c:v>
                </c:pt>
                <c:pt idx="871">
                  <c:v>20.655131056393973</c:v>
                </c:pt>
                <c:pt idx="872">
                  <c:v>20.655131056393973</c:v>
                </c:pt>
                <c:pt idx="873">
                  <c:v>20.655131056393973</c:v>
                </c:pt>
                <c:pt idx="874">
                  <c:v>20.655131056393973</c:v>
                </c:pt>
                <c:pt idx="875">
                  <c:v>20.655131056393973</c:v>
                </c:pt>
                <c:pt idx="876">
                  <c:v>20.655131056393973</c:v>
                </c:pt>
                <c:pt idx="877">
                  <c:v>20.655131056393973</c:v>
                </c:pt>
                <c:pt idx="878">
                  <c:v>20.655131056393973</c:v>
                </c:pt>
                <c:pt idx="879">
                  <c:v>20.655131056393973</c:v>
                </c:pt>
                <c:pt idx="880">
                  <c:v>20.655131056393973</c:v>
                </c:pt>
                <c:pt idx="881">
                  <c:v>20.655131056393973</c:v>
                </c:pt>
                <c:pt idx="882">
                  <c:v>20.655131056393973</c:v>
                </c:pt>
                <c:pt idx="883">
                  <c:v>20.655131056393973</c:v>
                </c:pt>
                <c:pt idx="884">
                  <c:v>20.655131056393973</c:v>
                </c:pt>
                <c:pt idx="885">
                  <c:v>20.655131056393973</c:v>
                </c:pt>
                <c:pt idx="886">
                  <c:v>20.655131056393973</c:v>
                </c:pt>
                <c:pt idx="887">
                  <c:v>20.655131056393973</c:v>
                </c:pt>
                <c:pt idx="888">
                  <c:v>20.655131056393973</c:v>
                </c:pt>
                <c:pt idx="889">
                  <c:v>20.655131056393973</c:v>
                </c:pt>
                <c:pt idx="890">
                  <c:v>20.655131056393973</c:v>
                </c:pt>
                <c:pt idx="891">
                  <c:v>20.655131056393973</c:v>
                </c:pt>
                <c:pt idx="892">
                  <c:v>20.655131056393973</c:v>
                </c:pt>
                <c:pt idx="893">
                  <c:v>20.655131056393973</c:v>
                </c:pt>
                <c:pt idx="894">
                  <c:v>20.655131056393973</c:v>
                </c:pt>
                <c:pt idx="895">
                  <c:v>20.655131056393973</c:v>
                </c:pt>
                <c:pt idx="896">
                  <c:v>20.655131056393973</c:v>
                </c:pt>
                <c:pt idx="897">
                  <c:v>20.655131056393973</c:v>
                </c:pt>
                <c:pt idx="898">
                  <c:v>20.655131056393973</c:v>
                </c:pt>
                <c:pt idx="899">
                  <c:v>20.655131056393973</c:v>
                </c:pt>
                <c:pt idx="900">
                  <c:v>20.655131056393973</c:v>
                </c:pt>
                <c:pt idx="901">
                  <c:v>20.655131056393973</c:v>
                </c:pt>
                <c:pt idx="902">
                  <c:v>20.655131056393973</c:v>
                </c:pt>
                <c:pt idx="903">
                  <c:v>20.655131056393973</c:v>
                </c:pt>
                <c:pt idx="904">
                  <c:v>20.655131056393973</c:v>
                </c:pt>
                <c:pt idx="905">
                  <c:v>20.655131056393973</c:v>
                </c:pt>
                <c:pt idx="906">
                  <c:v>20.655131056393973</c:v>
                </c:pt>
                <c:pt idx="907">
                  <c:v>20.655131056393973</c:v>
                </c:pt>
                <c:pt idx="908">
                  <c:v>20.655131056393973</c:v>
                </c:pt>
                <c:pt idx="909">
                  <c:v>20.655131056393973</c:v>
                </c:pt>
                <c:pt idx="910">
                  <c:v>20.655131056393973</c:v>
                </c:pt>
                <c:pt idx="911">
                  <c:v>20.655131056393973</c:v>
                </c:pt>
                <c:pt idx="912">
                  <c:v>20.655131056393973</c:v>
                </c:pt>
                <c:pt idx="913">
                  <c:v>20.655131056393973</c:v>
                </c:pt>
                <c:pt idx="914">
                  <c:v>20.655131056393973</c:v>
                </c:pt>
                <c:pt idx="915">
                  <c:v>20.655131056393973</c:v>
                </c:pt>
                <c:pt idx="916">
                  <c:v>20.655131056393973</c:v>
                </c:pt>
                <c:pt idx="917">
                  <c:v>20.655131056393973</c:v>
                </c:pt>
                <c:pt idx="918">
                  <c:v>20.655131056393973</c:v>
                </c:pt>
                <c:pt idx="919">
                  <c:v>20.655131056393973</c:v>
                </c:pt>
                <c:pt idx="920">
                  <c:v>20.655131056393973</c:v>
                </c:pt>
                <c:pt idx="921">
                  <c:v>20.655131056393973</c:v>
                </c:pt>
                <c:pt idx="922">
                  <c:v>20.655131056393973</c:v>
                </c:pt>
                <c:pt idx="923">
                  <c:v>20.655131056393973</c:v>
                </c:pt>
                <c:pt idx="924">
                  <c:v>20.655131056393973</c:v>
                </c:pt>
                <c:pt idx="925">
                  <c:v>20.655131056393973</c:v>
                </c:pt>
                <c:pt idx="926">
                  <c:v>20.655131056393973</c:v>
                </c:pt>
                <c:pt idx="927">
                  <c:v>20.655131056393973</c:v>
                </c:pt>
                <c:pt idx="928">
                  <c:v>20.655131056393973</c:v>
                </c:pt>
                <c:pt idx="929">
                  <c:v>20.655131056393973</c:v>
                </c:pt>
                <c:pt idx="930">
                  <c:v>20.655131056393973</c:v>
                </c:pt>
                <c:pt idx="931">
                  <c:v>20.655131056393973</c:v>
                </c:pt>
                <c:pt idx="932">
                  <c:v>20.655131056393973</c:v>
                </c:pt>
                <c:pt idx="933">
                  <c:v>20.655131056393973</c:v>
                </c:pt>
                <c:pt idx="934">
                  <c:v>20.655131056393973</c:v>
                </c:pt>
                <c:pt idx="935">
                  <c:v>20.655131056393973</c:v>
                </c:pt>
                <c:pt idx="936">
                  <c:v>20.655131056393973</c:v>
                </c:pt>
                <c:pt idx="937">
                  <c:v>20.655131056393973</c:v>
                </c:pt>
                <c:pt idx="938">
                  <c:v>20.655131056393973</c:v>
                </c:pt>
                <c:pt idx="939">
                  <c:v>20.655131056393973</c:v>
                </c:pt>
                <c:pt idx="940">
                  <c:v>20.655131056393973</c:v>
                </c:pt>
                <c:pt idx="941">
                  <c:v>20.655131056393973</c:v>
                </c:pt>
                <c:pt idx="942">
                  <c:v>20.655131056393973</c:v>
                </c:pt>
                <c:pt idx="943">
                  <c:v>20.655131056393973</c:v>
                </c:pt>
                <c:pt idx="944">
                  <c:v>20.655131056393973</c:v>
                </c:pt>
                <c:pt idx="945">
                  <c:v>20.655131056393973</c:v>
                </c:pt>
                <c:pt idx="946">
                  <c:v>20.655131056393973</c:v>
                </c:pt>
                <c:pt idx="947">
                  <c:v>20.655131056393973</c:v>
                </c:pt>
                <c:pt idx="948">
                  <c:v>20.655131056393973</c:v>
                </c:pt>
                <c:pt idx="949">
                  <c:v>20.655131056393973</c:v>
                </c:pt>
                <c:pt idx="950">
                  <c:v>20.655131056393973</c:v>
                </c:pt>
                <c:pt idx="951">
                  <c:v>20.655131056393973</c:v>
                </c:pt>
                <c:pt idx="952">
                  <c:v>20.655131056393973</c:v>
                </c:pt>
                <c:pt idx="953">
                  <c:v>20.655131056393973</c:v>
                </c:pt>
                <c:pt idx="954">
                  <c:v>20.655131056393973</c:v>
                </c:pt>
                <c:pt idx="955">
                  <c:v>20.655131056393973</c:v>
                </c:pt>
                <c:pt idx="956">
                  <c:v>20.655131056393973</c:v>
                </c:pt>
                <c:pt idx="957">
                  <c:v>20.655131056393973</c:v>
                </c:pt>
                <c:pt idx="958">
                  <c:v>20.655131056393973</c:v>
                </c:pt>
                <c:pt idx="959">
                  <c:v>20.655131056393973</c:v>
                </c:pt>
                <c:pt idx="960">
                  <c:v>20.655131056393973</c:v>
                </c:pt>
                <c:pt idx="961">
                  <c:v>20.655131056393973</c:v>
                </c:pt>
                <c:pt idx="962">
                  <c:v>20.655131056393973</c:v>
                </c:pt>
                <c:pt idx="963">
                  <c:v>20.655131056393973</c:v>
                </c:pt>
                <c:pt idx="964">
                  <c:v>20.655131056393973</c:v>
                </c:pt>
                <c:pt idx="965">
                  <c:v>20.655131056393973</c:v>
                </c:pt>
                <c:pt idx="966">
                  <c:v>20.655131056393973</c:v>
                </c:pt>
                <c:pt idx="967">
                  <c:v>20.655131056393973</c:v>
                </c:pt>
                <c:pt idx="968">
                  <c:v>20.655131056393973</c:v>
                </c:pt>
                <c:pt idx="969">
                  <c:v>20.655131056393973</c:v>
                </c:pt>
                <c:pt idx="970">
                  <c:v>20.655131056393973</c:v>
                </c:pt>
                <c:pt idx="971">
                  <c:v>20.655131056393973</c:v>
                </c:pt>
                <c:pt idx="972">
                  <c:v>20.655131056393973</c:v>
                </c:pt>
                <c:pt idx="973">
                  <c:v>20.655131056393973</c:v>
                </c:pt>
                <c:pt idx="974">
                  <c:v>20.655131056393973</c:v>
                </c:pt>
                <c:pt idx="975">
                  <c:v>20.655131056393973</c:v>
                </c:pt>
                <c:pt idx="976">
                  <c:v>20.655131056393973</c:v>
                </c:pt>
                <c:pt idx="977">
                  <c:v>20.655131056393973</c:v>
                </c:pt>
                <c:pt idx="978">
                  <c:v>20.655131056393973</c:v>
                </c:pt>
                <c:pt idx="979">
                  <c:v>20.655131056393973</c:v>
                </c:pt>
                <c:pt idx="980">
                  <c:v>20.655131056393973</c:v>
                </c:pt>
                <c:pt idx="981">
                  <c:v>20.655131056393973</c:v>
                </c:pt>
                <c:pt idx="982">
                  <c:v>20.655131056393973</c:v>
                </c:pt>
                <c:pt idx="983">
                  <c:v>20.655131056393973</c:v>
                </c:pt>
                <c:pt idx="984">
                  <c:v>20.655131056393973</c:v>
                </c:pt>
                <c:pt idx="985">
                  <c:v>20.655131056393973</c:v>
                </c:pt>
                <c:pt idx="986">
                  <c:v>20.655131056393973</c:v>
                </c:pt>
                <c:pt idx="987">
                  <c:v>20.655131056393973</c:v>
                </c:pt>
                <c:pt idx="988">
                  <c:v>20.655131056393973</c:v>
                </c:pt>
                <c:pt idx="989">
                  <c:v>20.655131056393973</c:v>
                </c:pt>
                <c:pt idx="990">
                  <c:v>20.655131056393973</c:v>
                </c:pt>
                <c:pt idx="991">
                  <c:v>20.655131056393973</c:v>
                </c:pt>
                <c:pt idx="992">
                  <c:v>20.655131056393973</c:v>
                </c:pt>
                <c:pt idx="993">
                  <c:v>20.655131056393973</c:v>
                </c:pt>
                <c:pt idx="994">
                  <c:v>20.655131056393973</c:v>
                </c:pt>
                <c:pt idx="995">
                  <c:v>20.655131056393973</c:v>
                </c:pt>
                <c:pt idx="996">
                  <c:v>20.655131056393973</c:v>
                </c:pt>
                <c:pt idx="997">
                  <c:v>20.655131056393973</c:v>
                </c:pt>
                <c:pt idx="998">
                  <c:v>20.655131056393973</c:v>
                </c:pt>
                <c:pt idx="999">
                  <c:v>20.655131056393973</c:v>
                </c:pt>
                <c:pt idx="1000">
                  <c:v>20.655131056393973</c:v>
                </c:pt>
                <c:pt idx="1001">
                  <c:v>20.655131056393973</c:v>
                </c:pt>
                <c:pt idx="1002">
                  <c:v>20.655131056393973</c:v>
                </c:pt>
                <c:pt idx="1003">
                  <c:v>20.655131056393973</c:v>
                </c:pt>
                <c:pt idx="1004">
                  <c:v>20.655131056393973</c:v>
                </c:pt>
                <c:pt idx="1005">
                  <c:v>20.655131056393973</c:v>
                </c:pt>
                <c:pt idx="1006">
                  <c:v>20.655131056393973</c:v>
                </c:pt>
                <c:pt idx="1007">
                  <c:v>20.655131056393973</c:v>
                </c:pt>
                <c:pt idx="1008">
                  <c:v>20.655131056393973</c:v>
                </c:pt>
                <c:pt idx="1009">
                  <c:v>20.655131056393973</c:v>
                </c:pt>
                <c:pt idx="1010">
                  <c:v>20.655131056393973</c:v>
                </c:pt>
                <c:pt idx="1011">
                  <c:v>20.655131056393973</c:v>
                </c:pt>
                <c:pt idx="1012">
                  <c:v>20.655131056393973</c:v>
                </c:pt>
                <c:pt idx="1013">
                  <c:v>20.655131056393973</c:v>
                </c:pt>
                <c:pt idx="1014">
                  <c:v>20.655131056393973</c:v>
                </c:pt>
                <c:pt idx="1015">
                  <c:v>20.655131056393973</c:v>
                </c:pt>
                <c:pt idx="1016">
                  <c:v>20.655131056393973</c:v>
                </c:pt>
                <c:pt idx="1017">
                  <c:v>20.655131056393973</c:v>
                </c:pt>
                <c:pt idx="1018">
                  <c:v>20.655131056393973</c:v>
                </c:pt>
                <c:pt idx="1019">
                  <c:v>20.655131056393973</c:v>
                </c:pt>
                <c:pt idx="1020">
                  <c:v>20.655131056393973</c:v>
                </c:pt>
                <c:pt idx="1021">
                  <c:v>20.655131056393973</c:v>
                </c:pt>
                <c:pt idx="1022">
                  <c:v>20.655131056393973</c:v>
                </c:pt>
                <c:pt idx="1023">
                  <c:v>20.655131056393973</c:v>
                </c:pt>
                <c:pt idx="1024">
                  <c:v>20.655131056393973</c:v>
                </c:pt>
                <c:pt idx="1025">
                  <c:v>20.655131056393973</c:v>
                </c:pt>
                <c:pt idx="1026">
                  <c:v>20.655131056393973</c:v>
                </c:pt>
                <c:pt idx="1027">
                  <c:v>20.655131056393973</c:v>
                </c:pt>
                <c:pt idx="1028">
                  <c:v>20.655131056393973</c:v>
                </c:pt>
                <c:pt idx="1029">
                  <c:v>20.655131056393973</c:v>
                </c:pt>
                <c:pt idx="1030">
                  <c:v>20.655131056393973</c:v>
                </c:pt>
                <c:pt idx="1031">
                  <c:v>20.655131056393973</c:v>
                </c:pt>
                <c:pt idx="1032">
                  <c:v>20.655131056393973</c:v>
                </c:pt>
                <c:pt idx="1033">
                  <c:v>20.655131056393973</c:v>
                </c:pt>
                <c:pt idx="1034">
                  <c:v>20.655131056393973</c:v>
                </c:pt>
                <c:pt idx="1035">
                  <c:v>20.655131056393973</c:v>
                </c:pt>
                <c:pt idx="1036">
                  <c:v>20.655131056393973</c:v>
                </c:pt>
                <c:pt idx="1037">
                  <c:v>20.655131056393973</c:v>
                </c:pt>
                <c:pt idx="1038">
                  <c:v>20.655131056393973</c:v>
                </c:pt>
                <c:pt idx="1039">
                  <c:v>20.655131056393973</c:v>
                </c:pt>
                <c:pt idx="1040">
                  <c:v>20.655131056393973</c:v>
                </c:pt>
                <c:pt idx="1041">
                  <c:v>20.655131056393973</c:v>
                </c:pt>
                <c:pt idx="1042">
                  <c:v>20.655131056393973</c:v>
                </c:pt>
                <c:pt idx="1043">
                  <c:v>20.655131056393973</c:v>
                </c:pt>
                <c:pt idx="1044">
                  <c:v>20.655131056393973</c:v>
                </c:pt>
                <c:pt idx="1045">
                  <c:v>20.655131056393973</c:v>
                </c:pt>
                <c:pt idx="1046">
                  <c:v>20.655131056393973</c:v>
                </c:pt>
                <c:pt idx="1047">
                  <c:v>20.655131056393973</c:v>
                </c:pt>
                <c:pt idx="1048">
                  <c:v>20.655131056393973</c:v>
                </c:pt>
                <c:pt idx="1049">
                  <c:v>20.655131056393973</c:v>
                </c:pt>
                <c:pt idx="1050">
                  <c:v>20.655131056393973</c:v>
                </c:pt>
                <c:pt idx="1051">
                  <c:v>20.655131056393973</c:v>
                </c:pt>
                <c:pt idx="1052">
                  <c:v>20.655131056393973</c:v>
                </c:pt>
                <c:pt idx="1053">
                  <c:v>20.655131056393973</c:v>
                </c:pt>
                <c:pt idx="1054">
                  <c:v>20.655131056393973</c:v>
                </c:pt>
                <c:pt idx="1055">
                  <c:v>20.655131056393973</c:v>
                </c:pt>
                <c:pt idx="1056">
                  <c:v>20.655131056393973</c:v>
                </c:pt>
                <c:pt idx="1057">
                  <c:v>20.655131056393973</c:v>
                </c:pt>
                <c:pt idx="1058">
                  <c:v>20.655131056393973</c:v>
                </c:pt>
                <c:pt idx="1059">
                  <c:v>20.655131056393973</c:v>
                </c:pt>
                <c:pt idx="1060">
                  <c:v>20.655131056393973</c:v>
                </c:pt>
                <c:pt idx="1061">
                  <c:v>20.655131056393973</c:v>
                </c:pt>
                <c:pt idx="1062">
                  <c:v>20.655131056393973</c:v>
                </c:pt>
                <c:pt idx="1063">
                  <c:v>20.655131056393973</c:v>
                </c:pt>
                <c:pt idx="1064">
                  <c:v>20.655131056393973</c:v>
                </c:pt>
                <c:pt idx="1065">
                  <c:v>20.655131056393973</c:v>
                </c:pt>
                <c:pt idx="1066">
                  <c:v>20.655131056393973</c:v>
                </c:pt>
                <c:pt idx="1067">
                  <c:v>20.655131056393973</c:v>
                </c:pt>
                <c:pt idx="1068">
                  <c:v>20.655131056393973</c:v>
                </c:pt>
                <c:pt idx="1069">
                  <c:v>20.655131056393973</c:v>
                </c:pt>
                <c:pt idx="1070">
                  <c:v>20.655131056393973</c:v>
                </c:pt>
                <c:pt idx="1071">
                  <c:v>20.655131056393973</c:v>
                </c:pt>
                <c:pt idx="1072">
                  <c:v>20.655131056393973</c:v>
                </c:pt>
                <c:pt idx="1073">
                  <c:v>20.655131056393973</c:v>
                </c:pt>
                <c:pt idx="1074">
                  <c:v>20.655131056393973</c:v>
                </c:pt>
                <c:pt idx="1075">
                  <c:v>20.655131056393973</c:v>
                </c:pt>
                <c:pt idx="1076">
                  <c:v>20.655131056393973</c:v>
                </c:pt>
                <c:pt idx="1077">
                  <c:v>20.655131056393973</c:v>
                </c:pt>
                <c:pt idx="1078">
                  <c:v>20.655131056393973</c:v>
                </c:pt>
                <c:pt idx="1079">
                  <c:v>20.655131056393973</c:v>
                </c:pt>
                <c:pt idx="1080">
                  <c:v>20.655131056393973</c:v>
                </c:pt>
                <c:pt idx="1081">
                  <c:v>20.655131056393973</c:v>
                </c:pt>
                <c:pt idx="1082">
                  <c:v>20.655131056393973</c:v>
                </c:pt>
                <c:pt idx="1083">
                  <c:v>20.655131056393973</c:v>
                </c:pt>
                <c:pt idx="1084">
                  <c:v>20.655131056393973</c:v>
                </c:pt>
                <c:pt idx="1085">
                  <c:v>20.655131056393973</c:v>
                </c:pt>
                <c:pt idx="1086">
                  <c:v>20.655131056393973</c:v>
                </c:pt>
                <c:pt idx="1087">
                  <c:v>20.655131056393973</c:v>
                </c:pt>
                <c:pt idx="1088">
                  <c:v>20.655131056393973</c:v>
                </c:pt>
                <c:pt idx="1089">
                  <c:v>20.655131056393973</c:v>
                </c:pt>
                <c:pt idx="1090">
                  <c:v>20.655131056393973</c:v>
                </c:pt>
                <c:pt idx="1091">
                  <c:v>20.655131056393973</c:v>
                </c:pt>
                <c:pt idx="1092">
                  <c:v>20.655131056393973</c:v>
                </c:pt>
                <c:pt idx="1093">
                  <c:v>20.655131056393973</c:v>
                </c:pt>
                <c:pt idx="1094">
                  <c:v>20.655131056393973</c:v>
                </c:pt>
                <c:pt idx="1095">
                  <c:v>20.655131056393973</c:v>
                </c:pt>
                <c:pt idx="1096">
                  <c:v>20.655131056393973</c:v>
                </c:pt>
                <c:pt idx="1097">
                  <c:v>20.655131056393973</c:v>
                </c:pt>
                <c:pt idx="1098">
                  <c:v>20.655131056393973</c:v>
                </c:pt>
                <c:pt idx="1099">
                  <c:v>20.655131056393973</c:v>
                </c:pt>
                <c:pt idx="1100">
                  <c:v>20.655131056393973</c:v>
                </c:pt>
                <c:pt idx="1101">
                  <c:v>20.655131056393973</c:v>
                </c:pt>
                <c:pt idx="1102">
                  <c:v>20.655131056393973</c:v>
                </c:pt>
                <c:pt idx="1103">
                  <c:v>20.655131056393973</c:v>
                </c:pt>
                <c:pt idx="1104">
                  <c:v>20.655131056393973</c:v>
                </c:pt>
                <c:pt idx="1105">
                  <c:v>20.655131056393973</c:v>
                </c:pt>
                <c:pt idx="1106">
                  <c:v>20.655131056393973</c:v>
                </c:pt>
                <c:pt idx="1107">
                  <c:v>20.655131056393973</c:v>
                </c:pt>
                <c:pt idx="1108">
                  <c:v>20.655131056393973</c:v>
                </c:pt>
                <c:pt idx="1109">
                  <c:v>20.655131056393973</c:v>
                </c:pt>
                <c:pt idx="1110">
                  <c:v>20.655131056393973</c:v>
                </c:pt>
                <c:pt idx="1111">
                  <c:v>20.655131056393973</c:v>
                </c:pt>
                <c:pt idx="1112">
                  <c:v>20.655131056393973</c:v>
                </c:pt>
                <c:pt idx="1113">
                  <c:v>20.655131056393973</c:v>
                </c:pt>
                <c:pt idx="1114">
                  <c:v>20.655131056393973</c:v>
                </c:pt>
                <c:pt idx="1115">
                  <c:v>20.655131056393973</c:v>
                </c:pt>
                <c:pt idx="1116">
                  <c:v>20.655131056393973</c:v>
                </c:pt>
                <c:pt idx="1117">
                  <c:v>20.655131056393973</c:v>
                </c:pt>
                <c:pt idx="1118">
                  <c:v>20.655131056393973</c:v>
                </c:pt>
                <c:pt idx="1119">
                  <c:v>20.655131056393973</c:v>
                </c:pt>
                <c:pt idx="1120">
                  <c:v>20.655131056393973</c:v>
                </c:pt>
                <c:pt idx="1121">
                  <c:v>20.655131056393973</c:v>
                </c:pt>
                <c:pt idx="1122">
                  <c:v>20.655131056393973</c:v>
                </c:pt>
                <c:pt idx="1123">
                  <c:v>20.655131056393973</c:v>
                </c:pt>
                <c:pt idx="1124">
                  <c:v>20.655131056393973</c:v>
                </c:pt>
                <c:pt idx="1125">
                  <c:v>20.655131056393973</c:v>
                </c:pt>
                <c:pt idx="1126">
                  <c:v>20.655131056393973</c:v>
                </c:pt>
                <c:pt idx="1127">
                  <c:v>20.655131056393973</c:v>
                </c:pt>
                <c:pt idx="1128">
                  <c:v>20.655131056393973</c:v>
                </c:pt>
                <c:pt idx="1129">
                  <c:v>20.655131056393973</c:v>
                </c:pt>
                <c:pt idx="1130">
                  <c:v>20.655131056393973</c:v>
                </c:pt>
                <c:pt idx="1131">
                  <c:v>20.655131056393973</c:v>
                </c:pt>
                <c:pt idx="1132">
                  <c:v>20.655131056393973</c:v>
                </c:pt>
                <c:pt idx="1133">
                  <c:v>20.655131056393973</c:v>
                </c:pt>
                <c:pt idx="1134">
                  <c:v>20.655131056393973</c:v>
                </c:pt>
                <c:pt idx="1135">
                  <c:v>20.655131056393973</c:v>
                </c:pt>
                <c:pt idx="1136">
                  <c:v>20.655131056393973</c:v>
                </c:pt>
                <c:pt idx="1137">
                  <c:v>20.655131056393973</c:v>
                </c:pt>
                <c:pt idx="1138">
                  <c:v>20.655131056393973</c:v>
                </c:pt>
                <c:pt idx="1139">
                  <c:v>20.655131056393973</c:v>
                </c:pt>
                <c:pt idx="1140">
                  <c:v>20.655131056393973</c:v>
                </c:pt>
                <c:pt idx="1141">
                  <c:v>20.655131056393973</c:v>
                </c:pt>
                <c:pt idx="1142">
                  <c:v>20.655131056393973</c:v>
                </c:pt>
                <c:pt idx="1143">
                  <c:v>20.655131056393973</c:v>
                </c:pt>
                <c:pt idx="1144">
                  <c:v>20.655131056393973</c:v>
                </c:pt>
                <c:pt idx="1145">
                  <c:v>20.655131056393973</c:v>
                </c:pt>
                <c:pt idx="1146">
                  <c:v>20.655131056393973</c:v>
                </c:pt>
                <c:pt idx="1147">
                  <c:v>20.655131056393973</c:v>
                </c:pt>
                <c:pt idx="1148">
                  <c:v>20.655131056393973</c:v>
                </c:pt>
                <c:pt idx="1149">
                  <c:v>20.655131056393973</c:v>
                </c:pt>
                <c:pt idx="1150">
                  <c:v>20.655131056393973</c:v>
                </c:pt>
                <c:pt idx="1151">
                  <c:v>20.655131056393973</c:v>
                </c:pt>
                <c:pt idx="1152">
                  <c:v>20.655131056393973</c:v>
                </c:pt>
                <c:pt idx="1153">
                  <c:v>20.655131056393973</c:v>
                </c:pt>
                <c:pt idx="1154">
                  <c:v>20.655131056393973</c:v>
                </c:pt>
                <c:pt idx="1155">
                  <c:v>20.655131056393973</c:v>
                </c:pt>
                <c:pt idx="1156">
                  <c:v>20.655131056393973</c:v>
                </c:pt>
                <c:pt idx="1157">
                  <c:v>20.655131056393973</c:v>
                </c:pt>
                <c:pt idx="1158">
                  <c:v>20.655131056393973</c:v>
                </c:pt>
                <c:pt idx="1159">
                  <c:v>20.655131056393973</c:v>
                </c:pt>
                <c:pt idx="1160">
                  <c:v>20.655131056393973</c:v>
                </c:pt>
                <c:pt idx="1161">
                  <c:v>20.655131056393973</c:v>
                </c:pt>
                <c:pt idx="1162">
                  <c:v>20.655131056393973</c:v>
                </c:pt>
                <c:pt idx="1163">
                  <c:v>20.655131056393973</c:v>
                </c:pt>
                <c:pt idx="1164">
                  <c:v>20.655131056393973</c:v>
                </c:pt>
                <c:pt idx="1165">
                  <c:v>20.655131056393973</c:v>
                </c:pt>
                <c:pt idx="1166">
                  <c:v>20.655131056393973</c:v>
                </c:pt>
                <c:pt idx="1167">
                  <c:v>20.655131056393973</c:v>
                </c:pt>
                <c:pt idx="1168">
                  <c:v>20.655131056393973</c:v>
                </c:pt>
                <c:pt idx="1169">
                  <c:v>20.655131056393973</c:v>
                </c:pt>
                <c:pt idx="1170">
                  <c:v>20.655131056393973</c:v>
                </c:pt>
                <c:pt idx="1171">
                  <c:v>20.655131056393973</c:v>
                </c:pt>
                <c:pt idx="1172">
                  <c:v>20.655131056393973</c:v>
                </c:pt>
                <c:pt idx="1173">
                  <c:v>20.655131056393973</c:v>
                </c:pt>
                <c:pt idx="1174">
                  <c:v>20.655131056393973</c:v>
                </c:pt>
                <c:pt idx="1175">
                  <c:v>20.655131056393973</c:v>
                </c:pt>
                <c:pt idx="1176">
                  <c:v>20.655131056393973</c:v>
                </c:pt>
                <c:pt idx="1177">
                  <c:v>20.655131056393973</c:v>
                </c:pt>
                <c:pt idx="1178">
                  <c:v>20.655131056393973</c:v>
                </c:pt>
                <c:pt idx="1179">
                  <c:v>20.655131056393973</c:v>
                </c:pt>
                <c:pt idx="1180">
                  <c:v>20.655131056393973</c:v>
                </c:pt>
                <c:pt idx="1181">
                  <c:v>20.655131056393973</c:v>
                </c:pt>
                <c:pt idx="1182">
                  <c:v>20.655131056393973</c:v>
                </c:pt>
                <c:pt idx="1183">
                  <c:v>20.655131056393973</c:v>
                </c:pt>
                <c:pt idx="1184">
                  <c:v>20.655131056393973</c:v>
                </c:pt>
                <c:pt idx="1185">
                  <c:v>20.655131056393973</c:v>
                </c:pt>
                <c:pt idx="1186">
                  <c:v>20.655131056393973</c:v>
                </c:pt>
                <c:pt idx="1187">
                  <c:v>20.655131056393973</c:v>
                </c:pt>
                <c:pt idx="1188">
                  <c:v>20.655131056393973</c:v>
                </c:pt>
                <c:pt idx="1189">
                  <c:v>20.655131056393973</c:v>
                </c:pt>
                <c:pt idx="1190">
                  <c:v>20.655131056393973</c:v>
                </c:pt>
                <c:pt idx="1191">
                  <c:v>20.655131056393973</c:v>
                </c:pt>
                <c:pt idx="1192">
                  <c:v>20.655131056393973</c:v>
                </c:pt>
                <c:pt idx="1193">
                  <c:v>20.655131056393973</c:v>
                </c:pt>
                <c:pt idx="1194">
                  <c:v>20.655131056393973</c:v>
                </c:pt>
                <c:pt idx="1195">
                  <c:v>20.655131056393973</c:v>
                </c:pt>
                <c:pt idx="1196">
                  <c:v>20.655131056393973</c:v>
                </c:pt>
                <c:pt idx="1197">
                  <c:v>20.655131056393973</c:v>
                </c:pt>
                <c:pt idx="1198">
                  <c:v>20.655131056393973</c:v>
                </c:pt>
                <c:pt idx="1199">
                  <c:v>20.655131056393973</c:v>
                </c:pt>
                <c:pt idx="1200">
                  <c:v>20.655131056393973</c:v>
                </c:pt>
                <c:pt idx="1201">
                  <c:v>20.655131056393973</c:v>
                </c:pt>
                <c:pt idx="1202">
                  <c:v>20.655131056393973</c:v>
                </c:pt>
                <c:pt idx="1203">
                  <c:v>20.655131056393973</c:v>
                </c:pt>
                <c:pt idx="1204">
                  <c:v>20.655131056393973</c:v>
                </c:pt>
                <c:pt idx="1205">
                  <c:v>20.655131056393973</c:v>
                </c:pt>
                <c:pt idx="1206">
                  <c:v>20.655131056393973</c:v>
                </c:pt>
                <c:pt idx="1207">
                  <c:v>20.655131056393973</c:v>
                </c:pt>
                <c:pt idx="1208">
                  <c:v>20.655131056393973</c:v>
                </c:pt>
                <c:pt idx="1209">
                  <c:v>20.655131056393973</c:v>
                </c:pt>
                <c:pt idx="1210">
                  <c:v>20.655131056393973</c:v>
                </c:pt>
                <c:pt idx="1211">
                  <c:v>20.655131056393973</c:v>
                </c:pt>
                <c:pt idx="1212">
                  <c:v>20.655131056393973</c:v>
                </c:pt>
                <c:pt idx="1213">
                  <c:v>20.655131056393973</c:v>
                </c:pt>
                <c:pt idx="1214">
                  <c:v>20.655131056393973</c:v>
                </c:pt>
                <c:pt idx="1215">
                  <c:v>20.655131056393973</c:v>
                </c:pt>
                <c:pt idx="1216">
                  <c:v>20.655131056393973</c:v>
                </c:pt>
                <c:pt idx="1217">
                  <c:v>20.655131056393973</c:v>
                </c:pt>
                <c:pt idx="1218">
                  <c:v>20.655131056393973</c:v>
                </c:pt>
                <c:pt idx="1219">
                  <c:v>20.655131056393973</c:v>
                </c:pt>
                <c:pt idx="1220">
                  <c:v>20.655131056393973</c:v>
                </c:pt>
                <c:pt idx="1221">
                  <c:v>20.655131056393973</c:v>
                </c:pt>
                <c:pt idx="1222">
                  <c:v>20.655131056393973</c:v>
                </c:pt>
                <c:pt idx="1223">
                  <c:v>20.655131056393973</c:v>
                </c:pt>
                <c:pt idx="1224">
                  <c:v>20.655131056393973</c:v>
                </c:pt>
                <c:pt idx="1225">
                  <c:v>20.655131056393973</c:v>
                </c:pt>
                <c:pt idx="1226">
                  <c:v>20.655131056393973</c:v>
                </c:pt>
                <c:pt idx="1227">
                  <c:v>20.655131056393973</c:v>
                </c:pt>
                <c:pt idx="1228">
                  <c:v>20.655131056393973</c:v>
                </c:pt>
                <c:pt idx="1229">
                  <c:v>20.655131056393973</c:v>
                </c:pt>
                <c:pt idx="1230">
                  <c:v>20.655131056393973</c:v>
                </c:pt>
                <c:pt idx="1231">
                  <c:v>20.655131056393973</c:v>
                </c:pt>
                <c:pt idx="1232">
                  <c:v>20.655131056393973</c:v>
                </c:pt>
                <c:pt idx="1233">
                  <c:v>20.655131056393973</c:v>
                </c:pt>
                <c:pt idx="1234">
                  <c:v>20.655131056393973</c:v>
                </c:pt>
                <c:pt idx="1235">
                  <c:v>20.655131056393973</c:v>
                </c:pt>
                <c:pt idx="1236">
                  <c:v>20.655131056393973</c:v>
                </c:pt>
                <c:pt idx="1237">
                  <c:v>20.655131056393973</c:v>
                </c:pt>
                <c:pt idx="1238">
                  <c:v>20.655131056393973</c:v>
                </c:pt>
                <c:pt idx="1239">
                  <c:v>20.655131056393973</c:v>
                </c:pt>
                <c:pt idx="1240">
                  <c:v>20.655131056393973</c:v>
                </c:pt>
                <c:pt idx="1241">
                  <c:v>20.655131056393973</c:v>
                </c:pt>
                <c:pt idx="1242">
                  <c:v>20.655131056393973</c:v>
                </c:pt>
                <c:pt idx="1243">
                  <c:v>20.655131056393973</c:v>
                </c:pt>
                <c:pt idx="1244">
                  <c:v>20.655131056393973</c:v>
                </c:pt>
                <c:pt idx="1245">
                  <c:v>20.655131056393973</c:v>
                </c:pt>
                <c:pt idx="1246">
                  <c:v>20.655131056393973</c:v>
                </c:pt>
                <c:pt idx="1247">
                  <c:v>20.655131056393973</c:v>
                </c:pt>
                <c:pt idx="1248">
                  <c:v>20.655131056393973</c:v>
                </c:pt>
                <c:pt idx="1249">
                  <c:v>20.655131056393973</c:v>
                </c:pt>
                <c:pt idx="1250">
                  <c:v>20.655131056393973</c:v>
                </c:pt>
                <c:pt idx="1251">
                  <c:v>20.655131056393973</c:v>
                </c:pt>
                <c:pt idx="1252">
                  <c:v>20.655131056393973</c:v>
                </c:pt>
                <c:pt idx="1253">
                  <c:v>20.655131056393973</c:v>
                </c:pt>
                <c:pt idx="1254">
                  <c:v>20.655131056393973</c:v>
                </c:pt>
                <c:pt idx="1255">
                  <c:v>20.655131056393973</c:v>
                </c:pt>
                <c:pt idx="1256">
                  <c:v>20.655131056393973</c:v>
                </c:pt>
                <c:pt idx="1257">
                  <c:v>20.655131056393973</c:v>
                </c:pt>
                <c:pt idx="1258">
                  <c:v>20.655131056393973</c:v>
                </c:pt>
                <c:pt idx="1259">
                  <c:v>20.655131056393973</c:v>
                </c:pt>
                <c:pt idx="1260">
                  <c:v>20.655131056393973</c:v>
                </c:pt>
                <c:pt idx="1261">
                  <c:v>20.655131056393973</c:v>
                </c:pt>
                <c:pt idx="1262">
                  <c:v>20.655131056393973</c:v>
                </c:pt>
                <c:pt idx="1263">
                  <c:v>20.655131056393973</c:v>
                </c:pt>
                <c:pt idx="1264">
                  <c:v>20.655131056393973</c:v>
                </c:pt>
                <c:pt idx="1265">
                  <c:v>20.655131056393973</c:v>
                </c:pt>
                <c:pt idx="1266">
                  <c:v>20.655131056393973</c:v>
                </c:pt>
                <c:pt idx="1267">
                  <c:v>20.655131056393973</c:v>
                </c:pt>
                <c:pt idx="1268">
                  <c:v>20.655131056393973</c:v>
                </c:pt>
                <c:pt idx="1269">
                  <c:v>20.655131056393973</c:v>
                </c:pt>
                <c:pt idx="1270">
                  <c:v>20.655131056393973</c:v>
                </c:pt>
                <c:pt idx="1271">
                  <c:v>20.655131056393973</c:v>
                </c:pt>
                <c:pt idx="1272">
                  <c:v>20.655131056393973</c:v>
                </c:pt>
                <c:pt idx="1273">
                  <c:v>20.655131056393973</c:v>
                </c:pt>
                <c:pt idx="1274">
                  <c:v>20.655131056393973</c:v>
                </c:pt>
                <c:pt idx="1275">
                  <c:v>20.655131056393973</c:v>
                </c:pt>
                <c:pt idx="1276">
                  <c:v>20.655131056393973</c:v>
                </c:pt>
                <c:pt idx="1277">
                  <c:v>20.655131056393973</c:v>
                </c:pt>
                <c:pt idx="1278">
                  <c:v>20.655131056393973</c:v>
                </c:pt>
                <c:pt idx="1279">
                  <c:v>20.655131056393973</c:v>
                </c:pt>
                <c:pt idx="1280">
                  <c:v>20.655131056393973</c:v>
                </c:pt>
                <c:pt idx="1281">
                  <c:v>20.655131056393973</c:v>
                </c:pt>
                <c:pt idx="1282">
                  <c:v>20.655131056393973</c:v>
                </c:pt>
                <c:pt idx="1283">
                  <c:v>20.655131056393973</c:v>
                </c:pt>
                <c:pt idx="1284">
                  <c:v>20.655131056393973</c:v>
                </c:pt>
                <c:pt idx="1285">
                  <c:v>20.655131056393973</c:v>
                </c:pt>
                <c:pt idx="1286">
                  <c:v>20.655131056393973</c:v>
                </c:pt>
                <c:pt idx="1287">
                  <c:v>20.655131056393973</c:v>
                </c:pt>
                <c:pt idx="1288">
                  <c:v>20.655131056393973</c:v>
                </c:pt>
                <c:pt idx="1289">
                  <c:v>20.655131056393973</c:v>
                </c:pt>
                <c:pt idx="1290">
                  <c:v>20.655131056393973</c:v>
                </c:pt>
                <c:pt idx="1291">
                  <c:v>20.655131056393973</c:v>
                </c:pt>
                <c:pt idx="1292">
                  <c:v>20.655131056393973</c:v>
                </c:pt>
                <c:pt idx="1293">
                  <c:v>20.655131056393973</c:v>
                </c:pt>
                <c:pt idx="1294">
                  <c:v>20.655131056393973</c:v>
                </c:pt>
                <c:pt idx="1295">
                  <c:v>20.655131056393973</c:v>
                </c:pt>
                <c:pt idx="1296">
                  <c:v>20.655131056393973</c:v>
                </c:pt>
                <c:pt idx="1297">
                  <c:v>20.655131056393973</c:v>
                </c:pt>
                <c:pt idx="1298">
                  <c:v>20.655131056393973</c:v>
                </c:pt>
                <c:pt idx="1299">
                  <c:v>20.655131056393973</c:v>
                </c:pt>
                <c:pt idx="1300">
                  <c:v>20.655131056393973</c:v>
                </c:pt>
                <c:pt idx="1301">
                  <c:v>20.655131056393973</c:v>
                </c:pt>
                <c:pt idx="1302">
                  <c:v>20.655131056393973</c:v>
                </c:pt>
                <c:pt idx="1303">
                  <c:v>20.655131056393973</c:v>
                </c:pt>
                <c:pt idx="1304">
                  <c:v>20.655131056393973</c:v>
                </c:pt>
                <c:pt idx="1305">
                  <c:v>20.655131056393973</c:v>
                </c:pt>
                <c:pt idx="1306">
                  <c:v>20.655131056393973</c:v>
                </c:pt>
                <c:pt idx="1307">
                  <c:v>20.655131056393973</c:v>
                </c:pt>
                <c:pt idx="1308">
                  <c:v>20.655131056393973</c:v>
                </c:pt>
                <c:pt idx="1309">
                  <c:v>20.655131056393973</c:v>
                </c:pt>
                <c:pt idx="1310">
                  <c:v>20.655131056393973</c:v>
                </c:pt>
                <c:pt idx="1311">
                  <c:v>20.655131056393973</c:v>
                </c:pt>
                <c:pt idx="1312">
                  <c:v>20.655131056393973</c:v>
                </c:pt>
                <c:pt idx="1313">
                  <c:v>20.655131056393973</c:v>
                </c:pt>
                <c:pt idx="1314">
                  <c:v>20.655131056393973</c:v>
                </c:pt>
                <c:pt idx="1315">
                  <c:v>20.655131056393973</c:v>
                </c:pt>
                <c:pt idx="1316">
                  <c:v>20.655131056393973</c:v>
                </c:pt>
                <c:pt idx="1317">
                  <c:v>20.655131056393973</c:v>
                </c:pt>
                <c:pt idx="1318">
                  <c:v>20.655131056393973</c:v>
                </c:pt>
                <c:pt idx="1319">
                  <c:v>20.655131056393973</c:v>
                </c:pt>
                <c:pt idx="1320">
                  <c:v>20.655131056393973</c:v>
                </c:pt>
                <c:pt idx="1321">
                  <c:v>20.655131056393973</c:v>
                </c:pt>
                <c:pt idx="1322">
                  <c:v>20.655131056393973</c:v>
                </c:pt>
                <c:pt idx="1323">
                  <c:v>20.655131056393973</c:v>
                </c:pt>
                <c:pt idx="1324">
                  <c:v>20.655131056393973</c:v>
                </c:pt>
                <c:pt idx="1325">
                  <c:v>20.655131056393973</c:v>
                </c:pt>
                <c:pt idx="1326">
                  <c:v>20.655131056393973</c:v>
                </c:pt>
                <c:pt idx="1327">
                  <c:v>20.655131056393973</c:v>
                </c:pt>
                <c:pt idx="1328">
                  <c:v>20.655131056393973</c:v>
                </c:pt>
                <c:pt idx="1329">
                  <c:v>20.655131056393973</c:v>
                </c:pt>
                <c:pt idx="1330">
                  <c:v>20.655131056393973</c:v>
                </c:pt>
                <c:pt idx="1331">
                  <c:v>20.655131056393973</c:v>
                </c:pt>
                <c:pt idx="1332">
                  <c:v>20.655131056393973</c:v>
                </c:pt>
                <c:pt idx="1333">
                  <c:v>20.655131056393973</c:v>
                </c:pt>
                <c:pt idx="1334">
                  <c:v>20.655131056393973</c:v>
                </c:pt>
                <c:pt idx="1335">
                  <c:v>20.655131056393973</c:v>
                </c:pt>
                <c:pt idx="1336">
                  <c:v>20.655131056393973</c:v>
                </c:pt>
                <c:pt idx="1337">
                  <c:v>20.655131056393973</c:v>
                </c:pt>
                <c:pt idx="1338">
                  <c:v>20.655131056393973</c:v>
                </c:pt>
                <c:pt idx="1339">
                  <c:v>20.655131056393973</c:v>
                </c:pt>
                <c:pt idx="1340">
                  <c:v>20.655131056393973</c:v>
                </c:pt>
                <c:pt idx="1341">
                  <c:v>20.655131056393973</c:v>
                </c:pt>
                <c:pt idx="1342">
                  <c:v>20.655131056393973</c:v>
                </c:pt>
                <c:pt idx="1343">
                  <c:v>20.655131056393973</c:v>
                </c:pt>
                <c:pt idx="1344">
                  <c:v>20.655131056393973</c:v>
                </c:pt>
                <c:pt idx="1345">
                  <c:v>20.655131056393973</c:v>
                </c:pt>
                <c:pt idx="1346">
                  <c:v>20.655131056393973</c:v>
                </c:pt>
                <c:pt idx="1347">
                  <c:v>20.655131056393973</c:v>
                </c:pt>
                <c:pt idx="1348">
                  <c:v>20.655131056393973</c:v>
                </c:pt>
                <c:pt idx="1349">
                  <c:v>20.655131056393973</c:v>
                </c:pt>
                <c:pt idx="1350">
                  <c:v>20.655131056393973</c:v>
                </c:pt>
                <c:pt idx="1351">
                  <c:v>20.655131056393973</c:v>
                </c:pt>
                <c:pt idx="1352">
                  <c:v>20.655131056393973</c:v>
                </c:pt>
                <c:pt idx="1353">
                  <c:v>20.655131056393973</c:v>
                </c:pt>
                <c:pt idx="1354">
                  <c:v>20.655131056393973</c:v>
                </c:pt>
                <c:pt idx="1355">
                  <c:v>20.655131056393973</c:v>
                </c:pt>
                <c:pt idx="1356">
                  <c:v>20.655131056393973</c:v>
                </c:pt>
                <c:pt idx="1357">
                  <c:v>20.655131056393973</c:v>
                </c:pt>
                <c:pt idx="1358">
                  <c:v>20.655131056393973</c:v>
                </c:pt>
                <c:pt idx="1359">
                  <c:v>20.655131056393973</c:v>
                </c:pt>
                <c:pt idx="1360">
                  <c:v>20.655131056393973</c:v>
                </c:pt>
                <c:pt idx="1361">
                  <c:v>20.655131056393973</c:v>
                </c:pt>
                <c:pt idx="1362">
                  <c:v>20.655131056393973</c:v>
                </c:pt>
                <c:pt idx="1363">
                  <c:v>20.655131056393973</c:v>
                </c:pt>
                <c:pt idx="1364">
                  <c:v>20.655131056393973</c:v>
                </c:pt>
                <c:pt idx="1365">
                  <c:v>20.655131056393973</c:v>
                </c:pt>
                <c:pt idx="1366">
                  <c:v>20.655131056393973</c:v>
                </c:pt>
                <c:pt idx="1367">
                  <c:v>20.655131056393973</c:v>
                </c:pt>
                <c:pt idx="1368">
                  <c:v>20.655131056393973</c:v>
                </c:pt>
                <c:pt idx="1369">
                  <c:v>20.655131056393973</c:v>
                </c:pt>
                <c:pt idx="1370">
                  <c:v>20.655131056393973</c:v>
                </c:pt>
                <c:pt idx="1371">
                  <c:v>20.655131056393973</c:v>
                </c:pt>
                <c:pt idx="1372">
                  <c:v>20.655131056393973</c:v>
                </c:pt>
                <c:pt idx="1373">
                  <c:v>20.655131056393973</c:v>
                </c:pt>
                <c:pt idx="1374">
                  <c:v>20.655131056393973</c:v>
                </c:pt>
                <c:pt idx="1375">
                  <c:v>20.655131056393973</c:v>
                </c:pt>
                <c:pt idx="1376">
                  <c:v>20.655131056393973</c:v>
                </c:pt>
                <c:pt idx="1377">
                  <c:v>20.655131056393973</c:v>
                </c:pt>
                <c:pt idx="1378">
                  <c:v>20.655131056393973</c:v>
                </c:pt>
                <c:pt idx="1379">
                  <c:v>20.655131056393973</c:v>
                </c:pt>
                <c:pt idx="1380">
                  <c:v>20.655131056393973</c:v>
                </c:pt>
                <c:pt idx="1381">
                  <c:v>20.655131056393973</c:v>
                </c:pt>
                <c:pt idx="1382">
                  <c:v>20.655131056393973</c:v>
                </c:pt>
                <c:pt idx="1383">
                  <c:v>20.655131056393973</c:v>
                </c:pt>
                <c:pt idx="1384">
                  <c:v>20.655131056393973</c:v>
                </c:pt>
                <c:pt idx="1385">
                  <c:v>20.655131056393973</c:v>
                </c:pt>
                <c:pt idx="1386">
                  <c:v>20.655131056393973</c:v>
                </c:pt>
                <c:pt idx="1387">
                  <c:v>20.655131056393973</c:v>
                </c:pt>
                <c:pt idx="1388">
                  <c:v>20.655131056393973</c:v>
                </c:pt>
                <c:pt idx="1389">
                  <c:v>20.655131056393973</c:v>
                </c:pt>
                <c:pt idx="1390">
                  <c:v>20.655131056393973</c:v>
                </c:pt>
                <c:pt idx="1391">
                  <c:v>20.655131056393973</c:v>
                </c:pt>
                <c:pt idx="1392">
                  <c:v>20.655131056393973</c:v>
                </c:pt>
                <c:pt idx="1393">
                  <c:v>20.655131056393973</c:v>
                </c:pt>
                <c:pt idx="1394">
                  <c:v>20.655131056393973</c:v>
                </c:pt>
                <c:pt idx="1395">
                  <c:v>20.655131056393973</c:v>
                </c:pt>
                <c:pt idx="1396">
                  <c:v>20.655131056393973</c:v>
                </c:pt>
                <c:pt idx="1397">
                  <c:v>20.655131056393973</c:v>
                </c:pt>
                <c:pt idx="1398">
                  <c:v>20.655131056393973</c:v>
                </c:pt>
                <c:pt idx="1399">
                  <c:v>20.655131056393973</c:v>
                </c:pt>
                <c:pt idx="1400">
                  <c:v>20.655131056393973</c:v>
                </c:pt>
                <c:pt idx="1401">
                  <c:v>20.655131056393973</c:v>
                </c:pt>
                <c:pt idx="1402">
                  <c:v>20.655131056393973</c:v>
                </c:pt>
                <c:pt idx="1403">
                  <c:v>20.655131056393973</c:v>
                </c:pt>
                <c:pt idx="1404">
                  <c:v>20.655131056393973</c:v>
                </c:pt>
                <c:pt idx="1405">
                  <c:v>20.655131056393973</c:v>
                </c:pt>
                <c:pt idx="1406">
                  <c:v>20.655131056393973</c:v>
                </c:pt>
                <c:pt idx="1407">
                  <c:v>20.655131056393973</c:v>
                </c:pt>
                <c:pt idx="1408">
                  <c:v>20.655131056393973</c:v>
                </c:pt>
                <c:pt idx="1409">
                  <c:v>20.655131056393973</c:v>
                </c:pt>
                <c:pt idx="1410">
                  <c:v>20.655131056393973</c:v>
                </c:pt>
                <c:pt idx="1411">
                  <c:v>20.655131056393973</c:v>
                </c:pt>
                <c:pt idx="1412">
                  <c:v>20.655131056393973</c:v>
                </c:pt>
                <c:pt idx="1413">
                  <c:v>20.655131056393973</c:v>
                </c:pt>
                <c:pt idx="1414">
                  <c:v>20.655131056393973</c:v>
                </c:pt>
                <c:pt idx="1415">
                  <c:v>20.655131056393973</c:v>
                </c:pt>
                <c:pt idx="1416">
                  <c:v>20.655131056393973</c:v>
                </c:pt>
                <c:pt idx="1417">
                  <c:v>20.655131056393973</c:v>
                </c:pt>
                <c:pt idx="1418">
                  <c:v>20.655131056393973</c:v>
                </c:pt>
                <c:pt idx="1419">
                  <c:v>20.655131056393973</c:v>
                </c:pt>
                <c:pt idx="1420">
                  <c:v>20.655131056393973</c:v>
                </c:pt>
                <c:pt idx="1421">
                  <c:v>20.655131056393973</c:v>
                </c:pt>
                <c:pt idx="1422">
                  <c:v>20.655131056393973</c:v>
                </c:pt>
                <c:pt idx="1423">
                  <c:v>20.655131056393973</c:v>
                </c:pt>
                <c:pt idx="1424">
                  <c:v>20.655131056393973</c:v>
                </c:pt>
                <c:pt idx="1425">
                  <c:v>20.655131056393973</c:v>
                </c:pt>
                <c:pt idx="1426">
                  <c:v>20.655131056393973</c:v>
                </c:pt>
                <c:pt idx="1427">
                  <c:v>20.655131056393973</c:v>
                </c:pt>
                <c:pt idx="1428">
                  <c:v>20.655131056393973</c:v>
                </c:pt>
                <c:pt idx="1429">
                  <c:v>20.655131056393973</c:v>
                </c:pt>
                <c:pt idx="1430">
                  <c:v>20.655131056393973</c:v>
                </c:pt>
                <c:pt idx="1431">
                  <c:v>20.655131056393973</c:v>
                </c:pt>
                <c:pt idx="1432">
                  <c:v>20.655131056393973</c:v>
                </c:pt>
                <c:pt idx="1433">
                  <c:v>20.655131056393973</c:v>
                </c:pt>
                <c:pt idx="1434">
                  <c:v>20.655131056393973</c:v>
                </c:pt>
                <c:pt idx="1435">
                  <c:v>20.655131056393973</c:v>
                </c:pt>
                <c:pt idx="1436">
                  <c:v>20.655131056393973</c:v>
                </c:pt>
                <c:pt idx="1437">
                  <c:v>20.655131056393973</c:v>
                </c:pt>
                <c:pt idx="1438">
                  <c:v>20.655131056393973</c:v>
                </c:pt>
                <c:pt idx="1439">
                  <c:v>20.655131056393973</c:v>
                </c:pt>
                <c:pt idx="1440">
                  <c:v>20.655131056393973</c:v>
                </c:pt>
                <c:pt idx="1441">
                  <c:v>20.655131056393973</c:v>
                </c:pt>
                <c:pt idx="1442">
                  <c:v>20.655131056393973</c:v>
                </c:pt>
                <c:pt idx="1443">
                  <c:v>20.655131056393973</c:v>
                </c:pt>
                <c:pt idx="1444">
                  <c:v>20.655131056393973</c:v>
                </c:pt>
                <c:pt idx="1445">
                  <c:v>20.655131056393973</c:v>
                </c:pt>
                <c:pt idx="1446">
                  <c:v>20.655131056393973</c:v>
                </c:pt>
                <c:pt idx="1447">
                  <c:v>20.655131056393973</c:v>
                </c:pt>
                <c:pt idx="1448">
                  <c:v>20.655131056393973</c:v>
                </c:pt>
                <c:pt idx="1449">
                  <c:v>20.655131056393973</c:v>
                </c:pt>
                <c:pt idx="1450">
                  <c:v>20.655131056393973</c:v>
                </c:pt>
                <c:pt idx="1451">
                  <c:v>20.655131056393973</c:v>
                </c:pt>
                <c:pt idx="1452">
                  <c:v>20.655131056393973</c:v>
                </c:pt>
                <c:pt idx="1453">
                  <c:v>20.655131056393973</c:v>
                </c:pt>
                <c:pt idx="1454">
                  <c:v>20.655131056393973</c:v>
                </c:pt>
                <c:pt idx="1455">
                  <c:v>20.655131056393973</c:v>
                </c:pt>
                <c:pt idx="1456">
                  <c:v>20.655131056393973</c:v>
                </c:pt>
                <c:pt idx="1457">
                  <c:v>20.655131056393973</c:v>
                </c:pt>
                <c:pt idx="1458">
                  <c:v>20.655131056393973</c:v>
                </c:pt>
                <c:pt idx="1459">
                  <c:v>20.655131056393973</c:v>
                </c:pt>
                <c:pt idx="1460">
                  <c:v>20.655131056393973</c:v>
                </c:pt>
                <c:pt idx="1461">
                  <c:v>20.655131056393973</c:v>
                </c:pt>
                <c:pt idx="1462">
                  <c:v>20.655131056393973</c:v>
                </c:pt>
                <c:pt idx="1463">
                  <c:v>20.655131056393973</c:v>
                </c:pt>
                <c:pt idx="1464">
                  <c:v>20.655131056393973</c:v>
                </c:pt>
                <c:pt idx="1465">
                  <c:v>20.655131056393973</c:v>
                </c:pt>
                <c:pt idx="1466">
                  <c:v>20.655131056393973</c:v>
                </c:pt>
                <c:pt idx="1467">
                  <c:v>20.655131056393973</c:v>
                </c:pt>
                <c:pt idx="1468">
                  <c:v>20.655131056393973</c:v>
                </c:pt>
                <c:pt idx="1469">
                  <c:v>20.655131056393973</c:v>
                </c:pt>
                <c:pt idx="1470">
                  <c:v>20.655131056393973</c:v>
                </c:pt>
                <c:pt idx="1471">
                  <c:v>20.655131056393973</c:v>
                </c:pt>
                <c:pt idx="1472">
                  <c:v>20.655131056393973</c:v>
                </c:pt>
                <c:pt idx="1473">
                  <c:v>20.655131056393973</c:v>
                </c:pt>
                <c:pt idx="1474">
                  <c:v>20.655131056393973</c:v>
                </c:pt>
                <c:pt idx="1475">
                  <c:v>20.655131056393973</c:v>
                </c:pt>
                <c:pt idx="1476">
                  <c:v>20.655131056393973</c:v>
                </c:pt>
                <c:pt idx="1477">
                  <c:v>20.655131056393973</c:v>
                </c:pt>
                <c:pt idx="1478">
                  <c:v>20.655131056393973</c:v>
                </c:pt>
                <c:pt idx="1479">
                  <c:v>20.655131056393973</c:v>
                </c:pt>
                <c:pt idx="1480">
                  <c:v>20.655131056393973</c:v>
                </c:pt>
                <c:pt idx="1481">
                  <c:v>20.655131056393973</c:v>
                </c:pt>
                <c:pt idx="1482">
                  <c:v>20.655131056393973</c:v>
                </c:pt>
                <c:pt idx="1483">
                  <c:v>20.655131056393973</c:v>
                </c:pt>
                <c:pt idx="1484">
                  <c:v>20.655131056393973</c:v>
                </c:pt>
                <c:pt idx="1485">
                  <c:v>20.655131056393973</c:v>
                </c:pt>
                <c:pt idx="1486">
                  <c:v>20.655131056393973</c:v>
                </c:pt>
                <c:pt idx="1487">
                  <c:v>20.655131056393973</c:v>
                </c:pt>
                <c:pt idx="1488">
                  <c:v>20.655131056393973</c:v>
                </c:pt>
                <c:pt idx="1489">
                  <c:v>20.655131056393973</c:v>
                </c:pt>
                <c:pt idx="1490">
                  <c:v>20.655131056393973</c:v>
                </c:pt>
                <c:pt idx="1491">
                  <c:v>20.655131056393973</c:v>
                </c:pt>
                <c:pt idx="1492">
                  <c:v>20.655131056393973</c:v>
                </c:pt>
                <c:pt idx="1493">
                  <c:v>20.655131056393973</c:v>
                </c:pt>
                <c:pt idx="1494">
                  <c:v>20.655131056393973</c:v>
                </c:pt>
                <c:pt idx="1495">
                  <c:v>20.655131056393973</c:v>
                </c:pt>
                <c:pt idx="1496">
                  <c:v>20.655131056393973</c:v>
                </c:pt>
                <c:pt idx="1497">
                  <c:v>20.655131056393973</c:v>
                </c:pt>
                <c:pt idx="1498">
                  <c:v>20.655131056393973</c:v>
                </c:pt>
                <c:pt idx="1499">
                  <c:v>20.655131056393973</c:v>
                </c:pt>
                <c:pt idx="1500">
                  <c:v>20.655131056393973</c:v>
                </c:pt>
                <c:pt idx="1501">
                  <c:v>20.655131056393973</c:v>
                </c:pt>
                <c:pt idx="1502">
                  <c:v>20.655131056393973</c:v>
                </c:pt>
                <c:pt idx="1503">
                  <c:v>20.655131056393973</c:v>
                </c:pt>
                <c:pt idx="1504">
                  <c:v>20.655131056393973</c:v>
                </c:pt>
                <c:pt idx="1505">
                  <c:v>20.655131056393973</c:v>
                </c:pt>
                <c:pt idx="1506">
                  <c:v>20.655131056393973</c:v>
                </c:pt>
                <c:pt idx="1507">
                  <c:v>20.655131056393973</c:v>
                </c:pt>
                <c:pt idx="1508">
                  <c:v>20.655131056393973</c:v>
                </c:pt>
                <c:pt idx="1509">
                  <c:v>20.655131056393973</c:v>
                </c:pt>
                <c:pt idx="1510">
                  <c:v>20.655131056393973</c:v>
                </c:pt>
                <c:pt idx="1511">
                  <c:v>20.655131056393973</c:v>
                </c:pt>
                <c:pt idx="1512">
                  <c:v>20.655131056393973</c:v>
                </c:pt>
                <c:pt idx="1513">
                  <c:v>20.655131056393973</c:v>
                </c:pt>
                <c:pt idx="1514">
                  <c:v>20.655131056393973</c:v>
                </c:pt>
                <c:pt idx="1515">
                  <c:v>20.655131056393973</c:v>
                </c:pt>
                <c:pt idx="1516">
                  <c:v>20.655131056393973</c:v>
                </c:pt>
                <c:pt idx="1517">
                  <c:v>20.655131056393973</c:v>
                </c:pt>
                <c:pt idx="1518">
                  <c:v>20.655131056393973</c:v>
                </c:pt>
                <c:pt idx="1519">
                  <c:v>20.655131056393973</c:v>
                </c:pt>
                <c:pt idx="1520">
                  <c:v>20.655131056393973</c:v>
                </c:pt>
                <c:pt idx="1521">
                  <c:v>20.655131056393973</c:v>
                </c:pt>
                <c:pt idx="1522">
                  <c:v>20.655131056393973</c:v>
                </c:pt>
                <c:pt idx="1523">
                  <c:v>20.655131056393973</c:v>
                </c:pt>
                <c:pt idx="1524">
                  <c:v>20.655131056393973</c:v>
                </c:pt>
                <c:pt idx="1525">
                  <c:v>20.655131056393973</c:v>
                </c:pt>
                <c:pt idx="1526">
                  <c:v>20.655131056393973</c:v>
                </c:pt>
                <c:pt idx="1527">
                  <c:v>20.655131056393973</c:v>
                </c:pt>
                <c:pt idx="1528">
                  <c:v>20.655131056393973</c:v>
                </c:pt>
                <c:pt idx="1529">
                  <c:v>20.655131056393973</c:v>
                </c:pt>
                <c:pt idx="1530">
                  <c:v>20.655131056393973</c:v>
                </c:pt>
                <c:pt idx="1531">
                  <c:v>20.655131056393973</c:v>
                </c:pt>
                <c:pt idx="1532">
                  <c:v>20.655131056393973</c:v>
                </c:pt>
                <c:pt idx="1533">
                  <c:v>20.655131056393973</c:v>
                </c:pt>
                <c:pt idx="1534">
                  <c:v>20.655131056393973</c:v>
                </c:pt>
                <c:pt idx="1535">
                  <c:v>20.655131056393973</c:v>
                </c:pt>
                <c:pt idx="1536">
                  <c:v>20.655131056393973</c:v>
                </c:pt>
                <c:pt idx="1537">
                  <c:v>20.655131056393973</c:v>
                </c:pt>
                <c:pt idx="1538">
                  <c:v>20.655131056393973</c:v>
                </c:pt>
                <c:pt idx="1539">
                  <c:v>20.655131056393973</c:v>
                </c:pt>
                <c:pt idx="1540">
                  <c:v>20.655131056393973</c:v>
                </c:pt>
                <c:pt idx="1541">
                  <c:v>20.655131056393973</c:v>
                </c:pt>
                <c:pt idx="1542">
                  <c:v>20.655131056393973</c:v>
                </c:pt>
                <c:pt idx="1543">
                  <c:v>20.655131056393973</c:v>
                </c:pt>
                <c:pt idx="1544">
                  <c:v>20.655131056393973</c:v>
                </c:pt>
                <c:pt idx="1545">
                  <c:v>20.655131056393973</c:v>
                </c:pt>
                <c:pt idx="1546">
                  <c:v>20.655131056393973</c:v>
                </c:pt>
                <c:pt idx="1547">
                  <c:v>20.655131056393973</c:v>
                </c:pt>
                <c:pt idx="1548">
                  <c:v>20.655131056393973</c:v>
                </c:pt>
                <c:pt idx="1549">
                  <c:v>20.655131056393973</c:v>
                </c:pt>
                <c:pt idx="1550">
                  <c:v>20.655131056393973</c:v>
                </c:pt>
                <c:pt idx="1551">
                  <c:v>20.655131056393973</c:v>
                </c:pt>
                <c:pt idx="1552">
                  <c:v>20.655131056393973</c:v>
                </c:pt>
                <c:pt idx="1553">
                  <c:v>20.655131056393973</c:v>
                </c:pt>
                <c:pt idx="1554">
                  <c:v>20.655131056393973</c:v>
                </c:pt>
                <c:pt idx="1555">
                  <c:v>20.655131056393973</c:v>
                </c:pt>
                <c:pt idx="1556">
                  <c:v>20.655131056393973</c:v>
                </c:pt>
                <c:pt idx="1557">
                  <c:v>20.655131056393973</c:v>
                </c:pt>
                <c:pt idx="1558">
                  <c:v>20.655131056393973</c:v>
                </c:pt>
                <c:pt idx="1559">
                  <c:v>20.655131056393973</c:v>
                </c:pt>
                <c:pt idx="1560">
                  <c:v>20.655131056393973</c:v>
                </c:pt>
                <c:pt idx="1561">
                  <c:v>20.655131056393973</c:v>
                </c:pt>
                <c:pt idx="1562">
                  <c:v>20.655131056393973</c:v>
                </c:pt>
                <c:pt idx="1563">
                  <c:v>20.655131056393973</c:v>
                </c:pt>
                <c:pt idx="1564">
                  <c:v>20.655131056393973</c:v>
                </c:pt>
                <c:pt idx="1565">
                  <c:v>20.655131056393973</c:v>
                </c:pt>
                <c:pt idx="1566">
                  <c:v>20.655131056393973</c:v>
                </c:pt>
                <c:pt idx="1567">
                  <c:v>20.655131056393973</c:v>
                </c:pt>
                <c:pt idx="1568">
                  <c:v>20.655131056393973</c:v>
                </c:pt>
                <c:pt idx="1569">
                  <c:v>20.655131056393973</c:v>
                </c:pt>
                <c:pt idx="1570">
                  <c:v>20.655131056393973</c:v>
                </c:pt>
                <c:pt idx="1571">
                  <c:v>20.655131056393973</c:v>
                </c:pt>
                <c:pt idx="1572">
                  <c:v>20.655131056393973</c:v>
                </c:pt>
                <c:pt idx="1573">
                  <c:v>20.655131056393973</c:v>
                </c:pt>
                <c:pt idx="1574">
                  <c:v>20.655131056393973</c:v>
                </c:pt>
                <c:pt idx="1575">
                  <c:v>20.655131056393973</c:v>
                </c:pt>
                <c:pt idx="1576">
                  <c:v>20.655131056393973</c:v>
                </c:pt>
                <c:pt idx="1577">
                  <c:v>20.655131056393973</c:v>
                </c:pt>
                <c:pt idx="1578">
                  <c:v>20.655131056393973</c:v>
                </c:pt>
                <c:pt idx="1579">
                  <c:v>20.655131056393973</c:v>
                </c:pt>
                <c:pt idx="1580">
                  <c:v>20.655131056393973</c:v>
                </c:pt>
                <c:pt idx="1581">
                  <c:v>20.655131056393973</c:v>
                </c:pt>
                <c:pt idx="1582">
                  <c:v>20.655131056393973</c:v>
                </c:pt>
                <c:pt idx="1583">
                  <c:v>20.655131056393973</c:v>
                </c:pt>
                <c:pt idx="1584">
                  <c:v>20.655131056393973</c:v>
                </c:pt>
                <c:pt idx="1585">
                  <c:v>20.655131056393973</c:v>
                </c:pt>
                <c:pt idx="1586">
                  <c:v>20.655131056393973</c:v>
                </c:pt>
                <c:pt idx="1587">
                  <c:v>20.655131056393973</c:v>
                </c:pt>
                <c:pt idx="1588">
                  <c:v>20.655131056393973</c:v>
                </c:pt>
                <c:pt idx="1589">
                  <c:v>20.655131056393973</c:v>
                </c:pt>
                <c:pt idx="1590">
                  <c:v>20.655131056393973</c:v>
                </c:pt>
                <c:pt idx="1591">
                  <c:v>20.655131056393973</c:v>
                </c:pt>
                <c:pt idx="1592">
                  <c:v>20.655131056393973</c:v>
                </c:pt>
                <c:pt idx="1593">
                  <c:v>20.655131056393973</c:v>
                </c:pt>
                <c:pt idx="1594">
                  <c:v>20.655131056393973</c:v>
                </c:pt>
                <c:pt idx="1595">
                  <c:v>20.655131056393973</c:v>
                </c:pt>
                <c:pt idx="1596">
                  <c:v>20.655131056393973</c:v>
                </c:pt>
                <c:pt idx="1597">
                  <c:v>20.655131056393973</c:v>
                </c:pt>
                <c:pt idx="1598">
                  <c:v>20.655131056393973</c:v>
                </c:pt>
                <c:pt idx="1599">
                  <c:v>20.655131056393973</c:v>
                </c:pt>
                <c:pt idx="1600">
                  <c:v>20.655131056393973</c:v>
                </c:pt>
                <c:pt idx="1601">
                  <c:v>20.655131056393973</c:v>
                </c:pt>
                <c:pt idx="1602">
                  <c:v>20.655131056393973</c:v>
                </c:pt>
                <c:pt idx="1603">
                  <c:v>20.655131056393973</c:v>
                </c:pt>
                <c:pt idx="1604">
                  <c:v>20.655131056393973</c:v>
                </c:pt>
                <c:pt idx="1605">
                  <c:v>20.655131056393973</c:v>
                </c:pt>
                <c:pt idx="1606">
                  <c:v>20.655131056393973</c:v>
                </c:pt>
                <c:pt idx="1607">
                  <c:v>20.655131056393973</c:v>
                </c:pt>
                <c:pt idx="1608">
                  <c:v>20.655131056393973</c:v>
                </c:pt>
                <c:pt idx="1609">
                  <c:v>20.655131056393973</c:v>
                </c:pt>
                <c:pt idx="1610">
                  <c:v>20.655131056393973</c:v>
                </c:pt>
                <c:pt idx="1611">
                  <c:v>20.655131056393973</c:v>
                </c:pt>
                <c:pt idx="1612">
                  <c:v>20.655131056393973</c:v>
                </c:pt>
                <c:pt idx="1613">
                  <c:v>20.655131056393973</c:v>
                </c:pt>
                <c:pt idx="1614">
                  <c:v>20.655131056393973</c:v>
                </c:pt>
                <c:pt idx="1615">
                  <c:v>20.655131056393973</c:v>
                </c:pt>
                <c:pt idx="1616">
                  <c:v>20.655131056393973</c:v>
                </c:pt>
                <c:pt idx="1617">
                  <c:v>20.655131056393973</c:v>
                </c:pt>
                <c:pt idx="1618">
                  <c:v>20.655131056393973</c:v>
                </c:pt>
                <c:pt idx="1619">
                  <c:v>20.655131056393973</c:v>
                </c:pt>
                <c:pt idx="1620">
                  <c:v>20.655131056393973</c:v>
                </c:pt>
                <c:pt idx="1621">
                  <c:v>20.655131056393973</c:v>
                </c:pt>
                <c:pt idx="1622">
                  <c:v>20.655131056393973</c:v>
                </c:pt>
                <c:pt idx="1623">
                  <c:v>20.655131056393973</c:v>
                </c:pt>
                <c:pt idx="1624">
                  <c:v>20.655131056393973</c:v>
                </c:pt>
                <c:pt idx="1625">
                  <c:v>20.655131056393973</c:v>
                </c:pt>
                <c:pt idx="1626">
                  <c:v>20.655131056393973</c:v>
                </c:pt>
                <c:pt idx="1627">
                  <c:v>20.655131056393973</c:v>
                </c:pt>
                <c:pt idx="1628">
                  <c:v>20.655131056393973</c:v>
                </c:pt>
                <c:pt idx="1629">
                  <c:v>20.655131056393973</c:v>
                </c:pt>
                <c:pt idx="1630">
                  <c:v>20.655131056393973</c:v>
                </c:pt>
                <c:pt idx="1631">
                  <c:v>20.655131056393973</c:v>
                </c:pt>
                <c:pt idx="1632">
                  <c:v>20.655131056393973</c:v>
                </c:pt>
                <c:pt idx="1633">
                  <c:v>20.655131056393973</c:v>
                </c:pt>
                <c:pt idx="1634">
                  <c:v>20.655131056393973</c:v>
                </c:pt>
                <c:pt idx="1635">
                  <c:v>20.655131056393973</c:v>
                </c:pt>
                <c:pt idx="1636">
                  <c:v>20.655131056393973</c:v>
                </c:pt>
                <c:pt idx="1637">
                  <c:v>20.655131056393973</c:v>
                </c:pt>
                <c:pt idx="1638">
                  <c:v>20.655131056393973</c:v>
                </c:pt>
                <c:pt idx="1639">
                  <c:v>20.655131056393973</c:v>
                </c:pt>
                <c:pt idx="1640">
                  <c:v>20.655131056393973</c:v>
                </c:pt>
                <c:pt idx="1641">
                  <c:v>20.655131056393973</c:v>
                </c:pt>
                <c:pt idx="1642">
                  <c:v>20.655131056393973</c:v>
                </c:pt>
                <c:pt idx="1643">
                  <c:v>20.655131056393973</c:v>
                </c:pt>
                <c:pt idx="1644">
                  <c:v>20.655131056393973</c:v>
                </c:pt>
                <c:pt idx="1645">
                  <c:v>20.655131056393973</c:v>
                </c:pt>
                <c:pt idx="1646">
                  <c:v>20.655131056393973</c:v>
                </c:pt>
                <c:pt idx="1647">
                  <c:v>20.655131056393973</c:v>
                </c:pt>
                <c:pt idx="1648">
                  <c:v>20.655131056393973</c:v>
                </c:pt>
                <c:pt idx="1649">
                  <c:v>20.655131056393973</c:v>
                </c:pt>
                <c:pt idx="1650">
                  <c:v>20.655131056393973</c:v>
                </c:pt>
                <c:pt idx="1651">
                  <c:v>20.655131056393973</c:v>
                </c:pt>
                <c:pt idx="1652">
                  <c:v>20.655131056393973</c:v>
                </c:pt>
                <c:pt idx="1653">
                  <c:v>20.655131056393973</c:v>
                </c:pt>
                <c:pt idx="1654">
                  <c:v>20.655131056393973</c:v>
                </c:pt>
                <c:pt idx="1655">
                  <c:v>20.655131056393973</c:v>
                </c:pt>
                <c:pt idx="1656">
                  <c:v>20.655131056393973</c:v>
                </c:pt>
                <c:pt idx="1657">
                  <c:v>20.655131056393973</c:v>
                </c:pt>
                <c:pt idx="1658">
                  <c:v>20.655131056393973</c:v>
                </c:pt>
                <c:pt idx="1659">
                  <c:v>20.655131056393973</c:v>
                </c:pt>
                <c:pt idx="1660">
                  <c:v>20.655131056393973</c:v>
                </c:pt>
                <c:pt idx="1661">
                  <c:v>20.655131056393973</c:v>
                </c:pt>
                <c:pt idx="1662">
                  <c:v>20.655131056393973</c:v>
                </c:pt>
                <c:pt idx="1663">
                  <c:v>20.655131056393973</c:v>
                </c:pt>
                <c:pt idx="1664">
                  <c:v>20.655131056393973</c:v>
                </c:pt>
                <c:pt idx="1665">
                  <c:v>20.655131056393973</c:v>
                </c:pt>
                <c:pt idx="1666">
                  <c:v>20.655131056393973</c:v>
                </c:pt>
                <c:pt idx="1667">
                  <c:v>20.655131056393973</c:v>
                </c:pt>
                <c:pt idx="1668">
                  <c:v>20.655131056393973</c:v>
                </c:pt>
                <c:pt idx="1669">
                  <c:v>20.655131056393973</c:v>
                </c:pt>
                <c:pt idx="1670">
                  <c:v>20.655131056393973</c:v>
                </c:pt>
                <c:pt idx="1671">
                  <c:v>20.655131056393973</c:v>
                </c:pt>
                <c:pt idx="1672">
                  <c:v>20.655131056393973</c:v>
                </c:pt>
                <c:pt idx="1673">
                  <c:v>20.655131056393973</c:v>
                </c:pt>
                <c:pt idx="1674">
                  <c:v>20.655131056393973</c:v>
                </c:pt>
                <c:pt idx="1675">
                  <c:v>20.655131056393973</c:v>
                </c:pt>
                <c:pt idx="1676">
                  <c:v>20.655131056393973</c:v>
                </c:pt>
                <c:pt idx="1677">
                  <c:v>20.655131056393973</c:v>
                </c:pt>
                <c:pt idx="1678">
                  <c:v>20.655131056393973</c:v>
                </c:pt>
                <c:pt idx="1679">
                  <c:v>20.655131056393973</c:v>
                </c:pt>
                <c:pt idx="1680">
                  <c:v>20.655131056393973</c:v>
                </c:pt>
                <c:pt idx="1681">
                  <c:v>20.655131056393973</c:v>
                </c:pt>
                <c:pt idx="1682">
                  <c:v>20.655131056393973</c:v>
                </c:pt>
                <c:pt idx="1683">
                  <c:v>20.655131056393973</c:v>
                </c:pt>
                <c:pt idx="1684">
                  <c:v>20.655131056393973</c:v>
                </c:pt>
                <c:pt idx="1685">
                  <c:v>20.655131056393973</c:v>
                </c:pt>
                <c:pt idx="1686">
                  <c:v>20.655131056393973</c:v>
                </c:pt>
                <c:pt idx="1687">
                  <c:v>20.655131056393973</c:v>
                </c:pt>
                <c:pt idx="1688">
                  <c:v>20.655131056393973</c:v>
                </c:pt>
                <c:pt idx="1689">
                  <c:v>20.655131056393973</c:v>
                </c:pt>
                <c:pt idx="1690">
                  <c:v>20.655131056393973</c:v>
                </c:pt>
                <c:pt idx="1691">
                  <c:v>20.655131056393973</c:v>
                </c:pt>
                <c:pt idx="1692">
                  <c:v>20.655131056393973</c:v>
                </c:pt>
                <c:pt idx="1693">
                  <c:v>20.655131056393973</c:v>
                </c:pt>
                <c:pt idx="1694">
                  <c:v>20.655131056393973</c:v>
                </c:pt>
                <c:pt idx="1695">
                  <c:v>20.655131056393973</c:v>
                </c:pt>
                <c:pt idx="1696">
                  <c:v>20.655131056393973</c:v>
                </c:pt>
                <c:pt idx="1697">
                  <c:v>20.655131056393973</c:v>
                </c:pt>
                <c:pt idx="1698">
                  <c:v>20.655131056393973</c:v>
                </c:pt>
                <c:pt idx="1699">
                  <c:v>20.655131056393973</c:v>
                </c:pt>
                <c:pt idx="1700">
                  <c:v>20.655131056393973</c:v>
                </c:pt>
                <c:pt idx="1701">
                  <c:v>20.655131056393973</c:v>
                </c:pt>
                <c:pt idx="1702">
                  <c:v>20.655131056393973</c:v>
                </c:pt>
                <c:pt idx="1703">
                  <c:v>20.655131056393973</c:v>
                </c:pt>
                <c:pt idx="1704">
                  <c:v>20.655131056393973</c:v>
                </c:pt>
                <c:pt idx="1705">
                  <c:v>20.655131056393973</c:v>
                </c:pt>
                <c:pt idx="1706">
                  <c:v>20.655131056393973</c:v>
                </c:pt>
                <c:pt idx="1707">
                  <c:v>20.655131056393973</c:v>
                </c:pt>
                <c:pt idx="1708">
                  <c:v>20.655131056393973</c:v>
                </c:pt>
                <c:pt idx="1709">
                  <c:v>20.655131056393973</c:v>
                </c:pt>
                <c:pt idx="1710">
                  <c:v>20.655131056393973</c:v>
                </c:pt>
                <c:pt idx="1711">
                  <c:v>20.655131056393973</c:v>
                </c:pt>
                <c:pt idx="1712">
                  <c:v>20.655131056393973</c:v>
                </c:pt>
                <c:pt idx="1713">
                  <c:v>20.655131056393973</c:v>
                </c:pt>
                <c:pt idx="1714">
                  <c:v>20.655131056393973</c:v>
                </c:pt>
                <c:pt idx="1715">
                  <c:v>20.655131056393973</c:v>
                </c:pt>
                <c:pt idx="1716">
                  <c:v>20.655131056393973</c:v>
                </c:pt>
                <c:pt idx="1717">
                  <c:v>20.655131056393973</c:v>
                </c:pt>
                <c:pt idx="1718">
                  <c:v>20.655131056393973</c:v>
                </c:pt>
                <c:pt idx="1719">
                  <c:v>20.655131056393973</c:v>
                </c:pt>
                <c:pt idx="1720">
                  <c:v>20.655131056393973</c:v>
                </c:pt>
                <c:pt idx="1721">
                  <c:v>20.655131056393973</c:v>
                </c:pt>
                <c:pt idx="1722">
                  <c:v>20.655131056393973</c:v>
                </c:pt>
                <c:pt idx="1723">
                  <c:v>20.655131056393973</c:v>
                </c:pt>
                <c:pt idx="1724">
                  <c:v>20.655131056393973</c:v>
                </c:pt>
                <c:pt idx="1725">
                  <c:v>20.655131056393973</c:v>
                </c:pt>
                <c:pt idx="1726">
                  <c:v>20.655131056393973</c:v>
                </c:pt>
                <c:pt idx="1727">
                  <c:v>20.655131056393973</c:v>
                </c:pt>
                <c:pt idx="1728">
                  <c:v>20.655131056393973</c:v>
                </c:pt>
                <c:pt idx="1729">
                  <c:v>20.655131056393973</c:v>
                </c:pt>
                <c:pt idx="1730">
                  <c:v>20.655131056393973</c:v>
                </c:pt>
                <c:pt idx="1731">
                  <c:v>20.655131056393973</c:v>
                </c:pt>
                <c:pt idx="1732">
                  <c:v>20.655131056393973</c:v>
                </c:pt>
                <c:pt idx="1733">
                  <c:v>20.655131056393973</c:v>
                </c:pt>
                <c:pt idx="1734">
                  <c:v>20.655131056393973</c:v>
                </c:pt>
                <c:pt idx="1735">
                  <c:v>20.655131056393973</c:v>
                </c:pt>
                <c:pt idx="1736">
                  <c:v>20.655131056393973</c:v>
                </c:pt>
                <c:pt idx="1737">
                  <c:v>20.655131056393973</c:v>
                </c:pt>
                <c:pt idx="1738">
                  <c:v>20.655131056393973</c:v>
                </c:pt>
                <c:pt idx="1739">
                  <c:v>20.655131056393973</c:v>
                </c:pt>
                <c:pt idx="1740">
                  <c:v>20.655131056393973</c:v>
                </c:pt>
                <c:pt idx="1741">
                  <c:v>20.655131056393973</c:v>
                </c:pt>
                <c:pt idx="1742">
                  <c:v>20.655131056393973</c:v>
                </c:pt>
                <c:pt idx="1743">
                  <c:v>20.655131056393973</c:v>
                </c:pt>
                <c:pt idx="1744">
                  <c:v>20.655131056393973</c:v>
                </c:pt>
                <c:pt idx="1745">
                  <c:v>20.655131056393973</c:v>
                </c:pt>
                <c:pt idx="1746">
                  <c:v>20.655131056393973</c:v>
                </c:pt>
                <c:pt idx="1747">
                  <c:v>20.655131056393973</c:v>
                </c:pt>
                <c:pt idx="1748">
                  <c:v>20.655131056393973</c:v>
                </c:pt>
                <c:pt idx="1749">
                  <c:v>20.655131056393973</c:v>
                </c:pt>
                <c:pt idx="1750">
                  <c:v>20.655131056393973</c:v>
                </c:pt>
                <c:pt idx="1751">
                  <c:v>20.655131056393973</c:v>
                </c:pt>
                <c:pt idx="1752">
                  <c:v>20.655131056393973</c:v>
                </c:pt>
                <c:pt idx="1753">
                  <c:v>20.655131056393973</c:v>
                </c:pt>
                <c:pt idx="1754">
                  <c:v>20.655131056393973</c:v>
                </c:pt>
                <c:pt idx="1755">
                  <c:v>20.655131056393973</c:v>
                </c:pt>
                <c:pt idx="1756">
                  <c:v>20.655131056393973</c:v>
                </c:pt>
                <c:pt idx="1757">
                  <c:v>20.655131056393973</c:v>
                </c:pt>
                <c:pt idx="1758">
                  <c:v>20.655131056393973</c:v>
                </c:pt>
                <c:pt idx="1759">
                  <c:v>20.655131056393973</c:v>
                </c:pt>
                <c:pt idx="1760">
                  <c:v>20.655131056393973</c:v>
                </c:pt>
                <c:pt idx="1761">
                  <c:v>20.655131056393973</c:v>
                </c:pt>
                <c:pt idx="1762">
                  <c:v>20.655131056393973</c:v>
                </c:pt>
                <c:pt idx="1763">
                  <c:v>20.655131056393973</c:v>
                </c:pt>
                <c:pt idx="1764">
                  <c:v>20.655131056393973</c:v>
                </c:pt>
                <c:pt idx="1765">
                  <c:v>20.655131056393973</c:v>
                </c:pt>
                <c:pt idx="1766">
                  <c:v>20.655131056393973</c:v>
                </c:pt>
                <c:pt idx="1767">
                  <c:v>20.655131056393973</c:v>
                </c:pt>
                <c:pt idx="1768">
                  <c:v>20.655131056393973</c:v>
                </c:pt>
                <c:pt idx="1769">
                  <c:v>20.655131056393973</c:v>
                </c:pt>
                <c:pt idx="1770">
                  <c:v>20.655131056393973</c:v>
                </c:pt>
                <c:pt idx="1771">
                  <c:v>20.655131056393973</c:v>
                </c:pt>
                <c:pt idx="1772">
                  <c:v>20.655131056393973</c:v>
                </c:pt>
                <c:pt idx="1773">
                  <c:v>20.655131056393973</c:v>
                </c:pt>
                <c:pt idx="1774">
                  <c:v>20.655131056393973</c:v>
                </c:pt>
                <c:pt idx="1775">
                  <c:v>20.655131056393973</c:v>
                </c:pt>
                <c:pt idx="1776">
                  <c:v>20.655131056393973</c:v>
                </c:pt>
                <c:pt idx="1777">
                  <c:v>20.655131056393973</c:v>
                </c:pt>
                <c:pt idx="1778">
                  <c:v>20.655131056393973</c:v>
                </c:pt>
                <c:pt idx="1779">
                  <c:v>20.655131056393973</c:v>
                </c:pt>
                <c:pt idx="1780">
                  <c:v>20.655131056393973</c:v>
                </c:pt>
                <c:pt idx="1781">
                  <c:v>20.655131056393973</c:v>
                </c:pt>
                <c:pt idx="1782">
                  <c:v>20.655131056393973</c:v>
                </c:pt>
                <c:pt idx="1783">
                  <c:v>20.655131056393973</c:v>
                </c:pt>
                <c:pt idx="1784">
                  <c:v>20.655131056393973</c:v>
                </c:pt>
                <c:pt idx="1785">
                  <c:v>20.655131056393973</c:v>
                </c:pt>
                <c:pt idx="1786">
                  <c:v>20.655131056393973</c:v>
                </c:pt>
                <c:pt idx="1787">
                  <c:v>20.655131056393973</c:v>
                </c:pt>
                <c:pt idx="1788">
                  <c:v>20.655131056393973</c:v>
                </c:pt>
                <c:pt idx="1789">
                  <c:v>20.655131056393973</c:v>
                </c:pt>
                <c:pt idx="1790">
                  <c:v>20.655131056393973</c:v>
                </c:pt>
                <c:pt idx="1791">
                  <c:v>20.655131056393973</c:v>
                </c:pt>
                <c:pt idx="1792">
                  <c:v>20.655131056393973</c:v>
                </c:pt>
                <c:pt idx="1793">
                  <c:v>20.655131056393973</c:v>
                </c:pt>
                <c:pt idx="1794">
                  <c:v>20.655131056393973</c:v>
                </c:pt>
                <c:pt idx="1795">
                  <c:v>20.655131056393973</c:v>
                </c:pt>
                <c:pt idx="1796">
                  <c:v>20.655131056393973</c:v>
                </c:pt>
                <c:pt idx="1797">
                  <c:v>20.655131056393973</c:v>
                </c:pt>
                <c:pt idx="1798">
                  <c:v>20.655131056393973</c:v>
                </c:pt>
                <c:pt idx="1799">
                  <c:v>20.655131056393973</c:v>
                </c:pt>
                <c:pt idx="1800">
                  <c:v>20.655131056393973</c:v>
                </c:pt>
                <c:pt idx="1801">
                  <c:v>20.655131056393973</c:v>
                </c:pt>
                <c:pt idx="1802">
                  <c:v>20.655131056393973</c:v>
                </c:pt>
                <c:pt idx="1803">
                  <c:v>20.655131056393973</c:v>
                </c:pt>
                <c:pt idx="1804">
                  <c:v>20.655131056393973</c:v>
                </c:pt>
                <c:pt idx="1805">
                  <c:v>20.655131056393973</c:v>
                </c:pt>
                <c:pt idx="1806">
                  <c:v>20.655131056393973</c:v>
                </c:pt>
                <c:pt idx="1807">
                  <c:v>20.655131056393973</c:v>
                </c:pt>
                <c:pt idx="1808">
                  <c:v>20.655131056393973</c:v>
                </c:pt>
                <c:pt idx="1809">
                  <c:v>20.655131056393973</c:v>
                </c:pt>
                <c:pt idx="1810">
                  <c:v>20.655131056393973</c:v>
                </c:pt>
                <c:pt idx="1811">
                  <c:v>20.655131056393973</c:v>
                </c:pt>
                <c:pt idx="1812">
                  <c:v>20.655131056393973</c:v>
                </c:pt>
                <c:pt idx="1813">
                  <c:v>20.655131056393973</c:v>
                </c:pt>
                <c:pt idx="1814">
                  <c:v>20.655131056393973</c:v>
                </c:pt>
                <c:pt idx="1815">
                  <c:v>20.655131056393973</c:v>
                </c:pt>
                <c:pt idx="1816">
                  <c:v>20.655131056393973</c:v>
                </c:pt>
                <c:pt idx="1817">
                  <c:v>20.655131056393973</c:v>
                </c:pt>
                <c:pt idx="1818">
                  <c:v>20.655131056393973</c:v>
                </c:pt>
                <c:pt idx="1819">
                  <c:v>20.655131056393973</c:v>
                </c:pt>
                <c:pt idx="1820">
                  <c:v>20.655131056393973</c:v>
                </c:pt>
                <c:pt idx="1821">
                  <c:v>20.655131056393973</c:v>
                </c:pt>
                <c:pt idx="1822">
                  <c:v>20.655131056393973</c:v>
                </c:pt>
                <c:pt idx="1823">
                  <c:v>20.655131056393973</c:v>
                </c:pt>
                <c:pt idx="1824">
                  <c:v>20.655131056393973</c:v>
                </c:pt>
                <c:pt idx="1825">
                  <c:v>20.655131056393973</c:v>
                </c:pt>
                <c:pt idx="1826">
                  <c:v>20.655131056393973</c:v>
                </c:pt>
                <c:pt idx="1827">
                  <c:v>20.655131056393973</c:v>
                </c:pt>
                <c:pt idx="1828">
                  <c:v>20.655131056393973</c:v>
                </c:pt>
                <c:pt idx="1829">
                  <c:v>20.655131056393973</c:v>
                </c:pt>
                <c:pt idx="1830">
                  <c:v>20.655131056393973</c:v>
                </c:pt>
                <c:pt idx="1831">
                  <c:v>20.655131056393973</c:v>
                </c:pt>
                <c:pt idx="1832">
                  <c:v>20.655131056393973</c:v>
                </c:pt>
                <c:pt idx="1833">
                  <c:v>20.655131056393973</c:v>
                </c:pt>
                <c:pt idx="1834">
                  <c:v>20.655131056393973</c:v>
                </c:pt>
                <c:pt idx="1835">
                  <c:v>20.655131056393973</c:v>
                </c:pt>
                <c:pt idx="1836">
                  <c:v>20.655131056393973</c:v>
                </c:pt>
                <c:pt idx="1837">
                  <c:v>20.655131056393973</c:v>
                </c:pt>
                <c:pt idx="1838">
                  <c:v>20.655131056393973</c:v>
                </c:pt>
                <c:pt idx="1839">
                  <c:v>20.655131056393973</c:v>
                </c:pt>
                <c:pt idx="1840">
                  <c:v>20.655131056393973</c:v>
                </c:pt>
                <c:pt idx="1841">
                  <c:v>20.655131056393973</c:v>
                </c:pt>
                <c:pt idx="1842">
                  <c:v>20.655131056393973</c:v>
                </c:pt>
                <c:pt idx="1843">
                  <c:v>20.655131056393973</c:v>
                </c:pt>
                <c:pt idx="1844">
                  <c:v>20.655131056393973</c:v>
                </c:pt>
                <c:pt idx="1845">
                  <c:v>20.655131056393973</c:v>
                </c:pt>
                <c:pt idx="1846">
                  <c:v>20.655131056393973</c:v>
                </c:pt>
                <c:pt idx="1847">
                  <c:v>20.655131056393973</c:v>
                </c:pt>
                <c:pt idx="1848">
                  <c:v>20.655131056393973</c:v>
                </c:pt>
                <c:pt idx="1849">
                  <c:v>20.655131056393973</c:v>
                </c:pt>
                <c:pt idx="1850">
                  <c:v>20.655131056393973</c:v>
                </c:pt>
                <c:pt idx="1851">
                  <c:v>20.655131056393973</c:v>
                </c:pt>
                <c:pt idx="1852">
                  <c:v>20.655131056393973</c:v>
                </c:pt>
                <c:pt idx="1853">
                  <c:v>20.655131056393973</c:v>
                </c:pt>
                <c:pt idx="1854">
                  <c:v>20.655131056393973</c:v>
                </c:pt>
                <c:pt idx="1855">
                  <c:v>20.655131056393973</c:v>
                </c:pt>
                <c:pt idx="1856">
                  <c:v>20.655131056393973</c:v>
                </c:pt>
                <c:pt idx="1857">
                  <c:v>20.655131056393973</c:v>
                </c:pt>
                <c:pt idx="1858">
                  <c:v>20.655131056393973</c:v>
                </c:pt>
                <c:pt idx="1859">
                  <c:v>20.655131056393973</c:v>
                </c:pt>
                <c:pt idx="1860">
                  <c:v>20.655131056393973</c:v>
                </c:pt>
                <c:pt idx="1861">
                  <c:v>20.655131056393973</c:v>
                </c:pt>
                <c:pt idx="1862">
                  <c:v>20.655131056393973</c:v>
                </c:pt>
                <c:pt idx="1863">
                  <c:v>20.655131056393973</c:v>
                </c:pt>
                <c:pt idx="1864">
                  <c:v>20.655131056393973</c:v>
                </c:pt>
                <c:pt idx="1865">
                  <c:v>20.655131056393973</c:v>
                </c:pt>
                <c:pt idx="1866">
                  <c:v>20.655131056393973</c:v>
                </c:pt>
                <c:pt idx="1867">
                  <c:v>20.655131056393973</c:v>
                </c:pt>
                <c:pt idx="1868">
                  <c:v>20.655131056393973</c:v>
                </c:pt>
                <c:pt idx="1869">
                  <c:v>20.655131056393973</c:v>
                </c:pt>
                <c:pt idx="1870">
                  <c:v>20.655131056393973</c:v>
                </c:pt>
                <c:pt idx="1871">
                  <c:v>20.655131056393973</c:v>
                </c:pt>
                <c:pt idx="1872">
                  <c:v>20.655131056393973</c:v>
                </c:pt>
                <c:pt idx="1873">
                  <c:v>20.655131056393973</c:v>
                </c:pt>
                <c:pt idx="1874">
                  <c:v>20.655131056393973</c:v>
                </c:pt>
                <c:pt idx="1875">
                  <c:v>20.655131056393973</c:v>
                </c:pt>
                <c:pt idx="1876">
                  <c:v>20.655131056393973</c:v>
                </c:pt>
                <c:pt idx="1877">
                  <c:v>20.655131056393973</c:v>
                </c:pt>
                <c:pt idx="1878">
                  <c:v>20.655131056393973</c:v>
                </c:pt>
                <c:pt idx="1879">
                  <c:v>20.655131056393973</c:v>
                </c:pt>
                <c:pt idx="1880">
                  <c:v>20.655131056393973</c:v>
                </c:pt>
                <c:pt idx="1881">
                  <c:v>20.655131056393973</c:v>
                </c:pt>
                <c:pt idx="1882">
                  <c:v>20.655131056393973</c:v>
                </c:pt>
                <c:pt idx="1883">
                  <c:v>20.655131056393973</c:v>
                </c:pt>
                <c:pt idx="1884">
                  <c:v>20.655131056393973</c:v>
                </c:pt>
                <c:pt idx="1885">
                  <c:v>20.655131056393973</c:v>
                </c:pt>
                <c:pt idx="1886">
                  <c:v>20.655131056393973</c:v>
                </c:pt>
                <c:pt idx="1887">
                  <c:v>20.655131056393973</c:v>
                </c:pt>
                <c:pt idx="1888">
                  <c:v>20.655131056393973</c:v>
                </c:pt>
                <c:pt idx="1889">
                  <c:v>20.655131056393973</c:v>
                </c:pt>
                <c:pt idx="1890">
                  <c:v>20.655131056393973</c:v>
                </c:pt>
                <c:pt idx="1891">
                  <c:v>20.655131056393973</c:v>
                </c:pt>
                <c:pt idx="1892">
                  <c:v>20.655131056393973</c:v>
                </c:pt>
                <c:pt idx="1893">
                  <c:v>20.655131056393973</c:v>
                </c:pt>
                <c:pt idx="1894">
                  <c:v>20.655131056393973</c:v>
                </c:pt>
                <c:pt idx="1895">
                  <c:v>20.655131056393973</c:v>
                </c:pt>
                <c:pt idx="1896">
                  <c:v>20.655131056393973</c:v>
                </c:pt>
                <c:pt idx="1897">
                  <c:v>20.655131056393973</c:v>
                </c:pt>
                <c:pt idx="1898">
                  <c:v>20.655131056393973</c:v>
                </c:pt>
                <c:pt idx="1899">
                  <c:v>20.655131056393973</c:v>
                </c:pt>
                <c:pt idx="1900">
                  <c:v>20.655131056393973</c:v>
                </c:pt>
                <c:pt idx="1901">
                  <c:v>20.655131056393973</c:v>
                </c:pt>
                <c:pt idx="1902">
                  <c:v>20.655131056393973</c:v>
                </c:pt>
                <c:pt idx="1903">
                  <c:v>20.655131056393973</c:v>
                </c:pt>
                <c:pt idx="1904">
                  <c:v>20.655131056393973</c:v>
                </c:pt>
                <c:pt idx="1905">
                  <c:v>20.655131056393973</c:v>
                </c:pt>
                <c:pt idx="1906">
                  <c:v>20.655131056393973</c:v>
                </c:pt>
                <c:pt idx="1907">
                  <c:v>20.655131056393973</c:v>
                </c:pt>
                <c:pt idx="1908">
                  <c:v>20.655131056393973</c:v>
                </c:pt>
                <c:pt idx="1909">
                  <c:v>20.655131056393973</c:v>
                </c:pt>
                <c:pt idx="1910">
                  <c:v>20.655131056393973</c:v>
                </c:pt>
                <c:pt idx="1911">
                  <c:v>20.655131056393973</c:v>
                </c:pt>
                <c:pt idx="1912">
                  <c:v>20.655131056393973</c:v>
                </c:pt>
                <c:pt idx="1913">
                  <c:v>20.655131056393973</c:v>
                </c:pt>
                <c:pt idx="1914">
                  <c:v>20.655131056393973</c:v>
                </c:pt>
                <c:pt idx="1915">
                  <c:v>20.655131056393973</c:v>
                </c:pt>
                <c:pt idx="1916">
                  <c:v>20.655131056393973</c:v>
                </c:pt>
                <c:pt idx="1917">
                  <c:v>20.655131056393973</c:v>
                </c:pt>
                <c:pt idx="1918">
                  <c:v>20.655131056393973</c:v>
                </c:pt>
                <c:pt idx="1919">
                  <c:v>20.655131056393973</c:v>
                </c:pt>
                <c:pt idx="1920">
                  <c:v>20.655131056393973</c:v>
                </c:pt>
                <c:pt idx="1921">
                  <c:v>20.655131056393973</c:v>
                </c:pt>
                <c:pt idx="1922">
                  <c:v>20.655131056393973</c:v>
                </c:pt>
                <c:pt idx="1923">
                  <c:v>20.655131056393973</c:v>
                </c:pt>
                <c:pt idx="1924">
                  <c:v>20.655131056393973</c:v>
                </c:pt>
                <c:pt idx="1925">
                  <c:v>20.655131056393973</c:v>
                </c:pt>
                <c:pt idx="1926">
                  <c:v>20.655131056393973</c:v>
                </c:pt>
                <c:pt idx="1927">
                  <c:v>20.655131056393973</c:v>
                </c:pt>
                <c:pt idx="1928">
                  <c:v>20.655131056393973</c:v>
                </c:pt>
                <c:pt idx="1929">
                  <c:v>20.655131056393973</c:v>
                </c:pt>
                <c:pt idx="1930">
                  <c:v>20.655131056393973</c:v>
                </c:pt>
                <c:pt idx="1931">
                  <c:v>20.655131056393973</c:v>
                </c:pt>
                <c:pt idx="1932">
                  <c:v>20.655131056393973</c:v>
                </c:pt>
                <c:pt idx="1933">
                  <c:v>20.655131056393973</c:v>
                </c:pt>
                <c:pt idx="1934">
                  <c:v>20.655131056393973</c:v>
                </c:pt>
                <c:pt idx="1935">
                  <c:v>20.655131056393973</c:v>
                </c:pt>
                <c:pt idx="1936">
                  <c:v>20.655131056393973</c:v>
                </c:pt>
                <c:pt idx="1937">
                  <c:v>20.655131056393973</c:v>
                </c:pt>
                <c:pt idx="1938">
                  <c:v>20.655131056393973</c:v>
                </c:pt>
                <c:pt idx="1939">
                  <c:v>20.655131056393973</c:v>
                </c:pt>
                <c:pt idx="1940">
                  <c:v>20.655131056393973</c:v>
                </c:pt>
                <c:pt idx="1941">
                  <c:v>20.655131056393973</c:v>
                </c:pt>
                <c:pt idx="1942">
                  <c:v>20.655131056393973</c:v>
                </c:pt>
                <c:pt idx="1943">
                  <c:v>20.655131056393973</c:v>
                </c:pt>
                <c:pt idx="1944">
                  <c:v>20.655131056393973</c:v>
                </c:pt>
                <c:pt idx="1945">
                  <c:v>20.655131056393973</c:v>
                </c:pt>
                <c:pt idx="1946">
                  <c:v>20.655131056393973</c:v>
                </c:pt>
                <c:pt idx="1947">
                  <c:v>20.655131056393973</c:v>
                </c:pt>
                <c:pt idx="1948">
                  <c:v>20.655131056393973</c:v>
                </c:pt>
                <c:pt idx="1949">
                  <c:v>20.655131056393973</c:v>
                </c:pt>
                <c:pt idx="1950">
                  <c:v>20.655131056393973</c:v>
                </c:pt>
                <c:pt idx="1951">
                  <c:v>20.655131056393973</c:v>
                </c:pt>
                <c:pt idx="1952">
                  <c:v>20.655131056393973</c:v>
                </c:pt>
                <c:pt idx="1953">
                  <c:v>20.655131056393973</c:v>
                </c:pt>
                <c:pt idx="1954">
                  <c:v>20.655131056393973</c:v>
                </c:pt>
                <c:pt idx="1955">
                  <c:v>20.655131056393973</c:v>
                </c:pt>
                <c:pt idx="1956">
                  <c:v>20.655131056393973</c:v>
                </c:pt>
                <c:pt idx="1957">
                  <c:v>20.655131056393973</c:v>
                </c:pt>
                <c:pt idx="1958">
                  <c:v>20.655131056393973</c:v>
                </c:pt>
                <c:pt idx="1959">
                  <c:v>20.655131056393973</c:v>
                </c:pt>
                <c:pt idx="1960">
                  <c:v>20.655131056393973</c:v>
                </c:pt>
                <c:pt idx="1961">
                  <c:v>20.655131056393973</c:v>
                </c:pt>
                <c:pt idx="1962">
                  <c:v>20.655131056393973</c:v>
                </c:pt>
                <c:pt idx="1963">
                  <c:v>20.655131056393973</c:v>
                </c:pt>
                <c:pt idx="1964">
                  <c:v>20.655131056393973</c:v>
                </c:pt>
                <c:pt idx="1965">
                  <c:v>20.655131056393973</c:v>
                </c:pt>
                <c:pt idx="1966">
                  <c:v>20.655131056393973</c:v>
                </c:pt>
                <c:pt idx="1967">
                  <c:v>20.655131056393973</c:v>
                </c:pt>
                <c:pt idx="1968">
                  <c:v>20.655131056393973</c:v>
                </c:pt>
                <c:pt idx="1969">
                  <c:v>20.655131056393973</c:v>
                </c:pt>
                <c:pt idx="1970">
                  <c:v>20.655131056393973</c:v>
                </c:pt>
                <c:pt idx="1971">
                  <c:v>20.655131056393973</c:v>
                </c:pt>
                <c:pt idx="1972">
                  <c:v>20.655131056393973</c:v>
                </c:pt>
                <c:pt idx="1973">
                  <c:v>20.655131056393973</c:v>
                </c:pt>
                <c:pt idx="1974">
                  <c:v>20.655131056393973</c:v>
                </c:pt>
                <c:pt idx="1975">
                  <c:v>20.655131056393973</c:v>
                </c:pt>
                <c:pt idx="1976">
                  <c:v>20.655131056393973</c:v>
                </c:pt>
                <c:pt idx="1977">
                  <c:v>20.655131056393973</c:v>
                </c:pt>
                <c:pt idx="1978">
                  <c:v>20.655131056393973</c:v>
                </c:pt>
                <c:pt idx="1979">
                  <c:v>20.655131056393973</c:v>
                </c:pt>
                <c:pt idx="1980">
                  <c:v>20.655131056393973</c:v>
                </c:pt>
                <c:pt idx="1981">
                  <c:v>20.655131056393973</c:v>
                </c:pt>
                <c:pt idx="1982">
                  <c:v>20.655131056393973</c:v>
                </c:pt>
                <c:pt idx="1983">
                  <c:v>20.655131056393973</c:v>
                </c:pt>
                <c:pt idx="1984">
                  <c:v>20.655131056393973</c:v>
                </c:pt>
                <c:pt idx="1985">
                  <c:v>20.655131056393973</c:v>
                </c:pt>
                <c:pt idx="1986">
                  <c:v>20.655131056393973</c:v>
                </c:pt>
                <c:pt idx="1987">
                  <c:v>20.655131056393973</c:v>
                </c:pt>
                <c:pt idx="1988">
                  <c:v>20.655131056393973</c:v>
                </c:pt>
                <c:pt idx="1989">
                  <c:v>20.655131056393973</c:v>
                </c:pt>
                <c:pt idx="1990">
                  <c:v>20.655131056393973</c:v>
                </c:pt>
                <c:pt idx="1991">
                  <c:v>20.655131056393973</c:v>
                </c:pt>
                <c:pt idx="1992">
                  <c:v>20.655131056393973</c:v>
                </c:pt>
                <c:pt idx="1993">
                  <c:v>20.655131056393973</c:v>
                </c:pt>
                <c:pt idx="1994">
                  <c:v>20.655131056393973</c:v>
                </c:pt>
                <c:pt idx="1995">
                  <c:v>20.655131056393973</c:v>
                </c:pt>
                <c:pt idx="1996">
                  <c:v>20.655131056393973</c:v>
                </c:pt>
                <c:pt idx="1997">
                  <c:v>20.655131056393973</c:v>
                </c:pt>
                <c:pt idx="1998">
                  <c:v>20.655131056393973</c:v>
                </c:pt>
                <c:pt idx="1999">
                  <c:v>20.655131056393973</c:v>
                </c:pt>
                <c:pt idx="2000">
                  <c:v>20.655131056393973</c:v>
                </c:pt>
                <c:pt idx="2001">
                  <c:v>20.655131056393973</c:v>
                </c:pt>
                <c:pt idx="2002">
                  <c:v>20.655131056393973</c:v>
                </c:pt>
                <c:pt idx="2003">
                  <c:v>20.655131056393973</c:v>
                </c:pt>
                <c:pt idx="2004">
                  <c:v>20.655131056393973</c:v>
                </c:pt>
                <c:pt idx="2005">
                  <c:v>20.655131056393973</c:v>
                </c:pt>
                <c:pt idx="2006">
                  <c:v>20.655131056393973</c:v>
                </c:pt>
                <c:pt idx="2007">
                  <c:v>20.655131056393973</c:v>
                </c:pt>
                <c:pt idx="2008">
                  <c:v>20.655131056393973</c:v>
                </c:pt>
                <c:pt idx="2009">
                  <c:v>20.655131056393973</c:v>
                </c:pt>
                <c:pt idx="2010">
                  <c:v>20.655131056393973</c:v>
                </c:pt>
                <c:pt idx="2011">
                  <c:v>20.655131056393973</c:v>
                </c:pt>
                <c:pt idx="2012">
                  <c:v>20.655131056393973</c:v>
                </c:pt>
                <c:pt idx="2013">
                  <c:v>20.655131056393973</c:v>
                </c:pt>
                <c:pt idx="2014">
                  <c:v>20.655131056393973</c:v>
                </c:pt>
                <c:pt idx="2015">
                  <c:v>20.655131056393973</c:v>
                </c:pt>
                <c:pt idx="2016">
                  <c:v>20.655131056393973</c:v>
                </c:pt>
                <c:pt idx="2017">
                  <c:v>20.655131056393973</c:v>
                </c:pt>
                <c:pt idx="2018">
                  <c:v>20.655131056393973</c:v>
                </c:pt>
                <c:pt idx="2019">
                  <c:v>20.655131056393973</c:v>
                </c:pt>
                <c:pt idx="2020">
                  <c:v>20.655131056393973</c:v>
                </c:pt>
                <c:pt idx="2021">
                  <c:v>20.655131056393973</c:v>
                </c:pt>
                <c:pt idx="2022">
                  <c:v>20.655131056393973</c:v>
                </c:pt>
                <c:pt idx="2023">
                  <c:v>20.655131056393973</c:v>
                </c:pt>
                <c:pt idx="2024">
                  <c:v>20.655131056393973</c:v>
                </c:pt>
                <c:pt idx="2025">
                  <c:v>20.655131056393973</c:v>
                </c:pt>
                <c:pt idx="2026">
                  <c:v>20.655131056393973</c:v>
                </c:pt>
                <c:pt idx="2027">
                  <c:v>20.655131056393973</c:v>
                </c:pt>
                <c:pt idx="2028">
                  <c:v>20.655131056393973</c:v>
                </c:pt>
                <c:pt idx="2029">
                  <c:v>20.655131056393973</c:v>
                </c:pt>
                <c:pt idx="2030">
                  <c:v>20.655131056393973</c:v>
                </c:pt>
                <c:pt idx="2031">
                  <c:v>20.655131056393973</c:v>
                </c:pt>
                <c:pt idx="2032">
                  <c:v>20.655131056393973</c:v>
                </c:pt>
                <c:pt idx="2033">
                  <c:v>20.655131056393973</c:v>
                </c:pt>
                <c:pt idx="2034">
                  <c:v>20.655131056393973</c:v>
                </c:pt>
                <c:pt idx="2035">
                  <c:v>20.655131056393973</c:v>
                </c:pt>
                <c:pt idx="2036">
                  <c:v>20.655131056393973</c:v>
                </c:pt>
                <c:pt idx="2037">
                  <c:v>20.655131056393973</c:v>
                </c:pt>
                <c:pt idx="2038">
                  <c:v>20.655131056393973</c:v>
                </c:pt>
                <c:pt idx="2039">
                  <c:v>20.655131056393973</c:v>
                </c:pt>
                <c:pt idx="2040">
                  <c:v>20.655131056393973</c:v>
                </c:pt>
                <c:pt idx="2041">
                  <c:v>20.655131056393973</c:v>
                </c:pt>
                <c:pt idx="2042">
                  <c:v>20.655131056393973</c:v>
                </c:pt>
                <c:pt idx="2043">
                  <c:v>20.655131056393973</c:v>
                </c:pt>
                <c:pt idx="2044">
                  <c:v>20.655131056393973</c:v>
                </c:pt>
                <c:pt idx="2045">
                  <c:v>20.655131056393973</c:v>
                </c:pt>
                <c:pt idx="2046">
                  <c:v>20.655131056393973</c:v>
                </c:pt>
                <c:pt idx="2047">
                  <c:v>20.655131056393973</c:v>
                </c:pt>
                <c:pt idx="2048">
                  <c:v>20.655131056393973</c:v>
                </c:pt>
                <c:pt idx="2049">
                  <c:v>20.655131056393973</c:v>
                </c:pt>
                <c:pt idx="2050">
                  <c:v>20.655131056393973</c:v>
                </c:pt>
                <c:pt idx="2051">
                  <c:v>20.655131056393973</c:v>
                </c:pt>
                <c:pt idx="2052">
                  <c:v>20.655131056393973</c:v>
                </c:pt>
                <c:pt idx="2053">
                  <c:v>20.655131056393973</c:v>
                </c:pt>
                <c:pt idx="2054">
                  <c:v>20.655131056393973</c:v>
                </c:pt>
                <c:pt idx="2055">
                  <c:v>20.655131056393973</c:v>
                </c:pt>
                <c:pt idx="2056">
                  <c:v>20.655131056393973</c:v>
                </c:pt>
                <c:pt idx="2057">
                  <c:v>20.655131056393973</c:v>
                </c:pt>
                <c:pt idx="2058">
                  <c:v>20.655131056393973</c:v>
                </c:pt>
                <c:pt idx="2059">
                  <c:v>20.655131056393973</c:v>
                </c:pt>
                <c:pt idx="2060">
                  <c:v>20.655131056393973</c:v>
                </c:pt>
                <c:pt idx="2061">
                  <c:v>20.655131056393973</c:v>
                </c:pt>
                <c:pt idx="2062">
                  <c:v>20.655131056393973</c:v>
                </c:pt>
                <c:pt idx="2063">
                  <c:v>20.655131056393973</c:v>
                </c:pt>
                <c:pt idx="2064">
                  <c:v>20.655131056393973</c:v>
                </c:pt>
                <c:pt idx="2065">
                  <c:v>20.655131056393973</c:v>
                </c:pt>
                <c:pt idx="2066">
                  <c:v>20.655131056393973</c:v>
                </c:pt>
                <c:pt idx="2067">
                  <c:v>20.655131056393973</c:v>
                </c:pt>
                <c:pt idx="2068">
                  <c:v>20.655131056393973</c:v>
                </c:pt>
                <c:pt idx="2069">
                  <c:v>20.655131056393973</c:v>
                </c:pt>
                <c:pt idx="2070">
                  <c:v>20.655131056393973</c:v>
                </c:pt>
                <c:pt idx="2071">
                  <c:v>20.655131056393973</c:v>
                </c:pt>
                <c:pt idx="2072">
                  <c:v>20.655131056393973</c:v>
                </c:pt>
                <c:pt idx="2073">
                  <c:v>20.655131056393973</c:v>
                </c:pt>
                <c:pt idx="2074">
                  <c:v>20.655131056393973</c:v>
                </c:pt>
                <c:pt idx="2075">
                  <c:v>20.655131056393973</c:v>
                </c:pt>
                <c:pt idx="2076">
                  <c:v>20.655131056393973</c:v>
                </c:pt>
                <c:pt idx="2077">
                  <c:v>20.655131056393973</c:v>
                </c:pt>
                <c:pt idx="2078">
                  <c:v>20.655131056393973</c:v>
                </c:pt>
                <c:pt idx="2079">
                  <c:v>20.655131056393973</c:v>
                </c:pt>
                <c:pt idx="2080">
                  <c:v>20.655131056393973</c:v>
                </c:pt>
                <c:pt idx="2081">
                  <c:v>20.655131056393973</c:v>
                </c:pt>
                <c:pt idx="2082">
                  <c:v>20.655131056393973</c:v>
                </c:pt>
                <c:pt idx="2083">
                  <c:v>20.655131056393973</c:v>
                </c:pt>
                <c:pt idx="2084">
                  <c:v>20.655131056393973</c:v>
                </c:pt>
                <c:pt idx="2085">
                  <c:v>20.655131056393973</c:v>
                </c:pt>
                <c:pt idx="2086">
                  <c:v>20.655131056393973</c:v>
                </c:pt>
                <c:pt idx="2087">
                  <c:v>20.655131056393973</c:v>
                </c:pt>
                <c:pt idx="2088">
                  <c:v>20.655131056393973</c:v>
                </c:pt>
                <c:pt idx="2089">
                  <c:v>20.655131056393973</c:v>
                </c:pt>
                <c:pt idx="2090">
                  <c:v>20.655131056393973</c:v>
                </c:pt>
                <c:pt idx="2091">
                  <c:v>20.655131056393973</c:v>
                </c:pt>
                <c:pt idx="2092">
                  <c:v>20.655131056393973</c:v>
                </c:pt>
                <c:pt idx="2093">
                  <c:v>20.655131056393973</c:v>
                </c:pt>
                <c:pt idx="2094">
                  <c:v>20.655131056393973</c:v>
                </c:pt>
                <c:pt idx="2095">
                  <c:v>20.655131056393973</c:v>
                </c:pt>
                <c:pt idx="2096">
                  <c:v>20.655131056393973</c:v>
                </c:pt>
                <c:pt idx="2097">
                  <c:v>20.655131056393973</c:v>
                </c:pt>
                <c:pt idx="2098">
                  <c:v>20.655131056393973</c:v>
                </c:pt>
                <c:pt idx="2099">
                  <c:v>20.655131056393973</c:v>
                </c:pt>
                <c:pt idx="2100">
                  <c:v>20.655131056393973</c:v>
                </c:pt>
                <c:pt idx="2101">
                  <c:v>20.655131056393973</c:v>
                </c:pt>
                <c:pt idx="2102">
                  <c:v>20.655131056393973</c:v>
                </c:pt>
                <c:pt idx="2103">
                  <c:v>20.655131056393973</c:v>
                </c:pt>
                <c:pt idx="2104">
                  <c:v>20.655131056393973</c:v>
                </c:pt>
                <c:pt idx="2105">
                  <c:v>20.655131056393973</c:v>
                </c:pt>
                <c:pt idx="2106">
                  <c:v>20.655131056393973</c:v>
                </c:pt>
                <c:pt idx="2107">
                  <c:v>20.655131056393973</c:v>
                </c:pt>
                <c:pt idx="2108">
                  <c:v>20.655131056393973</c:v>
                </c:pt>
                <c:pt idx="2109">
                  <c:v>20.655131056393973</c:v>
                </c:pt>
                <c:pt idx="2110">
                  <c:v>20.655131056393973</c:v>
                </c:pt>
                <c:pt idx="2111">
                  <c:v>20.655131056393973</c:v>
                </c:pt>
                <c:pt idx="2112">
                  <c:v>20.655131056393973</c:v>
                </c:pt>
                <c:pt idx="2113">
                  <c:v>20.655131056393973</c:v>
                </c:pt>
                <c:pt idx="2114">
                  <c:v>20.655131056393973</c:v>
                </c:pt>
                <c:pt idx="2115">
                  <c:v>20.655131056393973</c:v>
                </c:pt>
                <c:pt idx="2116">
                  <c:v>20.655131056393973</c:v>
                </c:pt>
                <c:pt idx="2117">
                  <c:v>20.655131056393973</c:v>
                </c:pt>
                <c:pt idx="2118">
                  <c:v>20.655131056393973</c:v>
                </c:pt>
                <c:pt idx="2119">
                  <c:v>20.655131056393973</c:v>
                </c:pt>
                <c:pt idx="2120">
                  <c:v>20.655131056393973</c:v>
                </c:pt>
                <c:pt idx="2121">
                  <c:v>20.655131056393973</c:v>
                </c:pt>
                <c:pt idx="2122">
                  <c:v>20.655131056393973</c:v>
                </c:pt>
                <c:pt idx="2123">
                  <c:v>20.655131056393973</c:v>
                </c:pt>
                <c:pt idx="2124">
                  <c:v>20.655131056393973</c:v>
                </c:pt>
                <c:pt idx="2125">
                  <c:v>20.655131056393973</c:v>
                </c:pt>
                <c:pt idx="2126">
                  <c:v>20.655131056393973</c:v>
                </c:pt>
                <c:pt idx="2127">
                  <c:v>20.655131056393973</c:v>
                </c:pt>
                <c:pt idx="2128">
                  <c:v>20.655131056393973</c:v>
                </c:pt>
                <c:pt idx="2129">
                  <c:v>20.655131056393973</c:v>
                </c:pt>
                <c:pt idx="2130">
                  <c:v>20.655131056393973</c:v>
                </c:pt>
                <c:pt idx="2131">
                  <c:v>20.655131056393973</c:v>
                </c:pt>
                <c:pt idx="2132">
                  <c:v>20.655131056393973</c:v>
                </c:pt>
                <c:pt idx="2133">
                  <c:v>20.655131056393973</c:v>
                </c:pt>
                <c:pt idx="2134">
                  <c:v>20.655131056393973</c:v>
                </c:pt>
                <c:pt idx="2135">
                  <c:v>20.655131056393973</c:v>
                </c:pt>
                <c:pt idx="2136">
                  <c:v>20.655131056393973</c:v>
                </c:pt>
                <c:pt idx="2137">
                  <c:v>20.655131056393973</c:v>
                </c:pt>
                <c:pt idx="2138">
                  <c:v>20.655131056393973</c:v>
                </c:pt>
                <c:pt idx="2139">
                  <c:v>20.655131056393973</c:v>
                </c:pt>
                <c:pt idx="2140">
                  <c:v>20.655131056393973</c:v>
                </c:pt>
                <c:pt idx="2141">
                  <c:v>20.655131056393973</c:v>
                </c:pt>
                <c:pt idx="2142">
                  <c:v>20.655131056393973</c:v>
                </c:pt>
                <c:pt idx="2143">
                  <c:v>20.655131056393973</c:v>
                </c:pt>
                <c:pt idx="2144">
                  <c:v>20.655131056393973</c:v>
                </c:pt>
                <c:pt idx="2145">
                  <c:v>20.655131056393973</c:v>
                </c:pt>
                <c:pt idx="2146">
                  <c:v>20.655131056393973</c:v>
                </c:pt>
                <c:pt idx="2147">
                  <c:v>20.655131056393973</c:v>
                </c:pt>
                <c:pt idx="2148">
                  <c:v>20.655131056393973</c:v>
                </c:pt>
                <c:pt idx="2149">
                  <c:v>20.655131056393973</c:v>
                </c:pt>
                <c:pt idx="2150">
                  <c:v>20.655131056393973</c:v>
                </c:pt>
                <c:pt idx="2151">
                  <c:v>20.655131056393973</c:v>
                </c:pt>
                <c:pt idx="2152">
                  <c:v>20.655131056393973</c:v>
                </c:pt>
                <c:pt idx="2153">
                  <c:v>20.655131056393973</c:v>
                </c:pt>
                <c:pt idx="2154">
                  <c:v>20.655131056393973</c:v>
                </c:pt>
                <c:pt idx="2155">
                  <c:v>20.655131056393973</c:v>
                </c:pt>
                <c:pt idx="2156">
                  <c:v>20.655131056393973</c:v>
                </c:pt>
                <c:pt idx="2157">
                  <c:v>20.655131056393973</c:v>
                </c:pt>
                <c:pt idx="2158">
                  <c:v>20.655131056393973</c:v>
                </c:pt>
                <c:pt idx="2159">
                  <c:v>20.655131056393973</c:v>
                </c:pt>
                <c:pt idx="2160">
                  <c:v>20.655131056393973</c:v>
                </c:pt>
                <c:pt idx="2161">
                  <c:v>20.655131056393973</c:v>
                </c:pt>
                <c:pt idx="2162">
                  <c:v>20.655131056393973</c:v>
                </c:pt>
                <c:pt idx="2163">
                  <c:v>20.655131056393973</c:v>
                </c:pt>
                <c:pt idx="2164">
                  <c:v>20.655131056393973</c:v>
                </c:pt>
                <c:pt idx="2165">
                  <c:v>20.655131056393973</c:v>
                </c:pt>
                <c:pt idx="2166">
                  <c:v>20.655131056393973</c:v>
                </c:pt>
                <c:pt idx="2167">
                  <c:v>20.655131056393973</c:v>
                </c:pt>
                <c:pt idx="2168">
                  <c:v>20.655131056393973</c:v>
                </c:pt>
                <c:pt idx="2169">
                  <c:v>20.655131056393973</c:v>
                </c:pt>
                <c:pt idx="2170">
                  <c:v>20.655131056393973</c:v>
                </c:pt>
                <c:pt idx="2171">
                  <c:v>20.655131056393973</c:v>
                </c:pt>
                <c:pt idx="2172">
                  <c:v>20.655131056393973</c:v>
                </c:pt>
                <c:pt idx="2173">
                  <c:v>20.655131056393973</c:v>
                </c:pt>
                <c:pt idx="2174">
                  <c:v>20.655131056393973</c:v>
                </c:pt>
                <c:pt idx="2175">
                  <c:v>20.655131056393973</c:v>
                </c:pt>
                <c:pt idx="2176">
                  <c:v>20.655131056393973</c:v>
                </c:pt>
                <c:pt idx="2177">
                  <c:v>20.655131056393973</c:v>
                </c:pt>
                <c:pt idx="2178">
                  <c:v>20.655131056393973</c:v>
                </c:pt>
                <c:pt idx="2179">
                  <c:v>20.655131056393973</c:v>
                </c:pt>
                <c:pt idx="2180">
                  <c:v>20.655131056393973</c:v>
                </c:pt>
                <c:pt idx="2181">
                  <c:v>20.655131056393973</c:v>
                </c:pt>
                <c:pt idx="2182">
                  <c:v>20.655131056393973</c:v>
                </c:pt>
                <c:pt idx="2183">
                  <c:v>20.655131056393973</c:v>
                </c:pt>
                <c:pt idx="2184">
                  <c:v>20.655131056393973</c:v>
                </c:pt>
                <c:pt idx="2185">
                  <c:v>20.655131056393973</c:v>
                </c:pt>
                <c:pt idx="2186">
                  <c:v>20.655131056393973</c:v>
                </c:pt>
                <c:pt idx="2187">
                  <c:v>20.655131056393973</c:v>
                </c:pt>
                <c:pt idx="2188">
                  <c:v>20.655131056393973</c:v>
                </c:pt>
                <c:pt idx="2189">
                  <c:v>20.655131056393973</c:v>
                </c:pt>
                <c:pt idx="2190">
                  <c:v>20.655131056393973</c:v>
                </c:pt>
                <c:pt idx="2191">
                  <c:v>20.655131056393973</c:v>
                </c:pt>
                <c:pt idx="2192">
                  <c:v>20.655131056393973</c:v>
                </c:pt>
                <c:pt idx="2193">
                  <c:v>20.655131056393973</c:v>
                </c:pt>
                <c:pt idx="2194">
                  <c:v>20.655131056393973</c:v>
                </c:pt>
                <c:pt idx="2195">
                  <c:v>20.655131056393973</c:v>
                </c:pt>
                <c:pt idx="2196">
                  <c:v>20.655131056393973</c:v>
                </c:pt>
                <c:pt idx="2197">
                  <c:v>20.655131056393973</c:v>
                </c:pt>
                <c:pt idx="2198">
                  <c:v>20.655131056393973</c:v>
                </c:pt>
                <c:pt idx="2199">
                  <c:v>20.655131056393973</c:v>
                </c:pt>
                <c:pt idx="2200">
                  <c:v>20.655131056393973</c:v>
                </c:pt>
                <c:pt idx="2201">
                  <c:v>20.655131056393973</c:v>
                </c:pt>
                <c:pt idx="2202">
                  <c:v>20.655131056393973</c:v>
                </c:pt>
                <c:pt idx="2203">
                  <c:v>20.655131056393973</c:v>
                </c:pt>
                <c:pt idx="2204">
                  <c:v>20.655131056393973</c:v>
                </c:pt>
                <c:pt idx="2205">
                  <c:v>20.655131056393973</c:v>
                </c:pt>
                <c:pt idx="2206">
                  <c:v>20.655131056393973</c:v>
                </c:pt>
                <c:pt idx="2207">
                  <c:v>20.655131056393973</c:v>
                </c:pt>
                <c:pt idx="2208">
                  <c:v>20.655131056393973</c:v>
                </c:pt>
                <c:pt idx="2209">
                  <c:v>20.655131056393973</c:v>
                </c:pt>
                <c:pt idx="2210">
                  <c:v>20.655131056393973</c:v>
                </c:pt>
                <c:pt idx="2211">
                  <c:v>20.655131056393973</c:v>
                </c:pt>
                <c:pt idx="2212">
                  <c:v>20.655131056393973</c:v>
                </c:pt>
                <c:pt idx="2213">
                  <c:v>20.655131056393973</c:v>
                </c:pt>
                <c:pt idx="2214">
                  <c:v>20.655131056393973</c:v>
                </c:pt>
                <c:pt idx="2215">
                  <c:v>20.655131056393973</c:v>
                </c:pt>
                <c:pt idx="2216">
                  <c:v>20.655131056393973</c:v>
                </c:pt>
                <c:pt idx="2217">
                  <c:v>20.655131056393973</c:v>
                </c:pt>
                <c:pt idx="2218">
                  <c:v>20.655131056393973</c:v>
                </c:pt>
                <c:pt idx="2219">
                  <c:v>20.655131056393973</c:v>
                </c:pt>
                <c:pt idx="2220">
                  <c:v>20.655131056393973</c:v>
                </c:pt>
                <c:pt idx="2221">
                  <c:v>20.655131056393973</c:v>
                </c:pt>
                <c:pt idx="2222">
                  <c:v>20.655131056393973</c:v>
                </c:pt>
                <c:pt idx="2223">
                  <c:v>20.655131056393973</c:v>
                </c:pt>
                <c:pt idx="2224">
                  <c:v>20.655131056393973</c:v>
                </c:pt>
                <c:pt idx="2225">
                  <c:v>20.655131056393973</c:v>
                </c:pt>
                <c:pt idx="2226">
                  <c:v>20.655131056393973</c:v>
                </c:pt>
                <c:pt idx="2227">
                  <c:v>20.655131056393973</c:v>
                </c:pt>
                <c:pt idx="2228">
                  <c:v>20.655131056393973</c:v>
                </c:pt>
                <c:pt idx="2229">
                  <c:v>20.655131056393973</c:v>
                </c:pt>
                <c:pt idx="2230">
                  <c:v>20.655131056393973</c:v>
                </c:pt>
                <c:pt idx="2231">
                  <c:v>20.655131056393973</c:v>
                </c:pt>
                <c:pt idx="2232">
                  <c:v>20.655131056393973</c:v>
                </c:pt>
                <c:pt idx="2233">
                  <c:v>20.655131056393973</c:v>
                </c:pt>
                <c:pt idx="2234">
                  <c:v>20.655131056393973</c:v>
                </c:pt>
                <c:pt idx="2235">
                  <c:v>20.655131056393973</c:v>
                </c:pt>
                <c:pt idx="2236">
                  <c:v>20.655131056393973</c:v>
                </c:pt>
                <c:pt idx="2237">
                  <c:v>20.655131056393973</c:v>
                </c:pt>
                <c:pt idx="2238">
                  <c:v>20.655131056393973</c:v>
                </c:pt>
                <c:pt idx="2239">
                  <c:v>20.655131056393973</c:v>
                </c:pt>
                <c:pt idx="2240">
                  <c:v>20.655131056393973</c:v>
                </c:pt>
                <c:pt idx="2241">
                  <c:v>20.655131056393973</c:v>
                </c:pt>
                <c:pt idx="2242">
                  <c:v>20.655131056393973</c:v>
                </c:pt>
                <c:pt idx="2243">
                  <c:v>20.655131056393973</c:v>
                </c:pt>
                <c:pt idx="2244">
                  <c:v>20.655131056393973</c:v>
                </c:pt>
                <c:pt idx="2245">
                  <c:v>20.655131056393973</c:v>
                </c:pt>
                <c:pt idx="2246">
                  <c:v>20.655131056393973</c:v>
                </c:pt>
                <c:pt idx="2247">
                  <c:v>20.655131056393973</c:v>
                </c:pt>
                <c:pt idx="2248">
                  <c:v>20.655131056393973</c:v>
                </c:pt>
                <c:pt idx="2249">
                  <c:v>20.655131056393973</c:v>
                </c:pt>
                <c:pt idx="2250">
                  <c:v>20.655131056393973</c:v>
                </c:pt>
                <c:pt idx="2251">
                  <c:v>20.655131056393973</c:v>
                </c:pt>
                <c:pt idx="2252">
                  <c:v>20.655131056393973</c:v>
                </c:pt>
                <c:pt idx="2253">
                  <c:v>20.655131056393973</c:v>
                </c:pt>
                <c:pt idx="2254">
                  <c:v>20.655131056393973</c:v>
                </c:pt>
                <c:pt idx="2255">
                  <c:v>20.655131056393973</c:v>
                </c:pt>
                <c:pt idx="2256">
                  <c:v>20.655131056393973</c:v>
                </c:pt>
                <c:pt idx="2257">
                  <c:v>20.655131056393973</c:v>
                </c:pt>
                <c:pt idx="2258">
                  <c:v>20.655131056393973</c:v>
                </c:pt>
                <c:pt idx="2259">
                  <c:v>20.655131056393973</c:v>
                </c:pt>
                <c:pt idx="2260">
                  <c:v>20.655131056393973</c:v>
                </c:pt>
                <c:pt idx="2261">
                  <c:v>20.655131056393973</c:v>
                </c:pt>
                <c:pt idx="2262">
                  <c:v>20.655131056393973</c:v>
                </c:pt>
                <c:pt idx="2263">
                  <c:v>20.655131056393973</c:v>
                </c:pt>
                <c:pt idx="2264">
                  <c:v>20.655131056393973</c:v>
                </c:pt>
                <c:pt idx="2265">
                  <c:v>20.655131056393973</c:v>
                </c:pt>
                <c:pt idx="2266">
                  <c:v>20.655131056393973</c:v>
                </c:pt>
                <c:pt idx="2267">
                  <c:v>20.655131056393973</c:v>
                </c:pt>
                <c:pt idx="2268">
                  <c:v>20.655131056393973</c:v>
                </c:pt>
                <c:pt idx="2269">
                  <c:v>20.655131056393973</c:v>
                </c:pt>
                <c:pt idx="2270">
                  <c:v>20.655131056393973</c:v>
                </c:pt>
                <c:pt idx="2271">
                  <c:v>20.655131056393973</c:v>
                </c:pt>
                <c:pt idx="2272">
                  <c:v>20.655131056393973</c:v>
                </c:pt>
                <c:pt idx="2273">
                  <c:v>20.655131056393973</c:v>
                </c:pt>
                <c:pt idx="2274">
                  <c:v>20.655131056393973</c:v>
                </c:pt>
                <c:pt idx="2275">
                  <c:v>20.655131056393973</c:v>
                </c:pt>
                <c:pt idx="2276">
                  <c:v>20.655131056393973</c:v>
                </c:pt>
                <c:pt idx="2277">
                  <c:v>20.655131056393973</c:v>
                </c:pt>
                <c:pt idx="2278">
                  <c:v>20.655131056393973</c:v>
                </c:pt>
                <c:pt idx="2279">
                  <c:v>20.655131056393973</c:v>
                </c:pt>
                <c:pt idx="2280">
                  <c:v>20.655131056393973</c:v>
                </c:pt>
                <c:pt idx="2281">
                  <c:v>20.655131056393973</c:v>
                </c:pt>
                <c:pt idx="2282">
                  <c:v>20.655131056393973</c:v>
                </c:pt>
                <c:pt idx="2283">
                  <c:v>20.655131056393973</c:v>
                </c:pt>
                <c:pt idx="2284">
                  <c:v>20.655131056393973</c:v>
                </c:pt>
                <c:pt idx="2285">
                  <c:v>20.655131056393973</c:v>
                </c:pt>
                <c:pt idx="2286">
                  <c:v>20.655131056393973</c:v>
                </c:pt>
                <c:pt idx="2287">
                  <c:v>20.655131056393973</c:v>
                </c:pt>
                <c:pt idx="2288">
                  <c:v>20.655131056393973</c:v>
                </c:pt>
                <c:pt idx="2289">
                  <c:v>20.655131056393973</c:v>
                </c:pt>
                <c:pt idx="2290">
                  <c:v>20.655131056393973</c:v>
                </c:pt>
                <c:pt idx="2291">
                  <c:v>20.655131056393973</c:v>
                </c:pt>
                <c:pt idx="2292">
                  <c:v>20.655131056393973</c:v>
                </c:pt>
                <c:pt idx="2293">
                  <c:v>20.655131056393973</c:v>
                </c:pt>
                <c:pt idx="2294">
                  <c:v>20.655131056393973</c:v>
                </c:pt>
                <c:pt idx="2295">
                  <c:v>20.655131056393973</c:v>
                </c:pt>
                <c:pt idx="2296">
                  <c:v>20.655131056393973</c:v>
                </c:pt>
                <c:pt idx="2297">
                  <c:v>20.655131056393973</c:v>
                </c:pt>
                <c:pt idx="2298">
                  <c:v>20.655131056393973</c:v>
                </c:pt>
                <c:pt idx="2299">
                  <c:v>20.655131056393973</c:v>
                </c:pt>
                <c:pt idx="2300">
                  <c:v>20.655131056393973</c:v>
                </c:pt>
                <c:pt idx="2301">
                  <c:v>20.655131056393973</c:v>
                </c:pt>
                <c:pt idx="2302">
                  <c:v>20.655131056393973</c:v>
                </c:pt>
                <c:pt idx="2303">
                  <c:v>20.655131056393973</c:v>
                </c:pt>
                <c:pt idx="2304">
                  <c:v>20.655131056393973</c:v>
                </c:pt>
                <c:pt idx="2305">
                  <c:v>20.655131056393973</c:v>
                </c:pt>
                <c:pt idx="2306">
                  <c:v>20.655131056393973</c:v>
                </c:pt>
                <c:pt idx="2307">
                  <c:v>20.655131056393973</c:v>
                </c:pt>
                <c:pt idx="2308">
                  <c:v>20.655131056393973</c:v>
                </c:pt>
                <c:pt idx="2309">
                  <c:v>20.655131056393973</c:v>
                </c:pt>
                <c:pt idx="2310">
                  <c:v>20.655131056393973</c:v>
                </c:pt>
                <c:pt idx="2311">
                  <c:v>20.655131056393973</c:v>
                </c:pt>
                <c:pt idx="2312">
                  <c:v>20.655131056393973</c:v>
                </c:pt>
                <c:pt idx="2313">
                  <c:v>20.655131056393973</c:v>
                </c:pt>
                <c:pt idx="2314">
                  <c:v>20.655131056393973</c:v>
                </c:pt>
                <c:pt idx="2315">
                  <c:v>20.655131056393973</c:v>
                </c:pt>
                <c:pt idx="2316">
                  <c:v>20.655131056393973</c:v>
                </c:pt>
                <c:pt idx="2317">
                  <c:v>20.655131056393973</c:v>
                </c:pt>
                <c:pt idx="2318">
                  <c:v>20.655131056393973</c:v>
                </c:pt>
                <c:pt idx="2319">
                  <c:v>20.655131056393973</c:v>
                </c:pt>
                <c:pt idx="2320">
                  <c:v>20.655131056393973</c:v>
                </c:pt>
                <c:pt idx="2321">
                  <c:v>20.655131056393973</c:v>
                </c:pt>
                <c:pt idx="2322">
                  <c:v>20.655131056393973</c:v>
                </c:pt>
                <c:pt idx="2323">
                  <c:v>20.655131056393973</c:v>
                </c:pt>
                <c:pt idx="2324">
                  <c:v>20.655131056393973</c:v>
                </c:pt>
                <c:pt idx="2325">
                  <c:v>20.655131056393973</c:v>
                </c:pt>
                <c:pt idx="2326">
                  <c:v>20.655131056393973</c:v>
                </c:pt>
                <c:pt idx="2327">
                  <c:v>20.655131056393973</c:v>
                </c:pt>
                <c:pt idx="2328">
                  <c:v>20.655131056393973</c:v>
                </c:pt>
                <c:pt idx="2329">
                  <c:v>20.655131056393973</c:v>
                </c:pt>
                <c:pt idx="2330">
                  <c:v>20.655131056393973</c:v>
                </c:pt>
                <c:pt idx="2331">
                  <c:v>20.655131056393973</c:v>
                </c:pt>
                <c:pt idx="2332">
                  <c:v>20.655131056393973</c:v>
                </c:pt>
                <c:pt idx="2333">
                  <c:v>20.655131056393973</c:v>
                </c:pt>
                <c:pt idx="2334">
                  <c:v>20.655131056393973</c:v>
                </c:pt>
                <c:pt idx="2335">
                  <c:v>20.655131056393973</c:v>
                </c:pt>
                <c:pt idx="2336">
                  <c:v>20.655131056393973</c:v>
                </c:pt>
                <c:pt idx="2337">
                  <c:v>20.655131056393973</c:v>
                </c:pt>
                <c:pt idx="2338">
                  <c:v>20.655131056393973</c:v>
                </c:pt>
                <c:pt idx="2339">
                  <c:v>20.655131056393973</c:v>
                </c:pt>
                <c:pt idx="2340">
                  <c:v>20.655131056393973</c:v>
                </c:pt>
                <c:pt idx="2341">
                  <c:v>20.655131056393973</c:v>
                </c:pt>
                <c:pt idx="2342">
                  <c:v>20.655131056393973</c:v>
                </c:pt>
                <c:pt idx="2343">
                  <c:v>20.655131056393973</c:v>
                </c:pt>
                <c:pt idx="2344">
                  <c:v>20.655131056393973</c:v>
                </c:pt>
                <c:pt idx="2345">
                  <c:v>20.655131056393973</c:v>
                </c:pt>
                <c:pt idx="2346">
                  <c:v>20.655131056393973</c:v>
                </c:pt>
                <c:pt idx="2347">
                  <c:v>20.655131056393973</c:v>
                </c:pt>
                <c:pt idx="2348">
                  <c:v>20.655131056393973</c:v>
                </c:pt>
                <c:pt idx="2349">
                  <c:v>20.655131056393973</c:v>
                </c:pt>
                <c:pt idx="2350">
                  <c:v>20.655131056393973</c:v>
                </c:pt>
                <c:pt idx="2351">
                  <c:v>20.655131056393973</c:v>
                </c:pt>
                <c:pt idx="2352">
                  <c:v>20.655131056393973</c:v>
                </c:pt>
                <c:pt idx="2353">
                  <c:v>20.655131056393973</c:v>
                </c:pt>
                <c:pt idx="2354">
                  <c:v>20.655131056393973</c:v>
                </c:pt>
                <c:pt idx="2355">
                  <c:v>20.655131056393973</c:v>
                </c:pt>
                <c:pt idx="2356">
                  <c:v>20.655131056393973</c:v>
                </c:pt>
                <c:pt idx="2357">
                  <c:v>20.655131056393973</c:v>
                </c:pt>
                <c:pt idx="2358">
                  <c:v>20.655131056393973</c:v>
                </c:pt>
                <c:pt idx="2359">
                  <c:v>20.655131056393973</c:v>
                </c:pt>
                <c:pt idx="2360">
                  <c:v>20.655131056393973</c:v>
                </c:pt>
                <c:pt idx="2361">
                  <c:v>20.655131056393973</c:v>
                </c:pt>
                <c:pt idx="2362">
                  <c:v>20.655131056393973</c:v>
                </c:pt>
                <c:pt idx="2363">
                  <c:v>20.655131056393973</c:v>
                </c:pt>
                <c:pt idx="2364">
                  <c:v>20.655131056393973</c:v>
                </c:pt>
                <c:pt idx="2365">
                  <c:v>20.655131056393973</c:v>
                </c:pt>
                <c:pt idx="2366">
                  <c:v>20.655131056393973</c:v>
                </c:pt>
                <c:pt idx="2367">
                  <c:v>20.655131056393973</c:v>
                </c:pt>
                <c:pt idx="2368">
                  <c:v>20.655131056393973</c:v>
                </c:pt>
                <c:pt idx="2369">
                  <c:v>20.655131056393973</c:v>
                </c:pt>
                <c:pt idx="2370">
                  <c:v>20.655131056393973</c:v>
                </c:pt>
                <c:pt idx="2371">
                  <c:v>20.655131056393973</c:v>
                </c:pt>
                <c:pt idx="2372">
                  <c:v>20.655131056393973</c:v>
                </c:pt>
                <c:pt idx="2373">
                  <c:v>20.655131056393973</c:v>
                </c:pt>
                <c:pt idx="2374">
                  <c:v>20.655131056393973</c:v>
                </c:pt>
                <c:pt idx="2375">
                  <c:v>20.655131056393973</c:v>
                </c:pt>
                <c:pt idx="2376">
                  <c:v>20.655131056393973</c:v>
                </c:pt>
                <c:pt idx="2377">
                  <c:v>20.655131056393973</c:v>
                </c:pt>
                <c:pt idx="2378">
                  <c:v>20.655131056393973</c:v>
                </c:pt>
                <c:pt idx="2379">
                  <c:v>20.655131056393973</c:v>
                </c:pt>
                <c:pt idx="2380">
                  <c:v>20.655131056393973</c:v>
                </c:pt>
                <c:pt idx="2381">
                  <c:v>20.655131056393973</c:v>
                </c:pt>
                <c:pt idx="2382">
                  <c:v>20.655131056393973</c:v>
                </c:pt>
                <c:pt idx="2383">
                  <c:v>20.655131056393973</c:v>
                </c:pt>
                <c:pt idx="2384">
                  <c:v>20.655131056393973</c:v>
                </c:pt>
                <c:pt idx="2385">
                  <c:v>20.655131056393973</c:v>
                </c:pt>
                <c:pt idx="2386">
                  <c:v>20.655131056393973</c:v>
                </c:pt>
                <c:pt idx="2387">
                  <c:v>20.655131056393973</c:v>
                </c:pt>
                <c:pt idx="2388">
                  <c:v>20.655131056393973</c:v>
                </c:pt>
                <c:pt idx="2389">
                  <c:v>20.655131056393973</c:v>
                </c:pt>
                <c:pt idx="2390">
                  <c:v>20.655131056393973</c:v>
                </c:pt>
                <c:pt idx="2391">
                  <c:v>20.655131056393973</c:v>
                </c:pt>
                <c:pt idx="2392">
                  <c:v>20.655131056393973</c:v>
                </c:pt>
                <c:pt idx="2393">
                  <c:v>20.655131056393973</c:v>
                </c:pt>
                <c:pt idx="2394">
                  <c:v>20.655131056393973</c:v>
                </c:pt>
                <c:pt idx="2395">
                  <c:v>20.655131056393973</c:v>
                </c:pt>
                <c:pt idx="2396">
                  <c:v>20.655131056393973</c:v>
                </c:pt>
                <c:pt idx="2397">
                  <c:v>20.655131056393973</c:v>
                </c:pt>
                <c:pt idx="2398">
                  <c:v>20.655131056393973</c:v>
                </c:pt>
                <c:pt idx="2399">
                  <c:v>20.655131056393973</c:v>
                </c:pt>
                <c:pt idx="2400">
                  <c:v>20.655131056393973</c:v>
                </c:pt>
                <c:pt idx="2401">
                  <c:v>20.655131056393973</c:v>
                </c:pt>
                <c:pt idx="2402">
                  <c:v>20.655131056393973</c:v>
                </c:pt>
                <c:pt idx="2403">
                  <c:v>20.655131056393973</c:v>
                </c:pt>
                <c:pt idx="2404">
                  <c:v>20.655131056393973</c:v>
                </c:pt>
                <c:pt idx="2405">
                  <c:v>20.655131056393973</c:v>
                </c:pt>
                <c:pt idx="2406">
                  <c:v>20.655131056393973</c:v>
                </c:pt>
                <c:pt idx="2407">
                  <c:v>20.655131056393973</c:v>
                </c:pt>
                <c:pt idx="2408">
                  <c:v>20.655131056393973</c:v>
                </c:pt>
                <c:pt idx="2409">
                  <c:v>20.655131056393973</c:v>
                </c:pt>
                <c:pt idx="2410">
                  <c:v>20.655131056393973</c:v>
                </c:pt>
                <c:pt idx="2411">
                  <c:v>20.655131056393973</c:v>
                </c:pt>
                <c:pt idx="2412">
                  <c:v>20.655131056393973</c:v>
                </c:pt>
                <c:pt idx="2413">
                  <c:v>20.655131056393973</c:v>
                </c:pt>
                <c:pt idx="2414">
                  <c:v>20.655131056393973</c:v>
                </c:pt>
                <c:pt idx="2415">
                  <c:v>20.655131056393973</c:v>
                </c:pt>
                <c:pt idx="2416">
                  <c:v>20.655131056393973</c:v>
                </c:pt>
                <c:pt idx="2417">
                  <c:v>20.655131056393973</c:v>
                </c:pt>
                <c:pt idx="2418">
                  <c:v>20.655131056393973</c:v>
                </c:pt>
                <c:pt idx="2419">
                  <c:v>20.655131056393973</c:v>
                </c:pt>
                <c:pt idx="2420">
                  <c:v>20.655131056393973</c:v>
                </c:pt>
                <c:pt idx="2421">
                  <c:v>20.655131056393973</c:v>
                </c:pt>
                <c:pt idx="2422">
                  <c:v>20.655131056393973</c:v>
                </c:pt>
                <c:pt idx="2423">
                  <c:v>20.655131056393973</c:v>
                </c:pt>
                <c:pt idx="2424">
                  <c:v>20.655131056393973</c:v>
                </c:pt>
                <c:pt idx="2425">
                  <c:v>20.655131056393973</c:v>
                </c:pt>
                <c:pt idx="2426">
                  <c:v>20.655131056393973</c:v>
                </c:pt>
                <c:pt idx="2427">
                  <c:v>20.655131056393973</c:v>
                </c:pt>
                <c:pt idx="2428">
                  <c:v>20.655131056393973</c:v>
                </c:pt>
                <c:pt idx="2429">
                  <c:v>20.655131056393973</c:v>
                </c:pt>
                <c:pt idx="2430">
                  <c:v>20.655131056393973</c:v>
                </c:pt>
                <c:pt idx="2431">
                  <c:v>20.655131056393973</c:v>
                </c:pt>
                <c:pt idx="2432">
                  <c:v>20.655131056393973</c:v>
                </c:pt>
                <c:pt idx="2433">
                  <c:v>20.655131056393973</c:v>
                </c:pt>
                <c:pt idx="2434">
                  <c:v>20.655131056393973</c:v>
                </c:pt>
                <c:pt idx="2435">
                  <c:v>20.655131056393973</c:v>
                </c:pt>
                <c:pt idx="2436">
                  <c:v>20.655131056393973</c:v>
                </c:pt>
                <c:pt idx="2437">
                  <c:v>20.655131056393973</c:v>
                </c:pt>
                <c:pt idx="2438">
                  <c:v>20.655131056393973</c:v>
                </c:pt>
                <c:pt idx="2439">
                  <c:v>20.655131056393973</c:v>
                </c:pt>
                <c:pt idx="2440">
                  <c:v>20.655131056393973</c:v>
                </c:pt>
                <c:pt idx="2441">
                  <c:v>20.655131056393973</c:v>
                </c:pt>
                <c:pt idx="2442">
                  <c:v>20.655131056393973</c:v>
                </c:pt>
                <c:pt idx="2443">
                  <c:v>20.655131056393973</c:v>
                </c:pt>
                <c:pt idx="2444">
                  <c:v>20.655131056393973</c:v>
                </c:pt>
                <c:pt idx="2445">
                  <c:v>20.655131056393973</c:v>
                </c:pt>
                <c:pt idx="2446">
                  <c:v>20.655131056393973</c:v>
                </c:pt>
                <c:pt idx="2447">
                  <c:v>20.655131056393973</c:v>
                </c:pt>
                <c:pt idx="2448">
                  <c:v>20.655131056393973</c:v>
                </c:pt>
                <c:pt idx="2449">
                  <c:v>20.655131056393973</c:v>
                </c:pt>
                <c:pt idx="2450">
                  <c:v>20.655131056393973</c:v>
                </c:pt>
                <c:pt idx="2451">
                  <c:v>20.655131056393973</c:v>
                </c:pt>
                <c:pt idx="2452">
                  <c:v>20.655131056393973</c:v>
                </c:pt>
                <c:pt idx="2453">
                  <c:v>20.655131056393973</c:v>
                </c:pt>
                <c:pt idx="2454">
                  <c:v>20.655131056393973</c:v>
                </c:pt>
                <c:pt idx="2455">
                  <c:v>20.655131056393973</c:v>
                </c:pt>
                <c:pt idx="2456">
                  <c:v>20.655131056393973</c:v>
                </c:pt>
                <c:pt idx="2457">
                  <c:v>20.655131056393973</c:v>
                </c:pt>
                <c:pt idx="2458">
                  <c:v>20.655131056393973</c:v>
                </c:pt>
                <c:pt idx="2459">
                  <c:v>20.655131056393973</c:v>
                </c:pt>
                <c:pt idx="2460">
                  <c:v>20.655131056393973</c:v>
                </c:pt>
                <c:pt idx="2461">
                  <c:v>20.655131056393973</c:v>
                </c:pt>
                <c:pt idx="2462">
                  <c:v>20.655131056393973</c:v>
                </c:pt>
                <c:pt idx="2463">
                  <c:v>20.655131056393973</c:v>
                </c:pt>
                <c:pt idx="2464">
                  <c:v>20.655131056393973</c:v>
                </c:pt>
                <c:pt idx="2465">
                  <c:v>20.655131056393973</c:v>
                </c:pt>
                <c:pt idx="2466">
                  <c:v>20.655131056393973</c:v>
                </c:pt>
                <c:pt idx="2467">
                  <c:v>20.655131056393973</c:v>
                </c:pt>
                <c:pt idx="2468">
                  <c:v>20.655131056393973</c:v>
                </c:pt>
                <c:pt idx="2469">
                  <c:v>20.655131056393973</c:v>
                </c:pt>
                <c:pt idx="2470">
                  <c:v>20.655131056393973</c:v>
                </c:pt>
                <c:pt idx="2471">
                  <c:v>20.655131056393973</c:v>
                </c:pt>
                <c:pt idx="2472">
                  <c:v>20.655131056393973</c:v>
                </c:pt>
                <c:pt idx="2473">
                  <c:v>20.655131056393973</c:v>
                </c:pt>
                <c:pt idx="2474">
                  <c:v>20.655131056393973</c:v>
                </c:pt>
                <c:pt idx="2475">
                  <c:v>20.655131056393973</c:v>
                </c:pt>
                <c:pt idx="2476">
                  <c:v>20.655131056393973</c:v>
                </c:pt>
                <c:pt idx="2477">
                  <c:v>20.655131056393973</c:v>
                </c:pt>
                <c:pt idx="2478">
                  <c:v>20.655131056393973</c:v>
                </c:pt>
                <c:pt idx="2479">
                  <c:v>20.655131056393973</c:v>
                </c:pt>
                <c:pt idx="2480">
                  <c:v>20.655131056393973</c:v>
                </c:pt>
                <c:pt idx="2481">
                  <c:v>20.655131056393973</c:v>
                </c:pt>
                <c:pt idx="2482">
                  <c:v>20.655131056393973</c:v>
                </c:pt>
                <c:pt idx="2483">
                  <c:v>20.655131056393973</c:v>
                </c:pt>
                <c:pt idx="2484">
                  <c:v>20.655131056393973</c:v>
                </c:pt>
                <c:pt idx="2485">
                  <c:v>20.655131056393973</c:v>
                </c:pt>
                <c:pt idx="2486">
                  <c:v>20.655131056393973</c:v>
                </c:pt>
                <c:pt idx="2487">
                  <c:v>20.655131056393973</c:v>
                </c:pt>
                <c:pt idx="2488">
                  <c:v>20.655131056393973</c:v>
                </c:pt>
                <c:pt idx="2489">
                  <c:v>20.655131056393973</c:v>
                </c:pt>
                <c:pt idx="2490">
                  <c:v>20.655131056393973</c:v>
                </c:pt>
                <c:pt idx="2491">
                  <c:v>20.655131056393973</c:v>
                </c:pt>
                <c:pt idx="2492">
                  <c:v>20.655131056393973</c:v>
                </c:pt>
                <c:pt idx="2493">
                  <c:v>20.655131056393973</c:v>
                </c:pt>
                <c:pt idx="2494">
                  <c:v>20.655131056393973</c:v>
                </c:pt>
                <c:pt idx="2495">
                  <c:v>20.655131056393973</c:v>
                </c:pt>
                <c:pt idx="2496">
                  <c:v>20.655131056393973</c:v>
                </c:pt>
                <c:pt idx="2497">
                  <c:v>20.655131056393973</c:v>
                </c:pt>
                <c:pt idx="2498">
                  <c:v>20.655131056393973</c:v>
                </c:pt>
                <c:pt idx="2499">
                  <c:v>20.655131056393973</c:v>
                </c:pt>
                <c:pt idx="2500">
                  <c:v>20.655131056393973</c:v>
                </c:pt>
                <c:pt idx="2501">
                  <c:v>20.655131056393973</c:v>
                </c:pt>
                <c:pt idx="2502">
                  <c:v>20.655131056393973</c:v>
                </c:pt>
                <c:pt idx="2503">
                  <c:v>20.655131056393973</c:v>
                </c:pt>
                <c:pt idx="2504">
                  <c:v>20.655131056393973</c:v>
                </c:pt>
                <c:pt idx="2505">
                  <c:v>20.655131056393973</c:v>
                </c:pt>
                <c:pt idx="2506">
                  <c:v>20.655131056393973</c:v>
                </c:pt>
                <c:pt idx="2507">
                  <c:v>20.655131056393973</c:v>
                </c:pt>
                <c:pt idx="2508">
                  <c:v>20.655131056393973</c:v>
                </c:pt>
                <c:pt idx="2509">
                  <c:v>20.655131056393973</c:v>
                </c:pt>
                <c:pt idx="2510">
                  <c:v>20.655131056393973</c:v>
                </c:pt>
                <c:pt idx="2511">
                  <c:v>20.655131056393973</c:v>
                </c:pt>
                <c:pt idx="2512">
                  <c:v>20.655131056393973</c:v>
                </c:pt>
                <c:pt idx="2513">
                  <c:v>20.655131056393973</c:v>
                </c:pt>
                <c:pt idx="2514">
                  <c:v>20.655131056393973</c:v>
                </c:pt>
                <c:pt idx="2515">
                  <c:v>20.655131056393973</c:v>
                </c:pt>
                <c:pt idx="2516">
                  <c:v>20.655131056393973</c:v>
                </c:pt>
                <c:pt idx="2517">
                  <c:v>20.655131056393973</c:v>
                </c:pt>
              </c:numCache>
            </c:numRef>
          </c:val>
          <c:smooth val="0"/>
          <c:extLst xmlns:c16r2="http://schemas.microsoft.com/office/drawing/2015/06/chart">
            <c:ext xmlns:c16="http://schemas.microsoft.com/office/drawing/2014/chart" uri="{C3380CC4-5D6E-409C-BE32-E72D297353CC}">
              <c16:uniqueId val="{00000001-531A-4BD8-B7C1-7E67E1B4FFCE}"/>
            </c:ext>
          </c:extLst>
        </c:ser>
        <c:ser>
          <c:idx val="4"/>
          <c:order val="2"/>
          <c:tx>
            <c:strRef>
              <c:f>Sheet1!$AF$4</c:f>
              <c:strCache>
                <c:ptCount val="1"/>
                <c:pt idx="0">
                  <c:v>6M average</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F$5:$AF$2522</c:f>
              <c:numCache>
                <c:formatCode>General</c:formatCode>
                <c:ptCount val="2518"/>
                <c:pt idx="0">
                  <c:v>14.79418604651163</c:v>
                </c:pt>
                <c:pt idx="1">
                  <c:v>14.79418604651163</c:v>
                </c:pt>
                <c:pt idx="2">
                  <c:v>14.79418604651163</c:v>
                </c:pt>
                <c:pt idx="3">
                  <c:v>14.79418604651163</c:v>
                </c:pt>
                <c:pt idx="4">
                  <c:v>14.79418604651163</c:v>
                </c:pt>
                <c:pt idx="5">
                  <c:v>14.79418604651163</c:v>
                </c:pt>
                <c:pt idx="6">
                  <c:v>14.79418604651163</c:v>
                </c:pt>
                <c:pt idx="7">
                  <c:v>14.79418604651163</c:v>
                </c:pt>
                <c:pt idx="8">
                  <c:v>14.79418604651163</c:v>
                </c:pt>
                <c:pt idx="9">
                  <c:v>14.79418604651163</c:v>
                </c:pt>
                <c:pt idx="10">
                  <c:v>14.79418604651163</c:v>
                </c:pt>
                <c:pt idx="11">
                  <c:v>14.79418604651163</c:v>
                </c:pt>
                <c:pt idx="12">
                  <c:v>14.79418604651163</c:v>
                </c:pt>
                <c:pt idx="13">
                  <c:v>14.79418604651163</c:v>
                </c:pt>
                <c:pt idx="14">
                  <c:v>14.79418604651163</c:v>
                </c:pt>
                <c:pt idx="15">
                  <c:v>14.79418604651163</c:v>
                </c:pt>
                <c:pt idx="16">
                  <c:v>14.79418604651163</c:v>
                </c:pt>
                <c:pt idx="17">
                  <c:v>14.79418604651163</c:v>
                </c:pt>
                <c:pt idx="18">
                  <c:v>14.79418604651163</c:v>
                </c:pt>
                <c:pt idx="19">
                  <c:v>14.79418604651163</c:v>
                </c:pt>
                <c:pt idx="20">
                  <c:v>14.79418604651163</c:v>
                </c:pt>
                <c:pt idx="21">
                  <c:v>14.79418604651163</c:v>
                </c:pt>
                <c:pt idx="22">
                  <c:v>14.79418604651163</c:v>
                </c:pt>
                <c:pt idx="23">
                  <c:v>14.79418604651163</c:v>
                </c:pt>
                <c:pt idx="24">
                  <c:v>14.79418604651163</c:v>
                </c:pt>
                <c:pt idx="25">
                  <c:v>14.79418604651163</c:v>
                </c:pt>
                <c:pt idx="26">
                  <c:v>14.79418604651163</c:v>
                </c:pt>
                <c:pt idx="27">
                  <c:v>14.79418604651163</c:v>
                </c:pt>
                <c:pt idx="28">
                  <c:v>14.79418604651163</c:v>
                </c:pt>
                <c:pt idx="29">
                  <c:v>14.79418604651163</c:v>
                </c:pt>
                <c:pt idx="30">
                  <c:v>14.79418604651163</c:v>
                </c:pt>
                <c:pt idx="31">
                  <c:v>14.79418604651163</c:v>
                </c:pt>
                <c:pt idx="32">
                  <c:v>14.79418604651163</c:v>
                </c:pt>
                <c:pt idx="33">
                  <c:v>14.79418604651163</c:v>
                </c:pt>
                <c:pt idx="34">
                  <c:v>14.79418604651163</c:v>
                </c:pt>
                <c:pt idx="35">
                  <c:v>14.79418604651163</c:v>
                </c:pt>
                <c:pt idx="36">
                  <c:v>14.79418604651163</c:v>
                </c:pt>
                <c:pt idx="37">
                  <c:v>14.79418604651163</c:v>
                </c:pt>
                <c:pt idx="38">
                  <c:v>14.79418604651163</c:v>
                </c:pt>
                <c:pt idx="39">
                  <c:v>14.79418604651163</c:v>
                </c:pt>
                <c:pt idx="40">
                  <c:v>14.79418604651163</c:v>
                </c:pt>
                <c:pt idx="41">
                  <c:v>14.79418604651163</c:v>
                </c:pt>
                <c:pt idx="42">
                  <c:v>14.79418604651163</c:v>
                </c:pt>
                <c:pt idx="43">
                  <c:v>14.79418604651163</c:v>
                </c:pt>
                <c:pt idx="44">
                  <c:v>14.79418604651163</c:v>
                </c:pt>
                <c:pt idx="45">
                  <c:v>14.79418604651163</c:v>
                </c:pt>
                <c:pt idx="46">
                  <c:v>14.79418604651163</c:v>
                </c:pt>
                <c:pt idx="47">
                  <c:v>14.79418604651163</c:v>
                </c:pt>
                <c:pt idx="48">
                  <c:v>14.79418604651163</c:v>
                </c:pt>
                <c:pt idx="49">
                  <c:v>14.79418604651163</c:v>
                </c:pt>
                <c:pt idx="50">
                  <c:v>14.79418604651163</c:v>
                </c:pt>
                <c:pt idx="51">
                  <c:v>14.79418604651163</c:v>
                </c:pt>
                <c:pt idx="52">
                  <c:v>14.79418604651163</c:v>
                </c:pt>
                <c:pt idx="53">
                  <c:v>14.79418604651163</c:v>
                </c:pt>
                <c:pt idx="54">
                  <c:v>14.79418604651163</c:v>
                </c:pt>
                <c:pt idx="55">
                  <c:v>14.79418604651163</c:v>
                </c:pt>
                <c:pt idx="56">
                  <c:v>14.79418604651163</c:v>
                </c:pt>
                <c:pt idx="57">
                  <c:v>14.79418604651163</c:v>
                </c:pt>
                <c:pt idx="58">
                  <c:v>14.79418604651163</c:v>
                </c:pt>
                <c:pt idx="59">
                  <c:v>14.79418604651163</c:v>
                </c:pt>
                <c:pt idx="60">
                  <c:v>14.79418604651163</c:v>
                </c:pt>
                <c:pt idx="61">
                  <c:v>14.79418604651163</c:v>
                </c:pt>
                <c:pt idx="62">
                  <c:v>14.79418604651163</c:v>
                </c:pt>
                <c:pt idx="63">
                  <c:v>14.79418604651163</c:v>
                </c:pt>
                <c:pt idx="64">
                  <c:v>14.79418604651163</c:v>
                </c:pt>
                <c:pt idx="65">
                  <c:v>14.79418604651163</c:v>
                </c:pt>
                <c:pt idx="66">
                  <c:v>14.79418604651163</c:v>
                </c:pt>
                <c:pt idx="67">
                  <c:v>14.79418604651163</c:v>
                </c:pt>
                <c:pt idx="68">
                  <c:v>14.79418604651163</c:v>
                </c:pt>
                <c:pt idx="69">
                  <c:v>14.79418604651163</c:v>
                </c:pt>
                <c:pt idx="70">
                  <c:v>14.79418604651163</c:v>
                </c:pt>
                <c:pt idx="71">
                  <c:v>14.79418604651163</c:v>
                </c:pt>
                <c:pt idx="72">
                  <c:v>14.79418604651163</c:v>
                </c:pt>
                <c:pt idx="73">
                  <c:v>14.79418604651163</c:v>
                </c:pt>
                <c:pt idx="74">
                  <c:v>14.79418604651163</c:v>
                </c:pt>
                <c:pt idx="75">
                  <c:v>14.79418604651163</c:v>
                </c:pt>
                <c:pt idx="76">
                  <c:v>14.79418604651163</c:v>
                </c:pt>
                <c:pt idx="77">
                  <c:v>14.79418604651163</c:v>
                </c:pt>
                <c:pt idx="78">
                  <c:v>14.79418604651163</c:v>
                </c:pt>
                <c:pt idx="79">
                  <c:v>14.79418604651163</c:v>
                </c:pt>
                <c:pt idx="80">
                  <c:v>14.79418604651163</c:v>
                </c:pt>
                <c:pt idx="81">
                  <c:v>14.79418604651163</c:v>
                </c:pt>
                <c:pt idx="82">
                  <c:v>14.79418604651163</c:v>
                </c:pt>
                <c:pt idx="83">
                  <c:v>14.79418604651163</c:v>
                </c:pt>
                <c:pt idx="84">
                  <c:v>14.79418604651163</c:v>
                </c:pt>
                <c:pt idx="85">
                  <c:v>14.79418604651163</c:v>
                </c:pt>
                <c:pt idx="86">
                  <c:v>14.79418604651163</c:v>
                </c:pt>
                <c:pt idx="87">
                  <c:v>14.79418604651163</c:v>
                </c:pt>
                <c:pt idx="88">
                  <c:v>14.79418604651163</c:v>
                </c:pt>
                <c:pt idx="89">
                  <c:v>14.79418604651163</c:v>
                </c:pt>
                <c:pt idx="90">
                  <c:v>14.79418604651163</c:v>
                </c:pt>
                <c:pt idx="91">
                  <c:v>14.79418604651163</c:v>
                </c:pt>
                <c:pt idx="92">
                  <c:v>14.79418604651163</c:v>
                </c:pt>
                <c:pt idx="93">
                  <c:v>14.79418604651163</c:v>
                </c:pt>
                <c:pt idx="94">
                  <c:v>14.79418604651163</c:v>
                </c:pt>
                <c:pt idx="95">
                  <c:v>14.79418604651163</c:v>
                </c:pt>
                <c:pt idx="96">
                  <c:v>14.79418604651163</c:v>
                </c:pt>
                <c:pt idx="97">
                  <c:v>14.79418604651163</c:v>
                </c:pt>
                <c:pt idx="98">
                  <c:v>14.79418604651163</c:v>
                </c:pt>
                <c:pt idx="99">
                  <c:v>14.79418604651163</c:v>
                </c:pt>
                <c:pt idx="100">
                  <c:v>14.79418604651163</c:v>
                </c:pt>
                <c:pt idx="101">
                  <c:v>14.79418604651163</c:v>
                </c:pt>
                <c:pt idx="102">
                  <c:v>14.79418604651163</c:v>
                </c:pt>
                <c:pt idx="103">
                  <c:v>14.79418604651163</c:v>
                </c:pt>
                <c:pt idx="104">
                  <c:v>14.79418604651163</c:v>
                </c:pt>
                <c:pt idx="105">
                  <c:v>14.79418604651163</c:v>
                </c:pt>
                <c:pt idx="106">
                  <c:v>14.79418604651163</c:v>
                </c:pt>
                <c:pt idx="107">
                  <c:v>14.79418604651163</c:v>
                </c:pt>
                <c:pt idx="108">
                  <c:v>14.79418604651163</c:v>
                </c:pt>
                <c:pt idx="109">
                  <c:v>14.79418604651163</c:v>
                </c:pt>
                <c:pt idx="110">
                  <c:v>14.79418604651163</c:v>
                </c:pt>
                <c:pt idx="111">
                  <c:v>14.79418604651163</c:v>
                </c:pt>
                <c:pt idx="112">
                  <c:v>14.79418604651163</c:v>
                </c:pt>
                <c:pt idx="113">
                  <c:v>14.79418604651163</c:v>
                </c:pt>
                <c:pt idx="114">
                  <c:v>14.79418604651163</c:v>
                </c:pt>
                <c:pt idx="115">
                  <c:v>14.79418604651163</c:v>
                </c:pt>
                <c:pt idx="116">
                  <c:v>14.79418604651163</c:v>
                </c:pt>
                <c:pt idx="117">
                  <c:v>14.79418604651163</c:v>
                </c:pt>
                <c:pt idx="118">
                  <c:v>14.79418604651163</c:v>
                </c:pt>
                <c:pt idx="119">
                  <c:v>14.79418604651163</c:v>
                </c:pt>
                <c:pt idx="120">
                  <c:v>14.79418604651163</c:v>
                </c:pt>
                <c:pt idx="121">
                  <c:v>14.79418604651163</c:v>
                </c:pt>
                <c:pt idx="122">
                  <c:v>14.79418604651163</c:v>
                </c:pt>
                <c:pt idx="123">
                  <c:v>14.79418604651163</c:v>
                </c:pt>
                <c:pt idx="124">
                  <c:v>14.79418604651163</c:v>
                </c:pt>
                <c:pt idx="125">
                  <c:v>14.79418604651163</c:v>
                </c:pt>
                <c:pt idx="126">
                  <c:v>14.79418604651163</c:v>
                </c:pt>
                <c:pt idx="127">
                  <c:v>14.79418604651163</c:v>
                </c:pt>
                <c:pt idx="128">
                  <c:v>14.79418604651163</c:v>
                </c:pt>
                <c:pt idx="129">
                  <c:v>14.79418604651163</c:v>
                </c:pt>
                <c:pt idx="130">
                  <c:v>14.79418604651163</c:v>
                </c:pt>
                <c:pt idx="131">
                  <c:v>14.79418604651163</c:v>
                </c:pt>
                <c:pt idx="132">
                  <c:v>14.79418604651163</c:v>
                </c:pt>
                <c:pt idx="133">
                  <c:v>14.79418604651163</c:v>
                </c:pt>
                <c:pt idx="134">
                  <c:v>14.79418604651163</c:v>
                </c:pt>
                <c:pt idx="135">
                  <c:v>14.79418604651163</c:v>
                </c:pt>
                <c:pt idx="136">
                  <c:v>14.79418604651163</c:v>
                </c:pt>
                <c:pt idx="137">
                  <c:v>14.79418604651163</c:v>
                </c:pt>
                <c:pt idx="138">
                  <c:v>14.79418604651163</c:v>
                </c:pt>
                <c:pt idx="139">
                  <c:v>14.79418604651163</c:v>
                </c:pt>
                <c:pt idx="140">
                  <c:v>14.79418604651163</c:v>
                </c:pt>
                <c:pt idx="141">
                  <c:v>14.79418604651163</c:v>
                </c:pt>
                <c:pt idx="142">
                  <c:v>14.79418604651163</c:v>
                </c:pt>
                <c:pt idx="143">
                  <c:v>14.79418604651163</c:v>
                </c:pt>
                <c:pt idx="144">
                  <c:v>14.79418604651163</c:v>
                </c:pt>
                <c:pt idx="145">
                  <c:v>14.79418604651163</c:v>
                </c:pt>
                <c:pt idx="146">
                  <c:v>14.79418604651163</c:v>
                </c:pt>
                <c:pt idx="147">
                  <c:v>14.79418604651163</c:v>
                </c:pt>
                <c:pt idx="148">
                  <c:v>14.79418604651163</c:v>
                </c:pt>
                <c:pt idx="149">
                  <c:v>14.79418604651163</c:v>
                </c:pt>
                <c:pt idx="150">
                  <c:v>14.79418604651163</c:v>
                </c:pt>
                <c:pt idx="151">
                  <c:v>14.79418604651163</c:v>
                </c:pt>
                <c:pt idx="152">
                  <c:v>14.79418604651163</c:v>
                </c:pt>
                <c:pt idx="153">
                  <c:v>14.79418604651163</c:v>
                </c:pt>
                <c:pt idx="154">
                  <c:v>14.79418604651163</c:v>
                </c:pt>
                <c:pt idx="155">
                  <c:v>14.79418604651163</c:v>
                </c:pt>
                <c:pt idx="156">
                  <c:v>14.79418604651163</c:v>
                </c:pt>
                <c:pt idx="157">
                  <c:v>14.79418604651163</c:v>
                </c:pt>
                <c:pt idx="158">
                  <c:v>14.79418604651163</c:v>
                </c:pt>
                <c:pt idx="159">
                  <c:v>14.79418604651163</c:v>
                </c:pt>
                <c:pt idx="160">
                  <c:v>14.79418604651163</c:v>
                </c:pt>
                <c:pt idx="161">
                  <c:v>14.79418604651163</c:v>
                </c:pt>
                <c:pt idx="162">
                  <c:v>14.79418604651163</c:v>
                </c:pt>
                <c:pt idx="163">
                  <c:v>14.79418604651163</c:v>
                </c:pt>
                <c:pt idx="164">
                  <c:v>14.79418604651163</c:v>
                </c:pt>
                <c:pt idx="165">
                  <c:v>14.79418604651163</c:v>
                </c:pt>
                <c:pt idx="166">
                  <c:v>14.79418604651163</c:v>
                </c:pt>
                <c:pt idx="167">
                  <c:v>14.79418604651163</c:v>
                </c:pt>
                <c:pt idx="168">
                  <c:v>14.79418604651163</c:v>
                </c:pt>
                <c:pt idx="169">
                  <c:v>14.79418604651163</c:v>
                </c:pt>
                <c:pt idx="170">
                  <c:v>14.79418604651163</c:v>
                </c:pt>
                <c:pt idx="171">
                  <c:v>14.79418604651163</c:v>
                </c:pt>
                <c:pt idx="172">
                  <c:v>14.79418604651163</c:v>
                </c:pt>
                <c:pt idx="173">
                  <c:v>14.79418604651163</c:v>
                </c:pt>
                <c:pt idx="174">
                  <c:v>14.79418604651163</c:v>
                </c:pt>
                <c:pt idx="175">
                  <c:v>14.79418604651163</c:v>
                </c:pt>
                <c:pt idx="176">
                  <c:v>14.79418604651163</c:v>
                </c:pt>
                <c:pt idx="177">
                  <c:v>14.79418604651163</c:v>
                </c:pt>
                <c:pt idx="178">
                  <c:v>14.79418604651163</c:v>
                </c:pt>
                <c:pt idx="179">
                  <c:v>14.79418604651163</c:v>
                </c:pt>
                <c:pt idx="180">
                  <c:v>14.79418604651163</c:v>
                </c:pt>
                <c:pt idx="181">
                  <c:v>14.79418604651163</c:v>
                </c:pt>
                <c:pt idx="182">
                  <c:v>14.79418604651163</c:v>
                </c:pt>
                <c:pt idx="183">
                  <c:v>14.79418604651163</c:v>
                </c:pt>
                <c:pt idx="184">
                  <c:v>14.79418604651163</c:v>
                </c:pt>
                <c:pt idx="185">
                  <c:v>14.79418604651163</c:v>
                </c:pt>
                <c:pt idx="186">
                  <c:v>14.79418604651163</c:v>
                </c:pt>
                <c:pt idx="187">
                  <c:v>14.79418604651163</c:v>
                </c:pt>
                <c:pt idx="188">
                  <c:v>14.79418604651163</c:v>
                </c:pt>
                <c:pt idx="189">
                  <c:v>14.79418604651163</c:v>
                </c:pt>
                <c:pt idx="190">
                  <c:v>14.79418604651163</c:v>
                </c:pt>
                <c:pt idx="191">
                  <c:v>14.79418604651163</c:v>
                </c:pt>
                <c:pt idx="192">
                  <c:v>14.79418604651163</c:v>
                </c:pt>
                <c:pt idx="193">
                  <c:v>14.79418604651163</c:v>
                </c:pt>
                <c:pt idx="194">
                  <c:v>14.79418604651163</c:v>
                </c:pt>
                <c:pt idx="195">
                  <c:v>14.79418604651163</c:v>
                </c:pt>
                <c:pt idx="196">
                  <c:v>14.79418604651163</c:v>
                </c:pt>
                <c:pt idx="197">
                  <c:v>14.79418604651163</c:v>
                </c:pt>
                <c:pt idx="198">
                  <c:v>14.79418604651163</c:v>
                </c:pt>
                <c:pt idx="199">
                  <c:v>14.79418604651163</c:v>
                </c:pt>
                <c:pt idx="200">
                  <c:v>14.79418604651163</c:v>
                </c:pt>
                <c:pt idx="201">
                  <c:v>14.79418604651163</c:v>
                </c:pt>
                <c:pt idx="202">
                  <c:v>14.79418604651163</c:v>
                </c:pt>
                <c:pt idx="203">
                  <c:v>14.79418604651163</c:v>
                </c:pt>
                <c:pt idx="204">
                  <c:v>14.79418604651163</c:v>
                </c:pt>
                <c:pt idx="205">
                  <c:v>14.79418604651163</c:v>
                </c:pt>
                <c:pt idx="206">
                  <c:v>14.79418604651163</c:v>
                </c:pt>
                <c:pt idx="207">
                  <c:v>14.79418604651163</c:v>
                </c:pt>
                <c:pt idx="208">
                  <c:v>14.79418604651163</c:v>
                </c:pt>
                <c:pt idx="209">
                  <c:v>14.79418604651163</c:v>
                </c:pt>
                <c:pt idx="210">
                  <c:v>14.79418604651163</c:v>
                </c:pt>
                <c:pt idx="211">
                  <c:v>14.79418604651163</c:v>
                </c:pt>
                <c:pt idx="212">
                  <c:v>14.79418604651163</c:v>
                </c:pt>
                <c:pt idx="213">
                  <c:v>14.79418604651163</c:v>
                </c:pt>
                <c:pt idx="214">
                  <c:v>14.79418604651163</c:v>
                </c:pt>
                <c:pt idx="215">
                  <c:v>14.79418604651163</c:v>
                </c:pt>
                <c:pt idx="216">
                  <c:v>14.79418604651163</c:v>
                </c:pt>
                <c:pt idx="217">
                  <c:v>14.79418604651163</c:v>
                </c:pt>
                <c:pt idx="218">
                  <c:v>14.79418604651163</c:v>
                </c:pt>
                <c:pt idx="219">
                  <c:v>14.79418604651163</c:v>
                </c:pt>
                <c:pt idx="220">
                  <c:v>14.79418604651163</c:v>
                </c:pt>
                <c:pt idx="221">
                  <c:v>14.79418604651163</c:v>
                </c:pt>
                <c:pt idx="222">
                  <c:v>14.79418604651163</c:v>
                </c:pt>
                <c:pt idx="223">
                  <c:v>14.79418604651163</c:v>
                </c:pt>
                <c:pt idx="224">
                  <c:v>14.79418604651163</c:v>
                </c:pt>
                <c:pt idx="225">
                  <c:v>14.79418604651163</c:v>
                </c:pt>
                <c:pt idx="226">
                  <c:v>14.79418604651163</c:v>
                </c:pt>
                <c:pt idx="227">
                  <c:v>14.79418604651163</c:v>
                </c:pt>
                <c:pt idx="228">
                  <c:v>14.79418604651163</c:v>
                </c:pt>
                <c:pt idx="229">
                  <c:v>14.79418604651163</c:v>
                </c:pt>
                <c:pt idx="230">
                  <c:v>14.79418604651163</c:v>
                </c:pt>
                <c:pt idx="231">
                  <c:v>14.79418604651163</c:v>
                </c:pt>
                <c:pt idx="232">
                  <c:v>14.79418604651163</c:v>
                </c:pt>
                <c:pt idx="233">
                  <c:v>14.79418604651163</c:v>
                </c:pt>
                <c:pt idx="234">
                  <c:v>14.79418604651163</c:v>
                </c:pt>
                <c:pt idx="235">
                  <c:v>14.79418604651163</c:v>
                </c:pt>
                <c:pt idx="236">
                  <c:v>14.79418604651163</c:v>
                </c:pt>
                <c:pt idx="237">
                  <c:v>14.79418604651163</c:v>
                </c:pt>
                <c:pt idx="238">
                  <c:v>14.79418604651163</c:v>
                </c:pt>
                <c:pt idx="239">
                  <c:v>14.79418604651163</c:v>
                </c:pt>
                <c:pt idx="240">
                  <c:v>14.79418604651163</c:v>
                </c:pt>
                <c:pt idx="241">
                  <c:v>14.79418604651163</c:v>
                </c:pt>
                <c:pt idx="242">
                  <c:v>14.79418604651163</c:v>
                </c:pt>
                <c:pt idx="243">
                  <c:v>14.79418604651163</c:v>
                </c:pt>
                <c:pt idx="244">
                  <c:v>14.79418604651163</c:v>
                </c:pt>
                <c:pt idx="245">
                  <c:v>14.79418604651163</c:v>
                </c:pt>
                <c:pt idx="246">
                  <c:v>14.79418604651163</c:v>
                </c:pt>
                <c:pt idx="247">
                  <c:v>14.79418604651163</c:v>
                </c:pt>
                <c:pt idx="248">
                  <c:v>14.79418604651163</c:v>
                </c:pt>
                <c:pt idx="249">
                  <c:v>14.79418604651163</c:v>
                </c:pt>
                <c:pt idx="250">
                  <c:v>14.79418604651163</c:v>
                </c:pt>
                <c:pt idx="251">
                  <c:v>14.79418604651163</c:v>
                </c:pt>
                <c:pt idx="252">
                  <c:v>14.79418604651163</c:v>
                </c:pt>
                <c:pt idx="253">
                  <c:v>14.79418604651163</c:v>
                </c:pt>
                <c:pt idx="254">
                  <c:v>14.79418604651163</c:v>
                </c:pt>
                <c:pt idx="255">
                  <c:v>14.79418604651163</c:v>
                </c:pt>
                <c:pt idx="256">
                  <c:v>14.79418604651163</c:v>
                </c:pt>
                <c:pt idx="257">
                  <c:v>14.79418604651163</c:v>
                </c:pt>
                <c:pt idx="258">
                  <c:v>14.79418604651163</c:v>
                </c:pt>
                <c:pt idx="259">
                  <c:v>14.79418604651163</c:v>
                </c:pt>
                <c:pt idx="260">
                  <c:v>14.79418604651163</c:v>
                </c:pt>
                <c:pt idx="261">
                  <c:v>14.79418604651163</c:v>
                </c:pt>
                <c:pt idx="262">
                  <c:v>14.79418604651163</c:v>
                </c:pt>
                <c:pt idx="263">
                  <c:v>14.79418604651163</c:v>
                </c:pt>
                <c:pt idx="264">
                  <c:v>14.79418604651163</c:v>
                </c:pt>
                <c:pt idx="265">
                  <c:v>14.79418604651163</c:v>
                </c:pt>
                <c:pt idx="266">
                  <c:v>14.79418604651163</c:v>
                </c:pt>
                <c:pt idx="267">
                  <c:v>14.79418604651163</c:v>
                </c:pt>
                <c:pt idx="268">
                  <c:v>14.79418604651163</c:v>
                </c:pt>
                <c:pt idx="269">
                  <c:v>14.79418604651163</c:v>
                </c:pt>
                <c:pt idx="270">
                  <c:v>14.79418604651163</c:v>
                </c:pt>
                <c:pt idx="271">
                  <c:v>14.79418604651163</c:v>
                </c:pt>
                <c:pt idx="272">
                  <c:v>14.79418604651163</c:v>
                </c:pt>
                <c:pt idx="273">
                  <c:v>14.79418604651163</c:v>
                </c:pt>
                <c:pt idx="274">
                  <c:v>14.79418604651163</c:v>
                </c:pt>
                <c:pt idx="275">
                  <c:v>14.79418604651163</c:v>
                </c:pt>
                <c:pt idx="276">
                  <c:v>14.79418604651163</c:v>
                </c:pt>
                <c:pt idx="277">
                  <c:v>14.79418604651163</c:v>
                </c:pt>
                <c:pt idx="278">
                  <c:v>14.79418604651163</c:v>
                </c:pt>
                <c:pt idx="279">
                  <c:v>14.79418604651163</c:v>
                </c:pt>
                <c:pt idx="280">
                  <c:v>14.79418604651163</c:v>
                </c:pt>
                <c:pt idx="281">
                  <c:v>14.79418604651163</c:v>
                </c:pt>
                <c:pt idx="282">
                  <c:v>14.79418604651163</c:v>
                </c:pt>
                <c:pt idx="283">
                  <c:v>14.79418604651163</c:v>
                </c:pt>
                <c:pt idx="284">
                  <c:v>14.79418604651163</c:v>
                </c:pt>
                <c:pt idx="285">
                  <c:v>14.79418604651163</c:v>
                </c:pt>
                <c:pt idx="286">
                  <c:v>14.79418604651163</c:v>
                </c:pt>
                <c:pt idx="287">
                  <c:v>14.79418604651163</c:v>
                </c:pt>
                <c:pt idx="288">
                  <c:v>14.79418604651163</c:v>
                </c:pt>
                <c:pt idx="289">
                  <c:v>14.79418604651163</c:v>
                </c:pt>
                <c:pt idx="290">
                  <c:v>14.79418604651163</c:v>
                </c:pt>
                <c:pt idx="291">
                  <c:v>14.79418604651163</c:v>
                </c:pt>
                <c:pt idx="292">
                  <c:v>14.79418604651163</c:v>
                </c:pt>
                <c:pt idx="293">
                  <c:v>14.79418604651163</c:v>
                </c:pt>
                <c:pt idx="294">
                  <c:v>14.79418604651163</c:v>
                </c:pt>
                <c:pt idx="295">
                  <c:v>14.79418604651163</c:v>
                </c:pt>
                <c:pt idx="296">
                  <c:v>14.79418604651163</c:v>
                </c:pt>
                <c:pt idx="297">
                  <c:v>14.79418604651163</c:v>
                </c:pt>
                <c:pt idx="298">
                  <c:v>14.79418604651163</c:v>
                </c:pt>
                <c:pt idx="299">
                  <c:v>14.79418604651163</c:v>
                </c:pt>
                <c:pt idx="300">
                  <c:v>14.79418604651163</c:v>
                </c:pt>
                <c:pt idx="301">
                  <c:v>14.79418604651163</c:v>
                </c:pt>
                <c:pt idx="302">
                  <c:v>14.79418604651163</c:v>
                </c:pt>
                <c:pt idx="303">
                  <c:v>14.79418604651163</c:v>
                </c:pt>
                <c:pt idx="304">
                  <c:v>14.79418604651163</c:v>
                </c:pt>
                <c:pt idx="305">
                  <c:v>14.79418604651163</c:v>
                </c:pt>
                <c:pt idx="306">
                  <c:v>14.79418604651163</c:v>
                </c:pt>
                <c:pt idx="307">
                  <c:v>14.79418604651163</c:v>
                </c:pt>
                <c:pt idx="308">
                  <c:v>14.79418604651163</c:v>
                </c:pt>
                <c:pt idx="309">
                  <c:v>14.79418604651163</c:v>
                </c:pt>
                <c:pt idx="310">
                  <c:v>14.79418604651163</c:v>
                </c:pt>
                <c:pt idx="311">
                  <c:v>14.79418604651163</c:v>
                </c:pt>
                <c:pt idx="312">
                  <c:v>14.79418604651163</c:v>
                </c:pt>
                <c:pt idx="313">
                  <c:v>14.79418604651163</c:v>
                </c:pt>
                <c:pt idx="314">
                  <c:v>14.79418604651163</c:v>
                </c:pt>
                <c:pt idx="315">
                  <c:v>14.79418604651163</c:v>
                </c:pt>
                <c:pt idx="316">
                  <c:v>14.79418604651163</c:v>
                </c:pt>
                <c:pt idx="317">
                  <c:v>14.79418604651163</c:v>
                </c:pt>
                <c:pt idx="318">
                  <c:v>14.79418604651163</c:v>
                </c:pt>
                <c:pt idx="319">
                  <c:v>14.79418604651163</c:v>
                </c:pt>
                <c:pt idx="320">
                  <c:v>14.79418604651163</c:v>
                </c:pt>
                <c:pt idx="321">
                  <c:v>14.79418604651163</c:v>
                </c:pt>
                <c:pt idx="322">
                  <c:v>14.79418604651163</c:v>
                </c:pt>
                <c:pt idx="323">
                  <c:v>14.79418604651163</c:v>
                </c:pt>
                <c:pt idx="324">
                  <c:v>14.79418604651163</c:v>
                </c:pt>
                <c:pt idx="325">
                  <c:v>14.79418604651163</c:v>
                </c:pt>
                <c:pt idx="326">
                  <c:v>14.79418604651163</c:v>
                </c:pt>
                <c:pt idx="327">
                  <c:v>14.79418604651163</c:v>
                </c:pt>
                <c:pt idx="328">
                  <c:v>14.79418604651163</c:v>
                </c:pt>
                <c:pt idx="329">
                  <c:v>14.79418604651163</c:v>
                </c:pt>
                <c:pt idx="330">
                  <c:v>14.79418604651163</c:v>
                </c:pt>
                <c:pt idx="331">
                  <c:v>14.79418604651163</c:v>
                </c:pt>
                <c:pt idx="332">
                  <c:v>14.79418604651163</c:v>
                </c:pt>
                <c:pt idx="333">
                  <c:v>14.79418604651163</c:v>
                </c:pt>
                <c:pt idx="334">
                  <c:v>14.79418604651163</c:v>
                </c:pt>
                <c:pt idx="335">
                  <c:v>14.79418604651163</c:v>
                </c:pt>
                <c:pt idx="336">
                  <c:v>14.79418604651163</c:v>
                </c:pt>
                <c:pt idx="337">
                  <c:v>14.79418604651163</c:v>
                </c:pt>
                <c:pt idx="338">
                  <c:v>14.79418604651163</c:v>
                </c:pt>
                <c:pt idx="339">
                  <c:v>14.79418604651163</c:v>
                </c:pt>
                <c:pt idx="340">
                  <c:v>14.79418604651163</c:v>
                </c:pt>
                <c:pt idx="341">
                  <c:v>14.79418604651163</c:v>
                </c:pt>
                <c:pt idx="342">
                  <c:v>14.79418604651163</c:v>
                </c:pt>
                <c:pt idx="343">
                  <c:v>14.79418604651163</c:v>
                </c:pt>
                <c:pt idx="344">
                  <c:v>14.79418604651163</c:v>
                </c:pt>
                <c:pt idx="345">
                  <c:v>14.79418604651163</c:v>
                </c:pt>
                <c:pt idx="346">
                  <c:v>14.79418604651163</c:v>
                </c:pt>
                <c:pt idx="347">
                  <c:v>14.79418604651163</c:v>
                </c:pt>
                <c:pt idx="348">
                  <c:v>14.79418604651163</c:v>
                </c:pt>
                <c:pt idx="349">
                  <c:v>14.79418604651163</c:v>
                </c:pt>
                <c:pt idx="350">
                  <c:v>14.79418604651163</c:v>
                </c:pt>
                <c:pt idx="351">
                  <c:v>14.79418604651163</c:v>
                </c:pt>
                <c:pt idx="352">
                  <c:v>14.79418604651163</c:v>
                </c:pt>
                <c:pt idx="353">
                  <c:v>14.79418604651163</c:v>
                </c:pt>
                <c:pt idx="354">
                  <c:v>14.79418604651163</c:v>
                </c:pt>
                <c:pt idx="355">
                  <c:v>14.79418604651163</c:v>
                </c:pt>
                <c:pt idx="356">
                  <c:v>14.79418604651163</c:v>
                </c:pt>
                <c:pt idx="357">
                  <c:v>14.79418604651163</c:v>
                </c:pt>
                <c:pt idx="358">
                  <c:v>14.79418604651163</c:v>
                </c:pt>
                <c:pt idx="359">
                  <c:v>14.79418604651163</c:v>
                </c:pt>
                <c:pt idx="360">
                  <c:v>14.79418604651163</c:v>
                </c:pt>
                <c:pt idx="361">
                  <c:v>14.79418604651163</c:v>
                </c:pt>
                <c:pt idx="362">
                  <c:v>14.79418604651163</c:v>
                </c:pt>
                <c:pt idx="363">
                  <c:v>14.79418604651163</c:v>
                </c:pt>
                <c:pt idx="364">
                  <c:v>14.79418604651163</c:v>
                </c:pt>
                <c:pt idx="365">
                  <c:v>14.79418604651163</c:v>
                </c:pt>
                <c:pt idx="366">
                  <c:v>14.79418604651163</c:v>
                </c:pt>
                <c:pt idx="367">
                  <c:v>14.79418604651163</c:v>
                </c:pt>
                <c:pt idx="368">
                  <c:v>14.79418604651163</c:v>
                </c:pt>
                <c:pt idx="369">
                  <c:v>14.79418604651163</c:v>
                </c:pt>
                <c:pt idx="370">
                  <c:v>14.79418604651163</c:v>
                </c:pt>
                <c:pt idx="371">
                  <c:v>14.79418604651163</c:v>
                </c:pt>
                <c:pt idx="372">
                  <c:v>14.79418604651163</c:v>
                </c:pt>
                <c:pt idx="373">
                  <c:v>14.79418604651163</c:v>
                </c:pt>
                <c:pt idx="374">
                  <c:v>14.79418604651163</c:v>
                </c:pt>
                <c:pt idx="375">
                  <c:v>14.79418604651163</c:v>
                </c:pt>
                <c:pt idx="376">
                  <c:v>14.79418604651163</c:v>
                </c:pt>
                <c:pt idx="377">
                  <c:v>14.79418604651163</c:v>
                </c:pt>
                <c:pt idx="378">
                  <c:v>14.79418604651163</c:v>
                </c:pt>
                <c:pt idx="379">
                  <c:v>14.79418604651163</c:v>
                </c:pt>
                <c:pt idx="380">
                  <c:v>14.79418604651163</c:v>
                </c:pt>
                <c:pt idx="381">
                  <c:v>14.79418604651163</c:v>
                </c:pt>
                <c:pt idx="382">
                  <c:v>14.79418604651163</c:v>
                </c:pt>
                <c:pt idx="383">
                  <c:v>14.79418604651163</c:v>
                </c:pt>
                <c:pt idx="384">
                  <c:v>14.79418604651163</c:v>
                </c:pt>
                <c:pt idx="385">
                  <c:v>14.79418604651163</c:v>
                </c:pt>
                <c:pt idx="386">
                  <c:v>14.79418604651163</c:v>
                </c:pt>
                <c:pt idx="387">
                  <c:v>14.79418604651163</c:v>
                </c:pt>
                <c:pt idx="388">
                  <c:v>14.79418604651163</c:v>
                </c:pt>
                <c:pt idx="389">
                  <c:v>14.79418604651163</c:v>
                </c:pt>
                <c:pt idx="390">
                  <c:v>14.79418604651163</c:v>
                </c:pt>
                <c:pt idx="391">
                  <c:v>14.79418604651163</c:v>
                </c:pt>
                <c:pt idx="392">
                  <c:v>14.79418604651163</c:v>
                </c:pt>
                <c:pt idx="393">
                  <c:v>14.79418604651163</c:v>
                </c:pt>
                <c:pt idx="394">
                  <c:v>14.79418604651163</c:v>
                </c:pt>
                <c:pt idx="395">
                  <c:v>14.79418604651163</c:v>
                </c:pt>
                <c:pt idx="396">
                  <c:v>14.79418604651163</c:v>
                </c:pt>
                <c:pt idx="397">
                  <c:v>14.79418604651163</c:v>
                </c:pt>
                <c:pt idx="398">
                  <c:v>14.79418604651163</c:v>
                </c:pt>
                <c:pt idx="399">
                  <c:v>14.79418604651163</c:v>
                </c:pt>
                <c:pt idx="400">
                  <c:v>14.79418604651163</c:v>
                </c:pt>
                <c:pt idx="401">
                  <c:v>14.79418604651163</c:v>
                </c:pt>
                <c:pt idx="402">
                  <c:v>14.79418604651163</c:v>
                </c:pt>
                <c:pt idx="403">
                  <c:v>14.79418604651163</c:v>
                </c:pt>
                <c:pt idx="404">
                  <c:v>14.79418604651163</c:v>
                </c:pt>
                <c:pt idx="405">
                  <c:v>14.79418604651163</c:v>
                </c:pt>
                <c:pt idx="406">
                  <c:v>14.79418604651163</c:v>
                </c:pt>
                <c:pt idx="407">
                  <c:v>14.79418604651163</c:v>
                </c:pt>
                <c:pt idx="408">
                  <c:v>14.79418604651163</c:v>
                </c:pt>
                <c:pt idx="409">
                  <c:v>14.79418604651163</c:v>
                </c:pt>
                <c:pt idx="410">
                  <c:v>14.79418604651163</c:v>
                </c:pt>
                <c:pt idx="411">
                  <c:v>14.79418604651163</c:v>
                </c:pt>
                <c:pt idx="412">
                  <c:v>14.79418604651163</c:v>
                </c:pt>
                <c:pt idx="413">
                  <c:v>14.79418604651163</c:v>
                </c:pt>
                <c:pt idx="414">
                  <c:v>14.79418604651163</c:v>
                </c:pt>
                <c:pt idx="415">
                  <c:v>14.79418604651163</c:v>
                </c:pt>
                <c:pt idx="416">
                  <c:v>14.79418604651163</c:v>
                </c:pt>
                <c:pt idx="417">
                  <c:v>14.79418604651163</c:v>
                </c:pt>
                <c:pt idx="418">
                  <c:v>14.79418604651163</c:v>
                </c:pt>
                <c:pt idx="419">
                  <c:v>14.79418604651163</c:v>
                </c:pt>
                <c:pt idx="420">
                  <c:v>14.79418604651163</c:v>
                </c:pt>
                <c:pt idx="421">
                  <c:v>14.79418604651163</c:v>
                </c:pt>
                <c:pt idx="422">
                  <c:v>14.79418604651163</c:v>
                </c:pt>
                <c:pt idx="423">
                  <c:v>14.79418604651163</c:v>
                </c:pt>
                <c:pt idx="424">
                  <c:v>14.79418604651163</c:v>
                </c:pt>
                <c:pt idx="425">
                  <c:v>14.79418604651163</c:v>
                </c:pt>
                <c:pt idx="426">
                  <c:v>14.79418604651163</c:v>
                </c:pt>
                <c:pt idx="427">
                  <c:v>14.79418604651163</c:v>
                </c:pt>
                <c:pt idx="428">
                  <c:v>14.79418604651163</c:v>
                </c:pt>
                <c:pt idx="429">
                  <c:v>14.79418604651163</c:v>
                </c:pt>
                <c:pt idx="430">
                  <c:v>14.79418604651163</c:v>
                </c:pt>
                <c:pt idx="431">
                  <c:v>14.79418604651163</c:v>
                </c:pt>
                <c:pt idx="432">
                  <c:v>14.79418604651163</c:v>
                </c:pt>
                <c:pt idx="433">
                  <c:v>14.79418604651163</c:v>
                </c:pt>
                <c:pt idx="434">
                  <c:v>14.79418604651163</c:v>
                </c:pt>
                <c:pt idx="435">
                  <c:v>14.79418604651163</c:v>
                </c:pt>
                <c:pt idx="436">
                  <c:v>14.79418604651163</c:v>
                </c:pt>
                <c:pt idx="437">
                  <c:v>14.79418604651163</c:v>
                </c:pt>
                <c:pt idx="438">
                  <c:v>14.79418604651163</c:v>
                </c:pt>
                <c:pt idx="439">
                  <c:v>14.79418604651163</c:v>
                </c:pt>
                <c:pt idx="440">
                  <c:v>14.79418604651163</c:v>
                </c:pt>
                <c:pt idx="441">
                  <c:v>14.79418604651163</c:v>
                </c:pt>
                <c:pt idx="442">
                  <c:v>14.79418604651163</c:v>
                </c:pt>
                <c:pt idx="443">
                  <c:v>14.79418604651163</c:v>
                </c:pt>
                <c:pt idx="444">
                  <c:v>14.79418604651163</c:v>
                </c:pt>
                <c:pt idx="445">
                  <c:v>14.79418604651163</c:v>
                </c:pt>
                <c:pt idx="446">
                  <c:v>14.79418604651163</c:v>
                </c:pt>
                <c:pt idx="447">
                  <c:v>14.79418604651163</c:v>
                </c:pt>
                <c:pt idx="448">
                  <c:v>14.79418604651163</c:v>
                </c:pt>
                <c:pt idx="449">
                  <c:v>14.79418604651163</c:v>
                </c:pt>
                <c:pt idx="450">
                  <c:v>14.79418604651163</c:v>
                </c:pt>
                <c:pt idx="451">
                  <c:v>14.79418604651163</c:v>
                </c:pt>
                <c:pt idx="452">
                  <c:v>14.79418604651163</c:v>
                </c:pt>
                <c:pt idx="453">
                  <c:v>14.79418604651163</c:v>
                </c:pt>
                <c:pt idx="454">
                  <c:v>14.79418604651163</c:v>
                </c:pt>
                <c:pt idx="455">
                  <c:v>14.79418604651163</c:v>
                </c:pt>
                <c:pt idx="456">
                  <c:v>14.79418604651163</c:v>
                </c:pt>
                <c:pt idx="457">
                  <c:v>14.79418604651163</c:v>
                </c:pt>
                <c:pt idx="458">
                  <c:v>14.79418604651163</c:v>
                </c:pt>
                <c:pt idx="459">
                  <c:v>14.79418604651163</c:v>
                </c:pt>
                <c:pt idx="460">
                  <c:v>14.79418604651163</c:v>
                </c:pt>
                <c:pt idx="461">
                  <c:v>14.79418604651163</c:v>
                </c:pt>
                <c:pt idx="462">
                  <c:v>14.79418604651163</c:v>
                </c:pt>
                <c:pt idx="463">
                  <c:v>14.79418604651163</c:v>
                </c:pt>
                <c:pt idx="464">
                  <c:v>14.79418604651163</c:v>
                </c:pt>
                <c:pt idx="465">
                  <c:v>14.79418604651163</c:v>
                </c:pt>
                <c:pt idx="466">
                  <c:v>14.79418604651163</c:v>
                </c:pt>
                <c:pt idx="467">
                  <c:v>14.79418604651163</c:v>
                </c:pt>
                <c:pt idx="468">
                  <c:v>14.79418604651163</c:v>
                </c:pt>
                <c:pt idx="469">
                  <c:v>14.79418604651163</c:v>
                </c:pt>
                <c:pt idx="470">
                  <c:v>14.79418604651163</c:v>
                </c:pt>
                <c:pt idx="471">
                  <c:v>14.79418604651163</c:v>
                </c:pt>
                <c:pt idx="472">
                  <c:v>14.79418604651163</c:v>
                </c:pt>
                <c:pt idx="473">
                  <c:v>14.79418604651163</c:v>
                </c:pt>
                <c:pt idx="474">
                  <c:v>14.79418604651163</c:v>
                </c:pt>
                <c:pt idx="475">
                  <c:v>14.79418604651163</c:v>
                </c:pt>
                <c:pt idx="476">
                  <c:v>14.79418604651163</c:v>
                </c:pt>
                <c:pt idx="477">
                  <c:v>14.79418604651163</c:v>
                </c:pt>
                <c:pt idx="478">
                  <c:v>14.79418604651163</c:v>
                </c:pt>
                <c:pt idx="479">
                  <c:v>14.79418604651163</c:v>
                </c:pt>
                <c:pt idx="480">
                  <c:v>14.79418604651163</c:v>
                </c:pt>
                <c:pt idx="481">
                  <c:v>14.79418604651163</c:v>
                </c:pt>
                <c:pt idx="482">
                  <c:v>14.79418604651163</c:v>
                </c:pt>
                <c:pt idx="483">
                  <c:v>14.79418604651163</c:v>
                </c:pt>
                <c:pt idx="484">
                  <c:v>14.79418604651163</c:v>
                </c:pt>
                <c:pt idx="485">
                  <c:v>14.79418604651163</c:v>
                </c:pt>
                <c:pt idx="486">
                  <c:v>14.79418604651163</c:v>
                </c:pt>
                <c:pt idx="487">
                  <c:v>14.79418604651163</c:v>
                </c:pt>
                <c:pt idx="488">
                  <c:v>14.79418604651163</c:v>
                </c:pt>
                <c:pt idx="489">
                  <c:v>14.79418604651163</c:v>
                </c:pt>
                <c:pt idx="490">
                  <c:v>14.79418604651163</c:v>
                </c:pt>
                <c:pt idx="491">
                  <c:v>14.79418604651163</c:v>
                </c:pt>
                <c:pt idx="492">
                  <c:v>14.79418604651163</c:v>
                </c:pt>
                <c:pt idx="493">
                  <c:v>14.79418604651163</c:v>
                </c:pt>
                <c:pt idx="494">
                  <c:v>14.79418604651163</c:v>
                </c:pt>
                <c:pt idx="495">
                  <c:v>14.79418604651163</c:v>
                </c:pt>
                <c:pt idx="496">
                  <c:v>14.79418604651163</c:v>
                </c:pt>
                <c:pt idx="497">
                  <c:v>14.79418604651163</c:v>
                </c:pt>
                <c:pt idx="498">
                  <c:v>14.79418604651163</c:v>
                </c:pt>
                <c:pt idx="499">
                  <c:v>14.79418604651163</c:v>
                </c:pt>
                <c:pt idx="500">
                  <c:v>14.79418604651163</c:v>
                </c:pt>
                <c:pt idx="501">
                  <c:v>14.79418604651163</c:v>
                </c:pt>
                <c:pt idx="502">
                  <c:v>14.79418604651163</c:v>
                </c:pt>
                <c:pt idx="503">
                  <c:v>14.79418604651163</c:v>
                </c:pt>
                <c:pt idx="504">
                  <c:v>14.79418604651163</c:v>
                </c:pt>
                <c:pt idx="505">
                  <c:v>14.79418604651163</c:v>
                </c:pt>
                <c:pt idx="506">
                  <c:v>14.79418604651163</c:v>
                </c:pt>
                <c:pt idx="507">
                  <c:v>14.79418604651163</c:v>
                </c:pt>
                <c:pt idx="508">
                  <c:v>14.79418604651163</c:v>
                </c:pt>
                <c:pt idx="509">
                  <c:v>14.79418604651163</c:v>
                </c:pt>
                <c:pt idx="510">
                  <c:v>14.79418604651163</c:v>
                </c:pt>
                <c:pt idx="511">
                  <c:v>14.79418604651163</c:v>
                </c:pt>
                <c:pt idx="512">
                  <c:v>14.79418604651163</c:v>
                </c:pt>
                <c:pt idx="513">
                  <c:v>14.79418604651163</c:v>
                </c:pt>
                <c:pt idx="514">
                  <c:v>14.79418604651163</c:v>
                </c:pt>
                <c:pt idx="515">
                  <c:v>14.79418604651163</c:v>
                </c:pt>
                <c:pt idx="516">
                  <c:v>14.79418604651163</c:v>
                </c:pt>
                <c:pt idx="517">
                  <c:v>14.79418604651163</c:v>
                </c:pt>
                <c:pt idx="518">
                  <c:v>14.79418604651163</c:v>
                </c:pt>
                <c:pt idx="519">
                  <c:v>14.79418604651163</c:v>
                </c:pt>
                <c:pt idx="520">
                  <c:v>14.79418604651163</c:v>
                </c:pt>
                <c:pt idx="521">
                  <c:v>14.79418604651163</c:v>
                </c:pt>
                <c:pt idx="522">
                  <c:v>14.79418604651163</c:v>
                </c:pt>
                <c:pt idx="523">
                  <c:v>14.79418604651163</c:v>
                </c:pt>
                <c:pt idx="524">
                  <c:v>14.79418604651163</c:v>
                </c:pt>
                <c:pt idx="525">
                  <c:v>14.79418604651163</c:v>
                </c:pt>
                <c:pt idx="526">
                  <c:v>14.79418604651163</c:v>
                </c:pt>
                <c:pt idx="527">
                  <c:v>14.79418604651163</c:v>
                </c:pt>
                <c:pt idx="528">
                  <c:v>14.79418604651163</c:v>
                </c:pt>
                <c:pt idx="529">
                  <c:v>14.79418604651163</c:v>
                </c:pt>
                <c:pt idx="530">
                  <c:v>14.79418604651163</c:v>
                </c:pt>
                <c:pt idx="531">
                  <c:v>14.79418604651163</c:v>
                </c:pt>
                <c:pt idx="532">
                  <c:v>14.79418604651163</c:v>
                </c:pt>
                <c:pt idx="533">
                  <c:v>14.79418604651163</c:v>
                </c:pt>
                <c:pt idx="534">
                  <c:v>14.79418604651163</c:v>
                </c:pt>
                <c:pt idx="535">
                  <c:v>14.79418604651163</c:v>
                </c:pt>
                <c:pt idx="536">
                  <c:v>14.79418604651163</c:v>
                </c:pt>
                <c:pt idx="537">
                  <c:v>14.79418604651163</c:v>
                </c:pt>
                <c:pt idx="538">
                  <c:v>14.79418604651163</c:v>
                </c:pt>
                <c:pt idx="539">
                  <c:v>14.79418604651163</c:v>
                </c:pt>
                <c:pt idx="540">
                  <c:v>14.79418604651163</c:v>
                </c:pt>
                <c:pt idx="541">
                  <c:v>14.79418604651163</c:v>
                </c:pt>
                <c:pt idx="542">
                  <c:v>14.79418604651163</c:v>
                </c:pt>
                <c:pt idx="543">
                  <c:v>14.79418604651163</c:v>
                </c:pt>
                <c:pt idx="544">
                  <c:v>14.79418604651163</c:v>
                </c:pt>
                <c:pt idx="545">
                  <c:v>14.79418604651163</c:v>
                </c:pt>
                <c:pt idx="546">
                  <c:v>14.79418604651163</c:v>
                </c:pt>
                <c:pt idx="547">
                  <c:v>14.79418604651163</c:v>
                </c:pt>
                <c:pt idx="548">
                  <c:v>14.79418604651163</c:v>
                </c:pt>
                <c:pt idx="549">
                  <c:v>14.79418604651163</c:v>
                </c:pt>
                <c:pt idx="550">
                  <c:v>14.79418604651163</c:v>
                </c:pt>
                <c:pt idx="551">
                  <c:v>14.79418604651163</c:v>
                </c:pt>
                <c:pt idx="552">
                  <c:v>14.79418604651163</c:v>
                </c:pt>
                <c:pt idx="553">
                  <c:v>14.79418604651163</c:v>
                </c:pt>
                <c:pt idx="554">
                  <c:v>14.79418604651163</c:v>
                </c:pt>
                <c:pt idx="555">
                  <c:v>14.79418604651163</c:v>
                </c:pt>
                <c:pt idx="556">
                  <c:v>14.79418604651163</c:v>
                </c:pt>
                <c:pt idx="557">
                  <c:v>14.79418604651163</c:v>
                </c:pt>
                <c:pt idx="558">
                  <c:v>14.79418604651163</c:v>
                </c:pt>
                <c:pt idx="559">
                  <c:v>14.79418604651163</c:v>
                </c:pt>
                <c:pt idx="560">
                  <c:v>14.79418604651163</c:v>
                </c:pt>
                <c:pt idx="561">
                  <c:v>14.79418604651163</c:v>
                </c:pt>
                <c:pt idx="562">
                  <c:v>14.79418604651163</c:v>
                </c:pt>
                <c:pt idx="563">
                  <c:v>14.79418604651163</c:v>
                </c:pt>
                <c:pt idx="564">
                  <c:v>14.79418604651163</c:v>
                </c:pt>
                <c:pt idx="565">
                  <c:v>14.79418604651163</c:v>
                </c:pt>
                <c:pt idx="566">
                  <c:v>14.79418604651163</c:v>
                </c:pt>
                <c:pt idx="567">
                  <c:v>14.79418604651163</c:v>
                </c:pt>
                <c:pt idx="568">
                  <c:v>14.79418604651163</c:v>
                </c:pt>
                <c:pt idx="569">
                  <c:v>14.79418604651163</c:v>
                </c:pt>
                <c:pt idx="570">
                  <c:v>14.79418604651163</c:v>
                </c:pt>
                <c:pt idx="571">
                  <c:v>14.79418604651163</c:v>
                </c:pt>
                <c:pt idx="572">
                  <c:v>14.79418604651163</c:v>
                </c:pt>
                <c:pt idx="573">
                  <c:v>14.79418604651163</c:v>
                </c:pt>
                <c:pt idx="574">
                  <c:v>14.79418604651163</c:v>
                </c:pt>
                <c:pt idx="575">
                  <c:v>14.79418604651163</c:v>
                </c:pt>
                <c:pt idx="576">
                  <c:v>14.79418604651163</c:v>
                </c:pt>
                <c:pt idx="577">
                  <c:v>14.79418604651163</c:v>
                </c:pt>
                <c:pt idx="578">
                  <c:v>14.79418604651163</c:v>
                </c:pt>
                <c:pt idx="579">
                  <c:v>14.79418604651163</c:v>
                </c:pt>
                <c:pt idx="580">
                  <c:v>14.79418604651163</c:v>
                </c:pt>
                <c:pt idx="581">
                  <c:v>14.79418604651163</c:v>
                </c:pt>
                <c:pt idx="582">
                  <c:v>14.79418604651163</c:v>
                </c:pt>
                <c:pt idx="583">
                  <c:v>14.79418604651163</c:v>
                </c:pt>
                <c:pt idx="584">
                  <c:v>14.79418604651163</c:v>
                </c:pt>
                <c:pt idx="585">
                  <c:v>14.79418604651163</c:v>
                </c:pt>
                <c:pt idx="586">
                  <c:v>14.79418604651163</c:v>
                </c:pt>
                <c:pt idx="587">
                  <c:v>14.79418604651163</c:v>
                </c:pt>
                <c:pt idx="588">
                  <c:v>14.79418604651163</c:v>
                </c:pt>
                <c:pt idx="589">
                  <c:v>14.79418604651163</c:v>
                </c:pt>
                <c:pt idx="590">
                  <c:v>14.79418604651163</c:v>
                </c:pt>
                <c:pt idx="591">
                  <c:v>14.79418604651163</c:v>
                </c:pt>
                <c:pt idx="592">
                  <c:v>14.79418604651163</c:v>
                </c:pt>
                <c:pt idx="593">
                  <c:v>14.79418604651163</c:v>
                </c:pt>
                <c:pt idx="594">
                  <c:v>14.79418604651163</c:v>
                </c:pt>
                <c:pt idx="595">
                  <c:v>14.79418604651163</c:v>
                </c:pt>
                <c:pt idx="596">
                  <c:v>14.79418604651163</c:v>
                </c:pt>
                <c:pt idx="597">
                  <c:v>14.79418604651163</c:v>
                </c:pt>
                <c:pt idx="598">
                  <c:v>14.79418604651163</c:v>
                </c:pt>
                <c:pt idx="599">
                  <c:v>14.79418604651163</c:v>
                </c:pt>
                <c:pt idx="600">
                  <c:v>14.79418604651163</c:v>
                </c:pt>
                <c:pt idx="601">
                  <c:v>14.79418604651163</c:v>
                </c:pt>
                <c:pt idx="602">
                  <c:v>14.79418604651163</c:v>
                </c:pt>
                <c:pt idx="603">
                  <c:v>14.79418604651163</c:v>
                </c:pt>
                <c:pt idx="604">
                  <c:v>14.79418604651163</c:v>
                </c:pt>
                <c:pt idx="605">
                  <c:v>14.79418604651163</c:v>
                </c:pt>
                <c:pt idx="606">
                  <c:v>14.79418604651163</c:v>
                </c:pt>
                <c:pt idx="607">
                  <c:v>14.79418604651163</c:v>
                </c:pt>
                <c:pt idx="608">
                  <c:v>14.79418604651163</c:v>
                </c:pt>
                <c:pt idx="609">
                  <c:v>14.79418604651163</c:v>
                </c:pt>
                <c:pt idx="610">
                  <c:v>14.79418604651163</c:v>
                </c:pt>
                <c:pt idx="611">
                  <c:v>14.79418604651163</c:v>
                </c:pt>
                <c:pt idx="612">
                  <c:v>14.79418604651163</c:v>
                </c:pt>
                <c:pt idx="613">
                  <c:v>14.79418604651163</c:v>
                </c:pt>
                <c:pt idx="614">
                  <c:v>14.79418604651163</c:v>
                </c:pt>
                <c:pt idx="615">
                  <c:v>14.79418604651163</c:v>
                </c:pt>
                <c:pt idx="616">
                  <c:v>14.79418604651163</c:v>
                </c:pt>
                <c:pt idx="617">
                  <c:v>14.79418604651163</c:v>
                </c:pt>
                <c:pt idx="618">
                  <c:v>14.79418604651163</c:v>
                </c:pt>
                <c:pt idx="619">
                  <c:v>14.79418604651163</c:v>
                </c:pt>
                <c:pt idx="620">
                  <c:v>14.79418604651163</c:v>
                </c:pt>
                <c:pt idx="621">
                  <c:v>14.79418604651163</c:v>
                </c:pt>
                <c:pt idx="622">
                  <c:v>14.79418604651163</c:v>
                </c:pt>
                <c:pt idx="623">
                  <c:v>14.79418604651163</c:v>
                </c:pt>
                <c:pt idx="624">
                  <c:v>14.79418604651163</c:v>
                </c:pt>
                <c:pt idx="625">
                  <c:v>14.79418604651163</c:v>
                </c:pt>
                <c:pt idx="626">
                  <c:v>14.79418604651163</c:v>
                </c:pt>
                <c:pt idx="627">
                  <c:v>14.79418604651163</c:v>
                </c:pt>
                <c:pt idx="628">
                  <c:v>14.79418604651163</c:v>
                </c:pt>
                <c:pt idx="629">
                  <c:v>14.79418604651163</c:v>
                </c:pt>
                <c:pt idx="630">
                  <c:v>14.79418604651163</c:v>
                </c:pt>
                <c:pt idx="631">
                  <c:v>14.79418604651163</c:v>
                </c:pt>
                <c:pt idx="632">
                  <c:v>14.79418604651163</c:v>
                </c:pt>
                <c:pt idx="633">
                  <c:v>14.79418604651163</c:v>
                </c:pt>
                <c:pt idx="634">
                  <c:v>14.79418604651163</c:v>
                </c:pt>
                <c:pt idx="635">
                  <c:v>14.79418604651163</c:v>
                </c:pt>
                <c:pt idx="636">
                  <c:v>14.79418604651163</c:v>
                </c:pt>
                <c:pt idx="637">
                  <c:v>14.79418604651163</c:v>
                </c:pt>
                <c:pt idx="638">
                  <c:v>14.79418604651163</c:v>
                </c:pt>
                <c:pt idx="639">
                  <c:v>14.79418604651163</c:v>
                </c:pt>
                <c:pt idx="640">
                  <c:v>14.79418604651163</c:v>
                </c:pt>
                <c:pt idx="641">
                  <c:v>14.79418604651163</c:v>
                </c:pt>
                <c:pt idx="642">
                  <c:v>14.79418604651163</c:v>
                </c:pt>
                <c:pt idx="643">
                  <c:v>14.79418604651163</c:v>
                </c:pt>
                <c:pt idx="644">
                  <c:v>14.79418604651163</c:v>
                </c:pt>
                <c:pt idx="645">
                  <c:v>14.79418604651163</c:v>
                </c:pt>
                <c:pt idx="646">
                  <c:v>14.79418604651163</c:v>
                </c:pt>
                <c:pt idx="647">
                  <c:v>14.79418604651163</c:v>
                </c:pt>
                <c:pt idx="648">
                  <c:v>14.79418604651163</c:v>
                </c:pt>
                <c:pt idx="649">
                  <c:v>14.79418604651163</c:v>
                </c:pt>
                <c:pt idx="650">
                  <c:v>14.79418604651163</c:v>
                </c:pt>
                <c:pt idx="651">
                  <c:v>14.79418604651163</c:v>
                </c:pt>
                <c:pt idx="652">
                  <c:v>14.79418604651163</c:v>
                </c:pt>
                <c:pt idx="653">
                  <c:v>14.79418604651163</c:v>
                </c:pt>
                <c:pt idx="654">
                  <c:v>14.79418604651163</c:v>
                </c:pt>
                <c:pt idx="655">
                  <c:v>14.79418604651163</c:v>
                </c:pt>
                <c:pt idx="656">
                  <c:v>14.79418604651163</c:v>
                </c:pt>
                <c:pt idx="657">
                  <c:v>14.79418604651163</c:v>
                </c:pt>
                <c:pt idx="658">
                  <c:v>14.79418604651163</c:v>
                </c:pt>
                <c:pt idx="659">
                  <c:v>14.79418604651163</c:v>
                </c:pt>
                <c:pt idx="660">
                  <c:v>14.79418604651163</c:v>
                </c:pt>
                <c:pt idx="661">
                  <c:v>14.79418604651163</c:v>
                </c:pt>
                <c:pt idx="662">
                  <c:v>14.79418604651163</c:v>
                </c:pt>
                <c:pt idx="663">
                  <c:v>14.79418604651163</c:v>
                </c:pt>
                <c:pt idx="664">
                  <c:v>14.79418604651163</c:v>
                </c:pt>
                <c:pt idx="665">
                  <c:v>14.79418604651163</c:v>
                </c:pt>
                <c:pt idx="666">
                  <c:v>14.79418604651163</c:v>
                </c:pt>
                <c:pt idx="667">
                  <c:v>14.79418604651163</c:v>
                </c:pt>
                <c:pt idx="668">
                  <c:v>14.79418604651163</c:v>
                </c:pt>
                <c:pt idx="669">
                  <c:v>14.79418604651163</c:v>
                </c:pt>
                <c:pt idx="670">
                  <c:v>14.79418604651163</c:v>
                </c:pt>
                <c:pt idx="671">
                  <c:v>14.79418604651163</c:v>
                </c:pt>
                <c:pt idx="672">
                  <c:v>14.79418604651163</c:v>
                </c:pt>
                <c:pt idx="673">
                  <c:v>14.79418604651163</c:v>
                </c:pt>
                <c:pt idx="674">
                  <c:v>14.79418604651163</c:v>
                </c:pt>
                <c:pt idx="675">
                  <c:v>14.79418604651163</c:v>
                </c:pt>
                <c:pt idx="676">
                  <c:v>14.79418604651163</c:v>
                </c:pt>
                <c:pt idx="677">
                  <c:v>14.79418604651163</c:v>
                </c:pt>
                <c:pt idx="678">
                  <c:v>14.79418604651163</c:v>
                </c:pt>
                <c:pt idx="679">
                  <c:v>14.79418604651163</c:v>
                </c:pt>
                <c:pt idx="680">
                  <c:v>14.79418604651163</c:v>
                </c:pt>
                <c:pt idx="681">
                  <c:v>14.79418604651163</c:v>
                </c:pt>
                <c:pt idx="682">
                  <c:v>14.79418604651163</c:v>
                </c:pt>
                <c:pt idx="683">
                  <c:v>14.79418604651163</c:v>
                </c:pt>
                <c:pt idx="684">
                  <c:v>14.79418604651163</c:v>
                </c:pt>
                <c:pt idx="685">
                  <c:v>14.79418604651163</c:v>
                </c:pt>
                <c:pt idx="686">
                  <c:v>14.79418604651163</c:v>
                </c:pt>
                <c:pt idx="687">
                  <c:v>14.79418604651163</c:v>
                </c:pt>
                <c:pt idx="688">
                  <c:v>14.79418604651163</c:v>
                </c:pt>
                <c:pt idx="689">
                  <c:v>14.79418604651163</c:v>
                </c:pt>
                <c:pt idx="690">
                  <c:v>14.79418604651163</c:v>
                </c:pt>
                <c:pt idx="691">
                  <c:v>14.79418604651163</c:v>
                </c:pt>
                <c:pt idx="692">
                  <c:v>14.79418604651163</c:v>
                </c:pt>
                <c:pt idx="693">
                  <c:v>14.79418604651163</c:v>
                </c:pt>
                <c:pt idx="694">
                  <c:v>14.79418604651163</c:v>
                </c:pt>
                <c:pt idx="695">
                  <c:v>14.79418604651163</c:v>
                </c:pt>
                <c:pt idx="696">
                  <c:v>14.79418604651163</c:v>
                </c:pt>
                <c:pt idx="697">
                  <c:v>14.79418604651163</c:v>
                </c:pt>
                <c:pt idx="698">
                  <c:v>14.79418604651163</c:v>
                </c:pt>
                <c:pt idx="699">
                  <c:v>14.79418604651163</c:v>
                </c:pt>
                <c:pt idx="700">
                  <c:v>14.79418604651163</c:v>
                </c:pt>
                <c:pt idx="701">
                  <c:v>14.79418604651163</c:v>
                </c:pt>
                <c:pt idx="702">
                  <c:v>14.79418604651163</c:v>
                </c:pt>
                <c:pt idx="703">
                  <c:v>14.79418604651163</c:v>
                </c:pt>
                <c:pt idx="704">
                  <c:v>14.79418604651163</c:v>
                </c:pt>
                <c:pt idx="705">
                  <c:v>14.79418604651163</c:v>
                </c:pt>
                <c:pt idx="706">
                  <c:v>14.79418604651163</c:v>
                </c:pt>
                <c:pt idx="707">
                  <c:v>14.79418604651163</c:v>
                </c:pt>
                <c:pt idx="708">
                  <c:v>14.79418604651163</c:v>
                </c:pt>
                <c:pt idx="709">
                  <c:v>14.79418604651163</c:v>
                </c:pt>
                <c:pt idx="710">
                  <c:v>14.79418604651163</c:v>
                </c:pt>
                <c:pt idx="711">
                  <c:v>14.79418604651163</c:v>
                </c:pt>
                <c:pt idx="712">
                  <c:v>14.79418604651163</c:v>
                </c:pt>
                <c:pt idx="713">
                  <c:v>14.79418604651163</c:v>
                </c:pt>
                <c:pt idx="714">
                  <c:v>14.79418604651163</c:v>
                </c:pt>
                <c:pt idx="715">
                  <c:v>14.79418604651163</c:v>
                </c:pt>
                <c:pt idx="716">
                  <c:v>14.79418604651163</c:v>
                </c:pt>
                <c:pt idx="717">
                  <c:v>14.79418604651163</c:v>
                </c:pt>
                <c:pt idx="718">
                  <c:v>14.79418604651163</c:v>
                </c:pt>
                <c:pt idx="719">
                  <c:v>14.79418604651163</c:v>
                </c:pt>
                <c:pt idx="720">
                  <c:v>14.79418604651163</c:v>
                </c:pt>
                <c:pt idx="721">
                  <c:v>14.79418604651163</c:v>
                </c:pt>
                <c:pt idx="722">
                  <c:v>14.79418604651163</c:v>
                </c:pt>
                <c:pt idx="723">
                  <c:v>14.79418604651163</c:v>
                </c:pt>
                <c:pt idx="724">
                  <c:v>14.79418604651163</c:v>
                </c:pt>
                <c:pt idx="725">
                  <c:v>14.79418604651163</c:v>
                </c:pt>
                <c:pt idx="726">
                  <c:v>14.79418604651163</c:v>
                </c:pt>
                <c:pt idx="727">
                  <c:v>14.79418604651163</c:v>
                </c:pt>
                <c:pt idx="728">
                  <c:v>14.79418604651163</c:v>
                </c:pt>
                <c:pt idx="729">
                  <c:v>14.79418604651163</c:v>
                </c:pt>
                <c:pt idx="730">
                  <c:v>14.79418604651163</c:v>
                </c:pt>
                <c:pt idx="731">
                  <c:v>14.79418604651163</c:v>
                </c:pt>
                <c:pt idx="732">
                  <c:v>14.79418604651163</c:v>
                </c:pt>
                <c:pt idx="733">
                  <c:v>14.79418604651163</c:v>
                </c:pt>
                <c:pt idx="734">
                  <c:v>14.79418604651163</c:v>
                </c:pt>
                <c:pt idx="735">
                  <c:v>14.79418604651163</c:v>
                </c:pt>
                <c:pt idx="736">
                  <c:v>14.79418604651163</c:v>
                </c:pt>
                <c:pt idx="737">
                  <c:v>14.79418604651163</c:v>
                </c:pt>
                <c:pt idx="738">
                  <c:v>14.79418604651163</c:v>
                </c:pt>
                <c:pt idx="739">
                  <c:v>14.79418604651163</c:v>
                </c:pt>
                <c:pt idx="740">
                  <c:v>14.79418604651163</c:v>
                </c:pt>
                <c:pt idx="741">
                  <c:v>14.79418604651163</c:v>
                </c:pt>
                <c:pt idx="742">
                  <c:v>14.79418604651163</c:v>
                </c:pt>
                <c:pt idx="743">
                  <c:v>14.79418604651163</c:v>
                </c:pt>
                <c:pt idx="744">
                  <c:v>14.79418604651163</c:v>
                </c:pt>
                <c:pt idx="745">
                  <c:v>14.79418604651163</c:v>
                </c:pt>
                <c:pt idx="746">
                  <c:v>14.79418604651163</c:v>
                </c:pt>
                <c:pt idx="747">
                  <c:v>14.79418604651163</c:v>
                </c:pt>
                <c:pt idx="748">
                  <c:v>14.79418604651163</c:v>
                </c:pt>
                <c:pt idx="749">
                  <c:v>14.79418604651163</c:v>
                </c:pt>
                <c:pt idx="750">
                  <c:v>14.79418604651163</c:v>
                </c:pt>
                <c:pt idx="751">
                  <c:v>14.79418604651163</c:v>
                </c:pt>
                <c:pt idx="752">
                  <c:v>14.79418604651163</c:v>
                </c:pt>
                <c:pt idx="753">
                  <c:v>14.79418604651163</c:v>
                </c:pt>
                <c:pt idx="754">
                  <c:v>14.79418604651163</c:v>
                </c:pt>
                <c:pt idx="755">
                  <c:v>14.79418604651163</c:v>
                </c:pt>
                <c:pt idx="756">
                  <c:v>14.79418604651163</c:v>
                </c:pt>
                <c:pt idx="757">
                  <c:v>14.79418604651163</c:v>
                </c:pt>
                <c:pt idx="758">
                  <c:v>14.79418604651163</c:v>
                </c:pt>
                <c:pt idx="759">
                  <c:v>14.79418604651163</c:v>
                </c:pt>
                <c:pt idx="760">
                  <c:v>14.79418604651163</c:v>
                </c:pt>
                <c:pt idx="761">
                  <c:v>14.79418604651163</c:v>
                </c:pt>
                <c:pt idx="762">
                  <c:v>14.79418604651163</c:v>
                </c:pt>
                <c:pt idx="763">
                  <c:v>14.79418604651163</c:v>
                </c:pt>
                <c:pt idx="764">
                  <c:v>14.79418604651163</c:v>
                </c:pt>
                <c:pt idx="765">
                  <c:v>14.79418604651163</c:v>
                </c:pt>
                <c:pt idx="766">
                  <c:v>14.79418604651163</c:v>
                </c:pt>
                <c:pt idx="767">
                  <c:v>14.79418604651163</c:v>
                </c:pt>
                <c:pt idx="768">
                  <c:v>14.79418604651163</c:v>
                </c:pt>
                <c:pt idx="769">
                  <c:v>14.79418604651163</c:v>
                </c:pt>
                <c:pt idx="770">
                  <c:v>14.79418604651163</c:v>
                </c:pt>
                <c:pt idx="771">
                  <c:v>14.79418604651163</c:v>
                </c:pt>
                <c:pt idx="772">
                  <c:v>14.79418604651163</c:v>
                </c:pt>
                <c:pt idx="773">
                  <c:v>14.79418604651163</c:v>
                </c:pt>
                <c:pt idx="774">
                  <c:v>14.79418604651163</c:v>
                </c:pt>
                <c:pt idx="775">
                  <c:v>14.79418604651163</c:v>
                </c:pt>
                <c:pt idx="776">
                  <c:v>14.79418604651163</c:v>
                </c:pt>
                <c:pt idx="777">
                  <c:v>14.79418604651163</c:v>
                </c:pt>
                <c:pt idx="778">
                  <c:v>14.79418604651163</c:v>
                </c:pt>
                <c:pt idx="779">
                  <c:v>14.79418604651163</c:v>
                </c:pt>
                <c:pt idx="780">
                  <c:v>14.79418604651163</c:v>
                </c:pt>
                <c:pt idx="781">
                  <c:v>14.79418604651163</c:v>
                </c:pt>
                <c:pt idx="782">
                  <c:v>14.79418604651163</c:v>
                </c:pt>
                <c:pt idx="783">
                  <c:v>14.79418604651163</c:v>
                </c:pt>
                <c:pt idx="784">
                  <c:v>14.79418604651163</c:v>
                </c:pt>
                <c:pt idx="785">
                  <c:v>14.79418604651163</c:v>
                </c:pt>
                <c:pt idx="786">
                  <c:v>14.79418604651163</c:v>
                </c:pt>
                <c:pt idx="787">
                  <c:v>14.79418604651163</c:v>
                </c:pt>
                <c:pt idx="788">
                  <c:v>14.79418604651163</c:v>
                </c:pt>
                <c:pt idx="789">
                  <c:v>14.79418604651163</c:v>
                </c:pt>
                <c:pt idx="790">
                  <c:v>14.79418604651163</c:v>
                </c:pt>
                <c:pt idx="791">
                  <c:v>14.79418604651163</c:v>
                </c:pt>
                <c:pt idx="792">
                  <c:v>14.79418604651163</c:v>
                </c:pt>
                <c:pt idx="793">
                  <c:v>14.79418604651163</c:v>
                </c:pt>
                <c:pt idx="794">
                  <c:v>14.79418604651163</c:v>
                </c:pt>
                <c:pt idx="795">
                  <c:v>14.79418604651163</c:v>
                </c:pt>
                <c:pt idx="796">
                  <c:v>14.79418604651163</c:v>
                </c:pt>
                <c:pt idx="797">
                  <c:v>14.79418604651163</c:v>
                </c:pt>
                <c:pt idx="798">
                  <c:v>14.79418604651163</c:v>
                </c:pt>
                <c:pt idx="799">
                  <c:v>14.79418604651163</c:v>
                </c:pt>
                <c:pt idx="800">
                  <c:v>14.79418604651163</c:v>
                </c:pt>
                <c:pt idx="801">
                  <c:v>14.79418604651163</c:v>
                </c:pt>
                <c:pt idx="802">
                  <c:v>14.79418604651163</c:v>
                </c:pt>
                <c:pt idx="803">
                  <c:v>14.79418604651163</c:v>
                </c:pt>
                <c:pt idx="804">
                  <c:v>14.79418604651163</c:v>
                </c:pt>
                <c:pt idx="805">
                  <c:v>14.79418604651163</c:v>
                </c:pt>
                <c:pt idx="806">
                  <c:v>14.79418604651163</c:v>
                </c:pt>
                <c:pt idx="807">
                  <c:v>14.79418604651163</c:v>
                </c:pt>
                <c:pt idx="808">
                  <c:v>14.79418604651163</c:v>
                </c:pt>
                <c:pt idx="809">
                  <c:v>14.79418604651163</c:v>
                </c:pt>
                <c:pt idx="810">
                  <c:v>14.79418604651163</c:v>
                </c:pt>
                <c:pt idx="811">
                  <c:v>14.79418604651163</c:v>
                </c:pt>
                <c:pt idx="812">
                  <c:v>14.79418604651163</c:v>
                </c:pt>
                <c:pt idx="813">
                  <c:v>14.79418604651163</c:v>
                </c:pt>
                <c:pt idx="814">
                  <c:v>14.79418604651163</c:v>
                </c:pt>
                <c:pt idx="815">
                  <c:v>14.79418604651163</c:v>
                </c:pt>
                <c:pt idx="816">
                  <c:v>14.79418604651163</c:v>
                </c:pt>
                <c:pt idx="817">
                  <c:v>14.79418604651163</c:v>
                </c:pt>
                <c:pt idx="818">
                  <c:v>14.79418604651163</c:v>
                </c:pt>
                <c:pt idx="819">
                  <c:v>14.79418604651163</c:v>
                </c:pt>
                <c:pt idx="820">
                  <c:v>14.79418604651163</c:v>
                </c:pt>
                <c:pt idx="821">
                  <c:v>14.79418604651163</c:v>
                </c:pt>
                <c:pt idx="822">
                  <c:v>14.79418604651163</c:v>
                </c:pt>
                <c:pt idx="823">
                  <c:v>14.79418604651163</c:v>
                </c:pt>
                <c:pt idx="824">
                  <c:v>14.79418604651163</c:v>
                </c:pt>
                <c:pt idx="825">
                  <c:v>14.79418604651163</c:v>
                </c:pt>
                <c:pt idx="826">
                  <c:v>14.79418604651163</c:v>
                </c:pt>
                <c:pt idx="827">
                  <c:v>14.79418604651163</c:v>
                </c:pt>
                <c:pt idx="828">
                  <c:v>14.79418604651163</c:v>
                </c:pt>
                <c:pt idx="829">
                  <c:v>14.79418604651163</c:v>
                </c:pt>
                <c:pt idx="830">
                  <c:v>14.79418604651163</c:v>
                </c:pt>
                <c:pt idx="831">
                  <c:v>14.79418604651163</c:v>
                </c:pt>
                <c:pt idx="832">
                  <c:v>14.79418604651163</c:v>
                </c:pt>
                <c:pt idx="833">
                  <c:v>14.79418604651163</c:v>
                </c:pt>
                <c:pt idx="834">
                  <c:v>14.79418604651163</c:v>
                </c:pt>
                <c:pt idx="835">
                  <c:v>14.79418604651163</c:v>
                </c:pt>
                <c:pt idx="836">
                  <c:v>14.79418604651163</c:v>
                </c:pt>
                <c:pt idx="837">
                  <c:v>14.79418604651163</c:v>
                </c:pt>
                <c:pt idx="838">
                  <c:v>14.79418604651163</c:v>
                </c:pt>
                <c:pt idx="839">
                  <c:v>14.79418604651163</c:v>
                </c:pt>
                <c:pt idx="840">
                  <c:v>14.79418604651163</c:v>
                </c:pt>
                <c:pt idx="841">
                  <c:v>14.79418604651163</c:v>
                </c:pt>
                <c:pt idx="842">
                  <c:v>14.79418604651163</c:v>
                </c:pt>
                <c:pt idx="843">
                  <c:v>14.79418604651163</c:v>
                </c:pt>
                <c:pt idx="844">
                  <c:v>14.79418604651163</c:v>
                </c:pt>
                <c:pt idx="845">
                  <c:v>14.79418604651163</c:v>
                </c:pt>
                <c:pt idx="846">
                  <c:v>14.79418604651163</c:v>
                </c:pt>
                <c:pt idx="847">
                  <c:v>14.79418604651163</c:v>
                </c:pt>
                <c:pt idx="848">
                  <c:v>14.79418604651163</c:v>
                </c:pt>
                <c:pt idx="849">
                  <c:v>14.79418604651163</c:v>
                </c:pt>
                <c:pt idx="850">
                  <c:v>14.79418604651163</c:v>
                </c:pt>
                <c:pt idx="851">
                  <c:v>14.79418604651163</c:v>
                </c:pt>
                <c:pt idx="852">
                  <c:v>14.79418604651163</c:v>
                </c:pt>
                <c:pt idx="853">
                  <c:v>14.79418604651163</c:v>
                </c:pt>
                <c:pt idx="854">
                  <c:v>14.79418604651163</c:v>
                </c:pt>
                <c:pt idx="855">
                  <c:v>14.79418604651163</c:v>
                </c:pt>
                <c:pt idx="856">
                  <c:v>14.79418604651163</c:v>
                </c:pt>
                <c:pt idx="857">
                  <c:v>14.79418604651163</c:v>
                </c:pt>
                <c:pt idx="858">
                  <c:v>14.79418604651163</c:v>
                </c:pt>
                <c:pt idx="859">
                  <c:v>14.79418604651163</c:v>
                </c:pt>
                <c:pt idx="860">
                  <c:v>14.79418604651163</c:v>
                </c:pt>
                <c:pt idx="861">
                  <c:v>14.79418604651163</c:v>
                </c:pt>
                <c:pt idx="862">
                  <c:v>14.79418604651163</c:v>
                </c:pt>
                <c:pt idx="863">
                  <c:v>14.79418604651163</c:v>
                </c:pt>
                <c:pt idx="864">
                  <c:v>14.79418604651163</c:v>
                </c:pt>
                <c:pt idx="865">
                  <c:v>14.79418604651163</c:v>
                </c:pt>
                <c:pt idx="866">
                  <c:v>14.79418604651163</c:v>
                </c:pt>
                <c:pt idx="867">
                  <c:v>14.79418604651163</c:v>
                </c:pt>
                <c:pt idx="868">
                  <c:v>14.79418604651163</c:v>
                </c:pt>
                <c:pt idx="869">
                  <c:v>14.79418604651163</c:v>
                </c:pt>
                <c:pt idx="870">
                  <c:v>14.79418604651163</c:v>
                </c:pt>
                <c:pt idx="871">
                  <c:v>14.79418604651163</c:v>
                </c:pt>
                <c:pt idx="872">
                  <c:v>14.79418604651163</c:v>
                </c:pt>
                <c:pt idx="873">
                  <c:v>14.79418604651163</c:v>
                </c:pt>
                <c:pt idx="874">
                  <c:v>14.79418604651163</c:v>
                </c:pt>
                <c:pt idx="875">
                  <c:v>14.79418604651163</c:v>
                </c:pt>
                <c:pt idx="876">
                  <c:v>14.79418604651163</c:v>
                </c:pt>
                <c:pt idx="877">
                  <c:v>14.79418604651163</c:v>
                </c:pt>
                <c:pt idx="878">
                  <c:v>14.79418604651163</c:v>
                </c:pt>
                <c:pt idx="879">
                  <c:v>14.79418604651163</c:v>
                </c:pt>
                <c:pt idx="880">
                  <c:v>14.79418604651163</c:v>
                </c:pt>
                <c:pt idx="881">
                  <c:v>14.79418604651163</c:v>
                </c:pt>
                <c:pt idx="882">
                  <c:v>14.79418604651163</c:v>
                </c:pt>
                <c:pt idx="883">
                  <c:v>14.79418604651163</c:v>
                </c:pt>
                <c:pt idx="884">
                  <c:v>14.79418604651163</c:v>
                </c:pt>
                <c:pt idx="885">
                  <c:v>14.79418604651163</c:v>
                </c:pt>
                <c:pt idx="886">
                  <c:v>14.79418604651163</c:v>
                </c:pt>
                <c:pt idx="887">
                  <c:v>14.79418604651163</c:v>
                </c:pt>
                <c:pt idx="888">
                  <c:v>14.79418604651163</c:v>
                </c:pt>
                <c:pt idx="889">
                  <c:v>14.79418604651163</c:v>
                </c:pt>
                <c:pt idx="890">
                  <c:v>14.79418604651163</c:v>
                </c:pt>
                <c:pt idx="891">
                  <c:v>14.79418604651163</c:v>
                </c:pt>
                <c:pt idx="892">
                  <c:v>14.79418604651163</c:v>
                </c:pt>
                <c:pt idx="893">
                  <c:v>14.79418604651163</c:v>
                </c:pt>
                <c:pt idx="894">
                  <c:v>14.79418604651163</c:v>
                </c:pt>
                <c:pt idx="895">
                  <c:v>14.79418604651163</c:v>
                </c:pt>
                <c:pt idx="896">
                  <c:v>14.79418604651163</c:v>
                </c:pt>
                <c:pt idx="897">
                  <c:v>14.79418604651163</c:v>
                </c:pt>
                <c:pt idx="898">
                  <c:v>14.79418604651163</c:v>
                </c:pt>
                <c:pt idx="899">
                  <c:v>14.79418604651163</c:v>
                </c:pt>
                <c:pt idx="900">
                  <c:v>14.79418604651163</c:v>
                </c:pt>
                <c:pt idx="901">
                  <c:v>14.79418604651163</c:v>
                </c:pt>
                <c:pt idx="902">
                  <c:v>14.79418604651163</c:v>
                </c:pt>
                <c:pt idx="903">
                  <c:v>14.79418604651163</c:v>
                </c:pt>
                <c:pt idx="904">
                  <c:v>14.79418604651163</c:v>
                </c:pt>
                <c:pt idx="905">
                  <c:v>14.79418604651163</c:v>
                </c:pt>
                <c:pt idx="906">
                  <c:v>14.79418604651163</c:v>
                </c:pt>
                <c:pt idx="907">
                  <c:v>14.79418604651163</c:v>
                </c:pt>
                <c:pt idx="908">
                  <c:v>14.79418604651163</c:v>
                </c:pt>
                <c:pt idx="909">
                  <c:v>14.79418604651163</c:v>
                </c:pt>
                <c:pt idx="910">
                  <c:v>14.79418604651163</c:v>
                </c:pt>
                <c:pt idx="911">
                  <c:v>14.79418604651163</c:v>
                </c:pt>
                <c:pt idx="912">
                  <c:v>14.79418604651163</c:v>
                </c:pt>
                <c:pt idx="913">
                  <c:v>14.79418604651163</c:v>
                </c:pt>
                <c:pt idx="914">
                  <c:v>14.79418604651163</c:v>
                </c:pt>
                <c:pt idx="915">
                  <c:v>14.79418604651163</c:v>
                </c:pt>
                <c:pt idx="916">
                  <c:v>14.79418604651163</c:v>
                </c:pt>
                <c:pt idx="917">
                  <c:v>14.79418604651163</c:v>
                </c:pt>
                <c:pt idx="918">
                  <c:v>14.79418604651163</c:v>
                </c:pt>
                <c:pt idx="919">
                  <c:v>14.79418604651163</c:v>
                </c:pt>
                <c:pt idx="920">
                  <c:v>14.79418604651163</c:v>
                </c:pt>
                <c:pt idx="921">
                  <c:v>14.79418604651163</c:v>
                </c:pt>
                <c:pt idx="922">
                  <c:v>14.79418604651163</c:v>
                </c:pt>
                <c:pt idx="923">
                  <c:v>14.79418604651163</c:v>
                </c:pt>
                <c:pt idx="924">
                  <c:v>14.79418604651163</c:v>
                </c:pt>
                <c:pt idx="925">
                  <c:v>14.79418604651163</c:v>
                </c:pt>
                <c:pt idx="926">
                  <c:v>14.79418604651163</c:v>
                </c:pt>
                <c:pt idx="927">
                  <c:v>14.79418604651163</c:v>
                </c:pt>
                <c:pt idx="928">
                  <c:v>14.79418604651163</c:v>
                </c:pt>
                <c:pt idx="929">
                  <c:v>14.79418604651163</c:v>
                </c:pt>
                <c:pt idx="930">
                  <c:v>14.79418604651163</c:v>
                </c:pt>
                <c:pt idx="931">
                  <c:v>14.79418604651163</c:v>
                </c:pt>
                <c:pt idx="932">
                  <c:v>14.79418604651163</c:v>
                </c:pt>
                <c:pt idx="933">
                  <c:v>14.79418604651163</c:v>
                </c:pt>
                <c:pt idx="934">
                  <c:v>14.79418604651163</c:v>
                </c:pt>
                <c:pt idx="935">
                  <c:v>14.79418604651163</c:v>
                </c:pt>
                <c:pt idx="936">
                  <c:v>14.79418604651163</c:v>
                </c:pt>
                <c:pt idx="937">
                  <c:v>14.79418604651163</c:v>
                </c:pt>
                <c:pt idx="938">
                  <c:v>14.79418604651163</c:v>
                </c:pt>
                <c:pt idx="939">
                  <c:v>14.79418604651163</c:v>
                </c:pt>
                <c:pt idx="940">
                  <c:v>14.79418604651163</c:v>
                </c:pt>
                <c:pt idx="941">
                  <c:v>14.79418604651163</c:v>
                </c:pt>
                <c:pt idx="942">
                  <c:v>14.79418604651163</c:v>
                </c:pt>
                <c:pt idx="943">
                  <c:v>14.79418604651163</c:v>
                </c:pt>
                <c:pt idx="944">
                  <c:v>14.79418604651163</c:v>
                </c:pt>
                <c:pt idx="945">
                  <c:v>14.79418604651163</c:v>
                </c:pt>
                <c:pt idx="946">
                  <c:v>14.79418604651163</c:v>
                </c:pt>
                <c:pt idx="947">
                  <c:v>14.79418604651163</c:v>
                </c:pt>
                <c:pt idx="948">
                  <c:v>14.79418604651163</c:v>
                </c:pt>
                <c:pt idx="949">
                  <c:v>14.79418604651163</c:v>
                </c:pt>
                <c:pt idx="950">
                  <c:v>14.79418604651163</c:v>
                </c:pt>
                <c:pt idx="951">
                  <c:v>14.79418604651163</c:v>
                </c:pt>
                <c:pt idx="952">
                  <c:v>14.79418604651163</c:v>
                </c:pt>
                <c:pt idx="953">
                  <c:v>14.79418604651163</c:v>
                </c:pt>
                <c:pt idx="954">
                  <c:v>14.79418604651163</c:v>
                </c:pt>
                <c:pt idx="955">
                  <c:v>14.79418604651163</c:v>
                </c:pt>
                <c:pt idx="956">
                  <c:v>14.79418604651163</c:v>
                </c:pt>
                <c:pt idx="957">
                  <c:v>14.79418604651163</c:v>
                </c:pt>
                <c:pt idx="958">
                  <c:v>14.79418604651163</c:v>
                </c:pt>
                <c:pt idx="959">
                  <c:v>14.79418604651163</c:v>
                </c:pt>
                <c:pt idx="960">
                  <c:v>14.79418604651163</c:v>
                </c:pt>
                <c:pt idx="961">
                  <c:v>14.79418604651163</c:v>
                </c:pt>
                <c:pt idx="962">
                  <c:v>14.79418604651163</c:v>
                </c:pt>
                <c:pt idx="963">
                  <c:v>14.79418604651163</c:v>
                </c:pt>
                <c:pt idx="964">
                  <c:v>14.79418604651163</c:v>
                </c:pt>
                <c:pt idx="965">
                  <c:v>14.79418604651163</c:v>
                </c:pt>
                <c:pt idx="966">
                  <c:v>14.79418604651163</c:v>
                </c:pt>
                <c:pt idx="967">
                  <c:v>14.79418604651163</c:v>
                </c:pt>
                <c:pt idx="968">
                  <c:v>14.79418604651163</c:v>
                </c:pt>
                <c:pt idx="969">
                  <c:v>14.79418604651163</c:v>
                </c:pt>
                <c:pt idx="970">
                  <c:v>14.79418604651163</c:v>
                </c:pt>
                <c:pt idx="971">
                  <c:v>14.79418604651163</c:v>
                </c:pt>
                <c:pt idx="972">
                  <c:v>14.79418604651163</c:v>
                </c:pt>
                <c:pt idx="973">
                  <c:v>14.79418604651163</c:v>
                </c:pt>
                <c:pt idx="974">
                  <c:v>14.79418604651163</c:v>
                </c:pt>
                <c:pt idx="975">
                  <c:v>14.79418604651163</c:v>
                </c:pt>
                <c:pt idx="976">
                  <c:v>14.79418604651163</c:v>
                </c:pt>
                <c:pt idx="977">
                  <c:v>14.79418604651163</c:v>
                </c:pt>
                <c:pt idx="978">
                  <c:v>14.79418604651163</c:v>
                </c:pt>
                <c:pt idx="979">
                  <c:v>14.79418604651163</c:v>
                </c:pt>
                <c:pt idx="980">
                  <c:v>14.79418604651163</c:v>
                </c:pt>
                <c:pt idx="981">
                  <c:v>14.79418604651163</c:v>
                </c:pt>
                <c:pt idx="982">
                  <c:v>14.79418604651163</c:v>
                </c:pt>
                <c:pt idx="983">
                  <c:v>14.79418604651163</c:v>
                </c:pt>
                <c:pt idx="984">
                  <c:v>14.79418604651163</c:v>
                </c:pt>
                <c:pt idx="985">
                  <c:v>14.79418604651163</c:v>
                </c:pt>
                <c:pt idx="986">
                  <c:v>14.79418604651163</c:v>
                </c:pt>
                <c:pt idx="987">
                  <c:v>14.79418604651163</c:v>
                </c:pt>
                <c:pt idx="988">
                  <c:v>14.79418604651163</c:v>
                </c:pt>
                <c:pt idx="989">
                  <c:v>14.79418604651163</c:v>
                </c:pt>
                <c:pt idx="990">
                  <c:v>14.79418604651163</c:v>
                </c:pt>
                <c:pt idx="991">
                  <c:v>14.79418604651163</c:v>
                </c:pt>
                <c:pt idx="992">
                  <c:v>14.79418604651163</c:v>
                </c:pt>
                <c:pt idx="993">
                  <c:v>14.79418604651163</c:v>
                </c:pt>
                <c:pt idx="994">
                  <c:v>14.79418604651163</c:v>
                </c:pt>
                <c:pt idx="995">
                  <c:v>14.79418604651163</c:v>
                </c:pt>
                <c:pt idx="996">
                  <c:v>14.79418604651163</c:v>
                </c:pt>
                <c:pt idx="997">
                  <c:v>14.79418604651163</c:v>
                </c:pt>
                <c:pt idx="998">
                  <c:v>14.79418604651163</c:v>
                </c:pt>
                <c:pt idx="999">
                  <c:v>14.79418604651163</c:v>
                </c:pt>
                <c:pt idx="1000">
                  <c:v>14.79418604651163</c:v>
                </c:pt>
                <c:pt idx="1001">
                  <c:v>14.79418604651163</c:v>
                </c:pt>
                <c:pt idx="1002">
                  <c:v>14.79418604651163</c:v>
                </c:pt>
                <c:pt idx="1003">
                  <c:v>14.79418604651163</c:v>
                </c:pt>
                <c:pt idx="1004">
                  <c:v>14.79418604651163</c:v>
                </c:pt>
                <c:pt idx="1005">
                  <c:v>14.79418604651163</c:v>
                </c:pt>
                <c:pt idx="1006">
                  <c:v>14.79418604651163</c:v>
                </c:pt>
                <c:pt idx="1007">
                  <c:v>14.79418604651163</c:v>
                </c:pt>
                <c:pt idx="1008">
                  <c:v>14.79418604651163</c:v>
                </c:pt>
                <c:pt idx="1009">
                  <c:v>14.79418604651163</c:v>
                </c:pt>
                <c:pt idx="1010">
                  <c:v>14.79418604651163</c:v>
                </c:pt>
                <c:pt idx="1011">
                  <c:v>14.79418604651163</c:v>
                </c:pt>
                <c:pt idx="1012">
                  <c:v>14.79418604651163</c:v>
                </c:pt>
                <c:pt idx="1013">
                  <c:v>14.79418604651163</c:v>
                </c:pt>
                <c:pt idx="1014">
                  <c:v>14.79418604651163</c:v>
                </c:pt>
                <c:pt idx="1015">
                  <c:v>14.79418604651163</c:v>
                </c:pt>
                <c:pt idx="1016">
                  <c:v>14.79418604651163</c:v>
                </c:pt>
                <c:pt idx="1017">
                  <c:v>14.79418604651163</c:v>
                </c:pt>
                <c:pt idx="1018">
                  <c:v>14.79418604651163</c:v>
                </c:pt>
                <c:pt idx="1019">
                  <c:v>14.79418604651163</c:v>
                </c:pt>
                <c:pt idx="1020">
                  <c:v>14.79418604651163</c:v>
                </c:pt>
                <c:pt idx="1021">
                  <c:v>14.79418604651163</c:v>
                </c:pt>
                <c:pt idx="1022">
                  <c:v>14.79418604651163</c:v>
                </c:pt>
                <c:pt idx="1023">
                  <c:v>14.79418604651163</c:v>
                </c:pt>
                <c:pt idx="1024">
                  <c:v>14.79418604651163</c:v>
                </c:pt>
                <c:pt idx="1025">
                  <c:v>14.79418604651163</c:v>
                </c:pt>
                <c:pt idx="1026">
                  <c:v>14.79418604651163</c:v>
                </c:pt>
                <c:pt idx="1027">
                  <c:v>14.79418604651163</c:v>
                </c:pt>
                <c:pt idx="1028">
                  <c:v>14.79418604651163</c:v>
                </c:pt>
                <c:pt idx="1029">
                  <c:v>14.79418604651163</c:v>
                </c:pt>
                <c:pt idx="1030">
                  <c:v>14.79418604651163</c:v>
                </c:pt>
                <c:pt idx="1031">
                  <c:v>14.79418604651163</c:v>
                </c:pt>
                <c:pt idx="1032">
                  <c:v>14.79418604651163</c:v>
                </c:pt>
                <c:pt idx="1033">
                  <c:v>14.79418604651163</c:v>
                </c:pt>
                <c:pt idx="1034">
                  <c:v>14.79418604651163</c:v>
                </c:pt>
                <c:pt idx="1035">
                  <c:v>14.79418604651163</c:v>
                </c:pt>
                <c:pt idx="1036">
                  <c:v>14.79418604651163</c:v>
                </c:pt>
                <c:pt idx="1037">
                  <c:v>14.79418604651163</c:v>
                </c:pt>
                <c:pt idx="1038">
                  <c:v>14.79418604651163</c:v>
                </c:pt>
                <c:pt idx="1039">
                  <c:v>14.79418604651163</c:v>
                </c:pt>
                <c:pt idx="1040">
                  <c:v>14.79418604651163</c:v>
                </c:pt>
                <c:pt idx="1041">
                  <c:v>14.79418604651163</c:v>
                </c:pt>
                <c:pt idx="1042">
                  <c:v>14.79418604651163</c:v>
                </c:pt>
                <c:pt idx="1043">
                  <c:v>14.79418604651163</c:v>
                </c:pt>
                <c:pt idx="1044">
                  <c:v>14.79418604651163</c:v>
                </c:pt>
                <c:pt idx="1045">
                  <c:v>14.79418604651163</c:v>
                </c:pt>
                <c:pt idx="1046">
                  <c:v>14.79418604651163</c:v>
                </c:pt>
                <c:pt idx="1047">
                  <c:v>14.79418604651163</c:v>
                </c:pt>
                <c:pt idx="1048">
                  <c:v>14.79418604651163</c:v>
                </c:pt>
                <c:pt idx="1049">
                  <c:v>14.79418604651163</c:v>
                </c:pt>
                <c:pt idx="1050">
                  <c:v>14.79418604651163</c:v>
                </c:pt>
                <c:pt idx="1051">
                  <c:v>14.79418604651163</c:v>
                </c:pt>
                <c:pt idx="1052">
                  <c:v>14.79418604651163</c:v>
                </c:pt>
                <c:pt idx="1053">
                  <c:v>14.79418604651163</c:v>
                </c:pt>
                <c:pt idx="1054">
                  <c:v>14.79418604651163</c:v>
                </c:pt>
                <c:pt idx="1055">
                  <c:v>14.79418604651163</c:v>
                </c:pt>
                <c:pt idx="1056">
                  <c:v>14.79418604651163</c:v>
                </c:pt>
                <c:pt idx="1057">
                  <c:v>14.79418604651163</c:v>
                </c:pt>
                <c:pt idx="1058">
                  <c:v>14.79418604651163</c:v>
                </c:pt>
                <c:pt idx="1059">
                  <c:v>14.79418604651163</c:v>
                </c:pt>
                <c:pt idx="1060">
                  <c:v>14.79418604651163</c:v>
                </c:pt>
                <c:pt idx="1061">
                  <c:v>14.79418604651163</c:v>
                </c:pt>
                <c:pt idx="1062">
                  <c:v>14.79418604651163</c:v>
                </c:pt>
                <c:pt idx="1063">
                  <c:v>14.79418604651163</c:v>
                </c:pt>
                <c:pt idx="1064">
                  <c:v>14.79418604651163</c:v>
                </c:pt>
                <c:pt idx="1065">
                  <c:v>14.79418604651163</c:v>
                </c:pt>
                <c:pt idx="1066">
                  <c:v>14.79418604651163</c:v>
                </c:pt>
                <c:pt idx="1067">
                  <c:v>14.79418604651163</c:v>
                </c:pt>
                <c:pt idx="1068">
                  <c:v>14.79418604651163</c:v>
                </c:pt>
                <c:pt idx="1069">
                  <c:v>14.79418604651163</c:v>
                </c:pt>
                <c:pt idx="1070">
                  <c:v>14.79418604651163</c:v>
                </c:pt>
                <c:pt idx="1071">
                  <c:v>14.79418604651163</c:v>
                </c:pt>
                <c:pt idx="1072">
                  <c:v>14.79418604651163</c:v>
                </c:pt>
                <c:pt idx="1073">
                  <c:v>14.79418604651163</c:v>
                </c:pt>
                <c:pt idx="1074">
                  <c:v>14.79418604651163</c:v>
                </c:pt>
                <c:pt idx="1075">
                  <c:v>14.79418604651163</c:v>
                </c:pt>
                <c:pt idx="1076">
                  <c:v>14.79418604651163</c:v>
                </c:pt>
                <c:pt idx="1077">
                  <c:v>14.79418604651163</c:v>
                </c:pt>
                <c:pt idx="1078">
                  <c:v>14.79418604651163</c:v>
                </c:pt>
                <c:pt idx="1079">
                  <c:v>14.79418604651163</c:v>
                </c:pt>
                <c:pt idx="1080">
                  <c:v>14.79418604651163</c:v>
                </c:pt>
                <c:pt idx="1081">
                  <c:v>14.79418604651163</c:v>
                </c:pt>
                <c:pt idx="1082">
                  <c:v>14.79418604651163</c:v>
                </c:pt>
                <c:pt idx="1083">
                  <c:v>14.79418604651163</c:v>
                </c:pt>
                <c:pt idx="1084">
                  <c:v>14.79418604651163</c:v>
                </c:pt>
                <c:pt idx="1085">
                  <c:v>14.79418604651163</c:v>
                </c:pt>
                <c:pt idx="1086">
                  <c:v>14.79418604651163</c:v>
                </c:pt>
                <c:pt idx="1087">
                  <c:v>14.79418604651163</c:v>
                </c:pt>
                <c:pt idx="1088">
                  <c:v>14.79418604651163</c:v>
                </c:pt>
                <c:pt idx="1089">
                  <c:v>14.79418604651163</c:v>
                </c:pt>
                <c:pt idx="1090">
                  <c:v>14.79418604651163</c:v>
                </c:pt>
                <c:pt idx="1091">
                  <c:v>14.79418604651163</c:v>
                </c:pt>
                <c:pt idx="1092">
                  <c:v>14.79418604651163</c:v>
                </c:pt>
                <c:pt idx="1093">
                  <c:v>14.79418604651163</c:v>
                </c:pt>
                <c:pt idx="1094">
                  <c:v>14.79418604651163</c:v>
                </c:pt>
                <c:pt idx="1095">
                  <c:v>14.79418604651163</c:v>
                </c:pt>
                <c:pt idx="1096">
                  <c:v>14.79418604651163</c:v>
                </c:pt>
                <c:pt idx="1097">
                  <c:v>14.79418604651163</c:v>
                </c:pt>
                <c:pt idx="1098">
                  <c:v>14.79418604651163</c:v>
                </c:pt>
                <c:pt idx="1099">
                  <c:v>14.79418604651163</c:v>
                </c:pt>
                <c:pt idx="1100">
                  <c:v>14.79418604651163</c:v>
                </c:pt>
                <c:pt idx="1101">
                  <c:v>14.79418604651163</c:v>
                </c:pt>
                <c:pt idx="1102">
                  <c:v>14.79418604651163</c:v>
                </c:pt>
                <c:pt idx="1103">
                  <c:v>14.79418604651163</c:v>
                </c:pt>
                <c:pt idx="1104">
                  <c:v>14.79418604651163</c:v>
                </c:pt>
                <c:pt idx="1105">
                  <c:v>14.79418604651163</c:v>
                </c:pt>
                <c:pt idx="1106">
                  <c:v>14.79418604651163</c:v>
                </c:pt>
                <c:pt idx="1107">
                  <c:v>14.79418604651163</c:v>
                </c:pt>
                <c:pt idx="1108">
                  <c:v>14.79418604651163</c:v>
                </c:pt>
                <c:pt idx="1109">
                  <c:v>14.79418604651163</c:v>
                </c:pt>
                <c:pt idx="1110">
                  <c:v>14.79418604651163</c:v>
                </c:pt>
                <c:pt idx="1111">
                  <c:v>14.79418604651163</c:v>
                </c:pt>
                <c:pt idx="1112">
                  <c:v>14.79418604651163</c:v>
                </c:pt>
                <c:pt idx="1113">
                  <c:v>14.79418604651163</c:v>
                </c:pt>
                <c:pt idx="1114">
                  <c:v>14.79418604651163</c:v>
                </c:pt>
                <c:pt idx="1115">
                  <c:v>14.79418604651163</c:v>
                </c:pt>
                <c:pt idx="1116">
                  <c:v>14.79418604651163</c:v>
                </c:pt>
                <c:pt idx="1117">
                  <c:v>14.79418604651163</c:v>
                </c:pt>
                <c:pt idx="1118">
                  <c:v>14.79418604651163</c:v>
                </c:pt>
                <c:pt idx="1119">
                  <c:v>14.79418604651163</c:v>
                </c:pt>
                <c:pt idx="1120">
                  <c:v>14.79418604651163</c:v>
                </c:pt>
                <c:pt idx="1121">
                  <c:v>14.79418604651163</c:v>
                </c:pt>
                <c:pt idx="1122">
                  <c:v>14.79418604651163</c:v>
                </c:pt>
                <c:pt idx="1123">
                  <c:v>14.79418604651163</c:v>
                </c:pt>
                <c:pt idx="1124">
                  <c:v>14.79418604651163</c:v>
                </c:pt>
                <c:pt idx="1125">
                  <c:v>14.79418604651163</c:v>
                </c:pt>
                <c:pt idx="1126">
                  <c:v>14.79418604651163</c:v>
                </c:pt>
                <c:pt idx="1127">
                  <c:v>14.79418604651163</c:v>
                </c:pt>
                <c:pt idx="1128">
                  <c:v>14.79418604651163</c:v>
                </c:pt>
                <c:pt idx="1129">
                  <c:v>14.79418604651163</c:v>
                </c:pt>
                <c:pt idx="1130">
                  <c:v>14.79418604651163</c:v>
                </c:pt>
                <c:pt idx="1131">
                  <c:v>14.79418604651163</c:v>
                </c:pt>
                <c:pt idx="1132">
                  <c:v>14.79418604651163</c:v>
                </c:pt>
                <c:pt idx="1133">
                  <c:v>14.79418604651163</c:v>
                </c:pt>
                <c:pt idx="1134">
                  <c:v>14.79418604651163</c:v>
                </c:pt>
                <c:pt idx="1135">
                  <c:v>14.79418604651163</c:v>
                </c:pt>
                <c:pt idx="1136">
                  <c:v>14.79418604651163</c:v>
                </c:pt>
                <c:pt idx="1137">
                  <c:v>14.79418604651163</c:v>
                </c:pt>
                <c:pt idx="1138">
                  <c:v>14.79418604651163</c:v>
                </c:pt>
                <c:pt idx="1139">
                  <c:v>14.79418604651163</c:v>
                </c:pt>
                <c:pt idx="1140">
                  <c:v>14.79418604651163</c:v>
                </c:pt>
                <c:pt idx="1141">
                  <c:v>14.79418604651163</c:v>
                </c:pt>
                <c:pt idx="1142">
                  <c:v>14.79418604651163</c:v>
                </c:pt>
                <c:pt idx="1143">
                  <c:v>14.79418604651163</c:v>
                </c:pt>
                <c:pt idx="1144">
                  <c:v>14.79418604651163</c:v>
                </c:pt>
                <c:pt idx="1145">
                  <c:v>14.79418604651163</c:v>
                </c:pt>
                <c:pt idx="1146">
                  <c:v>14.79418604651163</c:v>
                </c:pt>
                <c:pt idx="1147">
                  <c:v>14.79418604651163</c:v>
                </c:pt>
                <c:pt idx="1148">
                  <c:v>14.79418604651163</c:v>
                </c:pt>
                <c:pt idx="1149">
                  <c:v>14.79418604651163</c:v>
                </c:pt>
                <c:pt idx="1150">
                  <c:v>14.79418604651163</c:v>
                </c:pt>
                <c:pt idx="1151">
                  <c:v>14.79418604651163</c:v>
                </c:pt>
                <c:pt idx="1152">
                  <c:v>14.79418604651163</c:v>
                </c:pt>
                <c:pt idx="1153">
                  <c:v>14.79418604651163</c:v>
                </c:pt>
                <c:pt idx="1154">
                  <c:v>14.79418604651163</c:v>
                </c:pt>
                <c:pt idx="1155">
                  <c:v>14.79418604651163</c:v>
                </c:pt>
                <c:pt idx="1156">
                  <c:v>14.79418604651163</c:v>
                </c:pt>
                <c:pt idx="1157">
                  <c:v>14.79418604651163</c:v>
                </c:pt>
                <c:pt idx="1158">
                  <c:v>14.79418604651163</c:v>
                </c:pt>
                <c:pt idx="1159">
                  <c:v>14.79418604651163</c:v>
                </c:pt>
                <c:pt idx="1160">
                  <c:v>14.79418604651163</c:v>
                </c:pt>
                <c:pt idx="1161">
                  <c:v>14.79418604651163</c:v>
                </c:pt>
                <c:pt idx="1162">
                  <c:v>14.79418604651163</c:v>
                </c:pt>
                <c:pt idx="1163">
                  <c:v>14.79418604651163</c:v>
                </c:pt>
                <c:pt idx="1164">
                  <c:v>14.79418604651163</c:v>
                </c:pt>
                <c:pt idx="1165">
                  <c:v>14.79418604651163</c:v>
                </c:pt>
                <c:pt idx="1166">
                  <c:v>14.79418604651163</c:v>
                </c:pt>
                <c:pt idx="1167">
                  <c:v>14.79418604651163</c:v>
                </c:pt>
                <c:pt idx="1168">
                  <c:v>14.79418604651163</c:v>
                </c:pt>
                <c:pt idx="1169">
                  <c:v>14.79418604651163</c:v>
                </c:pt>
                <c:pt idx="1170">
                  <c:v>14.79418604651163</c:v>
                </c:pt>
                <c:pt idx="1171">
                  <c:v>14.79418604651163</c:v>
                </c:pt>
                <c:pt idx="1172">
                  <c:v>14.79418604651163</c:v>
                </c:pt>
                <c:pt idx="1173">
                  <c:v>14.79418604651163</c:v>
                </c:pt>
                <c:pt idx="1174">
                  <c:v>14.79418604651163</c:v>
                </c:pt>
                <c:pt idx="1175">
                  <c:v>14.79418604651163</c:v>
                </c:pt>
                <c:pt idx="1176">
                  <c:v>14.79418604651163</c:v>
                </c:pt>
                <c:pt idx="1177">
                  <c:v>14.79418604651163</c:v>
                </c:pt>
                <c:pt idx="1178">
                  <c:v>14.79418604651163</c:v>
                </c:pt>
                <c:pt idx="1179">
                  <c:v>14.79418604651163</c:v>
                </c:pt>
                <c:pt idx="1180">
                  <c:v>14.79418604651163</c:v>
                </c:pt>
                <c:pt idx="1181">
                  <c:v>14.79418604651163</c:v>
                </c:pt>
                <c:pt idx="1182">
                  <c:v>14.79418604651163</c:v>
                </c:pt>
                <c:pt idx="1183">
                  <c:v>14.79418604651163</c:v>
                </c:pt>
                <c:pt idx="1184">
                  <c:v>14.79418604651163</c:v>
                </c:pt>
                <c:pt idx="1185">
                  <c:v>14.79418604651163</c:v>
                </c:pt>
                <c:pt idx="1186">
                  <c:v>14.79418604651163</c:v>
                </c:pt>
                <c:pt idx="1187">
                  <c:v>14.79418604651163</c:v>
                </c:pt>
                <c:pt idx="1188">
                  <c:v>14.79418604651163</c:v>
                </c:pt>
                <c:pt idx="1189">
                  <c:v>14.79418604651163</c:v>
                </c:pt>
                <c:pt idx="1190">
                  <c:v>14.79418604651163</c:v>
                </c:pt>
                <c:pt idx="1191">
                  <c:v>14.79418604651163</c:v>
                </c:pt>
                <c:pt idx="1192">
                  <c:v>14.79418604651163</c:v>
                </c:pt>
                <c:pt idx="1193">
                  <c:v>14.79418604651163</c:v>
                </c:pt>
                <c:pt idx="1194">
                  <c:v>14.79418604651163</c:v>
                </c:pt>
                <c:pt idx="1195">
                  <c:v>14.79418604651163</c:v>
                </c:pt>
                <c:pt idx="1196">
                  <c:v>14.79418604651163</c:v>
                </c:pt>
                <c:pt idx="1197">
                  <c:v>14.79418604651163</c:v>
                </c:pt>
                <c:pt idx="1198">
                  <c:v>14.79418604651163</c:v>
                </c:pt>
                <c:pt idx="1199">
                  <c:v>14.79418604651163</c:v>
                </c:pt>
                <c:pt idx="1200">
                  <c:v>14.79418604651163</c:v>
                </c:pt>
                <c:pt idx="1201">
                  <c:v>14.79418604651163</c:v>
                </c:pt>
                <c:pt idx="1202">
                  <c:v>14.79418604651163</c:v>
                </c:pt>
                <c:pt idx="1203">
                  <c:v>14.79418604651163</c:v>
                </c:pt>
                <c:pt idx="1204">
                  <c:v>14.79418604651163</c:v>
                </c:pt>
                <c:pt idx="1205">
                  <c:v>14.79418604651163</c:v>
                </c:pt>
                <c:pt idx="1206">
                  <c:v>14.79418604651163</c:v>
                </c:pt>
                <c:pt idx="1207">
                  <c:v>14.79418604651163</c:v>
                </c:pt>
                <c:pt idx="1208">
                  <c:v>14.79418604651163</c:v>
                </c:pt>
                <c:pt idx="1209">
                  <c:v>14.79418604651163</c:v>
                </c:pt>
                <c:pt idx="1210">
                  <c:v>14.79418604651163</c:v>
                </c:pt>
                <c:pt idx="1211">
                  <c:v>14.79418604651163</c:v>
                </c:pt>
                <c:pt idx="1212">
                  <c:v>14.79418604651163</c:v>
                </c:pt>
                <c:pt idx="1213">
                  <c:v>14.79418604651163</c:v>
                </c:pt>
                <c:pt idx="1214">
                  <c:v>14.79418604651163</c:v>
                </c:pt>
                <c:pt idx="1215">
                  <c:v>14.79418604651163</c:v>
                </c:pt>
                <c:pt idx="1216">
                  <c:v>14.79418604651163</c:v>
                </c:pt>
                <c:pt idx="1217">
                  <c:v>14.79418604651163</c:v>
                </c:pt>
                <c:pt idx="1218">
                  <c:v>14.79418604651163</c:v>
                </c:pt>
                <c:pt idx="1219">
                  <c:v>14.79418604651163</c:v>
                </c:pt>
                <c:pt idx="1220">
                  <c:v>14.79418604651163</c:v>
                </c:pt>
                <c:pt idx="1221">
                  <c:v>14.79418604651163</c:v>
                </c:pt>
                <c:pt idx="1222">
                  <c:v>14.79418604651163</c:v>
                </c:pt>
                <c:pt idx="1223">
                  <c:v>14.79418604651163</c:v>
                </c:pt>
                <c:pt idx="1224">
                  <c:v>14.79418604651163</c:v>
                </c:pt>
                <c:pt idx="1225">
                  <c:v>14.79418604651163</c:v>
                </c:pt>
                <c:pt idx="1226">
                  <c:v>14.79418604651163</c:v>
                </c:pt>
                <c:pt idx="1227">
                  <c:v>14.79418604651163</c:v>
                </c:pt>
                <c:pt idx="1228">
                  <c:v>14.79418604651163</c:v>
                </c:pt>
                <c:pt idx="1229">
                  <c:v>14.79418604651163</c:v>
                </c:pt>
                <c:pt idx="1230">
                  <c:v>14.79418604651163</c:v>
                </c:pt>
                <c:pt idx="1231">
                  <c:v>14.79418604651163</c:v>
                </c:pt>
                <c:pt idx="1232">
                  <c:v>14.79418604651163</c:v>
                </c:pt>
                <c:pt idx="1233">
                  <c:v>14.79418604651163</c:v>
                </c:pt>
                <c:pt idx="1234">
                  <c:v>14.79418604651163</c:v>
                </c:pt>
                <c:pt idx="1235">
                  <c:v>14.79418604651163</c:v>
                </c:pt>
                <c:pt idx="1236">
                  <c:v>14.79418604651163</c:v>
                </c:pt>
                <c:pt idx="1237">
                  <c:v>14.79418604651163</c:v>
                </c:pt>
                <c:pt idx="1238">
                  <c:v>14.79418604651163</c:v>
                </c:pt>
                <c:pt idx="1239">
                  <c:v>14.79418604651163</c:v>
                </c:pt>
                <c:pt idx="1240">
                  <c:v>14.79418604651163</c:v>
                </c:pt>
                <c:pt idx="1241">
                  <c:v>14.79418604651163</c:v>
                </c:pt>
                <c:pt idx="1242">
                  <c:v>14.79418604651163</c:v>
                </c:pt>
                <c:pt idx="1243">
                  <c:v>14.79418604651163</c:v>
                </c:pt>
                <c:pt idx="1244">
                  <c:v>14.79418604651163</c:v>
                </c:pt>
                <c:pt idx="1245">
                  <c:v>14.79418604651163</c:v>
                </c:pt>
                <c:pt idx="1246">
                  <c:v>14.79418604651163</c:v>
                </c:pt>
                <c:pt idx="1247">
                  <c:v>14.79418604651163</c:v>
                </c:pt>
                <c:pt idx="1248">
                  <c:v>14.79418604651163</c:v>
                </c:pt>
                <c:pt idx="1249">
                  <c:v>14.79418604651163</c:v>
                </c:pt>
                <c:pt idx="1250">
                  <c:v>14.79418604651163</c:v>
                </c:pt>
                <c:pt idx="1251">
                  <c:v>14.79418604651163</c:v>
                </c:pt>
                <c:pt idx="1252">
                  <c:v>14.79418604651163</c:v>
                </c:pt>
                <c:pt idx="1253">
                  <c:v>14.79418604651163</c:v>
                </c:pt>
                <c:pt idx="1254">
                  <c:v>14.79418604651163</c:v>
                </c:pt>
                <c:pt idx="1255">
                  <c:v>14.79418604651163</c:v>
                </c:pt>
                <c:pt idx="1256">
                  <c:v>14.79418604651163</c:v>
                </c:pt>
                <c:pt idx="1257">
                  <c:v>14.79418604651163</c:v>
                </c:pt>
                <c:pt idx="1258">
                  <c:v>14.79418604651163</c:v>
                </c:pt>
                <c:pt idx="1259">
                  <c:v>14.79418604651163</c:v>
                </c:pt>
                <c:pt idx="1260">
                  <c:v>14.79418604651163</c:v>
                </c:pt>
                <c:pt idx="1261">
                  <c:v>14.79418604651163</c:v>
                </c:pt>
                <c:pt idx="1262">
                  <c:v>14.79418604651163</c:v>
                </c:pt>
                <c:pt idx="1263">
                  <c:v>14.79418604651163</c:v>
                </c:pt>
                <c:pt idx="1264">
                  <c:v>14.79418604651163</c:v>
                </c:pt>
                <c:pt idx="1265">
                  <c:v>14.79418604651163</c:v>
                </c:pt>
                <c:pt idx="1266">
                  <c:v>14.79418604651163</c:v>
                </c:pt>
                <c:pt idx="1267">
                  <c:v>14.79418604651163</c:v>
                </c:pt>
                <c:pt idx="1268">
                  <c:v>14.79418604651163</c:v>
                </c:pt>
                <c:pt idx="1269">
                  <c:v>14.79418604651163</c:v>
                </c:pt>
                <c:pt idx="1270">
                  <c:v>14.79418604651163</c:v>
                </c:pt>
                <c:pt idx="1271">
                  <c:v>14.79418604651163</c:v>
                </c:pt>
                <c:pt idx="1272">
                  <c:v>14.79418604651163</c:v>
                </c:pt>
                <c:pt idx="1273">
                  <c:v>14.79418604651163</c:v>
                </c:pt>
                <c:pt idx="1274">
                  <c:v>14.79418604651163</c:v>
                </c:pt>
                <c:pt idx="1275">
                  <c:v>14.79418604651163</c:v>
                </c:pt>
                <c:pt idx="1276">
                  <c:v>14.79418604651163</c:v>
                </c:pt>
                <c:pt idx="1277">
                  <c:v>14.79418604651163</c:v>
                </c:pt>
                <c:pt idx="1278">
                  <c:v>14.79418604651163</c:v>
                </c:pt>
                <c:pt idx="1279">
                  <c:v>14.79418604651163</c:v>
                </c:pt>
                <c:pt idx="1280">
                  <c:v>14.79418604651163</c:v>
                </c:pt>
                <c:pt idx="1281">
                  <c:v>14.79418604651163</c:v>
                </c:pt>
                <c:pt idx="1282">
                  <c:v>14.79418604651163</c:v>
                </c:pt>
                <c:pt idx="1283">
                  <c:v>14.79418604651163</c:v>
                </c:pt>
                <c:pt idx="1284">
                  <c:v>14.79418604651163</c:v>
                </c:pt>
                <c:pt idx="1285">
                  <c:v>14.79418604651163</c:v>
                </c:pt>
                <c:pt idx="1286">
                  <c:v>14.79418604651163</c:v>
                </c:pt>
                <c:pt idx="1287">
                  <c:v>14.79418604651163</c:v>
                </c:pt>
                <c:pt idx="1288">
                  <c:v>14.79418604651163</c:v>
                </c:pt>
                <c:pt idx="1289">
                  <c:v>14.79418604651163</c:v>
                </c:pt>
                <c:pt idx="1290">
                  <c:v>14.79418604651163</c:v>
                </c:pt>
                <c:pt idx="1291">
                  <c:v>14.79418604651163</c:v>
                </c:pt>
                <c:pt idx="1292">
                  <c:v>14.79418604651163</c:v>
                </c:pt>
                <c:pt idx="1293">
                  <c:v>14.79418604651163</c:v>
                </c:pt>
                <c:pt idx="1294">
                  <c:v>14.79418604651163</c:v>
                </c:pt>
                <c:pt idx="1295">
                  <c:v>14.79418604651163</c:v>
                </c:pt>
                <c:pt idx="1296">
                  <c:v>14.79418604651163</c:v>
                </c:pt>
                <c:pt idx="1297">
                  <c:v>14.79418604651163</c:v>
                </c:pt>
                <c:pt idx="1298">
                  <c:v>14.79418604651163</c:v>
                </c:pt>
                <c:pt idx="1299">
                  <c:v>14.79418604651163</c:v>
                </c:pt>
                <c:pt idx="1300">
                  <c:v>14.79418604651163</c:v>
                </c:pt>
                <c:pt idx="1301">
                  <c:v>14.79418604651163</c:v>
                </c:pt>
                <c:pt idx="1302">
                  <c:v>14.79418604651163</c:v>
                </c:pt>
                <c:pt idx="1303">
                  <c:v>14.79418604651163</c:v>
                </c:pt>
                <c:pt idx="1304">
                  <c:v>14.79418604651163</c:v>
                </c:pt>
                <c:pt idx="1305">
                  <c:v>14.79418604651163</c:v>
                </c:pt>
                <c:pt idx="1306">
                  <c:v>14.79418604651163</c:v>
                </c:pt>
                <c:pt idx="1307">
                  <c:v>14.79418604651163</c:v>
                </c:pt>
                <c:pt idx="1308">
                  <c:v>14.79418604651163</c:v>
                </c:pt>
                <c:pt idx="1309">
                  <c:v>14.79418604651163</c:v>
                </c:pt>
                <c:pt idx="1310">
                  <c:v>14.79418604651163</c:v>
                </c:pt>
                <c:pt idx="1311">
                  <c:v>14.79418604651163</c:v>
                </c:pt>
                <c:pt idx="1312">
                  <c:v>14.79418604651163</c:v>
                </c:pt>
                <c:pt idx="1313">
                  <c:v>14.79418604651163</c:v>
                </c:pt>
                <c:pt idx="1314">
                  <c:v>14.79418604651163</c:v>
                </c:pt>
                <c:pt idx="1315">
                  <c:v>14.79418604651163</c:v>
                </c:pt>
                <c:pt idx="1316">
                  <c:v>14.79418604651163</c:v>
                </c:pt>
                <c:pt idx="1317">
                  <c:v>14.79418604651163</c:v>
                </c:pt>
                <c:pt idx="1318">
                  <c:v>14.79418604651163</c:v>
                </c:pt>
                <c:pt idx="1319">
                  <c:v>14.79418604651163</c:v>
                </c:pt>
                <c:pt idx="1320">
                  <c:v>14.79418604651163</c:v>
                </c:pt>
                <c:pt idx="1321">
                  <c:v>14.79418604651163</c:v>
                </c:pt>
                <c:pt idx="1322">
                  <c:v>14.79418604651163</c:v>
                </c:pt>
                <c:pt idx="1323">
                  <c:v>14.79418604651163</c:v>
                </c:pt>
                <c:pt idx="1324">
                  <c:v>14.79418604651163</c:v>
                </c:pt>
                <c:pt idx="1325">
                  <c:v>14.79418604651163</c:v>
                </c:pt>
                <c:pt idx="1326">
                  <c:v>14.79418604651163</c:v>
                </c:pt>
                <c:pt idx="1327">
                  <c:v>14.79418604651163</c:v>
                </c:pt>
                <c:pt idx="1328">
                  <c:v>14.79418604651163</c:v>
                </c:pt>
                <c:pt idx="1329">
                  <c:v>14.79418604651163</c:v>
                </c:pt>
                <c:pt idx="1330">
                  <c:v>14.79418604651163</c:v>
                </c:pt>
                <c:pt idx="1331">
                  <c:v>14.79418604651163</c:v>
                </c:pt>
                <c:pt idx="1332">
                  <c:v>14.79418604651163</c:v>
                </c:pt>
                <c:pt idx="1333">
                  <c:v>14.79418604651163</c:v>
                </c:pt>
                <c:pt idx="1334">
                  <c:v>14.79418604651163</c:v>
                </c:pt>
                <c:pt idx="1335">
                  <c:v>14.79418604651163</c:v>
                </c:pt>
                <c:pt idx="1336">
                  <c:v>14.79418604651163</c:v>
                </c:pt>
                <c:pt idx="1337">
                  <c:v>14.79418604651163</c:v>
                </c:pt>
                <c:pt idx="1338">
                  <c:v>14.79418604651163</c:v>
                </c:pt>
                <c:pt idx="1339">
                  <c:v>14.79418604651163</c:v>
                </c:pt>
                <c:pt idx="1340">
                  <c:v>14.79418604651163</c:v>
                </c:pt>
                <c:pt idx="1341">
                  <c:v>14.79418604651163</c:v>
                </c:pt>
                <c:pt idx="1342">
                  <c:v>14.79418604651163</c:v>
                </c:pt>
                <c:pt idx="1343">
                  <c:v>14.79418604651163</c:v>
                </c:pt>
                <c:pt idx="1344">
                  <c:v>14.79418604651163</c:v>
                </c:pt>
                <c:pt idx="1345">
                  <c:v>14.79418604651163</c:v>
                </c:pt>
                <c:pt idx="1346">
                  <c:v>14.79418604651163</c:v>
                </c:pt>
                <c:pt idx="1347">
                  <c:v>14.79418604651163</c:v>
                </c:pt>
                <c:pt idx="1348">
                  <c:v>14.79418604651163</c:v>
                </c:pt>
                <c:pt idx="1349">
                  <c:v>14.79418604651163</c:v>
                </c:pt>
                <c:pt idx="1350">
                  <c:v>14.79418604651163</c:v>
                </c:pt>
                <c:pt idx="1351">
                  <c:v>14.79418604651163</c:v>
                </c:pt>
                <c:pt idx="1352">
                  <c:v>14.79418604651163</c:v>
                </c:pt>
                <c:pt idx="1353">
                  <c:v>14.79418604651163</c:v>
                </c:pt>
                <c:pt idx="1354">
                  <c:v>14.79418604651163</c:v>
                </c:pt>
                <c:pt idx="1355">
                  <c:v>14.79418604651163</c:v>
                </c:pt>
                <c:pt idx="1356">
                  <c:v>14.79418604651163</c:v>
                </c:pt>
                <c:pt idx="1357">
                  <c:v>14.79418604651163</c:v>
                </c:pt>
                <c:pt idx="1358">
                  <c:v>14.79418604651163</c:v>
                </c:pt>
                <c:pt idx="1359">
                  <c:v>14.79418604651163</c:v>
                </c:pt>
                <c:pt idx="1360">
                  <c:v>14.79418604651163</c:v>
                </c:pt>
                <c:pt idx="1361">
                  <c:v>14.79418604651163</c:v>
                </c:pt>
                <c:pt idx="1362">
                  <c:v>14.79418604651163</c:v>
                </c:pt>
                <c:pt idx="1363">
                  <c:v>14.79418604651163</c:v>
                </c:pt>
                <c:pt idx="1364">
                  <c:v>14.79418604651163</c:v>
                </c:pt>
                <c:pt idx="1365">
                  <c:v>14.79418604651163</c:v>
                </c:pt>
                <c:pt idx="1366">
                  <c:v>14.79418604651163</c:v>
                </c:pt>
                <c:pt idx="1367">
                  <c:v>14.79418604651163</c:v>
                </c:pt>
                <c:pt idx="1368">
                  <c:v>14.79418604651163</c:v>
                </c:pt>
                <c:pt idx="1369">
                  <c:v>14.79418604651163</c:v>
                </c:pt>
                <c:pt idx="1370">
                  <c:v>14.79418604651163</c:v>
                </c:pt>
                <c:pt idx="1371">
                  <c:v>14.79418604651163</c:v>
                </c:pt>
                <c:pt idx="1372">
                  <c:v>14.79418604651163</c:v>
                </c:pt>
                <c:pt idx="1373">
                  <c:v>14.79418604651163</c:v>
                </c:pt>
                <c:pt idx="1374">
                  <c:v>14.79418604651163</c:v>
                </c:pt>
                <c:pt idx="1375">
                  <c:v>14.79418604651163</c:v>
                </c:pt>
                <c:pt idx="1376">
                  <c:v>14.79418604651163</c:v>
                </c:pt>
                <c:pt idx="1377">
                  <c:v>14.79418604651163</c:v>
                </c:pt>
                <c:pt idx="1378">
                  <c:v>14.79418604651163</c:v>
                </c:pt>
                <c:pt idx="1379">
                  <c:v>14.79418604651163</c:v>
                </c:pt>
                <c:pt idx="1380">
                  <c:v>14.79418604651163</c:v>
                </c:pt>
                <c:pt idx="1381">
                  <c:v>14.79418604651163</c:v>
                </c:pt>
                <c:pt idx="1382">
                  <c:v>14.79418604651163</c:v>
                </c:pt>
                <c:pt idx="1383">
                  <c:v>14.79418604651163</c:v>
                </c:pt>
                <c:pt idx="1384">
                  <c:v>14.79418604651163</c:v>
                </c:pt>
                <c:pt idx="1385">
                  <c:v>14.79418604651163</c:v>
                </c:pt>
                <c:pt idx="1386">
                  <c:v>14.79418604651163</c:v>
                </c:pt>
                <c:pt idx="1387">
                  <c:v>14.79418604651163</c:v>
                </c:pt>
                <c:pt idx="1388">
                  <c:v>14.79418604651163</c:v>
                </c:pt>
                <c:pt idx="1389">
                  <c:v>14.79418604651163</c:v>
                </c:pt>
                <c:pt idx="1390">
                  <c:v>14.79418604651163</c:v>
                </c:pt>
                <c:pt idx="1391">
                  <c:v>14.79418604651163</c:v>
                </c:pt>
                <c:pt idx="1392">
                  <c:v>14.79418604651163</c:v>
                </c:pt>
                <c:pt idx="1393">
                  <c:v>14.79418604651163</c:v>
                </c:pt>
                <c:pt idx="1394">
                  <c:v>14.79418604651163</c:v>
                </c:pt>
                <c:pt idx="1395">
                  <c:v>14.79418604651163</c:v>
                </c:pt>
                <c:pt idx="1396">
                  <c:v>14.79418604651163</c:v>
                </c:pt>
                <c:pt idx="1397">
                  <c:v>14.79418604651163</c:v>
                </c:pt>
                <c:pt idx="1398">
                  <c:v>14.79418604651163</c:v>
                </c:pt>
                <c:pt idx="1399">
                  <c:v>14.79418604651163</c:v>
                </c:pt>
                <c:pt idx="1400">
                  <c:v>14.79418604651163</c:v>
                </c:pt>
                <c:pt idx="1401">
                  <c:v>14.79418604651163</c:v>
                </c:pt>
                <c:pt idx="1402">
                  <c:v>14.79418604651163</c:v>
                </c:pt>
                <c:pt idx="1403">
                  <c:v>14.79418604651163</c:v>
                </c:pt>
                <c:pt idx="1404">
                  <c:v>14.79418604651163</c:v>
                </c:pt>
                <c:pt idx="1405">
                  <c:v>14.79418604651163</c:v>
                </c:pt>
                <c:pt idx="1406">
                  <c:v>14.79418604651163</c:v>
                </c:pt>
                <c:pt idx="1407">
                  <c:v>14.79418604651163</c:v>
                </c:pt>
                <c:pt idx="1408">
                  <c:v>14.79418604651163</c:v>
                </c:pt>
                <c:pt idx="1409">
                  <c:v>14.79418604651163</c:v>
                </c:pt>
                <c:pt idx="1410">
                  <c:v>14.79418604651163</c:v>
                </c:pt>
                <c:pt idx="1411">
                  <c:v>14.79418604651163</c:v>
                </c:pt>
                <c:pt idx="1412">
                  <c:v>14.79418604651163</c:v>
                </c:pt>
                <c:pt idx="1413">
                  <c:v>14.79418604651163</c:v>
                </c:pt>
                <c:pt idx="1414">
                  <c:v>14.79418604651163</c:v>
                </c:pt>
                <c:pt idx="1415">
                  <c:v>14.79418604651163</c:v>
                </c:pt>
                <c:pt idx="1416">
                  <c:v>14.79418604651163</c:v>
                </c:pt>
                <c:pt idx="1417">
                  <c:v>14.79418604651163</c:v>
                </c:pt>
                <c:pt idx="1418">
                  <c:v>14.79418604651163</c:v>
                </c:pt>
                <c:pt idx="1419">
                  <c:v>14.79418604651163</c:v>
                </c:pt>
                <c:pt idx="1420">
                  <c:v>14.79418604651163</c:v>
                </c:pt>
                <c:pt idx="1421">
                  <c:v>14.79418604651163</c:v>
                </c:pt>
                <c:pt idx="1422">
                  <c:v>14.79418604651163</c:v>
                </c:pt>
                <c:pt idx="1423">
                  <c:v>14.79418604651163</c:v>
                </c:pt>
                <c:pt idx="1424">
                  <c:v>14.79418604651163</c:v>
                </c:pt>
                <c:pt idx="1425">
                  <c:v>14.79418604651163</c:v>
                </c:pt>
                <c:pt idx="1426">
                  <c:v>14.79418604651163</c:v>
                </c:pt>
                <c:pt idx="1427">
                  <c:v>14.79418604651163</c:v>
                </c:pt>
                <c:pt idx="1428">
                  <c:v>14.79418604651163</c:v>
                </c:pt>
                <c:pt idx="1429">
                  <c:v>14.79418604651163</c:v>
                </c:pt>
                <c:pt idx="1430">
                  <c:v>14.79418604651163</c:v>
                </c:pt>
                <c:pt idx="1431">
                  <c:v>14.79418604651163</c:v>
                </c:pt>
                <c:pt idx="1432">
                  <c:v>14.79418604651163</c:v>
                </c:pt>
                <c:pt idx="1433">
                  <c:v>14.79418604651163</c:v>
                </c:pt>
                <c:pt idx="1434">
                  <c:v>14.79418604651163</c:v>
                </c:pt>
                <c:pt idx="1435">
                  <c:v>14.79418604651163</c:v>
                </c:pt>
                <c:pt idx="1436">
                  <c:v>14.79418604651163</c:v>
                </c:pt>
                <c:pt idx="1437">
                  <c:v>14.79418604651163</c:v>
                </c:pt>
                <c:pt idx="1438">
                  <c:v>14.79418604651163</c:v>
                </c:pt>
                <c:pt idx="1439">
                  <c:v>14.79418604651163</c:v>
                </c:pt>
                <c:pt idx="1440">
                  <c:v>14.79418604651163</c:v>
                </c:pt>
                <c:pt idx="1441">
                  <c:v>14.79418604651163</c:v>
                </c:pt>
                <c:pt idx="1442">
                  <c:v>14.79418604651163</c:v>
                </c:pt>
                <c:pt idx="1443">
                  <c:v>14.79418604651163</c:v>
                </c:pt>
                <c:pt idx="1444">
                  <c:v>14.79418604651163</c:v>
                </c:pt>
                <c:pt idx="1445">
                  <c:v>14.79418604651163</c:v>
                </c:pt>
                <c:pt idx="1446">
                  <c:v>14.79418604651163</c:v>
                </c:pt>
                <c:pt idx="1447">
                  <c:v>14.79418604651163</c:v>
                </c:pt>
                <c:pt idx="1448">
                  <c:v>14.79418604651163</c:v>
                </c:pt>
                <c:pt idx="1449">
                  <c:v>14.79418604651163</c:v>
                </c:pt>
                <c:pt idx="1450">
                  <c:v>14.79418604651163</c:v>
                </c:pt>
                <c:pt idx="1451">
                  <c:v>14.79418604651163</c:v>
                </c:pt>
                <c:pt idx="1452">
                  <c:v>14.79418604651163</c:v>
                </c:pt>
                <c:pt idx="1453">
                  <c:v>14.79418604651163</c:v>
                </c:pt>
                <c:pt idx="1454">
                  <c:v>14.79418604651163</c:v>
                </c:pt>
                <c:pt idx="1455">
                  <c:v>14.79418604651163</c:v>
                </c:pt>
                <c:pt idx="1456">
                  <c:v>14.79418604651163</c:v>
                </c:pt>
                <c:pt idx="1457">
                  <c:v>14.79418604651163</c:v>
                </c:pt>
                <c:pt idx="1458">
                  <c:v>14.79418604651163</c:v>
                </c:pt>
                <c:pt idx="1459">
                  <c:v>14.79418604651163</c:v>
                </c:pt>
                <c:pt idx="1460">
                  <c:v>14.79418604651163</c:v>
                </c:pt>
                <c:pt idx="1461">
                  <c:v>14.79418604651163</c:v>
                </c:pt>
                <c:pt idx="1462">
                  <c:v>14.79418604651163</c:v>
                </c:pt>
                <c:pt idx="1463">
                  <c:v>14.79418604651163</c:v>
                </c:pt>
                <c:pt idx="1464">
                  <c:v>14.79418604651163</c:v>
                </c:pt>
                <c:pt idx="1465">
                  <c:v>14.79418604651163</c:v>
                </c:pt>
                <c:pt idx="1466">
                  <c:v>14.79418604651163</c:v>
                </c:pt>
                <c:pt idx="1467">
                  <c:v>14.79418604651163</c:v>
                </c:pt>
                <c:pt idx="1468">
                  <c:v>14.79418604651163</c:v>
                </c:pt>
                <c:pt idx="1469">
                  <c:v>14.79418604651163</c:v>
                </c:pt>
                <c:pt idx="1470">
                  <c:v>14.79418604651163</c:v>
                </c:pt>
                <c:pt idx="1471">
                  <c:v>14.79418604651163</c:v>
                </c:pt>
                <c:pt idx="1472">
                  <c:v>14.79418604651163</c:v>
                </c:pt>
                <c:pt idx="1473">
                  <c:v>14.79418604651163</c:v>
                </c:pt>
                <c:pt idx="1474">
                  <c:v>14.79418604651163</c:v>
                </c:pt>
                <c:pt idx="1475">
                  <c:v>14.79418604651163</c:v>
                </c:pt>
                <c:pt idx="1476">
                  <c:v>14.79418604651163</c:v>
                </c:pt>
                <c:pt idx="1477">
                  <c:v>14.79418604651163</c:v>
                </c:pt>
                <c:pt idx="1478">
                  <c:v>14.79418604651163</c:v>
                </c:pt>
                <c:pt idx="1479">
                  <c:v>14.79418604651163</c:v>
                </c:pt>
                <c:pt idx="1480">
                  <c:v>14.79418604651163</c:v>
                </c:pt>
                <c:pt idx="1481">
                  <c:v>14.79418604651163</c:v>
                </c:pt>
                <c:pt idx="1482">
                  <c:v>14.79418604651163</c:v>
                </c:pt>
                <c:pt idx="1483">
                  <c:v>14.79418604651163</c:v>
                </c:pt>
                <c:pt idx="1484">
                  <c:v>14.79418604651163</c:v>
                </c:pt>
                <c:pt idx="1485">
                  <c:v>14.79418604651163</c:v>
                </c:pt>
                <c:pt idx="1486">
                  <c:v>14.79418604651163</c:v>
                </c:pt>
                <c:pt idx="1487">
                  <c:v>14.79418604651163</c:v>
                </c:pt>
                <c:pt idx="1488">
                  <c:v>14.79418604651163</c:v>
                </c:pt>
                <c:pt idx="1489">
                  <c:v>14.79418604651163</c:v>
                </c:pt>
                <c:pt idx="1490">
                  <c:v>14.79418604651163</c:v>
                </c:pt>
                <c:pt idx="1491">
                  <c:v>14.79418604651163</c:v>
                </c:pt>
                <c:pt idx="1492">
                  <c:v>14.79418604651163</c:v>
                </c:pt>
                <c:pt idx="1493">
                  <c:v>14.79418604651163</c:v>
                </c:pt>
                <c:pt idx="1494">
                  <c:v>14.79418604651163</c:v>
                </c:pt>
                <c:pt idx="1495">
                  <c:v>14.79418604651163</c:v>
                </c:pt>
                <c:pt idx="1496">
                  <c:v>14.79418604651163</c:v>
                </c:pt>
                <c:pt idx="1497">
                  <c:v>14.79418604651163</c:v>
                </c:pt>
                <c:pt idx="1498">
                  <c:v>14.79418604651163</c:v>
                </c:pt>
                <c:pt idx="1499">
                  <c:v>14.79418604651163</c:v>
                </c:pt>
                <c:pt idx="1500">
                  <c:v>14.79418604651163</c:v>
                </c:pt>
                <c:pt idx="1501">
                  <c:v>14.79418604651163</c:v>
                </c:pt>
                <c:pt idx="1502">
                  <c:v>14.79418604651163</c:v>
                </c:pt>
                <c:pt idx="1503">
                  <c:v>14.79418604651163</c:v>
                </c:pt>
                <c:pt idx="1504">
                  <c:v>14.79418604651163</c:v>
                </c:pt>
                <c:pt idx="1505">
                  <c:v>14.79418604651163</c:v>
                </c:pt>
                <c:pt idx="1506">
                  <c:v>14.79418604651163</c:v>
                </c:pt>
                <c:pt idx="1507">
                  <c:v>14.79418604651163</c:v>
                </c:pt>
                <c:pt idx="1508">
                  <c:v>14.79418604651163</c:v>
                </c:pt>
                <c:pt idx="1509">
                  <c:v>14.79418604651163</c:v>
                </c:pt>
                <c:pt idx="1510">
                  <c:v>14.79418604651163</c:v>
                </c:pt>
                <c:pt idx="1511">
                  <c:v>14.79418604651163</c:v>
                </c:pt>
                <c:pt idx="1512">
                  <c:v>14.79418604651163</c:v>
                </c:pt>
                <c:pt idx="1513">
                  <c:v>14.79418604651163</c:v>
                </c:pt>
                <c:pt idx="1514">
                  <c:v>14.79418604651163</c:v>
                </c:pt>
                <c:pt idx="1515">
                  <c:v>14.79418604651163</c:v>
                </c:pt>
                <c:pt idx="1516">
                  <c:v>14.79418604651163</c:v>
                </c:pt>
                <c:pt idx="1517">
                  <c:v>14.79418604651163</c:v>
                </c:pt>
                <c:pt idx="1518">
                  <c:v>14.79418604651163</c:v>
                </c:pt>
                <c:pt idx="1519">
                  <c:v>14.79418604651163</c:v>
                </c:pt>
                <c:pt idx="1520">
                  <c:v>14.79418604651163</c:v>
                </c:pt>
                <c:pt idx="1521">
                  <c:v>14.79418604651163</c:v>
                </c:pt>
                <c:pt idx="1522">
                  <c:v>14.79418604651163</c:v>
                </c:pt>
                <c:pt idx="1523">
                  <c:v>14.79418604651163</c:v>
                </c:pt>
                <c:pt idx="1524">
                  <c:v>14.79418604651163</c:v>
                </c:pt>
                <c:pt idx="1525">
                  <c:v>14.79418604651163</c:v>
                </c:pt>
                <c:pt idx="1526">
                  <c:v>14.79418604651163</c:v>
                </c:pt>
                <c:pt idx="1527">
                  <c:v>14.79418604651163</c:v>
                </c:pt>
                <c:pt idx="1528">
                  <c:v>14.79418604651163</c:v>
                </c:pt>
                <c:pt idx="1529">
                  <c:v>14.79418604651163</c:v>
                </c:pt>
                <c:pt idx="1530">
                  <c:v>14.79418604651163</c:v>
                </c:pt>
                <c:pt idx="1531">
                  <c:v>14.79418604651163</c:v>
                </c:pt>
                <c:pt idx="1532">
                  <c:v>14.79418604651163</c:v>
                </c:pt>
                <c:pt idx="1533">
                  <c:v>14.79418604651163</c:v>
                </c:pt>
                <c:pt idx="1534">
                  <c:v>14.79418604651163</c:v>
                </c:pt>
                <c:pt idx="1535">
                  <c:v>14.79418604651163</c:v>
                </c:pt>
                <c:pt idx="1536">
                  <c:v>14.79418604651163</c:v>
                </c:pt>
                <c:pt idx="1537">
                  <c:v>14.79418604651163</c:v>
                </c:pt>
                <c:pt idx="1538">
                  <c:v>14.79418604651163</c:v>
                </c:pt>
                <c:pt idx="1539">
                  <c:v>14.79418604651163</c:v>
                </c:pt>
                <c:pt idx="1540">
                  <c:v>14.79418604651163</c:v>
                </c:pt>
                <c:pt idx="1541">
                  <c:v>14.79418604651163</c:v>
                </c:pt>
                <c:pt idx="1542">
                  <c:v>14.79418604651163</c:v>
                </c:pt>
                <c:pt idx="1543">
                  <c:v>14.79418604651163</c:v>
                </c:pt>
                <c:pt idx="1544">
                  <c:v>14.79418604651163</c:v>
                </c:pt>
                <c:pt idx="1545">
                  <c:v>14.79418604651163</c:v>
                </c:pt>
                <c:pt idx="1546">
                  <c:v>14.79418604651163</c:v>
                </c:pt>
                <c:pt idx="1547">
                  <c:v>14.79418604651163</c:v>
                </c:pt>
                <c:pt idx="1548">
                  <c:v>14.79418604651163</c:v>
                </c:pt>
                <c:pt idx="1549">
                  <c:v>14.79418604651163</c:v>
                </c:pt>
                <c:pt idx="1550">
                  <c:v>14.79418604651163</c:v>
                </c:pt>
                <c:pt idx="1551">
                  <c:v>14.79418604651163</c:v>
                </c:pt>
                <c:pt idx="1552">
                  <c:v>14.79418604651163</c:v>
                </c:pt>
                <c:pt idx="1553">
                  <c:v>14.79418604651163</c:v>
                </c:pt>
                <c:pt idx="1554">
                  <c:v>14.79418604651163</c:v>
                </c:pt>
                <c:pt idx="1555">
                  <c:v>14.79418604651163</c:v>
                </c:pt>
                <c:pt idx="1556">
                  <c:v>14.79418604651163</c:v>
                </c:pt>
                <c:pt idx="1557">
                  <c:v>14.79418604651163</c:v>
                </c:pt>
                <c:pt idx="1558">
                  <c:v>14.79418604651163</c:v>
                </c:pt>
                <c:pt idx="1559">
                  <c:v>14.79418604651163</c:v>
                </c:pt>
                <c:pt idx="1560">
                  <c:v>14.79418604651163</c:v>
                </c:pt>
                <c:pt idx="1561">
                  <c:v>14.79418604651163</c:v>
                </c:pt>
                <c:pt idx="1562">
                  <c:v>14.79418604651163</c:v>
                </c:pt>
                <c:pt idx="1563">
                  <c:v>14.79418604651163</c:v>
                </c:pt>
                <c:pt idx="1564">
                  <c:v>14.79418604651163</c:v>
                </c:pt>
                <c:pt idx="1565">
                  <c:v>14.79418604651163</c:v>
                </c:pt>
                <c:pt idx="1566">
                  <c:v>14.79418604651163</c:v>
                </c:pt>
                <c:pt idx="1567">
                  <c:v>14.79418604651163</c:v>
                </c:pt>
                <c:pt idx="1568">
                  <c:v>14.79418604651163</c:v>
                </c:pt>
                <c:pt idx="1569">
                  <c:v>14.79418604651163</c:v>
                </c:pt>
                <c:pt idx="1570">
                  <c:v>14.79418604651163</c:v>
                </c:pt>
                <c:pt idx="1571">
                  <c:v>14.79418604651163</c:v>
                </c:pt>
                <c:pt idx="1572">
                  <c:v>14.79418604651163</c:v>
                </c:pt>
                <c:pt idx="1573">
                  <c:v>14.79418604651163</c:v>
                </c:pt>
                <c:pt idx="1574">
                  <c:v>14.79418604651163</c:v>
                </c:pt>
                <c:pt idx="1575">
                  <c:v>14.79418604651163</c:v>
                </c:pt>
                <c:pt idx="1576">
                  <c:v>14.79418604651163</c:v>
                </c:pt>
                <c:pt idx="1577">
                  <c:v>14.79418604651163</c:v>
                </c:pt>
                <c:pt idx="1578">
                  <c:v>14.79418604651163</c:v>
                </c:pt>
                <c:pt idx="1579">
                  <c:v>14.79418604651163</c:v>
                </c:pt>
                <c:pt idx="1580">
                  <c:v>14.79418604651163</c:v>
                </c:pt>
                <c:pt idx="1581">
                  <c:v>14.79418604651163</c:v>
                </c:pt>
                <c:pt idx="1582">
                  <c:v>14.79418604651163</c:v>
                </c:pt>
                <c:pt idx="1583">
                  <c:v>14.79418604651163</c:v>
                </c:pt>
                <c:pt idx="1584">
                  <c:v>14.79418604651163</c:v>
                </c:pt>
                <c:pt idx="1585">
                  <c:v>14.79418604651163</c:v>
                </c:pt>
                <c:pt idx="1586">
                  <c:v>14.79418604651163</c:v>
                </c:pt>
                <c:pt idx="1587">
                  <c:v>14.79418604651163</c:v>
                </c:pt>
                <c:pt idx="1588">
                  <c:v>14.79418604651163</c:v>
                </c:pt>
                <c:pt idx="1589">
                  <c:v>14.79418604651163</c:v>
                </c:pt>
                <c:pt idx="1590">
                  <c:v>14.79418604651163</c:v>
                </c:pt>
                <c:pt idx="1591">
                  <c:v>14.79418604651163</c:v>
                </c:pt>
                <c:pt idx="1592">
                  <c:v>14.79418604651163</c:v>
                </c:pt>
                <c:pt idx="1593">
                  <c:v>14.79418604651163</c:v>
                </c:pt>
                <c:pt idx="1594">
                  <c:v>14.79418604651163</c:v>
                </c:pt>
                <c:pt idx="1595">
                  <c:v>14.79418604651163</c:v>
                </c:pt>
                <c:pt idx="1596">
                  <c:v>14.79418604651163</c:v>
                </c:pt>
                <c:pt idx="1597">
                  <c:v>14.79418604651163</c:v>
                </c:pt>
                <c:pt idx="1598">
                  <c:v>14.79418604651163</c:v>
                </c:pt>
                <c:pt idx="1599">
                  <c:v>14.79418604651163</c:v>
                </c:pt>
                <c:pt idx="1600">
                  <c:v>14.79418604651163</c:v>
                </c:pt>
                <c:pt idx="1601">
                  <c:v>14.79418604651163</c:v>
                </c:pt>
                <c:pt idx="1602">
                  <c:v>14.79418604651163</c:v>
                </c:pt>
                <c:pt idx="1603">
                  <c:v>14.79418604651163</c:v>
                </c:pt>
                <c:pt idx="1604">
                  <c:v>14.79418604651163</c:v>
                </c:pt>
                <c:pt idx="1605">
                  <c:v>14.79418604651163</c:v>
                </c:pt>
                <c:pt idx="1606">
                  <c:v>14.79418604651163</c:v>
                </c:pt>
                <c:pt idx="1607">
                  <c:v>14.79418604651163</c:v>
                </c:pt>
                <c:pt idx="1608">
                  <c:v>14.79418604651163</c:v>
                </c:pt>
                <c:pt idx="1609">
                  <c:v>14.79418604651163</c:v>
                </c:pt>
                <c:pt idx="1610">
                  <c:v>14.79418604651163</c:v>
                </c:pt>
                <c:pt idx="1611">
                  <c:v>14.79418604651163</c:v>
                </c:pt>
                <c:pt idx="1612">
                  <c:v>14.79418604651163</c:v>
                </c:pt>
                <c:pt idx="1613">
                  <c:v>14.79418604651163</c:v>
                </c:pt>
                <c:pt idx="1614">
                  <c:v>14.79418604651163</c:v>
                </c:pt>
                <c:pt idx="1615">
                  <c:v>14.79418604651163</c:v>
                </c:pt>
                <c:pt idx="1616">
                  <c:v>14.79418604651163</c:v>
                </c:pt>
                <c:pt idx="1617">
                  <c:v>14.79418604651163</c:v>
                </c:pt>
                <c:pt idx="1618">
                  <c:v>14.79418604651163</c:v>
                </c:pt>
                <c:pt idx="1619">
                  <c:v>14.79418604651163</c:v>
                </c:pt>
                <c:pt idx="1620">
                  <c:v>14.79418604651163</c:v>
                </c:pt>
                <c:pt idx="1621">
                  <c:v>14.79418604651163</c:v>
                </c:pt>
                <c:pt idx="1622">
                  <c:v>14.79418604651163</c:v>
                </c:pt>
                <c:pt idx="1623">
                  <c:v>14.79418604651163</c:v>
                </c:pt>
                <c:pt idx="1624">
                  <c:v>14.79418604651163</c:v>
                </c:pt>
                <c:pt idx="1625">
                  <c:v>14.79418604651163</c:v>
                </c:pt>
                <c:pt idx="1626">
                  <c:v>14.79418604651163</c:v>
                </c:pt>
                <c:pt idx="1627">
                  <c:v>14.79418604651163</c:v>
                </c:pt>
                <c:pt idx="1628">
                  <c:v>14.79418604651163</c:v>
                </c:pt>
                <c:pt idx="1629">
                  <c:v>14.79418604651163</c:v>
                </c:pt>
                <c:pt idx="1630">
                  <c:v>14.79418604651163</c:v>
                </c:pt>
                <c:pt idx="1631">
                  <c:v>14.79418604651163</c:v>
                </c:pt>
                <c:pt idx="1632">
                  <c:v>14.79418604651163</c:v>
                </c:pt>
                <c:pt idx="1633">
                  <c:v>14.79418604651163</c:v>
                </c:pt>
                <c:pt idx="1634">
                  <c:v>14.79418604651163</c:v>
                </c:pt>
                <c:pt idx="1635">
                  <c:v>14.79418604651163</c:v>
                </c:pt>
                <c:pt idx="1636">
                  <c:v>14.79418604651163</c:v>
                </c:pt>
                <c:pt idx="1637">
                  <c:v>14.79418604651163</c:v>
                </c:pt>
                <c:pt idx="1638">
                  <c:v>14.79418604651163</c:v>
                </c:pt>
                <c:pt idx="1639">
                  <c:v>14.79418604651163</c:v>
                </c:pt>
                <c:pt idx="1640">
                  <c:v>14.79418604651163</c:v>
                </c:pt>
                <c:pt idx="1641">
                  <c:v>14.79418604651163</c:v>
                </c:pt>
                <c:pt idx="1642">
                  <c:v>14.79418604651163</c:v>
                </c:pt>
                <c:pt idx="1643">
                  <c:v>14.79418604651163</c:v>
                </c:pt>
                <c:pt idx="1644">
                  <c:v>14.79418604651163</c:v>
                </c:pt>
                <c:pt idx="1645">
                  <c:v>14.79418604651163</c:v>
                </c:pt>
                <c:pt idx="1646">
                  <c:v>14.79418604651163</c:v>
                </c:pt>
                <c:pt idx="1647">
                  <c:v>14.79418604651163</c:v>
                </c:pt>
                <c:pt idx="1648">
                  <c:v>14.79418604651163</c:v>
                </c:pt>
                <c:pt idx="1649">
                  <c:v>14.79418604651163</c:v>
                </c:pt>
                <c:pt idx="1650">
                  <c:v>14.79418604651163</c:v>
                </c:pt>
                <c:pt idx="1651">
                  <c:v>14.79418604651163</c:v>
                </c:pt>
                <c:pt idx="1652">
                  <c:v>14.79418604651163</c:v>
                </c:pt>
                <c:pt idx="1653">
                  <c:v>14.79418604651163</c:v>
                </c:pt>
                <c:pt idx="1654">
                  <c:v>14.79418604651163</c:v>
                </c:pt>
                <c:pt idx="1655">
                  <c:v>14.79418604651163</c:v>
                </c:pt>
                <c:pt idx="1656">
                  <c:v>14.79418604651163</c:v>
                </c:pt>
                <c:pt idx="1657">
                  <c:v>14.79418604651163</c:v>
                </c:pt>
                <c:pt idx="1658">
                  <c:v>14.79418604651163</c:v>
                </c:pt>
                <c:pt idx="1659">
                  <c:v>14.79418604651163</c:v>
                </c:pt>
                <c:pt idx="1660">
                  <c:v>14.79418604651163</c:v>
                </c:pt>
                <c:pt idx="1661">
                  <c:v>14.79418604651163</c:v>
                </c:pt>
                <c:pt idx="1662">
                  <c:v>14.79418604651163</c:v>
                </c:pt>
                <c:pt idx="1663">
                  <c:v>14.79418604651163</c:v>
                </c:pt>
                <c:pt idx="1664">
                  <c:v>14.79418604651163</c:v>
                </c:pt>
                <c:pt idx="1665">
                  <c:v>14.79418604651163</c:v>
                </c:pt>
                <c:pt idx="1666">
                  <c:v>14.79418604651163</c:v>
                </c:pt>
                <c:pt idx="1667">
                  <c:v>14.79418604651163</c:v>
                </c:pt>
                <c:pt idx="1668">
                  <c:v>14.79418604651163</c:v>
                </c:pt>
                <c:pt idx="1669">
                  <c:v>14.79418604651163</c:v>
                </c:pt>
                <c:pt idx="1670">
                  <c:v>14.79418604651163</c:v>
                </c:pt>
                <c:pt idx="1671">
                  <c:v>14.79418604651163</c:v>
                </c:pt>
                <c:pt idx="1672">
                  <c:v>14.79418604651163</c:v>
                </c:pt>
                <c:pt idx="1673">
                  <c:v>14.79418604651163</c:v>
                </c:pt>
                <c:pt idx="1674">
                  <c:v>14.79418604651163</c:v>
                </c:pt>
                <c:pt idx="1675">
                  <c:v>14.79418604651163</c:v>
                </c:pt>
                <c:pt idx="1676">
                  <c:v>14.79418604651163</c:v>
                </c:pt>
                <c:pt idx="1677">
                  <c:v>14.79418604651163</c:v>
                </c:pt>
                <c:pt idx="1678">
                  <c:v>14.79418604651163</c:v>
                </c:pt>
                <c:pt idx="1679">
                  <c:v>14.79418604651163</c:v>
                </c:pt>
                <c:pt idx="1680">
                  <c:v>14.79418604651163</c:v>
                </c:pt>
                <c:pt idx="1681">
                  <c:v>14.79418604651163</c:v>
                </c:pt>
                <c:pt idx="1682">
                  <c:v>14.79418604651163</c:v>
                </c:pt>
                <c:pt idx="1683">
                  <c:v>14.79418604651163</c:v>
                </c:pt>
                <c:pt idx="1684">
                  <c:v>14.79418604651163</c:v>
                </c:pt>
                <c:pt idx="1685">
                  <c:v>14.79418604651163</c:v>
                </c:pt>
                <c:pt idx="1686">
                  <c:v>14.79418604651163</c:v>
                </c:pt>
                <c:pt idx="1687">
                  <c:v>14.79418604651163</c:v>
                </c:pt>
                <c:pt idx="1688">
                  <c:v>14.79418604651163</c:v>
                </c:pt>
                <c:pt idx="1689">
                  <c:v>14.79418604651163</c:v>
                </c:pt>
                <c:pt idx="1690">
                  <c:v>14.79418604651163</c:v>
                </c:pt>
                <c:pt idx="1691">
                  <c:v>14.79418604651163</c:v>
                </c:pt>
                <c:pt idx="1692">
                  <c:v>14.79418604651163</c:v>
                </c:pt>
                <c:pt idx="1693">
                  <c:v>14.79418604651163</c:v>
                </c:pt>
                <c:pt idx="1694">
                  <c:v>14.79418604651163</c:v>
                </c:pt>
                <c:pt idx="1695">
                  <c:v>14.79418604651163</c:v>
                </c:pt>
                <c:pt idx="1696">
                  <c:v>14.79418604651163</c:v>
                </c:pt>
                <c:pt idx="1697">
                  <c:v>14.79418604651163</c:v>
                </c:pt>
                <c:pt idx="1698">
                  <c:v>14.79418604651163</c:v>
                </c:pt>
                <c:pt idx="1699">
                  <c:v>14.79418604651163</c:v>
                </c:pt>
                <c:pt idx="1700">
                  <c:v>14.79418604651163</c:v>
                </c:pt>
                <c:pt idx="1701">
                  <c:v>14.79418604651163</c:v>
                </c:pt>
                <c:pt idx="1702">
                  <c:v>14.79418604651163</c:v>
                </c:pt>
                <c:pt idx="1703">
                  <c:v>14.79418604651163</c:v>
                </c:pt>
                <c:pt idx="1704">
                  <c:v>14.79418604651163</c:v>
                </c:pt>
                <c:pt idx="1705">
                  <c:v>14.79418604651163</c:v>
                </c:pt>
                <c:pt idx="1706">
                  <c:v>14.79418604651163</c:v>
                </c:pt>
                <c:pt idx="1707">
                  <c:v>14.79418604651163</c:v>
                </c:pt>
                <c:pt idx="1708">
                  <c:v>14.79418604651163</c:v>
                </c:pt>
                <c:pt idx="1709">
                  <c:v>14.79418604651163</c:v>
                </c:pt>
                <c:pt idx="1710">
                  <c:v>14.79418604651163</c:v>
                </c:pt>
                <c:pt idx="1711">
                  <c:v>14.79418604651163</c:v>
                </c:pt>
                <c:pt idx="1712">
                  <c:v>14.79418604651163</c:v>
                </c:pt>
                <c:pt idx="1713">
                  <c:v>14.79418604651163</c:v>
                </c:pt>
                <c:pt idx="1714">
                  <c:v>14.79418604651163</c:v>
                </c:pt>
                <c:pt idx="1715">
                  <c:v>14.79418604651163</c:v>
                </c:pt>
                <c:pt idx="1716">
                  <c:v>14.79418604651163</c:v>
                </c:pt>
                <c:pt idx="1717">
                  <c:v>14.79418604651163</c:v>
                </c:pt>
                <c:pt idx="1718">
                  <c:v>14.79418604651163</c:v>
                </c:pt>
                <c:pt idx="1719">
                  <c:v>14.79418604651163</c:v>
                </c:pt>
                <c:pt idx="1720">
                  <c:v>14.79418604651163</c:v>
                </c:pt>
                <c:pt idx="1721">
                  <c:v>14.79418604651163</c:v>
                </c:pt>
                <c:pt idx="1722">
                  <c:v>14.79418604651163</c:v>
                </c:pt>
                <c:pt idx="1723">
                  <c:v>14.79418604651163</c:v>
                </c:pt>
                <c:pt idx="1724">
                  <c:v>14.79418604651163</c:v>
                </c:pt>
                <c:pt idx="1725">
                  <c:v>14.79418604651163</c:v>
                </c:pt>
                <c:pt idx="1726">
                  <c:v>14.79418604651163</c:v>
                </c:pt>
                <c:pt idx="1727">
                  <c:v>14.79418604651163</c:v>
                </c:pt>
                <c:pt idx="1728">
                  <c:v>14.79418604651163</c:v>
                </c:pt>
                <c:pt idx="1729">
                  <c:v>14.79418604651163</c:v>
                </c:pt>
                <c:pt idx="1730">
                  <c:v>14.79418604651163</c:v>
                </c:pt>
                <c:pt idx="1731">
                  <c:v>14.79418604651163</c:v>
                </c:pt>
                <c:pt idx="1732">
                  <c:v>14.79418604651163</c:v>
                </c:pt>
                <c:pt idx="1733">
                  <c:v>14.79418604651163</c:v>
                </c:pt>
                <c:pt idx="1734">
                  <c:v>14.79418604651163</c:v>
                </c:pt>
                <c:pt idx="1735">
                  <c:v>14.79418604651163</c:v>
                </c:pt>
                <c:pt idx="1736">
                  <c:v>14.79418604651163</c:v>
                </c:pt>
                <c:pt idx="1737">
                  <c:v>14.79418604651163</c:v>
                </c:pt>
                <c:pt idx="1738">
                  <c:v>14.79418604651163</c:v>
                </c:pt>
                <c:pt idx="1739">
                  <c:v>14.79418604651163</c:v>
                </c:pt>
                <c:pt idx="1740">
                  <c:v>14.79418604651163</c:v>
                </c:pt>
                <c:pt idx="1741">
                  <c:v>14.79418604651163</c:v>
                </c:pt>
                <c:pt idx="1742">
                  <c:v>14.79418604651163</c:v>
                </c:pt>
                <c:pt idx="1743">
                  <c:v>14.79418604651163</c:v>
                </c:pt>
                <c:pt idx="1744">
                  <c:v>14.79418604651163</c:v>
                </c:pt>
                <c:pt idx="1745">
                  <c:v>14.79418604651163</c:v>
                </c:pt>
                <c:pt idx="1746">
                  <c:v>14.79418604651163</c:v>
                </c:pt>
                <c:pt idx="1747">
                  <c:v>14.79418604651163</c:v>
                </c:pt>
                <c:pt idx="1748">
                  <c:v>14.79418604651163</c:v>
                </c:pt>
                <c:pt idx="1749">
                  <c:v>14.79418604651163</c:v>
                </c:pt>
                <c:pt idx="1750">
                  <c:v>14.79418604651163</c:v>
                </c:pt>
                <c:pt idx="1751">
                  <c:v>14.79418604651163</c:v>
                </c:pt>
                <c:pt idx="1752">
                  <c:v>14.79418604651163</c:v>
                </c:pt>
                <c:pt idx="1753">
                  <c:v>14.79418604651163</c:v>
                </c:pt>
                <c:pt idx="1754">
                  <c:v>14.79418604651163</c:v>
                </c:pt>
                <c:pt idx="1755">
                  <c:v>14.79418604651163</c:v>
                </c:pt>
                <c:pt idx="1756">
                  <c:v>14.79418604651163</c:v>
                </c:pt>
                <c:pt idx="1757">
                  <c:v>14.79418604651163</c:v>
                </c:pt>
                <c:pt idx="1758">
                  <c:v>14.79418604651163</c:v>
                </c:pt>
                <c:pt idx="1759">
                  <c:v>14.79418604651163</c:v>
                </c:pt>
                <c:pt idx="1760">
                  <c:v>14.79418604651163</c:v>
                </c:pt>
                <c:pt idx="1761">
                  <c:v>14.79418604651163</c:v>
                </c:pt>
                <c:pt idx="1762">
                  <c:v>14.79418604651163</c:v>
                </c:pt>
                <c:pt idx="1763">
                  <c:v>14.79418604651163</c:v>
                </c:pt>
                <c:pt idx="1764">
                  <c:v>14.79418604651163</c:v>
                </c:pt>
                <c:pt idx="1765">
                  <c:v>14.79418604651163</c:v>
                </c:pt>
                <c:pt idx="1766">
                  <c:v>14.79418604651163</c:v>
                </c:pt>
                <c:pt idx="1767">
                  <c:v>14.79418604651163</c:v>
                </c:pt>
                <c:pt idx="1768">
                  <c:v>14.79418604651163</c:v>
                </c:pt>
                <c:pt idx="1769">
                  <c:v>14.79418604651163</c:v>
                </c:pt>
                <c:pt idx="1770">
                  <c:v>14.79418604651163</c:v>
                </c:pt>
                <c:pt idx="1771">
                  <c:v>14.79418604651163</c:v>
                </c:pt>
                <c:pt idx="1772">
                  <c:v>14.79418604651163</c:v>
                </c:pt>
                <c:pt idx="1773">
                  <c:v>14.79418604651163</c:v>
                </c:pt>
                <c:pt idx="1774">
                  <c:v>14.79418604651163</c:v>
                </c:pt>
                <c:pt idx="1775">
                  <c:v>14.79418604651163</c:v>
                </c:pt>
                <c:pt idx="1776">
                  <c:v>14.79418604651163</c:v>
                </c:pt>
                <c:pt idx="1777">
                  <c:v>14.79418604651163</c:v>
                </c:pt>
                <c:pt idx="1778">
                  <c:v>14.79418604651163</c:v>
                </c:pt>
                <c:pt idx="1779">
                  <c:v>14.79418604651163</c:v>
                </c:pt>
                <c:pt idx="1780">
                  <c:v>14.79418604651163</c:v>
                </c:pt>
                <c:pt idx="1781">
                  <c:v>14.79418604651163</c:v>
                </c:pt>
                <c:pt idx="1782">
                  <c:v>14.79418604651163</c:v>
                </c:pt>
                <c:pt idx="1783">
                  <c:v>14.79418604651163</c:v>
                </c:pt>
                <c:pt idx="1784">
                  <c:v>14.79418604651163</c:v>
                </c:pt>
                <c:pt idx="1785">
                  <c:v>14.79418604651163</c:v>
                </c:pt>
                <c:pt idx="1786">
                  <c:v>14.79418604651163</c:v>
                </c:pt>
                <c:pt idx="1787">
                  <c:v>14.79418604651163</c:v>
                </c:pt>
                <c:pt idx="1788">
                  <c:v>14.79418604651163</c:v>
                </c:pt>
                <c:pt idx="1789">
                  <c:v>14.79418604651163</c:v>
                </c:pt>
                <c:pt idx="1790">
                  <c:v>14.79418604651163</c:v>
                </c:pt>
                <c:pt idx="1791">
                  <c:v>14.79418604651163</c:v>
                </c:pt>
                <c:pt idx="1792">
                  <c:v>14.79418604651163</c:v>
                </c:pt>
                <c:pt idx="1793">
                  <c:v>14.79418604651163</c:v>
                </c:pt>
                <c:pt idx="1794">
                  <c:v>14.79418604651163</c:v>
                </c:pt>
                <c:pt idx="1795">
                  <c:v>14.79418604651163</c:v>
                </c:pt>
                <c:pt idx="1796">
                  <c:v>14.79418604651163</c:v>
                </c:pt>
                <c:pt idx="1797">
                  <c:v>14.79418604651163</c:v>
                </c:pt>
                <c:pt idx="1798">
                  <c:v>14.79418604651163</c:v>
                </c:pt>
                <c:pt idx="1799">
                  <c:v>14.79418604651163</c:v>
                </c:pt>
                <c:pt idx="1800">
                  <c:v>14.79418604651163</c:v>
                </c:pt>
                <c:pt idx="1801">
                  <c:v>14.79418604651163</c:v>
                </c:pt>
                <c:pt idx="1802">
                  <c:v>14.79418604651163</c:v>
                </c:pt>
                <c:pt idx="1803">
                  <c:v>14.79418604651163</c:v>
                </c:pt>
                <c:pt idx="1804">
                  <c:v>14.79418604651163</c:v>
                </c:pt>
                <c:pt idx="1805">
                  <c:v>14.79418604651163</c:v>
                </c:pt>
                <c:pt idx="1806">
                  <c:v>14.79418604651163</c:v>
                </c:pt>
                <c:pt idx="1807">
                  <c:v>14.79418604651163</c:v>
                </c:pt>
                <c:pt idx="1808">
                  <c:v>14.79418604651163</c:v>
                </c:pt>
                <c:pt idx="1809">
                  <c:v>14.79418604651163</c:v>
                </c:pt>
                <c:pt idx="1810">
                  <c:v>14.79418604651163</c:v>
                </c:pt>
                <c:pt idx="1811">
                  <c:v>14.79418604651163</c:v>
                </c:pt>
                <c:pt idx="1812">
                  <c:v>14.79418604651163</c:v>
                </c:pt>
                <c:pt idx="1813">
                  <c:v>14.79418604651163</c:v>
                </c:pt>
                <c:pt idx="1814">
                  <c:v>14.79418604651163</c:v>
                </c:pt>
                <c:pt idx="1815">
                  <c:v>14.79418604651163</c:v>
                </c:pt>
                <c:pt idx="1816">
                  <c:v>14.79418604651163</c:v>
                </c:pt>
                <c:pt idx="1817">
                  <c:v>14.79418604651163</c:v>
                </c:pt>
                <c:pt idx="1818">
                  <c:v>14.79418604651163</c:v>
                </c:pt>
                <c:pt idx="1819">
                  <c:v>14.79418604651163</c:v>
                </c:pt>
                <c:pt idx="1820">
                  <c:v>14.79418604651163</c:v>
                </c:pt>
                <c:pt idx="1821">
                  <c:v>14.79418604651163</c:v>
                </c:pt>
                <c:pt idx="1822">
                  <c:v>14.79418604651163</c:v>
                </c:pt>
                <c:pt idx="1823">
                  <c:v>14.79418604651163</c:v>
                </c:pt>
                <c:pt idx="1824">
                  <c:v>14.79418604651163</c:v>
                </c:pt>
                <c:pt idx="1825">
                  <c:v>14.79418604651163</c:v>
                </c:pt>
                <c:pt idx="1826">
                  <c:v>14.79418604651163</c:v>
                </c:pt>
                <c:pt idx="1827">
                  <c:v>14.79418604651163</c:v>
                </c:pt>
                <c:pt idx="1828">
                  <c:v>14.79418604651163</c:v>
                </c:pt>
                <c:pt idx="1829">
                  <c:v>14.79418604651163</c:v>
                </c:pt>
                <c:pt idx="1830">
                  <c:v>14.79418604651163</c:v>
                </c:pt>
                <c:pt idx="1831">
                  <c:v>14.79418604651163</c:v>
                </c:pt>
                <c:pt idx="1832">
                  <c:v>14.79418604651163</c:v>
                </c:pt>
                <c:pt idx="1833">
                  <c:v>14.79418604651163</c:v>
                </c:pt>
                <c:pt idx="1834">
                  <c:v>14.79418604651163</c:v>
                </c:pt>
                <c:pt idx="1835">
                  <c:v>14.79418604651163</c:v>
                </c:pt>
                <c:pt idx="1836">
                  <c:v>14.79418604651163</c:v>
                </c:pt>
                <c:pt idx="1837">
                  <c:v>14.79418604651163</c:v>
                </c:pt>
                <c:pt idx="1838">
                  <c:v>14.79418604651163</c:v>
                </c:pt>
                <c:pt idx="1839">
                  <c:v>14.79418604651163</c:v>
                </c:pt>
                <c:pt idx="1840">
                  <c:v>14.79418604651163</c:v>
                </c:pt>
                <c:pt idx="1841">
                  <c:v>14.79418604651163</c:v>
                </c:pt>
                <c:pt idx="1842">
                  <c:v>14.79418604651163</c:v>
                </c:pt>
                <c:pt idx="1843">
                  <c:v>14.79418604651163</c:v>
                </c:pt>
                <c:pt idx="1844">
                  <c:v>14.79418604651163</c:v>
                </c:pt>
                <c:pt idx="1845">
                  <c:v>14.79418604651163</c:v>
                </c:pt>
                <c:pt idx="1846">
                  <c:v>14.79418604651163</c:v>
                </c:pt>
                <c:pt idx="1847">
                  <c:v>14.79418604651163</c:v>
                </c:pt>
                <c:pt idx="1848">
                  <c:v>14.79418604651163</c:v>
                </c:pt>
                <c:pt idx="1849">
                  <c:v>14.79418604651163</c:v>
                </c:pt>
                <c:pt idx="1850">
                  <c:v>14.79418604651163</c:v>
                </c:pt>
                <c:pt idx="1851">
                  <c:v>14.79418604651163</c:v>
                </c:pt>
                <c:pt idx="1852">
                  <c:v>14.79418604651163</c:v>
                </c:pt>
                <c:pt idx="1853">
                  <c:v>14.79418604651163</c:v>
                </c:pt>
                <c:pt idx="1854">
                  <c:v>14.79418604651163</c:v>
                </c:pt>
                <c:pt idx="1855">
                  <c:v>14.79418604651163</c:v>
                </c:pt>
                <c:pt idx="1856">
                  <c:v>14.79418604651163</c:v>
                </c:pt>
                <c:pt idx="1857">
                  <c:v>14.79418604651163</c:v>
                </c:pt>
                <c:pt idx="1858">
                  <c:v>14.79418604651163</c:v>
                </c:pt>
                <c:pt idx="1859">
                  <c:v>14.79418604651163</c:v>
                </c:pt>
                <c:pt idx="1860">
                  <c:v>14.79418604651163</c:v>
                </c:pt>
                <c:pt idx="1861">
                  <c:v>14.79418604651163</c:v>
                </c:pt>
                <c:pt idx="1862">
                  <c:v>14.79418604651163</c:v>
                </c:pt>
                <c:pt idx="1863">
                  <c:v>14.79418604651163</c:v>
                </c:pt>
                <c:pt idx="1864">
                  <c:v>14.79418604651163</c:v>
                </c:pt>
                <c:pt idx="1865">
                  <c:v>14.79418604651163</c:v>
                </c:pt>
                <c:pt idx="1866">
                  <c:v>14.79418604651163</c:v>
                </c:pt>
                <c:pt idx="1867">
                  <c:v>14.79418604651163</c:v>
                </c:pt>
                <c:pt idx="1868">
                  <c:v>14.79418604651163</c:v>
                </c:pt>
                <c:pt idx="1869">
                  <c:v>14.79418604651163</c:v>
                </c:pt>
                <c:pt idx="1870">
                  <c:v>14.79418604651163</c:v>
                </c:pt>
                <c:pt idx="1871">
                  <c:v>14.79418604651163</c:v>
                </c:pt>
                <c:pt idx="1872">
                  <c:v>14.79418604651163</c:v>
                </c:pt>
                <c:pt idx="1873">
                  <c:v>14.79418604651163</c:v>
                </c:pt>
                <c:pt idx="1874">
                  <c:v>14.79418604651163</c:v>
                </c:pt>
                <c:pt idx="1875">
                  <c:v>14.79418604651163</c:v>
                </c:pt>
                <c:pt idx="1876">
                  <c:v>14.79418604651163</c:v>
                </c:pt>
                <c:pt idx="1877">
                  <c:v>14.79418604651163</c:v>
                </c:pt>
                <c:pt idx="1878">
                  <c:v>14.79418604651163</c:v>
                </c:pt>
                <c:pt idx="1879">
                  <c:v>14.79418604651163</c:v>
                </c:pt>
                <c:pt idx="1880">
                  <c:v>14.79418604651163</c:v>
                </c:pt>
                <c:pt idx="1881">
                  <c:v>14.79418604651163</c:v>
                </c:pt>
                <c:pt idx="1882">
                  <c:v>14.79418604651163</c:v>
                </c:pt>
                <c:pt idx="1883">
                  <c:v>14.79418604651163</c:v>
                </c:pt>
                <c:pt idx="1884">
                  <c:v>14.79418604651163</c:v>
                </c:pt>
                <c:pt idx="1885">
                  <c:v>14.79418604651163</c:v>
                </c:pt>
                <c:pt idx="1886">
                  <c:v>14.79418604651163</c:v>
                </c:pt>
                <c:pt idx="1887">
                  <c:v>14.79418604651163</c:v>
                </c:pt>
                <c:pt idx="1888">
                  <c:v>14.79418604651163</c:v>
                </c:pt>
                <c:pt idx="1889">
                  <c:v>14.79418604651163</c:v>
                </c:pt>
                <c:pt idx="1890">
                  <c:v>14.79418604651163</c:v>
                </c:pt>
                <c:pt idx="1891">
                  <c:v>14.79418604651163</c:v>
                </c:pt>
                <c:pt idx="1892">
                  <c:v>14.79418604651163</c:v>
                </c:pt>
                <c:pt idx="1893">
                  <c:v>14.79418604651163</c:v>
                </c:pt>
                <c:pt idx="1894">
                  <c:v>14.79418604651163</c:v>
                </c:pt>
                <c:pt idx="1895">
                  <c:v>14.79418604651163</c:v>
                </c:pt>
                <c:pt idx="1896">
                  <c:v>14.79418604651163</c:v>
                </c:pt>
                <c:pt idx="1897">
                  <c:v>14.79418604651163</c:v>
                </c:pt>
                <c:pt idx="1898">
                  <c:v>14.79418604651163</c:v>
                </c:pt>
                <c:pt idx="1899">
                  <c:v>14.79418604651163</c:v>
                </c:pt>
                <c:pt idx="1900">
                  <c:v>14.79418604651163</c:v>
                </c:pt>
                <c:pt idx="1901">
                  <c:v>14.79418604651163</c:v>
                </c:pt>
                <c:pt idx="1902">
                  <c:v>14.79418604651163</c:v>
                </c:pt>
                <c:pt idx="1903">
                  <c:v>14.79418604651163</c:v>
                </c:pt>
                <c:pt idx="1904">
                  <c:v>14.79418604651163</c:v>
                </c:pt>
                <c:pt idx="1905">
                  <c:v>14.79418604651163</c:v>
                </c:pt>
                <c:pt idx="1906">
                  <c:v>14.79418604651163</c:v>
                </c:pt>
                <c:pt idx="1907">
                  <c:v>14.79418604651163</c:v>
                </c:pt>
                <c:pt idx="1908">
                  <c:v>14.79418604651163</c:v>
                </c:pt>
                <c:pt idx="1909">
                  <c:v>14.79418604651163</c:v>
                </c:pt>
                <c:pt idx="1910">
                  <c:v>14.79418604651163</c:v>
                </c:pt>
                <c:pt idx="1911">
                  <c:v>14.79418604651163</c:v>
                </c:pt>
                <c:pt idx="1912">
                  <c:v>14.79418604651163</c:v>
                </c:pt>
                <c:pt idx="1913">
                  <c:v>14.79418604651163</c:v>
                </c:pt>
                <c:pt idx="1914">
                  <c:v>14.79418604651163</c:v>
                </c:pt>
                <c:pt idx="1915">
                  <c:v>14.79418604651163</c:v>
                </c:pt>
                <c:pt idx="1916">
                  <c:v>14.79418604651163</c:v>
                </c:pt>
                <c:pt idx="1917">
                  <c:v>14.79418604651163</c:v>
                </c:pt>
                <c:pt idx="1918">
                  <c:v>14.79418604651163</c:v>
                </c:pt>
                <c:pt idx="1919">
                  <c:v>14.79418604651163</c:v>
                </c:pt>
                <c:pt idx="1920">
                  <c:v>14.79418604651163</c:v>
                </c:pt>
                <c:pt idx="1921">
                  <c:v>14.79418604651163</c:v>
                </c:pt>
                <c:pt idx="1922">
                  <c:v>14.79418604651163</c:v>
                </c:pt>
                <c:pt idx="1923">
                  <c:v>14.79418604651163</c:v>
                </c:pt>
                <c:pt idx="1924">
                  <c:v>14.79418604651163</c:v>
                </c:pt>
                <c:pt idx="1925">
                  <c:v>14.79418604651163</c:v>
                </c:pt>
                <c:pt idx="1926">
                  <c:v>14.79418604651163</c:v>
                </c:pt>
                <c:pt idx="1927">
                  <c:v>14.79418604651163</c:v>
                </c:pt>
                <c:pt idx="1928">
                  <c:v>14.79418604651163</c:v>
                </c:pt>
                <c:pt idx="1929">
                  <c:v>14.79418604651163</c:v>
                </c:pt>
                <c:pt idx="1930">
                  <c:v>14.79418604651163</c:v>
                </c:pt>
                <c:pt idx="1931">
                  <c:v>14.79418604651163</c:v>
                </c:pt>
                <c:pt idx="1932">
                  <c:v>14.79418604651163</c:v>
                </c:pt>
                <c:pt idx="1933">
                  <c:v>14.79418604651163</c:v>
                </c:pt>
                <c:pt idx="1934">
                  <c:v>14.79418604651163</c:v>
                </c:pt>
                <c:pt idx="1935">
                  <c:v>14.79418604651163</c:v>
                </c:pt>
                <c:pt idx="1936">
                  <c:v>14.79418604651163</c:v>
                </c:pt>
                <c:pt idx="1937">
                  <c:v>14.79418604651163</c:v>
                </c:pt>
                <c:pt idx="1938">
                  <c:v>14.79418604651163</c:v>
                </c:pt>
                <c:pt idx="1939">
                  <c:v>14.79418604651163</c:v>
                </c:pt>
                <c:pt idx="1940">
                  <c:v>14.79418604651163</c:v>
                </c:pt>
                <c:pt idx="1941">
                  <c:v>14.79418604651163</c:v>
                </c:pt>
                <c:pt idx="1942">
                  <c:v>14.79418604651163</c:v>
                </c:pt>
                <c:pt idx="1943">
                  <c:v>14.79418604651163</c:v>
                </c:pt>
                <c:pt idx="1944">
                  <c:v>14.79418604651163</c:v>
                </c:pt>
                <c:pt idx="1945">
                  <c:v>14.79418604651163</c:v>
                </c:pt>
                <c:pt idx="1946">
                  <c:v>14.79418604651163</c:v>
                </c:pt>
                <c:pt idx="1947">
                  <c:v>14.79418604651163</c:v>
                </c:pt>
                <c:pt idx="1948">
                  <c:v>14.79418604651163</c:v>
                </c:pt>
                <c:pt idx="1949">
                  <c:v>14.79418604651163</c:v>
                </c:pt>
                <c:pt idx="1950">
                  <c:v>14.79418604651163</c:v>
                </c:pt>
                <c:pt idx="1951">
                  <c:v>14.79418604651163</c:v>
                </c:pt>
                <c:pt idx="1952">
                  <c:v>14.79418604651163</c:v>
                </c:pt>
                <c:pt idx="1953">
                  <c:v>14.79418604651163</c:v>
                </c:pt>
                <c:pt idx="1954">
                  <c:v>14.79418604651163</c:v>
                </c:pt>
                <c:pt idx="1955">
                  <c:v>14.79418604651163</c:v>
                </c:pt>
                <c:pt idx="1956">
                  <c:v>14.79418604651163</c:v>
                </c:pt>
                <c:pt idx="1957">
                  <c:v>14.79418604651163</c:v>
                </c:pt>
                <c:pt idx="1958">
                  <c:v>14.79418604651163</c:v>
                </c:pt>
                <c:pt idx="1959">
                  <c:v>14.79418604651163</c:v>
                </c:pt>
                <c:pt idx="1960">
                  <c:v>14.79418604651163</c:v>
                </c:pt>
                <c:pt idx="1961">
                  <c:v>14.79418604651163</c:v>
                </c:pt>
                <c:pt idx="1962">
                  <c:v>14.79418604651163</c:v>
                </c:pt>
                <c:pt idx="1963">
                  <c:v>14.79418604651163</c:v>
                </c:pt>
                <c:pt idx="1964">
                  <c:v>14.79418604651163</c:v>
                </c:pt>
                <c:pt idx="1965">
                  <c:v>14.79418604651163</c:v>
                </c:pt>
                <c:pt idx="1966">
                  <c:v>14.79418604651163</c:v>
                </c:pt>
                <c:pt idx="1967">
                  <c:v>14.79418604651163</c:v>
                </c:pt>
                <c:pt idx="1968">
                  <c:v>14.79418604651163</c:v>
                </c:pt>
                <c:pt idx="1969">
                  <c:v>14.79418604651163</c:v>
                </c:pt>
                <c:pt idx="1970">
                  <c:v>14.79418604651163</c:v>
                </c:pt>
                <c:pt idx="1971">
                  <c:v>14.79418604651163</c:v>
                </c:pt>
                <c:pt idx="1972">
                  <c:v>14.79418604651163</c:v>
                </c:pt>
                <c:pt idx="1973">
                  <c:v>14.79418604651163</c:v>
                </c:pt>
                <c:pt idx="1974">
                  <c:v>14.79418604651163</c:v>
                </c:pt>
                <c:pt idx="1975">
                  <c:v>14.79418604651163</c:v>
                </c:pt>
                <c:pt idx="1976">
                  <c:v>14.79418604651163</c:v>
                </c:pt>
                <c:pt idx="1977">
                  <c:v>14.79418604651163</c:v>
                </c:pt>
                <c:pt idx="1978">
                  <c:v>14.79418604651163</c:v>
                </c:pt>
                <c:pt idx="1979">
                  <c:v>14.79418604651163</c:v>
                </c:pt>
                <c:pt idx="1980">
                  <c:v>14.79418604651163</c:v>
                </c:pt>
                <c:pt idx="1981">
                  <c:v>14.79418604651163</c:v>
                </c:pt>
                <c:pt idx="1982">
                  <c:v>14.79418604651163</c:v>
                </c:pt>
                <c:pt idx="1983">
                  <c:v>14.79418604651163</c:v>
                </c:pt>
                <c:pt idx="1984">
                  <c:v>14.79418604651163</c:v>
                </c:pt>
                <c:pt idx="1985">
                  <c:v>14.79418604651163</c:v>
                </c:pt>
                <c:pt idx="1986">
                  <c:v>14.79418604651163</c:v>
                </c:pt>
                <c:pt idx="1987">
                  <c:v>14.79418604651163</c:v>
                </c:pt>
                <c:pt idx="1988">
                  <c:v>14.79418604651163</c:v>
                </c:pt>
                <c:pt idx="1989">
                  <c:v>14.79418604651163</c:v>
                </c:pt>
                <c:pt idx="1990">
                  <c:v>14.79418604651163</c:v>
                </c:pt>
                <c:pt idx="1991">
                  <c:v>14.79418604651163</c:v>
                </c:pt>
                <c:pt idx="1992">
                  <c:v>14.79418604651163</c:v>
                </c:pt>
                <c:pt idx="1993">
                  <c:v>14.79418604651163</c:v>
                </c:pt>
                <c:pt idx="1994">
                  <c:v>14.79418604651163</c:v>
                </c:pt>
                <c:pt idx="1995">
                  <c:v>14.79418604651163</c:v>
                </c:pt>
                <c:pt idx="1996">
                  <c:v>14.79418604651163</c:v>
                </c:pt>
                <c:pt idx="1997">
                  <c:v>14.79418604651163</c:v>
                </c:pt>
                <c:pt idx="1998">
                  <c:v>14.79418604651163</c:v>
                </c:pt>
                <c:pt idx="1999">
                  <c:v>14.79418604651163</c:v>
                </c:pt>
                <c:pt idx="2000">
                  <c:v>14.79418604651163</c:v>
                </c:pt>
                <c:pt idx="2001">
                  <c:v>14.79418604651163</c:v>
                </c:pt>
                <c:pt idx="2002">
                  <c:v>14.79418604651163</c:v>
                </c:pt>
                <c:pt idx="2003">
                  <c:v>14.79418604651163</c:v>
                </c:pt>
                <c:pt idx="2004">
                  <c:v>14.79418604651163</c:v>
                </c:pt>
                <c:pt idx="2005">
                  <c:v>14.79418604651163</c:v>
                </c:pt>
                <c:pt idx="2006">
                  <c:v>14.79418604651163</c:v>
                </c:pt>
                <c:pt idx="2007">
                  <c:v>14.79418604651163</c:v>
                </c:pt>
                <c:pt idx="2008">
                  <c:v>14.79418604651163</c:v>
                </c:pt>
                <c:pt idx="2009">
                  <c:v>14.79418604651163</c:v>
                </c:pt>
                <c:pt idx="2010">
                  <c:v>14.79418604651163</c:v>
                </c:pt>
                <c:pt idx="2011">
                  <c:v>14.79418604651163</c:v>
                </c:pt>
                <c:pt idx="2012">
                  <c:v>14.79418604651163</c:v>
                </c:pt>
                <c:pt idx="2013">
                  <c:v>14.79418604651163</c:v>
                </c:pt>
                <c:pt idx="2014">
                  <c:v>14.79418604651163</c:v>
                </c:pt>
                <c:pt idx="2015">
                  <c:v>14.79418604651163</c:v>
                </c:pt>
                <c:pt idx="2016">
                  <c:v>14.79418604651163</c:v>
                </c:pt>
                <c:pt idx="2017">
                  <c:v>14.79418604651163</c:v>
                </c:pt>
                <c:pt idx="2018">
                  <c:v>14.79418604651163</c:v>
                </c:pt>
                <c:pt idx="2019">
                  <c:v>14.79418604651163</c:v>
                </c:pt>
                <c:pt idx="2020">
                  <c:v>14.79418604651163</c:v>
                </c:pt>
                <c:pt idx="2021">
                  <c:v>14.79418604651163</c:v>
                </c:pt>
                <c:pt idx="2022">
                  <c:v>14.79418604651163</c:v>
                </c:pt>
                <c:pt idx="2023">
                  <c:v>14.79418604651163</c:v>
                </c:pt>
                <c:pt idx="2024">
                  <c:v>14.79418604651163</c:v>
                </c:pt>
                <c:pt idx="2025">
                  <c:v>14.79418604651163</c:v>
                </c:pt>
                <c:pt idx="2026">
                  <c:v>14.79418604651163</c:v>
                </c:pt>
                <c:pt idx="2027">
                  <c:v>14.79418604651163</c:v>
                </c:pt>
                <c:pt idx="2028">
                  <c:v>14.79418604651163</c:v>
                </c:pt>
                <c:pt idx="2029">
                  <c:v>14.79418604651163</c:v>
                </c:pt>
                <c:pt idx="2030">
                  <c:v>14.79418604651163</c:v>
                </c:pt>
                <c:pt idx="2031">
                  <c:v>14.79418604651163</c:v>
                </c:pt>
                <c:pt idx="2032">
                  <c:v>14.79418604651163</c:v>
                </c:pt>
                <c:pt idx="2033">
                  <c:v>14.79418604651163</c:v>
                </c:pt>
                <c:pt idx="2034">
                  <c:v>14.79418604651163</c:v>
                </c:pt>
                <c:pt idx="2035">
                  <c:v>14.79418604651163</c:v>
                </c:pt>
                <c:pt idx="2036">
                  <c:v>14.79418604651163</c:v>
                </c:pt>
                <c:pt idx="2037">
                  <c:v>14.79418604651163</c:v>
                </c:pt>
                <c:pt idx="2038">
                  <c:v>14.79418604651163</c:v>
                </c:pt>
                <c:pt idx="2039">
                  <c:v>14.79418604651163</c:v>
                </c:pt>
                <c:pt idx="2040">
                  <c:v>14.79418604651163</c:v>
                </c:pt>
                <c:pt idx="2041">
                  <c:v>14.79418604651163</c:v>
                </c:pt>
                <c:pt idx="2042">
                  <c:v>14.79418604651163</c:v>
                </c:pt>
                <c:pt idx="2043">
                  <c:v>14.79418604651163</c:v>
                </c:pt>
                <c:pt idx="2044">
                  <c:v>14.79418604651163</c:v>
                </c:pt>
                <c:pt idx="2045">
                  <c:v>14.79418604651163</c:v>
                </c:pt>
                <c:pt idx="2046">
                  <c:v>14.79418604651163</c:v>
                </c:pt>
                <c:pt idx="2047">
                  <c:v>14.79418604651163</c:v>
                </c:pt>
                <c:pt idx="2048">
                  <c:v>14.79418604651163</c:v>
                </c:pt>
                <c:pt idx="2049">
                  <c:v>14.79418604651163</c:v>
                </c:pt>
                <c:pt idx="2050">
                  <c:v>14.79418604651163</c:v>
                </c:pt>
                <c:pt idx="2051">
                  <c:v>14.79418604651163</c:v>
                </c:pt>
                <c:pt idx="2052">
                  <c:v>14.79418604651163</c:v>
                </c:pt>
                <c:pt idx="2053">
                  <c:v>14.79418604651163</c:v>
                </c:pt>
                <c:pt idx="2054">
                  <c:v>14.79418604651163</c:v>
                </c:pt>
                <c:pt idx="2055">
                  <c:v>14.79418604651163</c:v>
                </c:pt>
                <c:pt idx="2056">
                  <c:v>14.79418604651163</c:v>
                </c:pt>
                <c:pt idx="2057">
                  <c:v>14.79418604651163</c:v>
                </c:pt>
                <c:pt idx="2058">
                  <c:v>14.79418604651163</c:v>
                </c:pt>
                <c:pt idx="2059">
                  <c:v>14.79418604651163</c:v>
                </c:pt>
                <c:pt idx="2060">
                  <c:v>14.79418604651163</c:v>
                </c:pt>
                <c:pt idx="2061">
                  <c:v>14.79418604651163</c:v>
                </c:pt>
                <c:pt idx="2062">
                  <c:v>14.79418604651163</c:v>
                </c:pt>
                <c:pt idx="2063">
                  <c:v>14.79418604651163</c:v>
                </c:pt>
                <c:pt idx="2064">
                  <c:v>14.79418604651163</c:v>
                </c:pt>
                <c:pt idx="2065">
                  <c:v>14.79418604651163</c:v>
                </c:pt>
                <c:pt idx="2066">
                  <c:v>14.79418604651163</c:v>
                </c:pt>
                <c:pt idx="2067">
                  <c:v>14.79418604651163</c:v>
                </c:pt>
                <c:pt idx="2068">
                  <c:v>14.79418604651163</c:v>
                </c:pt>
                <c:pt idx="2069">
                  <c:v>14.79418604651163</c:v>
                </c:pt>
                <c:pt idx="2070">
                  <c:v>14.79418604651163</c:v>
                </c:pt>
                <c:pt idx="2071">
                  <c:v>14.79418604651163</c:v>
                </c:pt>
                <c:pt idx="2072">
                  <c:v>14.79418604651163</c:v>
                </c:pt>
                <c:pt idx="2073">
                  <c:v>14.79418604651163</c:v>
                </c:pt>
                <c:pt idx="2074">
                  <c:v>14.79418604651163</c:v>
                </c:pt>
                <c:pt idx="2075">
                  <c:v>14.79418604651163</c:v>
                </c:pt>
                <c:pt idx="2076">
                  <c:v>14.79418604651163</c:v>
                </c:pt>
                <c:pt idx="2077">
                  <c:v>14.79418604651163</c:v>
                </c:pt>
                <c:pt idx="2078">
                  <c:v>14.79418604651163</c:v>
                </c:pt>
                <c:pt idx="2079">
                  <c:v>14.79418604651163</c:v>
                </c:pt>
                <c:pt idx="2080">
                  <c:v>14.79418604651163</c:v>
                </c:pt>
                <c:pt idx="2081">
                  <c:v>14.79418604651163</c:v>
                </c:pt>
                <c:pt idx="2082">
                  <c:v>14.79418604651163</c:v>
                </c:pt>
                <c:pt idx="2083">
                  <c:v>14.79418604651163</c:v>
                </c:pt>
                <c:pt idx="2084">
                  <c:v>14.79418604651163</c:v>
                </c:pt>
                <c:pt idx="2085">
                  <c:v>14.79418604651163</c:v>
                </c:pt>
                <c:pt idx="2086">
                  <c:v>14.79418604651163</c:v>
                </c:pt>
                <c:pt idx="2087">
                  <c:v>14.79418604651163</c:v>
                </c:pt>
                <c:pt idx="2088">
                  <c:v>14.79418604651163</c:v>
                </c:pt>
                <c:pt idx="2089">
                  <c:v>14.79418604651163</c:v>
                </c:pt>
                <c:pt idx="2090">
                  <c:v>14.79418604651163</c:v>
                </c:pt>
                <c:pt idx="2091">
                  <c:v>14.79418604651163</c:v>
                </c:pt>
                <c:pt idx="2092">
                  <c:v>14.79418604651163</c:v>
                </c:pt>
                <c:pt idx="2093">
                  <c:v>14.79418604651163</c:v>
                </c:pt>
                <c:pt idx="2094">
                  <c:v>14.79418604651163</c:v>
                </c:pt>
                <c:pt idx="2095">
                  <c:v>14.79418604651163</c:v>
                </c:pt>
                <c:pt idx="2096">
                  <c:v>14.79418604651163</c:v>
                </c:pt>
                <c:pt idx="2097">
                  <c:v>14.79418604651163</c:v>
                </c:pt>
                <c:pt idx="2098">
                  <c:v>14.79418604651163</c:v>
                </c:pt>
                <c:pt idx="2099">
                  <c:v>14.79418604651163</c:v>
                </c:pt>
                <c:pt idx="2100">
                  <c:v>14.79418604651163</c:v>
                </c:pt>
                <c:pt idx="2101">
                  <c:v>14.79418604651163</c:v>
                </c:pt>
                <c:pt idx="2102">
                  <c:v>14.79418604651163</c:v>
                </c:pt>
                <c:pt idx="2103">
                  <c:v>14.79418604651163</c:v>
                </c:pt>
                <c:pt idx="2104">
                  <c:v>14.79418604651163</c:v>
                </c:pt>
                <c:pt idx="2105">
                  <c:v>14.79418604651163</c:v>
                </c:pt>
                <c:pt idx="2106">
                  <c:v>14.79418604651163</c:v>
                </c:pt>
                <c:pt idx="2107">
                  <c:v>14.79418604651163</c:v>
                </c:pt>
                <c:pt idx="2108">
                  <c:v>14.79418604651163</c:v>
                </c:pt>
                <c:pt idx="2109">
                  <c:v>14.79418604651163</c:v>
                </c:pt>
                <c:pt idx="2110">
                  <c:v>14.79418604651163</c:v>
                </c:pt>
                <c:pt idx="2111">
                  <c:v>14.79418604651163</c:v>
                </c:pt>
                <c:pt idx="2112">
                  <c:v>14.79418604651163</c:v>
                </c:pt>
                <c:pt idx="2113">
                  <c:v>14.79418604651163</c:v>
                </c:pt>
                <c:pt idx="2114">
                  <c:v>14.79418604651163</c:v>
                </c:pt>
                <c:pt idx="2115">
                  <c:v>14.79418604651163</c:v>
                </c:pt>
                <c:pt idx="2116">
                  <c:v>14.79418604651163</c:v>
                </c:pt>
                <c:pt idx="2117">
                  <c:v>14.79418604651163</c:v>
                </c:pt>
                <c:pt idx="2118">
                  <c:v>14.79418604651163</c:v>
                </c:pt>
                <c:pt idx="2119">
                  <c:v>14.79418604651163</c:v>
                </c:pt>
                <c:pt idx="2120">
                  <c:v>14.79418604651163</c:v>
                </c:pt>
                <c:pt idx="2121">
                  <c:v>14.79418604651163</c:v>
                </c:pt>
                <c:pt idx="2122">
                  <c:v>14.79418604651163</c:v>
                </c:pt>
                <c:pt idx="2123">
                  <c:v>14.79418604651163</c:v>
                </c:pt>
                <c:pt idx="2124">
                  <c:v>14.79418604651163</c:v>
                </c:pt>
                <c:pt idx="2125">
                  <c:v>14.79418604651163</c:v>
                </c:pt>
                <c:pt idx="2126">
                  <c:v>14.79418604651163</c:v>
                </c:pt>
                <c:pt idx="2127">
                  <c:v>14.79418604651163</c:v>
                </c:pt>
                <c:pt idx="2128">
                  <c:v>14.79418604651163</c:v>
                </c:pt>
                <c:pt idx="2129">
                  <c:v>14.79418604651163</c:v>
                </c:pt>
                <c:pt idx="2130">
                  <c:v>14.79418604651163</c:v>
                </c:pt>
                <c:pt idx="2131">
                  <c:v>14.79418604651163</c:v>
                </c:pt>
                <c:pt idx="2132">
                  <c:v>14.79418604651163</c:v>
                </c:pt>
                <c:pt idx="2133">
                  <c:v>14.79418604651163</c:v>
                </c:pt>
                <c:pt idx="2134">
                  <c:v>14.79418604651163</c:v>
                </c:pt>
                <c:pt idx="2135">
                  <c:v>14.79418604651163</c:v>
                </c:pt>
                <c:pt idx="2136">
                  <c:v>14.79418604651163</c:v>
                </c:pt>
                <c:pt idx="2137">
                  <c:v>14.79418604651163</c:v>
                </c:pt>
                <c:pt idx="2138">
                  <c:v>14.79418604651163</c:v>
                </c:pt>
                <c:pt idx="2139">
                  <c:v>14.79418604651163</c:v>
                </c:pt>
                <c:pt idx="2140">
                  <c:v>14.79418604651163</c:v>
                </c:pt>
                <c:pt idx="2141">
                  <c:v>14.79418604651163</c:v>
                </c:pt>
                <c:pt idx="2142">
                  <c:v>14.79418604651163</c:v>
                </c:pt>
                <c:pt idx="2143">
                  <c:v>14.79418604651163</c:v>
                </c:pt>
                <c:pt idx="2144">
                  <c:v>14.79418604651163</c:v>
                </c:pt>
                <c:pt idx="2145">
                  <c:v>14.79418604651163</c:v>
                </c:pt>
                <c:pt idx="2146">
                  <c:v>14.79418604651163</c:v>
                </c:pt>
                <c:pt idx="2147">
                  <c:v>14.79418604651163</c:v>
                </c:pt>
                <c:pt idx="2148">
                  <c:v>14.79418604651163</c:v>
                </c:pt>
                <c:pt idx="2149">
                  <c:v>14.79418604651163</c:v>
                </c:pt>
                <c:pt idx="2150">
                  <c:v>14.79418604651163</c:v>
                </c:pt>
                <c:pt idx="2151">
                  <c:v>14.79418604651163</c:v>
                </c:pt>
                <c:pt idx="2152">
                  <c:v>14.79418604651163</c:v>
                </c:pt>
                <c:pt idx="2153">
                  <c:v>14.79418604651163</c:v>
                </c:pt>
                <c:pt idx="2154">
                  <c:v>14.79418604651163</c:v>
                </c:pt>
                <c:pt idx="2155">
                  <c:v>14.79418604651163</c:v>
                </c:pt>
                <c:pt idx="2156">
                  <c:v>14.79418604651163</c:v>
                </c:pt>
                <c:pt idx="2157">
                  <c:v>14.79418604651163</c:v>
                </c:pt>
                <c:pt idx="2158">
                  <c:v>14.79418604651163</c:v>
                </c:pt>
                <c:pt idx="2159">
                  <c:v>14.79418604651163</c:v>
                </c:pt>
                <c:pt idx="2160">
                  <c:v>14.79418604651163</c:v>
                </c:pt>
                <c:pt idx="2161">
                  <c:v>14.79418604651163</c:v>
                </c:pt>
                <c:pt idx="2162">
                  <c:v>14.79418604651163</c:v>
                </c:pt>
                <c:pt idx="2163">
                  <c:v>14.79418604651163</c:v>
                </c:pt>
                <c:pt idx="2164">
                  <c:v>14.79418604651163</c:v>
                </c:pt>
                <c:pt idx="2165">
                  <c:v>14.79418604651163</c:v>
                </c:pt>
                <c:pt idx="2166">
                  <c:v>14.79418604651163</c:v>
                </c:pt>
                <c:pt idx="2167">
                  <c:v>14.79418604651163</c:v>
                </c:pt>
                <c:pt idx="2168">
                  <c:v>14.79418604651163</c:v>
                </c:pt>
                <c:pt idx="2169">
                  <c:v>14.79418604651163</c:v>
                </c:pt>
                <c:pt idx="2170">
                  <c:v>14.79418604651163</c:v>
                </c:pt>
                <c:pt idx="2171">
                  <c:v>14.79418604651163</c:v>
                </c:pt>
                <c:pt idx="2172">
                  <c:v>14.79418604651163</c:v>
                </c:pt>
                <c:pt idx="2173">
                  <c:v>14.79418604651163</c:v>
                </c:pt>
                <c:pt idx="2174">
                  <c:v>14.79418604651163</c:v>
                </c:pt>
                <c:pt idx="2175">
                  <c:v>14.79418604651163</c:v>
                </c:pt>
                <c:pt idx="2176">
                  <c:v>14.79418604651163</c:v>
                </c:pt>
                <c:pt idx="2177">
                  <c:v>14.79418604651163</c:v>
                </c:pt>
                <c:pt idx="2178">
                  <c:v>14.79418604651163</c:v>
                </c:pt>
                <c:pt idx="2179">
                  <c:v>14.79418604651163</c:v>
                </c:pt>
                <c:pt idx="2180">
                  <c:v>14.79418604651163</c:v>
                </c:pt>
                <c:pt idx="2181">
                  <c:v>14.79418604651163</c:v>
                </c:pt>
                <c:pt idx="2182">
                  <c:v>14.79418604651163</c:v>
                </c:pt>
                <c:pt idx="2183">
                  <c:v>14.79418604651163</c:v>
                </c:pt>
                <c:pt idx="2184">
                  <c:v>14.79418604651163</c:v>
                </c:pt>
                <c:pt idx="2185">
                  <c:v>14.79418604651163</c:v>
                </c:pt>
                <c:pt idx="2186">
                  <c:v>14.79418604651163</c:v>
                </c:pt>
                <c:pt idx="2187">
                  <c:v>14.79418604651163</c:v>
                </c:pt>
                <c:pt idx="2188">
                  <c:v>14.79418604651163</c:v>
                </c:pt>
                <c:pt idx="2189">
                  <c:v>14.79418604651163</c:v>
                </c:pt>
                <c:pt idx="2190">
                  <c:v>14.79418604651163</c:v>
                </c:pt>
                <c:pt idx="2191">
                  <c:v>14.79418604651163</c:v>
                </c:pt>
                <c:pt idx="2192">
                  <c:v>14.79418604651163</c:v>
                </c:pt>
                <c:pt idx="2193">
                  <c:v>14.79418604651163</c:v>
                </c:pt>
                <c:pt idx="2194">
                  <c:v>14.79418604651163</c:v>
                </c:pt>
                <c:pt idx="2195">
                  <c:v>14.79418604651163</c:v>
                </c:pt>
                <c:pt idx="2196">
                  <c:v>14.79418604651163</c:v>
                </c:pt>
                <c:pt idx="2197">
                  <c:v>14.79418604651163</c:v>
                </c:pt>
                <c:pt idx="2198">
                  <c:v>14.79418604651163</c:v>
                </c:pt>
                <c:pt idx="2199">
                  <c:v>14.79418604651163</c:v>
                </c:pt>
                <c:pt idx="2200">
                  <c:v>14.79418604651163</c:v>
                </c:pt>
                <c:pt idx="2201">
                  <c:v>14.79418604651163</c:v>
                </c:pt>
                <c:pt idx="2202">
                  <c:v>14.79418604651163</c:v>
                </c:pt>
                <c:pt idx="2203">
                  <c:v>14.79418604651163</c:v>
                </c:pt>
                <c:pt idx="2204">
                  <c:v>14.79418604651163</c:v>
                </c:pt>
                <c:pt idx="2205">
                  <c:v>14.79418604651163</c:v>
                </c:pt>
                <c:pt idx="2206">
                  <c:v>14.79418604651163</c:v>
                </c:pt>
                <c:pt idx="2207">
                  <c:v>14.79418604651163</c:v>
                </c:pt>
                <c:pt idx="2208">
                  <c:v>14.79418604651163</c:v>
                </c:pt>
                <c:pt idx="2209">
                  <c:v>14.79418604651163</c:v>
                </c:pt>
                <c:pt idx="2210">
                  <c:v>14.79418604651163</c:v>
                </c:pt>
                <c:pt idx="2211">
                  <c:v>14.79418604651163</c:v>
                </c:pt>
                <c:pt idx="2212">
                  <c:v>14.79418604651163</c:v>
                </c:pt>
                <c:pt idx="2213">
                  <c:v>14.79418604651163</c:v>
                </c:pt>
                <c:pt idx="2214">
                  <c:v>14.79418604651163</c:v>
                </c:pt>
                <c:pt idx="2215">
                  <c:v>14.79418604651163</c:v>
                </c:pt>
                <c:pt idx="2216">
                  <c:v>14.79418604651163</c:v>
                </c:pt>
                <c:pt idx="2217">
                  <c:v>14.79418604651163</c:v>
                </c:pt>
                <c:pt idx="2218">
                  <c:v>14.79418604651163</c:v>
                </c:pt>
                <c:pt idx="2219">
                  <c:v>14.79418604651163</c:v>
                </c:pt>
                <c:pt idx="2220">
                  <c:v>14.79418604651163</c:v>
                </c:pt>
                <c:pt idx="2221">
                  <c:v>14.79418604651163</c:v>
                </c:pt>
                <c:pt idx="2222">
                  <c:v>14.79418604651163</c:v>
                </c:pt>
                <c:pt idx="2223">
                  <c:v>14.79418604651163</c:v>
                </c:pt>
                <c:pt idx="2224">
                  <c:v>14.79418604651163</c:v>
                </c:pt>
                <c:pt idx="2225">
                  <c:v>14.79418604651163</c:v>
                </c:pt>
                <c:pt idx="2226">
                  <c:v>14.79418604651163</c:v>
                </c:pt>
                <c:pt idx="2227">
                  <c:v>14.79418604651163</c:v>
                </c:pt>
                <c:pt idx="2228">
                  <c:v>14.79418604651163</c:v>
                </c:pt>
                <c:pt idx="2229">
                  <c:v>14.79418604651163</c:v>
                </c:pt>
                <c:pt idx="2230">
                  <c:v>14.79418604651163</c:v>
                </c:pt>
                <c:pt idx="2231">
                  <c:v>14.79418604651163</c:v>
                </c:pt>
                <c:pt idx="2232">
                  <c:v>14.79418604651163</c:v>
                </c:pt>
                <c:pt idx="2233">
                  <c:v>14.79418604651163</c:v>
                </c:pt>
                <c:pt idx="2234">
                  <c:v>14.79418604651163</c:v>
                </c:pt>
                <c:pt idx="2235">
                  <c:v>14.79418604651163</c:v>
                </c:pt>
                <c:pt idx="2236">
                  <c:v>14.79418604651163</c:v>
                </c:pt>
                <c:pt idx="2237">
                  <c:v>14.79418604651163</c:v>
                </c:pt>
                <c:pt idx="2238">
                  <c:v>14.79418604651163</c:v>
                </c:pt>
                <c:pt idx="2239">
                  <c:v>14.79418604651163</c:v>
                </c:pt>
                <c:pt idx="2240">
                  <c:v>14.79418604651163</c:v>
                </c:pt>
                <c:pt idx="2241">
                  <c:v>14.79418604651163</c:v>
                </c:pt>
                <c:pt idx="2242">
                  <c:v>14.79418604651163</c:v>
                </c:pt>
                <c:pt idx="2243">
                  <c:v>14.79418604651163</c:v>
                </c:pt>
                <c:pt idx="2244">
                  <c:v>14.79418604651163</c:v>
                </c:pt>
                <c:pt idx="2245">
                  <c:v>14.79418604651163</c:v>
                </c:pt>
                <c:pt idx="2246">
                  <c:v>14.79418604651163</c:v>
                </c:pt>
                <c:pt idx="2247">
                  <c:v>14.79418604651163</c:v>
                </c:pt>
                <c:pt idx="2248">
                  <c:v>14.79418604651163</c:v>
                </c:pt>
                <c:pt idx="2249">
                  <c:v>14.79418604651163</c:v>
                </c:pt>
                <c:pt idx="2250">
                  <c:v>14.79418604651163</c:v>
                </c:pt>
                <c:pt idx="2251">
                  <c:v>14.79418604651163</c:v>
                </c:pt>
                <c:pt idx="2252">
                  <c:v>14.79418604651163</c:v>
                </c:pt>
                <c:pt idx="2253">
                  <c:v>14.79418604651163</c:v>
                </c:pt>
                <c:pt idx="2254">
                  <c:v>14.79418604651163</c:v>
                </c:pt>
                <c:pt idx="2255">
                  <c:v>14.79418604651163</c:v>
                </c:pt>
                <c:pt idx="2256">
                  <c:v>14.79418604651163</c:v>
                </c:pt>
                <c:pt idx="2257">
                  <c:v>14.79418604651163</c:v>
                </c:pt>
                <c:pt idx="2258">
                  <c:v>14.79418604651163</c:v>
                </c:pt>
                <c:pt idx="2259">
                  <c:v>14.79418604651163</c:v>
                </c:pt>
                <c:pt idx="2260">
                  <c:v>14.79418604651163</c:v>
                </c:pt>
                <c:pt idx="2261">
                  <c:v>14.79418604651163</c:v>
                </c:pt>
                <c:pt idx="2262">
                  <c:v>14.79418604651163</c:v>
                </c:pt>
                <c:pt idx="2263">
                  <c:v>14.79418604651163</c:v>
                </c:pt>
                <c:pt idx="2264">
                  <c:v>14.79418604651163</c:v>
                </c:pt>
                <c:pt idx="2265">
                  <c:v>14.79418604651163</c:v>
                </c:pt>
                <c:pt idx="2266">
                  <c:v>14.79418604651163</c:v>
                </c:pt>
                <c:pt idx="2267">
                  <c:v>14.79418604651163</c:v>
                </c:pt>
                <c:pt idx="2268">
                  <c:v>14.79418604651163</c:v>
                </c:pt>
                <c:pt idx="2269">
                  <c:v>14.79418604651163</c:v>
                </c:pt>
                <c:pt idx="2270">
                  <c:v>14.79418604651163</c:v>
                </c:pt>
                <c:pt idx="2271">
                  <c:v>14.79418604651163</c:v>
                </c:pt>
                <c:pt idx="2272">
                  <c:v>14.79418604651163</c:v>
                </c:pt>
                <c:pt idx="2273">
                  <c:v>14.79418604651163</c:v>
                </c:pt>
                <c:pt idx="2274">
                  <c:v>14.79418604651163</c:v>
                </c:pt>
                <c:pt idx="2275">
                  <c:v>14.79418604651163</c:v>
                </c:pt>
                <c:pt idx="2276">
                  <c:v>14.79418604651163</c:v>
                </c:pt>
                <c:pt idx="2277">
                  <c:v>14.79418604651163</c:v>
                </c:pt>
                <c:pt idx="2278">
                  <c:v>14.79418604651163</c:v>
                </c:pt>
                <c:pt idx="2279">
                  <c:v>14.79418604651163</c:v>
                </c:pt>
                <c:pt idx="2280">
                  <c:v>14.79418604651163</c:v>
                </c:pt>
                <c:pt idx="2281">
                  <c:v>14.79418604651163</c:v>
                </c:pt>
                <c:pt idx="2282">
                  <c:v>14.79418604651163</c:v>
                </c:pt>
                <c:pt idx="2283">
                  <c:v>14.79418604651163</c:v>
                </c:pt>
                <c:pt idx="2284">
                  <c:v>14.79418604651163</c:v>
                </c:pt>
                <c:pt idx="2285">
                  <c:v>14.79418604651163</c:v>
                </c:pt>
                <c:pt idx="2286">
                  <c:v>14.79418604651163</c:v>
                </c:pt>
                <c:pt idx="2287">
                  <c:v>14.79418604651163</c:v>
                </c:pt>
                <c:pt idx="2288">
                  <c:v>14.79418604651163</c:v>
                </c:pt>
                <c:pt idx="2289">
                  <c:v>14.79418604651163</c:v>
                </c:pt>
                <c:pt idx="2290">
                  <c:v>14.79418604651163</c:v>
                </c:pt>
                <c:pt idx="2291">
                  <c:v>14.79418604651163</c:v>
                </c:pt>
                <c:pt idx="2292">
                  <c:v>14.79418604651163</c:v>
                </c:pt>
                <c:pt idx="2293">
                  <c:v>14.79418604651163</c:v>
                </c:pt>
                <c:pt idx="2294">
                  <c:v>14.79418604651163</c:v>
                </c:pt>
                <c:pt idx="2295">
                  <c:v>14.79418604651163</c:v>
                </c:pt>
                <c:pt idx="2296">
                  <c:v>14.79418604651163</c:v>
                </c:pt>
                <c:pt idx="2297">
                  <c:v>14.79418604651163</c:v>
                </c:pt>
                <c:pt idx="2298">
                  <c:v>14.79418604651163</c:v>
                </c:pt>
                <c:pt idx="2299">
                  <c:v>14.79418604651163</c:v>
                </c:pt>
                <c:pt idx="2300">
                  <c:v>14.79418604651163</c:v>
                </c:pt>
                <c:pt idx="2301">
                  <c:v>14.79418604651163</c:v>
                </c:pt>
                <c:pt idx="2302">
                  <c:v>14.79418604651163</c:v>
                </c:pt>
                <c:pt idx="2303">
                  <c:v>14.79418604651163</c:v>
                </c:pt>
                <c:pt idx="2304">
                  <c:v>14.79418604651163</c:v>
                </c:pt>
                <c:pt idx="2305">
                  <c:v>14.79418604651163</c:v>
                </c:pt>
                <c:pt idx="2306">
                  <c:v>14.79418604651163</c:v>
                </c:pt>
                <c:pt idx="2307">
                  <c:v>14.79418604651163</c:v>
                </c:pt>
                <c:pt idx="2308">
                  <c:v>14.79418604651163</c:v>
                </c:pt>
                <c:pt idx="2309">
                  <c:v>14.79418604651163</c:v>
                </c:pt>
                <c:pt idx="2310">
                  <c:v>14.79418604651163</c:v>
                </c:pt>
                <c:pt idx="2311">
                  <c:v>14.79418604651163</c:v>
                </c:pt>
                <c:pt idx="2312">
                  <c:v>14.79418604651163</c:v>
                </c:pt>
                <c:pt idx="2313">
                  <c:v>14.79418604651163</c:v>
                </c:pt>
                <c:pt idx="2314">
                  <c:v>14.79418604651163</c:v>
                </c:pt>
                <c:pt idx="2315">
                  <c:v>14.79418604651163</c:v>
                </c:pt>
                <c:pt idx="2316">
                  <c:v>14.79418604651163</c:v>
                </c:pt>
                <c:pt idx="2317">
                  <c:v>14.79418604651163</c:v>
                </c:pt>
                <c:pt idx="2318">
                  <c:v>14.79418604651163</c:v>
                </c:pt>
                <c:pt idx="2319">
                  <c:v>14.79418604651163</c:v>
                </c:pt>
                <c:pt idx="2320">
                  <c:v>14.79418604651163</c:v>
                </c:pt>
                <c:pt idx="2321">
                  <c:v>14.79418604651163</c:v>
                </c:pt>
                <c:pt idx="2322">
                  <c:v>14.79418604651163</c:v>
                </c:pt>
                <c:pt idx="2323">
                  <c:v>14.79418604651163</c:v>
                </c:pt>
                <c:pt idx="2324">
                  <c:v>14.79418604651163</c:v>
                </c:pt>
                <c:pt idx="2325">
                  <c:v>14.79418604651163</c:v>
                </c:pt>
                <c:pt idx="2326">
                  <c:v>14.79418604651163</c:v>
                </c:pt>
                <c:pt idx="2327">
                  <c:v>14.79418604651163</c:v>
                </c:pt>
                <c:pt idx="2328">
                  <c:v>14.79418604651163</c:v>
                </c:pt>
                <c:pt idx="2329">
                  <c:v>14.79418604651163</c:v>
                </c:pt>
                <c:pt idx="2330">
                  <c:v>14.79418604651163</c:v>
                </c:pt>
                <c:pt idx="2331">
                  <c:v>14.79418604651163</c:v>
                </c:pt>
                <c:pt idx="2332">
                  <c:v>14.79418604651163</c:v>
                </c:pt>
                <c:pt idx="2333">
                  <c:v>14.79418604651163</c:v>
                </c:pt>
                <c:pt idx="2334">
                  <c:v>14.79418604651163</c:v>
                </c:pt>
                <c:pt idx="2335">
                  <c:v>14.79418604651163</c:v>
                </c:pt>
                <c:pt idx="2336">
                  <c:v>14.79418604651163</c:v>
                </c:pt>
                <c:pt idx="2337">
                  <c:v>14.79418604651163</c:v>
                </c:pt>
                <c:pt idx="2338">
                  <c:v>14.79418604651163</c:v>
                </c:pt>
                <c:pt idx="2339">
                  <c:v>14.79418604651163</c:v>
                </c:pt>
                <c:pt idx="2340">
                  <c:v>14.79418604651163</c:v>
                </c:pt>
                <c:pt idx="2341">
                  <c:v>14.79418604651163</c:v>
                </c:pt>
                <c:pt idx="2342">
                  <c:v>14.79418604651163</c:v>
                </c:pt>
                <c:pt idx="2343">
                  <c:v>14.79418604651163</c:v>
                </c:pt>
                <c:pt idx="2344">
                  <c:v>14.79418604651163</c:v>
                </c:pt>
                <c:pt idx="2345">
                  <c:v>14.79418604651163</c:v>
                </c:pt>
                <c:pt idx="2346">
                  <c:v>14.79418604651163</c:v>
                </c:pt>
                <c:pt idx="2347">
                  <c:v>14.79418604651163</c:v>
                </c:pt>
                <c:pt idx="2348">
                  <c:v>14.79418604651163</c:v>
                </c:pt>
                <c:pt idx="2349">
                  <c:v>14.79418604651163</c:v>
                </c:pt>
                <c:pt idx="2350">
                  <c:v>14.79418604651163</c:v>
                </c:pt>
                <c:pt idx="2351">
                  <c:v>14.79418604651163</c:v>
                </c:pt>
                <c:pt idx="2352">
                  <c:v>14.79418604651163</c:v>
                </c:pt>
                <c:pt idx="2353">
                  <c:v>14.79418604651163</c:v>
                </c:pt>
                <c:pt idx="2354">
                  <c:v>14.79418604651163</c:v>
                </c:pt>
                <c:pt idx="2355">
                  <c:v>14.79418604651163</c:v>
                </c:pt>
                <c:pt idx="2356">
                  <c:v>14.79418604651163</c:v>
                </c:pt>
                <c:pt idx="2357">
                  <c:v>14.79418604651163</c:v>
                </c:pt>
                <c:pt idx="2358">
                  <c:v>14.79418604651163</c:v>
                </c:pt>
                <c:pt idx="2359">
                  <c:v>14.79418604651163</c:v>
                </c:pt>
                <c:pt idx="2360">
                  <c:v>14.79418604651163</c:v>
                </c:pt>
                <c:pt idx="2361">
                  <c:v>14.79418604651163</c:v>
                </c:pt>
                <c:pt idx="2362">
                  <c:v>14.79418604651163</c:v>
                </c:pt>
                <c:pt idx="2363">
                  <c:v>14.79418604651163</c:v>
                </c:pt>
                <c:pt idx="2364">
                  <c:v>14.79418604651163</c:v>
                </c:pt>
                <c:pt idx="2365">
                  <c:v>14.79418604651163</c:v>
                </c:pt>
                <c:pt idx="2366">
                  <c:v>14.79418604651163</c:v>
                </c:pt>
                <c:pt idx="2367">
                  <c:v>14.79418604651163</c:v>
                </c:pt>
                <c:pt idx="2368">
                  <c:v>14.79418604651163</c:v>
                </c:pt>
                <c:pt idx="2369">
                  <c:v>14.79418604651163</c:v>
                </c:pt>
                <c:pt idx="2370">
                  <c:v>14.79418604651163</c:v>
                </c:pt>
                <c:pt idx="2371">
                  <c:v>14.79418604651163</c:v>
                </c:pt>
                <c:pt idx="2372">
                  <c:v>14.79418604651163</c:v>
                </c:pt>
                <c:pt idx="2373">
                  <c:v>14.79418604651163</c:v>
                </c:pt>
                <c:pt idx="2374">
                  <c:v>14.79418604651163</c:v>
                </c:pt>
                <c:pt idx="2375">
                  <c:v>14.79418604651163</c:v>
                </c:pt>
                <c:pt idx="2376">
                  <c:v>14.79418604651163</c:v>
                </c:pt>
                <c:pt idx="2377">
                  <c:v>14.79418604651163</c:v>
                </c:pt>
                <c:pt idx="2378">
                  <c:v>14.79418604651163</c:v>
                </c:pt>
                <c:pt idx="2379">
                  <c:v>14.79418604651163</c:v>
                </c:pt>
                <c:pt idx="2380">
                  <c:v>14.79418604651163</c:v>
                </c:pt>
                <c:pt idx="2381">
                  <c:v>14.79418604651163</c:v>
                </c:pt>
                <c:pt idx="2382">
                  <c:v>14.79418604651163</c:v>
                </c:pt>
                <c:pt idx="2383">
                  <c:v>14.79418604651163</c:v>
                </c:pt>
                <c:pt idx="2384">
                  <c:v>14.79418604651163</c:v>
                </c:pt>
                <c:pt idx="2385">
                  <c:v>14.79418604651163</c:v>
                </c:pt>
                <c:pt idx="2386">
                  <c:v>14.79418604651163</c:v>
                </c:pt>
                <c:pt idx="2387">
                  <c:v>14.79418604651163</c:v>
                </c:pt>
                <c:pt idx="2388">
                  <c:v>14.79418604651163</c:v>
                </c:pt>
                <c:pt idx="2389">
                  <c:v>14.79418604651163</c:v>
                </c:pt>
                <c:pt idx="2390">
                  <c:v>14.79418604651163</c:v>
                </c:pt>
                <c:pt idx="2391">
                  <c:v>14.79418604651163</c:v>
                </c:pt>
                <c:pt idx="2392">
                  <c:v>14.79418604651163</c:v>
                </c:pt>
                <c:pt idx="2393">
                  <c:v>14.79418604651163</c:v>
                </c:pt>
                <c:pt idx="2394">
                  <c:v>14.79418604651163</c:v>
                </c:pt>
                <c:pt idx="2395">
                  <c:v>14.79418604651163</c:v>
                </c:pt>
                <c:pt idx="2396">
                  <c:v>14.79418604651163</c:v>
                </c:pt>
                <c:pt idx="2397">
                  <c:v>14.79418604651163</c:v>
                </c:pt>
                <c:pt idx="2398">
                  <c:v>14.79418604651163</c:v>
                </c:pt>
                <c:pt idx="2399">
                  <c:v>14.79418604651163</c:v>
                </c:pt>
                <c:pt idx="2400">
                  <c:v>14.79418604651163</c:v>
                </c:pt>
                <c:pt idx="2401">
                  <c:v>14.79418604651163</c:v>
                </c:pt>
                <c:pt idx="2402">
                  <c:v>14.79418604651163</c:v>
                </c:pt>
                <c:pt idx="2403">
                  <c:v>14.79418604651163</c:v>
                </c:pt>
                <c:pt idx="2404">
                  <c:v>14.79418604651163</c:v>
                </c:pt>
                <c:pt idx="2405">
                  <c:v>14.79418604651163</c:v>
                </c:pt>
                <c:pt idx="2406">
                  <c:v>14.79418604651163</c:v>
                </c:pt>
                <c:pt idx="2407">
                  <c:v>14.79418604651163</c:v>
                </c:pt>
                <c:pt idx="2408">
                  <c:v>14.79418604651163</c:v>
                </c:pt>
                <c:pt idx="2409">
                  <c:v>14.79418604651163</c:v>
                </c:pt>
                <c:pt idx="2410">
                  <c:v>14.79418604651163</c:v>
                </c:pt>
                <c:pt idx="2411">
                  <c:v>14.79418604651163</c:v>
                </c:pt>
                <c:pt idx="2412">
                  <c:v>14.79418604651163</c:v>
                </c:pt>
                <c:pt idx="2413">
                  <c:v>14.79418604651163</c:v>
                </c:pt>
                <c:pt idx="2414">
                  <c:v>14.79418604651163</c:v>
                </c:pt>
                <c:pt idx="2415">
                  <c:v>14.79418604651163</c:v>
                </c:pt>
                <c:pt idx="2416">
                  <c:v>14.79418604651163</c:v>
                </c:pt>
                <c:pt idx="2417">
                  <c:v>14.79418604651163</c:v>
                </c:pt>
                <c:pt idx="2418">
                  <c:v>14.79418604651163</c:v>
                </c:pt>
                <c:pt idx="2419">
                  <c:v>14.79418604651163</c:v>
                </c:pt>
                <c:pt idx="2420">
                  <c:v>14.79418604651163</c:v>
                </c:pt>
                <c:pt idx="2421">
                  <c:v>14.79418604651163</c:v>
                </c:pt>
                <c:pt idx="2422">
                  <c:v>14.79418604651163</c:v>
                </c:pt>
                <c:pt idx="2423">
                  <c:v>14.79418604651163</c:v>
                </c:pt>
                <c:pt idx="2424">
                  <c:v>14.79418604651163</c:v>
                </c:pt>
                <c:pt idx="2425">
                  <c:v>14.79418604651163</c:v>
                </c:pt>
                <c:pt idx="2426">
                  <c:v>14.79418604651163</c:v>
                </c:pt>
                <c:pt idx="2427">
                  <c:v>14.79418604651163</c:v>
                </c:pt>
                <c:pt idx="2428">
                  <c:v>14.79418604651163</c:v>
                </c:pt>
                <c:pt idx="2429">
                  <c:v>14.79418604651163</c:v>
                </c:pt>
                <c:pt idx="2430">
                  <c:v>14.79418604651163</c:v>
                </c:pt>
                <c:pt idx="2431">
                  <c:v>14.79418604651163</c:v>
                </c:pt>
                <c:pt idx="2432">
                  <c:v>14.79418604651163</c:v>
                </c:pt>
                <c:pt idx="2433">
                  <c:v>14.79418604651163</c:v>
                </c:pt>
                <c:pt idx="2434">
                  <c:v>14.79418604651163</c:v>
                </c:pt>
                <c:pt idx="2435">
                  <c:v>14.79418604651163</c:v>
                </c:pt>
                <c:pt idx="2436">
                  <c:v>14.79418604651163</c:v>
                </c:pt>
                <c:pt idx="2437">
                  <c:v>14.79418604651163</c:v>
                </c:pt>
                <c:pt idx="2438">
                  <c:v>14.79418604651163</c:v>
                </c:pt>
                <c:pt idx="2439">
                  <c:v>14.79418604651163</c:v>
                </c:pt>
                <c:pt idx="2440">
                  <c:v>14.79418604651163</c:v>
                </c:pt>
                <c:pt idx="2441">
                  <c:v>14.79418604651163</c:v>
                </c:pt>
                <c:pt idx="2442">
                  <c:v>14.79418604651163</c:v>
                </c:pt>
                <c:pt idx="2443">
                  <c:v>14.79418604651163</c:v>
                </c:pt>
                <c:pt idx="2444">
                  <c:v>14.79418604651163</c:v>
                </c:pt>
                <c:pt idx="2445">
                  <c:v>14.79418604651163</c:v>
                </c:pt>
                <c:pt idx="2446">
                  <c:v>14.79418604651163</c:v>
                </c:pt>
                <c:pt idx="2447">
                  <c:v>14.79418604651163</c:v>
                </c:pt>
                <c:pt idx="2448">
                  <c:v>14.79418604651163</c:v>
                </c:pt>
                <c:pt idx="2449">
                  <c:v>14.79418604651163</c:v>
                </c:pt>
                <c:pt idx="2450">
                  <c:v>14.79418604651163</c:v>
                </c:pt>
                <c:pt idx="2451">
                  <c:v>14.79418604651163</c:v>
                </c:pt>
                <c:pt idx="2452">
                  <c:v>14.79418604651163</c:v>
                </c:pt>
                <c:pt idx="2453">
                  <c:v>14.79418604651163</c:v>
                </c:pt>
                <c:pt idx="2454">
                  <c:v>14.79418604651163</c:v>
                </c:pt>
                <c:pt idx="2455">
                  <c:v>14.79418604651163</c:v>
                </c:pt>
                <c:pt idx="2456">
                  <c:v>14.79418604651163</c:v>
                </c:pt>
                <c:pt idx="2457">
                  <c:v>14.79418604651163</c:v>
                </c:pt>
                <c:pt idx="2458">
                  <c:v>14.79418604651163</c:v>
                </c:pt>
                <c:pt idx="2459">
                  <c:v>14.79418604651163</c:v>
                </c:pt>
                <c:pt idx="2460">
                  <c:v>14.79418604651163</c:v>
                </c:pt>
                <c:pt idx="2461">
                  <c:v>14.79418604651163</c:v>
                </c:pt>
                <c:pt idx="2462">
                  <c:v>14.79418604651163</c:v>
                </c:pt>
                <c:pt idx="2463">
                  <c:v>14.79418604651163</c:v>
                </c:pt>
                <c:pt idx="2464">
                  <c:v>14.79418604651163</c:v>
                </c:pt>
                <c:pt idx="2465">
                  <c:v>14.79418604651163</c:v>
                </c:pt>
                <c:pt idx="2466">
                  <c:v>14.79418604651163</c:v>
                </c:pt>
                <c:pt idx="2467">
                  <c:v>14.79418604651163</c:v>
                </c:pt>
                <c:pt idx="2468">
                  <c:v>14.79418604651163</c:v>
                </c:pt>
                <c:pt idx="2469">
                  <c:v>14.79418604651163</c:v>
                </c:pt>
                <c:pt idx="2470">
                  <c:v>14.79418604651163</c:v>
                </c:pt>
                <c:pt idx="2471">
                  <c:v>14.79418604651163</c:v>
                </c:pt>
                <c:pt idx="2472">
                  <c:v>14.79418604651163</c:v>
                </c:pt>
                <c:pt idx="2473">
                  <c:v>14.79418604651163</c:v>
                </c:pt>
                <c:pt idx="2474">
                  <c:v>14.79418604651163</c:v>
                </c:pt>
                <c:pt idx="2475">
                  <c:v>14.79418604651163</c:v>
                </c:pt>
                <c:pt idx="2476">
                  <c:v>14.79418604651163</c:v>
                </c:pt>
                <c:pt idx="2477">
                  <c:v>14.79418604651163</c:v>
                </c:pt>
                <c:pt idx="2478">
                  <c:v>14.79418604651163</c:v>
                </c:pt>
                <c:pt idx="2479">
                  <c:v>14.79418604651163</c:v>
                </c:pt>
                <c:pt idx="2480">
                  <c:v>14.79418604651163</c:v>
                </c:pt>
                <c:pt idx="2481">
                  <c:v>14.79418604651163</c:v>
                </c:pt>
                <c:pt idx="2482">
                  <c:v>14.79418604651163</c:v>
                </c:pt>
                <c:pt idx="2483">
                  <c:v>14.79418604651163</c:v>
                </c:pt>
                <c:pt idx="2484">
                  <c:v>14.79418604651163</c:v>
                </c:pt>
                <c:pt idx="2485">
                  <c:v>14.79418604651163</c:v>
                </c:pt>
                <c:pt idx="2486">
                  <c:v>14.79418604651163</c:v>
                </c:pt>
                <c:pt idx="2487">
                  <c:v>14.79418604651163</c:v>
                </c:pt>
                <c:pt idx="2488">
                  <c:v>14.79418604651163</c:v>
                </c:pt>
                <c:pt idx="2489">
                  <c:v>14.79418604651163</c:v>
                </c:pt>
                <c:pt idx="2490">
                  <c:v>14.79418604651163</c:v>
                </c:pt>
                <c:pt idx="2491">
                  <c:v>14.79418604651163</c:v>
                </c:pt>
                <c:pt idx="2492">
                  <c:v>14.79418604651163</c:v>
                </c:pt>
                <c:pt idx="2493">
                  <c:v>14.79418604651163</c:v>
                </c:pt>
                <c:pt idx="2494">
                  <c:v>14.79418604651163</c:v>
                </c:pt>
                <c:pt idx="2495">
                  <c:v>14.79418604651163</c:v>
                </c:pt>
                <c:pt idx="2496">
                  <c:v>14.79418604651163</c:v>
                </c:pt>
                <c:pt idx="2497">
                  <c:v>14.79418604651163</c:v>
                </c:pt>
                <c:pt idx="2498">
                  <c:v>14.79418604651163</c:v>
                </c:pt>
                <c:pt idx="2499">
                  <c:v>14.79418604651163</c:v>
                </c:pt>
                <c:pt idx="2500">
                  <c:v>14.79418604651163</c:v>
                </c:pt>
                <c:pt idx="2501">
                  <c:v>14.79418604651163</c:v>
                </c:pt>
                <c:pt idx="2502">
                  <c:v>14.79418604651163</c:v>
                </c:pt>
                <c:pt idx="2503">
                  <c:v>14.79418604651163</c:v>
                </c:pt>
                <c:pt idx="2504">
                  <c:v>14.79418604651163</c:v>
                </c:pt>
                <c:pt idx="2505">
                  <c:v>14.79418604651163</c:v>
                </c:pt>
                <c:pt idx="2506">
                  <c:v>14.79418604651163</c:v>
                </c:pt>
                <c:pt idx="2507">
                  <c:v>14.79418604651163</c:v>
                </c:pt>
                <c:pt idx="2508">
                  <c:v>14.79418604651163</c:v>
                </c:pt>
                <c:pt idx="2509">
                  <c:v>14.79418604651163</c:v>
                </c:pt>
                <c:pt idx="2510">
                  <c:v>14.79418604651163</c:v>
                </c:pt>
                <c:pt idx="2511">
                  <c:v>14.79418604651163</c:v>
                </c:pt>
                <c:pt idx="2512">
                  <c:v>14.79418604651163</c:v>
                </c:pt>
                <c:pt idx="2513">
                  <c:v>14.79418604651163</c:v>
                </c:pt>
                <c:pt idx="2514">
                  <c:v>14.79418604651163</c:v>
                </c:pt>
                <c:pt idx="2515">
                  <c:v>14.79418604651163</c:v>
                </c:pt>
                <c:pt idx="2516">
                  <c:v>14.79418604651163</c:v>
                </c:pt>
                <c:pt idx="2517">
                  <c:v>14.79418604651163</c:v>
                </c:pt>
              </c:numCache>
            </c:numRef>
          </c:val>
          <c:smooth val="0"/>
          <c:extLst xmlns:c16r2="http://schemas.microsoft.com/office/drawing/2015/06/chart">
            <c:ext xmlns:c16="http://schemas.microsoft.com/office/drawing/2014/chart" uri="{C3380CC4-5D6E-409C-BE32-E72D297353CC}">
              <c16:uniqueId val="{00000002-531A-4BD8-B7C1-7E67E1B4FFCE}"/>
            </c:ext>
          </c:extLst>
        </c:ser>
        <c:dLbls>
          <c:showLegendKey val="0"/>
          <c:showVal val="0"/>
          <c:showCatName val="0"/>
          <c:showSerName val="0"/>
          <c:showPercent val="0"/>
          <c:showBubbleSize val="0"/>
        </c:dLbls>
        <c:marker val="1"/>
        <c:smooth val="0"/>
        <c:axId val="552594816"/>
        <c:axId val="552617088"/>
      </c:lineChart>
      <c:dateAx>
        <c:axId val="552594816"/>
        <c:scaling>
          <c:orientation val="minMax"/>
        </c:scaling>
        <c:delete val="0"/>
        <c:axPos val="b"/>
        <c:numFmt formatCode="m/d/yyyy" sourceLinked="0"/>
        <c:majorTickMark val="none"/>
        <c:minorTickMark val="none"/>
        <c:tickLblPos val="nextTo"/>
        <c:crossAx val="552617088"/>
        <c:crosses val="autoZero"/>
        <c:auto val="1"/>
        <c:lblOffset val="100"/>
        <c:baseTimeUnit val="days"/>
      </c:dateAx>
      <c:valAx>
        <c:axId val="552617088"/>
        <c:scaling>
          <c:orientation val="minMax"/>
        </c:scaling>
        <c:delete val="0"/>
        <c:axPos val="l"/>
        <c:majorGridlines/>
        <c:title>
          <c:tx>
            <c:rich>
              <a:bodyPr rot="0" vert="horz"/>
              <a:lstStyle/>
              <a:p>
                <a:pPr>
                  <a:defRPr/>
                </a:pPr>
                <a:r>
                  <a:rPr lang="en-US" dirty="0"/>
                  <a:t>VIX Index</a:t>
                </a:r>
              </a:p>
            </c:rich>
          </c:tx>
          <c:layout/>
          <c:overlay val="0"/>
        </c:title>
        <c:numFmt formatCode="General" sourceLinked="1"/>
        <c:majorTickMark val="none"/>
        <c:minorTickMark val="none"/>
        <c:tickLblPos val="nextTo"/>
        <c:spPr>
          <a:ln w="9525">
            <a:noFill/>
          </a:ln>
        </c:spPr>
        <c:crossAx val="552594816"/>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VIX</a:t>
            </a:r>
            <a:r>
              <a:rPr lang="en-US" baseline="0" dirty="0"/>
              <a:t> Index historical values</a:t>
            </a:r>
            <a:endParaRPr lang="en-US" dirty="0"/>
          </a:p>
        </c:rich>
      </c:tx>
      <c:layout/>
      <c:overlay val="0"/>
    </c:title>
    <c:autoTitleDeleted val="0"/>
    <c:plotArea>
      <c:layout/>
      <c:lineChart>
        <c:grouping val="standard"/>
        <c:varyColors val="0"/>
        <c:ser>
          <c:idx val="0"/>
          <c:order val="0"/>
          <c:tx>
            <c:strRef>
              <c:f>Sheet1!$AA$4</c:f>
              <c:strCache>
                <c:ptCount val="1"/>
                <c:pt idx="0">
                  <c:v>VIX Index</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A$5:$AA$2522</c:f>
              <c:numCache>
                <c:formatCode>General</c:formatCode>
                <c:ptCount val="2518"/>
                <c:pt idx="0">
                  <c:v>11.99</c:v>
                </c:pt>
                <c:pt idx="1">
                  <c:v>11.78</c:v>
                </c:pt>
                <c:pt idx="2">
                  <c:v>12.49</c:v>
                </c:pt>
                <c:pt idx="3">
                  <c:v>14.19</c:v>
                </c:pt>
                <c:pt idx="4">
                  <c:v>13.57</c:v>
                </c:pt>
                <c:pt idx="5">
                  <c:v>13.35</c:v>
                </c:pt>
                <c:pt idx="6">
                  <c:v>16.260000000000002</c:v>
                </c:pt>
                <c:pt idx="7">
                  <c:v>16.989999999999998</c:v>
                </c:pt>
                <c:pt idx="8">
                  <c:v>17.18</c:v>
                </c:pt>
                <c:pt idx="9">
                  <c:v>17.72</c:v>
                </c:pt>
                <c:pt idx="10">
                  <c:v>18.260000000000002</c:v>
                </c:pt>
                <c:pt idx="11">
                  <c:v>17.36</c:v>
                </c:pt>
                <c:pt idx="12">
                  <c:v>15.5</c:v>
                </c:pt>
                <c:pt idx="13">
                  <c:v>14.26</c:v>
                </c:pt>
                <c:pt idx="14">
                  <c:v>18.66</c:v>
                </c:pt>
                <c:pt idx="15">
                  <c:v>16.440000000000001</c:v>
                </c:pt>
                <c:pt idx="16">
                  <c:v>14.52</c:v>
                </c:pt>
                <c:pt idx="17">
                  <c:v>14.32</c:v>
                </c:pt>
                <c:pt idx="18">
                  <c:v>16.649999999999999</c:v>
                </c:pt>
                <c:pt idx="19">
                  <c:v>17.34</c:v>
                </c:pt>
                <c:pt idx="20">
                  <c:v>17.8</c:v>
                </c:pt>
                <c:pt idx="21">
                  <c:v>18.350000000000001</c:v>
                </c:pt>
                <c:pt idx="22">
                  <c:v>18.12</c:v>
                </c:pt>
                <c:pt idx="23">
                  <c:v>20.96</c:v>
                </c:pt>
                <c:pt idx="24">
                  <c:v>23.81</c:v>
                </c:pt>
                <c:pt idx="25">
                  <c:v>21.46</c:v>
                </c:pt>
                <c:pt idx="26">
                  <c:v>15.9</c:v>
                </c:pt>
                <c:pt idx="27">
                  <c:v>17.25</c:v>
                </c:pt>
                <c:pt idx="28">
                  <c:v>17.829999999999998</c:v>
                </c:pt>
                <c:pt idx="29">
                  <c:v>16.690000000000001</c:v>
                </c:pt>
                <c:pt idx="30">
                  <c:v>15.52</c:v>
                </c:pt>
                <c:pt idx="31">
                  <c:v>15.88</c:v>
                </c:pt>
                <c:pt idx="32">
                  <c:v>15.89</c:v>
                </c:pt>
                <c:pt idx="33">
                  <c:v>15.62</c:v>
                </c:pt>
                <c:pt idx="34">
                  <c:v>16.399999999999999</c:v>
                </c:pt>
                <c:pt idx="35">
                  <c:v>15.79</c:v>
                </c:pt>
                <c:pt idx="36">
                  <c:v>13.03</c:v>
                </c:pt>
                <c:pt idx="37">
                  <c:v>13.08</c:v>
                </c:pt>
                <c:pt idx="38">
                  <c:v>13.05</c:v>
                </c:pt>
                <c:pt idx="39">
                  <c:v>14.15</c:v>
                </c:pt>
                <c:pt idx="40">
                  <c:v>13.65</c:v>
                </c:pt>
                <c:pt idx="41">
                  <c:v>13.97</c:v>
                </c:pt>
                <c:pt idx="42">
                  <c:v>14.02</c:v>
                </c:pt>
                <c:pt idx="43">
                  <c:v>13.14</c:v>
                </c:pt>
                <c:pt idx="44">
                  <c:v>14.49</c:v>
                </c:pt>
                <c:pt idx="45">
                  <c:v>17.79</c:v>
                </c:pt>
                <c:pt idx="46">
                  <c:v>18.05</c:v>
                </c:pt>
                <c:pt idx="47">
                  <c:v>18.64</c:v>
                </c:pt>
                <c:pt idx="48">
                  <c:v>17.739999999999998</c:v>
                </c:pt>
                <c:pt idx="49">
                  <c:v>15.55</c:v>
                </c:pt>
                <c:pt idx="50">
                  <c:v>16.21</c:v>
                </c:pt>
                <c:pt idx="51">
                  <c:v>17.399999999999999</c:v>
                </c:pt>
                <c:pt idx="52">
                  <c:v>14.98</c:v>
                </c:pt>
                <c:pt idx="53">
                  <c:v>14.85</c:v>
                </c:pt>
                <c:pt idx="54">
                  <c:v>14.62</c:v>
                </c:pt>
                <c:pt idx="55">
                  <c:v>14.94</c:v>
                </c:pt>
                <c:pt idx="56">
                  <c:v>14.33</c:v>
                </c:pt>
                <c:pt idx="57">
                  <c:v>14.95</c:v>
                </c:pt>
                <c:pt idx="58">
                  <c:v>15.05</c:v>
                </c:pt>
                <c:pt idx="59">
                  <c:v>14.34</c:v>
                </c:pt>
                <c:pt idx="60">
                  <c:v>14.46</c:v>
                </c:pt>
                <c:pt idx="61">
                  <c:v>14.34</c:v>
                </c:pt>
                <c:pt idx="62">
                  <c:v>15.23</c:v>
                </c:pt>
                <c:pt idx="63">
                  <c:v>15.23</c:v>
                </c:pt>
                <c:pt idx="64">
                  <c:v>15.2</c:v>
                </c:pt>
                <c:pt idx="65">
                  <c:v>14.46</c:v>
                </c:pt>
                <c:pt idx="66">
                  <c:v>14.3</c:v>
                </c:pt>
                <c:pt idx="67">
                  <c:v>14.26</c:v>
                </c:pt>
                <c:pt idx="68">
                  <c:v>13.42</c:v>
                </c:pt>
                <c:pt idx="69">
                  <c:v>12.41</c:v>
                </c:pt>
                <c:pt idx="70">
                  <c:v>12.24</c:v>
                </c:pt>
                <c:pt idx="71">
                  <c:v>11.64</c:v>
                </c:pt>
                <c:pt idx="72">
                  <c:v>12.22</c:v>
                </c:pt>
                <c:pt idx="73">
                  <c:v>12.19</c:v>
                </c:pt>
                <c:pt idx="74">
                  <c:v>12.4</c:v>
                </c:pt>
                <c:pt idx="75">
                  <c:v>12.4</c:v>
                </c:pt>
                <c:pt idx="76">
                  <c:v>12.31</c:v>
                </c:pt>
                <c:pt idx="77">
                  <c:v>12.18</c:v>
                </c:pt>
                <c:pt idx="78">
                  <c:v>12.28</c:v>
                </c:pt>
                <c:pt idx="79">
                  <c:v>12.22</c:v>
                </c:pt>
                <c:pt idx="80">
                  <c:v>12.31</c:v>
                </c:pt>
                <c:pt idx="81">
                  <c:v>11.96</c:v>
                </c:pt>
                <c:pt idx="82">
                  <c:v>12.63</c:v>
                </c:pt>
                <c:pt idx="83">
                  <c:v>13.74</c:v>
                </c:pt>
                <c:pt idx="84">
                  <c:v>13.88</c:v>
                </c:pt>
                <c:pt idx="85">
                  <c:v>13.16</c:v>
                </c:pt>
                <c:pt idx="86">
                  <c:v>12.99</c:v>
                </c:pt>
                <c:pt idx="87">
                  <c:v>11.92</c:v>
                </c:pt>
                <c:pt idx="88">
                  <c:v>11.18</c:v>
                </c:pt>
                <c:pt idx="89">
                  <c:v>11.55</c:v>
                </c:pt>
                <c:pt idx="90">
                  <c:v>11.76</c:v>
                </c:pt>
                <c:pt idx="91">
                  <c:v>11.78</c:v>
                </c:pt>
                <c:pt idx="92">
                  <c:v>11.98</c:v>
                </c:pt>
                <c:pt idx="93">
                  <c:v>11.39</c:v>
                </c:pt>
                <c:pt idx="94">
                  <c:v>12.25</c:v>
                </c:pt>
                <c:pt idx="95">
                  <c:v>12.59</c:v>
                </c:pt>
                <c:pt idx="96">
                  <c:v>12.12</c:v>
                </c:pt>
                <c:pt idx="97">
                  <c:v>11.53</c:v>
                </c:pt>
                <c:pt idx="98">
                  <c:v>11.58</c:v>
                </c:pt>
                <c:pt idx="99">
                  <c:v>11.72</c:v>
                </c:pt>
                <c:pt idx="100">
                  <c:v>11.98</c:v>
                </c:pt>
                <c:pt idx="101">
                  <c:v>12.57</c:v>
                </c:pt>
                <c:pt idx="102">
                  <c:v>12.24</c:v>
                </c:pt>
                <c:pt idx="103">
                  <c:v>11.86</c:v>
                </c:pt>
                <c:pt idx="104">
                  <c:v>11.98</c:v>
                </c:pt>
                <c:pt idx="105">
                  <c:v>11.56</c:v>
                </c:pt>
                <c:pt idx="106">
                  <c:v>11.68</c:v>
                </c:pt>
                <c:pt idx="107">
                  <c:v>11.52</c:v>
                </c:pt>
                <c:pt idx="108">
                  <c:v>11.62</c:v>
                </c:pt>
                <c:pt idx="109">
                  <c:v>11.09</c:v>
                </c:pt>
                <c:pt idx="110">
                  <c:v>10.75</c:v>
                </c:pt>
                <c:pt idx="111">
                  <c:v>11.09</c:v>
                </c:pt>
                <c:pt idx="112">
                  <c:v>11.73</c:v>
                </c:pt>
                <c:pt idx="113">
                  <c:v>11.34</c:v>
                </c:pt>
                <c:pt idx="114">
                  <c:v>10.9</c:v>
                </c:pt>
                <c:pt idx="115">
                  <c:v>10.63</c:v>
                </c:pt>
                <c:pt idx="116">
                  <c:v>11.08</c:v>
                </c:pt>
                <c:pt idx="117">
                  <c:v>10.78</c:v>
                </c:pt>
                <c:pt idx="118">
                  <c:v>10.66</c:v>
                </c:pt>
                <c:pt idx="119">
                  <c:v>10.56</c:v>
                </c:pt>
                <c:pt idx="120">
                  <c:v>10.8</c:v>
                </c:pt>
                <c:pt idx="121">
                  <c:v>11.2</c:v>
                </c:pt>
                <c:pt idx="122">
                  <c:v>11.1</c:v>
                </c:pt>
                <c:pt idx="123">
                  <c:v>11.51</c:v>
                </c:pt>
                <c:pt idx="124">
                  <c:v>11.42</c:v>
                </c:pt>
                <c:pt idx="125">
                  <c:v>11.16</c:v>
                </c:pt>
                <c:pt idx="126">
                  <c:v>11.16</c:v>
                </c:pt>
                <c:pt idx="127">
                  <c:v>11.09</c:v>
                </c:pt>
                <c:pt idx="128">
                  <c:v>10.75</c:v>
                </c:pt>
                <c:pt idx="129">
                  <c:v>11.01</c:v>
                </c:pt>
                <c:pt idx="130">
                  <c:v>10.79</c:v>
                </c:pt>
                <c:pt idx="131">
                  <c:v>10.86</c:v>
                </c:pt>
                <c:pt idx="132">
                  <c:v>10.5</c:v>
                </c:pt>
                <c:pt idx="133">
                  <c:v>10.31</c:v>
                </c:pt>
                <c:pt idx="134">
                  <c:v>10.16</c:v>
                </c:pt>
                <c:pt idx="135">
                  <c:v>10.050000000000001</c:v>
                </c:pt>
                <c:pt idx="136">
                  <c:v>9.9700000000000006</c:v>
                </c:pt>
                <c:pt idx="137">
                  <c:v>9.9</c:v>
                </c:pt>
                <c:pt idx="138">
                  <c:v>10.14</c:v>
                </c:pt>
                <c:pt idx="139">
                  <c:v>10.73</c:v>
                </c:pt>
                <c:pt idx="140">
                  <c:v>12.3</c:v>
                </c:pt>
                <c:pt idx="141">
                  <c:v>11.62</c:v>
                </c:pt>
                <c:pt idx="142">
                  <c:v>10.83</c:v>
                </c:pt>
                <c:pt idx="143">
                  <c:v>10.91</c:v>
                </c:pt>
                <c:pt idx="144">
                  <c:v>11.66</c:v>
                </c:pt>
                <c:pt idx="145">
                  <c:v>11.23</c:v>
                </c:pt>
                <c:pt idx="146">
                  <c:v>11.27</c:v>
                </c:pt>
                <c:pt idx="147">
                  <c:v>11.33</c:v>
                </c:pt>
                <c:pt idx="148">
                  <c:v>12.67</c:v>
                </c:pt>
                <c:pt idx="149">
                  <c:v>12.07</c:v>
                </c:pt>
                <c:pt idx="150">
                  <c:v>10.71</c:v>
                </c:pt>
                <c:pt idx="151">
                  <c:v>10.65</c:v>
                </c:pt>
                <c:pt idx="152">
                  <c:v>10.18</c:v>
                </c:pt>
                <c:pt idx="153">
                  <c:v>9.9700000000000006</c:v>
                </c:pt>
                <c:pt idx="154">
                  <c:v>10.050000000000001</c:v>
                </c:pt>
                <c:pt idx="155">
                  <c:v>10.6</c:v>
                </c:pt>
                <c:pt idx="156">
                  <c:v>10.3</c:v>
                </c:pt>
                <c:pt idx="157">
                  <c:v>10.26</c:v>
                </c:pt>
                <c:pt idx="158">
                  <c:v>10.53</c:v>
                </c:pt>
                <c:pt idx="159">
                  <c:v>11.36</c:v>
                </c:pt>
                <c:pt idx="160">
                  <c:v>11.26</c:v>
                </c:pt>
                <c:pt idx="161">
                  <c:v>10.64</c:v>
                </c:pt>
                <c:pt idx="162">
                  <c:v>10.99</c:v>
                </c:pt>
                <c:pt idx="163">
                  <c:v>11.56</c:v>
                </c:pt>
                <c:pt idx="164">
                  <c:v>12.04</c:v>
                </c:pt>
                <c:pt idx="165">
                  <c:v>11.51</c:v>
                </c:pt>
                <c:pt idx="166">
                  <c:v>12.14</c:v>
                </c:pt>
                <c:pt idx="167">
                  <c:v>12</c:v>
                </c:pt>
                <c:pt idx="168">
                  <c:v>11.91</c:v>
                </c:pt>
                <c:pt idx="169">
                  <c:v>11.47</c:v>
                </c:pt>
                <c:pt idx="170">
                  <c:v>10.87</c:v>
                </c:pt>
                <c:pt idx="171">
                  <c:v>10.15</c:v>
                </c:pt>
                <c:pt idx="172">
                  <c:v>10.74</c:v>
                </c:pt>
                <c:pt idx="173">
                  <c:v>10.59</c:v>
                </c:pt>
                <c:pt idx="174">
                  <c:v>10.85</c:v>
                </c:pt>
                <c:pt idx="175">
                  <c:v>10.4</c:v>
                </c:pt>
                <c:pt idx="176">
                  <c:v>10.77</c:v>
                </c:pt>
                <c:pt idx="177">
                  <c:v>10.34</c:v>
                </c:pt>
                <c:pt idx="178">
                  <c:v>9.89</c:v>
                </c:pt>
                <c:pt idx="179">
                  <c:v>11.22</c:v>
                </c:pt>
                <c:pt idx="180">
                  <c:v>11.13</c:v>
                </c:pt>
                <c:pt idx="181">
                  <c:v>11.45</c:v>
                </c:pt>
                <c:pt idx="182">
                  <c:v>10.96</c:v>
                </c:pt>
                <c:pt idx="183">
                  <c:v>10.42</c:v>
                </c:pt>
                <c:pt idx="184">
                  <c:v>10.31</c:v>
                </c:pt>
                <c:pt idx="185">
                  <c:v>10.08</c:v>
                </c:pt>
                <c:pt idx="186">
                  <c:v>10.55</c:v>
                </c:pt>
                <c:pt idx="187">
                  <c:v>10.65</c:v>
                </c:pt>
                <c:pt idx="188">
                  <c:v>10.32</c:v>
                </c:pt>
                <c:pt idx="189">
                  <c:v>10.44</c:v>
                </c:pt>
                <c:pt idx="190">
                  <c:v>11.1</c:v>
                </c:pt>
                <c:pt idx="191">
                  <c:v>11.61</c:v>
                </c:pt>
                <c:pt idx="192">
                  <c:v>10.34</c:v>
                </c:pt>
                <c:pt idx="193">
                  <c:v>10.23</c:v>
                </c:pt>
                <c:pt idx="194">
                  <c:v>10.220000000000001</c:v>
                </c:pt>
                <c:pt idx="195">
                  <c:v>10.02</c:v>
                </c:pt>
                <c:pt idx="196">
                  <c:v>10.24</c:v>
                </c:pt>
                <c:pt idx="197">
                  <c:v>10.199999999999999</c:v>
                </c:pt>
                <c:pt idx="198">
                  <c:v>10.18</c:v>
                </c:pt>
                <c:pt idx="199">
                  <c:v>10.58</c:v>
                </c:pt>
                <c:pt idx="200">
                  <c:v>11.15</c:v>
                </c:pt>
                <c:pt idx="201">
                  <c:v>18.309999999999999</c:v>
                </c:pt>
                <c:pt idx="202">
                  <c:v>15.42</c:v>
                </c:pt>
                <c:pt idx="203">
                  <c:v>15.82</c:v>
                </c:pt>
                <c:pt idx="204">
                  <c:v>18.61</c:v>
                </c:pt>
                <c:pt idx="205">
                  <c:v>19.63</c:v>
                </c:pt>
                <c:pt idx="206">
                  <c:v>15.96</c:v>
                </c:pt>
                <c:pt idx="207">
                  <c:v>15.24</c:v>
                </c:pt>
                <c:pt idx="208">
                  <c:v>14.29</c:v>
                </c:pt>
                <c:pt idx="209">
                  <c:v>14.09</c:v>
                </c:pt>
                <c:pt idx="210">
                  <c:v>13.99</c:v>
                </c:pt>
                <c:pt idx="211">
                  <c:v>18.13</c:v>
                </c:pt>
                <c:pt idx="212">
                  <c:v>17.27</c:v>
                </c:pt>
                <c:pt idx="213">
                  <c:v>16.43</c:v>
                </c:pt>
                <c:pt idx="214">
                  <c:v>16.79</c:v>
                </c:pt>
                <c:pt idx="215">
                  <c:v>14.59</c:v>
                </c:pt>
                <c:pt idx="216">
                  <c:v>13.27</c:v>
                </c:pt>
                <c:pt idx="217">
                  <c:v>12.19</c:v>
                </c:pt>
                <c:pt idx="218">
                  <c:v>12.93</c:v>
                </c:pt>
                <c:pt idx="219">
                  <c:v>12.95</c:v>
                </c:pt>
                <c:pt idx="220">
                  <c:v>13.16</c:v>
                </c:pt>
                <c:pt idx="221">
                  <c:v>13.48</c:v>
                </c:pt>
                <c:pt idx="222">
                  <c:v>14.98</c:v>
                </c:pt>
                <c:pt idx="223">
                  <c:v>15.14</c:v>
                </c:pt>
                <c:pt idx="224">
                  <c:v>14.64</c:v>
                </c:pt>
                <c:pt idx="225">
                  <c:v>14.53</c:v>
                </c:pt>
                <c:pt idx="226">
                  <c:v>13.46</c:v>
                </c:pt>
                <c:pt idx="227">
                  <c:v>13.24</c:v>
                </c:pt>
                <c:pt idx="228">
                  <c:v>13.23</c:v>
                </c:pt>
                <c:pt idx="229">
                  <c:v>13.14</c:v>
                </c:pt>
                <c:pt idx="230">
                  <c:v>12.68</c:v>
                </c:pt>
                <c:pt idx="231">
                  <c:v>13.49</c:v>
                </c:pt>
                <c:pt idx="232">
                  <c:v>12.71</c:v>
                </c:pt>
                <c:pt idx="233">
                  <c:v>12.2</c:v>
                </c:pt>
                <c:pt idx="234">
                  <c:v>11.98</c:v>
                </c:pt>
                <c:pt idx="235">
                  <c:v>12.14</c:v>
                </c:pt>
                <c:pt idx="236">
                  <c:v>12.42</c:v>
                </c:pt>
                <c:pt idx="237">
                  <c:v>12.54</c:v>
                </c:pt>
                <c:pt idx="238">
                  <c:v>12.07</c:v>
                </c:pt>
                <c:pt idx="239">
                  <c:v>13.04</c:v>
                </c:pt>
                <c:pt idx="240">
                  <c:v>13.12</c:v>
                </c:pt>
                <c:pt idx="241">
                  <c:v>13.21</c:v>
                </c:pt>
                <c:pt idx="242">
                  <c:v>12.79</c:v>
                </c:pt>
                <c:pt idx="243">
                  <c:v>12.45</c:v>
                </c:pt>
                <c:pt idx="244">
                  <c:v>14.22</c:v>
                </c:pt>
                <c:pt idx="245">
                  <c:v>13.51</c:v>
                </c:pt>
                <c:pt idx="246">
                  <c:v>13.08</c:v>
                </c:pt>
                <c:pt idx="247">
                  <c:v>13.09</c:v>
                </c:pt>
                <c:pt idx="248">
                  <c:v>12.91</c:v>
                </c:pt>
                <c:pt idx="249">
                  <c:v>13.15</c:v>
                </c:pt>
                <c:pt idx="250">
                  <c:v>13.21</c:v>
                </c:pt>
                <c:pt idx="251">
                  <c:v>12.88</c:v>
                </c:pt>
                <c:pt idx="252">
                  <c:v>13.6</c:v>
                </c:pt>
                <c:pt idx="253">
                  <c:v>12.95</c:v>
                </c:pt>
                <c:pt idx="254">
                  <c:v>13.96</c:v>
                </c:pt>
                <c:pt idx="255">
                  <c:v>14.01</c:v>
                </c:pt>
                <c:pt idx="256">
                  <c:v>13.5</c:v>
                </c:pt>
                <c:pt idx="257">
                  <c:v>13.51</c:v>
                </c:pt>
                <c:pt idx="258">
                  <c:v>12.76</c:v>
                </c:pt>
                <c:pt idx="259">
                  <c:v>13.3</c:v>
                </c:pt>
                <c:pt idx="260">
                  <c:v>13.06</c:v>
                </c:pt>
                <c:pt idx="261">
                  <c:v>13.24</c:v>
                </c:pt>
                <c:pt idx="262">
                  <c:v>14.08</c:v>
                </c:pt>
                <c:pt idx="263">
                  <c:v>13.34</c:v>
                </c:pt>
                <c:pt idx="264">
                  <c:v>13.53</c:v>
                </c:pt>
                <c:pt idx="265">
                  <c:v>12.83</c:v>
                </c:pt>
                <c:pt idx="266">
                  <c:v>13.05</c:v>
                </c:pt>
                <c:pt idx="267">
                  <c:v>12.78</c:v>
                </c:pt>
                <c:pt idx="268">
                  <c:v>13.29</c:v>
                </c:pt>
                <c:pt idx="269">
                  <c:v>13.63</c:v>
                </c:pt>
                <c:pt idx="270">
                  <c:v>14.87</c:v>
                </c:pt>
                <c:pt idx="271">
                  <c:v>17.059999999999999</c:v>
                </c:pt>
                <c:pt idx="272">
                  <c:v>14.84</c:v>
                </c:pt>
                <c:pt idx="273">
                  <c:v>14.71</c:v>
                </c:pt>
                <c:pt idx="274">
                  <c:v>16.670000000000002</c:v>
                </c:pt>
                <c:pt idx="275">
                  <c:v>14.73</c:v>
                </c:pt>
                <c:pt idx="276">
                  <c:v>13.64</c:v>
                </c:pt>
                <c:pt idx="277">
                  <c:v>13.94</c:v>
                </c:pt>
                <c:pt idx="278">
                  <c:v>13.42</c:v>
                </c:pt>
                <c:pt idx="279">
                  <c:v>12.85</c:v>
                </c:pt>
                <c:pt idx="280">
                  <c:v>14.67</c:v>
                </c:pt>
                <c:pt idx="281">
                  <c:v>14.21</c:v>
                </c:pt>
                <c:pt idx="282">
                  <c:v>15.75</c:v>
                </c:pt>
                <c:pt idx="283">
                  <c:v>16.649999999999999</c:v>
                </c:pt>
                <c:pt idx="284">
                  <c:v>18.89</c:v>
                </c:pt>
                <c:pt idx="285">
                  <c:v>15.53</c:v>
                </c:pt>
                <c:pt idx="286">
                  <c:v>15.54</c:v>
                </c:pt>
                <c:pt idx="287">
                  <c:v>16.23</c:v>
                </c:pt>
                <c:pt idx="288">
                  <c:v>15.4</c:v>
                </c:pt>
                <c:pt idx="289">
                  <c:v>14.92</c:v>
                </c:pt>
                <c:pt idx="290">
                  <c:v>15.48</c:v>
                </c:pt>
                <c:pt idx="291">
                  <c:v>14.72</c:v>
                </c:pt>
                <c:pt idx="292">
                  <c:v>15.16</c:v>
                </c:pt>
                <c:pt idx="293">
                  <c:v>17.57</c:v>
                </c:pt>
                <c:pt idx="294">
                  <c:v>16.64</c:v>
                </c:pt>
                <c:pt idx="295">
                  <c:v>15.54</c:v>
                </c:pt>
                <c:pt idx="296">
                  <c:v>15.15</c:v>
                </c:pt>
                <c:pt idx="297">
                  <c:v>15.59</c:v>
                </c:pt>
                <c:pt idx="298">
                  <c:v>15.63</c:v>
                </c:pt>
                <c:pt idx="299">
                  <c:v>16</c:v>
                </c:pt>
                <c:pt idx="300">
                  <c:v>15.23</c:v>
                </c:pt>
                <c:pt idx="301">
                  <c:v>16.95</c:v>
                </c:pt>
                <c:pt idx="302">
                  <c:v>16.809999999999999</c:v>
                </c:pt>
                <c:pt idx="303">
                  <c:v>18.55</c:v>
                </c:pt>
                <c:pt idx="304">
                  <c:v>18.100000000000001</c:v>
                </c:pt>
                <c:pt idx="305">
                  <c:v>20.74</c:v>
                </c:pt>
                <c:pt idx="306">
                  <c:v>24.17</c:v>
                </c:pt>
                <c:pt idx="307">
                  <c:v>20.87</c:v>
                </c:pt>
                <c:pt idx="308">
                  <c:v>23.52</c:v>
                </c:pt>
                <c:pt idx="309">
                  <c:v>23.67</c:v>
                </c:pt>
                <c:pt idx="310">
                  <c:v>21.22</c:v>
                </c:pt>
                <c:pt idx="311">
                  <c:v>25.16</c:v>
                </c:pt>
                <c:pt idx="312">
                  <c:v>22.94</c:v>
                </c:pt>
                <c:pt idx="313">
                  <c:v>21.56</c:v>
                </c:pt>
                <c:pt idx="314">
                  <c:v>21.45</c:v>
                </c:pt>
                <c:pt idx="315">
                  <c:v>26.48</c:v>
                </c:pt>
                <c:pt idx="316">
                  <c:v>28.3</c:v>
                </c:pt>
                <c:pt idx="317">
                  <c:v>26.57</c:v>
                </c:pt>
                <c:pt idx="318">
                  <c:v>27.68</c:v>
                </c:pt>
                <c:pt idx="319">
                  <c:v>30.67</c:v>
                </c:pt>
                <c:pt idx="320">
                  <c:v>30.83</c:v>
                </c:pt>
                <c:pt idx="321">
                  <c:v>29.99</c:v>
                </c:pt>
                <c:pt idx="322">
                  <c:v>26.33</c:v>
                </c:pt>
                <c:pt idx="323">
                  <c:v>25.25</c:v>
                </c:pt>
                <c:pt idx="324">
                  <c:v>22.89</c:v>
                </c:pt>
                <c:pt idx="325">
                  <c:v>22.62</c:v>
                </c:pt>
                <c:pt idx="326">
                  <c:v>20.72</c:v>
                </c:pt>
                <c:pt idx="327">
                  <c:v>22.72</c:v>
                </c:pt>
                <c:pt idx="328">
                  <c:v>26.3</c:v>
                </c:pt>
                <c:pt idx="329">
                  <c:v>23.81</c:v>
                </c:pt>
                <c:pt idx="330">
                  <c:v>25.06</c:v>
                </c:pt>
                <c:pt idx="331">
                  <c:v>23.38</c:v>
                </c:pt>
                <c:pt idx="332">
                  <c:v>22.78</c:v>
                </c:pt>
                <c:pt idx="333">
                  <c:v>24.58</c:v>
                </c:pt>
                <c:pt idx="334">
                  <c:v>23.99</c:v>
                </c:pt>
                <c:pt idx="335">
                  <c:v>26.23</c:v>
                </c:pt>
                <c:pt idx="336">
                  <c:v>27.38</c:v>
                </c:pt>
                <c:pt idx="337">
                  <c:v>25.27</c:v>
                </c:pt>
                <c:pt idx="338">
                  <c:v>24.96</c:v>
                </c:pt>
                <c:pt idx="339">
                  <c:v>24.76</c:v>
                </c:pt>
                <c:pt idx="340">
                  <c:v>24.92</c:v>
                </c:pt>
                <c:pt idx="341">
                  <c:v>26.48</c:v>
                </c:pt>
                <c:pt idx="342">
                  <c:v>20.350000000000001</c:v>
                </c:pt>
                <c:pt idx="343">
                  <c:v>20.03</c:v>
                </c:pt>
                <c:pt idx="344">
                  <c:v>20.45</c:v>
                </c:pt>
                <c:pt idx="345">
                  <c:v>19</c:v>
                </c:pt>
                <c:pt idx="346">
                  <c:v>19.37</c:v>
                </c:pt>
                <c:pt idx="347">
                  <c:v>18.600000000000001</c:v>
                </c:pt>
                <c:pt idx="348">
                  <c:v>17.63</c:v>
                </c:pt>
                <c:pt idx="349">
                  <c:v>17</c:v>
                </c:pt>
                <c:pt idx="350">
                  <c:v>18</c:v>
                </c:pt>
                <c:pt idx="351">
                  <c:v>17.84</c:v>
                </c:pt>
                <c:pt idx="352">
                  <c:v>18.489999999999998</c:v>
                </c:pt>
                <c:pt idx="353">
                  <c:v>18.8</c:v>
                </c:pt>
                <c:pt idx="354">
                  <c:v>18.440000000000001</c:v>
                </c:pt>
                <c:pt idx="355">
                  <c:v>16.91</c:v>
                </c:pt>
                <c:pt idx="356">
                  <c:v>17.46</c:v>
                </c:pt>
                <c:pt idx="357">
                  <c:v>16.12</c:v>
                </c:pt>
                <c:pt idx="358">
                  <c:v>16.670000000000002</c:v>
                </c:pt>
                <c:pt idx="359">
                  <c:v>18.88</c:v>
                </c:pt>
                <c:pt idx="360">
                  <c:v>17.73</c:v>
                </c:pt>
                <c:pt idx="361">
                  <c:v>19.25</c:v>
                </c:pt>
                <c:pt idx="362">
                  <c:v>20.02</c:v>
                </c:pt>
                <c:pt idx="363">
                  <c:v>18.54</c:v>
                </c:pt>
                <c:pt idx="364">
                  <c:v>18.5</c:v>
                </c:pt>
                <c:pt idx="365">
                  <c:v>22.96</c:v>
                </c:pt>
                <c:pt idx="366">
                  <c:v>21.64</c:v>
                </c:pt>
                <c:pt idx="367">
                  <c:v>20.41</c:v>
                </c:pt>
                <c:pt idx="368">
                  <c:v>20.8</c:v>
                </c:pt>
                <c:pt idx="369">
                  <c:v>21.17</c:v>
                </c:pt>
                <c:pt idx="370">
                  <c:v>19.559999999999999</c:v>
                </c:pt>
                <c:pt idx="371">
                  <c:v>19.87</c:v>
                </c:pt>
                <c:pt idx="372">
                  <c:v>21.07</c:v>
                </c:pt>
                <c:pt idx="373">
                  <c:v>18.53</c:v>
                </c:pt>
                <c:pt idx="374">
                  <c:v>23.21</c:v>
                </c:pt>
                <c:pt idx="375">
                  <c:v>23.01</c:v>
                </c:pt>
                <c:pt idx="376">
                  <c:v>24.31</c:v>
                </c:pt>
                <c:pt idx="377">
                  <c:v>21.39</c:v>
                </c:pt>
                <c:pt idx="378">
                  <c:v>26.49</c:v>
                </c:pt>
                <c:pt idx="379">
                  <c:v>26.16</c:v>
                </c:pt>
                <c:pt idx="380">
                  <c:v>28.5</c:v>
                </c:pt>
                <c:pt idx="381">
                  <c:v>31.09</c:v>
                </c:pt>
                <c:pt idx="382">
                  <c:v>24.1</c:v>
                </c:pt>
                <c:pt idx="383">
                  <c:v>25.94</c:v>
                </c:pt>
                <c:pt idx="384">
                  <c:v>28.06</c:v>
                </c:pt>
                <c:pt idx="385">
                  <c:v>25.49</c:v>
                </c:pt>
                <c:pt idx="386">
                  <c:v>26.01</c:v>
                </c:pt>
                <c:pt idx="387">
                  <c:v>24.88</c:v>
                </c:pt>
                <c:pt idx="388">
                  <c:v>26.84</c:v>
                </c:pt>
                <c:pt idx="389">
                  <c:v>25.61</c:v>
                </c:pt>
                <c:pt idx="390">
                  <c:v>28.91</c:v>
                </c:pt>
                <c:pt idx="391">
                  <c:v>26.28</c:v>
                </c:pt>
                <c:pt idx="392">
                  <c:v>24.11</c:v>
                </c:pt>
                <c:pt idx="393">
                  <c:v>23.97</c:v>
                </c:pt>
                <c:pt idx="394">
                  <c:v>22.87</c:v>
                </c:pt>
                <c:pt idx="395">
                  <c:v>23.61</c:v>
                </c:pt>
                <c:pt idx="396">
                  <c:v>23.79</c:v>
                </c:pt>
                <c:pt idx="397">
                  <c:v>22.53</c:v>
                </c:pt>
                <c:pt idx="398">
                  <c:v>20.96</c:v>
                </c:pt>
                <c:pt idx="399">
                  <c:v>20.85</c:v>
                </c:pt>
                <c:pt idx="400">
                  <c:v>20.74</c:v>
                </c:pt>
                <c:pt idx="401">
                  <c:v>23.59</c:v>
                </c:pt>
                <c:pt idx="402">
                  <c:v>22.47</c:v>
                </c:pt>
                <c:pt idx="403">
                  <c:v>22.56</c:v>
                </c:pt>
                <c:pt idx="404">
                  <c:v>23.27</c:v>
                </c:pt>
                <c:pt idx="405">
                  <c:v>24.52</c:v>
                </c:pt>
                <c:pt idx="406">
                  <c:v>22.64</c:v>
                </c:pt>
                <c:pt idx="407">
                  <c:v>21.68</c:v>
                </c:pt>
                <c:pt idx="408">
                  <c:v>20.58</c:v>
                </c:pt>
                <c:pt idx="409">
                  <c:v>18.47</c:v>
                </c:pt>
                <c:pt idx="410">
                  <c:v>18.600000000000001</c:v>
                </c:pt>
                <c:pt idx="411">
                  <c:v>18.66</c:v>
                </c:pt>
                <c:pt idx="412">
                  <c:v>20.260000000000002</c:v>
                </c:pt>
                <c:pt idx="413">
                  <c:v>20.74</c:v>
                </c:pt>
                <c:pt idx="414">
                  <c:v>22.5</c:v>
                </c:pt>
                <c:pt idx="415">
                  <c:v>23.17</c:v>
                </c:pt>
                <c:pt idx="416">
                  <c:v>22.49</c:v>
                </c:pt>
                <c:pt idx="417">
                  <c:v>23.94</c:v>
                </c:pt>
                <c:pt idx="418">
                  <c:v>23.79</c:v>
                </c:pt>
                <c:pt idx="419">
                  <c:v>25.43</c:v>
                </c:pt>
                <c:pt idx="420">
                  <c:v>24.12</c:v>
                </c:pt>
                <c:pt idx="421">
                  <c:v>23.45</c:v>
                </c:pt>
                <c:pt idx="422">
                  <c:v>23.68</c:v>
                </c:pt>
                <c:pt idx="423">
                  <c:v>22.9</c:v>
                </c:pt>
                <c:pt idx="424">
                  <c:v>23.34</c:v>
                </c:pt>
                <c:pt idx="425">
                  <c:v>24.38</c:v>
                </c:pt>
                <c:pt idx="426">
                  <c:v>28.46</c:v>
                </c:pt>
                <c:pt idx="427">
                  <c:v>27.18</c:v>
                </c:pt>
                <c:pt idx="428">
                  <c:v>31.01</c:v>
                </c:pt>
                <c:pt idx="429">
                  <c:v>29.02</c:v>
                </c:pt>
                <c:pt idx="430">
                  <c:v>27.78</c:v>
                </c:pt>
                <c:pt idx="431">
                  <c:v>29.08</c:v>
                </c:pt>
                <c:pt idx="432">
                  <c:v>27.78</c:v>
                </c:pt>
                <c:pt idx="433">
                  <c:v>27.32</c:v>
                </c:pt>
                <c:pt idx="434">
                  <c:v>27.62</c:v>
                </c:pt>
                <c:pt idx="435">
                  <c:v>26.2</c:v>
                </c:pt>
                <c:pt idx="436">
                  <c:v>24.02</c:v>
                </c:pt>
                <c:pt idx="437">
                  <c:v>25.99</c:v>
                </c:pt>
                <c:pt idx="438">
                  <c:v>28.24</c:v>
                </c:pt>
                <c:pt idx="439">
                  <c:v>28.97</c:v>
                </c:pt>
                <c:pt idx="440">
                  <c:v>27.66</c:v>
                </c:pt>
                <c:pt idx="441">
                  <c:v>28.01</c:v>
                </c:pt>
                <c:pt idx="442">
                  <c:v>27.6</c:v>
                </c:pt>
                <c:pt idx="443">
                  <c:v>26.33</c:v>
                </c:pt>
                <c:pt idx="444">
                  <c:v>24.88</c:v>
                </c:pt>
                <c:pt idx="445">
                  <c:v>25.54</c:v>
                </c:pt>
                <c:pt idx="446">
                  <c:v>25.02</c:v>
                </c:pt>
                <c:pt idx="447">
                  <c:v>25.59</c:v>
                </c:pt>
                <c:pt idx="448">
                  <c:v>24.4</c:v>
                </c:pt>
                <c:pt idx="449">
                  <c:v>25.12</c:v>
                </c:pt>
                <c:pt idx="450">
                  <c:v>24.06</c:v>
                </c:pt>
                <c:pt idx="451">
                  <c:v>23.03</c:v>
                </c:pt>
                <c:pt idx="452">
                  <c:v>21.9</c:v>
                </c:pt>
                <c:pt idx="453">
                  <c:v>22.69</c:v>
                </c:pt>
                <c:pt idx="454">
                  <c:v>23.53</c:v>
                </c:pt>
                <c:pt idx="455">
                  <c:v>26.54</c:v>
                </c:pt>
                <c:pt idx="456">
                  <c:v>26.28</c:v>
                </c:pt>
                <c:pt idx="457">
                  <c:v>25.52</c:v>
                </c:pt>
                <c:pt idx="458">
                  <c:v>24.6</c:v>
                </c:pt>
                <c:pt idx="459">
                  <c:v>27.55</c:v>
                </c:pt>
                <c:pt idx="460">
                  <c:v>27.49</c:v>
                </c:pt>
                <c:pt idx="461">
                  <c:v>29.38</c:v>
                </c:pt>
                <c:pt idx="462">
                  <c:v>26.36</c:v>
                </c:pt>
                <c:pt idx="463">
                  <c:v>27.22</c:v>
                </c:pt>
                <c:pt idx="464">
                  <c:v>27.29</c:v>
                </c:pt>
                <c:pt idx="465">
                  <c:v>31.16</c:v>
                </c:pt>
                <c:pt idx="466">
                  <c:v>32.24</c:v>
                </c:pt>
                <c:pt idx="467">
                  <c:v>25.79</c:v>
                </c:pt>
                <c:pt idx="468">
                  <c:v>29.84</c:v>
                </c:pt>
                <c:pt idx="469">
                  <c:v>26.62</c:v>
                </c:pt>
                <c:pt idx="470">
                  <c:v>25.73</c:v>
                </c:pt>
                <c:pt idx="471">
                  <c:v>25.72</c:v>
                </c:pt>
                <c:pt idx="472">
                  <c:v>26.08</c:v>
                </c:pt>
                <c:pt idx="473">
                  <c:v>25.88</c:v>
                </c:pt>
                <c:pt idx="474">
                  <c:v>25.71</c:v>
                </c:pt>
                <c:pt idx="475">
                  <c:v>25.61</c:v>
                </c:pt>
                <c:pt idx="476">
                  <c:v>22.68</c:v>
                </c:pt>
                <c:pt idx="477">
                  <c:v>23.43</c:v>
                </c:pt>
                <c:pt idx="478">
                  <c:v>23.21</c:v>
                </c:pt>
                <c:pt idx="479">
                  <c:v>22.45</c:v>
                </c:pt>
                <c:pt idx="480">
                  <c:v>22.42</c:v>
                </c:pt>
                <c:pt idx="481">
                  <c:v>22.36</c:v>
                </c:pt>
                <c:pt idx="482">
                  <c:v>22.81</c:v>
                </c:pt>
                <c:pt idx="483">
                  <c:v>21.98</c:v>
                </c:pt>
                <c:pt idx="484">
                  <c:v>23.46</c:v>
                </c:pt>
                <c:pt idx="485">
                  <c:v>23.82</c:v>
                </c:pt>
                <c:pt idx="486">
                  <c:v>22.78</c:v>
                </c:pt>
                <c:pt idx="487">
                  <c:v>20.53</c:v>
                </c:pt>
                <c:pt idx="488">
                  <c:v>20.37</c:v>
                </c:pt>
                <c:pt idx="489">
                  <c:v>20.13</c:v>
                </c:pt>
                <c:pt idx="490">
                  <c:v>20.5</c:v>
                </c:pt>
                <c:pt idx="491">
                  <c:v>20.87</c:v>
                </c:pt>
                <c:pt idx="492">
                  <c:v>20.260000000000002</c:v>
                </c:pt>
                <c:pt idx="493">
                  <c:v>20.059999999999999</c:v>
                </c:pt>
                <c:pt idx="494">
                  <c:v>19.59</c:v>
                </c:pt>
                <c:pt idx="495">
                  <c:v>19.64</c:v>
                </c:pt>
                <c:pt idx="496">
                  <c:v>20.239999999999998</c:v>
                </c:pt>
                <c:pt idx="497">
                  <c:v>20.79</c:v>
                </c:pt>
                <c:pt idx="498">
                  <c:v>18.88</c:v>
                </c:pt>
                <c:pt idx="499">
                  <c:v>18.18</c:v>
                </c:pt>
                <c:pt idx="500">
                  <c:v>18.899999999999999</c:v>
                </c:pt>
                <c:pt idx="501">
                  <c:v>18.21</c:v>
                </c:pt>
                <c:pt idx="502">
                  <c:v>19.73</c:v>
                </c:pt>
                <c:pt idx="503">
                  <c:v>19.399999999999999</c:v>
                </c:pt>
                <c:pt idx="504">
                  <c:v>19.41</c:v>
                </c:pt>
                <c:pt idx="505">
                  <c:v>17.79</c:v>
                </c:pt>
                <c:pt idx="506">
                  <c:v>17.98</c:v>
                </c:pt>
                <c:pt idx="507">
                  <c:v>17.66</c:v>
                </c:pt>
                <c:pt idx="508">
                  <c:v>16.3</c:v>
                </c:pt>
                <c:pt idx="509">
                  <c:v>16.47</c:v>
                </c:pt>
                <c:pt idx="510">
                  <c:v>17.010000000000002</c:v>
                </c:pt>
                <c:pt idx="511">
                  <c:v>17.579999999999998</c:v>
                </c:pt>
                <c:pt idx="512">
                  <c:v>18.59</c:v>
                </c:pt>
                <c:pt idx="513">
                  <c:v>18.05</c:v>
                </c:pt>
                <c:pt idx="514">
                  <c:v>19.55</c:v>
                </c:pt>
                <c:pt idx="515">
                  <c:v>19.64</c:v>
                </c:pt>
                <c:pt idx="516">
                  <c:v>19.07</c:v>
                </c:pt>
                <c:pt idx="517">
                  <c:v>18.14</c:v>
                </c:pt>
                <c:pt idx="518">
                  <c:v>17.829999999999998</c:v>
                </c:pt>
                <c:pt idx="519">
                  <c:v>19.829999999999998</c:v>
                </c:pt>
                <c:pt idx="520">
                  <c:v>20.239999999999998</c:v>
                </c:pt>
                <c:pt idx="521">
                  <c:v>20.8</c:v>
                </c:pt>
                <c:pt idx="522">
                  <c:v>18.63</c:v>
                </c:pt>
                <c:pt idx="523">
                  <c:v>23.56</c:v>
                </c:pt>
                <c:pt idx="524">
                  <c:v>23.12</c:v>
                </c:pt>
                <c:pt idx="525">
                  <c:v>23.18</c:v>
                </c:pt>
                <c:pt idx="526">
                  <c:v>24.12</c:v>
                </c:pt>
                <c:pt idx="527">
                  <c:v>23.33</c:v>
                </c:pt>
                <c:pt idx="528">
                  <c:v>21.22</c:v>
                </c:pt>
                <c:pt idx="529">
                  <c:v>20.95</c:v>
                </c:pt>
                <c:pt idx="530">
                  <c:v>21.13</c:v>
                </c:pt>
                <c:pt idx="531">
                  <c:v>22.24</c:v>
                </c:pt>
                <c:pt idx="532">
                  <c:v>21.58</c:v>
                </c:pt>
                <c:pt idx="533">
                  <c:v>22.87</c:v>
                </c:pt>
                <c:pt idx="534">
                  <c:v>22.64</c:v>
                </c:pt>
                <c:pt idx="535">
                  <c:v>22.42</c:v>
                </c:pt>
                <c:pt idx="536">
                  <c:v>21.14</c:v>
                </c:pt>
                <c:pt idx="537">
                  <c:v>23.93</c:v>
                </c:pt>
                <c:pt idx="538">
                  <c:v>23.44</c:v>
                </c:pt>
                <c:pt idx="539">
                  <c:v>23.95</c:v>
                </c:pt>
                <c:pt idx="540">
                  <c:v>23.65</c:v>
                </c:pt>
                <c:pt idx="541">
                  <c:v>25.92</c:v>
                </c:pt>
                <c:pt idx="542">
                  <c:v>24.78</c:v>
                </c:pt>
                <c:pt idx="543">
                  <c:v>25.78</c:v>
                </c:pt>
                <c:pt idx="544">
                  <c:v>23.15</c:v>
                </c:pt>
                <c:pt idx="545">
                  <c:v>25.23</c:v>
                </c:pt>
                <c:pt idx="546">
                  <c:v>25.59</c:v>
                </c:pt>
                <c:pt idx="547">
                  <c:v>27.49</c:v>
                </c:pt>
                <c:pt idx="548">
                  <c:v>28.48</c:v>
                </c:pt>
                <c:pt idx="549">
                  <c:v>28.54</c:v>
                </c:pt>
                <c:pt idx="550">
                  <c:v>25.1</c:v>
                </c:pt>
                <c:pt idx="551">
                  <c:v>25.01</c:v>
                </c:pt>
                <c:pt idx="552">
                  <c:v>24.05</c:v>
                </c:pt>
                <c:pt idx="553">
                  <c:v>23.05</c:v>
                </c:pt>
                <c:pt idx="554">
                  <c:v>21.18</c:v>
                </c:pt>
                <c:pt idx="555">
                  <c:v>21.31</c:v>
                </c:pt>
                <c:pt idx="556">
                  <c:v>23.44</c:v>
                </c:pt>
                <c:pt idx="557">
                  <c:v>22.91</c:v>
                </c:pt>
                <c:pt idx="558">
                  <c:v>24.23</c:v>
                </c:pt>
                <c:pt idx="559">
                  <c:v>22.03</c:v>
                </c:pt>
                <c:pt idx="560">
                  <c:v>21.21</c:v>
                </c:pt>
                <c:pt idx="561">
                  <c:v>22.94</c:v>
                </c:pt>
                <c:pt idx="562">
                  <c:v>22.57</c:v>
                </c:pt>
                <c:pt idx="563">
                  <c:v>23.49</c:v>
                </c:pt>
                <c:pt idx="564">
                  <c:v>21.14</c:v>
                </c:pt>
                <c:pt idx="565">
                  <c:v>20.23</c:v>
                </c:pt>
                <c:pt idx="566">
                  <c:v>21.15</c:v>
                </c:pt>
                <c:pt idx="567">
                  <c:v>20.66</c:v>
                </c:pt>
                <c:pt idx="568">
                  <c:v>20.12</c:v>
                </c:pt>
                <c:pt idx="569">
                  <c:v>21.17</c:v>
                </c:pt>
                <c:pt idx="570">
                  <c:v>21.55</c:v>
                </c:pt>
                <c:pt idx="571">
                  <c:v>20.34</c:v>
                </c:pt>
                <c:pt idx="572">
                  <c:v>19.579999999999998</c:v>
                </c:pt>
                <c:pt idx="573">
                  <c:v>20.98</c:v>
                </c:pt>
                <c:pt idx="574">
                  <c:v>21.28</c:v>
                </c:pt>
                <c:pt idx="575">
                  <c:v>20.420000000000002</c:v>
                </c:pt>
                <c:pt idx="576">
                  <c:v>19.82</c:v>
                </c:pt>
                <c:pt idx="577">
                  <c:v>18.809999999999999</c:v>
                </c:pt>
                <c:pt idx="578">
                  <c:v>20.97</c:v>
                </c:pt>
                <c:pt idx="579">
                  <c:v>20.49</c:v>
                </c:pt>
                <c:pt idx="580">
                  <c:v>19.760000000000002</c:v>
                </c:pt>
                <c:pt idx="581">
                  <c:v>19.43</c:v>
                </c:pt>
                <c:pt idx="582">
                  <c:v>20.65</c:v>
                </c:pt>
                <c:pt idx="583">
                  <c:v>21.99</c:v>
                </c:pt>
                <c:pt idx="584">
                  <c:v>21.43</c:v>
                </c:pt>
                <c:pt idx="585">
                  <c:v>24.03</c:v>
                </c:pt>
                <c:pt idx="586">
                  <c:v>23.06</c:v>
                </c:pt>
                <c:pt idx="587">
                  <c:v>22.64</c:v>
                </c:pt>
                <c:pt idx="588">
                  <c:v>25.47</c:v>
                </c:pt>
                <c:pt idx="589">
                  <c:v>24.52</c:v>
                </c:pt>
                <c:pt idx="590">
                  <c:v>24.39</c:v>
                </c:pt>
                <c:pt idx="591">
                  <c:v>25.66</c:v>
                </c:pt>
                <c:pt idx="592">
                  <c:v>31.7</c:v>
                </c:pt>
                <c:pt idx="593">
                  <c:v>30.3</c:v>
                </c:pt>
                <c:pt idx="594">
                  <c:v>36.22</c:v>
                </c:pt>
                <c:pt idx="595">
                  <c:v>33.1</c:v>
                </c:pt>
                <c:pt idx="596">
                  <c:v>32.07</c:v>
                </c:pt>
                <c:pt idx="597">
                  <c:v>33.85</c:v>
                </c:pt>
                <c:pt idx="598">
                  <c:v>35.72</c:v>
                </c:pt>
                <c:pt idx="599">
                  <c:v>35.19</c:v>
                </c:pt>
                <c:pt idx="600">
                  <c:v>32.82</c:v>
                </c:pt>
                <c:pt idx="601">
                  <c:v>34.74</c:v>
                </c:pt>
                <c:pt idx="602">
                  <c:v>46.72</c:v>
                </c:pt>
                <c:pt idx="603">
                  <c:v>39.39</c:v>
                </c:pt>
                <c:pt idx="604">
                  <c:v>39.81</c:v>
                </c:pt>
                <c:pt idx="605">
                  <c:v>45.26</c:v>
                </c:pt>
                <c:pt idx="606">
                  <c:v>45.14</c:v>
                </c:pt>
                <c:pt idx="607">
                  <c:v>52.05</c:v>
                </c:pt>
                <c:pt idx="608">
                  <c:v>53.68</c:v>
                </c:pt>
                <c:pt idx="609">
                  <c:v>57.53</c:v>
                </c:pt>
                <c:pt idx="610">
                  <c:v>63.92</c:v>
                </c:pt>
                <c:pt idx="611">
                  <c:v>69.95</c:v>
                </c:pt>
                <c:pt idx="612">
                  <c:v>54.99</c:v>
                </c:pt>
                <c:pt idx="613">
                  <c:v>55.13</c:v>
                </c:pt>
                <c:pt idx="614">
                  <c:v>69.25</c:v>
                </c:pt>
                <c:pt idx="615">
                  <c:v>67.61</c:v>
                </c:pt>
                <c:pt idx="616">
                  <c:v>70.33</c:v>
                </c:pt>
                <c:pt idx="617">
                  <c:v>52.97</c:v>
                </c:pt>
                <c:pt idx="618">
                  <c:v>53.11</c:v>
                </c:pt>
                <c:pt idx="619">
                  <c:v>69.650000000000006</c:v>
                </c:pt>
                <c:pt idx="620">
                  <c:v>67.8</c:v>
                </c:pt>
                <c:pt idx="621">
                  <c:v>79.13</c:v>
                </c:pt>
                <c:pt idx="622">
                  <c:v>80.06</c:v>
                </c:pt>
                <c:pt idx="623">
                  <c:v>66.959999999999994</c:v>
                </c:pt>
                <c:pt idx="624">
                  <c:v>69.959999999999994</c:v>
                </c:pt>
                <c:pt idx="625">
                  <c:v>62.9</c:v>
                </c:pt>
                <c:pt idx="626">
                  <c:v>59.89</c:v>
                </c:pt>
                <c:pt idx="627">
                  <c:v>53.68</c:v>
                </c:pt>
                <c:pt idx="628">
                  <c:v>47.73</c:v>
                </c:pt>
                <c:pt idx="629">
                  <c:v>54.56</c:v>
                </c:pt>
                <c:pt idx="630">
                  <c:v>63.68</c:v>
                </c:pt>
                <c:pt idx="631">
                  <c:v>56.1</c:v>
                </c:pt>
                <c:pt idx="632">
                  <c:v>59.98</c:v>
                </c:pt>
                <c:pt idx="633">
                  <c:v>61.44</c:v>
                </c:pt>
                <c:pt idx="634">
                  <c:v>66.459999999999994</c:v>
                </c:pt>
                <c:pt idx="635">
                  <c:v>59.83</c:v>
                </c:pt>
                <c:pt idx="636">
                  <c:v>66.31</c:v>
                </c:pt>
                <c:pt idx="637">
                  <c:v>69.150000000000006</c:v>
                </c:pt>
                <c:pt idx="638">
                  <c:v>67.64</c:v>
                </c:pt>
                <c:pt idx="639">
                  <c:v>74.260000000000005</c:v>
                </c:pt>
                <c:pt idx="640">
                  <c:v>80.86</c:v>
                </c:pt>
                <c:pt idx="641">
                  <c:v>72.67</c:v>
                </c:pt>
                <c:pt idx="642">
                  <c:v>64.7</c:v>
                </c:pt>
                <c:pt idx="643">
                  <c:v>60.9</c:v>
                </c:pt>
                <c:pt idx="644">
                  <c:v>54.92</c:v>
                </c:pt>
                <c:pt idx="645">
                  <c:v>55.28</c:v>
                </c:pt>
                <c:pt idx="646">
                  <c:v>68.510000000000005</c:v>
                </c:pt>
                <c:pt idx="647">
                  <c:v>62.98</c:v>
                </c:pt>
                <c:pt idx="648">
                  <c:v>60.72</c:v>
                </c:pt>
                <c:pt idx="649">
                  <c:v>63.64</c:v>
                </c:pt>
                <c:pt idx="650">
                  <c:v>59.93</c:v>
                </c:pt>
                <c:pt idx="651">
                  <c:v>58.49</c:v>
                </c:pt>
                <c:pt idx="652">
                  <c:v>58.91</c:v>
                </c:pt>
                <c:pt idx="653">
                  <c:v>55.73</c:v>
                </c:pt>
                <c:pt idx="654">
                  <c:v>55.78</c:v>
                </c:pt>
                <c:pt idx="655">
                  <c:v>54.28</c:v>
                </c:pt>
                <c:pt idx="656">
                  <c:v>56.76</c:v>
                </c:pt>
                <c:pt idx="657">
                  <c:v>52.37</c:v>
                </c:pt>
                <c:pt idx="658">
                  <c:v>49.84</c:v>
                </c:pt>
                <c:pt idx="659">
                  <c:v>47.34</c:v>
                </c:pt>
                <c:pt idx="660">
                  <c:v>44.93</c:v>
                </c:pt>
                <c:pt idx="661">
                  <c:v>44.56</c:v>
                </c:pt>
                <c:pt idx="662">
                  <c:v>45.02</c:v>
                </c:pt>
                <c:pt idx="663">
                  <c:v>44.21</c:v>
                </c:pt>
                <c:pt idx="664">
                  <c:v>43.38</c:v>
                </c:pt>
                <c:pt idx="665">
                  <c:v>43.9</c:v>
                </c:pt>
                <c:pt idx="666">
                  <c:v>41.63</c:v>
                </c:pt>
                <c:pt idx="667">
                  <c:v>40</c:v>
                </c:pt>
                <c:pt idx="668">
                  <c:v>39.19</c:v>
                </c:pt>
                <c:pt idx="669">
                  <c:v>39.08</c:v>
                </c:pt>
                <c:pt idx="670">
                  <c:v>38.56</c:v>
                </c:pt>
                <c:pt idx="671">
                  <c:v>43.39</c:v>
                </c:pt>
                <c:pt idx="672">
                  <c:v>42.56</c:v>
                </c:pt>
                <c:pt idx="673">
                  <c:v>42.82</c:v>
                </c:pt>
                <c:pt idx="674">
                  <c:v>45.84</c:v>
                </c:pt>
                <c:pt idx="675">
                  <c:v>43.27</c:v>
                </c:pt>
                <c:pt idx="676">
                  <c:v>49.14</c:v>
                </c:pt>
                <c:pt idx="677">
                  <c:v>51</c:v>
                </c:pt>
                <c:pt idx="678">
                  <c:v>46.11</c:v>
                </c:pt>
                <c:pt idx="679">
                  <c:v>56.65</c:v>
                </c:pt>
                <c:pt idx="680">
                  <c:v>46.42</c:v>
                </c:pt>
                <c:pt idx="681">
                  <c:v>47.29</c:v>
                </c:pt>
                <c:pt idx="682">
                  <c:v>47.27</c:v>
                </c:pt>
                <c:pt idx="683">
                  <c:v>45.69</c:v>
                </c:pt>
                <c:pt idx="684">
                  <c:v>42.25</c:v>
                </c:pt>
                <c:pt idx="685">
                  <c:v>39.659999999999997</c:v>
                </c:pt>
                <c:pt idx="686">
                  <c:v>42.63</c:v>
                </c:pt>
                <c:pt idx="687">
                  <c:v>44.84</c:v>
                </c:pt>
                <c:pt idx="688">
                  <c:v>45.52</c:v>
                </c:pt>
                <c:pt idx="689">
                  <c:v>43.06</c:v>
                </c:pt>
                <c:pt idx="690">
                  <c:v>43.85</c:v>
                </c:pt>
                <c:pt idx="691">
                  <c:v>43.73</c:v>
                </c:pt>
                <c:pt idx="692">
                  <c:v>43.37</c:v>
                </c:pt>
                <c:pt idx="693">
                  <c:v>43.64</c:v>
                </c:pt>
                <c:pt idx="694">
                  <c:v>46.67</c:v>
                </c:pt>
                <c:pt idx="695">
                  <c:v>44.53</c:v>
                </c:pt>
                <c:pt idx="696">
                  <c:v>41.25</c:v>
                </c:pt>
                <c:pt idx="697">
                  <c:v>42.93</c:v>
                </c:pt>
                <c:pt idx="698">
                  <c:v>48.66</c:v>
                </c:pt>
                <c:pt idx="699">
                  <c:v>48.46</c:v>
                </c:pt>
                <c:pt idx="700">
                  <c:v>47.08</c:v>
                </c:pt>
                <c:pt idx="701">
                  <c:v>49.3</c:v>
                </c:pt>
                <c:pt idx="702">
                  <c:v>52.62</c:v>
                </c:pt>
                <c:pt idx="703">
                  <c:v>45.49</c:v>
                </c:pt>
                <c:pt idx="704">
                  <c:v>44.67</c:v>
                </c:pt>
                <c:pt idx="705">
                  <c:v>44.66</c:v>
                </c:pt>
                <c:pt idx="706">
                  <c:v>46.35</c:v>
                </c:pt>
                <c:pt idx="707">
                  <c:v>52.65</c:v>
                </c:pt>
                <c:pt idx="708">
                  <c:v>50.93</c:v>
                </c:pt>
                <c:pt idx="709">
                  <c:v>47.56</c:v>
                </c:pt>
                <c:pt idx="710">
                  <c:v>50.17</c:v>
                </c:pt>
                <c:pt idx="711">
                  <c:v>49.33</c:v>
                </c:pt>
                <c:pt idx="712">
                  <c:v>49.68</c:v>
                </c:pt>
                <c:pt idx="713">
                  <c:v>44.37</c:v>
                </c:pt>
                <c:pt idx="714">
                  <c:v>43.61</c:v>
                </c:pt>
                <c:pt idx="715">
                  <c:v>41.18</c:v>
                </c:pt>
                <c:pt idx="716">
                  <c:v>42.36</c:v>
                </c:pt>
                <c:pt idx="717">
                  <c:v>43.74</c:v>
                </c:pt>
                <c:pt idx="718">
                  <c:v>40.799999999999997</c:v>
                </c:pt>
                <c:pt idx="719">
                  <c:v>40.06</c:v>
                </c:pt>
                <c:pt idx="720">
                  <c:v>43.68</c:v>
                </c:pt>
                <c:pt idx="721">
                  <c:v>45.89</c:v>
                </c:pt>
                <c:pt idx="722">
                  <c:v>43.23</c:v>
                </c:pt>
                <c:pt idx="723">
                  <c:v>42.93</c:v>
                </c:pt>
                <c:pt idx="724">
                  <c:v>42.25</c:v>
                </c:pt>
                <c:pt idx="725">
                  <c:v>40.36</c:v>
                </c:pt>
                <c:pt idx="726">
                  <c:v>41.04</c:v>
                </c:pt>
                <c:pt idx="727">
                  <c:v>45.54</c:v>
                </c:pt>
                <c:pt idx="728">
                  <c:v>44.14</c:v>
                </c:pt>
                <c:pt idx="729">
                  <c:v>42.28</c:v>
                </c:pt>
                <c:pt idx="730">
                  <c:v>42.04</c:v>
                </c:pt>
                <c:pt idx="731">
                  <c:v>39.700000000000003</c:v>
                </c:pt>
                <c:pt idx="732">
                  <c:v>40.93</c:v>
                </c:pt>
                <c:pt idx="733">
                  <c:v>40.39</c:v>
                </c:pt>
                <c:pt idx="734">
                  <c:v>38.85</c:v>
                </c:pt>
                <c:pt idx="735">
                  <c:v>36.53</c:v>
                </c:pt>
                <c:pt idx="736">
                  <c:v>37.81</c:v>
                </c:pt>
                <c:pt idx="737">
                  <c:v>37.67</c:v>
                </c:pt>
                <c:pt idx="738">
                  <c:v>36.17</c:v>
                </c:pt>
                <c:pt idx="739">
                  <c:v>35.79</c:v>
                </c:pt>
                <c:pt idx="740">
                  <c:v>33.94</c:v>
                </c:pt>
                <c:pt idx="741">
                  <c:v>39.18</c:v>
                </c:pt>
                <c:pt idx="742">
                  <c:v>37.14</c:v>
                </c:pt>
                <c:pt idx="743">
                  <c:v>38.1</c:v>
                </c:pt>
                <c:pt idx="744">
                  <c:v>37.15</c:v>
                </c:pt>
                <c:pt idx="745">
                  <c:v>36.82</c:v>
                </c:pt>
                <c:pt idx="746">
                  <c:v>38.32</c:v>
                </c:pt>
                <c:pt idx="747">
                  <c:v>37.950000000000003</c:v>
                </c:pt>
                <c:pt idx="748">
                  <c:v>36.08</c:v>
                </c:pt>
                <c:pt idx="749">
                  <c:v>36.5</c:v>
                </c:pt>
                <c:pt idx="750">
                  <c:v>35.299999999999997</c:v>
                </c:pt>
                <c:pt idx="751">
                  <c:v>34.53</c:v>
                </c:pt>
                <c:pt idx="752">
                  <c:v>33.36</c:v>
                </c:pt>
                <c:pt idx="753">
                  <c:v>32.450000000000003</c:v>
                </c:pt>
                <c:pt idx="754">
                  <c:v>33.44</c:v>
                </c:pt>
                <c:pt idx="755">
                  <c:v>32.049999999999997</c:v>
                </c:pt>
                <c:pt idx="756">
                  <c:v>32.869999999999997</c:v>
                </c:pt>
                <c:pt idx="757">
                  <c:v>31.8</c:v>
                </c:pt>
                <c:pt idx="758">
                  <c:v>33.65</c:v>
                </c:pt>
                <c:pt idx="759">
                  <c:v>31.37</c:v>
                </c:pt>
                <c:pt idx="760">
                  <c:v>33.119999999999997</c:v>
                </c:pt>
                <c:pt idx="761">
                  <c:v>30.24</c:v>
                </c:pt>
                <c:pt idx="762">
                  <c:v>28.8</c:v>
                </c:pt>
                <c:pt idx="763">
                  <c:v>29.03</c:v>
                </c:pt>
                <c:pt idx="764">
                  <c:v>31.35</c:v>
                </c:pt>
                <c:pt idx="765">
                  <c:v>32.630000000000003</c:v>
                </c:pt>
                <c:pt idx="766">
                  <c:v>30.62</c:v>
                </c:pt>
                <c:pt idx="767">
                  <c:v>32.36</c:v>
                </c:pt>
                <c:pt idx="768">
                  <c:v>31.67</c:v>
                </c:pt>
                <c:pt idx="769">
                  <c:v>28.92</c:v>
                </c:pt>
                <c:pt idx="770">
                  <c:v>30.04</c:v>
                </c:pt>
                <c:pt idx="771">
                  <c:v>29.63</c:v>
                </c:pt>
                <c:pt idx="772">
                  <c:v>31.02</c:v>
                </c:pt>
                <c:pt idx="773">
                  <c:v>30.18</c:v>
                </c:pt>
                <c:pt idx="774">
                  <c:v>29.62</c:v>
                </c:pt>
                <c:pt idx="775">
                  <c:v>29.77</c:v>
                </c:pt>
                <c:pt idx="776">
                  <c:v>28.27</c:v>
                </c:pt>
                <c:pt idx="777">
                  <c:v>28.46</c:v>
                </c:pt>
                <c:pt idx="778">
                  <c:v>28.11</c:v>
                </c:pt>
                <c:pt idx="779">
                  <c:v>28.15</c:v>
                </c:pt>
                <c:pt idx="780">
                  <c:v>30.81</c:v>
                </c:pt>
                <c:pt idx="781">
                  <c:v>32.68</c:v>
                </c:pt>
                <c:pt idx="782">
                  <c:v>31.54</c:v>
                </c:pt>
                <c:pt idx="783">
                  <c:v>30.03</c:v>
                </c:pt>
                <c:pt idx="784">
                  <c:v>27.99</c:v>
                </c:pt>
                <c:pt idx="785">
                  <c:v>31.17</c:v>
                </c:pt>
                <c:pt idx="786">
                  <c:v>30.58</c:v>
                </c:pt>
                <c:pt idx="787">
                  <c:v>29.05</c:v>
                </c:pt>
                <c:pt idx="788">
                  <c:v>26.36</c:v>
                </c:pt>
                <c:pt idx="789">
                  <c:v>25.93</c:v>
                </c:pt>
                <c:pt idx="790">
                  <c:v>25.35</c:v>
                </c:pt>
                <c:pt idx="791">
                  <c:v>26.35</c:v>
                </c:pt>
                <c:pt idx="792">
                  <c:v>26.22</c:v>
                </c:pt>
                <c:pt idx="793">
                  <c:v>27.95</c:v>
                </c:pt>
                <c:pt idx="794">
                  <c:v>29</c:v>
                </c:pt>
                <c:pt idx="795">
                  <c:v>30.85</c:v>
                </c:pt>
                <c:pt idx="796">
                  <c:v>31.3</c:v>
                </c:pt>
                <c:pt idx="797">
                  <c:v>29.78</c:v>
                </c:pt>
                <c:pt idx="798">
                  <c:v>29.02</c:v>
                </c:pt>
                <c:pt idx="799">
                  <c:v>26.31</c:v>
                </c:pt>
                <c:pt idx="800">
                  <c:v>25.02</c:v>
                </c:pt>
                <c:pt idx="801">
                  <c:v>25.89</c:v>
                </c:pt>
                <c:pt idx="802">
                  <c:v>25.42</c:v>
                </c:pt>
                <c:pt idx="803">
                  <c:v>24.34</c:v>
                </c:pt>
                <c:pt idx="804">
                  <c:v>24.4</c:v>
                </c:pt>
                <c:pt idx="805">
                  <c:v>23.87</c:v>
                </c:pt>
                <c:pt idx="806">
                  <c:v>23.47</c:v>
                </c:pt>
                <c:pt idx="807">
                  <c:v>23.43</c:v>
                </c:pt>
                <c:pt idx="808">
                  <c:v>23.09</c:v>
                </c:pt>
                <c:pt idx="809">
                  <c:v>24.28</c:v>
                </c:pt>
                <c:pt idx="810">
                  <c:v>25.01</c:v>
                </c:pt>
                <c:pt idx="811">
                  <c:v>25.61</c:v>
                </c:pt>
                <c:pt idx="812">
                  <c:v>25.4</c:v>
                </c:pt>
                <c:pt idx="813">
                  <c:v>25.92</c:v>
                </c:pt>
                <c:pt idx="814">
                  <c:v>25.56</c:v>
                </c:pt>
                <c:pt idx="815">
                  <c:v>24.89</c:v>
                </c:pt>
                <c:pt idx="816">
                  <c:v>24.9</c:v>
                </c:pt>
                <c:pt idx="817">
                  <c:v>25.67</c:v>
                </c:pt>
                <c:pt idx="818">
                  <c:v>24.76</c:v>
                </c:pt>
                <c:pt idx="819">
                  <c:v>24.99</c:v>
                </c:pt>
                <c:pt idx="820">
                  <c:v>25.99</c:v>
                </c:pt>
                <c:pt idx="821">
                  <c:v>25.45</c:v>
                </c:pt>
                <c:pt idx="822">
                  <c:v>24.71</c:v>
                </c:pt>
                <c:pt idx="823">
                  <c:v>24.27</c:v>
                </c:pt>
                <c:pt idx="824">
                  <c:v>27.89</c:v>
                </c:pt>
                <c:pt idx="825">
                  <c:v>26.18</c:v>
                </c:pt>
                <c:pt idx="826">
                  <c:v>26.26</c:v>
                </c:pt>
                <c:pt idx="827">
                  <c:v>25.09</c:v>
                </c:pt>
                <c:pt idx="828">
                  <c:v>25.01</c:v>
                </c:pt>
                <c:pt idx="829">
                  <c:v>25.14</c:v>
                </c:pt>
                <c:pt idx="830">
                  <c:v>24.92</c:v>
                </c:pt>
                <c:pt idx="831">
                  <c:v>24.95</c:v>
                </c:pt>
                <c:pt idx="832">
                  <c:v>24.68</c:v>
                </c:pt>
                <c:pt idx="833">
                  <c:v>24.76</c:v>
                </c:pt>
                <c:pt idx="834">
                  <c:v>26.01</c:v>
                </c:pt>
                <c:pt idx="835">
                  <c:v>29.15</c:v>
                </c:pt>
                <c:pt idx="836">
                  <c:v>28.9</c:v>
                </c:pt>
                <c:pt idx="837">
                  <c:v>27.1</c:v>
                </c:pt>
                <c:pt idx="838">
                  <c:v>25.26</c:v>
                </c:pt>
                <c:pt idx="839">
                  <c:v>25.62</c:v>
                </c:pt>
                <c:pt idx="840">
                  <c:v>24.32</c:v>
                </c:pt>
                <c:pt idx="841">
                  <c:v>23.55</c:v>
                </c:pt>
                <c:pt idx="842">
                  <c:v>24.15</c:v>
                </c:pt>
                <c:pt idx="843">
                  <c:v>23.86</c:v>
                </c:pt>
                <c:pt idx="844">
                  <c:v>23.42</c:v>
                </c:pt>
                <c:pt idx="845">
                  <c:v>23.69</c:v>
                </c:pt>
                <c:pt idx="846">
                  <c:v>23.65</c:v>
                </c:pt>
                <c:pt idx="847">
                  <c:v>23.92</c:v>
                </c:pt>
                <c:pt idx="848">
                  <c:v>24.06</c:v>
                </c:pt>
                <c:pt idx="849">
                  <c:v>23.08</c:v>
                </c:pt>
                <c:pt idx="850">
                  <c:v>23.49</c:v>
                </c:pt>
                <c:pt idx="851">
                  <c:v>24.95</c:v>
                </c:pt>
                <c:pt idx="852">
                  <c:v>25.61</c:v>
                </c:pt>
                <c:pt idx="853">
                  <c:v>24.88</c:v>
                </c:pt>
                <c:pt idx="854">
                  <c:v>25.19</c:v>
                </c:pt>
                <c:pt idx="855">
                  <c:v>25.61</c:v>
                </c:pt>
                <c:pt idx="856">
                  <c:v>28.27</c:v>
                </c:pt>
                <c:pt idx="857">
                  <c:v>28.68</c:v>
                </c:pt>
                <c:pt idx="858">
                  <c:v>26.84</c:v>
                </c:pt>
                <c:pt idx="859">
                  <c:v>25.7</c:v>
                </c:pt>
                <c:pt idx="860">
                  <c:v>24.68</c:v>
                </c:pt>
                <c:pt idx="861">
                  <c:v>24.18</c:v>
                </c:pt>
                <c:pt idx="862">
                  <c:v>23.12</c:v>
                </c:pt>
                <c:pt idx="863">
                  <c:v>23.01</c:v>
                </c:pt>
                <c:pt idx="864">
                  <c:v>22.99</c:v>
                </c:pt>
                <c:pt idx="865">
                  <c:v>22.86</c:v>
                </c:pt>
                <c:pt idx="866">
                  <c:v>21.72</c:v>
                </c:pt>
                <c:pt idx="867">
                  <c:v>21.43</c:v>
                </c:pt>
                <c:pt idx="868">
                  <c:v>21.49</c:v>
                </c:pt>
                <c:pt idx="869">
                  <c:v>20.9</c:v>
                </c:pt>
                <c:pt idx="870">
                  <c:v>22.22</c:v>
                </c:pt>
                <c:pt idx="871">
                  <c:v>20.69</c:v>
                </c:pt>
                <c:pt idx="872">
                  <c:v>22.27</c:v>
                </c:pt>
                <c:pt idx="873">
                  <c:v>24.31</c:v>
                </c:pt>
                <c:pt idx="874">
                  <c:v>24.83</c:v>
                </c:pt>
                <c:pt idx="875">
                  <c:v>27.91</c:v>
                </c:pt>
                <c:pt idx="876">
                  <c:v>24.76</c:v>
                </c:pt>
                <c:pt idx="877">
                  <c:v>30.69</c:v>
                </c:pt>
                <c:pt idx="878">
                  <c:v>29.78</c:v>
                </c:pt>
                <c:pt idx="879">
                  <c:v>28.81</c:v>
                </c:pt>
                <c:pt idx="880">
                  <c:v>27.72</c:v>
                </c:pt>
                <c:pt idx="881">
                  <c:v>25.43</c:v>
                </c:pt>
                <c:pt idx="882">
                  <c:v>24.19</c:v>
                </c:pt>
                <c:pt idx="883">
                  <c:v>23.15</c:v>
                </c:pt>
                <c:pt idx="884">
                  <c:v>22.84</c:v>
                </c:pt>
                <c:pt idx="885">
                  <c:v>23.04</c:v>
                </c:pt>
                <c:pt idx="886">
                  <c:v>24.24</c:v>
                </c:pt>
                <c:pt idx="887">
                  <c:v>23.36</c:v>
                </c:pt>
                <c:pt idx="888">
                  <c:v>22.89</c:v>
                </c:pt>
                <c:pt idx="889">
                  <c:v>22.41</c:v>
                </c:pt>
                <c:pt idx="890">
                  <c:v>21.63</c:v>
                </c:pt>
                <c:pt idx="891">
                  <c:v>22.63</c:v>
                </c:pt>
                <c:pt idx="892">
                  <c:v>22.19</c:v>
                </c:pt>
                <c:pt idx="893">
                  <c:v>21.16</c:v>
                </c:pt>
                <c:pt idx="894">
                  <c:v>20.47</c:v>
                </c:pt>
                <c:pt idx="895">
                  <c:v>20.48</c:v>
                </c:pt>
                <c:pt idx="896">
                  <c:v>24.74</c:v>
                </c:pt>
                <c:pt idx="897">
                  <c:v>24.51</c:v>
                </c:pt>
                <c:pt idx="898">
                  <c:v>21.92</c:v>
                </c:pt>
                <c:pt idx="899">
                  <c:v>21.12</c:v>
                </c:pt>
                <c:pt idx="900">
                  <c:v>22.46</c:v>
                </c:pt>
                <c:pt idx="901">
                  <c:v>21.25</c:v>
                </c:pt>
                <c:pt idx="902">
                  <c:v>22.1</c:v>
                </c:pt>
                <c:pt idx="903">
                  <c:v>23.69</c:v>
                </c:pt>
                <c:pt idx="904">
                  <c:v>22.66</c:v>
                </c:pt>
                <c:pt idx="905">
                  <c:v>22.32</c:v>
                </c:pt>
                <c:pt idx="906">
                  <c:v>21.59</c:v>
                </c:pt>
                <c:pt idx="907">
                  <c:v>21.15</c:v>
                </c:pt>
                <c:pt idx="908">
                  <c:v>21.49</c:v>
                </c:pt>
                <c:pt idx="909">
                  <c:v>20.54</c:v>
                </c:pt>
                <c:pt idx="910">
                  <c:v>22.51</c:v>
                </c:pt>
                <c:pt idx="911">
                  <c:v>21.68</c:v>
                </c:pt>
                <c:pt idx="912">
                  <c:v>20.49</c:v>
                </c:pt>
                <c:pt idx="913">
                  <c:v>19.54</c:v>
                </c:pt>
                <c:pt idx="914">
                  <c:v>19.71</c:v>
                </c:pt>
                <c:pt idx="915">
                  <c:v>19.47</c:v>
                </c:pt>
                <c:pt idx="916">
                  <c:v>19.93</c:v>
                </c:pt>
                <c:pt idx="917">
                  <c:v>20.010000000000002</c:v>
                </c:pt>
                <c:pt idx="918">
                  <c:v>19.96</c:v>
                </c:pt>
                <c:pt idx="919">
                  <c:v>21.68</c:v>
                </c:pt>
                <c:pt idx="920">
                  <c:v>20.04</c:v>
                </c:pt>
                <c:pt idx="921">
                  <c:v>19.350000000000001</c:v>
                </c:pt>
                <c:pt idx="922">
                  <c:v>19.16</c:v>
                </c:pt>
                <c:pt idx="923">
                  <c:v>19.059999999999999</c:v>
                </c:pt>
                <c:pt idx="924">
                  <c:v>18.13</c:v>
                </c:pt>
                <c:pt idx="925">
                  <c:v>17.55</c:v>
                </c:pt>
                <c:pt idx="926">
                  <c:v>18.25</c:v>
                </c:pt>
                <c:pt idx="927">
                  <c:v>17.850000000000001</c:v>
                </c:pt>
                <c:pt idx="928">
                  <c:v>17.63</c:v>
                </c:pt>
                <c:pt idx="929">
                  <c:v>17.91</c:v>
                </c:pt>
                <c:pt idx="930">
                  <c:v>17.579999999999998</c:v>
                </c:pt>
                <c:pt idx="931">
                  <c:v>18.68</c:v>
                </c:pt>
                <c:pt idx="932">
                  <c:v>22.27</c:v>
                </c:pt>
                <c:pt idx="933">
                  <c:v>27.31</c:v>
                </c:pt>
                <c:pt idx="934">
                  <c:v>25.41</c:v>
                </c:pt>
                <c:pt idx="935">
                  <c:v>24.55</c:v>
                </c:pt>
                <c:pt idx="936">
                  <c:v>23.14</c:v>
                </c:pt>
                <c:pt idx="937">
                  <c:v>23.73</c:v>
                </c:pt>
                <c:pt idx="938">
                  <c:v>24.62</c:v>
                </c:pt>
                <c:pt idx="939">
                  <c:v>22.59</c:v>
                </c:pt>
                <c:pt idx="940">
                  <c:v>21.48</c:v>
                </c:pt>
                <c:pt idx="941">
                  <c:v>21.6</c:v>
                </c:pt>
                <c:pt idx="942">
                  <c:v>26.08</c:v>
                </c:pt>
                <c:pt idx="943">
                  <c:v>26.11</c:v>
                </c:pt>
                <c:pt idx="944">
                  <c:v>26.51</c:v>
                </c:pt>
                <c:pt idx="945">
                  <c:v>26</c:v>
                </c:pt>
                <c:pt idx="946">
                  <c:v>25.4</c:v>
                </c:pt>
                <c:pt idx="947">
                  <c:v>23.96</c:v>
                </c:pt>
                <c:pt idx="948">
                  <c:v>22.73</c:v>
                </c:pt>
                <c:pt idx="949">
                  <c:v>22.25</c:v>
                </c:pt>
                <c:pt idx="950">
                  <c:v>21.72</c:v>
                </c:pt>
                <c:pt idx="951">
                  <c:v>20.63</c:v>
                </c:pt>
                <c:pt idx="952">
                  <c:v>20.02</c:v>
                </c:pt>
                <c:pt idx="953">
                  <c:v>19.940000000000001</c:v>
                </c:pt>
                <c:pt idx="954">
                  <c:v>21.37</c:v>
                </c:pt>
                <c:pt idx="955">
                  <c:v>20.27</c:v>
                </c:pt>
                <c:pt idx="956">
                  <c:v>20.100000000000001</c:v>
                </c:pt>
                <c:pt idx="957">
                  <c:v>19.5</c:v>
                </c:pt>
                <c:pt idx="958">
                  <c:v>19.260000000000002</c:v>
                </c:pt>
                <c:pt idx="959">
                  <c:v>19.059999999999999</c:v>
                </c:pt>
                <c:pt idx="960">
                  <c:v>18.829999999999998</c:v>
                </c:pt>
                <c:pt idx="961">
                  <c:v>18.72</c:v>
                </c:pt>
                <c:pt idx="962">
                  <c:v>17.420000000000002</c:v>
                </c:pt>
                <c:pt idx="963">
                  <c:v>17.79</c:v>
                </c:pt>
                <c:pt idx="964">
                  <c:v>17.920000000000002</c:v>
                </c:pt>
                <c:pt idx="965">
                  <c:v>18.57</c:v>
                </c:pt>
                <c:pt idx="966">
                  <c:v>18.059999999999999</c:v>
                </c:pt>
                <c:pt idx="967">
                  <c:v>17.579999999999998</c:v>
                </c:pt>
                <c:pt idx="968">
                  <c:v>18</c:v>
                </c:pt>
                <c:pt idx="969">
                  <c:v>17.690000000000001</c:v>
                </c:pt>
                <c:pt idx="970">
                  <c:v>16.91</c:v>
                </c:pt>
                <c:pt idx="971">
                  <c:v>16.62</c:v>
                </c:pt>
                <c:pt idx="972">
                  <c:v>16.97</c:v>
                </c:pt>
                <c:pt idx="973">
                  <c:v>16.87</c:v>
                </c:pt>
                <c:pt idx="974">
                  <c:v>16.350000000000001</c:v>
                </c:pt>
                <c:pt idx="975">
                  <c:v>17.55</c:v>
                </c:pt>
                <c:pt idx="976">
                  <c:v>18.399999999999999</c:v>
                </c:pt>
                <c:pt idx="977">
                  <c:v>17.77</c:v>
                </c:pt>
                <c:pt idx="978">
                  <c:v>17.59</c:v>
                </c:pt>
                <c:pt idx="979">
                  <c:v>17.13</c:v>
                </c:pt>
                <c:pt idx="980">
                  <c:v>17.59</c:v>
                </c:pt>
                <c:pt idx="981">
                  <c:v>17.47</c:v>
                </c:pt>
                <c:pt idx="982">
                  <c:v>17.02</c:v>
                </c:pt>
                <c:pt idx="983">
                  <c:v>16.23</c:v>
                </c:pt>
                <c:pt idx="984">
                  <c:v>16.62</c:v>
                </c:pt>
                <c:pt idx="985">
                  <c:v>16.48</c:v>
                </c:pt>
                <c:pt idx="986">
                  <c:v>16.14</c:v>
                </c:pt>
                <c:pt idx="987">
                  <c:v>15.58</c:v>
                </c:pt>
                <c:pt idx="988">
                  <c:v>16.2</c:v>
                </c:pt>
                <c:pt idx="989">
                  <c:v>15.59</c:v>
                </c:pt>
                <c:pt idx="990">
                  <c:v>15.89</c:v>
                </c:pt>
                <c:pt idx="991">
                  <c:v>18.36</c:v>
                </c:pt>
                <c:pt idx="992">
                  <c:v>17.34</c:v>
                </c:pt>
                <c:pt idx="993">
                  <c:v>15.73</c:v>
                </c:pt>
                <c:pt idx="994">
                  <c:v>16.32</c:v>
                </c:pt>
                <c:pt idx="995">
                  <c:v>16.47</c:v>
                </c:pt>
                <c:pt idx="996">
                  <c:v>16.62</c:v>
                </c:pt>
                <c:pt idx="997">
                  <c:v>17.47</c:v>
                </c:pt>
                <c:pt idx="998">
                  <c:v>22.81</c:v>
                </c:pt>
                <c:pt idx="999">
                  <c:v>21.08</c:v>
                </c:pt>
                <c:pt idx="1000">
                  <c:v>18.440000000000001</c:v>
                </c:pt>
                <c:pt idx="1001">
                  <c:v>22.05</c:v>
                </c:pt>
                <c:pt idx="1002">
                  <c:v>20.190000000000001</c:v>
                </c:pt>
                <c:pt idx="1003">
                  <c:v>23.84</c:v>
                </c:pt>
                <c:pt idx="1004">
                  <c:v>24.91</c:v>
                </c:pt>
                <c:pt idx="1005">
                  <c:v>32.799999999999997</c:v>
                </c:pt>
                <c:pt idx="1006">
                  <c:v>40.950000000000003</c:v>
                </c:pt>
                <c:pt idx="1007">
                  <c:v>28.84</c:v>
                </c:pt>
                <c:pt idx="1008">
                  <c:v>28.32</c:v>
                </c:pt>
                <c:pt idx="1009">
                  <c:v>25.52</c:v>
                </c:pt>
                <c:pt idx="1010">
                  <c:v>26.68</c:v>
                </c:pt>
                <c:pt idx="1011">
                  <c:v>31.24</c:v>
                </c:pt>
                <c:pt idx="1012">
                  <c:v>30.84</c:v>
                </c:pt>
                <c:pt idx="1013">
                  <c:v>33.549999999999997</c:v>
                </c:pt>
                <c:pt idx="1014">
                  <c:v>35.32</c:v>
                </c:pt>
                <c:pt idx="1015">
                  <c:v>45.79</c:v>
                </c:pt>
                <c:pt idx="1016">
                  <c:v>40.1</c:v>
                </c:pt>
                <c:pt idx="1017">
                  <c:v>38.32</c:v>
                </c:pt>
                <c:pt idx="1018">
                  <c:v>34.61</c:v>
                </c:pt>
                <c:pt idx="1019">
                  <c:v>35.020000000000003</c:v>
                </c:pt>
                <c:pt idx="1020">
                  <c:v>29.68</c:v>
                </c:pt>
                <c:pt idx="1021">
                  <c:v>32.07</c:v>
                </c:pt>
                <c:pt idx="1022">
                  <c:v>35.54</c:v>
                </c:pt>
                <c:pt idx="1023">
                  <c:v>30.17</c:v>
                </c:pt>
                <c:pt idx="1024">
                  <c:v>29.46</c:v>
                </c:pt>
                <c:pt idx="1025">
                  <c:v>35.479999999999997</c:v>
                </c:pt>
                <c:pt idx="1026">
                  <c:v>36.57</c:v>
                </c:pt>
                <c:pt idx="1027">
                  <c:v>33.700000000000003</c:v>
                </c:pt>
                <c:pt idx="1028">
                  <c:v>33.729999999999997</c:v>
                </c:pt>
                <c:pt idx="1029">
                  <c:v>30.57</c:v>
                </c:pt>
                <c:pt idx="1030">
                  <c:v>28.79</c:v>
                </c:pt>
                <c:pt idx="1031">
                  <c:v>28.58</c:v>
                </c:pt>
                <c:pt idx="1032">
                  <c:v>25.87</c:v>
                </c:pt>
                <c:pt idx="1033">
                  <c:v>25.92</c:v>
                </c:pt>
                <c:pt idx="1034">
                  <c:v>25.05</c:v>
                </c:pt>
                <c:pt idx="1035">
                  <c:v>23.95</c:v>
                </c:pt>
                <c:pt idx="1036">
                  <c:v>24.88</c:v>
                </c:pt>
                <c:pt idx="1037">
                  <c:v>27.05</c:v>
                </c:pt>
                <c:pt idx="1038">
                  <c:v>26.91</c:v>
                </c:pt>
                <c:pt idx="1039">
                  <c:v>29.74</c:v>
                </c:pt>
                <c:pt idx="1040">
                  <c:v>28.53</c:v>
                </c:pt>
                <c:pt idx="1041">
                  <c:v>29</c:v>
                </c:pt>
                <c:pt idx="1042">
                  <c:v>34.130000000000003</c:v>
                </c:pt>
                <c:pt idx="1043">
                  <c:v>34.54</c:v>
                </c:pt>
                <c:pt idx="1044">
                  <c:v>32.86</c:v>
                </c:pt>
                <c:pt idx="1045">
                  <c:v>30.12</c:v>
                </c:pt>
                <c:pt idx="1046">
                  <c:v>29.65</c:v>
                </c:pt>
                <c:pt idx="1047">
                  <c:v>26.84</c:v>
                </c:pt>
                <c:pt idx="1048">
                  <c:v>25.71</c:v>
                </c:pt>
                <c:pt idx="1049">
                  <c:v>24.98</c:v>
                </c:pt>
                <c:pt idx="1050">
                  <c:v>24.43</c:v>
                </c:pt>
                <c:pt idx="1051">
                  <c:v>24.56</c:v>
                </c:pt>
                <c:pt idx="1052">
                  <c:v>24.89</c:v>
                </c:pt>
                <c:pt idx="1053">
                  <c:v>25.14</c:v>
                </c:pt>
                <c:pt idx="1054">
                  <c:v>26.25</c:v>
                </c:pt>
                <c:pt idx="1055">
                  <c:v>25.97</c:v>
                </c:pt>
                <c:pt idx="1056">
                  <c:v>23.93</c:v>
                </c:pt>
                <c:pt idx="1057">
                  <c:v>25.64</c:v>
                </c:pt>
                <c:pt idx="1058">
                  <c:v>24.63</c:v>
                </c:pt>
                <c:pt idx="1059">
                  <c:v>23.47</c:v>
                </c:pt>
                <c:pt idx="1060">
                  <c:v>22.73</c:v>
                </c:pt>
                <c:pt idx="1061">
                  <c:v>23.19</c:v>
                </c:pt>
                <c:pt idx="1062">
                  <c:v>24.25</c:v>
                </c:pt>
                <c:pt idx="1063">
                  <c:v>24.13</c:v>
                </c:pt>
                <c:pt idx="1064">
                  <c:v>23.5</c:v>
                </c:pt>
                <c:pt idx="1065">
                  <c:v>22.01</c:v>
                </c:pt>
                <c:pt idx="1066">
                  <c:v>22.63</c:v>
                </c:pt>
                <c:pt idx="1067">
                  <c:v>22.21</c:v>
                </c:pt>
                <c:pt idx="1068">
                  <c:v>22.1</c:v>
                </c:pt>
                <c:pt idx="1069">
                  <c:v>21.74</c:v>
                </c:pt>
                <c:pt idx="1070">
                  <c:v>22.14</c:v>
                </c:pt>
                <c:pt idx="1071">
                  <c:v>22.37</c:v>
                </c:pt>
                <c:pt idx="1072">
                  <c:v>25.39</c:v>
                </c:pt>
                <c:pt idx="1073">
                  <c:v>25.73</c:v>
                </c:pt>
                <c:pt idx="1074">
                  <c:v>26.24</c:v>
                </c:pt>
                <c:pt idx="1075">
                  <c:v>26.1</c:v>
                </c:pt>
                <c:pt idx="1076">
                  <c:v>24.33</c:v>
                </c:pt>
                <c:pt idx="1077">
                  <c:v>24.59</c:v>
                </c:pt>
                <c:pt idx="1078">
                  <c:v>26.44</c:v>
                </c:pt>
                <c:pt idx="1079">
                  <c:v>25.49</c:v>
                </c:pt>
                <c:pt idx="1080">
                  <c:v>25.66</c:v>
                </c:pt>
                <c:pt idx="1081">
                  <c:v>27.46</c:v>
                </c:pt>
                <c:pt idx="1082">
                  <c:v>26.7</c:v>
                </c:pt>
                <c:pt idx="1083">
                  <c:v>27.37</c:v>
                </c:pt>
                <c:pt idx="1084">
                  <c:v>24.45</c:v>
                </c:pt>
                <c:pt idx="1085">
                  <c:v>27.21</c:v>
                </c:pt>
                <c:pt idx="1086">
                  <c:v>26.05</c:v>
                </c:pt>
                <c:pt idx="1087">
                  <c:v>23.89</c:v>
                </c:pt>
                <c:pt idx="1088">
                  <c:v>23.19</c:v>
                </c:pt>
                <c:pt idx="1089">
                  <c:v>21.31</c:v>
                </c:pt>
                <c:pt idx="1090">
                  <c:v>23.8</c:v>
                </c:pt>
                <c:pt idx="1091">
                  <c:v>23.25</c:v>
                </c:pt>
                <c:pt idx="1092">
                  <c:v>22.81</c:v>
                </c:pt>
                <c:pt idx="1093">
                  <c:v>21.99</c:v>
                </c:pt>
                <c:pt idx="1094">
                  <c:v>21.21</c:v>
                </c:pt>
                <c:pt idx="1095">
                  <c:v>21.56</c:v>
                </c:pt>
                <c:pt idx="1096">
                  <c:v>22.1</c:v>
                </c:pt>
                <c:pt idx="1097">
                  <c:v>21.72</c:v>
                </c:pt>
                <c:pt idx="1098">
                  <c:v>22.01</c:v>
                </c:pt>
                <c:pt idx="1099">
                  <c:v>21.5</c:v>
                </c:pt>
                <c:pt idx="1100">
                  <c:v>22.35</c:v>
                </c:pt>
                <c:pt idx="1101">
                  <c:v>22.51</c:v>
                </c:pt>
                <c:pt idx="1102">
                  <c:v>23.87</c:v>
                </c:pt>
                <c:pt idx="1103">
                  <c:v>21.71</c:v>
                </c:pt>
                <c:pt idx="1104">
                  <c:v>22.54</c:v>
                </c:pt>
                <c:pt idx="1105">
                  <c:v>22.6</c:v>
                </c:pt>
                <c:pt idx="1106">
                  <c:v>23.25</c:v>
                </c:pt>
                <c:pt idx="1107">
                  <c:v>23.7</c:v>
                </c:pt>
                <c:pt idx="1108">
                  <c:v>22.5</c:v>
                </c:pt>
                <c:pt idx="1109">
                  <c:v>23.53</c:v>
                </c:pt>
                <c:pt idx="1110">
                  <c:v>21.76</c:v>
                </c:pt>
                <c:pt idx="1111">
                  <c:v>21.49</c:v>
                </c:pt>
                <c:pt idx="1112">
                  <c:v>21.56</c:v>
                </c:pt>
                <c:pt idx="1113">
                  <c:v>20.71</c:v>
                </c:pt>
                <c:pt idx="1114">
                  <c:v>18.96</c:v>
                </c:pt>
                <c:pt idx="1115">
                  <c:v>18.93</c:v>
                </c:pt>
                <c:pt idx="1116">
                  <c:v>19.07</c:v>
                </c:pt>
                <c:pt idx="1117">
                  <c:v>19.88</c:v>
                </c:pt>
                <c:pt idx="1118">
                  <c:v>19.03</c:v>
                </c:pt>
                <c:pt idx="1119">
                  <c:v>19.09</c:v>
                </c:pt>
                <c:pt idx="1120">
                  <c:v>20.63</c:v>
                </c:pt>
                <c:pt idx="1121">
                  <c:v>19.79</c:v>
                </c:pt>
                <c:pt idx="1122">
                  <c:v>19.27</c:v>
                </c:pt>
                <c:pt idx="1123">
                  <c:v>18.78</c:v>
                </c:pt>
                <c:pt idx="1124">
                  <c:v>19.850000000000001</c:v>
                </c:pt>
                <c:pt idx="1125">
                  <c:v>20.22</c:v>
                </c:pt>
                <c:pt idx="1126">
                  <c:v>20.71</c:v>
                </c:pt>
                <c:pt idx="1127">
                  <c:v>20.88</c:v>
                </c:pt>
                <c:pt idx="1128">
                  <c:v>21.2</c:v>
                </c:pt>
                <c:pt idx="1129">
                  <c:v>21.83</c:v>
                </c:pt>
                <c:pt idx="1130">
                  <c:v>21.57</c:v>
                </c:pt>
                <c:pt idx="1131">
                  <c:v>19.559999999999999</c:v>
                </c:pt>
                <c:pt idx="1132">
                  <c:v>18.52</c:v>
                </c:pt>
                <c:pt idx="1133">
                  <c:v>18.260000000000002</c:v>
                </c:pt>
                <c:pt idx="1134">
                  <c:v>18.29</c:v>
                </c:pt>
                <c:pt idx="1135">
                  <c:v>19.079999999999998</c:v>
                </c:pt>
                <c:pt idx="1136">
                  <c:v>18.47</c:v>
                </c:pt>
                <c:pt idx="1137">
                  <c:v>18.64</c:v>
                </c:pt>
                <c:pt idx="1138">
                  <c:v>20.61</c:v>
                </c:pt>
                <c:pt idx="1139">
                  <c:v>20.2</c:v>
                </c:pt>
                <c:pt idx="1140">
                  <c:v>22.58</c:v>
                </c:pt>
                <c:pt idx="1141">
                  <c:v>21.76</c:v>
                </c:pt>
                <c:pt idx="1142">
                  <c:v>18.75</c:v>
                </c:pt>
                <c:pt idx="1143">
                  <c:v>18.04</c:v>
                </c:pt>
                <c:pt idx="1144">
                  <c:v>18.37</c:v>
                </c:pt>
                <c:pt idx="1145">
                  <c:v>20.63</c:v>
                </c:pt>
                <c:pt idx="1146">
                  <c:v>19.559999999999999</c:v>
                </c:pt>
                <c:pt idx="1147">
                  <c:v>22.22</c:v>
                </c:pt>
                <c:pt idx="1148">
                  <c:v>21.53</c:v>
                </c:pt>
                <c:pt idx="1149">
                  <c:v>23.54</c:v>
                </c:pt>
                <c:pt idx="1150">
                  <c:v>21.36</c:v>
                </c:pt>
                <c:pt idx="1151">
                  <c:v>19.39</c:v>
                </c:pt>
                <c:pt idx="1152">
                  <c:v>18.010000000000002</c:v>
                </c:pt>
                <c:pt idx="1153">
                  <c:v>18.02</c:v>
                </c:pt>
                <c:pt idx="1154">
                  <c:v>17.989999999999998</c:v>
                </c:pt>
                <c:pt idx="1155">
                  <c:v>17.739999999999998</c:v>
                </c:pt>
                <c:pt idx="1156">
                  <c:v>17.25</c:v>
                </c:pt>
                <c:pt idx="1157">
                  <c:v>17.61</c:v>
                </c:pt>
                <c:pt idx="1158">
                  <c:v>17.55</c:v>
                </c:pt>
                <c:pt idx="1159">
                  <c:v>17.61</c:v>
                </c:pt>
                <c:pt idx="1160">
                  <c:v>17.940000000000001</c:v>
                </c:pt>
                <c:pt idx="1161">
                  <c:v>17.39</c:v>
                </c:pt>
                <c:pt idx="1162">
                  <c:v>16.11</c:v>
                </c:pt>
                <c:pt idx="1163">
                  <c:v>16.41</c:v>
                </c:pt>
                <c:pt idx="1164">
                  <c:v>16.489999999999998</c:v>
                </c:pt>
                <c:pt idx="1165">
                  <c:v>15.45</c:v>
                </c:pt>
                <c:pt idx="1166">
                  <c:v>16.47</c:v>
                </c:pt>
                <c:pt idx="1167">
                  <c:v>17.670000000000002</c:v>
                </c:pt>
                <c:pt idx="1168">
                  <c:v>17.52</c:v>
                </c:pt>
                <c:pt idx="1169">
                  <c:v>17.28</c:v>
                </c:pt>
                <c:pt idx="1170">
                  <c:v>17.52</c:v>
                </c:pt>
                <c:pt idx="1171">
                  <c:v>17.75</c:v>
                </c:pt>
                <c:pt idx="1172">
                  <c:v>17.61</c:v>
                </c:pt>
                <c:pt idx="1173">
                  <c:v>17.38</c:v>
                </c:pt>
                <c:pt idx="1174">
                  <c:v>17.02</c:v>
                </c:pt>
                <c:pt idx="1175">
                  <c:v>17.399999999999999</c:v>
                </c:pt>
                <c:pt idx="1176">
                  <c:v>17.14</c:v>
                </c:pt>
                <c:pt idx="1177">
                  <c:v>17.54</c:v>
                </c:pt>
                <c:pt idx="1178">
                  <c:v>16.89</c:v>
                </c:pt>
                <c:pt idx="1179">
                  <c:v>16.239999999999998</c:v>
                </c:pt>
                <c:pt idx="1180">
                  <c:v>16.39</c:v>
                </c:pt>
                <c:pt idx="1181">
                  <c:v>15.46</c:v>
                </c:pt>
                <c:pt idx="1182">
                  <c:v>15.87</c:v>
                </c:pt>
                <c:pt idx="1183">
                  <c:v>17.309999999999999</c:v>
                </c:pt>
                <c:pt idx="1184">
                  <c:v>17.989999999999998</c:v>
                </c:pt>
                <c:pt idx="1185">
                  <c:v>18.47</c:v>
                </c:pt>
                <c:pt idx="1186">
                  <c:v>17.649999999999999</c:v>
                </c:pt>
                <c:pt idx="1187">
                  <c:v>17.59</c:v>
                </c:pt>
                <c:pt idx="1188">
                  <c:v>16.64</c:v>
                </c:pt>
                <c:pt idx="1189">
                  <c:v>16.149999999999999</c:v>
                </c:pt>
                <c:pt idx="1190">
                  <c:v>20.04</c:v>
                </c:pt>
                <c:pt idx="1191">
                  <c:v>19.53</c:v>
                </c:pt>
                <c:pt idx="1192">
                  <c:v>17.63</c:v>
                </c:pt>
                <c:pt idx="1193">
                  <c:v>17.3</c:v>
                </c:pt>
                <c:pt idx="1194">
                  <c:v>16.690000000000001</c:v>
                </c:pt>
                <c:pt idx="1195">
                  <c:v>15.93</c:v>
                </c:pt>
                <c:pt idx="1196">
                  <c:v>16.28</c:v>
                </c:pt>
                <c:pt idx="1197">
                  <c:v>15.81</c:v>
                </c:pt>
                <c:pt idx="1198">
                  <c:v>15.87</c:v>
                </c:pt>
                <c:pt idx="1199">
                  <c:v>16.09</c:v>
                </c:pt>
                <c:pt idx="1200">
                  <c:v>15.69</c:v>
                </c:pt>
                <c:pt idx="1201">
                  <c:v>15.95</c:v>
                </c:pt>
                <c:pt idx="1202">
                  <c:v>16.37</c:v>
                </c:pt>
                <c:pt idx="1203">
                  <c:v>16.72</c:v>
                </c:pt>
                <c:pt idx="1204">
                  <c:v>16.59</c:v>
                </c:pt>
                <c:pt idx="1205">
                  <c:v>16.43</c:v>
                </c:pt>
                <c:pt idx="1206">
                  <c:v>20.8</c:v>
                </c:pt>
                <c:pt idx="1207">
                  <c:v>22.13</c:v>
                </c:pt>
                <c:pt idx="1208">
                  <c:v>21.32</c:v>
                </c:pt>
                <c:pt idx="1209">
                  <c:v>19.22</c:v>
                </c:pt>
                <c:pt idx="1210">
                  <c:v>18.350000000000001</c:v>
                </c:pt>
                <c:pt idx="1211">
                  <c:v>21.01</c:v>
                </c:pt>
                <c:pt idx="1212">
                  <c:v>20.7</c:v>
                </c:pt>
                <c:pt idx="1213">
                  <c:v>18.600000000000001</c:v>
                </c:pt>
                <c:pt idx="1214">
                  <c:v>19.059999999999999</c:v>
                </c:pt>
                <c:pt idx="1215">
                  <c:v>20.66</c:v>
                </c:pt>
                <c:pt idx="1216">
                  <c:v>19.82</c:v>
                </c:pt>
                <c:pt idx="1217">
                  <c:v>20.22</c:v>
                </c:pt>
                <c:pt idx="1218">
                  <c:v>21.88</c:v>
                </c:pt>
                <c:pt idx="1219">
                  <c:v>20.079999999999998</c:v>
                </c:pt>
                <c:pt idx="1220">
                  <c:v>21.13</c:v>
                </c:pt>
                <c:pt idx="1221">
                  <c:v>24.32</c:v>
                </c:pt>
                <c:pt idx="1222">
                  <c:v>29.4</c:v>
                </c:pt>
                <c:pt idx="1223">
                  <c:v>26.37</c:v>
                </c:pt>
                <c:pt idx="1224">
                  <c:v>24.44</c:v>
                </c:pt>
                <c:pt idx="1225">
                  <c:v>20.61</c:v>
                </c:pt>
                <c:pt idx="1226">
                  <c:v>20.21</c:v>
                </c:pt>
                <c:pt idx="1227">
                  <c:v>19.170000000000002</c:v>
                </c:pt>
                <c:pt idx="1228">
                  <c:v>18</c:v>
                </c:pt>
                <c:pt idx="1229">
                  <c:v>17.91</c:v>
                </c:pt>
                <c:pt idx="1230">
                  <c:v>19.440000000000001</c:v>
                </c:pt>
                <c:pt idx="1231">
                  <c:v>18.16</c:v>
                </c:pt>
                <c:pt idx="1232">
                  <c:v>17.71</c:v>
                </c:pt>
                <c:pt idx="1233">
                  <c:v>17.739999999999998</c:v>
                </c:pt>
                <c:pt idx="1234">
                  <c:v>17.399999999999999</c:v>
                </c:pt>
                <c:pt idx="1235">
                  <c:v>17.5</c:v>
                </c:pt>
                <c:pt idx="1236">
                  <c:v>17.25</c:v>
                </c:pt>
                <c:pt idx="1237">
                  <c:v>16.899999999999999</c:v>
                </c:pt>
                <c:pt idx="1238">
                  <c:v>17.11</c:v>
                </c:pt>
                <c:pt idx="1239">
                  <c:v>17.87</c:v>
                </c:pt>
                <c:pt idx="1240">
                  <c:v>16.59</c:v>
                </c:pt>
                <c:pt idx="1241">
                  <c:v>17.09</c:v>
                </c:pt>
                <c:pt idx="1242">
                  <c:v>16.920000000000002</c:v>
                </c:pt>
                <c:pt idx="1243">
                  <c:v>16.27</c:v>
                </c:pt>
                <c:pt idx="1244">
                  <c:v>15.32</c:v>
                </c:pt>
                <c:pt idx="1245">
                  <c:v>16.96</c:v>
                </c:pt>
                <c:pt idx="1246">
                  <c:v>15.83</c:v>
                </c:pt>
                <c:pt idx="1247">
                  <c:v>15.07</c:v>
                </c:pt>
                <c:pt idx="1248">
                  <c:v>14.69</c:v>
                </c:pt>
                <c:pt idx="1249">
                  <c:v>15.77</c:v>
                </c:pt>
                <c:pt idx="1250">
                  <c:v>15.62</c:v>
                </c:pt>
                <c:pt idx="1251">
                  <c:v>15.35</c:v>
                </c:pt>
                <c:pt idx="1252">
                  <c:v>14.62</c:v>
                </c:pt>
                <c:pt idx="1253">
                  <c:v>14.75</c:v>
                </c:pt>
                <c:pt idx="1254">
                  <c:v>15.99</c:v>
                </c:pt>
                <c:pt idx="1255">
                  <c:v>16.7</c:v>
                </c:pt>
                <c:pt idx="1256">
                  <c:v>17.079999999999998</c:v>
                </c:pt>
                <c:pt idx="1257">
                  <c:v>18.2</c:v>
                </c:pt>
                <c:pt idx="1258">
                  <c:v>18.399999999999999</c:v>
                </c:pt>
                <c:pt idx="1259">
                  <c:v>17.16</c:v>
                </c:pt>
                <c:pt idx="1260">
                  <c:v>15.91</c:v>
                </c:pt>
                <c:pt idx="1261">
                  <c:v>16.95</c:v>
                </c:pt>
                <c:pt idx="1262">
                  <c:v>16.03</c:v>
                </c:pt>
                <c:pt idx="1263">
                  <c:v>17.07</c:v>
                </c:pt>
                <c:pt idx="1264">
                  <c:v>18.239999999999998</c:v>
                </c:pt>
                <c:pt idx="1265">
                  <c:v>17.55</c:v>
                </c:pt>
                <c:pt idx="1266">
                  <c:v>16.23</c:v>
                </c:pt>
                <c:pt idx="1267">
                  <c:v>15.52</c:v>
                </c:pt>
                <c:pt idx="1268">
                  <c:v>17.43</c:v>
                </c:pt>
                <c:pt idx="1269">
                  <c:v>18.27</c:v>
                </c:pt>
                <c:pt idx="1270">
                  <c:v>17.82</c:v>
                </c:pt>
                <c:pt idx="1271">
                  <c:v>17.07</c:v>
                </c:pt>
                <c:pt idx="1272">
                  <c:v>16.09</c:v>
                </c:pt>
                <c:pt idx="1273">
                  <c:v>15.98</c:v>
                </c:pt>
                <c:pt idx="1274">
                  <c:v>15.45</c:v>
                </c:pt>
                <c:pt idx="1275">
                  <c:v>18.3</c:v>
                </c:pt>
                <c:pt idx="1276">
                  <c:v>18.09</c:v>
                </c:pt>
                <c:pt idx="1277">
                  <c:v>17.95</c:v>
                </c:pt>
                <c:pt idx="1278">
                  <c:v>18.489999999999998</c:v>
                </c:pt>
                <c:pt idx="1279">
                  <c:v>18.07</c:v>
                </c:pt>
                <c:pt idx="1280">
                  <c:v>18.79</c:v>
                </c:pt>
                <c:pt idx="1281">
                  <c:v>17.77</c:v>
                </c:pt>
                <c:pt idx="1282">
                  <c:v>18.86</c:v>
                </c:pt>
                <c:pt idx="1283">
                  <c:v>19.61</c:v>
                </c:pt>
                <c:pt idx="1284">
                  <c:v>18.260000000000002</c:v>
                </c:pt>
                <c:pt idx="1285">
                  <c:v>21.32</c:v>
                </c:pt>
                <c:pt idx="1286">
                  <c:v>22.73</c:v>
                </c:pt>
                <c:pt idx="1287">
                  <c:v>21.85</c:v>
                </c:pt>
                <c:pt idx="1288">
                  <c:v>19.989999999999998</c:v>
                </c:pt>
                <c:pt idx="1289">
                  <c:v>18.86</c:v>
                </c:pt>
                <c:pt idx="1290">
                  <c:v>18.52</c:v>
                </c:pt>
                <c:pt idx="1291">
                  <c:v>19.29</c:v>
                </c:pt>
                <c:pt idx="1292">
                  <c:v>21.1</c:v>
                </c:pt>
                <c:pt idx="1293">
                  <c:v>20.56</c:v>
                </c:pt>
                <c:pt idx="1294">
                  <c:v>19.170000000000002</c:v>
                </c:pt>
                <c:pt idx="1295">
                  <c:v>17.27</c:v>
                </c:pt>
                <c:pt idx="1296">
                  <c:v>16.52</c:v>
                </c:pt>
                <c:pt idx="1297">
                  <c:v>15.87</c:v>
                </c:pt>
                <c:pt idx="1298">
                  <c:v>16.059999999999999</c:v>
                </c:pt>
                <c:pt idx="1299">
                  <c:v>16.34</c:v>
                </c:pt>
                <c:pt idx="1300">
                  <c:v>15.95</c:v>
                </c:pt>
                <c:pt idx="1301">
                  <c:v>15.95</c:v>
                </c:pt>
                <c:pt idx="1302">
                  <c:v>18.39</c:v>
                </c:pt>
                <c:pt idx="1303">
                  <c:v>19.87</c:v>
                </c:pt>
                <c:pt idx="1304">
                  <c:v>19.91</c:v>
                </c:pt>
                <c:pt idx="1305">
                  <c:v>20.8</c:v>
                </c:pt>
                <c:pt idx="1306">
                  <c:v>19.53</c:v>
                </c:pt>
                <c:pt idx="1307">
                  <c:v>20.95</c:v>
                </c:pt>
                <c:pt idx="1308">
                  <c:v>19.21</c:v>
                </c:pt>
                <c:pt idx="1309">
                  <c:v>19.09</c:v>
                </c:pt>
                <c:pt idx="1310">
                  <c:v>17.559999999999999</c:v>
                </c:pt>
                <c:pt idx="1311">
                  <c:v>17.52</c:v>
                </c:pt>
                <c:pt idx="1312">
                  <c:v>19.350000000000001</c:v>
                </c:pt>
                <c:pt idx="1313">
                  <c:v>20.23</c:v>
                </c:pt>
                <c:pt idx="1314">
                  <c:v>22.98</c:v>
                </c:pt>
                <c:pt idx="1315">
                  <c:v>23.74</c:v>
                </c:pt>
                <c:pt idx="1316">
                  <c:v>25.25</c:v>
                </c:pt>
                <c:pt idx="1317">
                  <c:v>23.66</c:v>
                </c:pt>
                <c:pt idx="1318">
                  <c:v>24.79</c:v>
                </c:pt>
                <c:pt idx="1319">
                  <c:v>23.38</c:v>
                </c:pt>
                <c:pt idx="1320">
                  <c:v>31.66</c:v>
                </c:pt>
                <c:pt idx="1321">
                  <c:v>32</c:v>
                </c:pt>
                <c:pt idx="1322">
                  <c:v>48</c:v>
                </c:pt>
                <c:pt idx="1323">
                  <c:v>35.06</c:v>
                </c:pt>
                <c:pt idx="1324">
                  <c:v>42.99</c:v>
                </c:pt>
                <c:pt idx="1325">
                  <c:v>39</c:v>
                </c:pt>
                <c:pt idx="1326">
                  <c:v>36.36</c:v>
                </c:pt>
                <c:pt idx="1327">
                  <c:v>31.87</c:v>
                </c:pt>
                <c:pt idx="1328">
                  <c:v>32.85</c:v>
                </c:pt>
                <c:pt idx="1329">
                  <c:v>31.58</c:v>
                </c:pt>
                <c:pt idx="1330">
                  <c:v>42.67</c:v>
                </c:pt>
                <c:pt idx="1331">
                  <c:v>43.05</c:v>
                </c:pt>
                <c:pt idx="1332">
                  <c:v>42.44</c:v>
                </c:pt>
                <c:pt idx="1333">
                  <c:v>36.270000000000003</c:v>
                </c:pt>
                <c:pt idx="1334">
                  <c:v>35.9</c:v>
                </c:pt>
                <c:pt idx="1335">
                  <c:v>39.76</c:v>
                </c:pt>
                <c:pt idx="1336">
                  <c:v>35.590000000000003</c:v>
                </c:pt>
                <c:pt idx="1337">
                  <c:v>32.28</c:v>
                </c:pt>
                <c:pt idx="1338">
                  <c:v>32.89</c:v>
                </c:pt>
                <c:pt idx="1339">
                  <c:v>31.62</c:v>
                </c:pt>
                <c:pt idx="1340">
                  <c:v>31.82</c:v>
                </c:pt>
                <c:pt idx="1341">
                  <c:v>33.92</c:v>
                </c:pt>
                <c:pt idx="1342">
                  <c:v>37</c:v>
                </c:pt>
                <c:pt idx="1343">
                  <c:v>33.380000000000003</c:v>
                </c:pt>
                <c:pt idx="1344">
                  <c:v>34.32</c:v>
                </c:pt>
                <c:pt idx="1345">
                  <c:v>38.520000000000003</c:v>
                </c:pt>
                <c:pt idx="1346">
                  <c:v>38.590000000000003</c:v>
                </c:pt>
                <c:pt idx="1347">
                  <c:v>36.909999999999997</c:v>
                </c:pt>
                <c:pt idx="1348">
                  <c:v>34.6</c:v>
                </c:pt>
                <c:pt idx="1349">
                  <c:v>31.97</c:v>
                </c:pt>
                <c:pt idx="1350">
                  <c:v>30.98</c:v>
                </c:pt>
                <c:pt idx="1351">
                  <c:v>32.729999999999997</c:v>
                </c:pt>
                <c:pt idx="1352">
                  <c:v>32.86</c:v>
                </c:pt>
                <c:pt idx="1353">
                  <c:v>37.32</c:v>
                </c:pt>
                <c:pt idx="1354">
                  <c:v>41.35</c:v>
                </c:pt>
                <c:pt idx="1355">
                  <c:v>41.25</c:v>
                </c:pt>
                <c:pt idx="1356">
                  <c:v>39.020000000000003</c:v>
                </c:pt>
                <c:pt idx="1357">
                  <c:v>37.71</c:v>
                </c:pt>
                <c:pt idx="1358">
                  <c:v>41.08</c:v>
                </c:pt>
                <c:pt idx="1359">
                  <c:v>38.840000000000003</c:v>
                </c:pt>
                <c:pt idx="1360">
                  <c:v>42.96</c:v>
                </c:pt>
                <c:pt idx="1361">
                  <c:v>45.45</c:v>
                </c:pt>
                <c:pt idx="1362">
                  <c:v>40.82</c:v>
                </c:pt>
                <c:pt idx="1363">
                  <c:v>37.81</c:v>
                </c:pt>
                <c:pt idx="1364">
                  <c:v>36.270000000000003</c:v>
                </c:pt>
                <c:pt idx="1365">
                  <c:v>36.200000000000003</c:v>
                </c:pt>
                <c:pt idx="1366">
                  <c:v>33.020000000000003</c:v>
                </c:pt>
                <c:pt idx="1367">
                  <c:v>32.86</c:v>
                </c:pt>
                <c:pt idx="1368">
                  <c:v>31.26</c:v>
                </c:pt>
                <c:pt idx="1369">
                  <c:v>30.7</c:v>
                </c:pt>
                <c:pt idx="1370">
                  <c:v>28.24</c:v>
                </c:pt>
                <c:pt idx="1371">
                  <c:v>33.39</c:v>
                </c:pt>
                <c:pt idx="1372">
                  <c:v>31.56</c:v>
                </c:pt>
                <c:pt idx="1373">
                  <c:v>34.44</c:v>
                </c:pt>
                <c:pt idx="1374">
                  <c:v>34.78</c:v>
                </c:pt>
                <c:pt idx="1375">
                  <c:v>31.32</c:v>
                </c:pt>
                <c:pt idx="1376">
                  <c:v>29.26</c:v>
                </c:pt>
                <c:pt idx="1377">
                  <c:v>32.22</c:v>
                </c:pt>
                <c:pt idx="1378">
                  <c:v>29.86</c:v>
                </c:pt>
                <c:pt idx="1379">
                  <c:v>25.46</c:v>
                </c:pt>
                <c:pt idx="1380">
                  <c:v>24.53</c:v>
                </c:pt>
                <c:pt idx="1381">
                  <c:v>29.96</c:v>
                </c:pt>
                <c:pt idx="1382">
                  <c:v>34.770000000000003</c:v>
                </c:pt>
                <c:pt idx="1383">
                  <c:v>32.74</c:v>
                </c:pt>
                <c:pt idx="1384">
                  <c:v>30.5</c:v>
                </c:pt>
                <c:pt idx="1385">
                  <c:v>30.16</c:v>
                </c:pt>
                <c:pt idx="1386">
                  <c:v>29.85</c:v>
                </c:pt>
                <c:pt idx="1387">
                  <c:v>27.48</c:v>
                </c:pt>
                <c:pt idx="1388">
                  <c:v>36.159999999999997</c:v>
                </c:pt>
                <c:pt idx="1389">
                  <c:v>32.81</c:v>
                </c:pt>
                <c:pt idx="1390">
                  <c:v>30.04</c:v>
                </c:pt>
                <c:pt idx="1391">
                  <c:v>31.13</c:v>
                </c:pt>
                <c:pt idx="1392">
                  <c:v>31.22</c:v>
                </c:pt>
                <c:pt idx="1393">
                  <c:v>33.51</c:v>
                </c:pt>
                <c:pt idx="1394">
                  <c:v>34.51</c:v>
                </c:pt>
                <c:pt idx="1395">
                  <c:v>32</c:v>
                </c:pt>
                <c:pt idx="1396">
                  <c:v>32.909999999999997</c:v>
                </c:pt>
                <c:pt idx="1397">
                  <c:v>31.97</c:v>
                </c:pt>
                <c:pt idx="1398">
                  <c:v>33.979999999999997</c:v>
                </c:pt>
                <c:pt idx="1399">
                  <c:v>34.47</c:v>
                </c:pt>
                <c:pt idx="1400">
                  <c:v>32.130000000000003</c:v>
                </c:pt>
                <c:pt idx="1401">
                  <c:v>30.64</c:v>
                </c:pt>
                <c:pt idx="1402">
                  <c:v>27.8</c:v>
                </c:pt>
                <c:pt idx="1403">
                  <c:v>27.41</c:v>
                </c:pt>
                <c:pt idx="1404">
                  <c:v>27.52</c:v>
                </c:pt>
                <c:pt idx="1405">
                  <c:v>27.84</c:v>
                </c:pt>
                <c:pt idx="1406">
                  <c:v>28.13</c:v>
                </c:pt>
                <c:pt idx="1407">
                  <c:v>28.67</c:v>
                </c:pt>
                <c:pt idx="1408">
                  <c:v>30.59</c:v>
                </c:pt>
                <c:pt idx="1409">
                  <c:v>26.38</c:v>
                </c:pt>
                <c:pt idx="1410">
                  <c:v>25.67</c:v>
                </c:pt>
                <c:pt idx="1411">
                  <c:v>25.41</c:v>
                </c:pt>
                <c:pt idx="1412">
                  <c:v>26.04</c:v>
                </c:pt>
                <c:pt idx="1413">
                  <c:v>25.11</c:v>
                </c:pt>
                <c:pt idx="1414">
                  <c:v>24.29</c:v>
                </c:pt>
                <c:pt idx="1415">
                  <c:v>24.92</c:v>
                </c:pt>
                <c:pt idx="1416">
                  <c:v>23.22</c:v>
                </c:pt>
                <c:pt idx="1417">
                  <c:v>21.43</c:v>
                </c:pt>
                <c:pt idx="1418">
                  <c:v>21.16</c:v>
                </c:pt>
                <c:pt idx="1419">
                  <c:v>20.73</c:v>
                </c:pt>
                <c:pt idx="1420">
                  <c:v>21.91</c:v>
                </c:pt>
                <c:pt idx="1421">
                  <c:v>23.52</c:v>
                </c:pt>
                <c:pt idx="1422">
                  <c:v>22.65</c:v>
                </c:pt>
                <c:pt idx="1423">
                  <c:v>23.4</c:v>
                </c:pt>
                <c:pt idx="1424">
                  <c:v>22.97</c:v>
                </c:pt>
                <c:pt idx="1425">
                  <c:v>22.22</c:v>
                </c:pt>
                <c:pt idx="1426">
                  <c:v>21.48</c:v>
                </c:pt>
                <c:pt idx="1427">
                  <c:v>20.63</c:v>
                </c:pt>
                <c:pt idx="1428">
                  <c:v>21.07</c:v>
                </c:pt>
                <c:pt idx="1429">
                  <c:v>20.69</c:v>
                </c:pt>
                <c:pt idx="1430">
                  <c:v>21.05</c:v>
                </c:pt>
                <c:pt idx="1431">
                  <c:v>20.47</c:v>
                </c:pt>
                <c:pt idx="1432">
                  <c:v>20.91</c:v>
                </c:pt>
                <c:pt idx="1433">
                  <c:v>22.2</c:v>
                </c:pt>
                <c:pt idx="1434">
                  <c:v>20.89</c:v>
                </c:pt>
                <c:pt idx="1435">
                  <c:v>19.87</c:v>
                </c:pt>
                <c:pt idx="1436">
                  <c:v>18.28</c:v>
                </c:pt>
                <c:pt idx="1437">
                  <c:v>18.670000000000002</c:v>
                </c:pt>
                <c:pt idx="1438">
                  <c:v>18.91</c:v>
                </c:pt>
                <c:pt idx="1439">
                  <c:v>18.309999999999999</c:v>
                </c:pt>
                <c:pt idx="1440">
                  <c:v>18.57</c:v>
                </c:pt>
                <c:pt idx="1441">
                  <c:v>18.53</c:v>
                </c:pt>
                <c:pt idx="1442">
                  <c:v>19.399999999999999</c:v>
                </c:pt>
                <c:pt idx="1443">
                  <c:v>19.440000000000001</c:v>
                </c:pt>
                <c:pt idx="1444">
                  <c:v>18.55</c:v>
                </c:pt>
                <c:pt idx="1445">
                  <c:v>17.98</c:v>
                </c:pt>
                <c:pt idx="1446">
                  <c:v>17.100000000000001</c:v>
                </c:pt>
                <c:pt idx="1447">
                  <c:v>17.760000000000002</c:v>
                </c:pt>
                <c:pt idx="1448">
                  <c:v>17.649999999999999</c:v>
                </c:pt>
                <c:pt idx="1449">
                  <c:v>18.16</c:v>
                </c:pt>
                <c:pt idx="1450">
                  <c:v>18.63</c:v>
                </c:pt>
                <c:pt idx="1451">
                  <c:v>20.79</c:v>
                </c:pt>
                <c:pt idx="1452">
                  <c:v>19.04</c:v>
                </c:pt>
                <c:pt idx="1453">
                  <c:v>19.54</c:v>
                </c:pt>
                <c:pt idx="1454">
                  <c:v>21.14</c:v>
                </c:pt>
                <c:pt idx="1455">
                  <c:v>19.22</c:v>
                </c:pt>
                <c:pt idx="1456">
                  <c:v>17.78</c:v>
                </c:pt>
                <c:pt idx="1457">
                  <c:v>18.190000000000001</c:v>
                </c:pt>
                <c:pt idx="1458">
                  <c:v>18.190000000000001</c:v>
                </c:pt>
                <c:pt idx="1459">
                  <c:v>16.8</c:v>
                </c:pt>
                <c:pt idx="1460">
                  <c:v>17.309999999999999</c:v>
                </c:pt>
                <c:pt idx="1461">
                  <c:v>18.190000000000001</c:v>
                </c:pt>
                <c:pt idx="1462">
                  <c:v>17.96</c:v>
                </c:pt>
                <c:pt idx="1463">
                  <c:v>18.43</c:v>
                </c:pt>
                <c:pt idx="1464">
                  <c:v>17.260000000000002</c:v>
                </c:pt>
                <c:pt idx="1465">
                  <c:v>17.29</c:v>
                </c:pt>
                <c:pt idx="1466">
                  <c:v>18.05</c:v>
                </c:pt>
                <c:pt idx="1467">
                  <c:v>20.87</c:v>
                </c:pt>
                <c:pt idx="1468">
                  <c:v>19.07</c:v>
                </c:pt>
                <c:pt idx="1469">
                  <c:v>17.95</c:v>
                </c:pt>
                <c:pt idx="1470">
                  <c:v>17.11</c:v>
                </c:pt>
                <c:pt idx="1471">
                  <c:v>15.64</c:v>
                </c:pt>
                <c:pt idx="1472">
                  <c:v>14.8</c:v>
                </c:pt>
                <c:pt idx="1473">
                  <c:v>15.31</c:v>
                </c:pt>
                <c:pt idx="1474">
                  <c:v>15.42</c:v>
                </c:pt>
                <c:pt idx="1475">
                  <c:v>14.47</c:v>
                </c:pt>
                <c:pt idx="1476">
                  <c:v>15.04</c:v>
                </c:pt>
                <c:pt idx="1477">
                  <c:v>15.58</c:v>
                </c:pt>
                <c:pt idx="1478">
                  <c:v>15.13</c:v>
                </c:pt>
                <c:pt idx="1479">
                  <c:v>15.57</c:v>
                </c:pt>
                <c:pt idx="1480">
                  <c:v>14.82</c:v>
                </c:pt>
                <c:pt idx="1481">
                  <c:v>14.26</c:v>
                </c:pt>
                <c:pt idx="1482">
                  <c:v>15.59</c:v>
                </c:pt>
                <c:pt idx="1483">
                  <c:v>15.47</c:v>
                </c:pt>
                <c:pt idx="1484">
                  <c:v>15.48</c:v>
                </c:pt>
                <c:pt idx="1485">
                  <c:v>15.5</c:v>
                </c:pt>
                <c:pt idx="1486">
                  <c:v>15.64</c:v>
                </c:pt>
                <c:pt idx="1487">
                  <c:v>15.66</c:v>
                </c:pt>
                <c:pt idx="1488">
                  <c:v>16.440000000000001</c:v>
                </c:pt>
                <c:pt idx="1489">
                  <c:v>16.7</c:v>
                </c:pt>
                <c:pt idx="1490">
                  <c:v>18.809999999999999</c:v>
                </c:pt>
                <c:pt idx="1491">
                  <c:v>20.39</c:v>
                </c:pt>
                <c:pt idx="1492">
                  <c:v>20.02</c:v>
                </c:pt>
                <c:pt idx="1493">
                  <c:v>17.2</c:v>
                </c:pt>
                <c:pt idx="1494">
                  <c:v>19.55</c:v>
                </c:pt>
                <c:pt idx="1495">
                  <c:v>19.55</c:v>
                </c:pt>
                <c:pt idx="1496">
                  <c:v>18.46</c:v>
                </c:pt>
                <c:pt idx="1497">
                  <c:v>18.64</c:v>
                </c:pt>
                <c:pt idx="1498">
                  <c:v>18.36</c:v>
                </c:pt>
                <c:pt idx="1499">
                  <c:v>17.440000000000001</c:v>
                </c:pt>
                <c:pt idx="1500">
                  <c:v>18.97</c:v>
                </c:pt>
                <c:pt idx="1501">
                  <c:v>18.100000000000001</c:v>
                </c:pt>
                <c:pt idx="1502">
                  <c:v>16.82</c:v>
                </c:pt>
                <c:pt idx="1503">
                  <c:v>16.239999999999998</c:v>
                </c:pt>
                <c:pt idx="1504">
                  <c:v>16.32</c:v>
                </c:pt>
                <c:pt idx="1505">
                  <c:v>17.149999999999999</c:v>
                </c:pt>
                <c:pt idx="1506">
                  <c:v>16.600000000000001</c:v>
                </c:pt>
                <c:pt idx="1507">
                  <c:v>16.88</c:v>
                </c:pt>
                <c:pt idx="1508">
                  <c:v>17.559999999999999</c:v>
                </c:pt>
                <c:pt idx="1509">
                  <c:v>19.16</c:v>
                </c:pt>
                <c:pt idx="1510">
                  <c:v>18.940000000000001</c:v>
                </c:pt>
                <c:pt idx="1511">
                  <c:v>19.05</c:v>
                </c:pt>
                <c:pt idx="1512">
                  <c:v>20.079999999999998</c:v>
                </c:pt>
                <c:pt idx="1513">
                  <c:v>18.829999999999998</c:v>
                </c:pt>
                <c:pt idx="1514">
                  <c:v>19.89</c:v>
                </c:pt>
                <c:pt idx="1515">
                  <c:v>21.87</c:v>
                </c:pt>
                <c:pt idx="1516">
                  <c:v>21.97</c:v>
                </c:pt>
                <c:pt idx="1517">
                  <c:v>22.27</c:v>
                </c:pt>
                <c:pt idx="1518">
                  <c:v>24.49</c:v>
                </c:pt>
                <c:pt idx="1519">
                  <c:v>25.1</c:v>
                </c:pt>
                <c:pt idx="1520">
                  <c:v>22.01</c:v>
                </c:pt>
                <c:pt idx="1521">
                  <c:v>22.48</c:v>
                </c:pt>
                <c:pt idx="1522">
                  <c:v>22.33</c:v>
                </c:pt>
                <c:pt idx="1523">
                  <c:v>21.54</c:v>
                </c:pt>
                <c:pt idx="1524">
                  <c:v>21.76</c:v>
                </c:pt>
                <c:pt idx="1525">
                  <c:v>21.03</c:v>
                </c:pt>
                <c:pt idx="1526">
                  <c:v>24.14</c:v>
                </c:pt>
                <c:pt idx="1527">
                  <c:v>24.06</c:v>
                </c:pt>
                <c:pt idx="1528">
                  <c:v>26.66</c:v>
                </c:pt>
                <c:pt idx="1529">
                  <c:v>26.12</c:v>
                </c:pt>
                <c:pt idx="1530">
                  <c:v>24.68</c:v>
                </c:pt>
                <c:pt idx="1531">
                  <c:v>22.16</c:v>
                </c:pt>
                <c:pt idx="1532">
                  <c:v>21.72</c:v>
                </c:pt>
                <c:pt idx="1533">
                  <c:v>21.23</c:v>
                </c:pt>
                <c:pt idx="1534">
                  <c:v>23.56</c:v>
                </c:pt>
                <c:pt idx="1535">
                  <c:v>22.09</c:v>
                </c:pt>
                <c:pt idx="1536">
                  <c:v>24.27</c:v>
                </c:pt>
                <c:pt idx="1537">
                  <c:v>21.68</c:v>
                </c:pt>
                <c:pt idx="1538">
                  <c:v>21.11</c:v>
                </c:pt>
                <c:pt idx="1539">
                  <c:v>18.32</c:v>
                </c:pt>
                <c:pt idx="1540">
                  <c:v>18.38</c:v>
                </c:pt>
                <c:pt idx="1541">
                  <c:v>17.239999999999998</c:v>
                </c:pt>
                <c:pt idx="1542">
                  <c:v>20.079999999999998</c:v>
                </c:pt>
                <c:pt idx="1543">
                  <c:v>18.11</c:v>
                </c:pt>
                <c:pt idx="1544">
                  <c:v>20.38</c:v>
                </c:pt>
                <c:pt idx="1545">
                  <c:v>19.72</c:v>
                </c:pt>
                <c:pt idx="1546">
                  <c:v>19.45</c:v>
                </c:pt>
                <c:pt idx="1547">
                  <c:v>19.71</c:v>
                </c:pt>
                <c:pt idx="1548">
                  <c:v>17.079999999999998</c:v>
                </c:pt>
                <c:pt idx="1549">
                  <c:v>16.8</c:v>
                </c:pt>
                <c:pt idx="1550">
                  <c:v>16.66</c:v>
                </c:pt>
                <c:pt idx="1551">
                  <c:v>17.5</c:v>
                </c:pt>
                <c:pt idx="1552">
                  <c:v>17.100000000000001</c:v>
                </c:pt>
                <c:pt idx="1553">
                  <c:v>17.98</c:v>
                </c:pt>
                <c:pt idx="1554">
                  <c:v>18.72</c:v>
                </c:pt>
                <c:pt idx="1555">
                  <c:v>17.95</c:v>
                </c:pt>
                <c:pt idx="1556">
                  <c:v>18.329999999999998</c:v>
                </c:pt>
                <c:pt idx="1557">
                  <c:v>16.739999999999998</c:v>
                </c:pt>
                <c:pt idx="1558">
                  <c:v>17.11</c:v>
                </c:pt>
                <c:pt idx="1559">
                  <c:v>16.48</c:v>
                </c:pt>
                <c:pt idx="1560">
                  <c:v>16.16</c:v>
                </c:pt>
                <c:pt idx="1561">
                  <c:v>15.45</c:v>
                </c:pt>
                <c:pt idx="1562">
                  <c:v>16.27</c:v>
                </c:pt>
                <c:pt idx="1563">
                  <c:v>18.62</c:v>
                </c:pt>
                <c:pt idx="1564">
                  <c:v>20.47</c:v>
                </c:pt>
                <c:pt idx="1565">
                  <c:v>19.34</c:v>
                </c:pt>
                <c:pt idx="1566">
                  <c:v>17.53</c:v>
                </c:pt>
                <c:pt idx="1567">
                  <c:v>16.7</c:v>
                </c:pt>
                <c:pt idx="1568">
                  <c:v>18.03</c:v>
                </c:pt>
                <c:pt idx="1569">
                  <c:v>18.93</c:v>
                </c:pt>
                <c:pt idx="1570">
                  <c:v>18.96</c:v>
                </c:pt>
                <c:pt idx="1571">
                  <c:v>17.57</c:v>
                </c:pt>
                <c:pt idx="1572">
                  <c:v>15.64</c:v>
                </c:pt>
                <c:pt idx="1573">
                  <c:v>15.95</c:v>
                </c:pt>
                <c:pt idx="1574">
                  <c:v>15.99</c:v>
                </c:pt>
                <c:pt idx="1575">
                  <c:v>15.32</c:v>
                </c:pt>
                <c:pt idx="1576">
                  <c:v>15.28</c:v>
                </c:pt>
                <c:pt idx="1577">
                  <c:v>14.74</c:v>
                </c:pt>
                <c:pt idx="1578">
                  <c:v>13.7</c:v>
                </c:pt>
                <c:pt idx="1579">
                  <c:v>14.85</c:v>
                </c:pt>
                <c:pt idx="1580">
                  <c:v>14.63</c:v>
                </c:pt>
                <c:pt idx="1581">
                  <c:v>14.29</c:v>
                </c:pt>
                <c:pt idx="1582">
                  <c:v>13.45</c:v>
                </c:pt>
                <c:pt idx="1583">
                  <c:v>14.02</c:v>
                </c:pt>
                <c:pt idx="1584">
                  <c:v>15.02</c:v>
                </c:pt>
                <c:pt idx="1585">
                  <c:v>15.11</c:v>
                </c:pt>
                <c:pt idx="1586">
                  <c:v>15.96</c:v>
                </c:pt>
                <c:pt idx="1587">
                  <c:v>15.18</c:v>
                </c:pt>
                <c:pt idx="1588">
                  <c:v>16.350000000000001</c:v>
                </c:pt>
                <c:pt idx="1589">
                  <c:v>16.489999999999998</c:v>
                </c:pt>
                <c:pt idx="1590">
                  <c:v>17.059999999999999</c:v>
                </c:pt>
                <c:pt idx="1591">
                  <c:v>17.829999999999998</c:v>
                </c:pt>
                <c:pt idx="1592">
                  <c:v>17.47</c:v>
                </c:pt>
                <c:pt idx="1593">
                  <c:v>17.98</c:v>
                </c:pt>
                <c:pt idx="1594">
                  <c:v>17.739999999999998</c:v>
                </c:pt>
                <c:pt idx="1595">
                  <c:v>15.6</c:v>
                </c:pt>
                <c:pt idx="1596">
                  <c:v>14.38</c:v>
                </c:pt>
                <c:pt idx="1597">
                  <c:v>16.28</c:v>
                </c:pt>
                <c:pt idx="1598">
                  <c:v>16.41</c:v>
                </c:pt>
                <c:pt idx="1599">
                  <c:v>15.8</c:v>
                </c:pt>
                <c:pt idx="1600">
                  <c:v>14.05</c:v>
                </c:pt>
                <c:pt idx="1601">
                  <c:v>14.51</c:v>
                </c:pt>
                <c:pt idx="1602">
                  <c:v>14.59</c:v>
                </c:pt>
                <c:pt idx="1603">
                  <c:v>14.18</c:v>
                </c:pt>
                <c:pt idx="1604">
                  <c:v>13.88</c:v>
                </c:pt>
                <c:pt idx="1605">
                  <c:v>14.07</c:v>
                </c:pt>
                <c:pt idx="1606">
                  <c:v>13.98</c:v>
                </c:pt>
                <c:pt idx="1607">
                  <c:v>14.15</c:v>
                </c:pt>
                <c:pt idx="1608">
                  <c:v>15.43</c:v>
                </c:pt>
                <c:pt idx="1609">
                  <c:v>16.809999999999999</c:v>
                </c:pt>
                <c:pt idx="1610">
                  <c:v>14.84</c:v>
                </c:pt>
                <c:pt idx="1611">
                  <c:v>15.73</c:v>
                </c:pt>
                <c:pt idx="1612">
                  <c:v>16.32</c:v>
                </c:pt>
                <c:pt idx="1613">
                  <c:v>15.71</c:v>
                </c:pt>
                <c:pt idx="1614">
                  <c:v>15.43</c:v>
                </c:pt>
                <c:pt idx="1615">
                  <c:v>14.55</c:v>
                </c:pt>
                <c:pt idx="1616">
                  <c:v>14.33</c:v>
                </c:pt>
                <c:pt idx="1617">
                  <c:v>15.11</c:v>
                </c:pt>
                <c:pt idx="1618">
                  <c:v>16.37</c:v>
                </c:pt>
                <c:pt idx="1619">
                  <c:v>16.29</c:v>
                </c:pt>
                <c:pt idx="1620">
                  <c:v>15.59</c:v>
                </c:pt>
                <c:pt idx="1621">
                  <c:v>16.14</c:v>
                </c:pt>
                <c:pt idx="1622">
                  <c:v>15.27</c:v>
                </c:pt>
                <c:pt idx="1623">
                  <c:v>15.22</c:v>
                </c:pt>
                <c:pt idx="1624">
                  <c:v>15.07</c:v>
                </c:pt>
                <c:pt idx="1625">
                  <c:v>15.03</c:v>
                </c:pt>
                <c:pt idx="1626">
                  <c:v>17.059999999999999</c:v>
                </c:pt>
                <c:pt idx="1627">
                  <c:v>16.62</c:v>
                </c:pt>
                <c:pt idx="1628">
                  <c:v>18.829999999999998</c:v>
                </c:pt>
                <c:pt idx="1629">
                  <c:v>18.329999999999998</c:v>
                </c:pt>
                <c:pt idx="1630">
                  <c:v>18.12</c:v>
                </c:pt>
                <c:pt idx="1631">
                  <c:v>17.809999999999999</c:v>
                </c:pt>
                <c:pt idx="1632">
                  <c:v>18.600000000000001</c:v>
                </c:pt>
                <c:pt idx="1633">
                  <c:v>16.690000000000001</c:v>
                </c:pt>
                <c:pt idx="1634">
                  <c:v>17.59</c:v>
                </c:pt>
                <c:pt idx="1635">
                  <c:v>18.420000000000002</c:v>
                </c:pt>
                <c:pt idx="1636">
                  <c:v>17.579999999999998</c:v>
                </c:pt>
                <c:pt idx="1637">
                  <c:v>19.079999999999998</c:v>
                </c:pt>
                <c:pt idx="1638">
                  <c:v>18.489999999999998</c:v>
                </c:pt>
                <c:pt idx="1639">
                  <c:v>18.61</c:v>
                </c:pt>
                <c:pt idx="1640">
                  <c:v>16.68</c:v>
                </c:pt>
                <c:pt idx="1641">
                  <c:v>16.649999999999999</c:v>
                </c:pt>
                <c:pt idx="1642">
                  <c:v>17.920000000000002</c:v>
                </c:pt>
                <c:pt idx="1643">
                  <c:v>17.989999999999998</c:v>
                </c:pt>
                <c:pt idx="1644">
                  <c:v>16.41</c:v>
                </c:pt>
                <c:pt idx="1645">
                  <c:v>15.24</c:v>
                </c:pt>
                <c:pt idx="1646">
                  <c:v>15.08</c:v>
                </c:pt>
                <c:pt idx="1647">
                  <c:v>15.31</c:v>
                </c:pt>
                <c:pt idx="1648">
                  <c:v>15.14</c:v>
                </c:pt>
                <c:pt idx="1649">
                  <c:v>15.5</c:v>
                </c:pt>
                <c:pt idx="1650">
                  <c:v>15.92</c:v>
                </c:pt>
                <c:pt idx="1651">
                  <c:v>15.51</c:v>
                </c:pt>
                <c:pt idx="1652">
                  <c:v>15.06</c:v>
                </c:pt>
                <c:pt idx="1653">
                  <c:v>15.87</c:v>
                </c:pt>
                <c:pt idx="1654">
                  <c:v>16.64</c:v>
                </c:pt>
                <c:pt idx="1655">
                  <c:v>17.12</c:v>
                </c:pt>
                <c:pt idx="1656">
                  <c:v>16.46</c:v>
                </c:pt>
                <c:pt idx="1657">
                  <c:v>16.579999999999998</c:v>
                </c:pt>
                <c:pt idx="1658">
                  <c:v>15.9</c:v>
                </c:pt>
                <c:pt idx="1659">
                  <c:v>16.05</c:v>
                </c:pt>
                <c:pt idx="1660">
                  <c:v>15.57</c:v>
                </c:pt>
                <c:pt idx="1661">
                  <c:v>15.95</c:v>
                </c:pt>
                <c:pt idx="1662">
                  <c:v>16.559999999999999</c:v>
                </c:pt>
                <c:pt idx="1663">
                  <c:v>17</c:v>
                </c:pt>
                <c:pt idx="1664">
                  <c:v>16.34</c:v>
                </c:pt>
                <c:pt idx="1665">
                  <c:v>15.57</c:v>
                </c:pt>
                <c:pt idx="1666">
                  <c:v>17.36</c:v>
                </c:pt>
                <c:pt idx="1667">
                  <c:v>17.670000000000002</c:v>
                </c:pt>
                <c:pt idx="1668">
                  <c:v>17.84</c:v>
                </c:pt>
                <c:pt idx="1669">
                  <c:v>18.59</c:v>
                </c:pt>
                <c:pt idx="1670">
                  <c:v>19.48</c:v>
                </c:pt>
                <c:pt idx="1671">
                  <c:v>19.47</c:v>
                </c:pt>
                <c:pt idx="1672">
                  <c:v>22.72</c:v>
                </c:pt>
                <c:pt idx="1673">
                  <c:v>18.02</c:v>
                </c:pt>
                <c:pt idx="1674">
                  <c:v>14.68</c:v>
                </c:pt>
                <c:pt idx="1675">
                  <c:v>14.56</c:v>
                </c:pt>
                <c:pt idx="1676">
                  <c:v>13.83</c:v>
                </c:pt>
                <c:pt idx="1677">
                  <c:v>13.79</c:v>
                </c:pt>
                <c:pt idx="1678">
                  <c:v>13.62</c:v>
                </c:pt>
                <c:pt idx="1679">
                  <c:v>13.81</c:v>
                </c:pt>
                <c:pt idx="1680">
                  <c:v>13.49</c:v>
                </c:pt>
                <c:pt idx="1681">
                  <c:v>13.36</c:v>
                </c:pt>
                <c:pt idx="1682">
                  <c:v>13.52</c:v>
                </c:pt>
                <c:pt idx="1683">
                  <c:v>13.55</c:v>
                </c:pt>
                <c:pt idx="1684">
                  <c:v>13.42</c:v>
                </c:pt>
                <c:pt idx="1685">
                  <c:v>13.57</c:v>
                </c:pt>
                <c:pt idx="1686">
                  <c:v>12.46</c:v>
                </c:pt>
                <c:pt idx="1687">
                  <c:v>12.43</c:v>
                </c:pt>
                <c:pt idx="1688">
                  <c:v>12.46</c:v>
                </c:pt>
                <c:pt idx="1689">
                  <c:v>12.69</c:v>
                </c:pt>
                <c:pt idx="1690">
                  <c:v>12.89</c:v>
                </c:pt>
                <c:pt idx="1691">
                  <c:v>13.57</c:v>
                </c:pt>
                <c:pt idx="1692">
                  <c:v>13.31</c:v>
                </c:pt>
                <c:pt idx="1693">
                  <c:v>14.32</c:v>
                </c:pt>
                <c:pt idx="1694">
                  <c:v>14.28</c:v>
                </c:pt>
                <c:pt idx="1695">
                  <c:v>12.9</c:v>
                </c:pt>
                <c:pt idx="1696">
                  <c:v>14.67</c:v>
                </c:pt>
                <c:pt idx="1697">
                  <c:v>13.72</c:v>
                </c:pt>
                <c:pt idx="1698">
                  <c:v>13.41</c:v>
                </c:pt>
                <c:pt idx="1699">
                  <c:v>13.5</c:v>
                </c:pt>
                <c:pt idx="1700">
                  <c:v>13.02</c:v>
                </c:pt>
                <c:pt idx="1701">
                  <c:v>12.94</c:v>
                </c:pt>
                <c:pt idx="1702">
                  <c:v>12.64</c:v>
                </c:pt>
                <c:pt idx="1703">
                  <c:v>12.98</c:v>
                </c:pt>
                <c:pt idx="1704">
                  <c:v>12.66</c:v>
                </c:pt>
                <c:pt idx="1705">
                  <c:v>12.46</c:v>
                </c:pt>
                <c:pt idx="1706">
                  <c:v>12.31</c:v>
                </c:pt>
                <c:pt idx="1707">
                  <c:v>14.68</c:v>
                </c:pt>
                <c:pt idx="1708">
                  <c:v>15.22</c:v>
                </c:pt>
                <c:pt idx="1709">
                  <c:v>14.17</c:v>
                </c:pt>
                <c:pt idx="1710">
                  <c:v>18.989999999999998</c:v>
                </c:pt>
                <c:pt idx="1711">
                  <c:v>16.87</c:v>
                </c:pt>
                <c:pt idx="1712">
                  <c:v>14.73</c:v>
                </c:pt>
                <c:pt idx="1713">
                  <c:v>15.51</c:v>
                </c:pt>
                <c:pt idx="1714">
                  <c:v>15.36</c:v>
                </c:pt>
                <c:pt idx="1715">
                  <c:v>14.01</c:v>
                </c:pt>
                <c:pt idx="1716">
                  <c:v>13.48</c:v>
                </c:pt>
                <c:pt idx="1717">
                  <c:v>13.53</c:v>
                </c:pt>
                <c:pt idx="1718">
                  <c:v>13.06</c:v>
                </c:pt>
                <c:pt idx="1719">
                  <c:v>12.59</c:v>
                </c:pt>
                <c:pt idx="1720">
                  <c:v>11.56</c:v>
                </c:pt>
                <c:pt idx="1721">
                  <c:v>12.27</c:v>
                </c:pt>
                <c:pt idx="1722">
                  <c:v>11.83</c:v>
                </c:pt>
                <c:pt idx="1723">
                  <c:v>11.3</c:v>
                </c:pt>
                <c:pt idx="1724">
                  <c:v>11.3</c:v>
                </c:pt>
                <c:pt idx="1725">
                  <c:v>13.36</c:v>
                </c:pt>
                <c:pt idx="1726">
                  <c:v>14.39</c:v>
                </c:pt>
                <c:pt idx="1727">
                  <c:v>12.67</c:v>
                </c:pt>
                <c:pt idx="1728">
                  <c:v>13.99</c:v>
                </c:pt>
                <c:pt idx="1729">
                  <c:v>13.57</c:v>
                </c:pt>
                <c:pt idx="1730">
                  <c:v>13.74</c:v>
                </c:pt>
                <c:pt idx="1731">
                  <c:v>12.77</c:v>
                </c:pt>
                <c:pt idx="1732">
                  <c:v>13.15</c:v>
                </c:pt>
                <c:pt idx="1733">
                  <c:v>12.7</c:v>
                </c:pt>
                <c:pt idx="1734">
                  <c:v>13.58</c:v>
                </c:pt>
                <c:pt idx="1735">
                  <c:v>12.78</c:v>
                </c:pt>
                <c:pt idx="1736">
                  <c:v>14.21</c:v>
                </c:pt>
                <c:pt idx="1737">
                  <c:v>13.89</c:v>
                </c:pt>
                <c:pt idx="1738">
                  <c:v>13.92</c:v>
                </c:pt>
                <c:pt idx="1739">
                  <c:v>13.19</c:v>
                </c:pt>
                <c:pt idx="1740">
                  <c:v>12.84</c:v>
                </c:pt>
                <c:pt idx="1741">
                  <c:v>12.36</c:v>
                </c:pt>
                <c:pt idx="1742">
                  <c:v>12.24</c:v>
                </c:pt>
                <c:pt idx="1743">
                  <c:v>12.06</c:v>
                </c:pt>
                <c:pt idx="1744">
                  <c:v>17.27</c:v>
                </c:pt>
                <c:pt idx="1745">
                  <c:v>13.96</c:v>
                </c:pt>
                <c:pt idx="1746">
                  <c:v>16.510000000000002</c:v>
                </c:pt>
                <c:pt idx="1747">
                  <c:v>17.559999999999999</c:v>
                </c:pt>
                <c:pt idx="1748">
                  <c:v>14.97</c:v>
                </c:pt>
                <c:pt idx="1749">
                  <c:v>14.39</c:v>
                </c:pt>
                <c:pt idx="1750">
                  <c:v>13.48</c:v>
                </c:pt>
                <c:pt idx="1751">
                  <c:v>13.61</c:v>
                </c:pt>
                <c:pt idx="1752">
                  <c:v>13.62</c:v>
                </c:pt>
                <c:pt idx="1753">
                  <c:v>13.61</c:v>
                </c:pt>
                <c:pt idx="1754">
                  <c:v>13.71</c:v>
                </c:pt>
                <c:pt idx="1755">
                  <c:v>13.52</c:v>
                </c:pt>
                <c:pt idx="1756">
                  <c:v>14.49</c:v>
                </c:pt>
                <c:pt idx="1757">
                  <c:v>13.59</c:v>
                </c:pt>
                <c:pt idx="1758">
                  <c:v>12.85</c:v>
                </c:pt>
                <c:pt idx="1759">
                  <c:v>12.66</c:v>
                </c:pt>
                <c:pt idx="1760">
                  <c:v>12.83</c:v>
                </c:pt>
                <c:pt idx="1761">
                  <c:v>12.66</c:v>
                </c:pt>
                <c:pt idx="1762">
                  <c:v>13.13</c:v>
                </c:pt>
                <c:pt idx="1763">
                  <c:v>12.59</c:v>
                </c:pt>
                <c:pt idx="1764">
                  <c:v>12.55</c:v>
                </c:pt>
                <c:pt idx="1765">
                  <c:v>12.77</c:v>
                </c:pt>
                <c:pt idx="1766">
                  <c:v>12.81</c:v>
                </c:pt>
                <c:pt idx="1767">
                  <c:v>13.07</c:v>
                </c:pt>
                <c:pt idx="1768">
                  <c:v>12.45</c:v>
                </c:pt>
                <c:pt idx="1769">
                  <c:v>13.02</c:v>
                </c:pt>
                <c:pt idx="1770">
                  <c:v>13.37</c:v>
                </c:pt>
                <c:pt idx="1771">
                  <c:v>13.82</c:v>
                </c:pt>
                <c:pt idx="1772">
                  <c:v>14.07</c:v>
                </c:pt>
                <c:pt idx="1773">
                  <c:v>13.99</c:v>
                </c:pt>
                <c:pt idx="1774">
                  <c:v>14.48</c:v>
                </c:pt>
                <c:pt idx="1775">
                  <c:v>14.83</c:v>
                </c:pt>
                <c:pt idx="1776">
                  <c:v>14.53</c:v>
                </c:pt>
                <c:pt idx="1777">
                  <c:v>16.3</c:v>
                </c:pt>
                <c:pt idx="1778">
                  <c:v>16.28</c:v>
                </c:pt>
                <c:pt idx="1779">
                  <c:v>16.27</c:v>
                </c:pt>
                <c:pt idx="1780">
                  <c:v>17.5</c:v>
                </c:pt>
                <c:pt idx="1781">
                  <c:v>16.63</c:v>
                </c:pt>
                <c:pt idx="1782">
                  <c:v>15.14</c:v>
                </c:pt>
                <c:pt idx="1783">
                  <c:v>15.44</c:v>
                </c:pt>
                <c:pt idx="1784">
                  <c:v>17.07</c:v>
                </c:pt>
                <c:pt idx="1785">
                  <c:v>18.59</c:v>
                </c:pt>
                <c:pt idx="1786">
                  <c:v>16.41</c:v>
                </c:pt>
                <c:pt idx="1787">
                  <c:v>17.149999999999999</c:v>
                </c:pt>
                <c:pt idx="1788">
                  <c:v>16.8</c:v>
                </c:pt>
                <c:pt idx="1789">
                  <c:v>16.61</c:v>
                </c:pt>
                <c:pt idx="1790">
                  <c:v>16.64</c:v>
                </c:pt>
                <c:pt idx="1791">
                  <c:v>20.49</c:v>
                </c:pt>
                <c:pt idx="1792">
                  <c:v>18.899999999999999</c:v>
                </c:pt>
                <c:pt idx="1793">
                  <c:v>20.11</c:v>
                </c:pt>
                <c:pt idx="1794">
                  <c:v>18.47</c:v>
                </c:pt>
                <c:pt idx="1795">
                  <c:v>17.21</c:v>
                </c:pt>
                <c:pt idx="1796">
                  <c:v>16.86</c:v>
                </c:pt>
                <c:pt idx="1797">
                  <c:v>16.86</c:v>
                </c:pt>
                <c:pt idx="1798">
                  <c:v>16.37</c:v>
                </c:pt>
                <c:pt idx="1799">
                  <c:v>16.440000000000001</c:v>
                </c:pt>
                <c:pt idx="1800">
                  <c:v>16.2</c:v>
                </c:pt>
                <c:pt idx="1801">
                  <c:v>14.89</c:v>
                </c:pt>
                <c:pt idx="1802">
                  <c:v>14.78</c:v>
                </c:pt>
                <c:pt idx="1803">
                  <c:v>14.35</c:v>
                </c:pt>
                <c:pt idx="1804">
                  <c:v>14.21</c:v>
                </c:pt>
                <c:pt idx="1805">
                  <c:v>14.01</c:v>
                </c:pt>
                <c:pt idx="1806">
                  <c:v>13.84</c:v>
                </c:pt>
                <c:pt idx="1807">
                  <c:v>13.79</c:v>
                </c:pt>
                <c:pt idx="1808">
                  <c:v>14.42</c:v>
                </c:pt>
                <c:pt idx="1809">
                  <c:v>13.78</c:v>
                </c:pt>
                <c:pt idx="1810">
                  <c:v>13.77</c:v>
                </c:pt>
                <c:pt idx="1811">
                  <c:v>12.54</c:v>
                </c:pt>
                <c:pt idx="1812">
                  <c:v>12.29</c:v>
                </c:pt>
                <c:pt idx="1813">
                  <c:v>12.66</c:v>
                </c:pt>
                <c:pt idx="1814">
                  <c:v>13.18</c:v>
                </c:pt>
                <c:pt idx="1815">
                  <c:v>12.97</c:v>
                </c:pt>
                <c:pt idx="1816">
                  <c:v>12.72</c:v>
                </c:pt>
                <c:pt idx="1817">
                  <c:v>13.39</c:v>
                </c:pt>
                <c:pt idx="1818">
                  <c:v>13.39</c:v>
                </c:pt>
                <c:pt idx="1819">
                  <c:v>13.45</c:v>
                </c:pt>
                <c:pt idx="1820">
                  <c:v>12.94</c:v>
                </c:pt>
                <c:pt idx="1821">
                  <c:v>11.98</c:v>
                </c:pt>
                <c:pt idx="1822">
                  <c:v>11.84</c:v>
                </c:pt>
                <c:pt idx="1823">
                  <c:v>12.72</c:v>
                </c:pt>
                <c:pt idx="1824">
                  <c:v>12.98</c:v>
                </c:pt>
                <c:pt idx="1825">
                  <c:v>12.73</c:v>
                </c:pt>
                <c:pt idx="1826">
                  <c:v>13.41</c:v>
                </c:pt>
                <c:pt idx="1827">
                  <c:v>12.81</c:v>
                </c:pt>
                <c:pt idx="1828">
                  <c:v>12.31</c:v>
                </c:pt>
                <c:pt idx="1829">
                  <c:v>13.04</c:v>
                </c:pt>
                <c:pt idx="1830">
                  <c:v>14.73</c:v>
                </c:pt>
                <c:pt idx="1831">
                  <c:v>14.37</c:v>
                </c:pt>
                <c:pt idx="1832">
                  <c:v>15.1</c:v>
                </c:pt>
                <c:pt idx="1833">
                  <c:v>14.91</c:v>
                </c:pt>
                <c:pt idx="1834">
                  <c:v>15.94</c:v>
                </c:pt>
                <c:pt idx="1835">
                  <c:v>14.76</c:v>
                </c:pt>
                <c:pt idx="1836">
                  <c:v>13.98</c:v>
                </c:pt>
                <c:pt idx="1837">
                  <c:v>14.99</c:v>
                </c:pt>
                <c:pt idx="1838">
                  <c:v>16.77</c:v>
                </c:pt>
                <c:pt idx="1839">
                  <c:v>16.489999999999998</c:v>
                </c:pt>
                <c:pt idx="1840">
                  <c:v>16.809999999999999</c:v>
                </c:pt>
                <c:pt idx="1841">
                  <c:v>17.010000000000002</c:v>
                </c:pt>
                <c:pt idx="1842">
                  <c:v>16.61</c:v>
                </c:pt>
                <c:pt idx="1843">
                  <c:v>15.88</c:v>
                </c:pt>
                <c:pt idx="1844">
                  <c:v>15.77</c:v>
                </c:pt>
                <c:pt idx="1845">
                  <c:v>15.85</c:v>
                </c:pt>
                <c:pt idx="1846">
                  <c:v>15.63</c:v>
                </c:pt>
                <c:pt idx="1847">
                  <c:v>14.53</c:v>
                </c:pt>
                <c:pt idx="1848">
                  <c:v>13.82</c:v>
                </c:pt>
                <c:pt idx="1849">
                  <c:v>14.29</c:v>
                </c:pt>
                <c:pt idx="1850">
                  <c:v>14.16</c:v>
                </c:pt>
                <c:pt idx="1851">
                  <c:v>14.38</c:v>
                </c:pt>
                <c:pt idx="1852">
                  <c:v>14.53</c:v>
                </c:pt>
                <c:pt idx="1853">
                  <c:v>13.59</c:v>
                </c:pt>
                <c:pt idx="1854">
                  <c:v>13.16</c:v>
                </c:pt>
                <c:pt idx="1855">
                  <c:v>13.12</c:v>
                </c:pt>
                <c:pt idx="1856">
                  <c:v>14.31</c:v>
                </c:pt>
                <c:pt idx="1857">
                  <c:v>14.08</c:v>
                </c:pt>
                <c:pt idx="1858">
                  <c:v>14.01</c:v>
                </c:pt>
                <c:pt idx="1859">
                  <c:v>14.06</c:v>
                </c:pt>
                <c:pt idx="1860">
                  <c:v>15.46</c:v>
                </c:pt>
                <c:pt idx="1861">
                  <c:v>16.600000000000001</c:v>
                </c:pt>
                <c:pt idx="1862">
                  <c:v>15.54</c:v>
                </c:pt>
                <c:pt idx="1863">
                  <c:v>16.600000000000001</c:v>
                </c:pt>
                <c:pt idx="1864">
                  <c:v>17.670000000000002</c:v>
                </c:pt>
                <c:pt idx="1865">
                  <c:v>16.739999999999998</c:v>
                </c:pt>
                <c:pt idx="1866">
                  <c:v>19.41</c:v>
                </c:pt>
                <c:pt idx="1867">
                  <c:v>20.34</c:v>
                </c:pt>
                <c:pt idx="1868">
                  <c:v>19.600000000000001</c:v>
                </c:pt>
                <c:pt idx="1869">
                  <c:v>16.48</c:v>
                </c:pt>
                <c:pt idx="1870">
                  <c:v>15.72</c:v>
                </c:pt>
                <c:pt idx="1871">
                  <c:v>16.07</c:v>
                </c:pt>
                <c:pt idx="1872">
                  <c:v>18.66</c:v>
                </c:pt>
                <c:pt idx="1873">
                  <c:v>14.71</c:v>
                </c:pt>
                <c:pt idx="1874">
                  <c:v>13.48</c:v>
                </c:pt>
                <c:pt idx="1875">
                  <c:v>13.04</c:v>
                </c:pt>
                <c:pt idx="1876">
                  <c:v>13.16</c:v>
                </c:pt>
                <c:pt idx="1877">
                  <c:v>13.33</c:v>
                </c:pt>
                <c:pt idx="1878">
                  <c:v>13.42</c:v>
                </c:pt>
                <c:pt idx="1879">
                  <c:v>13.2</c:v>
                </c:pt>
                <c:pt idx="1880">
                  <c:v>13.09</c:v>
                </c:pt>
                <c:pt idx="1881">
                  <c:v>13.31</c:v>
                </c:pt>
                <c:pt idx="1882">
                  <c:v>13.41</c:v>
                </c:pt>
                <c:pt idx="1883">
                  <c:v>13.65</c:v>
                </c:pt>
                <c:pt idx="1884">
                  <c:v>13.75</c:v>
                </c:pt>
                <c:pt idx="1885">
                  <c:v>13.28</c:v>
                </c:pt>
                <c:pt idx="1886">
                  <c:v>12.93</c:v>
                </c:pt>
                <c:pt idx="1887">
                  <c:v>13.27</c:v>
                </c:pt>
                <c:pt idx="1888">
                  <c:v>12.67</c:v>
                </c:pt>
                <c:pt idx="1889">
                  <c:v>13.91</c:v>
                </c:pt>
                <c:pt idx="1890">
                  <c:v>12.9</c:v>
                </c:pt>
                <c:pt idx="1891">
                  <c:v>12.53</c:v>
                </c:pt>
                <c:pt idx="1892">
                  <c:v>12.82</c:v>
                </c:pt>
                <c:pt idx="1893">
                  <c:v>12.52</c:v>
                </c:pt>
                <c:pt idx="1894">
                  <c:v>12.37</c:v>
                </c:pt>
                <c:pt idx="1895">
                  <c:v>12.19</c:v>
                </c:pt>
                <c:pt idx="1896">
                  <c:v>13.1</c:v>
                </c:pt>
                <c:pt idx="1897">
                  <c:v>13.39</c:v>
                </c:pt>
                <c:pt idx="1898">
                  <c:v>13.4</c:v>
                </c:pt>
                <c:pt idx="1899">
                  <c:v>12.66</c:v>
                </c:pt>
                <c:pt idx="1900">
                  <c:v>12.26</c:v>
                </c:pt>
                <c:pt idx="1901">
                  <c:v>12.79</c:v>
                </c:pt>
                <c:pt idx="1902">
                  <c:v>12.81</c:v>
                </c:pt>
                <c:pt idx="1903">
                  <c:v>12.98</c:v>
                </c:pt>
                <c:pt idx="1904">
                  <c:v>13.7</c:v>
                </c:pt>
                <c:pt idx="1905">
                  <c:v>14.23</c:v>
                </c:pt>
                <c:pt idx="1906">
                  <c:v>14.55</c:v>
                </c:pt>
                <c:pt idx="1907">
                  <c:v>14.7</c:v>
                </c:pt>
                <c:pt idx="1908">
                  <c:v>15.08</c:v>
                </c:pt>
                <c:pt idx="1909">
                  <c:v>13.79</c:v>
                </c:pt>
                <c:pt idx="1910">
                  <c:v>13.49</c:v>
                </c:pt>
                <c:pt idx="1911">
                  <c:v>13.91</c:v>
                </c:pt>
                <c:pt idx="1912">
                  <c:v>15.42</c:v>
                </c:pt>
                <c:pt idx="1913">
                  <c:v>15.54</c:v>
                </c:pt>
                <c:pt idx="1914">
                  <c:v>15.76</c:v>
                </c:pt>
                <c:pt idx="1915">
                  <c:v>16.03</c:v>
                </c:pt>
                <c:pt idx="1916">
                  <c:v>16.21</c:v>
                </c:pt>
                <c:pt idx="1917">
                  <c:v>13.8</c:v>
                </c:pt>
                <c:pt idx="1918">
                  <c:v>14.15</c:v>
                </c:pt>
                <c:pt idx="1919">
                  <c:v>13.79</c:v>
                </c:pt>
                <c:pt idx="1920">
                  <c:v>13.04</c:v>
                </c:pt>
                <c:pt idx="1921">
                  <c:v>12.48</c:v>
                </c:pt>
                <c:pt idx="1922">
                  <c:v>12.33</c:v>
                </c:pt>
                <c:pt idx="1923">
                  <c:v>12.46</c:v>
                </c:pt>
                <c:pt idx="1924">
                  <c:v>13.56</c:v>
                </c:pt>
                <c:pt idx="1925">
                  <c:v>13.72</c:v>
                </c:pt>
                <c:pt idx="1926">
                  <c:v>14.23</c:v>
                </c:pt>
                <c:pt idx="1927">
                  <c:v>13.76</c:v>
                </c:pt>
                <c:pt idx="1928">
                  <c:v>13.55</c:v>
                </c:pt>
                <c:pt idx="1929">
                  <c:v>12.92</c:v>
                </c:pt>
                <c:pt idx="1930">
                  <c:v>12.87</c:v>
                </c:pt>
                <c:pt idx="1931">
                  <c:v>12.89</c:v>
                </c:pt>
                <c:pt idx="1932">
                  <c:v>12.14</c:v>
                </c:pt>
                <c:pt idx="1933">
                  <c:v>13.28</c:v>
                </c:pt>
                <c:pt idx="1934">
                  <c:v>12.28</c:v>
                </c:pt>
                <c:pt idx="1935">
                  <c:v>12.28</c:v>
                </c:pt>
                <c:pt idx="1936">
                  <c:v>12.53</c:v>
                </c:pt>
                <c:pt idx="1937">
                  <c:v>12.44</c:v>
                </c:pt>
                <c:pt idx="1938">
                  <c:v>12.87</c:v>
                </c:pt>
                <c:pt idx="1939">
                  <c:v>12.84</c:v>
                </c:pt>
                <c:pt idx="1940">
                  <c:v>13.77</c:v>
                </c:pt>
                <c:pt idx="1941">
                  <c:v>18.14</c:v>
                </c:pt>
                <c:pt idx="1942">
                  <c:v>17.420000000000002</c:v>
                </c:pt>
                <c:pt idx="1943">
                  <c:v>15.8</c:v>
                </c:pt>
                <c:pt idx="1944">
                  <c:v>17.350000000000001</c:v>
                </c:pt>
                <c:pt idx="1945">
                  <c:v>17.29</c:v>
                </c:pt>
                <c:pt idx="1946">
                  <c:v>18.41</c:v>
                </c:pt>
                <c:pt idx="1947">
                  <c:v>21.44</c:v>
                </c:pt>
                <c:pt idx="1948">
                  <c:v>19.11</c:v>
                </c:pt>
                <c:pt idx="1949">
                  <c:v>19.95</c:v>
                </c:pt>
                <c:pt idx="1950">
                  <c:v>17.23</c:v>
                </c:pt>
                <c:pt idx="1951">
                  <c:v>15.29</c:v>
                </c:pt>
                <c:pt idx="1952">
                  <c:v>15.26</c:v>
                </c:pt>
                <c:pt idx="1953">
                  <c:v>14.51</c:v>
                </c:pt>
                <c:pt idx="1954">
                  <c:v>14.3</c:v>
                </c:pt>
                <c:pt idx="1955">
                  <c:v>14.14</c:v>
                </c:pt>
                <c:pt idx="1956">
                  <c:v>13.57</c:v>
                </c:pt>
                <c:pt idx="1957">
                  <c:v>13.87</c:v>
                </c:pt>
                <c:pt idx="1958">
                  <c:v>15.5</c:v>
                </c:pt>
                <c:pt idx="1959">
                  <c:v>14.79</c:v>
                </c:pt>
                <c:pt idx="1960">
                  <c:v>14.68</c:v>
                </c:pt>
                <c:pt idx="1961">
                  <c:v>14.23</c:v>
                </c:pt>
                <c:pt idx="1962">
                  <c:v>13.67</c:v>
                </c:pt>
                <c:pt idx="1963">
                  <c:v>14.35</c:v>
                </c:pt>
                <c:pt idx="1964">
                  <c:v>14.04</c:v>
                </c:pt>
                <c:pt idx="1965">
                  <c:v>14</c:v>
                </c:pt>
                <c:pt idx="1966">
                  <c:v>16</c:v>
                </c:pt>
                <c:pt idx="1967">
                  <c:v>14.1</c:v>
                </c:pt>
                <c:pt idx="1968">
                  <c:v>13.89</c:v>
                </c:pt>
                <c:pt idx="1969">
                  <c:v>14.21</c:v>
                </c:pt>
                <c:pt idx="1970">
                  <c:v>14.11</c:v>
                </c:pt>
                <c:pt idx="1971">
                  <c:v>14.2</c:v>
                </c:pt>
                <c:pt idx="1972">
                  <c:v>14.8</c:v>
                </c:pt>
                <c:pt idx="1973">
                  <c:v>14.47</c:v>
                </c:pt>
                <c:pt idx="1974">
                  <c:v>16.22</c:v>
                </c:pt>
                <c:pt idx="1975">
                  <c:v>17.82</c:v>
                </c:pt>
                <c:pt idx="1976">
                  <c:v>15.64</c:v>
                </c:pt>
                <c:pt idx="1977">
                  <c:v>14.52</c:v>
                </c:pt>
                <c:pt idx="1978">
                  <c:v>15.12</c:v>
                </c:pt>
                <c:pt idx="1979">
                  <c:v>14.52</c:v>
                </c:pt>
                <c:pt idx="1980">
                  <c:v>15</c:v>
                </c:pt>
                <c:pt idx="1981">
                  <c:v>15.09</c:v>
                </c:pt>
                <c:pt idx="1982">
                  <c:v>14.02</c:v>
                </c:pt>
                <c:pt idx="1983">
                  <c:v>14.93</c:v>
                </c:pt>
                <c:pt idx="1984">
                  <c:v>14.62</c:v>
                </c:pt>
                <c:pt idx="1985">
                  <c:v>14.41</c:v>
                </c:pt>
                <c:pt idx="1986">
                  <c:v>13.88</c:v>
                </c:pt>
                <c:pt idx="1987">
                  <c:v>13.1</c:v>
                </c:pt>
                <c:pt idx="1988">
                  <c:v>13.09</c:v>
                </c:pt>
                <c:pt idx="1989">
                  <c:v>13.37</c:v>
                </c:pt>
                <c:pt idx="1990">
                  <c:v>13.96</c:v>
                </c:pt>
                <c:pt idx="1991">
                  <c:v>15.57</c:v>
                </c:pt>
                <c:pt idx="1992">
                  <c:v>14.89</c:v>
                </c:pt>
                <c:pt idx="1993">
                  <c:v>13.82</c:v>
                </c:pt>
                <c:pt idx="1994">
                  <c:v>15.89</c:v>
                </c:pt>
                <c:pt idx="1995">
                  <c:v>17.03</c:v>
                </c:pt>
                <c:pt idx="1996">
                  <c:v>16.11</c:v>
                </c:pt>
                <c:pt idx="1997">
                  <c:v>15.61</c:v>
                </c:pt>
                <c:pt idx="1998">
                  <c:v>14.18</c:v>
                </c:pt>
                <c:pt idx="1999">
                  <c:v>13.36</c:v>
                </c:pt>
                <c:pt idx="2000">
                  <c:v>13.25</c:v>
                </c:pt>
                <c:pt idx="2001">
                  <c:v>13.19</c:v>
                </c:pt>
                <c:pt idx="2002">
                  <c:v>13.27</c:v>
                </c:pt>
                <c:pt idx="2003">
                  <c:v>13.32</c:v>
                </c:pt>
                <c:pt idx="2004">
                  <c:v>14.06</c:v>
                </c:pt>
                <c:pt idx="2005">
                  <c:v>13.97</c:v>
                </c:pt>
                <c:pt idx="2006">
                  <c:v>13.71</c:v>
                </c:pt>
                <c:pt idx="2007">
                  <c:v>13.41</c:v>
                </c:pt>
                <c:pt idx="2008">
                  <c:v>13.25</c:v>
                </c:pt>
                <c:pt idx="2009">
                  <c:v>12.91</c:v>
                </c:pt>
                <c:pt idx="2010">
                  <c:v>13.29</c:v>
                </c:pt>
                <c:pt idx="2011">
                  <c:v>13.8</c:v>
                </c:pt>
                <c:pt idx="2012">
                  <c:v>13.4</c:v>
                </c:pt>
                <c:pt idx="2013">
                  <c:v>13.43</c:v>
                </c:pt>
                <c:pt idx="2014">
                  <c:v>12.92</c:v>
                </c:pt>
                <c:pt idx="2015">
                  <c:v>12.23</c:v>
                </c:pt>
                <c:pt idx="2016">
                  <c:v>12.13</c:v>
                </c:pt>
                <c:pt idx="2017">
                  <c:v>12.17</c:v>
                </c:pt>
                <c:pt idx="2018">
                  <c:v>13.17</c:v>
                </c:pt>
                <c:pt idx="2019">
                  <c:v>12.44</c:v>
                </c:pt>
                <c:pt idx="2020">
                  <c:v>12.42</c:v>
                </c:pt>
                <c:pt idx="2021">
                  <c:v>12.96</c:v>
                </c:pt>
                <c:pt idx="2022">
                  <c:v>11.91</c:v>
                </c:pt>
                <c:pt idx="2023">
                  <c:v>12.03</c:v>
                </c:pt>
                <c:pt idx="2024">
                  <c:v>11.36</c:v>
                </c:pt>
                <c:pt idx="2025">
                  <c:v>11.51</c:v>
                </c:pt>
                <c:pt idx="2026">
                  <c:v>11.68</c:v>
                </c:pt>
                <c:pt idx="2027">
                  <c:v>11.57</c:v>
                </c:pt>
                <c:pt idx="2028">
                  <c:v>11.4</c:v>
                </c:pt>
                <c:pt idx="2029">
                  <c:v>11.58</c:v>
                </c:pt>
                <c:pt idx="2030">
                  <c:v>11.87</c:v>
                </c:pt>
                <c:pt idx="2031">
                  <c:v>12.08</c:v>
                </c:pt>
                <c:pt idx="2032">
                  <c:v>11.68</c:v>
                </c:pt>
                <c:pt idx="2033">
                  <c:v>10.73</c:v>
                </c:pt>
                <c:pt idx="2034">
                  <c:v>11.15</c:v>
                </c:pt>
                <c:pt idx="2035">
                  <c:v>10.99</c:v>
                </c:pt>
                <c:pt idx="2036">
                  <c:v>11.6</c:v>
                </c:pt>
                <c:pt idx="2037">
                  <c:v>12.56</c:v>
                </c:pt>
                <c:pt idx="2038">
                  <c:v>12.18</c:v>
                </c:pt>
                <c:pt idx="2039">
                  <c:v>12.65</c:v>
                </c:pt>
                <c:pt idx="2040">
                  <c:v>12.06</c:v>
                </c:pt>
                <c:pt idx="2041">
                  <c:v>10.61</c:v>
                </c:pt>
                <c:pt idx="2042">
                  <c:v>10.62</c:v>
                </c:pt>
                <c:pt idx="2043">
                  <c:v>10.85</c:v>
                </c:pt>
                <c:pt idx="2044">
                  <c:v>10.98</c:v>
                </c:pt>
                <c:pt idx="2045">
                  <c:v>12.13</c:v>
                </c:pt>
                <c:pt idx="2046">
                  <c:v>11.59</c:v>
                </c:pt>
                <c:pt idx="2047">
                  <c:v>11.63</c:v>
                </c:pt>
                <c:pt idx="2048">
                  <c:v>11.26</c:v>
                </c:pt>
                <c:pt idx="2049">
                  <c:v>11.57</c:v>
                </c:pt>
                <c:pt idx="2050">
                  <c:v>11.15</c:v>
                </c:pt>
                <c:pt idx="2051">
                  <c:v>10.82</c:v>
                </c:pt>
                <c:pt idx="2052">
                  <c:v>10.32</c:v>
                </c:pt>
                <c:pt idx="2053">
                  <c:v>11.33</c:v>
                </c:pt>
                <c:pt idx="2054">
                  <c:v>11.98</c:v>
                </c:pt>
                <c:pt idx="2055">
                  <c:v>11.65</c:v>
                </c:pt>
                <c:pt idx="2056">
                  <c:v>12.59</c:v>
                </c:pt>
                <c:pt idx="2057">
                  <c:v>12.08</c:v>
                </c:pt>
                <c:pt idx="2058">
                  <c:v>11.82</c:v>
                </c:pt>
                <c:pt idx="2059">
                  <c:v>11.96</c:v>
                </c:pt>
                <c:pt idx="2060">
                  <c:v>11</c:v>
                </c:pt>
                <c:pt idx="2061">
                  <c:v>14.54</c:v>
                </c:pt>
                <c:pt idx="2062">
                  <c:v>12.06</c:v>
                </c:pt>
                <c:pt idx="2063">
                  <c:v>12.81</c:v>
                </c:pt>
                <c:pt idx="2064">
                  <c:v>12.24</c:v>
                </c:pt>
                <c:pt idx="2065">
                  <c:v>11.52</c:v>
                </c:pt>
                <c:pt idx="2066">
                  <c:v>11.84</c:v>
                </c:pt>
                <c:pt idx="2067">
                  <c:v>12.69</c:v>
                </c:pt>
                <c:pt idx="2068">
                  <c:v>12.56</c:v>
                </c:pt>
                <c:pt idx="2069">
                  <c:v>13.28</c:v>
                </c:pt>
                <c:pt idx="2070">
                  <c:v>13.33</c:v>
                </c:pt>
                <c:pt idx="2071">
                  <c:v>16.95</c:v>
                </c:pt>
                <c:pt idx="2072">
                  <c:v>17.03</c:v>
                </c:pt>
                <c:pt idx="2073">
                  <c:v>15.12</c:v>
                </c:pt>
                <c:pt idx="2074">
                  <c:v>16.87</c:v>
                </c:pt>
                <c:pt idx="2075">
                  <c:v>16.37</c:v>
                </c:pt>
                <c:pt idx="2076">
                  <c:v>16.66</c:v>
                </c:pt>
                <c:pt idx="2077">
                  <c:v>15.77</c:v>
                </c:pt>
                <c:pt idx="2078">
                  <c:v>14.23</c:v>
                </c:pt>
                <c:pt idx="2079">
                  <c:v>14.13</c:v>
                </c:pt>
                <c:pt idx="2080">
                  <c:v>12.9</c:v>
                </c:pt>
                <c:pt idx="2081">
                  <c:v>12.42</c:v>
                </c:pt>
                <c:pt idx="2082">
                  <c:v>13.15</c:v>
                </c:pt>
                <c:pt idx="2083">
                  <c:v>12.32</c:v>
                </c:pt>
                <c:pt idx="2084">
                  <c:v>12.21</c:v>
                </c:pt>
                <c:pt idx="2085">
                  <c:v>11.78</c:v>
                </c:pt>
                <c:pt idx="2086">
                  <c:v>11.76</c:v>
                </c:pt>
                <c:pt idx="2087">
                  <c:v>11.47</c:v>
                </c:pt>
                <c:pt idx="2088">
                  <c:v>11.7</c:v>
                </c:pt>
                <c:pt idx="2089">
                  <c:v>11.63</c:v>
                </c:pt>
                <c:pt idx="2090">
                  <c:v>11.78</c:v>
                </c:pt>
                <c:pt idx="2091">
                  <c:v>12.05</c:v>
                </c:pt>
                <c:pt idx="2092">
                  <c:v>11.98</c:v>
                </c:pt>
                <c:pt idx="2093">
                  <c:v>12.25</c:v>
                </c:pt>
                <c:pt idx="2094">
                  <c:v>12.36</c:v>
                </c:pt>
                <c:pt idx="2095">
                  <c:v>12.64</c:v>
                </c:pt>
                <c:pt idx="2096">
                  <c:v>12.09</c:v>
                </c:pt>
                <c:pt idx="2097">
                  <c:v>12.66</c:v>
                </c:pt>
                <c:pt idx="2098">
                  <c:v>13.5</c:v>
                </c:pt>
                <c:pt idx="2099">
                  <c:v>12.88</c:v>
                </c:pt>
                <c:pt idx="2100">
                  <c:v>12.8</c:v>
                </c:pt>
                <c:pt idx="2101">
                  <c:v>13.31</c:v>
                </c:pt>
                <c:pt idx="2102">
                  <c:v>14.12</c:v>
                </c:pt>
                <c:pt idx="2103">
                  <c:v>12.73</c:v>
                </c:pt>
                <c:pt idx="2104">
                  <c:v>12.65</c:v>
                </c:pt>
                <c:pt idx="2105">
                  <c:v>12.03</c:v>
                </c:pt>
                <c:pt idx="2106">
                  <c:v>12.11</c:v>
                </c:pt>
                <c:pt idx="2107">
                  <c:v>13.69</c:v>
                </c:pt>
                <c:pt idx="2108">
                  <c:v>14.93</c:v>
                </c:pt>
                <c:pt idx="2109">
                  <c:v>13.27</c:v>
                </c:pt>
                <c:pt idx="2110">
                  <c:v>15.64</c:v>
                </c:pt>
                <c:pt idx="2111">
                  <c:v>14.85</c:v>
                </c:pt>
                <c:pt idx="2112">
                  <c:v>15.98</c:v>
                </c:pt>
                <c:pt idx="2113">
                  <c:v>16.309999999999999</c:v>
                </c:pt>
                <c:pt idx="2114">
                  <c:v>16.71</c:v>
                </c:pt>
                <c:pt idx="2115">
                  <c:v>16.16</c:v>
                </c:pt>
                <c:pt idx="2116">
                  <c:v>14.55</c:v>
                </c:pt>
                <c:pt idx="2117">
                  <c:v>15.46</c:v>
                </c:pt>
                <c:pt idx="2118">
                  <c:v>17.2</c:v>
                </c:pt>
                <c:pt idx="2119">
                  <c:v>15.11</c:v>
                </c:pt>
                <c:pt idx="2120">
                  <c:v>18.760000000000002</c:v>
                </c:pt>
                <c:pt idx="2121">
                  <c:v>21.24</c:v>
                </c:pt>
                <c:pt idx="2122">
                  <c:v>24.64</c:v>
                </c:pt>
                <c:pt idx="2123">
                  <c:v>22.79</c:v>
                </c:pt>
                <c:pt idx="2124">
                  <c:v>26.25</c:v>
                </c:pt>
                <c:pt idx="2125">
                  <c:v>25.2</c:v>
                </c:pt>
                <c:pt idx="2126">
                  <c:v>21.99</c:v>
                </c:pt>
                <c:pt idx="2127">
                  <c:v>18.57</c:v>
                </c:pt>
                <c:pt idx="2128">
                  <c:v>16.079999999999998</c:v>
                </c:pt>
                <c:pt idx="2129">
                  <c:v>17.87</c:v>
                </c:pt>
                <c:pt idx="2130">
                  <c:v>16.53</c:v>
                </c:pt>
                <c:pt idx="2131">
                  <c:v>16.11</c:v>
                </c:pt>
                <c:pt idx="2132">
                  <c:v>16.04</c:v>
                </c:pt>
                <c:pt idx="2133">
                  <c:v>14.39</c:v>
                </c:pt>
                <c:pt idx="2134">
                  <c:v>15.15</c:v>
                </c:pt>
                <c:pt idx="2135">
                  <c:v>14.52</c:v>
                </c:pt>
                <c:pt idx="2136">
                  <c:v>14.03</c:v>
                </c:pt>
                <c:pt idx="2137">
                  <c:v>14.73</c:v>
                </c:pt>
                <c:pt idx="2138">
                  <c:v>14.89</c:v>
                </c:pt>
                <c:pt idx="2139">
                  <c:v>14.17</c:v>
                </c:pt>
                <c:pt idx="2140">
                  <c:v>13.67</c:v>
                </c:pt>
                <c:pt idx="2141">
                  <c:v>13.12</c:v>
                </c:pt>
                <c:pt idx="2142">
                  <c:v>12.67</c:v>
                </c:pt>
                <c:pt idx="2143">
                  <c:v>12.92</c:v>
                </c:pt>
                <c:pt idx="2144">
                  <c:v>13.02</c:v>
                </c:pt>
                <c:pt idx="2145">
                  <c:v>13.79</c:v>
                </c:pt>
                <c:pt idx="2146">
                  <c:v>13.31</c:v>
                </c:pt>
                <c:pt idx="2147">
                  <c:v>13.99</c:v>
                </c:pt>
                <c:pt idx="2148">
                  <c:v>13.86</c:v>
                </c:pt>
                <c:pt idx="2149">
                  <c:v>13.96</c:v>
                </c:pt>
                <c:pt idx="2150">
                  <c:v>13.58</c:v>
                </c:pt>
                <c:pt idx="2151">
                  <c:v>12.9</c:v>
                </c:pt>
                <c:pt idx="2152">
                  <c:v>12.62</c:v>
                </c:pt>
                <c:pt idx="2153">
                  <c:v>12.25</c:v>
                </c:pt>
                <c:pt idx="2154">
                  <c:v>12.07</c:v>
                </c:pt>
                <c:pt idx="2155">
                  <c:v>13.33</c:v>
                </c:pt>
                <c:pt idx="2156">
                  <c:v>14.29</c:v>
                </c:pt>
                <c:pt idx="2157">
                  <c:v>12.85</c:v>
                </c:pt>
                <c:pt idx="2158">
                  <c:v>12.47</c:v>
                </c:pt>
                <c:pt idx="2159">
                  <c:v>12.38</c:v>
                </c:pt>
                <c:pt idx="2160">
                  <c:v>11.82</c:v>
                </c:pt>
                <c:pt idx="2161">
                  <c:v>14.21</c:v>
                </c:pt>
                <c:pt idx="2162">
                  <c:v>14.89</c:v>
                </c:pt>
                <c:pt idx="2163">
                  <c:v>18.53</c:v>
                </c:pt>
                <c:pt idx="2164">
                  <c:v>20.079999999999998</c:v>
                </c:pt>
                <c:pt idx="2165">
                  <c:v>21.08</c:v>
                </c:pt>
                <c:pt idx="2166">
                  <c:v>20.420000000000002</c:v>
                </c:pt>
                <c:pt idx="2167">
                  <c:v>23.57</c:v>
                </c:pt>
                <c:pt idx="2168">
                  <c:v>19.440000000000001</c:v>
                </c:pt>
                <c:pt idx="2169">
                  <c:v>16.809999999999999</c:v>
                </c:pt>
                <c:pt idx="2170">
                  <c:v>16.489999999999998</c:v>
                </c:pt>
                <c:pt idx="2171">
                  <c:v>15.25</c:v>
                </c:pt>
                <c:pt idx="2172">
                  <c:v>14.8</c:v>
                </c:pt>
                <c:pt idx="2173">
                  <c:v>14.37</c:v>
                </c:pt>
                <c:pt idx="2174">
                  <c:v>14.5</c:v>
                </c:pt>
                <c:pt idx="2175">
                  <c:v>15.06</c:v>
                </c:pt>
                <c:pt idx="2176">
                  <c:v>15.92</c:v>
                </c:pt>
                <c:pt idx="2177">
                  <c:v>19.2</c:v>
                </c:pt>
                <c:pt idx="2178">
                  <c:v>17.79</c:v>
                </c:pt>
                <c:pt idx="2179">
                  <c:v>19.920000000000002</c:v>
                </c:pt>
                <c:pt idx="2180">
                  <c:v>21.12</c:v>
                </c:pt>
                <c:pt idx="2181">
                  <c:v>19.309999999999999</c:v>
                </c:pt>
                <c:pt idx="2182">
                  <c:v>17.010000000000002</c:v>
                </c:pt>
                <c:pt idx="2183">
                  <c:v>17.55</c:v>
                </c:pt>
                <c:pt idx="2184">
                  <c:v>19.600000000000001</c:v>
                </c:pt>
                <c:pt idx="2185">
                  <c:v>20.56</c:v>
                </c:pt>
                <c:pt idx="2186">
                  <c:v>21.48</c:v>
                </c:pt>
                <c:pt idx="2187">
                  <c:v>22.39</c:v>
                </c:pt>
                <c:pt idx="2188">
                  <c:v>20.95</c:v>
                </c:pt>
                <c:pt idx="2189">
                  <c:v>19.89</c:v>
                </c:pt>
                <c:pt idx="2190">
                  <c:v>18.850000000000001</c:v>
                </c:pt>
                <c:pt idx="2191">
                  <c:v>16.399999999999999</c:v>
                </c:pt>
                <c:pt idx="2192">
                  <c:v>16.66</c:v>
                </c:pt>
                <c:pt idx="2193">
                  <c:v>15.52</c:v>
                </c:pt>
                <c:pt idx="2194">
                  <c:v>17.22</c:v>
                </c:pt>
                <c:pt idx="2195">
                  <c:v>20.440000000000001</c:v>
                </c:pt>
                <c:pt idx="2196">
                  <c:v>18.760000000000002</c:v>
                </c:pt>
                <c:pt idx="2197">
                  <c:v>20.97</c:v>
                </c:pt>
                <c:pt idx="2198">
                  <c:v>19.43</c:v>
                </c:pt>
                <c:pt idx="2199">
                  <c:v>17.329999999999998</c:v>
                </c:pt>
                <c:pt idx="2200">
                  <c:v>18.329999999999998</c:v>
                </c:pt>
                <c:pt idx="2201">
                  <c:v>16.850000000000001</c:v>
                </c:pt>
                <c:pt idx="2202">
                  <c:v>17.29</c:v>
                </c:pt>
                <c:pt idx="2203">
                  <c:v>18.55</c:v>
                </c:pt>
                <c:pt idx="2204">
                  <c:v>17.23</c:v>
                </c:pt>
                <c:pt idx="2205">
                  <c:v>16.96</c:v>
                </c:pt>
                <c:pt idx="2206">
                  <c:v>15.34</c:v>
                </c:pt>
                <c:pt idx="2207">
                  <c:v>14.69</c:v>
                </c:pt>
                <c:pt idx="2208">
                  <c:v>15.8</c:v>
                </c:pt>
                <c:pt idx="2209">
                  <c:v>15.45</c:v>
                </c:pt>
                <c:pt idx="2210">
                  <c:v>15.29</c:v>
                </c:pt>
                <c:pt idx="2211">
                  <c:v>14.3</c:v>
                </c:pt>
                <c:pt idx="2212">
                  <c:v>14.56</c:v>
                </c:pt>
                <c:pt idx="2213">
                  <c:v>13.69</c:v>
                </c:pt>
                <c:pt idx="2214">
                  <c:v>13.84</c:v>
                </c:pt>
                <c:pt idx="2215">
                  <c:v>13.91</c:v>
                </c:pt>
                <c:pt idx="2216">
                  <c:v>13.34</c:v>
                </c:pt>
                <c:pt idx="2217">
                  <c:v>13.04</c:v>
                </c:pt>
                <c:pt idx="2218">
                  <c:v>13.86</c:v>
                </c:pt>
                <c:pt idx="2219">
                  <c:v>14.23</c:v>
                </c:pt>
                <c:pt idx="2220">
                  <c:v>14.04</c:v>
                </c:pt>
                <c:pt idx="2221">
                  <c:v>15.2</c:v>
                </c:pt>
                <c:pt idx="2222">
                  <c:v>15.06</c:v>
                </c:pt>
                <c:pt idx="2223">
                  <c:v>16.690000000000001</c:v>
                </c:pt>
                <c:pt idx="2224">
                  <c:v>16.87</c:v>
                </c:pt>
                <c:pt idx="2225">
                  <c:v>15.42</c:v>
                </c:pt>
                <c:pt idx="2226">
                  <c:v>16</c:v>
                </c:pt>
                <c:pt idx="2227">
                  <c:v>15.61</c:v>
                </c:pt>
                <c:pt idx="2228">
                  <c:v>15.66</c:v>
                </c:pt>
                <c:pt idx="2229">
                  <c:v>13.97</c:v>
                </c:pt>
                <c:pt idx="2230">
                  <c:v>14.07</c:v>
                </c:pt>
                <c:pt idx="2231">
                  <c:v>13.02</c:v>
                </c:pt>
                <c:pt idx="2232">
                  <c:v>13.41</c:v>
                </c:pt>
                <c:pt idx="2233">
                  <c:v>13.62</c:v>
                </c:pt>
                <c:pt idx="2234">
                  <c:v>15.44</c:v>
                </c:pt>
                <c:pt idx="2235">
                  <c:v>15.8</c:v>
                </c:pt>
                <c:pt idx="2236">
                  <c:v>15.07</c:v>
                </c:pt>
                <c:pt idx="2237">
                  <c:v>14.51</c:v>
                </c:pt>
                <c:pt idx="2238">
                  <c:v>15.29</c:v>
                </c:pt>
                <c:pt idx="2239">
                  <c:v>15.11</c:v>
                </c:pt>
                <c:pt idx="2240">
                  <c:v>14.67</c:v>
                </c:pt>
                <c:pt idx="2241">
                  <c:v>14.74</c:v>
                </c:pt>
                <c:pt idx="2242">
                  <c:v>14.78</c:v>
                </c:pt>
                <c:pt idx="2243">
                  <c:v>13.98</c:v>
                </c:pt>
                <c:pt idx="2244">
                  <c:v>13.09</c:v>
                </c:pt>
                <c:pt idx="2245">
                  <c:v>12.58</c:v>
                </c:pt>
                <c:pt idx="2246">
                  <c:v>13.94</c:v>
                </c:pt>
                <c:pt idx="2247">
                  <c:v>13.67</c:v>
                </c:pt>
                <c:pt idx="2248">
                  <c:v>12.84</c:v>
                </c:pt>
                <c:pt idx="2249">
                  <c:v>12.6</c:v>
                </c:pt>
                <c:pt idx="2250">
                  <c:v>13.89</c:v>
                </c:pt>
                <c:pt idx="2251">
                  <c:v>13.3</c:v>
                </c:pt>
                <c:pt idx="2252">
                  <c:v>13.25</c:v>
                </c:pt>
                <c:pt idx="2253">
                  <c:v>12.71</c:v>
                </c:pt>
                <c:pt idx="2254">
                  <c:v>12.48</c:v>
                </c:pt>
                <c:pt idx="2255">
                  <c:v>12.29</c:v>
                </c:pt>
                <c:pt idx="2256">
                  <c:v>13.12</c:v>
                </c:pt>
                <c:pt idx="2257">
                  <c:v>12.41</c:v>
                </c:pt>
                <c:pt idx="2258">
                  <c:v>13.39</c:v>
                </c:pt>
                <c:pt idx="2259">
                  <c:v>14.55</c:v>
                </c:pt>
                <c:pt idx="2260">
                  <c:v>12.7</c:v>
                </c:pt>
                <c:pt idx="2261">
                  <c:v>12.85</c:v>
                </c:pt>
                <c:pt idx="2262">
                  <c:v>14.31</c:v>
                </c:pt>
                <c:pt idx="2263">
                  <c:v>15.15</c:v>
                </c:pt>
                <c:pt idx="2264">
                  <c:v>15.13</c:v>
                </c:pt>
                <c:pt idx="2265">
                  <c:v>12.86</c:v>
                </c:pt>
                <c:pt idx="2266">
                  <c:v>13.85</c:v>
                </c:pt>
                <c:pt idx="2267">
                  <c:v>13.86</c:v>
                </c:pt>
                <c:pt idx="2268">
                  <c:v>13.76</c:v>
                </c:pt>
                <c:pt idx="2269">
                  <c:v>12.74</c:v>
                </c:pt>
                <c:pt idx="2270">
                  <c:v>12.38</c:v>
                </c:pt>
                <c:pt idx="2271">
                  <c:v>12.73</c:v>
                </c:pt>
                <c:pt idx="2272">
                  <c:v>12.85</c:v>
                </c:pt>
                <c:pt idx="2273">
                  <c:v>12.88</c:v>
                </c:pt>
                <c:pt idx="2274">
                  <c:v>12.11</c:v>
                </c:pt>
                <c:pt idx="2275">
                  <c:v>12.13</c:v>
                </c:pt>
                <c:pt idx="2276">
                  <c:v>14.06</c:v>
                </c:pt>
                <c:pt idx="2277">
                  <c:v>13.27</c:v>
                </c:pt>
                <c:pt idx="2278">
                  <c:v>13.31</c:v>
                </c:pt>
                <c:pt idx="2279">
                  <c:v>13.84</c:v>
                </c:pt>
                <c:pt idx="2280">
                  <c:v>13.97</c:v>
                </c:pt>
                <c:pt idx="2281">
                  <c:v>14.24</c:v>
                </c:pt>
                <c:pt idx="2282">
                  <c:v>13.66</c:v>
                </c:pt>
                <c:pt idx="2283">
                  <c:v>14.71</c:v>
                </c:pt>
                <c:pt idx="2284">
                  <c:v>14.21</c:v>
                </c:pt>
                <c:pt idx="2285">
                  <c:v>15.29</c:v>
                </c:pt>
                <c:pt idx="2286">
                  <c:v>14.47</c:v>
                </c:pt>
                <c:pt idx="2287">
                  <c:v>13.22</c:v>
                </c:pt>
                <c:pt idx="2288">
                  <c:v>12.85</c:v>
                </c:pt>
                <c:pt idx="2289">
                  <c:v>13.78</c:v>
                </c:pt>
                <c:pt idx="2290">
                  <c:v>15.39</c:v>
                </c:pt>
                <c:pt idx="2291">
                  <c:v>14.81</c:v>
                </c:pt>
                <c:pt idx="2292">
                  <c:v>14.5</c:v>
                </c:pt>
                <c:pt idx="2293">
                  <c:v>13.19</c:v>
                </c:pt>
                <c:pt idx="2294">
                  <c:v>13.96</c:v>
                </c:pt>
                <c:pt idx="2295">
                  <c:v>12.74</c:v>
                </c:pt>
                <c:pt idx="2296">
                  <c:v>12.11</c:v>
                </c:pt>
                <c:pt idx="2297">
                  <c:v>13.26</c:v>
                </c:pt>
                <c:pt idx="2298">
                  <c:v>14.01</c:v>
                </c:pt>
                <c:pt idx="2299">
                  <c:v>14.02</c:v>
                </c:pt>
                <c:pt idx="2300">
                  <c:v>18.850000000000001</c:v>
                </c:pt>
                <c:pt idx="2301">
                  <c:v>18.23</c:v>
                </c:pt>
                <c:pt idx="2302">
                  <c:v>16.09</c:v>
                </c:pt>
                <c:pt idx="2303">
                  <c:v>16.79</c:v>
                </c:pt>
                <c:pt idx="2304">
                  <c:v>17.010000000000002</c:v>
                </c:pt>
                <c:pt idx="2305">
                  <c:v>16.09</c:v>
                </c:pt>
                <c:pt idx="2306">
                  <c:v>19.66</c:v>
                </c:pt>
                <c:pt idx="2307">
                  <c:v>19.97</c:v>
                </c:pt>
                <c:pt idx="2308">
                  <c:v>16.829999999999998</c:v>
                </c:pt>
                <c:pt idx="2309">
                  <c:v>13.9</c:v>
                </c:pt>
                <c:pt idx="2310">
                  <c:v>13.37</c:v>
                </c:pt>
                <c:pt idx="2311">
                  <c:v>13.23</c:v>
                </c:pt>
                <c:pt idx="2312">
                  <c:v>12.11</c:v>
                </c:pt>
                <c:pt idx="2313">
                  <c:v>11.95</c:v>
                </c:pt>
                <c:pt idx="2314">
                  <c:v>12.25</c:v>
                </c:pt>
                <c:pt idx="2315">
                  <c:v>12.22</c:v>
                </c:pt>
                <c:pt idx="2316">
                  <c:v>12.12</c:v>
                </c:pt>
                <c:pt idx="2317">
                  <c:v>12.64</c:v>
                </c:pt>
                <c:pt idx="2318">
                  <c:v>13.74</c:v>
                </c:pt>
                <c:pt idx="2319">
                  <c:v>15.6</c:v>
                </c:pt>
                <c:pt idx="2320">
                  <c:v>13.44</c:v>
                </c:pt>
                <c:pt idx="2321">
                  <c:v>12.5</c:v>
                </c:pt>
                <c:pt idx="2322">
                  <c:v>12.13</c:v>
                </c:pt>
                <c:pt idx="2323">
                  <c:v>12.12</c:v>
                </c:pt>
                <c:pt idx="2324">
                  <c:v>12.56</c:v>
                </c:pt>
                <c:pt idx="2325">
                  <c:v>13</c:v>
                </c:pt>
                <c:pt idx="2326">
                  <c:v>12.51</c:v>
                </c:pt>
                <c:pt idx="2327">
                  <c:v>13.77</c:v>
                </c:pt>
                <c:pt idx="2328">
                  <c:v>13.39</c:v>
                </c:pt>
                <c:pt idx="2329">
                  <c:v>12.23</c:v>
                </c:pt>
                <c:pt idx="2330">
                  <c:v>13.71</c:v>
                </c:pt>
                <c:pt idx="2331">
                  <c:v>13.61</c:v>
                </c:pt>
                <c:pt idx="2332">
                  <c:v>13.49</c:v>
                </c:pt>
                <c:pt idx="2333">
                  <c:v>12.83</c:v>
                </c:pt>
                <c:pt idx="2334">
                  <c:v>13.02</c:v>
                </c:pt>
                <c:pt idx="2335">
                  <c:v>13.79</c:v>
                </c:pt>
                <c:pt idx="2336">
                  <c:v>15.25</c:v>
                </c:pt>
                <c:pt idx="2337">
                  <c:v>19.14</c:v>
                </c:pt>
                <c:pt idx="2338">
                  <c:v>28.03</c:v>
                </c:pt>
                <c:pt idx="2339">
                  <c:v>40.74</c:v>
                </c:pt>
                <c:pt idx="2340">
                  <c:v>36.020000000000003</c:v>
                </c:pt>
                <c:pt idx="2341">
                  <c:v>30.32</c:v>
                </c:pt>
                <c:pt idx="2342">
                  <c:v>26.1</c:v>
                </c:pt>
                <c:pt idx="2343">
                  <c:v>26.05</c:v>
                </c:pt>
                <c:pt idx="2344">
                  <c:v>28.43</c:v>
                </c:pt>
                <c:pt idx="2345">
                  <c:v>31.4</c:v>
                </c:pt>
                <c:pt idx="2346">
                  <c:v>26.09</c:v>
                </c:pt>
                <c:pt idx="2347">
                  <c:v>25.61</c:v>
                </c:pt>
                <c:pt idx="2348">
                  <c:v>27.8</c:v>
                </c:pt>
                <c:pt idx="2349">
                  <c:v>24.9</c:v>
                </c:pt>
                <c:pt idx="2350">
                  <c:v>26.23</c:v>
                </c:pt>
                <c:pt idx="2351">
                  <c:v>24.37</c:v>
                </c:pt>
                <c:pt idx="2352">
                  <c:v>23.2</c:v>
                </c:pt>
                <c:pt idx="2353">
                  <c:v>24.25</c:v>
                </c:pt>
                <c:pt idx="2354">
                  <c:v>22.54</c:v>
                </c:pt>
                <c:pt idx="2355">
                  <c:v>21.35</c:v>
                </c:pt>
                <c:pt idx="2356">
                  <c:v>21.14</c:v>
                </c:pt>
                <c:pt idx="2357">
                  <c:v>22.28</c:v>
                </c:pt>
                <c:pt idx="2358">
                  <c:v>20.14</c:v>
                </c:pt>
                <c:pt idx="2359">
                  <c:v>22.44</c:v>
                </c:pt>
                <c:pt idx="2360">
                  <c:v>22.13</c:v>
                </c:pt>
                <c:pt idx="2361">
                  <c:v>23.47</c:v>
                </c:pt>
                <c:pt idx="2362">
                  <c:v>23.62</c:v>
                </c:pt>
                <c:pt idx="2363">
                  <c:v>27.63</c:v>
                </c:pt>
                <c:pt idx="2364">
                  <c:v>26.83</c:v>
                </c:pt>
                <c:pt idx="2365">
                  <c:v>24.5</c:v>
                </c:pt>
                <c:pt idx="2366">
                  <c:v>22.55</c:v>
                </c:pt>
                <c:pt idx="2367">
                  <c:v>20.94</c:v>
                </c:pt>
                <c:pt idx="2368">
                  <c:v>19.54</c:v>
                </c:pt>
                <c:pt idx="2369">
                  <c:v>19.399999999999999</c:v>
                </c:pt>
                <c:pt idx="2370">
                  <c:v>18.399999999999999</c:v>
                </c:pt>
                <c:pt idx="2371">
                  <c:v>17.420000000000002</c:v>
                </c:pt>
                <c:pt idx="2372">
                  <c:v>17.079999999999998</c:v>
                </c:pt>
                <c:pt idx="2373">
                  <c:v>16.170000000000002</c:v>
                </c:pt>
                <c:pt idx="2374">
                  <c:v>17.670000000000002</c:v>
                </c:pt>
                <c:pt idx="2375">
                  <c:v>18.03</c:v>
                </c:pt>
                <c:pt idx="2376">
                  <c:v>16.05</c:v>
                </c:pt>
                <c:pt idx="2377">
                  <c:v>15.05</c:v>
                </c:pt>
                <c:pt idx="2378">
                  <c:v>14.98</c:v>
                </c:pt>
                <c:pt idx="2379">
                  <c:v>15.75</c:v>
                </c:pt>
                <c:pt idx="2380">
                  <c:v>16.7</c:v>
                </c:pt>
                <c:pt idx="2381">
                  <c:v>14.45</c:v>
                </c:pt>
                <c:pt idx="2382">
                  <c:v>14.46</c:v>
                </c:pt>
                <c:pt idx="2383">
                  <c:v>15.29</c:v>
                </c:pt>
                <c:pt idx="2384">
                  <c:v>15.43</c:v>
                </c:pt>
                <c:pt idx="2385">
                  <c:v>14.33</c:v>
                </c:pt>
                <c:pt idx="2386">
                  <c:v>14.61</c:v>
                </c:pt>
                <c:pt idx="2387">
                  <c:v>15.07</c:v>
                </c:pt>
                <c:pt idx="2388">
                  <c:v>14.15</c:v>
                </c:pt>
                <c:pt idx="2389">
                  <c:v>14.54</c:v>
                </c:pt>
                <c:pt idx="2390">
                  <c:v>15.51</c:v>
                </c:pt>
                <c:pt idx="2391">
                  <c:v>15.05</c:v>
                </c:pt>
                <c:pt idx="2392">
                  <c:v>14.33</c:v>
                </c:pt>
                <c:pt idx="2393">
                  <c:v>16.52</c:v>
                </c:pt>
                <c:pt idx="2394">
                  <c:v>15.29</c:v>
                </c:pt>
                <c:pt idx="2395">
                  <c:v>16.059999999999999</c:v>
                </c:pt>
                <c:pt idx="2396">
                  <c:v>18.37</c:v>
                </c:pt>
                <c:pt idx="2397">
                  <c:v>20.079999999999998</c:v>
                </c:pt>
                <c:pt idx="2398">
                  <c:v>18.16</c:v>
                </c:pt>
                <c:pt idx="2399">
                  <c:v>18.84</c:v>
                </c:pt>
                <c:pt idx="2400">
                  <c:v>16.850000000000001</c:v>
                </c:pt>
                <c:pt idx="2401">
                  <c:v>16.989999999999998</c:v>
                </c:pt>
                <c:pt idx="2402">
                  <c:v>15.47</c:v>
                </c:pt>
                <c:pt idx="2403">
                  <c:v>15.62</c:v>
                </c:pt>
                <c:pt idx="2404">
                  <c:v>15.93</c:v>
                </c:pt>
                <c:pt idx="2405">
                  <c:v>15.19</c:v>
                </c:pt>
                <c:pt idx="2406">
                  <c:v>15.12</c:v>
                </c:pt>
                <c:pt idx="2407">
                  <c:v>16.13</c:v>
                </c:pt>
                <c:pt idx="2408">
                  <c:v>14.67</c:v>
                </c:pt>
                <c:pt idx="2409">
                  <c:v>15.91</c:v>
                </c:pt>
                <c:pt idx="2410">
                  <c:v>18.11</c:v>
                </c:pt>
                <c:pt idx="2411">
                  <c:v>14.81</c:v>
                </c:pt>
                <c:pt idx="2412">
                  <c:v>15.84</c:v>
                </c:pt>
                <c:pt idx="2413">
                  <c:v>17.600000000000001</c:v>
                </c:pt>
                <c:pt idx="2414">
                  <c:v>19.61</c:v>
                </c:pt>
                <c:pt idx="2415">
                  <c:v>19.34</c:v>
                </c:pt>
                <c:pt idx="2416">
                  <c:v>24.39</c:v>
                </c:pt>
                <c:pt idx="2417">
                  <c:v>22.73</c:v>
                </c:pt>
                <c:pt idx="2418">
                  <c:v>20.95</c:v>
                </c:pt>
                <c:pt idx="2419">
                  <c:v>17.86</c:v>
                </c:pt>
                <c:pt idx="2420">
                  <c:v>18.940000000000001</c:v>
                </c:pt>
                <c:pt idx="2421">
                  <c:v>20.7</c:v>
                </c:pt>
                <c:pt idx="2422">
                  <c:v>18.7</c:v>
                </c:pt>
                <c:pt idx="2423">
                  <c:v>16.600000000000001</c:v>
                </c:pt>
                <c:pt idx="2424">
                  <c:v>15.57</c:v>
                </c:pt>
                <c:pt idx="2425">
                  <c:v>15.74</c:v>
                </c:pt>
                <c:pt idx="2426">
                  <c:v>16.91</c:v>
                </c:pt>
                <c:pt idx="2427">
                  <c:v>16.079999999999998</c:v>
                </c:pt>
                <c:pt idx="2428">
                  <c:v>17.29</c:v>
                </c:pt>
                <c:pt idx="2429">
                  <c:v>18.21</c:v>
                </c:pt>
                <c:pt idx="2430">
                  <c:v>20.7</c:v>
                </c:pt>
                <c:pt idx="2431">
                  <c:v>19.34</c:v>
                </c:pt>
                <c:pt idx="2432">
                  <c:v>20.59</c:v>
                </c:pt>
                <c:pt idx="2433">
                  <c:v>24.99</c:v>
                </c:pt>
                <c:pt idx="2434">
                  <c:v>27.01</c:v>
                </c:pt>
                <c:pt idx="2435">
                  <c:v>24.3</c:v>
                </c:pt>
                <c:pt idx="2436">
                  <c:v>22.47</c:v>
                </c:pt>
                <c:pt idx="2437">
                  <c:v>25.22</c:v>
                </c:pt>
                <c:pt idx="2438">
                  <c:v>23.95</c:v>
                </c:pt>
                <c:pt idx="2439">
                  <c:v>27.02</c:v>
                </c:pt>
                <c:pt idx="2440">
                  <c:v>26.05</c:v>
                </c:pt>
                <c:pt idx="2441">
                  <c:v>27.59</c:v>
                </c:pt>
                <c:pt idx="2442">
                  <c:v>26.69</c:v>
                </c:pt>
                <c:pt idx="2443">
                  <c:v>22.34</c:v>
                </c:pt>
                <c:pt idx="2444">
                  <c:v>24.15</c:v>
                </c:pt>
                <c:pt idx="2445">
                  <c:v>22.5</c:v>
                </c:pt>
                <c:pt idx="2446">
                  <c:v>23.11</c:v>
                </c:pt>
                <c:pt idx="2447">
                  <c:v>22.42</c:v>
                </c:pt>
                <c:pt idx="2448">
                  <c:v>20.2</c:v>
                </c:pt>
                <c:pt idx="2449">
                  <c:v>19.98</c:v>
                </c:pt>
                <c:pt idx="2450">
                  <c:v>21.98</c:v>
                </c:pt>
                <c:pt idx="2451">
                  <c:v>21.65</c:v>
                </c:pt>
                <c:pt idx="2452">
                  <c:v>21.84</c:v>
                </c:pt>
                <c:pt idx="2453">
                  <c:v>23.38</c:v>
                </c:pt>
                <c:pt idx="2454">
                  <c:v>26</c:v>
                </c:pt>
                <c:pt idx="2455">
                  <c:v>26.54</c:v>
                </c:pt>
                <c:pt idx="2456">
                  <c:v>26.29</c:v>
                </c:pt>
                <c:pt idx="2457">
                  <c:v>28.14</c:v>
                </c:pt>
                <c:pt idx="2458">
                  <c:v>25.4</c:v>
                </c:pt>
                <c:pt idx="2459">
                  <c:v>24.11</c:v>
                </c:pt>
                <c:pt idx="2460">
                  <c:v>22.31</c:v>
                </c:pt>
                <c:pt idx="2461">
                  <c:v>21.64</c:v>
                </c:pt>
                <c:pt idx="2462">
                  <c:v>20.53</c:v>
                </c:pt>
                <c:pt idx="2463">
                  <c:v>19.38</c:v>
                </c:pt>
                <c:pt idx="2464">
                  <c:v>20.98</c:v>
                </c:pt>
                <c:pt idx="2465">
                  <c:v>20.72</c:v>
                </c:pt>
                <c:pt idx="2466">
                  <c:v>19.11</c:v>
                </c:pt>
                <c:pt idx="2467">
                  <c:v>19.809999999999999</c:v>
                </c:pt>
                <c:pt idx="2468">
                  <c:v>20.55</c:v>
                </c:pt>
                <c:pt idx="2469">
                  <c:v>17.7</c:v>
                </c:pt>
                <c:pt idx="2470">
                  <c:v>17.09</c:v>
                </c:pt>
                <c:pt idx="2471">
                  <c:v>16.7</c:v>
                </c:pt>
                <c:pt idx="2472">
                  <c:v>16.86</c:v>
                </c:pt>
                <c:pt idx="2473">
                  <c:v>17.350000000000001</c:v>
                </c:pt>
                <c:pt idx="2474">
                  <c:v>18.670000000000002</c:v>
                </c:pt>
                <c:pt idx="2475">
                  <c:v>18.34</c:v>
                </c:pt>
                <c:pt idx="2476">
                  <c:v>18.05</c:v>
                </c:pt>
                <c:pt idx="2477">
                  <c:v>16.5</c:v>
                </c:pt>
                <c:pt idx="2478">
                  <c:v>16.920000000000002</c:v>
                </c:pt>
                <c:pt idx="2479">
                  <c:v>16.84</c:v>
                </c:pt>
                <c:pt idx="2480">
                  <c:v>14.99</c:v>
                </c:pt>
                <c:pt idx="2481">
                  <c:v>14.44</c:v>
                </c:pt>
                <c:pt idx="2482">
                  <c:v>14.02</c:v>
                </c:pt>
                <c:pt idx="2483">
                  <c:v>13.79</c:v>
                </c:pt>
                <c:pt idx="2484">
                  <c:v>14.17</c:v>
                </c:pt>
                <c:pt idx="2485">
                  <c:v>14.94</c:v>
                </c:pt>
                <c:pt idx="2486">
                  <c:v>14.74</c:v>
                </c:pt>
                <c:pt idx="2487">
                  <c:v>15.24</c:v>
                </c:pt>
                <c:pt idx="2488">
                  <c:v>13.82</c:v>
                </c:pt>
                <c:pt idx="2489">
                  <c:v>13.56</c:v>
                </c:pt>
                <c:pt idx="2490">
                  <c:v>13.95</c:v>
                </c:pt>
                <c:pt idx="2491">
                  <c:v>13.1</c:v>
                </c:pt>
                <c:pt idx="2492">
                  <c:v>14.12</c:v>
                </c:pt>
                <c:pt idx="2493">
                  <c:v>15.42</c:v>
                </c:pt>
                <c:pt idx="2494">
                  <c:v>14.09</c:v>
                </c:pt>
                <c:pt idx="2495">
                  <c:v>16.16</c:v>
                </c:pt>
                <c:pt idx="2496">
                  <c:v>15.36</c:v>
                </c:pt>
                <c:pt idx="2497">
                  <c:v>16.260000000000002</c:v>
                </c:pt>
                <c:pt idx="2498">
                  <c:v>14.85</c:v>
                </c:pt>
                <c:pt idx="2499">
                  <c:v>13.84</c:v>
                </c:pt>
                <c:pt idx="2500">
                  <c:v>13.72</c:v>
                </c:pt>
                <c:pt idx="2501">
                  <c:v>13.62</c:v>
                </c:pt>
                <c:pt idx="2502">
                  <c:v>13.35</c:v>
                </c:pt>
                <c:pt idx="2503">
                  <c:v>13.24</c:v>
                </c:pt>
                <c:pt idx="2504">
                  <c:v>13.28</c:v>
                </c:pt>
                <c:pt idx="2505">
                  <c:v>13.95</c:v>
                </c:pt>
                <c:pt idx="2506">
                  <c:v>13.22</c:v>
                </c:pt>
                <c:pt idx="2507">
                  <c:v>14.08</c:v>
                </c:pt>
                <c:pt idx="2508">
                  <c:v>13.96</c:v>
                </c:pt>
                <c:pt idx="2509">
                  <c:v>13.77</c:v>
                </c:pt>
                <c:pt idx="2510">
                  <c:v>15.22</c:v>
                </c:pt>
                <c:pt idx="2511">
                  <c:v>15.7</c:v>
                </c:pt>
                <c:pt idx="2512">
                  <c:v>14.68</c:v>
                </c:pt>
                <c:pt idx="2513">
                  <c:v>15.6</c:v>
                </c:pt>
                <c:pt idx="2514">
                  <c:v>16.05</c:v>
                </c:pt>
                <c:pt idx="2515">
                  <c:v>15.91</c:v>
                </c:pt>
                <c:pt idx="2516">
                  <c:v>14.72</c:v>
                </c:pt>
                <c:pt idx="2517">
                  <c:v>14.57</c:v>
                </c:pt>
              </c:numCache>
            </c:numRef>
          </c:val>
          <c:smooth val="0"/>
          <c:extLst xmlns:c16r2="http://schemas.microsoft.com/office/drawing/2015/06/chart">
            <c:ext xmlns:c16="http://schemas.microsoft.com/office/drawing/2014/chart" uri="{C3380CC4-5D6E-409C-BE32-E72D297353CC}">
              <c16:uniqueId val="{00000000-7BC1-4D59-9949-7BF3AE7A745F}"/>
            </c:ext>
          </c:extLst>
        </c:ser>
        <c:ser>
          <c:idx val="1"/>
          <c:order val="1"/>
          <c:tx>
            <c:strRef>
              <c:f>Sheet1!$AC$4</c:f>
              <c:strCache>
                <c:ptCount val="1"/>
                <c:pt idx="0">
                  <c:v>10Y Historical Average</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C$5:$AC$2522</c:f>
              <c:numCache>
                <c:formatCode>General</c:formatCode>
                <c:ptCount val="2518"/>
                <c:pt idx="0">
                  <c:v>20.655131056393973</c:v>
                </c:pt>
                <c:pt idx="1">
                  <c:v>20.655131056393973</c:v>
                </c:pt>
                <c:pt idx="2">
                  <c:v>20.655131056393973</c:v>
                </c:pt>
                <c:pt idx="3">
                  <c:v>20.655131056393973</c:v>
                </c:pt>
                <c:pt idx="4">
                  <c:v>20.655131056393973</c:v>
                </c:pt>
                <c:pt idx="5">
                  <c:v>20.655131056393973</c:v>
                </c:pt>
                <c:pt idx="6">
                  <c:v>20.655131056393973</c:v>
                </c:pt>
                <c:pt idx="7">
                  <c:v>20.655131056393973</c:v>
                </c:pt>
                <c:pt idx="8">
                  <c:v>20.655131056393973</c:v>
                </c:pt>
                <c:pt idx="9">
                  <c:v>20.655131056393973</c:v>
                </c:pt>
                <c:pt idx="10">
                  <c:v>20.655131056393973</c:v>
                </c:pt>
                <c:pt idx="11">
                  <c:v>20.655131056393973</c:v>
                </c:pt>
                <c:pt idx="12">
                  <c:v>20.655131056393973</c:v>
                </c:pt>
                <c:pt idx="13">
                  <c:v>20.655131056393973</c:v>
                </c:pt>
                <c:pt idx="14">
                  <c:v>20.655131056393973</c:v>
                </c:pt>
                <c:pt idx="15">
                  <c:v>20.655131056393973</c:v>
                </c:pt>
                <c:pt idx="16">
                  <c:v>20.655131056393973</c:v>
                </c:pt>
                <c:pt idx="17">
                  <c:v>20.655131056393973</c:v>
                </c:pt>
                <c:pt idx="18">
                  <c:v>20.655131056393973</c:v>
                </c:pt>
                <c:pt idx="19">
                  <c:v>20.655131056393973</c:v>
                </c:pt>
                <c:pt idx="20">
                  <c:v>20.655131056393973</c:v>
                </c:pt>
                <c:pt idx="21">
                  <c:v>20.655131056393973</c:v>
                </c:pt>
                <c:pt idx="22">
                  <c:v>20.655131056393973</c:v>
                </c:pt>
                <c:pt idx="23">
                  <c:v>20.655131056393973</c:v>
                </c:pt>
                <c:pt idx="24">
                  <c:v>20.655131056393973</c:v>
                </c:pt>
                <c:pt idx="25">
                  <c:v>20.655131056393973</c:v>
                </c:pt>
                <c:pt idx="26">
                  <c:v>20.655131056393973</c:v>
                </c:pt>
                <c:pt idx="27">
                  <c:v>20.655131056393973</c:v>
                </c:pt>
                <c:pt idx="28">
                  <c:v>20.655131056393973</c:v>
                </c:pt>
                <c:pt idx="29">
                  <c:v>20.655131056393973</c:v>
                </c:pt>
                <c:pt idx="30">
                  <c:v>20.655131056393973</c:v>
                </c:pt>
                <c:pt idx="31">
                  <c:v>20.655131056393973</c:v>
                </c:pt>
                <c:pt idx="32">
                  <c:v>20.655131056393973</c:v>
                </c:pt>
                <c:pt idx="33">
                  <c:v>20.655131056393973</c:v>
                </c:pt>
                <c:pt idx="34">
                  <c:v>20.655131056393973</c:v>
                </c:pt>
                <c:pt idx="35">
                  <c:v>20.655131056393973</c:v>
                </c:pt>
                <c:pt idx="36">
                  <c:v>20.655131056393973</c:v>
                </c:pt>
                <c:pt idx="37">
                  <c:v>20.655131056393973</c:v>
                </c:pt>
                <c:pt idx="38">
                  <c:v>20.655131056393973</c:v>
                </c:pt>
                <c:pt idx="39">
                  <c:v>20.655131056393973</c:v>
                </c:pt>
                <c:pt idx="40">
                  <c:v>20.655131056393973</c:v>
                </c:pt>
                <c:pt idx="41">
                  <c:v>20.655131056393973</c:v>
                </c:pt>
                <c:pt idx="42">
                  <c:v>20.655131056393973</c:v>
                </c:pt>
                <c:pt idx="43">
                  <c:v>20.655131056393973</c:v>
                </c:pt>
                <c:pt idx="44">
                  <c:v>20.655131056393973</c:v>
                </c:pt>
                <c:pt idx="45">
                  <c:v>20.655131056393973</c:v>
                </c:pt>
                <c:pt idx="46">
                  <c:v>20.655131056393973</c:v>
                </c:pt>
                <c:pt idx="47">
                  <c:v>20.655131056393973</c:v>
                </c:pt>
                <c:pt idx="48">
                  <c:v>20.655131056393973</c:v>
                </c:pt>
                <c:pt idx="49">
                  <c:v>20.655131056393973</c:v>
                </c:pt>
                <c:pt idx="50">
                  <c:v>20.655131056393973</c:v>
                </c:pt>
                <c:pt idx="51">
                  <c:v>20.655131056393973</c:v>
                </c:pt>
                <c:pt idx="52">
                  <c:v>20.655131056393973</c:v>
                </c:pt>
                <c:pt idx="53">
                  <c:v>20.655131056393973</c:v>
                </c:pt>
                <c:pt idx="54">
                  <c:v>20.655131056393973</c:v>
                </c:pt>
                <c:pt idx="55">
                  <c:v>20.655131056393973</c:v>
                </c:pt>
                <c:pt idx="56">
                  <c:v>20.655131056393973</c:v>
                </c:pt>
                <c:pt idx="57">
                  <c:v>20.655131056393973</c:v>
                </c:pt>
                <c:pt idx="58">
                  <c:v>20.655131056393973</c:v>
                </c:pt>
                <c:pt idx="59">
                  <c:v>20.655131056393973</c:v>
                </c:pt>
                <c:pt idx="60">
                  <c:v>20.655131056393973</c:v>
                </c:pt>
                <c:pt idx="61">
                  <c:v>20.655131056393973</c:v>
                </c:pt>
                <c:pt idx="62">
                  <c:v>20.655131056393973</c:v>
                </c:pt>
                <c:pt idx="63">
                  <c:v>20.655131056393973</c:v>
                </c:pt>
                <c:pt idx="64">
                  <c:v>20.655131056393973</c:v>
                </c:pt>
                <c:pt idx="65">
                  <c:v>20.655131056393973</c:v>
                </c:pt>
                <c:pt idx="66">
                  <c:v>20.655131056393973</c:v>
                </c:pt>
                <c:pt idx="67">
                  <c:v>20.655131056393973</c:v>
                </c:pt>
                <c:pt idx="68">
                  <c:v>20.655131056393973</c:v>
                </c:pt>
                <c:pt idx="69">
                  <c:v>20.655131056393973</c:v>
                </c:pt>
                <c:pt idx="70">
                  <c:v>20.655131056393973</c:v>
                </c:pt>
                <c:pt idx="71">
                  <c:v>20.655131056393973</c:v>
                </c:pt>
                <c:pt idx="72">
                  <c:v>20.655131056393973</c:v>
                </c:pt>
                <c:pt idx="73">
                  <c:v>20.655131056393973</c:v>
                </c:pt>
                <c:pt idx="74">
                  <c:v>20.655131056393973</c:v>
                </c:pt>
                <c:pt idx="75">
                  <c:v>20.655131056393973</c:v>
                </c:pt>
                <c:pt idx="76">
                  <c:v>20.655131056393973</c:v>
                </c:pt>
                <c:pt idx="77">
                  <c:v>20.655131056393973</c:v>
                </c:pt>
                <c:pt idx="78">
                  <c:v>20.655131056393973</c:v>
                </c:pt>
                <c:pt idx="79">
                  <c:v>20.655131056393973</c:v>
                </c:pt>
                <c:pt idx="80">
                  <c:v>20.655131056393973</c:v>
                </c:pt>
                <c:pt idx="81">
                  <c:v>20.655131056393973</c:v>
                </c:pt>
                <c:pt idx="82">
                  <c:v>20.655131056393973</c:v>
                </c:pt>
                <c:pt idx="83">
                  <c:v>20.655131056393973</c:v>
                </c:pt>
                <c:pt idx="84">
                  <c:v>20.655131056393973</c:v>
                </c:pt>
                <c:pt idx="85">
                  <c:v>20.655131056393973</c:v>
                </c:pt>
                <c:pt idx="86">
                  <c:v>20.655131056393973</c:v>
                </c:pt>
                <c:pt idx="87">
                  <c:v>20.655131056393973</c:v>
                </c:pt>
                <c:pt idx="88">
                  <c:v>20.655131056393973</c:v>
                </c:pt>
                <c:pt idx="89">
                  <c:v>20.655131056393973</c:v>
                </c:pt>
                <c:pt idx="90">
                  <c:v>20.655131056393973</c:v>
                </c:pt>
                <c:pt idx="91">
                  <c:v>20.655131056393973</c:v>
                </c:pt>
                <c:pt idx="92">
                  <c:v>20.655131056393973</c:v>
                </c:pt>
                <c:pt idx="93">
                  <c:v>20.655131056393973</c:v>
                </c:pt>
                <c:pt idx="94">
                  <c:v>20.655131056393973</c:v>
                </c:pt>
                <c:pt idx="95">
                  <c:v>20.655131056393973</c:v>
                </c:pt>
                <c:pt idx="96">
                  <c:v>20.655131056393973</c:v>
                </c:pt>
                <c:pt idx="97">
                  <c:v>20.655131056393973</c:v>
                </c:pt>
                <c:pt idx="98">
                  <c:v>20.655131056393973</c:v>
                </c:pt>
                <c:pt idx="99">
                  <c:v>20.655131056393973</c:v>
                </c:pt>
                <c:pt idx="100">
                  <c:v>20.655131056393973</c:v>
                </c:pt>
                <c:pt idx="101">
                  <c:v>20.655131056393973</c:v>
                </c:pt>
                <c:pt idx="102">
                  <c:v>20.655131056393973</c:v>
                </c:pt>
                <c:pt idx="103">
                  <c:v>20.655131056393973</c:v>
                </c:pt>
                <c:pt idx="104">
                  <c:v>20.655131056393973</c:v>
                </c:pt>
                <c:pt idx="105">
                  <c:v>20.655131056393973</c:v>
                </c:pt>
                <c:pt idx="106">
                  <c:v>20.655131056393973</c:v>
                </c:pt>
                <c:pt idx="107">
                  <c:v>20.655131056393973</c:v>
                </c:pt>
                <c:pt idx="108">
                  <c:v>20.655131056393973</c:v>
                </c:pt>
                <c:pt idx="109">
                  <c:v>20.655131056393973</c:v>
                </c:pt>
                <c:pt idx="110">
                  <c:v>20.655131056393973</c:v>
                </c:pt>
                <c:pt idx="111">
                  <c:v>20.655131056393973</c:v>
                </c:pt>
                <c:pt idx="112">
                  <c:v>20.655131056393973</c:v>
                </c:pt>
                <c:pt idx="113">
                  <c:v>20.655131056393973</c:v>
                </c:pt>
                <c:pt idx="114">
                  <c:v>20.655131056393973</c:v>
                </c:pt>
                <c:pt idx="115">
                  <c:v>20.655131056393973</c:v>
                </c:pt>
                <c:pt idx="116">
                  <c:v>20.655131056393973</c:v>
                </c:pt>
                <c:pt idx="117">
                  <c:v>20.655131056393973</c:v>
                </c:pt>
                <c:pt idx="118">
                  <c:v>20.655131056393973</c:v>
                </c:pt>
                <c:pt idx="119">
                  <c:v>20.655131056393973</c:v>
                </c:pt>
                <c:pt idx="120">
                  <c:v>20.655131056393973</c:v>
                </c:pt>
                <c:pt idx="121">
                  <c:v>20.655131056393973</c:v>
                </c:pt>
                <c:pt idx="122">
                  <c:v>20.655131056393973</c:v>
                </c:pt>
                <c:pt idx="123">
                  <c:v>20.655131056393973</c:v>
                </c:pt>
                <c:pt idx="124">
                  <c:v>20.655131056393973</c:v>
                </c:pt>
                <c:pt idx="125">
                  <c:v>20.655131056393973</c:v>
                </c:pt>
                <c:pt idx="126">
                  <c:v>20.655131056393973</c:v>
                </c:pt>
                <c:pt idx="127">
                  <c:v>20.655131056393973</c:v>
                </c:pt>
                <c:pt idx="128">
                  <c:v>20.655131056393973</c:v>
                </c:pt>
                <c:pt idx="129">
                  <c:v>20.655131056393973</c:v>
                </c:pt>
                <c:pt idx="130">
                  <c:v>20.655131056393973</c:v>
                </c:pt>
                <c:pt idx="131">
                  <c:v>20.655131056393973</c:v>
                </c:pt>
                <c:pt idx="132">
                  <c:v>20.655131056393973</c:v>
                </c:pt>
                <c:pt idx="133">
                  <c:v>20.655131056393973</c:v>
                </c:pt>
                <c:pt idx="134">
                  <c:v>20.655131056393973</c:v>
                </c:pt>
                <c:pt idx="135">
                  <c:v>20.655131056393973</c:v>
                </c:pt>
                <c:pt idx="136">
                  <c:v>20.655131056393973</c:v>
                </c:pt>
                <c:pt idx="137">
                  <c:v>20.655131056393973</c:v>
                </c:pt>
                <c:pt idx="138">
                  <c:v>20.655131056393973</c:v>
                </c:pt>
                <c:pt idx="139">
                  <c:v>20.655131056393973</c:v>
                </c:pt>
                <c:pt idx="140">
                  <c:v>20.655131056393973</c:v>
                </c:pt>
                <c:pt idx="141">
                  <c:v>20.655131056393973</c:v>
                </c:pt>
                <c:pt idx="142">
                  <c:v>20.655131056393973</c:v>
                </c:pt>
                <c:pt idx="143">
                  <c:v>20.655131056393973</c:v>
                </c:pt>
                <c:pt idx="144">
                  <c:v>20.655131056393973</c:v>
                </c:pt>
                <c:pt idx="145">
                  <c:v>20.655131056393973</c:v>
                </c:pt>
                <c:pt idx="146">
                  <c:v>20.655131056393973</c:v>
                </c:pt>
                <c:pt idx="147">
                  <c:v>20.655131056393973</c:v>
                </c:pt>
                <c:pt idx="148">
                  <c:v>20.655131056393973</c:v>
                </c:pt>
                <c:pt idx="149">
                  <c:v>20.655131056393973</c:v>
                </c:pt>
                <c:pt idx="150">
                  <c:v>20.655131056393973</c:v>
                </c:pt>
                <c:pt idx="151">
                  <c:v>20.655131056393973</c:v>
                </c:pt>
                <c:pt idx="152">
                  <c:v>20.655131056393973</c:v>
                </c:pt>
                <c:pt idx="153">
                  <c:v>20.655131056393973</c:v>
                </c:pt>
                <c:pt idx="154">
                  <c:v>20.655131056393973</c:v>
                </c:pt>
                <c:pt idx="155">
                  <c:v>20.655131056393973</c:v>
                </c:pt>
                <c:pt idx="156">
                  <c:v>20.655131056393973</c:v>
                </c:pt>
                <c:pt idx="157">
                  <c:v>20.655131056393973</c:v>
                </c:pt>
                <c:pt idx="158">
                  <c:v>20.655131056393973</c:v>
                </c:pt>
                <c:pt idx="159">
                  <c:v>20.655131056393973</c:v>
                </c:pt>
                <c:pt idx="160">
                  <c:v>20.655131056393973</c:v>
                </c:pt>
                <c:pt idx="161">
                  <c:v>20.655131056393973</c:v>
                </c:pt>
                <c:pt idx="162">
                  <c:v>20.655131056393973</c:v>
                </c:pt>
                <c:pt idx="163">
                  <c:v>20.655131056393973</c:v>
                </c:pt>
                <c:pt idx="164">
                  <c:v>20.655131056393973</c:v>
                </c:pt>
                <c:pt idx="165">
                  <c:v>20.655131056393973</c:v>
                </c:pt>
                <c:pt idx="166">
                  <c:v>20.655131056393973</c:v>
                </c:pt>
                <c:pt idx="167">
                  <c:v>20.655131056393973</c:v>
                </c:pt>
                <c:pt idx="168">
                  <c:v>20.655131056393973</c:v>
                </c:pt>
                <c:pt idx="169">
                  <c:v>20.655131056393973</c:v>
                </c:pt>
                <c:pt idx="170">
                  <c:v>20.655131056393973</c:v>
                </c:pt>
                <c:pt idx="171">
                  <c:v>20.655131056393973</c:v>
                </c:pt>
                <c:pt idx="172">
                  <c:v>20.655131056393973</c:v>
                </c:pt>
                <c:pt idx="173">
                  <c:v>20.655131056393973</c:v>
                </c:pt>
                <c:pt idx="174">
                  <c:v>20.655131056393973</c:v>
                </c:pt>
                <c:pt idx="175">
                  <c:v>20.655131056393973</c:v>
                </c:pt>
                <c:pt idx="176">
                  <c:v>20.655131056393973</c:v>
                </c:pt>
                <c:pt idx="177">
                  <c:v>20.655131056393973</c:v>
                </c:pt>
                <c:pt idx="178">
                  <c:v>20.655131056393973</c:v>
                </c:pt>
                <c:pt idx="179">
                  <c:v>20.655131056393973</c:v>
                </c:pt>
                <c:pt idx="180">
                  <c:v>20.655131056393973</c:v>
                </c:pt>
                <c:pt idx="181">
                  <c:v>20.655131056393973</c:v>
                </c:pt>
                <c:pt idx="182">
                  <c:v>20.655131056393973</c:v>
                </c:pt>
                <c:pt idx="183">
                  <c:v>20.655131056393973</c:v>
                </c:pt>
                <c:pt idx="184">
                  <c:v>20.655131056393973</c:v>
                </c:pt>
                <c:pt idx="185">
                  <c:v>20.655131056393973</c:v>
                </c:pt>
                <c:pt idx="186">
                  <c:v>20.655131056393973</c:v>
                </c:pt>
                <c:pt idx="187">
                  <c:v>20.655131056393973</c:v>
                </c:pt>
                <c:pt idx="188">
                  <c:v>20.655131056393973</c:v>
                </c:pt>
                <c:pt idx="189">
                  <c:v>20.655131056393973</c:v>
                </c:pt>
                <c:pt idx="190">
                  <c:v>20.655131056393973</c:v>
                </c:pt>
                <c:pt idx="191">
                  <c:v>20.655131056393973</c:v>
                </c:pt>
                <c:pt idx="192">
                  <c:v>20.655131056393973</c:v>
                </c:pt>
                <c:pt idx="193">
                  <c:v>20.655131056393973</c:v>
                </c:pt>
                <c:pt idx="194">
                  <c:v>20.655131056393973</c:v>
                </c:pt>
                <c:pt idx="195">
                  <c:v>20.655131056393973</c:v>
                </c:pt>
                <c:pt idx="196">
                  <c:v>20.655131056393973</c:v>
                </c:pt>
                <c:pt idx="197">
                  <c:v>20.655131056393973</c:v>
                </c:pt>
                <c:pt idx="198">
                  <c:v>20.655131056393973</c:v>
                </c:pt>
                <c:pt idx="199">
                  <c:v>20.655131056393973</c:v>
                </c:pt>
                <c:pt idx="200">
                  <c:v>20.655131056393973</c:v>
                </c:pt>
                <c:pt idx="201">
                  <c:v>20.655131056393973</c:v>
                </c:pt>
                <c:pt idx="202">
                  <c:v>20.655131056393973</c:v>
                </c:pt>
                <c:pt idx="203">
                  <c:v>20.655131056393973</c:v>
                </c:pt>
                <c:pt idx="204">
                  <c:v>20.655131056393973</c:v>
                </c:pt>
                <c:pt idx="205">
                  <c:v>20.655131056393973</c:v>
                </c:pt>
                <c:pt idx="206">
                  <c:v>20.655131056393973</c:v>
                </c:pt>
                <c:pt idx="207">
                  <c:v>20.655131056393973</c:v>
                </c:pt>
                <c:pt idx="208">
                  <c:v>20.655131056393973</c:v>
                </c:pt>
                <c:pt idx="209">
                  <c:v>20.655131056393973</c:v>
                </c:pt>
                <c:pt idx="210">
                  <c:v>20.655131056393973</c:v>
                </c:pt>
                <c:pt idx="211">
                  <c:v>20.655131056393973</c:v>
                </c:pt>
                <c:pt idx="212">
                  <c:v>20.655131056393973</c:v>
                </c:pt>
                <c:pt idx="213">
                  <c:v>20.655131056393973</c:v>
                </c:pt>
                <c:pt idx="214">
                  <c:v>20.655131056393973</c:v>
                </c:pt>
                <c:pt idx="215">
                  <c:v>20.655131056393973</c:v>
                </c:pt>
                <c:pt idx="216">
                  <c:v>20.655131056393973</c:v>
                </c:pt>
                <c:pt idx="217">
                  <c:v>20.655131056393973</c:v>
                </c:pt>
                <c:pt idx="218">
                  <c:v>20.655131056393973</c:v>
                </c:pt>
                <c:pt idx="219">
                  <c:v>20.655131056393973</c:v>
                </c:pt>
                <c:pt idx="220">
                  <c:v>20.655131056393973</c:v>
                </c:pt>
                <c:pt idx="221">
                  <c:v>20.655131056393973</c:v>
                </c:pt>
                <c:pt idx="222">
                  <c:v>20.655131056393973</c:v>
                </c:pt>
                <c:pt idx="223">
                  <c:v>20.655131056393973</c:v>
                </c:pt>
                <c:pt idx="224">
                  <c:v>20.655131056393973</c:v>
                </c:pt>
                <c:pt idx="225">
                  <c:v>20.655131056393973</c:v>
                </c:pt>
                <c:pt idx="226">
                  <c:v>20.655131056393973</c:v>
                </c:pt>
                <c:pt idx="227">
                  <c:v>20.655131056393973</c:v>
                </c:pt>
                <c:pt idx="228">
                  <c:v>20.655131056393973</c:v>
                </c:pt>
                <c:pt idx="229">
                  <c:v>20.655131056393973</c:v>
                </c:pt>
                <c:pt idx="230">
                  <c:v>20.655131056393973</c:v>
                </c:pt>
                <c:pt idx="231">
                  <c:v>20.655131056393973</c:v>
                </c:pt>
                <c:pt idx="232">
                  <c:v>20.655131056393973</c:v>
                </c:pt>
                <c:pt idx="233">
                  <c:v>20.655131056393973</c:v>
                </c:pt>
                <c:pt idx="234">
                  <c:v>20.655131056393973</c:v>
                </c:pt>
                <c:pt idx="235">
                  <c:v>20.655131056393973</c:v>
                </c:pt>
                <c:pt idx="236">
                  <c:v>20.655131056393973</c:v>
                </c:pt>
                <c:pt idx="237">
                  <c:v>20.655131056393973</c:v>
                </c:pt>
                <c:pt idx="238">
                  <c:v>20.655131056393973</c:v>
                </c:pt>
                <c:pt idx="239">
                  <c:v>20.655131056393973</c:v>
                </c:pt>
                <c:pt idx="240">
                  <c:v>20.655131056393973</c:v>
                </c:pt>
                <c:pt idx="241">
                  <c:v>20.655131056393973</c:v>
                </c:pt>
                <c:pt idx="242">
                  <c:v>20.655131056393973</c:v>
                </c:pt>
                <c:pt idx="243">
                  <c:v>20.655131056393973</c:v>
                </c:pt>
                <c:pt idx="244">
                  <c:v>20.655131056393973</c:v>
                </c:pt>
                <c:pt idx="245">
                  <c:v>20.655131056393973</c:v>
                </c:pt>
                <c:pt idx="246">
                  <c:v>20.655131056393973</c:v>
                </c:pt>
                <c:pt idx="247">
                  <c:v>20.655131056393973</c:v>
                </c:pt>
                <c:pt idx="248">
                  <c:v>20.655131056393973</c:v>
                </c:pt>
                <c:pt idx="249">
                  <c:v>20.655131056393973</c:v>
                </c:pt>
                <c:pt idx="250">
                  <c:v>20.655131056393973</c:v>
                </c:pt>
                <c:pt idx="251">
                  <c:v>20.655131056393973</c:v>
                </c:pt>
                <c:pt idx="252">
                  <c:v>20.655131056393973</c:v>
                </c:pt>
                <c:pt idx="253">
                  <c:v>20.655131056393973</c:v>
                </c:pt>
                <c:pt idx="254">
                  <c:v>20.655131056393973</c:v>
                </c:pt>
                <c:pt idx="255">
                  <c:v>20.655131056393973</c:v>
                </c:pt>
                <c:pt idx="256">
                  <c:v>20.655131056393973</c:v>
                </c:pt>
                <c:pt idx="257">
                  <c:v>20.655131056393973</c:v>
                </c:pt>
                <c:pt idx="258">
                  <c:v>20.655131056393973</c:v>
                </c:pt>
                <c:pt idx="259">
                  <c:v>20.655131056393973</c:v>
                </c:pt>
                <c:pt idx="260">
                  <c:v>20.655131056393973</c:v>
                </c:pt>
                <c:pt idx="261">
                  <c:v>20.655131056393973</c:v>
                </c:pt>
                <c:pt idx="262">
                  <c:v>20.655131056393973</c:v>
                </c:pt>
                <c:pt idx="263">
                  <c:v>20.655131056393973</c:v>
                </c:pt>
                <c:pt idx="264">
                  <c:v>20.655131056393973</c:v>
                </c:pt>
                <c:pt idx="265">
                  <c:v>20.655131056393973</c:v>
                </c:pt>
                <c:pt idx="266">
                  <c:v>20.655131056393973</c:v>
                </c:pt>
                <c:pt idx="267">
                  <c:v>20.655131056393973</c:v>
                </c:pt>
                <c:pt idx="268">
                  <c:v>20.655131056393973</c:v>
                </c:pt>
                <c:pt idx="269">
                  <c:v>20.655131056393973</c:v>
                </c:pt>
                <c:pt idx="270">
                  <c:v>20.655131056393973</c:v>
                </c:pt>
                <c:pt idx="271">
                  <c:v>20.655131056393973</c:v>
                </c:pt>
                <c:pt idx="272">
                  <c:v>20.655131056393973</c:v>
                </c:pt>
                <c:pt idx="273">
                  <c:v>20.655131056393973</c:v>
                </c:pt>
                <c:pt idx="274">
                  <c:v>20.655131056393973</c:v>
                </c:pt>
                <c:pt idx="275">
                  <c:v>20.655131056393973</c:v>
                </c:pt>
                <c:pt idx="276">
                  <c:v>20.655131056393973</c:v>
                </c:pt>
                <c:pt idx="277">
                  <c:v>20.655131056393973</c:v>
                </c:pt>
                <c:pt idx="278">
                  <c:v>20.655131056393973</c:v>
                </c:pt>
                <c:pt idx="279">
                  <c:v>20.655131056393973</c:v>
                </c:pt>
                <c:pt idx="280">
                  <c:v>20.655131056393973</c:v>
                </c:pt>
                <c:pt idx="281">
                  <c:v>20.655131056393973</c:v>
                </c:pt>
                <c:pt idx="282">
                  <c:v>20.655131056393973</c:v>
                </c:pt>
                <c:pt idx="283">
                  <c:v>20.655131056393973</c:v>
                </c:pt>
                <c:pt idx="284">
                  <c:v>20.655131056393973</c:v>
                </c:pt>
                <c:pt idx="285">
                  <c:v>20.655131056393973</c:v>
                </c:pt>
                <c:pt idx="286">
                  <c:v>20.655131056393973</c:v>
                </c:pt>
                <c:pt idx="287">
                  <c:v>20.655131056393973</c:v>
                </c:pt>
                <c:pt idx="288">
                  <c:v>20.655131056393973</c:v>
                </c:pt>
                <c:pt idx="289">
                  <c:v>20.655131056393973</c:v>
                </c:pt>
                <c:pt idx="290">
                  <c:v>20.655131056393973</c:v>
                </c:pt>
                <c:pt idx="291">
                  <c:v>20.655131056393973</c:v>
                </c:pt>
                <c:pt idx="292">
                  <c:v>20.655131056393973</c:v>
                </c:pt>
                <c:pt idx="293">
                  <c:v>20.655131056393973</c:v>
                </c:pt>
                <c:pt idx="294">
                  <c:v>20.655131056393973</c:v>
                </c:pt>
                <c:pt idx="295">
                  <c:v>20.655131056393973</c:v>
                </c:pt>
                <c:pt idx="296">
                  <c:v>20.655131056393973</c:v>
                </c:pt>
                <c:pt idx="297">
                  <c:v>20.655131056393973</c:v>
                </c:pt>
                <c:pt idx="298">
                  <c:v>20.655131056393973</c:v>
                </c:pt>
                <c:pt idx="299">
                  <c:v>20.655131056393973</c:v>
                </c:pt>
                <c:pt idx="300">
                  <c:v>20.655131056393973</c:v>
                </c:pt>
                <c:pt idx="301">
                  <c:v>20.655131056393973</c:v>
                </c:pt>
                <c:pt idx="302">
                  <c:v>20.655131056393973</c:v>
                </c:pt>
                <c:pt idx="303">
                  <c:v>20.655131056393973</c:v>
                </c:pt>
                <c:pt idx="304">
                  <c:v>20.655131056393973</c:v>
                </c:pt>
                <c:pt idx="305">
                  <c:v>20.655131056393973</c:v>
                </c:pt>
                <c:pt idx="306">
                  <c:v>20.655131056393973</c:v>
                </c:pt>
                <c:pt idx="307">
                  <c:v>20.655131056393973</c:v>
                </c:pt>
                <c:pt idx="308">
                  <c:v>20.655131056393973</c:v>
                </c:pt>
                <c:pt idx="309">
                  <c:v>20.655131056393973</c:v>
                </c:pt>
                <c:pt idx="310">
                  <c:v>20.655131056393973</c:v>
                </c:pt>
                <c:pt idx="311">
                  <c:v>20.655131056393973</c:v>
                </c:pt>
                <c:pt idx="312">
                  <c:v>20.655131056393973</c:v>
                </c:pt>
                <c:pt idx="313">
                  <c:v>20.655131056393973</c:v>
                </c:pt>
                <c:pt idx="314">
                  <c:v>20.655131056393973</c:v>
                </c:pt>
                <c:pt idx="315">
                  <c:v>20.655131056393973</c:v>
                </c:pt>
                <c:pt idx="316">
                  <c:v>20.655131056393973</c:v>
                </c:pt>
                <c:pt idx="317">
                  <c:v>20.655131056393973</c:v>
                </c:pt>
                <c:pt idx="318">
                  <c:v>20.655131056393973</c:v>
                </c:pt>
                <c:pt idx="319">
                  <c:v>20.655131056393973</c:v>
                </c:pt>
                <c:pt idx="320">
                  <c:v>20.655131056393973</c:v>
                </c:pt>
                <c:pt idx="321">
                  <c:v>20.655131056393973</c:v>
                </c:pt>
                <c:pt idx="322">
                  <c:v>20.655131056393973</c:v>
                </c:pt>
                <c:pt idx="323">
                  <c:v>20.655131056393973</c:v>
                </c:pt>
                <c:pt idx="324">
                  <c:v>20.655131056393973</c:v>
                </c:pt>
                <c:pt idx="325">
                  <c:v>20.655131056393973</c:v>
                </c:pt>
                <c:pt idx="326">
                  <c:v>20.655131056393973</c:v>
                </c:pt>
                <c:pt idx="327">
                  <c:v>20.655131056393973</c:v>
                </c:pt>
                <c:pt idx="328">
                  <c:v>20.655131056393973</c:v>
                </c:pt>
                <c:pt idx="329">
                  <c:v>20.655131056393973</c:v>
                </c:pt>
                <c:pt idx="330">
                  <c:v>20.655131056393973</c:v>
                </c:pt>
                <c:pt idx="331">
                  <c:v>20.655131056393973</c:v>
                </c:pt>
                <c:pt idx="332">
                  <c:v>20.655131056393973</c:v>
                </c:pt>
                <c:pt idx="333">
                  <c:v>20.655131056393973</c:v>
                </c:pt>
                <c:pt idx="334">
                  <c:v>20.655131056393973</c:v>
                </c:pt>
                <c:pt idx="335">
                  <c:v>20.655131056393973</c:v>
                </c:pt>
                <c:pt idx="336">
                  <c:v>20.655131056393973</c:v>
                </c:pt>
                <c:pt idx="337">
                  <c:v>20.655131056393973</c:v>
                </c:pt>
                <c:pt idx="338">
                  <c:v>20.655131056393973</c:v>
                </c:pt>
                <c:pt idx="339">
                  <c:v>20.655131056393973</c:v>
                </c:pt>
                <c:pt idx="340">
                  <c:v>20.655131056393973</c:v>
                </c:pt>
                <c:pt idx="341">
                  <c:v>20.655131056393973</c:v>
                </c:pt>
                <c:pt idx="342">
                  <c:v>20.655131056393973</c:v>
                </c:pt>
                <c:pt idx="343">
                  <c:v>20.655131056393973</c:v>
                </c:pt>
                <c:pt idx="344">
                  <c:v>20.655131056393973</c:v>
                </c:pt>
                <c:pt idx="345">
                  <c:v>20.655131056393973</c:v>
                </c:pt>
                <c:pt idx="346">
                  <c:v>20.655131056393973</c:v>
                </c:pt>
                <c:pt idx="347">
                  <c:v>20.655131056393973</c:v>
                </c:pt>
                <c:pt idx="348">
                  <c:v>20.655131056393973</c:v>
                </c:pt>
                <c:pt idx="349">
                  <c:v>20.655131056393973</c:v>
                </c:pt>
                <c:pt idx="350">
                  <c:v>20.655131056393973</c:v>
                </c:pt>
                <c:pt idx="351">
                  <c:v>20.655131056393973</c:v>
                </c:pt>
                <c:pt idx="352">
                  <c:v>20.655131056393973</c:v>
                </c:pt>
                <c:pt idx="353">
                  <c:v>20.655131056393973</c:v>
                </c:pt>
                <c:pt idx="354">
                  <c:v>20.655131056393973</c:v>
                </c:pt>
                <c:pt idx="355">
                  <c:v>20.655131056393973</c:v>
                </c:pt>
                <c:pt idx="356">
                  <c:v>20.655131056393973</c:v>
                </c:pt>
                <c:pt idx="357">
                  <c:v>20.655131056393973</c:v>
                </c:pt>
                <c:pt idx="358">
                  <c:v>20.655131056393973</c:v>
                </c:pt>
                <c:pt idx="359">
                  <c:v>20.655131056393973</c:v>
                </c:pt>
                <c:pt idx="360">
                  <c:v>20.655131056393973</c:v>
                </c:pt>
                <c:pt idx="361">
                  <c:v>20.655131056393973</c:v>
                </c:pt>
                <c:pt idx="362">
                  <c:v>20.655131056393973</c:v>
                </c:pt>
                <c:pt idx="363">
                  <c:v>20.655131056393973</c:v>
                </c:pt>
                <c:pt idx="364">
                  <c:v>20.655131056393973</c:v>
                </c:pt>
                <c:pt idx="365">
                  <c:v>20.655131056393973</c:v>
                </c:pt>
                <c:pt idx="366">
                  <c:v>20.655131056393973</c:v>
                </c:pt>
                <c:pt idx="367">
                  <c:v>20.655131056393973</c:v>
                </c:pt>
                <c:pt idx="368">
                  <c:v>20.655131056393973</c:v>
                </c:pt>
                <c:pt idx="369">
                  <c:v>20.655131056393973</c:v>
                </c:pt>
                <c:pt idx="370">
                  <c:v>20.655131056393973</c:v>
                </c:pt>
                <c:pt idx="371">
                  <c:v>20.655131056393973</c:v>
                </c:pt>
                <c:pt idx="372">
                  <c:v>20.655131056393973</c:v>
                </c:pt>
                <c:pt idx="373">
                  <c:v>20.655131056393973</c:v>
                </c:pt>
                <c:pt idx="374">
                  <c:v>20.655131056393973</c:v>
                </c:pt>
                <c:pt idx="375">
                  <c:v>20.655131056393973</c:v>
                </c:pt>
                <c:pt idx="376">
                  <c:v>20.655131056393973</c:v>
                </c:pt>
                <c:pt idx="377">
                  <c:v>20.655131056393973</c:v>
                </c:pt>
                <c:pt idx="378">
                  <c:v>20.655131056393973</c:v>
                </c:pt>
                <c:pt idx="379">
                  <c:v>20.655131056393973</c:v>
                </c:pt>
                <c:pt idx="380">
                  <c:v>20.655131056393973</c:v>
                </c:pt>
                <c:pt idx="381">
                  <c:v>20.655131056393973</c:v>
                </c:pt>
                <c:pt idx="382">
                  <c:v>20.655131056393973</c:v>
                </c:pt>
                <c:pt idx="383">
                  <c:v>20.655131056393973</c:v>
                </c:pt>
                <c:pt idx="384">
                  <c:v>20.655131056393973</c:v>
                </c:pt>
                <c:pt idx="385">
                  <c:v>20.655131056393973</c:v>
                </c:pt>
                <c:pt idx="386">
                  <c:v>20.655131056393973</c:v>
                </c:pt>
                <c:pt idx="387">
                  <c:v>20.655131056393973</c:v>
                </c:pt>
                <c:pt idx="388">
                  <c:v>20.655131056393973</c:v>
                </c:pt>
                <c:pt idx="389">
                  <c:v>20.655131056393973</c:v>
                </c:pt>
                <c:pt idx="390">
                  <c:v>20.655131056393973</c:v>
                </c:pt>
                <c:pt idx="391">
                  <c:v>20.655131056393973</c:v>
                </c:pt>
                <c:pt idx="392">
                  <c:v>20.655131056393973</c:v>
                </c:pt>
                <c:pt idx="393">
                  <c:v>20.655131056393973</c:v>
                </c:pt>
                <c:pt idx="394">
                  <c:v>20.655131056393973</c:v>
                </c:pt>
                <c:pt idx="395">
                  <c:v>20.655131056393973</c:v>
                </c:pt>
                <c:pt idx="396">
                  <c:v>20.655131056393973</c:v>
                </c:pt>
                <c:pt idx="397">
                  <c:v>20.655131056393973</c:v>
                </c:pt>
                <c:pt idx="398">
                  <c:v>20.655131056393973</c:v>
                </c:pt>
                <c:pt idx="399">
                  <c:v>20.655131056393973</c:v>
                </c:pt>
                <c:pt idx="400">
                  <c:v>20.655131056393973</c:v>
                </c:pt>
                <c:pt idx="401">
                  <c:v>20.655131056393973</c:v>
                </c:pt>
                <c:pt idx="402">
                  <c:v>20.655131056393973</c:v>
                </c:pt>
                <c:pt idx="403">
                  <c:v>20.655131056393973</c:v>
                </c:pt>
                <c:pt idx="404">
                  <c:v>20.655131056393973</c:v>
                </c:pt>
                <c:pt idx="405">
                  <c:v>20.655131056393973</c:v>
                </c:pt>
                <c:pt idx="406">
                  <c:v>20.655131056393973</c:v>
                </c:pt>
                <c:pt idx="407">
                  <c:v>20.655131056393973</c:v>
                </c:pt>
                <c:pt idx="408">
                  <c:v>20.655131056393973</c:v>
                </c:pt>
                <c:pt idx="409">
                  <c:v>20.655131056393973</c:v>
                </c:pt>
                <c:pt idx="410">
                  <c:v>20.655131056393973</c:v>
                </c:pt>
                <c:pt idx="411">
                  <c:v>20.655131056393973</c:v>
                </c:pt>
                <c:pt idx="412">
                  <c:v>20.655131056393973</c:v>
                </c:pt>
                <c:pt idx="413">
                  <c:v>20.655131056393973</c:v>
                </c:pt>
                <c:pt idx="414">
                  <c:v>20.655131056393973</c:v>
                </c:pt>
                <c:pt idx="415">
                  <c:v>20.655131056393973</c:v>
                </c:pt>
                <c:pt idx="416">
                  <c:v>20.655131056393973</c:v>
                </c:pt>
                <c:pt idx="417">
                  <c:v>20.655131056393973</c:v>
                </c:pt>
                <c:pt idx="418">
                  <c:v>20.655131056393973</c:v>
                </c:pt>
                <c:pt idx="419">
                  <c:v>20.655131056393973</c:v>
                </c:pt>
                <c:pt idx="420">
                  <c:v>20.655131056393973</c:v>
                </c:pt>
                <c:pt idx="421">
                  <c:v>20.655131056393973</c:v>
                </c:pt>
                <c:pt idx="422">
                  <c:v>20.655131056393973</c:v>
                </c:pt>
                <c:pt idx="423">
                  <c:v>20.655131056393973</c:v>
                </c:pt>
                <c:pt idx="424">
                  <c:v>20.655131056393973</c:v>
                </c:pt>
                <c:pt idx="425">
                  <c:v>20.655131056393973</c:v>
                </c:pt>
                <c:pt idx="426">
                  <c:v>20.655131056393973</c:v>
                </c:pt>
                <c:pt idx="427">
                  <c:v>20.655131056393973</c:v>
                </c:pt>
                <c:pt idx="428">
                  <c:v>20.655131056393973</c:v>
                </c:pt>
                <c:pt idx="429">
                  <c:v>20.655131056393973</c:v>
                </c:pt>
                <c:pt idx="430">
                  <c:v>20.655131056393973</c:v>
                </c:pt>
                <c:pt idx="431">
                  <c:v>20.655131056393973</c:v>
                </c:pt>
                <c:pt idx="432">
                  <c:v>20.655131056393973</c:v>
                </c:pt>
                <c:pt idx="433">
                  <c:v>20.655131056393973</c:v>
                </c:pt>
                <c:pt idx="434">
                  <c:v>20.655131056393973</c:v>
                </c:pt>
                <c:pt idx="435">
                  <c:v>20.655131056393973</c:v>
                </c:pt>
                <c:pt idx="436">
                  <c:v>20.655131056393973</c:v>
                </c:pt>
                <c:pt idx="437">
                  <c:v>20.655131056393973</c:v>
                </c:pt>
                <c:pt idx="438">
                  <c:v>20.655131056393973</c:v>
                </c:pt>
                <c:pt idx="439">
                  <c:v>20.655131056393973</c:v>
                </c:pt>
                <c:pt idx="440">
                  <c:v>20.655131056393973</c:v>
                </c:pt>
                <c:pt idx="441">
                  <c:v>20.655131056393973</c:v>
                </c:pt>
                <c:pt idx="442">
                  <c:v>20.655131056393973</c:v>
                </c:pt>
                <c:pt idx="443">
                  <c:v>20.655131056393973</c:v>
                </c:pt>
                <c:pt idx="444">
                  <c:v>20.655131056393973</c:v>
                </c:pt>
                <c:pt idx="445">
                  <c:v>20.655131056393973</c:v>
                </c:pt>
                <c:pt idx="446">
                  <c:v>20.655131056393973</c:v>
                </c:pt>
                <c:pt idx="447">
                  <c:v>20.655131056393973</c:v>
                </c:pt>
                <c:pt idx="448">
                  <c:v>20.655131056393973</c:v>
                </c:pt>
                <c:pt idx="449">
                  <c:v>20.655131056393973</c:v>
                </c:pt>
                <c:pt idx="450">
                  <c:v>20.655131056393973</c:v>
                </c:pt>
                <c:pt idx="451">
                  <c:v>20.655131056393973</c:v>
                </c:pt>
                <c:pt idx="452">
                  <c:v>20.655131056393973</c:v>
                </c:pt>
                <c:pt idx="453">
                  <c:v>20.655131056393973</c:v>
                </c:pt>
                <c:pt idx="454">
                  <c:v>20.655131056393973</c:v>
                </c:pt>
                <c:pt idx="455">
                  <c:v>20.655131056393973</c:v>
                </c:pt>
                <c:pt idx="456">
                  <c:v>20.655131056393973</c:v>
                </c:pt>
                <c:pt idx="457">
                  <c:v>20.655131056393973</c:v>
                </c:pt>
                <c:pt idx="458">
                  <c:v>20.655131056393973</c:v>
                </c:pt>
                <c:pt idx="459">
                  <c:v>20.655131056393973</c:v>
                </c:pt>
                <c:pt idx="460">
                  <c:v>20.655131056393973</c:v>
                </c:pt>
                <c:pt idx="461">
                  <c:v>20.655131056393973</c:v>
                </c:pt>
                <c:pt idx="462">
                  <c:v>20.655131056393973</c:v>
                </c:pt>
                <c:pt idx="463">
                  <c:v>20.655131056393973</c:v>
                </c:pt>
                <c:pt idx="464">
                  <c:v>20.655131056393973</c:v>
                </c:pt>
                <c:pt idx="465">
                  <c:v>20.655131056393973</c:v>
                </c:pt>
                <c:pt idx="466">
                  <c:v>20.655131056393973</c:v>
                </c:pt>
                <c:pt idx="467">
                  <c:v>20.655131056393973</c:v>
                </c:pt>
                <c:pt idx="468">
                  <c:v>20.655131056393973</c:v>
                </c:pt>
                <c:pt idx="469">
                  <c:v>20.655131056393973</c:v>
                </c:pt>
                <c:pt idx="470">
                  <c:v>20.655131056393973</c:v>
                </c:pt>
                <c:pt idx="471">
                  <c:v>20.655131056393973</c:v>
                </c:pt>
                <c:pt idx="472">
                  <c:v>20.655131056393973</c:v>
                </c:pt>
                <c:pt idx="473">
                  <c:v>20.655131056393973</c:v>
                </c:pt>
                <c:pt idx="474">
                  <c:v>20.655131056393973</c:v>
                </c:pt>
                <c:pt idx="475">
                  <c:v>20.655131056393973</c:v>
                </c:pt>
                <c:pt idx="476">
                  <c:v>20.655131056393973</c:v>
                </c:pt>
                <c:pt idx="477">
                  <c:v>20.655131056393973</c:v>
                </c:pt>
                <c:pt idx="478">
                  <c:v>20.655131056393973</c:v>
                </c:pt>
                <c:pt idx="479">
                  <c:v>20.655131056393973</c:v>
                </c:pt>
                <c:pt idx="480">
                  <c:v>20.655131056393973</c:v>
                </c:pt>
                <c:pt idx="481">
                  <c:v>20.655131056393973</c:v>
                </c:pt>
                <c:pt idx="482">
                  <c:v>20.655131056393973</c:v>
                </c:pt>
                <c:pt idx="483">
                  <c:v>20.655131056393973</c:v>
                </c:pt>
                <c:pt idx="484">
                  <c:v>20.655131056393973</c:v>
                </c:pt>
                <c:pt idx="485">
                  <c:v>20.655131056393973</c:v>
                </c:pt>
                <c:pt idx="486">
                  <c:v>20.655131056393973</c:v>
                </c:pt>
                <c:pt idx="487">
                  <c:v>20.655131056393973</c:v>
                </c:pt>
                <c:pt idx="488">
                  <c:v>20.655131056393973</c:v>
                </c:pt>
                <c:pt idx="489">
                  <c:v>20.655131056393973</c:v>
                </c:pt>
                <c:pt idx="490">
                  <c:v>20.655131056393973</c:v>
                </c:pt>
                <c:pt idx="491">
                  <c:v>20.655131056393973</c:v>
                </c:pt>
                <c:pt idx="492">
                  <c:v>20.655131056393973</c:v>
                </c:pt>
                <c:pt idx="493">
                  <c:v>20.655131056393973</c:v>
                </c:pt>
                <c:pt idx="494">
                  <c:v>20.655131056393973</c:v>
                </c:pt>
                <c:pt idx="495">
                  <c:v>20.655131056393973</c:v>
                </c:pt>
                <c:pt idx="496">
                  <c:v>20.655131056393973</c:v>
                </c:pt>
                <c:pt idx="497">
                  <c:v>20.655131056393973</c:v>
                </c:pt>
                <c:pt idx="498">
                  <c:v>20.655131056393973</c:v>
                </c:pt>
                <c:pt idx="499">
                  <c:v>20.655131056393973</c:v>
                </c:pt>
                <c:pt idx="500">
                  <c:v>20.655131056393973</c:v>
                </c:pt>
                <c:pt idx="501">
                  <c:v>20.655131056393973</c:v>
                </c:pt>
                <c:pt idx="502">
                  <c:v>20.655131056393973</c:v>
                </c:pt>
                <c:pt idx="503">
                  <c:v>20.655131056393973</c:v>
                </c:pt>
                <c:pt idx="504">
                  <c:v>20.655131056393973</c:v>
                </c:pt>
                <c:pt idx="505">
                  <c:v>20.655131056393973</c:v>
                </c:pt>
                <c:pt idx="506">
                  <c:v>20.655131056393973</c:v>
                </c:pt>
                <c:pt idx="507">
                  <c:v>20.655131056393973</c:v>
                </c:pt>
                <c:pt idx="508">
                  <c:v>20.655131056393973</c:v>
                </c:pt>
                <c:pt idx="509">
                  <c:v>20.655131056393973</c:v>
                </c:pt>
                <c:pt idx="510">
                  <c:v>20.655131056393973</c:v>
                </c:pt>
                <c:pt idx="511">
                  <c:v>20.655131056393973</c:v>
                </c:pt>
                <c:pt idx="512">
                  <c:v>20.655131056393973</c:v>
                </c:pt>
                <c:pt idx="513">
                  <c:v>20.655131056393973</c:v>
                </c:pt>
                <c:pt idx="514">
                  <c:v>20.655131056393973</c:v>
                </c:pt>
                <c:pt idx="515">
                  <c:v>20.655131056393973</c:v>
                </c:pt>
                <c:pt idx="516">
                  <c:v>20.655131056393973</c:v>
                </c:pt>
                <c:pt idx="517">
                  <c:v>20.655131056393973</c:v>
                </c:pt>
                <c:pt idx="518">
                  <c:v>20.655131056393973</c:v>
                </c:pt>
                <c:pt idx="519">
                  <c:v>20.655131056393973</c:v>
                </c:pt>
                <c:pt idx="520">
                  <c:v>20.655131056393973</c:v>
                </c:pt>
                <c:pt idx="521">
                  <c:v>20.655131056393973</c:v>
                </c:pt>
                <c:pt idx="522">
                  <c:v>20.655131056393973</c:v>
                </c:pt>
                <c:pt idx="523">
                  <c:v>20.655131056393973</c:v>
                </c:pt>
                <c:pt idx="524">
                  <c:v>20.655131056393973</c:v>
                </c:pt>
                <c:pt idx="525">
                  <c:v>20.655131056393973</c:v>
                </c:pt>
                <c:pt idx="526">
                  <c:v>20.655131056393973</c:v>
                </c:pt>
                <c:pt idx="527">
                  <c:v>20.655131056393973</c:v>
                </c:pt>
                <c:pt idx="528">
                  <c:v>20.655131056393973</c:v>
                </c:pt>
                <c:pt idx="529">
                  <c:v>20.655131056393973</c:v>
                </c:pt>
                <c:pt idx="530">
                  <c:v>20.655131056393973</c:v>
                </c:pt>
                <c:pt idx="531">
                  <c:v>20.655131056393973</c:v>
                </c:pt>
                <c:pt idx="532">
                  <c:v>20.655131056393973</c:v>
                </c:pt>
                <c:pt idx="533">
                  <c:v>20.655131056393973</c:v>
                </c:pt>
                <c:pt idx="534">
                  <c:v>20.655131056393973</c:v>
                </c:pt>
                <c:pt idx="535">
                  <c:v>20.655131056393973</c:v>
                </c:pt>
                <c:pt idx="536">
                  <c:v>20.655131056393973</c:v>
                </c:pt>
                <c:pt idx="537">
                  <c:v>20.655131056393973</c:v>
                </c:pt>
                <c:pt idx="538">
                  <c:v>20.655131056393973</c:v>
                </c:pt>
                <c:pt idx="539">
                  <c:v>20.655131056393973</c:v>
                </c:pt>
                <c:pt idx="540">
                  <c:v>20.655131056393973</c:v>
                </c:pt>
                <c:pt idx="541">
                  <c:v>20.655131056393973</c:v>
                </c:pt>
                <c:pt idx="542">
                  <c:v>20.655131056393973</c:v>
                </c:pt>
                <c:pt idx="543">
                  <c:v>20.655131056393973</c:v>
                </c:pt>
                <c:pt idx="544">
                  <c:v>20.655131056393973</c:v>
                </c:pt>
                <c:pt idx="545">
                  <c:v>20.655131056393973</c:v>
                </c:pt>
                <c:pt idx="546">
                  <c:v>20.655131056393973</c:v>
                </c:pt>
                <c:pt idx="547">
                  <c:v>20.655131056393973</c:v>
                </c:pt>
                <c:pt idx="548">
                  <c:v>20.655131056393973</c:v>
                </c:pt>
                <c:pt idx="549">
                  <c:v>20.655131056393973</c:v>
                </c:pt>
                <c:pt idx="550">
                  <c:v>20.655131056393973</c:v>
                </c:pt>
                <c:pt idx="551">
                  <c:v>20.655131056393973</c:v>
                </c:pt>
                <c:pt idx="552">
                  <c:v>20.655131056393973</c:v>
                </c:pt>
                <c:pt idx="553">
                  <c:v>20.655131056393973</c:v>
                </c:pt>
                <c:pt idx="554">
                  <c:v>20.655131056393973</c:v>
                </c:pt>
                <c:pt idx="555">
                  <c:v>20.655131056393973</c:v>
                </c:pt>
                <c:pt idx="556">
                  <c:v>20.655131056393973</c:v>
                </c:pt>
                <c:pt idx="557">
                  <c:v>20.655131056393973</c:v>
                </c:pt>
                <c:pt idx="558">
                  <c:v>20.655131056393973</c:v>
                </c:pt>
                <c:pt idx="559">
                  <c:v>20.655131056393973</c:v>
                </c:pt>
                <c:pt idx="560">
                  <c:v>20.655131056393973</c:v>
                </c:pt>
                <c:pt idx="561">
                  <c:v>20.655131056393973</c:v>
                </c:pt>
                <c:pt idx="562">
                  <c:v>20.655131056393973</c:v>
                </c:pt>
                <c:pt idx="563">
                  <c:v>20.655131056393973</c:v>
                </c:pt>
                <c:pt idx="564">
                  <c:v>20.655131056393973</c:v>
                </c:pt>
                <c:pt idx="565">
                  <c:v>20.655131056393973</c:v>
                </c:pt>
                <c:pt idx="566">
                  <c:v>20.655131056393973</c:v>
                </c:pt>
                <c:pt idx="567">
                  <c:v>20.655131056393973</c:v>
                </c:pt>
                <c:pt idx="568">
                  <c:v>20.655131056393973</c:v>
                </c:pt>
                <c:pt idx="569">
                  <c:v>20.655131056393973</c:v>
                </c:pt>
                <c:pt idx="570">
                  <c:v>20.655131056393973</c:v>
                </c:pt>
                <c:pt idx="571">
                  <c:v>20.655131056393973</c:v>
                </c:pt>
                <c:pt idx="572">
                  <c:v>20.655131056393973</c:v>
                </c:pt>
                <c:pt idx="573">
                  <c:v>20.655131056393973</c:v>
                </c:pt>
                <c:pt idx="574">
                  <c:v>20.655131056393973</c:v>
                </c:pt>
                <c:pt idx="575">
                  <c:v>20.655131056393973</c:v>
                </c:pt>
                <c:pt idx="576">
                  <c:v>20.655131056393973</c:v>
                </c:pt>
                <c:pt idx="577">
                  <c:v>20.655131056393973</c:v>
                </c:pt>
                <c:pt idx="578">
                  <c:v>20.655131056393973</c:v>
                </c:pt>
                <c:pt idx="579">
                  <c:v>20.655131056393973</c:v>
                </c:pt>
                <c:pt idx="580">
                  <c:v>20.655131056393973</c:v>
                </c:pt>
                <c:pt idx="581">
                  <c:v>20.655131056393973</c:v>
                </c:pt>
                <c:pt idx="582">
                  <c:v>20.655131056393973</c:v>
                </c:pt>
                <c:pt idx="583">
                  <c:v>20.655131056393973</c:v>
                </c:pt>
                <c:pt idx="584">
                  <c:v>20.655131056393973</c:v>
                </c:pt>
                <c:pt idx="585">
                  <c:v>20.655131056393973</c:v>
                </c:pt>
                <c:pt idx="586">
                  <c:v>20.655131056393973</c:v>
                </c:pt>
                <c:pt idx="587">
                  <c:v>20.655131056393973</c:v>
                </c:pt>
                <c:pt idx="588">
                  <c:v>20.655131056393973</c:v>
                </c:pt>
                <c:pt idx="589">
                  <c:v>20.655131056393973</c:v>
                </c:pt>
                <c:pt idx="590">
                  <c:v>20.655131056393973</c:v>
                </c:pt>
                <c:pt idx="591">
                  <c:v>20.655131056393973</c:v>
                </c:pt>
                <c:pt idx="592">
                  <c:v>20.655131056393973</c:v>
                </c:pt>
                <c:pt idx="593">
                  <c:v>20.655131056393973</c:v>
                </c:pt>
                <c:pt idx="594">
                  <c:v>20.655131056393973</c:v>
                </c:pt>
                <c:pt idx="595">
                  <c:v>20.655131056393973</c:v>
                </c:pt>
                <c:pt idx="596">
                  <c:v>20.655131056393973</c:v>
                </c:pt>
                <c:pt idx="597">
                  <c:v>20.655131056393973</c:v>
                </c:pt>
                <c:pt idx="598">
                  <c:v>20.655131056393973</c:v>
                </c:pt>
                <c:pt idx="599">
                  <c:v>20.655131056393973</c:v>
                </c:pt>
                <c:pt idx="600">
                  <c:v>20.655131056393973</c:v>
                </c:pt>
                <c:pt idx="601">
                  <c:v>20.655131056393973</c:v>
                </c:pt>
                <c:pt idx="602">
                  <c:v>20.655131056393973</c:v>
                </c:pt>
                <c:pt idx="603">
                  <c:v>20.655131056393973</c:v>
                </c:pt>
                <c:pt idx="604">
                  <c:v>20.655131056393973</c:v>
                </c:pt>
                <c:pt idx="605">
                  <c:v>20.655131056393973</c:v>
                </c:pt>
                <c:pt idx="606">
                  <c:v>20.655131056393973</c:v>
                </c:pt>
                <c:pt idx="607">
                  <c:v>20.655131056393973</c:v>
                </c:pt>
                <c:pt idx="608">
                  <c:v>20.655131056393973</c:v>
                </c:pt>
                <c:pt idx="609">
                  <c:v>20.655131056393973</c:v>
                </c:pt>
                <c:pt idx="610">
                  <c:v>20.655131056393973</c:v>
                </c:pt>
                <c:pt idx="611">
                  <c:v>20.655131056393973</c:v>
                </c:pt>
                <c:pt idx="612">
                  <c:v>20.655131056393973</c:v>
                </c:pt>
                <c:pt idx="613">
                  <c:v>20.655131056393973</c:v>
                </c:pt>
                <c:pt idx="614">
                  <c:v>20.655131056393973</c:v>
                </c:pt>
                <c:pt idx="615">
                  <c:v>20.655131056393973</c:v>
                </c:pt>
                <c:pt idx="616">
                  <c:v>20.655131056393973</c:v>
                </c:pt>
                <c:pt idx="617">
                  <c:v>20.655131056393973</c:v>
                </c:pt>
                <c:pt idx="618">
                  <c:v>20.655131056393973</c:v>
                </c:pt>
                <c:pt idx="619">
                  <c:v>20.655131056393973</c:v>
                </c:pt>
                <c:pt idx="620">
                  <c:v>20.655131056393973</c:v>
                </c:pt>
                <c:pt idx="621">
                  <c:v>20.655131056393973</c:v>
                </c:pt>
                <c:pt idx="622">
                  <c:v>20.655131056393973</c:v>
                </c:pt>
                <c:pt idx="623">
                  <c:v>20.655131056393973</c:v>
                </c:pt>
                <c:pt idx="624">
                  <c:v>20.655131056393973</c:v>
                </c:pt>
                <c:pt idx="625">
                  <c:v>20.655131056393973</c:v>
                </c:pt>
                <c:pt idx="626">
                  <c:v>20.655131056393973</c:v>
                </c:pt>
                <c:pt idx="627">
                  <c:v>20.655131056393973</c:v>
                </c:pt>
                <c:pt idx="628">
                  <c:v>20.655131056393973</c:v>
                </c:pt>
                <c:pt idx="629">
                  <c:v>20.655131056393973</c:v>
                </c:pt>
                <c:pt idx="630">
                  <c:v>20.655131056393973</c:v>
                </c:pt>
                <c:pt idx="631">
                  <c:v>20.655131056393973</c:v>
                </c:pt>
                <c:pt idx="632">
                  <c:v>20.655131056393973</c:v>
                </c:pt>
                <c:pt idx="633">
                  <c:v>20.655131056393973</c:v>
                </c:pt>
                <c:pt idx="634">
                  <c:v>20.655131056393973</c:v>
                </c:pt>
                <c:pt idx="635">
                  <c:v>20.655131056393973</c:v>
                </c:pt>
                <c:pt idx="636">
                  <c:v>20.655131056393973</c:v>
                </c:pt>
                <c:pt idx="637">
                  <c:v>20.655131056393973</c:v>
                </c:pt>
                <c:pt idx="638">
                  <c:v>20.655131056393973</c:v>
                </c:pt>
                <c:pt idx="639">
                  <c:v>20.655131056393973</c:v>
                </c:pt>
                <c:pt idx="640">
                  <c:v>20.655131056393973</c:v>
                </c:pt>
                <c:pt idx="641">
                  <c:v>20.655131056393973</c:v>
                </c:pt>
                <c:pt idx="642">
                  <c:v>20.655131056393973</c:v>
                </c:pt>
                <c:pt idx="643">
                  <c:v>20.655131056393973</c:v>
                </c:pt>
                <c:pt idx="644">
                  <c:v>20.655131056393973</c:v>
                </c:pt>
                <c:pt idx="645">
                  <c:v>20.655131056393973</c:v>
                </c:pt>
                <c:pt idx="646">
                  <c:v>20.655131056393973</c:v>
                </c:pt>
                <c:pt idx="647">
                  <c:v>20.655131056393973</c:v>
                </c:pt>
                <c:pt idx="648">
                  <c:v>20.655131056393973</c:v>
                </c:pt>
                <c:pt idx="649">
                  <c:v>20.655131056393973</c:v>
                </c:pt>
                <c:pt idx="650">
                  <c:v>20.655131056393973</c:v>
                </c:pt>
                <c:pt idx="651">
                  <c:v>20.655131056393973</c:v>
                </c:pt>
                <c:pt idx="652">
                  <c:v>20.655131056393973</c:v>
                </c:pt>
                <c:pt idx="653">
                  <c:v>20.655131056393973</c:v>
                </c:pt>
                <c:pt idx="654">
                  <c:v>20.655131056393973</c:v>
                </c:pt>
                <c:pt idx="655">
                  <c:v>20.655131056393973</c:v>
                </c:pt>
                <c:pt idx="656">
                  <c:v>20.655131056393973</c:v>
                </c:pt>
                <c:pt idx="657">
                  <c:v>20.655131056393973</c:v>
                </c:pt>
                <c:pt idx="658">
                  <c:v>20.655131056393973</c:v>
                </c:pt>
                <c:pt idx="659">
                  <c:v>20.655131056393973</c:v>
                </c:pt>
                <c:pt idx="660">
                  <c:v>20.655131056393973</c:v>
                </c:pt>
                <c:pt idx="661">
                  <c:v>20.655131056393973</c:v>
                </c:pt>
                <c:pt idx="662">
                  <c:v>20.655131056393973</c:v>
                </c:pt>
                <c:pt idx="663">
                  <c:v>20.655131056393973</c:v>
                </c:pt>
                <c:pt idx="664">
                  <c:v>20.655131056393973</c:v>
                </c:pt>
                <c:pt idx="665">
                  <c:v>20.655131056393973</c:v>
                </c:pt>
                <c:pt idx="666">
                  <c:v>20.655131056393973</c:v>
                </c:pt>
                <c:pt idx="667">
                  <c:v>20.655131056393973</c:v>
                </c:pt>
                <c:pt idx="668">
                  <c:v>20.655131056393973</c:v>
                </c:pt>
                <c:pt idx="669">
                  <c:v>20.655131056393973</c:v>
                </c:pt>
                <c:pt idx="670">
                  <c:v>20.655131056393973</c:v>
                </c:pt>
                <c:pt idx="671">
                  <c:v>20.655131056393973</c:v>
                </c:pt>
                <c:pt idx="672">
                  <c:v>20.655131056393973</c:v>
                </c:pt>
                <c:pt idx="673">
                  <c:v>20.655131056393973</c:v>
                </c:pt>
                <c:pt idx="674">
                  <c:v>20.655131056393973</c:v>
                </c:pt>
                <c:pt idx="675">
                  <c:v>20.655131056393973</c:v>
                </c:pt>
                <c:pt idx="676">
                  <c:v>20.655131056393973</c:v>
                </c:pt>
                <c:pt idx="677">
                  <c:v>20.655131056393973</c:v>
                </c:pt>
                <c:pt idx="678">
                  <c:v>20.655131056393973</c:v>
                </c:pt>
                <c:pt idx="679">
                  <c:v>20.655131056393973</c:v>
                </c:pt>
                <c:pt idx="680">
                  <c:v>20.655131056393973</c:v>
                </c:pt>
                <c:pt idx="681">
                  <c:v>20.655131056393973</c:v>
                </c:pt>
                <c:pt idx="682">
                  <c:v>20.655131056393973</c:v>
                </c:pt>
                <c:pt idx="683">
                  <c:v>20.655131056393973</c:v>
                </c:pt>
                <c:pt idx="684">
                  <c:v>20.655131056393973</c:v>
                </c:pt>
                <c:pt idx="685">
                  <c:v>20.655131056393973</c:v>
                </c:pt>
                <c:pt idx="686">
                  <c:v>20.655131056393973</c:v>
                </c:pt>
                <c:pt idx="687">
                  <c:v>20.655131056393973</c:v>
                </c:pt>
                <c:pt idx="688">
                  <c:v>20.655131056393973</c:v>
                </c:pt>
                <c:pt idx="689">
                  <c:v>20.655131056393973</c:v>
                </c:pt>
                <c:pt idx="690">
                  <c:v>20.655131056393973</c:v>
                </c:pt>
                <c:pt idx="691">
                  <c:v>20.655131056393973</c:v>
                </c:pt>
                <c:pt idx="692">
                  <c:v>20.655131056393973</c:v>
                </c:pt>
                <c:pt idx="693">
                  <c:v>20.655131056393973</c:v>
                </c:pt>
                <c:pt idx="694">
                  <c:v>20.655131056393973</c:v>
                </c:pt>
                <c:pt idx="695">
                  <c:v>20.655131056393973</c:v>
                </c:pt>
                <c:pt idx="696">
                  <c:v>20.655131056393973</c:v>
                </c:pt>
                <c:pt idx="697">
                  <c:v>20.655131056393973</c:v>
                </c:pt>
                <c:pt idx="698">
                  <c:v>20.655131056393973</c:v>
                </c:pt>
                <c:pt idx="699">
                  <c:v>20.655131056393973</c:v>
                </c:pt>
                <c:pt idx="700">
                  <c:v>20.655131056393973</c:v>
                </c:pt>
                <c:pt idx="701">
                  <c:v>20.655131056393973</c:v>
                </c:pt>
                <c:pt idx="702">
                  <c:v>20.655131056393973</c:v>
                </c:pt>
                <c:pt idx="703">
                  <c:v>20.655131056393973</c:v>
                </c:pt>
                <c:pt idx="704">
                  <c:v>20.655131056393973</c:v>
                </c:pt>
                <c:pt idx="705">
                  <c:v>20.655131056393973</c:v>
                </c:pt>
                <c:pt idx="706">
                  <c:v>20.655131056393973</c:v>
                </c:pt>
                <c:pt idx="707">
                  <c:v>20.655131056393973</c:v>
                </c:pt>
                <c:pt idx="708">
                  <c:v>20.655131056393973</c:v>
                </c:pt>
                <c:pt idx="709">
                  <c:v>20.655131056393973</c:v>
                </c:pt>
                <c:pt idx="710">
                  <c:v>20.655131056393973</c:v>
                </c:pt>
                <c:pt idx="711">
                  <c:v>20.655131056393973</c:v>
                </c:pt>
                <c:pt idx="712">
                  <c:v>20.655131056393973</c:v>
                </c:pt>
                <c:pt idx="713">
                  <c:v>20.655131056393973</c:v>
                </c:pt>
                <c:pt idx="714">
                  <c:v>20.655131056393973</c:v>
                </c:pt>
                <c:pt idx="715">
                  <c:v>20.655131056393973</c:v>
                </c:pt>
                <c:pt idx="716">
                  <c:v>20.655131056393973</c:v>
                </c:pt>
                <c:pt idx="717">
                  <c:v>20.655131056393973</c:v>
                </c:pt>
                <c:pt idx="718">
                  <c:v>20.655131056393973</c:v>
                </c:pt>
                <c:pt idx="719">
                  <c:v>20.655131056393973</c:v>
                </c:pt>
                <c:pt idx="720">
                  <c:v>20.655131056393973</c:v>
                </c:pt>
                <c:pt idx="721">
                  <c:v>20.655131056393973</c:v>
                </c:pt>
                <c:pt idx="722">
                  <c:v>20.655131056393973</c:v>
                </c:pt>
                <c:pt idx="723">
                  <c:v>20.655131056393973</c:v>
                </c:pt>
                <c:pt idx="724">
                  <c:v>20.655131056393973</c:v>
                </c:pt>
                <c:pt idx="725">
                  <c:v>20.655131056393973</c:v>
                </c:pt>
                <c:pt idx="726">
                  <c:v>20.655131056393973</c:v>
                </c:pt>
                <c:pt idx="727">
                  <c:v>20.655131056393973</c:v>
                </c:pt>
                <c:pt idx="728">
                  <c:v>20.655131056393973</c:v>
                </c:pt>
                <c:pt idx="729">
                  <c:v>20.655131056393973</c:v>
                </c:pt>
                <c:pt idx="730">
                  <c:v>20.655131056393973</c:v>
                </c:pt>
                <c:pt idx="731">
                  <c:v>20.655131056393973</c:v>
                </c:pt>
                <c:pt idx="732">
                  <c:v>20.655131056393973</c:v>
                </c:pt>
                <c:pt idx="733">
                  <c:v>20.655131056393973</c:v>
                </c:pt>
                <c:pt idx="734">
                  <c:v>20.655131056393973</c:v>
                </c:pt>
                <c:pt idx="735">
                  <c:v>20.655131056393973</c:v>
                </c:pt>
                <c:pt idx="736">
                  <c:v>20.655131056393973</c:v>
                </c:pt>
                <c:pt idx="737">
                  <c:v>20.655131056393973</c:v>
                </c:pt>
                <c:pt idx="738">
                  <c:v>20.655131056393973</c:v>
                </c:pt>
                <c:pt idx="739">
                  <c:v>20.655131056393973</c:v>
                </c:pt>
                <c:pt idx="740">
                  <c:v>20.655131056393973</c:v>
                </c:pt>
                <c:pt idx="741">
                  <c:v>20.655131056393973</c:v>
                </c:pt>
                <c:pt idx="742">
                  <c:v>20.655131056393973</c:v>
                </c:pt>
                <c:pt idx="743">
                  <c:v>20.655131056393973</c:v>
                </c:pt>
                <c:pt idx="744">
                  <c:v>20.655131056393973</c:v>
                </c:pt>
                <c:pt idx="745">
                  <c:v>20.655131056393973</c:v>
                </c:pt>
                <c:pt idx="746">
                  <c:v>20.655131056393973</c:v>
                </c:pt>
                <c:pt idx="747">
                  <c:v>20.655131056393973</c:v>
                </c:pt>
                <c:pt idx="748">
                  <c:v>20.655131056393973</c:v>
                </c:pt>
                <c:pt idx="749">
                  <c:v>20.655131056393973</c:v>
                </c:pt>
                <c:pt idx="750">
                  <c:v>20.655131056393973</c:v>
                </c:pt>
                <c:pt idx="751">
                  <c:v>20.655131056393973</c:v>
                </c:pt>
                <c:pt idx="752">
                  <c:v>20.655131056393973</c:v>
                </c:pt>
                <c:pt idx="753">
                  <c:v>20.655131056393973</c:v>
                </c:pt>
                <c:pt idx="754">
                  <c:v>20.655131056393973</c:v>
                </c:pt>
                <c:pt idx="755">
                  <c:v>20.655131056393973</c:v>
                </c:pt>
                <c:pt idx="756">
                  <c:v>20.655131056393973</c:v>
                </c:pt>
                <c:pt idx="757">
                  <c:v>20.655131056393973</c:v>
                </c:pt>
                <c:pt idx="758">
                  <c:v>20.655131056393973</c:v>
                </c:pt>
                <c:pt idx="759">
                  <c:v>20.655131056393973</c:v>
                </c:pt>
                <c:pt idx="760">
                  <c:v>20.655131056393973</c:v>
                </c:pt>
                <c:pt idx="761">
                  <c:v>20.655131056393973</c:v>
                </c:pt>
                <c:pt idx="762">
                  <c:v>20.655131056393973</c:v>
                </c:pt>
                <c:pt idx="763">
                  <c:v>20.655131056393973</c:v>
                </c:pt>
                <c:pt idx="764">
                  <c:v>20.655131056393973</c:v>
                </c:pt>
                <c:pt idx="765">
                  <c:v>20.655131056393973</c:v>
                </c:pt>
                <c:pt idx="766">
                  <c:v>20.655131056393973</c:v>
                </c:pt>
                <c:pt idx="767">
                  <c:v>20.655131056393973</c:v>
                </c:pt>
                <c:pt idx="768">
                  <c:v>20.655131056393973</c:v>
                </c:pt>
                <c:pt idx="769">
                  <c:v>20.655131056393973</c:v>
                </c:pt>
                <c:pt idx="770">
                  <c:v>20.655131056393973</c:v>
                </c:pt>
                <c:pt idx="771">
                  <c:v>20.655131056393973</c:v>
                </c:pt>
                <c:pt idx="772">
                  <c:v>20.655131056393973</c:v>
                </c:pt>
                <c:pt idx="773">
                  <c:v>20.655131056393973</c:v>
                </c:pt>
                <c:pt idx="774">
                  <c:v>20.655131056393973</c:v>
                </c:pt>
                <c:pt idx="775">
                  <c:v>20.655131056393973</c:v>
                </c:pt>
                <c:pt idx="776">
                  <c:v>20.655131056393973</c:v>
                </c:pt>
                <c:pt idx="777">
                  <c:v>20.655131056393973</c:v>
                </c:pt>
                <c:pt idx="778">
                  <c:v>20.655131056393973</c:v>
                </c:pt>
                <c:pt idx="779">
                  <c:v>20.655131056393973</c:v>
                </c:pt>
                <c:pt idx="780">
                  <c:v>20.655131056393973</c:v>
                </c:pt>
                <c:pt idx="781">
                  <c:v>20.655131056393973</c:v>
                </c:pt>
                <c:pt idx="782">
                  <c:v>20.655131056393973</c:v>
                </c:pt>
                <c:pt idx="783">
                  <c:v>20.655131056393973</c:v>
                </c:pt>
                <c:pt idx="784">
                  <c:v>20.655131056393973</c:v>
                </c:pt>
                <c:pt idx="785">
                  <c:v>20.655131056393973</c:v>
                </c:pt>
                <c:pt idx="786">
                  <c:v>20.655131056393973</c:v>
                </c:pt>
                <c:pt idx="787">
                  <c:v>20.655131056393973</c:v>
                </c:pt>
                <c:pt idx="788">
                  <c:v>20.655131056393973</c:v>
                </c:pt>
                <c:pt idx="789">
                  <c:v>20.655131056393973</c:v>
                </c:pt>
                <c:pt idx="790">
                  <c:v>20.655131056393973</c:v>
                </c:pt>
                <c:pt idx="791">
                  <c:v>20.655131056393973</c:v>
                </c:pt>
                <c:pt idx="792">
                  <c:v>20.655131056393973</c:v>
                </c:pt>
                <c:pt idx="793">
                  <c:v>20.655131056393973</c:v>
                </c:pt>
                <c:pt idx="794">
                  <c:v>20.655131056393973</c:v>
                </c:pt>
                <c:pt idx="795">
                  <c:v>20.655131056393973</c:v>
                </c:pt>
                <c:pt idx="796">
                  <c:v>20.655131056393973</c:v>
                </c:pt>
                <c:pt idx="797">
                  <c:v>20.655131056393973</c:v>
                </c:pt>
                <c:pt idx="798">
                  <c:v>20.655131056393973</c:v>
                </c:pt>
                <c:pt idx="799">
                  <c:v>20.655131056393973</c:v>
                </c:pt>
                <c:pt idx="800">
                  <c:v>20.655131056393973</c:v>
                </c:pt>
                <c:pt idx="801">
                  <c:v>20.655131056393973</c:v>
                </c:pt>
                <c:pt idx="802">
                  <c:v>20.655131056393973</c:v>
                </c:pt>
                <c:pt idx="803">
                  <c:v>20.655131056393973</c:v>
                </c:pt>
                <c:pt idx="804">
                  <c:v>20.655131056393973</c:v>
                </c:pt>
                <c:pt idx="805">
                  <c:v>20.655131056393973</c:v>
                </c:pt>
                <c:pt idx="806">
                  <c:v>20.655131056393973</c:v>
                </c:pt>
                <c:pt idx="807">
                  <c:v>20.655131056393973</c:v>
                </c:pt>
                <c:pt idx="808">
                  <c:v>20.655131056393973</c:v>
                </c:pt>
                <c:pt idx="809">
                  <c:v>20.655131056393973</c:v>
                </c:pt>
                <c:pt idx="810">
                  <c:v>20.655131056393973</c:v>
                </c:pt>
                <c:pt idx="811">
                  <c:v>20.655131056393973</c:v>
                </c:pt>
                <c:pt idx="812">
                  <c:v>20.655131056393973</c:v>
                </c:pt>
                <c:pt idx="813">
                  <c:v>20.655131056393973</c:v>
                </c:pt>
                <c:pt idx="814">
                  <c:v>20.655131056393973</c:v>
                </c:pt>
                <c:pt idx="815">
                  <c:v>20.655131056393973</c:v>
                </c:pt>
                <c:pt idx="816">
                  <c:v>20.655131056393973</c:v>
                </c:pt>
                <c:pt idx="817">
                  <c:v>20.655131056393973</c:v>
                </c:pt>
                <c:pt idx="818">
                  <c:v>20.655131056393973</c:v>
                </c:pt>
                <c:pt idx="819">
                  <c:v>20.655131056393973</c:v>
                </c:pt>
                <c:pt idx="820">
                  <c:v>20.655131056393973</c:v>
                </c:pt>
                <c:pt idx="821">
                  <c:v>20.655131056393973</c:v>
                </c:pt>
                <c:pt idx="822">
                  <c:v>20.655131056393973</c:v>
                </c:pt>
                <c:pt idx="823">
                  <c:v>20.655131056393973</c:v>
                </c:pt>
                <c:pt idx="824">
                  <c:v>20.655131056393973</c:v>
                </c:pt>
                <c:pt idx="825">
                  <c:v>20.655131056393973</c:v>
                </c:pt>
                <c:pt idx="826">
                  <c:v>20.655131056393973</c:v>
                </c:pt>
                <c:pt idx="827">
                  <c:v>20.655131056393973</c:v>
                </c:pt>
                <c:pt idx="828">
                  <c:v>20.655131056393973</c:v>
                </c:pt>
                <c:pt idx="829">
                  <c:v>20.655131056393973</c:v>
                </c:pt>
                <c:pt idx="830">
                  <c:v>20.655131056393973</c:v>
                </c:pt>
                <c:pt idx="831">
                  <c:v>20.655131056393973</c:v>
                </c:pt>
                <c:pt idx="832">
                  <c:v>20.655131056393973</c:v>
                </c:pt>
                <c:pt idx="833">
                  <c:v>20.655131056393973</c:v>
                </c:pt>
                <c:pt idx="834">
                  <c:v>20.655131056393973</c:v>
                </c:pt>
                <c:pt idx="835">
                  <c:v>20.655131056393973</c:v>
                </c:pt>
                <c:pt idx="836">
                  <c:v>20.655131056393973</c:v>
                </c:pt>
                <c:pt idx="837">
                  <c:v>20.655131056393973</c:v>
                </c:pt>
                <c:pt idx="838">
                  <c:v>20.655131056393973</c:v>
                </c:pt>
                <c:pt idx="839">
                  <c:v>20.655131056393973</c:v>
                </c:pt>
                <c:pt idx="840">
                  <c:v>20.655131056393973</c:v>
                </c:pt>
                <c:pt idx="841">
                  <c:v>20.655131056393973</c:v>
                </c:pt>
                <c:pt idx="842">
                  <c:v>20.655131056393973</c:v>
                </c:pt>
                <c:pt idx="843">
                  <c:v>20.655131056393973</c:v>
                </c:pt>
                <c:pt idx="844">
                  <c:v>20.655131056393973</c:v>
                </c:pt>
                <c:pt idx="845">
                  <c:v>20.655131056393973</c:v>
                </c:pt>
                <c:pt idx="846">
                  <c:v>20.655131056393973</c:v>
                </c:pt>
                <c:pt idx="847">
                  <c:v>20.655131056393973</c:v>
                </c:pt>
                <c:pt idx="848">
                  <c:v>20.655131056393973</c:v>
                </c:pt>
                <c:pt idx="849">
                  <c:v>20.655131056393973</c:v>
                </c:pt>
                <c:pt idx="850">
                  <c:v>20.655131056393973</c:v>
                </c:pt>
                <c:pt idx="851">
                  <c:v>20.655131056393973</c:v>
                </c:pt>
                <c:pt idx="852">
                  <c:v>20.655131056393973</c:v>
                </c:pt>
                <c:pt idx="853">
                  <c:v>20.655131056393973</c:v>
                </c:pt>
                <c:pt idx="854">
                  <c:v>20.655131056393973</c:v>
                </c:pt>
                <c:pt idx="855">
                  <c:v>20.655131056393973</c:v>
                </c:pt>
                <c:pt idx="856">
                  <c:v>20.655131056393973</c:v>
                </c:pt>
                <c:pt idx="857">
                  <c:v>20.655131056393973</c:v>
                </c:pt>
                <c:pt idx="858">
                  <c:v>20.655131056393973</c:v>
                </c:pt>
                <c:pt idx="859">
                  <c:v>20.655131056393973</c:v>
                </c:pt>
                <c:pt idx="860">
                  <c:v>20.655131056393973</c:v>
                </c:pt>
                <c:pt idx="861">
                  <c:v>20.655131056393973</c:v>
                </c:pt>
                <c:pt idx="862">
                  <c:v>20.655131056393973</c:v>
                </c:pt>
                <c:pt idx="863">
                  <c:v>20.655131056393973</c:v>
                </c:pt>
                <c:pt idx="864">
                  <c:v>20.655131056393973</c:v>
                </c:pt>
                <c:pt idx="865">
                  <c:v>20.655131056393973</c:v>
                </c:pt>
                <c:pt idx="866">
                  <c:v>20.655131056393973</c:v>
                </c:pt>
                <c:pt idx="867">
                  <c:v>20.655131056393973</c:v>
                </c:pt>
                <c:pt idx="868">
                  <c:v>20.655131056393973</c:v>
                </c:pt>
                <c:pt idx="869">
                  <c:v>20.655131056393973</c:v>
                </c:pt>
                <c:pt idx="870">
                  <c:v>20.655131056393973</c:v>
                </c:pt>
                <c:pt idx="871">
                  <c:v>20.655131056393973</c:v>
                </c:pt>
                <c:pt idx="872">
                  <c:v>20.655131056393973</c:v>
                </c:pt>
                <c:pt idx="873">
                  <c:v>20.655131056393973</c:v>
                </c:pt>
                <c:pt idx="874">
                  <c:v>20.655131056393973</c:v>
                </c:pt>
                <c:pt idx="875">
                  <c:v>20.655131056393973</c:v>
                </c:pt>
                <c:pt idx="876">
                  <c:v>20.655131056393973</c:v>
                </c:pt>
                <c:pt idx="877">
                  <c:v>20.655131056393973</c:v>
                </c:pt>
                <c:pt idx="878">
                  <c:v>20.655131056393973</c:v>
                </c:pt>
                <c:pt idx="879">
                  <c:v>20.655131056393973</c:v>
                </c:pt>
                <c:pt idx="880">
                  <c:v>20.655131056393973</c:v>
                </c:pt>
                <c:pt idx="881">
                  <c:v>20.655131056393973</c:v>
                </c:pt>
                <c:pt idx="882">
                  <c:v>20.655131056393973</c:v>
                </c:pt>
                <c:pt idx="883">
                  <c:v>20.655131056393973</c:v>
                </c:pt>
                <c:pt idx="884">
                  <c:v>20.655131056393973</c:v>
                </c:pt>
                <c:pt idx="885">
                  <c:v>20.655131056393973</c:v>
                </c:pt>
                <c:pt idx="886">
                  <c:v>20.655131056393973</c:v>
                </c:pt>
                <c:pt idx="887">
                  <c:v>20.655131056393973</c:v>
                </c:pt>
                <c:pt idx="888">
                  <c:v>20.655131056393973</c:v>
                </c:pt>
                <c:pt idx="889">
                  <c:v>20.655131056393973</c:v>
                </c:pt>
                <c:pt idx="890">
                  <c:v>20.655131056393973</c:v>
                </c:pt>
                <c:pt idx="891">
                  <c:v>20.655131056393973</c:v>
                </c:pt>
                <c:pt idx="892">
                  <c:v>20.655131056393973</c:v>
                </c:pt>
                <c:pt idx="893">
                  <c:v>20.655131056393973</c:v>
                </c:pt>
                <c:pt idx="894">
                  <c:v>20.655131056393973</c:v>
                </c:pt>
                <c:pt idx="895">
                  <c:v>20.655131056393973</c:v>
                </c:pt>
                <c:pt idx="896">
                  <c:v>20.655131056393973</c:v>
                </c:pt>
                <c:pt idx="897">
                  <c:v>20.655131056393973</c:v>
                </c:pt>
                <c:pt idx="898">
                  <c:v>20.655131056393973</c:v>
                </c:pt>
                <c:pt idx="899">
                  <c:v>20.655131056393973</c:v>
                </c:pt>
                <c:pt idx="900">
                  <c:v>20.655131056393973</c:v>
                </c:pt>
                <c:pt idx="901">
                  <c:v>20.655131056393973</c:v>
                </c:pt>
                <c:pt idx="902">
                  <c:v>20.655131056393973</c:v>
                </c:pt>
                <c:pt idx="903">
                  <c:v>20.655131056393973</c:v>
                </c:pt>
                <c:pt idx="904">
                  <c:v>20.655131056393973</c:v>
                </c:pt>
                <c:pt idx="905">
                  <c:v>20.655131056393973</c:v>
                </c:pt>
                <c:pt idx="906">
                  <c:v>20.655131056393973</c:v>
                </c:pt>
                <c:pt idx="907">
                  <c:v>20.655131056393973</c:v>
                </c:pt>
                <c:pt idx="908">
                  <c:v>20.655131056393973</c:v>
                </c:pt>
                <c:pt idx="909">
                  <c:v>20.655131056393973</c:v>
                </c:pt>
                <c:pt idx="910">
                  <c:v>20.655131056393973</c:v>
                </c:pt>
                <c:pt idx="911">
                  <c:v>20.655131056393973</c:v>
                </c:pt>
                <c:pt idx="912">
                  <c:v>20.655131056393973</c:v>
                </c:pt>
                <c:pt idx="913">
                  <c:v>20.655131056393973</c:v>
                </c:pt>
                <c:pt idx="914">
                  <c:v>20.655131056393973</c:v>
                </c:pt>
                <c:pt idx="915">
                  <c:v>20.655131056393973</c:v>
                </c:pt>
                <c:pt idx="916">
                  <c:v>20.655131056393973</c:v>
                </c:pt>
                <c:pt idx="917">
                  <c:v>20.655131056393973</c:v>
                </c:pt>
                <c:pt idx="918">
                  <c:v>20.655131056393973</c:v>
                </c:pt>
                <c:pt idx="919">
                  <c:v>20.655131056393973</c:v>
                </c:pt>
                <c:pt idx="920">
                  <c:v>20.655131056393973</c:v>
                </c:pt>
                <c:pt idx="921">
                  <c:v>20.655131056393973</c:v>
                </c:pt>
                <c:pt idx="922">
                  <c:v>20.655131056393973</c:v>
                </c:pt>
                <c:pt idx="923">
                  <c:v>20.655131056393973</c:v>
                </c:pt>
                <c:pt idx="924">
                  <c:v>20.655131056393973</c:v>
                </c:pt>
                <c:pt idx="925">
                  <c:v>20.655131056393973</c:v>
                </c:pt>
                <c:pt idx="926">
                  <c:v>20.655131056393973</c:v>
                </c:pt>
                <c:pt idx="927">
                  <c:v>20.655131056393973</c:v>
                </c:pt>
                <c:pt idx="928">
                  <c:v>20.655131056393973</c:v>
                </c:pt>
                <c:pt idx="929">
                  <c:v>20.655131056393973</c:v>
                </c:pt>
                <c:pt idx="930">
                  <c:v>20.655131056393973</c:v>
                </c:pt>
                <c:pt idx="931">
                  <c:v>20.655131056393973</c:v>
                </c:pt>
                <c:pt idx="932">
                  <c:v>20.655131056393973</c:v>
                </c:pt>
                <c:pt idx="933">
                  <c:v>20.655131056393973</c:v>
                </c:pt>
                <c:pt idx="934">
                  <c:v>20.655131056393973</c:v>
                </c:pt>
                <c:pt idx="935">
                  <c:v>20.655131056393973</c:v>
                </c:pt>
                <c:pt idx="936">
                  <c:v>20.655131056393973</c:v>
                </c:pt>
                <c:pt idx="937">
                  <c:v>20.655131056393973</c:v>
                </c:pt>
                <c:pt idx="938">
                  <c:v>20.655131056393973</c:v>
                </c:pt>
                <c:pt idx="939">
                  <c:v>20.655131056393973</c:v>
                </c:pt>
                <c:pt idx="940">
                  <c:v>20.655131056393973</c:v>
                </c:pt>
                <c:pt idx="941">
                  <c:v>20.655131056393973</c:v>
                </c:pt>
                <c:pt idx="942">
                  <c:v>20.655131056393973</c:v>
                </c:pt>
                <c:pt idx="943">
                  <c:v>20.655131056393973</c:v>
                </c:pt>
                <c:pt idx="944">
                  <c:v>20.655131056393973</c:v>
                </c:pt>
                <c:pt idx="945">
                  <c:v>20.655131056393973</c:v>
                </c:pt>
                <c:pt idx="946">
                  <c:v>20.655131056393973</c:v>
                </c:pt>
                <c:pt idx="947">
                  <c:v>20.655131056393973</c:v>
                </c:pt>
                <c:pt idx="948">
                  <c:v>20.655131056393973</c:v>
                </c:pt>
                <c:pt idx="949">
                  <c:v>20.655131056393973</c:v>
                </c:pt>
                <c:pt idx="950">
                  <c:v>20.655131056393973</c:v>
                </c:pt>
                <c:pt idx="951">
                  <c:v>20.655131056393973</c:v>
                </c:pt>
                <c:pt idx="952">
                  <c:v>20.655131056393973</c:v>
                </c:pt>
                <c:pt idx="953">
                  <c:v>20.655131056393973</c:v>
                </c:pt>
                <c:pt idx="954">
                  <c:v>20.655131056393973</c:v>
                </c:pt>
                <c:pt idx="955">
                  <c:v>20.655131056393973</c:v>
                </c:pt>
                <c:pt idx="956">
                  <c:v>20.655131056393973</c:v>
                </c:pt>
                <c:pt idx="957">
                  <c:v>20.655131056393973</c:v>
                </c:pt>
                <c:pt idx="958">
                  <c:v>20.655131056393973</c:v>
                </c:pt>
                <c:pt idx="959">
                  <c:v>20.655131056393973</c:v>
                </c:pt>
                <c:pt idx="960">
                  <c:v>20.655131056393973</c:v>
                </c:pt>
                <c:pt idx="961">
                  <c:v>20.655131056393973</c:v>
                </c:pt>
                <c:pt idx="962">
                  <c:v>20.655131056393973</c:v>
                </c:pt>
                <c:pt idx="963">
                  <c:v>20.655131056393973</c:v>
                </c:pt>
                <c:pt idx="964">
                  <c:v>20.655131056393973</c:v>
                </c:pt>
                <c:pt idx="965">
                  <c:v>20.655131056393973</c:v>
                </c:pt>
                <c:pt idx="966">
                  <c:v>20.655131056393973</c:v>
                </c:pt>
                <c:pt idx="967">
                  <c:v>20.655131056393973</c:v>
                </c:pt>
                <c:pt idx="968">
                  <c:v>20.655131056393973</c:v>
                </c:pt>
                <c:pt idx="969">
                  <c:v>20.655131056393973</c:v>
                </c:pt>
                <c:pt idx="970">
                  <c:v>20.655131056393973</c:v>
                </c:pt>
                <c:pt idx="971">
                  <c:v>20.655131056393973</c:v>
                </c:pt>
                <c:pt idx="972">
                  <c:v>20.655131056393973</c:v>
                </c:pt>
                <c:pt idx="973">
                  <c:v>20.655131056393973</c:v>
                </c:pt>
                <c:pt idx="974">
                  <c:v>20.655131056393973</c:v>
                </c:pt>
                <c:pt idx="975">
                  <c:v>20.655131056393973</c:v>
                </c:pt>
                <c:pt idx="976">
                  <c:v>20.655131056393973</c:v>
                </c:pt>
                <c:pt idx="977">
                  <c:v>20.655131056393973</c:v>
                </c:pt>
                <c:pt idx="978">
                  <c:v>20.655131056393973</c:v>
                </c:pt>
                <c:pt idx="979">
                  <c:v>20.655131056393973</c:v>
                </c:pt>
                <c:pt idx="980">
                  <c:v>20.655131056393973</c:v>
                </c:pt>
                <c:pt idx="981">
                  <c:v>20.655131056393973</c:v>
                </c:pt>
                <c:pt idx="982">
                  <c:v>20.655131056393973</c:v>
                </c:pt>
                <c:pt idx="983">
                  <c:v>20.655131056393973</c:v>
                </c:pt>
                <c:pt idx="984">
                  <c:v>20.655131056393973</c:v>
                </c:pt>
                <c:pt idx="985">
                  <c:v>20.655131056393973</c:v>
                </c:pt>
                <c:pt idx="986">
                  <c:v>20.655131056393973</c:v>
                </c:pt>
                <c:pt idx="987">
                  <c:v>20.655131056393973</c:v>
                </c:pt>
                <c:pt idx="988">
                  <c:v>20.655131056393973</c:v>
                </c:pt>
                <c:pt idx="989">
                  <c:v>20.655131056393973</c:v>
                </c:pt>
                <c:pt idx="990">
                  <c:v>20.655131056393973</c:v>
                </c:pt>
                <c:pt idx="991">
                  <c:v>20.655131056393973</c:v>
                </c:pt>
                <c:pt idx="992">
                  <c:v>20.655131056393973</c:v>
                </c:pt>
                <c:pt idx="993">
                  <c:v>20.655131056393973</c:v>
                </c:pt>
                <c:pt idx="994">
                  <c:v>20.655131056393973</c:v>
                </c:pt>
                <c:pt idx="995">
                  <c:v>20.655131056393973</c:v>
                </c:pt>
                <c:pt idx="996">
                  <c:v>20.655131056393973</c:v>
                </c:pt>
                <c:pt idx="997">
                  <c:v>20.655131056393973</c:v>
                </c:pt>
                <c:pt idx="998">
                  <c:v>20.655131056393973</c:v>
                </c:pt>
                <c:pt idx="999">
                  <c:v>20.655131056393973</c:v>
                </c:pt>
                <c:pt idx="1000">
                  <c:v>20.655131056393973</c:v>
                </c:pt>
                <c:pt idx="1001">
                  <c:v>20.655131056393973</c:v>
                </c:pt>
                <c:pt idx="1002">
                  <c:v>20.655131056393973</c:v>
                </c:pt>
                <c:pt idx="1003">
                  <c:v>20.655131056393973</c:v>
                </c:pt>
                <c:pt idx="1004">
                  <c:v>20.655131056393973</c:v>
                </c:pt>
                <c:pt idx="1005">
                  <c:v>20.655131056393973</c:v>
                </c:pt>
                <c:pt idx="1006">
                  <c:v>20.655131056393973</c:v>
                </c:pt>
                <c:pt idx="1007">
                  <c:v>20.655131056393973</c:v>
                </c:pt>
                <c:pt idx="1008">
                  <c:v>20.655131056393973</c:v>
                </c:pt>
                <c:pt idx="1009">
                  <c:v>20.655131056393973</c:v>
                </c:pt>
                <c:pt idx="1010">
                  <c:v>20.655131056393973</c:v>
                </c:pt>
                <c:pt idx="1011">
                  <c:v>20.655131056393973</c:v>
                </c:pt>
                <c:pt idx="1012">
                  <c:v>20.655131056393973</c:v>
                </c:pt>
                <c:pt idx="1013">
                  <c:v>20.655131056393973</c:v>
                </c:pt>
                <c:pt idx="1014">
                  <c:v>20.655131056393973</c:v>
                </c:pt>
                <c:pt idx="1015">
                  <c:v>20.655131056393973</c:v>
                </c:pt>
                <c:pt idx="1016">
                  <c:v>20.655131056393973</c:v>
                </c:pt>
                <c:pt idx="1017">
                  <c:v>20.655131056393973</c:v>
                </c:pt>
                <c:pt idx="1018">
                  <c:v>20.655131056393973</c:v>
                </c:pt>
                <c:pt idx="1019">
                  <c:v>20.655131056393973</c:v>
                </c:pt>
                <c:pt idx="1020">
                  <c:v>20.655131056393973</c:v>
                </c:pt>
                <c:pt idx="1021">
                  <c:v>20.655131056393973</c:v>
                </c:pt>
                <c:pt idx="1022">
                  <c:v>20.655131056393973</c:v>
                </c:pt>
                <c:pt idx="1023">
                  <c:v>20.655131056393973</c:v>
                </c:pt>
                <c:pt idx="1024">
                  <c:v>20.655131056393973</c:v>
                </c:pt>
                <c:pt idx="1025">
                  <c:v>20.655131056393973</c:v>
                </c:pt>
                <c:pt idx="1026">
                  <c:v>20.655131056393973</c:v>
                </c:pt>
                <c:pt idx="1027">
                  <c:v>20.655131056393973</c:v>
                </c:pt>
                <c:pt idx="1028">
                  <c:v>20.655131056393973</c:v>
                </c:pt>
                <c:pt idx="1029">
                  <c:v>20.655131056393973</c:v>
                </c:pt>
                <c:pt idx="1030">
                  <c:v>20.655131056393973</c:v>
                </c:pt>
                <c:pt idx="1031">
                  <c:v>20.655131056393973</c:v>
                </c:pt>
                <c:pt idx="1032">
                  <c:v>20.655131056393973</c:v>
                </c:pt>
                <c:pt idx="1033">
                  <c:v>20.655131056393973</c:v>
                </c:pt>
                <c:pt idx="1034">
                  <c:v>20.655131056393973</c:v>
                </c:pt>
                <c:pt idx="1035">
                  <c:v>20.655131056393973</c:v>
                </c:pt>
                <c:pt idx="1036">
                  <c:v>20.655131056393973</c:v>
                </c:pt>
                <c:pt idx="1037">
                  <c:v>20.655131056393973</c:v>
                </c:pt>
                <c:pt idx="1038">
                  <c:v>20.655131056393973</c:v>
                </c:pt>
                <c:pt idx="1039">
                  <c:v>20.655131056393973</c:v>
                </c:pt>
                <c:pt idx="1040">
                  <c:v>20.655131056393973</c:v>
                </c:pt>
                <c:pt idx="1041">
                  <c:v>20.655131056393973</c:v>
                </c:pt>
                <c:pt idx="1042">
                  <c:v>20.655131056393973</c:v>
                </c:pt>
                <c:pt idx="1043">
                  <c:v>20.655131056393973</c:v>
                </c:pt>
                <c:pt idx="1044">
                  <c:v>20.655131056393973</c:v>
                </c:pt>
                <c:pt idx="1045">
                  <c:v>20.655131056393973</c:v>
                </c:pt>
                <c:pt idx="1046">
                  <c:v>20.655131056393973</c:v>
                </c:pt>
                <c:pt idx="1047">
                  <c:v>20.655131056393973</c:v>
                </c:pt>
                <c:pt idx="1048">
                  <c:v>20.655131056393973</c:v>
                </c:pt>
                <c:pt idx="1049">
                  <c:v>20.655131056393973</c:v>
                </c:pt>
                <c:pt idx="1050">
                  <c:v>20.655131056393973</c:v>
                </c:pt>
                <c:pt idx="1051">
                  <c:v>20.655131056393973</c:v>
                </c:pt>
                <c:pt idx="1052">
                  <c:v>20.655131056393973</c:v>
                </c:pt>
                <c:pt idx="1053">
                  <c:v>20.655131056393973</c:v>
                </c:pt>
                <c:pt idx="1054">
                  <c:v>20.655131056393973</c:v>
                </c:pt>
                <c:pt idx="1055">
                  <c:v>20.655131056393973</c:v>
                </c:pt>
                <c:pt idx="1056">
                  <c:v>20.655131056393973</c:v>
                </c:pt>
                <c:pt idx="1057">
                  <c:v>20.655131056393973</c:v>
                </c:pt>
                <c:pt idx="1058">
                  <c:v>20.655131056393973</c:v>
                </c:pt>
                <c:pt idx="1059">
                  <c:v>20.655131056393973</c:v>
                </c:pt>
                <c:pt idx="1060">
                  <c:v>20.655131056393973</c:v>
                </c:pt>
                <c:pt idx="1061">
                  <c:v>20.655131056393973</c:v>
                </c:pt>
                <c:pt idx="1062">
                  <c:v>20.655131056393973</c:v>
                </c:pt>
                <c:pt idx="1063">
                  <c:v>20.655131056393973</c:v>
                </c:pt>
                <c:pt idx="1064">
                  <c:v>20.655131056393973</c:v>
                </c:pt>
                <c:pt idx="1065">
                  <c:v>20.655131056393973</c:v>
                </c:pt>
                <c:pt idx="1066">
                  <c:v>20.655131056393973</c:v>
                </c:pt>
                <c:pt idx="1067">
                  <c:v>20.655131056393973</c:v>
                </c:pt>
                <c:pt idx="1068">
                  <c:v>20.655131056393973</c:v>
                </c:pt>
                <c:pt idx="1069">
                  <c:v>20.655131056393973</c:v>
                </c:pt>
                <c:pt idx="1070">
                  <c:v>20.655131056393973</c:v>
                </c:pt>
                <c:pt idx="1071">
                  <c:v>20.655131056393973</c:v>
                </c:pt>
                <c:pt idx="1072">
                  <c:v>20.655131056393973</c:v>
                </c:pt>
                <c:pt idx="1073">
                  <c:v>20.655131056393973</c:v>
                </c:pt>
                <c:pt idx="1074">
                  <c:v>20.655131056393973</c:v>
                </c:pt>
                <c:pt idx="1075">
                  <c:v>20.655131056393973</c:v>
                </c:pt>
                <c:pt idx="1076">
                  <c:v>20.655131056393973</c:v>
                </c:pt>
                <c:pt idx="1077">
                  <c:v>20.655131056393973</c:v>
                </c:pt>
                <c:pt idx="1078">
                  <c:v>20.655131056393973</c:v>
                </c:pt>
                <c:pt idx="1079">
                  <c:v>20.655131056393973</c:v>
                </c:pt>
                <c:pt idx="1080">
                  <c:v>20.655131056393973</c:v>
                </c:pt>
                <c:pt idx="1081">
                  <c:v>20.655131056393973</c:v>
                </c:pt>
                <c:pt idx="1082">
                  <c:v>20.655131056393973</c:v>
                </c:pt>
                <c:pt idx="1083">
                  <c:v>20.655131056393973</c:v>
                </c:pt>
                <c:pt idx="1084">
                  <c:v>20.655131056393973</c:v>
                </c:pt>
                <c:pt idx="1085">
                  <c:v>20.655131056393973</c:v>
                </c:pt>
                <c:pt idx="1086">
                  <c:v>20.655131056393973</c:v>
                </c:pt>
                <c:pt idx="1087">
                  <c:v>20.655131056393973</c:v>
                </c:pt>
                <c:pt idx="1088">
                  <c:v>20.655131056393973</c:v>
                </c:pt>
                <c:pt idx="1089">
                  <c:v>20.655131056393973</c:v>
                </c:pt>
                <c:pt idx="1090">
                  <c:v>20.655131056393973</c:v>
                </c:pt>
                <c:pt idx="1091">
                  <c:v>20.655131056393973</c:v>
                </c:pt>
                <c:pt idx="1092">
                  <c:v>20.655131056393973</c:v>
                </c:pt>
                <c:pt idx="1093">
                  <c:v>20.655131056393973</c:v>
                </c:pt>
                <c:pt idx="1094">
                  <c:v>20.655131056393973</c:v>
                </c:pt>
                <c:pt idx="1095">
                  <c:v>20.655131056393973</c:v>
                </c:pt>
                <c:pt idx="1096">
                  <c:v>20.655131056393973</c:v>
                </c:pt>
                <c:pt idx="1097">
                  <c:v>20.655131056393973</c:v>
                </c:pt>
                <c:pt idx="1098">
                  <c:v>20.655131056393973</c:v>
                </c:pt>
                <c:pt idx="1099">
                  <c:v>20.655131056393973</c:v>
                </c:pt>
                <c:pt idx="1100">
                  <c:v>20.655131056393973</c:v>
                </c:pt>
                <c:pt idx="1101">
                  <c:v>20.655131056393973</c:v>
                </c:pt>
                <c:pt idx="1102">
                  <c:v>20.655131056393973</c:v>
                </c:pt>
                <c:pt idx="1103">
                  <c:v>20.655131056393973</c:v>
                </c:pt>
                <c:pt idx="1104">
                  <c:v>20.655131056393973</c:v>
                </c:pt>
                <c:pt idx="1105">
                  <c:v>20.655131056393973</c:v>
                </c:pt>
                <c:pt idx="1106">
                  <c:v>20.655131056393973</c:v>
                </c:pt>
                <c:pt idx="1107">
                  <c:v>20.655131056393973</c:v>
                </c:pt>
                <c:pt idx="1108">
                  <c:v>20.655131056393973</c:v>
                </c:pt>
                <c:pt idx="1109">
                  <c:v>20.655131056393973</c:v>
                </c:pt>
                <c:pt idx="1110">
                  <c:v>20.655131056393973</c:v>
                </c:pt>
                <c:pt idx="1111">
                  <c:v>20.655131056393973</c:v>
                </c:pt>
                <c:pt idx="1112">
                  <c:v>20.655131056393973</c:v>
                </c:pt>
                <c:pt idx="1113">
                  <c:v>20.655131056393973</c:v>
                </c:pt>
                <c:pt idx="1114">
                  <c:v>20.655131056393973</c:v>
                </c:pt>
                <c:pt idx="1115">
                  <c:v>20.655131056393973</c:v>
                </c:pt>
                <c:pt idx="1116">
                  <c:v>20.655131056393973</c:v>
                </c:pt>
                <c:pt idx="1117">
                  <c:v>20.655131056393973</c:v>
                </c:pt>
                <c:pt idx="1118">
                  <c:v>20.655131056393973</c:v>
                </c:pt>
                <c:pt idx="1119">
                  <c:v>20.655131056393973</c:v>
                </c:pt>
                <c:pt idx="1120">
                  <c:v>20.655131056393973</c:v>
                </c:pt>
                <c:pt idx="1121">
                  <c:v>20.655131056393973</c:v>
                </c:pt>
                <c:pt idx="1122">
                  <c:v>20.655131056393973</c:v>
                </c:pt>
                <c:pt idx="1123">
                  <c:v>20.655131056393973</c:v>
                </c:pt>
                <c:pt idx="1124">
                  <c:v>20.655131056393973</c:v>
                </c:pt>
                <c:pt idx="1125">
                  <c:v>20.655131056393973</c:v>
                </c:pt>
                <c:pt idx="1126">
                  <c:v>20.655131056393973</c:v>
                </c:pt>
                <c:pt idx="1127">
                  <c:v>20.655131056393973</c:v>
                </c:pt>
                <c:pt idx="1128">
                  <c:v>20.655131056393973</c:v>
                </c:pt>
                <c:pt idx="1129">
                  <c:v>20.655131056393973</c:v>
                </c:pt>
                <c:pt idx="1130">
                  <c:v>20.655131056393973</c:v>
                </c:pt>
                <c:pt idx="1131">
                  <c:v>20.655131056393973</c:v>
                </c:pt>
                <c:pt idx="1132">
                  <c:v>20.655131056393973</c:v>
                </c:pt>
                <c:pt idx="1133">
                  <c:v>20.655131056393973</c:v>
                </c:pt>
                <c:pt idx="1134">
                  <c:v>20.655131056393973</c:v>
                </c:pt>
                <c:pt idx="1135">
                  <c:v>20.655131056393973</c:v>
                </c:pt>
                <c:pt idx="1136">
                  <c:v>20.655131056393973</c:v>
                </c:pt>
                <c:pt idx="1137">
                  <c:v>20.655131056393973</c:v>
                </c:pt>
                <c:pt idx="1138">
                  <c:v>20.655131056393973</c:v>
                </c:pt>
                <c:pt idx="1139">
                  <c:v>20.655131056393973</c:v>
                </c:pt>
                <c:pt idx="1140">
                  <c:v>20.655131056393973</c:v>
                </c:pt>
                <c:pt idx="1141">
                  <c:v>20.655131056393973</c:v>
                </c:pt>
                <c:pt idx="1142">
                  <c:v>20.655131056393973</c:v>
                </c:pt>
                <c:pt idx="1143">
                  <c:v>20.655131056393973</c:v>
                </c:pt>
                <c:pt idx="1144">
                  <c:v>20.655131056393973</c:v>
                </c:pt>
                <c:pt idx="1145">
                  <c:v>20.655131056393973</c:v>
                </c:pt>
                <c:pt idx="1146">
                  <c:v>20.655131056393973</c:v>
                </c:pt>
                <c:pt idx="1147">
                  <c:v>20.655131056393973</c:v>
                </c:pt>
                <c:pt idx="1148">
                  <c:v>20.655131056393973</c:v>
                </c:pt>
                <c:pt idx="1149">
                  <c:v>20.655131056393973</c:v>
                </c:pt>
                <c:pt idx="1150">
                  <c:v>20.655131056393973</c:v>
                </c:pt>
                <c:pt idx="1151">
                  <c:v>20.655131056393973</c:v>
                </c:pt>
                <c:pt idx="1152">
                  <c:v>20.655131056393973</c:v>
                </c:pt>
                <c:pt idx="1153">
                  <c:v>20.655131056393973</c:v>
                </c:pt>
                <c:pt idx="1154">
                  <c:v>20.655131056393973</c:v>
                </c:pt>
                <c:pt idx="1155">
                  <c:v>20.655131056393973</c:v>
                </c:pt>
                <c:pt idx="1156">
                  <c:v>20.655131056393973</c:v>
                </c:pt>
                <c:pt idx="1157">
                  <c:v>20.655131056393973</c:v>
                </c:pt>
                <c:pt idx="1158">
                  <c:v>20.655131056393973</c:v>
                </c:pt>
                <c:pt idx="1159">
                  <c:v>20.655131056393973</c:v>
                </c:pt>
                <c:pt idx="1160">
                  <c:v>20.655131056393973</c:v>
                </c:pt>
                <c:pt idx="1161">
                  <c:v>20.655131056393973</c:v>
                </c:pt>
                <c:pt idx="1162">
                  <c:v>20.655131056393973</c:v>
                </c:pt>
                <c:pt idx="1163">
                  <c:v>20.655131056393973</c:v>
                </c:pt>
                <c:pt idx="1164">
                  <c:v>20.655131056393973</c:v>
                </c:pt>
                <c:pt idx="1165">
                  <c:v>20.655131056393973</c:v>
                </c:pt>
                <c:pt idx="1166">
                  <c:v>20.655131056393973</c:v>
                </c:pt>
                <c:pt idx="1167">
                  <c:v>20.655131056393973</c:v>
                </c:pt>
                <c:pt idx="1168">
                  <c:v>20.655131056393973</c:v>
                </c:pt>
                <c:pt idx="1169">
                  <c:v>20.655131056393973</c:v>
                </c:pt>
                <c:pt idx="1170">
                  <c:v>20.655131056393973</c:v>
                </c:pt>
                <c:pt idx="1171">
                  <c:v>20.655131056393973</c:v>
                </c:pt>
                <c:pt idx="1172">
                  <c:v>20.655131056393973</c:v>
                </c:pt>
                <c:pt idx="1173">
                  <c:v>20.655131056393973</c:v>
                </c:pt>
                <c:pt idx="1174">
                  <c:v>20.655131056393973</c:v>
                </c:pt>
                <c:pt idx="1175">
                  <c:v>20.655131056393973</c:v>
                </c:pt>
                <c:pt idx="1176">
                  <c:v>20.655131056393973</c:v>
                </c:pt>
                <c:pt idx="1177">
                  <c:v>20.655131056393973</c:v>
                </c:pt>
                <c:pt idx="1178">
                  <c:v>20.655131056393973</c:v>
                </c:pt>
                <c:pt idx="1179">
                  <c:v>20.655131056393973</c:v>
                </c:pt>
                <c:pt idx="1180">
                  <c:v>20.655131056393973</c:v>
                </c:pt>
                <c:pt idx="1181">
                  <c:v>20.655131056393973</c:v>
                </c:pt>
                <c:pt idx="1182">
                  <c:v>20.655131056393973</c:v>
                </c:pt>
                <c:pt idx="1183">
                  <c:v>20.655131056393973</c:v>
                </c:pt>
                <c:pt idx="1184">
                  <c:v>20.655131056393973</c:v>
                </c:pt>
                <c:pt idx="1185">
                  <c:v>20.655131056393973</c:v>
                </c:pt>
                <c:pt idx="1186">
                  <c:v>20.655131056393973</c:v>
                </c:pt>
                <c:pt idx="1187">
                  <c:v>20.655131056393973</c:v>
                </c:pt>
                <c:pt idx="1188">
                  <c:v>20.655131056393973</c:v>
                </c:pt>
                <c:pt idx="1189">
                  <c:v>20.655131056393973</c:v>
                </c:pt>
                <c:pt idx="1190">
                  <c:v>20.655131056393973</c:v>
                </c:pt>
                <c:pt idx="1191">
                  <c:v>20.655131056393973</c:v>
                </c:pt>
                <c:pt idx="1192">
                  <c:v>20.655131056393973</c:v>
                </c:pt>
                <c:pt idx="1193">
                  <c:v>20.655131056393973</c:v>
                </c:pt>
                <c:pt idx="1194">
                  <c:v>20.655131056393973</c:v>
                </c:pt>
                <c:pt idx="1195">
                  <c:v>20.655131056393973</c:v>
                </c:pt>
                <c:pt idx="1196">
                  <c:v>20.655131056393973</c:v>
                </c:pt>
                <c:pt idx="1197">
                  <c:v>20.655131056393973</c:v>
                </c:pt>
                <c:pt idx="1198">
                  <c:v>20.655131056393973</c:v>
                </c:pt>
                <c:pt idx="1199">
                  <c:v>20.655131056393973</c:v>
                </c:pt>
                <c:pt idx="1200">
                  <c:v>20.655131056393973</c:v>
                </c:pt>
                <c:pt idx="1201">
                  <c:v>20.655131056393973</c:v>
                </c:pt>
                <c:pt idx="1202">
                  <c:v>20.655131056393973</c:v>
                </c:pt>
                <c:pt idx="1203">
                  <c:v>20.655131056393973</c:v>
                </c:pt>
                <c:pt idx="1204">
                  <c:v>20.655131056393973</c:v>
                </c:pt>
                <c:pt idx="1205">
                  <c:v>20.655131056393973</c:v>
                </c:pt>
                <c:pt idx="1206">
                  <c:v>20.655131056393973</c:v>
                </c:pt>
                <c:pt idx="1207">
                  <c:v>20.655131056393973</c:v>
                </c:pt>
                <c:pt idx="1208">
                  <c:v>20.655131056393973</c:v>
                </c:pt>
                <c:pt idx="1209">
                  <c:v>20.655131056393973</c:v>
                </c:pt>
                <c:pt idx="1210">
                  <c:v>20.655131056393973</c:v>
                </c:pt>
                <c:pt idx="1211">
                  <c:v>20.655131056393973</c:v>
                </c:pt>
                <c:pt idx="1212">
                  <c:v>20.655131056393973</c:v>
                </c:pt>
                <c:pt idx="1213">
                  <c:v>20.655131056393973</c:v>
                </c:pt>
                <c:pt idx="1214">
                  <c:v>20.655131056393973</c:v>
                </c:pt>
                <c:pt idx="1215">
                  <c:v>20.655131056393973</c:v>
                </c:pt>
                <c:pt idx="1216">
                  <c:v>20.655131056393973</c:v>
                </c:pt>
                <c:pt idx="1217">
                  <c:v>20.655131056393973</c:v>
                </c:pt>
                <c:pt idx="1218">
                  <c:v>20.655131056393973</c:v>
                </c:pt>
                <c:pt idx="1219">
                  <c:v>20.655131056393973</c:v>
                </c:pt>
                <c:pt idx="1220">
                  <c:v>20.655131056393973</c:v>
                </c:pt>
                <c:pt idx="1221">
                  <c:v>20.655131056393973</c:v>
                </c:pt>
                <c:pt idx="1222">
                  <c:v>20.655131056393973</c:v>
                </c:pt>
                <c:pt idx="1223">
                  <c:v>20.655131056393973</c:v>
                </c:pt>
                <c:pt idx="1224">
                  <c:v>20.655131056393973</c:v>
                </c:pt>
                <c:pt idx="1225">
                  <c:v>20.655131056393973</c:v>
                </c:pt>
                <c:pt idx="1226">
                  <c:v>20.655131056393973</c:v>
                </c:pt>
                <c:pt idx="1227">
                  <c:v>20.655131056393973</c:v>
                </c:pt>
                <c:pt idx="1228">
                  <c:v>20.655131056393973</c:v>
                </c:pt>
                <c:pt idx="1229">
                  <c:v>20.655131056393973</c:v>
                </c:pt>
                <c:pt idx="1230">
                  <c:v>20.655131056393973</c:v>
                </c:pt>
                <c:pt idx="1231">
                  <c:v>20.655131056393973</c:v>
                </c:pt>
                <c:pt idx="1232">
                  <c:v>20.655131056393973</c:v>
                </c:pt>
                <c:pt idx="1233">
                  <c:v>20.655131056393973</c:v>
                </c:pt>
                <c:pt idx="1234">
                  <c:v>20.655131056393973</c:v>
                </c:pt>
                <c:pt idx="1235">
                  <c:v>20.655131056393973</c:v>
                </c:pt>
                <c:pt idx="1236">
                  <c:v>20.655131056393973</c:v>
                </c:pt>
                <c:pt idx="1237">
                  <c:v>20.655131056393973</c:v>
                </c:pt>
                <c:pt idx="1238">
                  <c:v>20.655131056393973</c:v>
                </c:pt>
                <c:pt idx="1239">
                  <c:v>20.655131056393973</c:v>
                </c:pt>
                <c:pt idx="1240">
                  <c:v>20.655131056393973</c:v>
                </c:pt>
                <c:pt idx="1241">
                  <c:v>20.655131056393973</c:v>
                </c:pt>
                <c:pt idx="1242">
                  <c:v>20.655131056393973</c:v>
                </c:pt>
                <c:pt idx="1243">
                  <c:v>20.655131056393973</c:v>
                </c:pt>
                <c:pt idx="1244">
                  <c:v>20.655131056393973</c:v>
                </c:pt>
                <c:pt idx="1245">
                  <c:v>20.655131056393973</c:v>
                </c:pt>
                <c:pt idx="1246">
                  <c:v>20.655131056393973</c:v>
                </c:pt>
                <c:pt idx="1247">
                  <c:v>20.655131056393973</c:v>
                </c:pt>
                <c:pt idx="1248">
                  <c:v>20.655131056393973</c:v>
                </c:pt>
                <c:pt idx="1249">
                  <c:v>20.655131056393973</c:v>
                </c:pt>
                <c:pt idx="1250">
                  <c:v>20.655131056393973</c:v>
                </c:pt>
                <c:pt idx="1251">
                  <c:v>20.655131056393973</c:v>
                </c:pt>
                <c:pt idx="1252">
                  <c:v>20.655131056393973</c:v>
                </c:pt>
                <c:pt idx="1253">
                  <c:v>20.655131056393973</c:v>
                </c:pt>
                <c:pt idx="1254">
                  <c:v>20.655131056393973</c:v>
                </c:pt>
                <c:pt idx="1255">
                  <c:v>20.655131056393973</c:v>
                </c:pt>
                <c:pt idx="1256">
                  <c:v>20.655131056393973</c:v>
                </c:pt>
                <c:pt idx="1257">
                  <c:v>20.655131056393973</c:v>
                </c:pt>
                <c:pt idx="1258">
                  <c:v>20.655131056393973</c:v>
                </c:pt>
                <c:pt idx="1259">
                  <c:v>20.655131056393973</c:v>
                </c:pt>
                <c:pt idx="1260">
                  <c:v>20.655131056393973</c:v>
                </c:pt>
                <c:pt idx="1261">
                  <c:v>20.655131056393973</c:v>
                </c:pt>
                <c:pt idx="1262">
                  <c:v>20.655131056393973</c:v>
                </c:pt>
                <c:pt idx="1263">
                  <c:v>20.655131056393973</c:v>
                </c:pt>
                <c:pt idx="1264">
                  <c:v>20.655131056393973</c:v>
                </c:pt>
                <c:pt idx="1265">
                  <c:v>20.655131056393973</c:v>
                </c:pt>
                <c:pt idx="1266">
                  <c:v>20.655131056393973</c:v>
                </c:pt>
                <c:pt idx="1267">
                  <c:v>20.655131056393973</c:v>
                </c:pt>
                <c:pt idx="1268">
                  <c:v>20.655131056393973</c:v>
                </c:pt>
                <c:pt idx="1269">
                  <c:v>20.655131056393973</c:v>
                </c:pt>
                <c:pt idx="1270">
                  <c:v>20.655131056393973</c:v>
                </c:pt>
                <c:pt idx="1271">
                  <c:v>20.655131056393973</c:v>
                </c:pt>
                <c:pt idx="1272">
                  <c:v>20.655131056393973</c:v>
                </c:pt>
                <c:pt idx="1273">
                  <c:v>20.655131056393973</c:v>
                </c:pt>
                <c:pt idx="1274">
                  <c:v>20.655131056393973</c:v>
                </c:pt>
                <c:pt idx="1275">
                  <c:v>20.655131056393973</c:v>
                </c:pt>
                <c:pt idx="1276">
                  <c:v>20.655131056393973</c:v>
                </c:pt>
                <c:pt idx="1277">
                  <c:v>20.655131056393973</c:v>
                </c:pt>
                <c:pt idx="1278">
                  <c:v>20.655131056393973</c:v>
                </c:pt>
                <c:pt idx="1279">
                  <c:v>20.655131056393973</c:v>
                </c:pt>
                <c:pt idx="1280">
                  <c:v>20.655131056393973</c:v>
                </c:pt>
                <c:pt idx="1281">
                  <c:v>20.655131056393973</c:v>
                </c:pt>
                <c:pt idx="1282">
                  <c:v>20.655131056393973</c:v>
                </c:pt>
                <c:pt idx="1283">
                  <c:v>20.655131056393973</c:v>
                </c:pt>
                <c:pt idx="1284">
                  <c:v>20.655131056393973</c:v>
                </c:pt>
                <c:pt idx="1285">
                  <c:v>20.655131056393973</c:v>
                </c:pt>
                <c:pt idx="1286">
                  <c:v>20.655131056393973</c:v>
                </c:pt>
                <c:pt idx="1287">
                  <c:v>20.655131056393973</c:v>
                </c:pt>
                <c:pt idx="1288">
                  <c:v>20.655131056393973</c:v>
                </c:pt>
                <c:pt idx="1289">
                  <c:v>20.655131056393973</c:v>
                </c:pt>
                <c:pt idx="1290">
                  <c:v>20.655131056393973</c:v>
                </c:pt>
                <c:pt idx="1291">
                  <c:v>20.655131056393973</c:v>
                </c:pt>
                <c:pt idx="1292">
                  <c:v>20.655131056393973</c:v>
                </c:pt>
                <c:pt idx="1293">
                  <c:v>20.655131056393973</c:v>
                </c:pt>
                <c:pt idx="1294">
                  <c:v>20.655131056393973</c:v>
                </c:pt>
                <c:pt idx="1295">
                  <c:v>20.655131056393973</c:v>
                </c:pt>
                <c:pt idx="1296">
                  <c:v>20.655131056393973</c:v>
                </c:pt>
                <c:pt idx="1297">
                  <c:v>20.655131056393973</c:v>
                </c:pt>
                <c:pt idx="1298">
                  <c:v>20.655131056393973</c:v>
                </c:pt>
                <c:pt idx="1299">
                  <c:v>20.655131056393973</c:v>
                </c:pt>
                <c:pt idx="1300">
                  <c:v>20.655131056393973</c:v>
                </c:pt>
                <c:pt idx="1301">
                  <c:v>20.655131056393973</c:v>
                </c:pt>
                <c:pt idx="1302">
                  <c:v>20.655131056393973</c:v>
                </c:pt>
                <c:pt idx="1303">
                  <c:v>20.655131056393973</c:v>
                </c:pt>
                <c:pt idx="1304">
                  <c:v>20.655131056393973</c:v>
                </c:pt>
                <c:pt idx="1305">
                  <c:v>20.655131056393973</c:v>
                </c:pt>
                <c:pt idx="1306">
                  <c:v>20.655131056393973</c:v>
                </c:pt>
                <c:pt idx="1307">
                  <c:v>20.655131056393973</c:v>
                </c:pt>
                <c:pt idx="1308">
                  <c:v>20.655131056393973</c:v>
                </c:pt>
                <c:pt idx="1309">
                  <c:v>20.655131056393973</c:v>
                </c:pt>
                <c:pt idx="1310">
                  <c:v>20.655131056393973</c:v>
                </c:pt>
                <c:pt idx="1311">
                  <c:v>20.655131056393973</c:v>
                </c:pt>
                <c:pt idx="1312">
                  <c:v>20.655131056393973</c:v>
                </c:pt>
                <c:pt idx="1313">
                  <c:v>20.655131056393973</c:v>
                </c:pt>
                <c:pt idx="1314">
                  <c:v>20.655131056393973</c:v>
                </c:pt>
                <c:pt idx="1315">
                  <c:v>20.655131056393973</c:v>
                </c:pt>
                <c:pt idx="1316">
                  <c:v>20.655131056393973</c:v>
                </c:pt>
                <c:pt idx="1317">
                  <c:v>20.655131056393973</c:v>
                </c:pt>
                <c:pt idx="1318">
                  <c:v>20.655131056393973</c:v>
                </c:pt>
                <c:pt idx="1319">
                  <c:v>20.655131056393973</c:v>
                </c:pt>
                <c:pt idx="1320">
                  <c:v>20.655131056393973</c:v>
                </c:pt>
                <c:pt idx="1321">
                  <c:v>20.655131056393973</c:v>
                </c:pt>
                <c:pt idx="1322">
                  <c:v>20.655131056393973</c:v>
                </c:pt>
                <c:pt idx="1323">
                  <c:v>20.655131056393973</c:v>
                </c:pt>
                <c:pt idx="1324">
                  <c:v>20.655131056393973</c:v>
                </c:pt>
                <c:pt idx="1325">
                  <c:v>20.655131056393973</c:v>
                </c:pt>
                <c:pt idx="1326">
                  <c:v>20.655131056393973</c:v>
                </c:pt>
                <c:pt idx="1327">
                  <c:v>20.655131056393973</c:v>
                </c:pt>
                <c:pt idx="1328">
                  <c:v>20.655131056393973</c:v>
                </c:pt>
                <c:pt idx="1329">
                  <c:v>20.655131056393973</c:v>
                </c:pt>
                <c:pt idx="1330">
                  <c:v>20.655131056393973</c:v>
                </c:pt>
                <c:pt idx="1331">
                  <c:v>20.655131056393973</c:v>
                </c:pt>
                <c:pt idx="1332">
                  <c:v>20.655131056393973</c:v>
                </c:pt>
                <c:pt idx="1333">
                  <c:v>20.655131056393973</c:v>
                </c:pt>
                <c:pt idx="1334">
                  <c:v>20.655131056393973</c:v>
                </c:pt>
                <c:pt idx="1335">
                  <c:v>20.655131056393973</c:v>
                </c:pt>
                <c:pt idx="1336">
                  <c:v>20.655131056393973</c:v>
                </c:pt>
                <c:pt idx="1337">
                  <c:v>20.655131056393973</c:v>
                </c:pt>
                <c:pt idx="1338">
                  <c:v>20.655131056393973</c:v>
                </c:pt>
                <c:pt idx="1339">
                  <c:v>20.655131056393973</c:v>
                </c:pt>
                <c:pt idx="1340">
                  <c:v>20.655131056393973</c:v>
                </c:pt>
                <c:pt idx="1341">
                  <c:v>20.655131056393973</c:v>
                </c:pt>
                <c:pt idx="1342">
                  <c:v>20.655131056393973</c:v>
                </c:pt>
                <c:pt idx="1343">
                  <c:v>20.655131056393973</c:v>
                </c:pt>
                <c:pt idx="1344">
                  <c:v>20.655131056393973</c:v>
                </c:pt>
                <c:pt idx="1345">
                  <c:v>20.655131056393973</c:v>
                </c:pt>
                <c:pt idx="1346">
                  <c:v>20.655131056393973</c:v>
                </c:pt>
                <c:pt idx="1347">
                  <c:v>20.655131056393973</c:v>
                </c:pt>
                <c:pt idx="1348">
                  <c:v>20.655131056393973</c:v>
                </c:pt>
                <c:pt idx="1349">
                  <c:v>20.655131056393973</c:v>
                </c:pt>
                <c:pt idx="1350">
                  <c:v>20.655131056393973</c:v>
                </c:pt>
                <c:pt idx="1351">
                  <c:v>20.655131056393973</c:v>
                </c:pt>
                <c:pt idx="1352">
                  <c:v>20.655131056393973</c:v>
                </c:pt>
                <c:pt idx="1353">
                  <c:v>20.655131056393973</c:v>
                </c:pt>
                <c:pt idx="1354">
                  <c:v>20.655131056393973</c:v>
                </c:pt>
                <c:pt idx="1355">
                  <c:v>20.655131056393973</c:v>
                </c:pt>
                <c:pt idx="1356">
                  <c:v>20.655131056393973</c:v>
                </c:pt>
                <c:pt idx="1357">
                  <c:v>20.655131056393973</c:v>
                </c:pt>
                <c:pt idx="1358">
                  <c:v>20.655131056393973</c:v>
                </c:pt>
                <c:pt idx="1359">
                  <c:v>20.655131056393973</c:v>
                </c:pt>
                <c:pt idx="1360">
                  <c:v>20.655131056393973</c:v>
                </c:pt>
                <c:pt idx="1361">
                  <c:v>20.655131056393973</c:v>
                </c:pt>
                <c:pt idx="1362">
                  <c:v>20.655131056393973</c:v>
                </c:pt>
                <c:pt idx="1363">
                  <c:v>20.655131056393973</c:v>
                </c:pt>
                <c:pt idx="1364">
                  <c:v>20.655131056393973</c:v>
                </c:pt>
                <c:pt idx="1365">
                  <c:v>20.655131056393973</c:v>
                </c:pt>
                <c:pt idx="1366">
                  <c:v>20.655131056393973</c:v>
                </c:pt>
                <c:pt idx="1367">
                  <c:v>20.655131056393973</c:v>
                </c:pt>
                <c:pt idx="1368">
                  <c:v>20.655131056393973</c:v>
                </c:pt>
                <c:pt idx="1369">
                  <c:v>20.655131056393973</c:v>
                </c:pt>
                <c:pt idx="1370">
                  <c:v>20.655131056393973</c:v>
                </c:pt>
                <c:pt idx="1371">
                  <c:v>20.655131056393973</c:v>
                </c:pt>
                <c:pt idx="1372">
                  <c:v>20.655131056393973</c:v>
                </c:pt>
                <c:pt idx="1373">
                  <c:v>20.655131056393973</c:v>
                </c:pt>
                <c:pt idx="1374">
                  <c:v>20.655131056393973</c:v>
                </c:pt>
                <c:pt idx="1375">
                  <c:v>20.655131056393973</c:v>
                </c:pt>
                <c:pt idx="1376">
                  <c:v>20.655131056393973</c:v>
                </c:pt>
                <c:pt idx="1377">
                  <c:v>20.655131056393973</c:v>
                </c:pt>
                <c:pt idx="1378">
                  <c:v>20.655131056393973</c:v>
                </c:pt>
                <c:pt idx="1379">
                  <c:v>20.655131056393973</c:v>
                </c:pt>
                <c:pt idx="1380">
                  <c:v>20.655131056393973</c:v>
                </c:pt>
                <c:pt idx="1381">
                  <c:v>20.655131056393973</c:v>
                </c:pt>
                <c:pt idx="1382">
                  <c:v>20.655131056393973</c:v>
                </c:pt>
                <c:pt idx="1383">
                  <c:v>20.655131056393973</c:v>
                </c:pt>
                <c:pt idx="1384">
                  <c:v>20.655131056393973</c:v>
                </c:pt>
                <c:pt idx="1385">
                  <c:v>20.655131056393973</c:v>
                </c:pt>
                <c:pt idx="1386">
                  <c:v>20.655131056393973</c:v>
                </c:pt>
                <c:pt idx="1387">
                  <c:v>20.655131056393973</c:v>
                </c:pt>
                <c:pt idx="1388">
                  <c:v>20.655131056393973</c:v>
                </c:pt>
                <c:pt idx="1389">
                  <c:v>20.655131056393973</c:v>
                </c:pt>
                <c:pt idx="1390">
                  <c:v>20.655131056393973</c:v>
                </c:pt>
                <c:pt idx="1391">
                  <c:v>20.655131056393973</c:v>
                </c:pt>
                <c:pt idx="1392">
                  <c:v>20.655131056393973</c:v>
                </c:pt>
                <c:pt idx="1393">
                  <c:v>20.655131056393973</c:v>
                </c:pt>
                <c:pt idx="1394">
                  <c:v>20.655131056393973</c:v>
                </c:pt>
                <c:pt idx="1395">
                  <c:v>20.655131056393973</c:v>
                </c:pt>
                <c:pt idx="1396">
                  <c:v>20.655131056393973</c:v>
                </c:pt>
                <c:pt idx="1397">
                  <c:v>20.655131056393973</c:v>
                </c:pt>
                <c:pt idx="1398">
                  <c:v>20.655131056393973</c:v>
                </c:pt>
                <c:pt idx="1399">
                  <c:v>20.655131056393973</c:v>
                </c:pt>
                <c:pt idx="1400">
                  <c:v>20.655131056393973</c:v>
                </c:pt>
                <c:pt idx="1401">
                  <c:v>20.655131056393973</c:v>
                </c:pt>
                <c:pt idx="1402">
                  <c:v>20.655131056393973</c:v>
                </c:pt>
                <c:pt idx="1403">
                  <c:v>20.655131056393973</c:v>
                </c:pt>
                <c:pt idx="1404">
                  <c:v>20.655131056393973</c:v>
                </c:pt>
                <c:pt idx="1405">
                  <c:v>20.655131056393973</c:v>
                </c:pt>
                <c:pt idx="1406">
                  <c:v>20.655131056393973</c:v>
                </c:pt>
                <c:pt idx="1407">
                  <c:v>20.655131056393973</c:v>
                </c:pt>
                <c:pt idx="1408">
                  <c:v>20.655131056393973</c:v>
                </c:pt>
                <c:pt idx="1409">
                  <c:v>20.655131056393973</c:v>
                </c:pt>
                <c:pt idx="1410">
                  <c:v>20.655131056393973</c:v>
                </c:pt>
                <c:pt idx="1411">
                  <c:v>20.655131056393973</c:v>
                </c:pt>
                <c:pt idx="1412">
                  <c:v>20.655131056393973</c:v>
                </c:pt>
                <c:pt idx="1413">
                  <c:v>20.655131056393973</c:v>
                </c:pt>
                <c:pt idx="1414">
                  <c:v>20.655131056393973</c:v>
                </c:pt>
                <c:pt idx="1415">
                  <c:v>20.655131056393973</c:v>
                </c:pt>
                <c:pt idx="1416">
                  <c:v>20.655131056393973</c:v>
                </c:pt>
                <c:pt idx="1417">
                  <c:v>20.655131056393973</c:v>
                </c:pt>
                <c:pt idx="1418">
                  <c:v>20.655131056393973</c:v>
                </c:pt>
                <c:pt idx="1419">
                  <c:v>20.655131056393973</c:v>
                </c:pt>
                <c:pt idx="1420">
                  <c:v>20.655131056393973</c:v>
                </c:pt>
                <c:pt idx="1421">
                  <c:v>20.655131056393973</c:v>
                </c:pt>
                <c:pt idx="1422">
                  <c:v>20.655131056393973</c:v>
                </c:pt>
                <c:pt idx="1423">
                  <c:v>20.655131056393973</c:v>
                </c:pt>
                <c:pt idx="1424">
                  <c:v>20.655131056393973</c:v>
                </c:pt>
                <c:pt idx="1425">
                  <c:v>20.655131056393973</c:v>
                </c:pt>
                <c:pt idx="1426">
                  <c:v>20.655131056393973</c:v>
                </c:pt>
                <c:pt idx="1427">
                  <c:v>20.655131056393973</c:v>
                </c:pt>
                <c:pt idx="1428">
                  <c:v>20.655131056393973</c:v>
                </c:pt>
                <c:pt idx="1429">
                  <c:v>20.655131056393973</c:v>
                </c:pt>
                <c:pt idx="1430">
                  <c:v>20.655131056393973</c:v>
                </c:pt>
                <c:pt idx="1431">
                  <c:v>20.655131056393973</c:v>
                </c:pt>
                <c:pt idx="1432">
                  <c:v>20.655131056393973</c:v>
                </c:pt>
                <c:pt idx="1433">
                  <c:v>20.655131056393973</c:v>
                </c:pt>
                <c:pt idx="1434">
                  <c:v>20.655131056393973</c:v>
                </c:pt>
                <c:pt idx="1435">
                  <c:v>20.655131056393973</c:v>
                </c:pt>
                <c:pt idx="1436">
                  <c:v>20.655131056393973</c:v>
                </c:pt>
                <c:pt idx="1437">
                  <c:v>20.655131056393973</c:v>
                </c:pt>
                <c:pt idx="1438">
                  <c:v>20.655131056393973</c:v>
                </c:pt>
                <c:pt idx="1439">
                  <c:v>20.655131056393973</c:v>
                </c:pt>
                <c:pt idx="1440">
                  <c:v>20.655131056393973</c:v>
                </c:pt>
                <c:pt idx="1441">
                  <c:v>20.655131056393973</c:v>
                </c:pt>
                <c:pt idx="1442">
                  <c:v>20.655131056393973</c:v>
                </c:pt>
                <c:pt idx="1443">
                  <c:v>20.655131056393973</c:v>
                </c:pt>
                <c:pt idx="1444">
                  <c:v>20.655131056393973</c:v>
                </c:pt>
                <c:pt idx="1445">
                  <c:v>20.655131056393973</c:v>
                </c:pt>
                <c:pt idx="1446">
                  <c:v>20.655131056393973</c:v>
                </c:pt>
                <c:pt idx="1447">
                  <c:v>20.655131056393973</c:v>
                </c:pt>
                <c:pt idx="1448">
                  <c:v>20.655131056393973</c:v>
                </c:pt>
                <c:pt idx="1449">
                  <c:v>20.655131056393973</c:v>
                </c:pt>
                <c:pt idx="1450">
                  <c:v>20.655131056393973</c:v>
                </c:pt>
                <c:pt idx="1451">
                  <c:v>20.655131056393973</c:v>
                </c:pt>
                <c:pt idx="1452">
                  <c:v>20.655131056393973</c:v>
                </c:pt>
                <c:pt idx="1453">
                  <c:v>20.655131056393973</c:v>
                </c:pt>
                <c:pt idx="1454">
                  <c:v>20.655131056393973</c:v>
                </c:pt>
                <c:pt idx="1455">
                  <c:v>20.655131056393973</c:v>
                </c:pt>
                <c:pt idx="1456">
                  <c:v>20.655131056393973</c:v>
                </c:pt>
                <c:pt idx="1457">
                  <c:v>20.655131056393973</c:v>
                </c:pt>
                <c:pt idx="1458">
                  <c:v>20.655131056393973</c:v>
                </c:pt>
                <c:pt idx="1459">
                  <c:v>20.655131056393973</c:v>
                </c:pt>
                <c:pt idx="1460">
                  <c:v>20.655131056393973</c:v>
                </c:pt>
                <c:pt idx="1461">
                  <c:v>20.655131056393973</c:v>
                </c:pt>
                <c:pt idx="1462">
                  <c:v>20.655131056393973</c:v>
                </c:pt>
                <c:pt idx="1463">
                  <c:v>20.655131056393973</c:v>
                </c:pt>
                <c:pt idx="1464">
                  <c:v>20.655131056393973</c:v>
                </c:pt>
                <c:pt idx="1465">
                  <c:v>20.655131056393973</c:v>
                </c:pt>
                <c:pt idx="1466">
                  <c:v>20.655131056393973</c:v>
                </c:pt>
                <c:pt idx="1467">
                  <c:v>20.655131056393973</c:v>
                </c:pt>
                <c:pt idx="1468">
                  <c:v>20.655131056393973</c:v>
                </c:pt>
                <c:pt idx="1469">
                  <c:v>20.655131056393973</c:v>
                </c:pt>
                <c:pt idx="1470">
                  <c:v>20.655131056393973</c:v>
                </c:pt>
                <c:pt idx="1471">
                  <c:v>20.655131056393973</c:v>
                </c:pt>
                <c:pt idx="1472">
                  <c:v>20.655131056393973</c:v>
                </c:pt>
                <c:pt idx="1473">
                  <c:v>20.655131056393973</c:v>
                </c:pt>
                <c:pt idx="1474">
                  <c:v>20.655131056393973</c:v>
                </c:pt>
                <c:pt idx="1475">
                  <c:v>20.655131056393973</c:v>
                </c:pt>
                <c:pt idx="1476">
                  <c:v>20.655131056393973</c:v>
                </c:pt>
                <c:pt idx="1477">
                  <c:v>20.655131056393973</c:v>
                </c:pt>
                <c:pt idx="1478">
                  <c:v>20.655131056393973</c:v>
                </c:pt>
                <c:pt idx="1479">
                  <c:v>20.655131056393973</c:v>
                </c:pt>
                <c:pt idx="1480">
                  <c:v>20.655131056393973</c:v>
                </c:pt>
                <c:pt idx="1481">
                  <c:v>20.655131056393973</c:v>
                </c:pt>
                <c:pt idx="1482">
                  <c:v>20.655131056393973</c:v>
                </c:pt>
                <c:pt idx="1483">
                  <c:v>20.655131056393973</c:v>
                </c:pt>
                <c:pt idx="1484">
                  <c:v>20.655131056393973</c:v>
                </c:pt>
                <c:pt idx="1485">
                  <c:v>20.655131056393973</c:v>
                </c:pt>
                <c:pt idx="1486">
                  <c:v>20.655131056393973</c:v>
                </c:pt>
                <c:pt idx="1487">
                  <c:v>20.655131056393973</c:v>
                </c:pt>
                <c:pt idx="1488">
                  <c:v>20.655131056393973</c:v>
                </c:pt>
                <c:pt idx="1489">
                  <c:v>20.655131056393973</c:v>
                </c:pt>
                <c:pt idx="1490">
                  <c:v>20.655131056393973</c:v>
                </c:pt>
                <c:pt idx="1491">
                  <c:v>20.655131056393973</c:v>
                </c:pt>
                <c:pt idx="1492">
                  <c:v>20.655131056393973</c:v>
                </c:pt>
                <c:pt idx="1493">
                  <c:v>20.655131056393973</c:v>
                </c:pt>
                <c:pt idx="1494">
                  <c:v>20.655131056393973</c:v>
                </c:pt>
                <c:pt idx="1495">
                  <c:v>20.655131056393973</c:v>
                </c:pt>
                <c:pt idx="1496">
                  <c:v>20.655131056393973</c:v>
                </c:pt>
                <c:pt idx="1497">
                  <c:v>20.655131056393973</c:v>
                </c:pt>
                <c:pt idx="1498">
                  <c:v>20.655131056393973</c:v>
                </c:pt>
                <c:pt idx="1499">
                  <c:v>20.655131056393973</c:v>
                </c:pt>
                <c:pt idx="1500">
                  <c:v>20.655131056393973</c:v>
                </c:pt>
                <c:pt idx="1501">
                  <c:v>20.655131056393973</c:v>
                </c:pt>
                <c:pt idx="1502">
                  <c:v>20.655131056393973</c:v>
                </c:pt>
                <c:pt idx="1503">
                  <c:v>20.655131056393973</c:v>
                </c:pt>
                <c:pt idx="1504">
                  <c:v>20.655131056393973</c:v>
                </c:pt>
                <c:pt idx="1505">
                  <c:v>20.655131056393973</c:v>
                </c:pt>
                <c:pt idx="1506">
                  <c:v>20.655131056393973</c:v>
                </c:pt>
                <c:pt idx="1507">
                  <c:v>20.655131056393973</c:v>
                </c:pt>
                <c:pt idx="1508">
                  <c:v>20.655131056393973</c:v>
                </c:pt>
                <c:pt idx="1509">
                  <c:v>20.655131056393973</c:v>
                </c:pt>
                <c:pt idx="1510">
                  <c:v>20.655131056393973</c:v>
                </c:pt>
                <c:pt idx="1511">
                  <c:v>20.655131056393973</c:v>
                </c:pt>
                <c:pt idx="1512">
                  <c:v>20.655131056393973</c:v>
                </c:pt>
                <c:pt idx="1513">
                  <c:v>20.655131056393973</c:v>
                </c:pt>
                <c:pt idx="1514">
                  <c:v>20.655131056393973</c:v>
                </c:pt>
                <c:pt idx="1515">
                  <c:v>20.655131056393973</c:v>
                </c:pt>
                <c:pt idx="1516">
                  <c:v>20.655131056393973</c:v>
                </c:pt>
                <c:pt idx="1517">
                  <c:v>20.655131056393973</c:v>
                </c:pt>
                <c:pt idx="1518">
                  <c:v>20.655131056393973</c:v>
                </c:pt>
                <c:pt idx="1519">
                  <c:v>20.655131056393973</c:v>
                </c:pt>
                <c:pt idx="1520">
                  <c:v>20.655131056393973</c:v>
                </c:pt>
                <c:pt idx="1521">
                  <c:v>20.655131056393973</c:v>
                </c:pt>
                <c:pt idx="1522">
                  <c:v>20.655131056393973</c:v>
                </c:pt>
                <c:pt idx="1523">
                  <c:v>20.655131056393973</c:v>
                </c:pt>
                <c:pt idx="1524">
                  <c:v>20.655131056393973</c:v>
                </c:pt>
                <c:pt idx="1525">
                  <c:v>20.655131056393973</c:v>
                </c:pt>
                <c:pt idx="1526">
                  <c:v>20.655131056393973</c:v>
                </c:pt>
                <c:pt idx="1527">
                  <c:v>20.655131056393973</c:v>
                </c:pt>
                <c:pt idx="1528">
                  <c:v>20.655131056393973</c:v>
                </c:pt>
                <c:pt idx="1529">
                  <c:v>20.655131056393973</c:v>
                </c:pt>
                <c:pt idx="1530">
                  <c:v>20.655131056393973</c:v>
                </c:pt>
                <c:pt idx="1531">
                  <c:v>20.655131056393973</c:v>
                </c:pt>
                <c:pt idx="1532">
                  <c:v>20.655131056393973</c:v>
                </c:pt>
                <c:pt idx="1533">
                  <c:v>20.655131056393973</c:v>
                </c:pt>
                <c:pt idx="1534">
                  <c:v>20.655131056393973</c:v>
                </c:pt>
                <c:pt idx="1535">
                  <c:v>20.655131056393973</c:v>
                </c:pt>
                <c:pt idx="1536">
                  <c:v>20.655131056393973</c:v>
                </c:pt>
                <c:pt idx="1537">
                  <c:v>20.655131056393973</c:v>
                </c:pt>
                <c:pt idx="1538">
                  <c:v>20.655131056393973</c:v>
                </c:pt>
                <c:pt idx="1539">
                  <c:v>20.655131056393973</c:v>
                </c:pt>
                <c:pt idx="1540">
                  <c:v>20.655131056393973</c:v>
                </c:pt>
                <c:pt idx="1541">
                  <c:v>20.655131056393973</c:v>
                </c:pt>
                <c:pt idx="1542">
                  <c:v>20.655131056393973</c:v>
                </c:pt>
                <c:pt idx="1543">
                  <c:v>20.655131056393973</c:v>
                </c:pt>
                <c:pt idx="1544">
                  <c:v>20.655131056393973</c:v>
                </c:pt>
                <c:pt idx="1545">
                  <c:v>20.655131056393973</c:v>
                </c:pt>
                <c:pt idx="1546">
                  <c:v>20.655131056393973</c:v>
                </c:pt>
                <c:pt idx="1547">
                  <c:v>20.655131056393973</c:v>
                </c:pt>
                <c:pt idx="1548">
                  <c:v>20.655131056393973</c:v>
                </c:pt>
                <c:pt idx="1549">
                  <c:v>20.655131056393973</c:v>
                </c:pt>
                <c:pt idx="1550">
                  <c:v>20.655131056393973</c:v>
                </c:pt>
                <c:pt idx="1551">
                  <c:v>20.655131056393973</c:v>
                </c:pt>
                <c:pt idx="1552">
                  <c:v>20.655131056393973</c:v>
                </c:pt>
                <c:pt idx="1553">
                  <c:v>20.655131056393973</c:v>
                </c:pt>
                <c:pt idx="1554">
                  <c:v>20.655131056393973</c:v>
                </c:pt>
                <c:pt idx="1555">
                  <c:v>20.655131056393973</c:v>
                </c:pt>
                <c:pt idx="1556">
                  <c:v>20.655131056393973</c:v>
                </c:pt>
                <c:pt idx="1557">
                  <c:v>20.655131056393973</c:v>
                </c:pt>
                <c:pt idx="1558">
                  <c:v>20.655131056393973</c:v>
                </c:pt>
                <c:pt idx="1559">
                  <c:v>20.655131056393973</c:v>
                </c:pt>
                <c:pt idx="1560">
                  <c:v>20.655131056393973</c:v>
                </c:pt>
                <c:pt idx="1561">
                  <c:v>20.655131056393973</c:v>
                </c:pt>
                <c:pt idx="1562">
                  <c:v>20.655131056393973</c:v>
                </c:pt>
                <c:pt idx="1563">
                  <c:v>20.655131056393973</c:v>
                </c:pt>
                <c:pt idx="1564">
                  <c:v>20.655131056393973</c:v>
                </c:pt>
                <c:pt idx="1565">
                  <c:v>20.655131056393973</c:v>
                </c:pt>
                <c:pt idx="1566">
                  <c:v>20.655131056393973</c:v>
                </c:pt>
                <c:pt idx="1567">
                  <c:v>20.655131056393973</c:v>
                </c:pt>
                <c:pt idx="1568">
                  <c:v>20.655131056393973</c:v>
                </c:pt>
                <c:pt idx="1569">
                  <c:v>20.655131056393973</c:v>
                </c:pt>
                <c:pt idx="1570">
                  <c:v>20.655131056393973</c:v>
                </c:pt>
                <c:pt idx="1571">
                  <c:v>20.655131056393973</c:v>
                </c:pt>
                <c:pt idx="1572">
                  <c:v>20.655131056393973</c:v>
                </c:pt>
                <c:pt idx="1573">
                  <c:v>20.655131056393973</c:v>
                </c:pt>
                <c:pt idx="1574">
                  <c:v>20.655131056393973</c:v>
                </c:pt>
                <c:pt idx="1575">
                  <c:v>20.655131056393973</c:v>
                </c:pt>
                <c:pt idx="1576">
                  <c:v>20.655131056393973</c:v>
                </c:pt>
                <c:pt idx="1577">
                  <c:v>20.655131056393973</c:v>
                </c:pt>
                <c:pt idx="1578">
                  <c:v>20.655131056393973</c:v>
                </c:pt>
                <c:pt idx="1579">
                  <c:v>20.655131056393973</c:v>
                </c:pt>
                <c:pt idx="1580">
                  <c:v>20.655131056393973</c:v>
                </c:pt>
                <c:pt idx="1581">
                  <c:v>20.655131056393973</c:v>
                </c:pt>
                <c:pt idx="1582">
                  <c:v>20.655131056393973</c:v>
                </c:pt>
                <c:pt idx="1583">
                  <c:v>20.655131056393973</c:v>
                </c:pt>
                <c:pt idx="1584">
                  <c:v>20.655131056393973</c:v>
                </c:pt>
                <c:pt idx="1585">
                  <c:v>20.655131056393973</c:v>
                </c:pt>
                <c:pt idx="1586">
                  <c:v>20.655131056393973</c:v>
                </c:pt>
                <c:pt idx="1587">
                  <c:v>20.655131056393973</c:v>
                </c:pt>
                <c:pt idx="1588">
                  <c:v>20.655131056393973</c:v>
                </c:pt>
                <c:pt idx="1589">
                  <c:v>20.655131056393973</c:v>
                </c:pt>
                <c:pt idx="1590">
                  <c:v>20.655131056393973</c:v>
                </c:pt>
                <c:pt idx="1591">
                  <c:v>20.655131056393973</c:v>
                </c:pt>
                <c:pt idx="1592">
                  <c:v>20.655131056393973</c:v>
                </c:pt>
                <c:pt idx="1593">
                  <c:v>20.655131056393973</c:v>
                </c:pt>
                <c:pt idx="1594">
                  <c:v>20.655131056393973</c:v>
                </c:pt>
                <c:pt idx="1595">
                  <c:v>20.655131056393973</c:v>
                </c:pt>
                <c:pt idx="1596">
                  <c:v>20.655131056393973</c:v>
                </c:pt>
                <c:pt idx="1597">
                  <c:v>20.655131056393973</c:v>
                </c:pt>
                <c:pt idx="1598">
                  <c:v>20.655131056393973</c:v>
                </c:pt>
                <c:pt idx="1599">
                  <c:v>20.655131056393973</c:v>
                </c:pt>
                <c:pt idx="1600">
                  <c:v>20.655131056393973</c:v>
                </c:pt>
                <c:pt idx="1601">
                  <c:v>20.655131056393973</c:v>
                </c:pt>
                <c:pt idx="1602">
                  <c:v>20.655131056393973</c:v>
                </c:pt>
                <c:pt idx="1603">
                  <c:v>20.655131056393973</c:v>
                </c:pt>
                <c:pt idx="1604">
                  <c:v>20.655131056393973</c:v>
                </c:pt>
                <c:pt idx="1605">
                  <c:v>20.655131056393973</c:v>
                </c:pt>
                <c:pt idx="1606">
                  <c:v>20.655131056393973</c:v>
                </c:pt>
                <c:pt idx="1607">
                  <c:v>20.655131056393973</c:v>
                </c:pt>
                <c:pt idx="1608">
                  <c:v>20.655131056393973</c:v>
                </c:pt>
                <c:pt idx="1609">
                  <c:v>20.655131056393973</c:v>
                </c:pt>
                <c:pt idx="1610">
                  <c:v>20.655131056393973</c:v>
                </c:pt>
                <c:pt idx="1611">
                  <c:v>20.655131056393973</c:v>
                </c:pt>
                <c:pt idx="1612">
                  <c:v>20.655131056393973</c:v>
                </c:pt>
                <c:pt idx="1613">
                  <c:v>20.655131056393973</c:v>
                </c:pt>
                <c:pt idx="1614">
                  <c:v>20.655131056393973</c:v>
                </c:pt>
                <c:pt idx="1615">
                  <c:v>20.655131056393973</c:v>
                </c:pt>
                <c:pt idx="1616">
                  <c:v>20.655131056393973</c:v>
                </c:pt>
                <c:pt idx="1617">
                  <c:v>20.655131056393973</c:v>
                </c:pt>
                <c:pt idx="1618">
                  <c:v>20.655131056393973</c:v>
                </c:pt>
                <c:pt idx="1619">
                  <c:v>20.655131056393973</c:v>
                </c:pt>
                <c:pt idx="1620">
                  <c:v>20.655131056393973</c:v>
                </c:pt>
                <c:pt idx="1621">
                  <c:v>20.655131056393973</c:v>
                </c:pt>
                <c:pt idx="1622">
                  <c:v>20.655131056393973</c:v>
                </c:pt>
                <c:pt idx="1623">
                  <c:v>20.655131056393973</c:v>
                </c:pt>
                <c:pt idx="1624">
                  <c:v>20.655131056393973</c:v>
                </c:pt>
                <c:pt idx="1625">
                  <c:v>20.655131056393973</c:v>
                </c:pt>
                <c:pt idx="1626">
                  <c:v>20.655131056393973</c:v>
                </c:pt>
                <c:pt idx="1627">
                  <c:v>20.655131056393973</c:v>
                </c:pt>
                <c:pt idx="1628">
                  <c:v>20.655131056393973</c:v>
                </c:pt>
                <c:pt idx="1629">
                  <c:v>20.655131056393973</c:v>
                </c:pt>
                <c:pt idx="1630">
                  <c:v>20.655131056393973</c:v>
                </c:pt>
                <c:pt idx="1631">
                  <c:v>20.655131056393973</c:v>
                </c:pt>
                <c:pt idx="1632">
                  <c:v>20.655131056393973</c:v>
                </c:pt>
                <c:pt idx="1633">
                  <c:v>20.655131056393973</c:v>
                </c:pt>
                <c:pt idx="1634">
                  <c:v>20.655131056393973</c:v>
                </c:pt>
                <c:pt idx="1635">
                  <c:v>20.655131056393973</c:v>
                </c:pt>
                <c:pt idx="1636">
                  <c:v>20.655131056393973</c:v>
                </c:pt>
                <c:pt idx="1637">
                  <c:v>20.655131056393973</c:v>
                </c:pt>
                <c:pt idx="1638">
                  <c:v>20.655131056393973</c:v>
                </c:pt>
                <c:pt idx="1639">
                  <c:v>20.655131056393973</c:v>
                </c:pt>
                <c:pt idx="1640">
                  <c:v>20.655131056393973</c:v>
                </c:pt>
                <c:pt idx="1641">
                  <c:v>20.655131056393973</c:v>
                </c:pt>
                <c:pt idx="1642">
                  <c:v>20.655131056393973</c:v>
                </c:pt>
                <c:pt idx="1643">
                  <c:v>20.655131056393973</c:v>
                </c:pt>
                <c:pt idx="1644">
                  <c:v>20.655131056393973</c:v>
                </c:pt>
                <c:pt idx="1645">
                  <c:v>20.655131056393973</c:v>
                </c:pt>
                <c:pt idx="1646">
                  <c:v>20.655131056393973</c:v>
                </c:pt>
                <c:pt idx="1647">
                  <c:v>20.655131056393973</c:v>
                </c:pt>
                <c:pt idx="1648">
                  <c:v>20.655131056393973</c:v>
                </c:pt>
                <c:pt idx="1649">
                  <c:v>20.655131056393973</c:v>
                </c:pt>
                <c:pt idx="1650">
                  <c:v>20.655131056393973</c:v>
                </c:pt>
                <c:pt idx="1651">
                  <c:v>20.655131056393973</c:v>
                </c:pt>
                <c:pt idx="1652">
                  <c:v>20.655131056393973</c:v>
                </c:pt>
                <c:pt idx="1653">
                  <c:v>20.655131056393973</c:v>
                </c:pt>
                <c:pt idx="1654">
                  <c:v>20.655131056393973</c:v>
                </c:pt>
                <c:pt idx="1655">
                  <c:v>20.655131056393973</c:v>
                </c:pt>
                <c:pt idx="1656">
                  <c:v>20.655131056393973</c:v>
                </c:pt>
                <c:pt idx="1657">
                  <c:v>20.655131056393973</c:v>
                </c:pt>
                <c:pt idx="1658">
                  <c:v>20.655131056393973</c:v>
                </c:pt>
                <c:pt idx="1659">
                  <c:v>20.655131056393973</c:v>
                </c:pt>
                <c:pt idx="1660">
                  <c:v>20.655131056393973</c:v>
                </c:pt>
                <c:pt idx="1661">
                  <c:v>20.655131056393973</c:v>
                </c:pt>
                <c:pt idx="1662">
                  <c:v>20.655131056393973</c:v>
                </c:pt>
                <c:pt idx="1663">
                  <c:v>20.655131056393973</c:v>
                </c:pt>
                <c:pt idx="1664">
                  <c:v>20.655131056393973</c:v>
                </c:pt>
                <c:pt idx="1665">
                  <c:v>20.655131056393973</c:v>
                </c:pt>
                <c:pt idx="1666">
                  <c:v>20.655131056393973</c:v>
                </c:pt>
                <c:pt idx="1667">
                  <c:v>20.655131056393973</c:v>
                </c:pt>
                <c:pt idx="1668">
                  <c:v>20.655131056393973</c:v>
                </c:pt>
                <c:pt idx="1669">
                  <c:v>20.655131056393973</c:v>
                </c:pt>
                <c:pt idx="1670">
                  <c:v>20.655131056393973</c:v>
                </c:pt>
                <c:pt idx="1671">
                  <c:v>20.655131056393973</c:v>
                </c:pt>
                <c:pt idx="1672">
                  <c:v>20.655131056393973</c:v>
                </c:pt>
                <c:pt idx="1673">
                  <c:v>20.655131056393973</c:v>
                </c:pt>
                <c:pt idx="1674">
                  <c:v>20.655131056393973</c:v>
                </c:pt>
                <c:pt idx="1675">
                  <c:v>20.655131056393973</c:v>
                </c:pt>
                <c:pt idx="1676">
                  <c:v>20.655131056393973</c:v>
                </c:pt>
                <c:pt idx="1677">
                  <c:v>20.655131056393973</c:v>
                </c:pt>
                <c:pt idx="1678">
                  <c:v>20.655131056393973</c:v>
                </c:pt>
                <c:pt idx="1679">
                  <c:v>20.655131056393973</c:v>
                </c:pt>
                <c:pt idx="1680">
                  <c:v>20.655131056393973</c:v>
                </c:pt>
                <c:pt idx="1681">
                  <c:v>20.655131056393973</c:v>
                </c:pt>
                <c:pt idx="1682">
                  <c:v>20.655131056393973</c:v>
                </c:pt>
                <c:pt idx="1683">
                  <c:v>20.655131056393973</c:v>
                </c:pt>
                <c:pt idx="1684">
                  <c:v>20.655131056393973</c:v>
                </c:pt>
                <c:pt idx="1685">
                  <c:v>20.655131056393973</c:v>
                </c:pt>
                <c:pt idx="1686">
                  <c:v>20.655131056393973</c:v>
                </c:pt>
                <c:pt idx="1687">
                  <c:v>20.655131056393973</c:v>
                </c:pt>
                <c:pt idx="1688">
                  <c:v>20.655131056393973</c:v>
                </c:pt>
                <c:pt idx="1689">
                  <c:v>20.655131056393973</c:v>
                </c:pt>
                <c:pt idx="1690">
                  <c:v>20.655131056393973</c:v>
                </c:pt>
                <c:pt idx="1691">
                  <c:v>20.655131056393973</c:v>
                </c:pt>
                <c:pt idx="1692">
                  <c:v>20.655131056393973</c:v>
                </c:pt>
                <c:pt idx="1693">
                  <c:v>20.655131056393973</c:v>
                </c:pt>
                <c:pt idx="1694">
                  <c:v>20.655131056393973</c:v>
                </c:pt>
                <c:pt idx="1695">
                  <c:v>20.655131056393973</c:v>
                </c:pt>
                <c:pt idx="1696">
                  <c:v>20.655131056393973</c:v>
                </c:pt>
                <c:pt idx="1697">
                  <c:v>20.655131056393973</c:v>
                </c:pt>
                <c:pt idx="1698">
                  <c:v>20.655131056393973</c:v>
                </c:pt>
                <c:pt idx="1699">
                  <c:v>20.655131056393973</c:v>
                </c:pt>
                <c:pt idx="1700">
                  <c:v>20.655131056393973</c:v>
                </c:pt>
                <c:pt idx="1701">
                  <c:v>20.655131056393973</c:v>
                </c:pt>
                <c:pt idx="1702">
                  <c:v>20.655131056393973</c:v>
                </c:pt>
                <c:pt idx="1703">
                  <c:v>20.655131056393973</c:v>
                </c:pt>
                <c:pt idx="1704">
                  <c:v>20.655131056393973</c:v>
                </c:pt>
                <c:pt idx="1705">
                  <c:v>20.655131056393973</c:v>
                </c:pt>
                <c:pt idx="1706">
                  <c:v>20.655131056393973</c:v>
                </c:pt>
                <c:pt idx="1707">
                  <c:v>20.655131056393973</c:v>
                </c:pt>
                <c:pt idx="1708">
                  <c:v>20.655131056393973</c:v>
                </c:pt>
                <c:pt idx="1709">
                  <c:v>20.655131056393973</c:v>
                </c:pt>
                <c:pt idx="1710">
                  <c:v>20.655131056393973</c:v>
                </c:pt>
                <c:pt idx="1711">
                  <c:v>20.655131056393973</c:v>
                </c:pt>
                <c:pt idx="1712">
                  <c:v>20.655131056393973</c:v>
                </c:pt>
                <c:pt idx="1713">
                  <c:v>20.655131056393973</c:v>
                </c:pt>
                <c:pt idx="1714">
                  <c:v>20.655131056393973</c:v>
                </c:pt>
                <c:pt idx="1715">
                  <c:v>20.655131056393973</c:v>
                </c:pt>
                <c:pt idx="1716">
                  <c:v>20.655131056393973</c:v>
                </c:pt>
                <c:pt idx="1717">
                  <c:v>20.655131056393973</c:v>
                </c:pt>
                <c:pt idx="1718">
                  <c:v>20.655131056393973</c:v>
                </c:pt>
                <c:pt idx="1719">
                  <c:v>20.655131056393973</c:v>
                </c:pt>
                <c:pt idx="1720">
                  <c:v>20.655131056393973</c:v>
                </c:pt>
                <c:pt idx="1721">
                  <c:v>20.655131056393973</c:v>
                </c:pt>
                <c:pt idx="1722">
                  <c:v>20.655131056393973</c:v>
                </c:pt>
                <c:pt idx="1723">
                  <c:v>20.655131056393973</c:v>
                </c:pt>
                <c:pt idx="1724">
                  <c:v>20.655131056393973</c:v>
                </c:pt>
                <c:pt idx="1725">
                  <c:v>20.655131056393973</c:v>
                </c:pt>
                <c:pt idx="1726">
                  <c:v>20.655131056393973</c:v>
                </c:pt>
                <c:pt idx="1727">
                  <c:v>20.655131056393973</c:v>
                </c:pt>
                <c:pt idx="1728">
                  <c:v>20.655131056393973</c:v>
                </c:pt>
                <c:pt idx="1729">
                  <c:v>20.655131056393973</c:v>
                </c:pt>
                <c:pt idx="1730">
                  <c:v>20.655131056393973</c:v>
                </c:pt>
                <c:pt idx="1731">
                  <c:v>20.655131056393973</c:v>
                </c:pt>
                <c:pt idx="1732">
                  <c:v>20.655131056393973</c:v>
                </c:pt>
                <c:pt idx="1733">
                  <c:v>20.655131056393973</c:v>
                </c:pt>
                <c:pt idx="1734">
                  <c:v>20.655131056393973</c:v>
                </c:pt>
                <c:pt idx="1735">
                  <c:v>20.655131056393973</c:v>
                </c:pt>
                <c:pt idx="1736">
                  <c:v>20.655131056393973</c:v>
                </c:pt>
                <c:pt idx="1737">
                  <c:v>20.655131056393973</c:v>
                </c:pt>
                <c:pt idx="1738">
                  <c:v>20.655131056393973</c:v>
                </c:pt>
                <c:pt idx="1739">
                  <c:v>20.655131056393973</c:v>
                </c:pt>
                <c:pt idx="1740">
                  <c:v>20.655131056393973</c:v>
                </c:pt>
                <c:pt idx="1741">
                  <c:v>20.655131056393973</c:v>
                </c:pt>
                <c:pt idx="1742">
                  <c:v>20.655131056393973</c:v>
                </c:pt>
                <c:pt idx="1743">
                  <c:v>20.655131056393973</c:v>
                </c:pt>
                <c:pt idx="1744">
                  <c:v>20.655131056393973</c:v>
                </c:pt>
                <c:pt idx="1745">
                  <c:v>20.655131056393973</c:v>
                </c:pt>
                <c:pt idx="1746">
                  <c:v>20.655131056393973</c:v>
                </c:pt>
                <c:pt idx="1747">
                  <c:v>20.655131056393973</c:v>
                </c:pt>
                <c:pt idx="1748">
                  <c:v>20.655131056393973</c:v>
                </c:pt>
                <c:pt idx="1749">
                  <c:v>20.655131056393973</c:v>
                </c:pt>
                <c:pt idx="1750">
                  <c:v>20.655131056393973</c:v>
                </c:pt>
                <c:pt idx="1751">
                  <c:v>20.655131056393973</c:v>
                </c:pt>
                <c:pt idx="1752">
                  <c:v>20.655131056393973</c:v>
                </c:pt>
                <c:pt idx="1753">
                  <c:v>20.655131056393973</c:v>
                </c:pt>
                <c:pt idx="1754">
                  <c:v>20.655131056393973</c:v>
                </c:pt>
                <c:pt idx="1755">
                  <c:v>20.655131056393973</c:v>
                </c:pt>
                <c:pt idx="1756">
                  <c:v>20.655131056393973</c:v>
                </c:pt>
                <c:pt idx="1757">
                  <c:v>20.655131056393973</c:v>
                </c:pt>
                <c:pt idx="1758">
                  <c:v>20.655131056393973</c:v>
                </c:pt>
                <c:pt idx="1759">
                  <c:v>20.655131056393973</c:v>
                </c:pt>
                <c:pt idx="1760">
                  <c:v>20.655131056393973</c:v>
                </c:pt>
                <c:pt idx="1761">
                  <c:v>20.655131056393973</c:v>
                </c:pt>
                <c:pt idx="1762">
                  <c:v>20.655131056393973</c:v>
                </c:pt>
                <c:pt idx="1763">
                  <c:v>20.655131056393973</c:v>
                </c:pt>
                <c:pt idx="1764">
                  <c:v>20.655131056393973</c:v>
                </c:pt>
                <c:pt idx="1765">
                  <c:v>20.655131056393973</c:v>
                </c:pt>
                <c:pt idx="1766">
                  <c:v>20.655131056393973</c:v>
                </c:pt>
                <c:pt idx="1767">
                  <c:v>20.655131056393973</c:v>
                </c:pt>
                <c:pt idx="1768">
                  <c:v>20.655131056393973</c:v>
                </c:pt>
                <c:pt idx="1769">
                  <c:v>20.655131056393973</c:v>
                </c:pt>
                <c:pt idx="1770">
                  <c:v>20.655131056393973</c:v>
                </c:pt>
                <c:pt idx="1771">
                  <c:v>20.655131056393973</c:v>
                </c:pt>
                <c:pt idx="1772">
                  <c:v>20.655131056393973</c:v>
                </c:pt>
                <c:pt idx="1773">
                  <c:v>20.655131056393973</c:v>
                </c:pt>
                <c:pt idx="1774">
                  <c:v>20.655131056393973</c:v>
                </c:pt>
                <c:pt idx="1775">
                  <c:v>20.655131056393973</c:v>
                </c:pt>
                <c:pt idx="1776">
                  <c:v>20.655131056393973</c:v>
                </c:pt>
                <c:pt idx="1777">
                  <c:v>20.655131056393973</c:v>
                </c:pt>
                <c:pt idx="1778">
                  <c:v>20.655131056393973</c:v>
                </c:pt>
                <c:pt idx="1779">
                  <c:v>20.655131056393973</c:v>
                </c:pt>
                <c:pt idx="1780">
                  <c:v>20.655131056393973</c:v>
                </c:pt>
                <c:pt idx="1781">
                  <c:v>20.655131056393973</c:v>
                </c:pt>
                <c:pt idx="1782">
                  <c:v>20.655131056393973</c:v>
                </c:pt>
                <c:pt idx="1783">
                  <c:v>20.655131056393973</c:v>
                </c:pt>
                <c:pt idx="1784">
                  <c:v>20.655131056393973</c:v>
                </c:pt>
                <c:pt idx="1785">
                  <c:v>20.655131056393973</c:v>
                </c:pt>
                <c:pt idx="1786">
                  <c:v>20.655131056393973</c:v>
                </c:pt>
                <c:pt idx="1787">
                  <c:v>20.655131056393973</c:v>
                </c:pt>
                <c:pt idx="1788">
                  <c:v>20.655131056393973</c:v>
                </c:pt>
                <c:pt idx="1789">
                  <c:v>20.655131056393973</c:v>
                </c:pt>
                <c:pt idx="1790">
                  <c:v>20.655131056393973</c:v>
                </c:pt>
                <c:pt idx="1791">
                  <c:v>20.655131056393973</c:v>
                </c:pt>
                <c:pt idx="1792">
                  <c:v>20.655131056393973</c:v>
                </c:pt>
                <c:pt idx="1793">
                  <c:v>20.655131056393973</c:v>
                </c:pt>
                <c:pt idx="1794">
                  <c:v>20.655131056393973</c:v>
                </c:pt>
                <c:pt idx="1795">
                  <c:v>20.655131056393973</c:v>
                </c:pt>
                <c:pt idx="1796">
                  <c:v>20.655131056393973</c:v>
                </c:pt>
                <c:pt idx="1797">
                  <c:v>20.655131056393973</c:v>
                </c:pt>
                <c:pt idx="1798">
                  <c:v>20.655131056393973</c:v>
                </c:pt>
                <c:pt idx="1799">
                  <c:v>20.655131056393973</c:v>
                </c:pt>
                <c:pt idx="1800">
                  <c:v>20.655131056393973</c:v>
                </c:pt>
                <c:pt idx="1801">
                  <c:v>20.655131056393973</c:v>
                </c:pt>
                <c:pt idx="1802">
                  <c:v>20.655131056393973</c:v>
                </c:pt>
                <c:pt idx="1803">
                  <c:v>20.655131056393973</c:v>
                </c:pt>
                <c:pt idx="1804">
                  <c:v>20.655131056393973</c:v>
                </c:pt>
                <c:pt idx="1805">
                  <c:v>20.655131056393973</c:v>
                </c:pt>
                <c:pt idx="1806">
                  <c:v>20.655131056393973</c:v>
                </c:pt>
                <c:pt idx="1807">
                  <c:v>20.655131056393973</c:v>
                </c:pt>
                <c:pt idx="1808">
                  <c:v>20.655131056393973</c:v>
                </c:pt>
                <c:pt idx="1809">
                  <c:v>20.655131056393973</c:v>
                </c:pt>
                <c:pt idx="1810">
                  <c:v>20.655131056393973</c:v>
                </c:pt>
                <c:pt idx="1811">
                  <c:v>20.655131056393973</c:v>
                </c:pt>
                <c:pt idx="1812">
                  <c:v>20.655131056393973</c:v>
                </c:pt>
                <c:pt idx="1813">
                  <c:v>20.655131056393973</c:v>
                </c:pt>
                <c:pt idx="1814">
                  <c:v>20.655131056393973</c:v>
                </c:pt>
                <c:pt idx="1815">
                  <c:v>20.655131056393973</c:v>
                </c:pt>
                <c:pt idx="1816">
                  <c:v>20.655131056393973</c:v>
                </c:pt>
                <c:pt idx="1817">
                  <c:v>20.655131056393973</c:v>
                </c:pt>
                <c:pt idx="1818">
                  <c:v>20.655131056393973</c:v>
                </c:pt>
                <c:pt idx="1819">
                  <c:v>20.655131056393973</c:v>
                </c:pt>
                <c:pt idx="1820">
                  <c:v>20.655131056393973</c:v>
                </c:pt>
                <c:pt idx="1821">
                  <c:v>20.655131056393973</c:v>
                </c:pt>
                <c:pt idx="1822">
                  <c:v>20.655131056393973</c:v>
                </c:pt>
                <c:pt idx="1823">
                  <c:v>20.655131056393973</c:v>
                </c:pt>
                <c:pt idx="1824">
                  <c:v>20.655131056393973</c:v>
                </c:pt>
                <c:pt idx="1825">
                  <c:v>20.655131056393973</c:v>
                </c:pt>
                <c:pt idx="1826">
                  <c:v>20.655131056393973</c:v>
                </c:pt>
                <c:pt idx="1827">
                  <c:v>20.655131056393973</c:v>
                </c:pt>
                <c:pt idx="1828">
                  <c:v>20.655131056393973</c:v>
                </c:pt>
                <c:pt idx="1829">
                  <c:v>20.655131056393973</c:v>
                </c:pt>
                <c:pt idx="1830">
                  <c:v>20.655131056393973</c:v>
                </c:pt>
                <c:pt idx="1831">
                  <c:v>20.655131056393973</c:v>
                </c:pt>
                <c:pt idx="1832">
                  <c:v>20.655131056393973</c:v>
                </c:pt>
                <c:pt idx="1833">
                  <c:v>20.655131056393973</c:v>
                </c:pt>
                <c:pt idx="1834">
                  <c:v>20.655131056393973</c:v>
                </c:pt>
                <c:pt idx="1835">
                  <c:v>20.655131056393973</c:v>
                </c:pt>
                <c:pt idx="1836">
                  <c:v>20.655131056393973</c:v>
                </c:pt>
                <c:pt idx="1837">
                  <c:v>20.655131056393973</c:v>
                </c:pt>
                <c:pt idx="1838">
                  <c:v>20.655131056393973</c:v>
                </c:pt>
                <c:pt idx="1839">
                  <c:v>20.655131056393973</c:v>
                </c:pt>
                <c:pt idx="1840">
                  <c:v>20.655131056393973</c:v>
                </c:pt>
                <c:pt idx="1841">
                  <c:v>20.655131056393973</c:v>
                </c:pt>
                <c:pt idx="1842">
                  <c:v>20.655131056393973</c:v>
                </c:pt>
                <c:pt idx="1843">
                  <c:v>20.655131056393973</c:v>
                </c:pt>
                <c:pt idx="1844">
                  <c:v>20.655131056393973</c:v>
                </c:pt>
                <c:pt idx="1845">
                  <c:v>20.655131056393973</c:v>
                </c:pt>
                <c:pt idx="1846">
                  <c:v>20.655131056393973</c:v>
                </c:pt>
                <c:pt idx="1847">
                  <c:v>20.655131056393973</c:v>
                </c:pt>
                <c:pt idx="1848">
                  <c:v>20.655131056393973</c:v>
                </c:pt>
                <c:pt idx="1849">
                  <c:v>20.655131056393973</c:v>
                </c:pt>
                <c:pt idx="1850">
                  <c:v>20.655131056393973</c:v>
                </c:pt>
                <c:pt idx="1851">
                  <c:v>20.655131056393973</c:v>
                </c:pt>
                <c:pt idx="1852">
                  <c:v>20.655131056393973</c:v>
                </c:pt>
                <c:pt idx="1853">
                  <c:v>20.655131056393973</c:v>
                </c:pt>
                <c:pt idx="1854">
                  <c:v>20.655131056393973</c:v>
                </c:pt>
                <c:pt idx="1855">
                  <c:v>20.655131056393973</c:v>
                </c:pt>
                <c:pt idx="1856">
                  <c:v>20.655131056393973</c:v>
                </c:pt>
                <c:pt idx="1857">
                  <c:v>20.655131056393973</c:v>
                </c:pt>
                <c:pt idx="1858">
                  <c:v>20.655131056393973</c:v>
                </c:pt>
                <c:pt idx="1859">
                  <c:v>20.655131056393973</c:v>
                </c:pt>
                <c:pt idx="1860">
                  <c:v>20.655131056393973</c:v>
                </c:pt>
                <c:pt idx="1861">
                  <c:v>20.655131056393973</c:v>
                </c:pt>
                <c:pt idx="1862">
                  <c:v>20.655131056393973</c:v>
                </c:pt>
                <c:pt idx="1863">
                  <c:v>20.655131056393973</c:v>
                </c:pt>
                <c:pt idx="1864">
                  <c:v>20.655131056393973</c:v>
                </c:pt>
                <c:pt idx="1865">
                  <c:v>20.655131056393973</c:v>
                </c:pt>
                <c:pt idx="1866">
                  <c:v>20.655131056393973</c:v>
                </c:pt>
                <c:pt idx="1867">
                  <c:v>20.655131056393973</c:v>
                </c:pt>
                <c:pt idx="1868">
                  <c:v>20.655131056393973</c:v>
                </c:pt>
                <c:pt idx="1869">
                  <c:v>20.655131056393973</c:v>
                </c:pt>
                <c:pt idx="1870">
                  <c:v>20.655131056393973</c:v>
                </c:pt>
                <c:pt idx="1871">
                  <c:v>20.655131056393973</c:v>
                </c:pt>
                <c:pt idx="1872">
                  <c:v>20.655131056393973</c:v>
                </c:pt>
                <c:pt idx="1873">
                  <c:v>20.655131056393973</c:v>
                </c:pt>
                <c:pt idx="1874">
                  <c:v>20.655131056393973</c:v>
                </c:pt>
                <c:pt idx="1875">
                  <c:v>20.655131056393973</c:v>
                </c:pt>
                <c:pt idx="1876">
                  <c:v>20.655131056393973</c:v>
                </c:pt>
                <c:pt idx="1877">
                  <c:v>20.655131056393973</c:v>
                </c:pt>
                <c:pt idx="1878">
                  <c:v>20.655131056393973</c:v>
                </c:pt>
                <c:pt idx="1879">
                  <c:v>20.655131056393973</c:v>
                </c:pt>
                <c:pt idx="1880">
                  <c:v>20.655131056393973</c:v>
                </c:pt>
                <c:pt idx="1881">
                  <c:v>20.655131056393973</c:v>
                </c:pt>
                <c:pt idx="1882">
                  <c:v>20.655131056393973</c:v>
                </c:pt>
                <c:pt idx="1883">
                  <c:v>20.655131056393973</c:v>
                </c:pt>
                <c:pt idx="1884">
                  <c:v>20.655131056393973</c:v>
                </c:pt>
                <c:pt idx="1885">
                  <c:v>20.655131056393973</c:v>
                </c:pt>
                <c:pt idx="1886">
                  <c:v>20.655131056393973</c:v>
                </c:pt>
                <c:pt idx="1887">
                  <c:v>20.655131056393973</c:v>
                </c:pt>
                <c:pt idx="1888">
                  <c:v>20.655131056393973</c:v>
                </c:pt>
                <c:pt idx="1889">
                  <c:v>20.655131056393973</c:v>
                </c:pt>
                <c:pt idx="1890">
                  <c:v>20.655131056393973</c:v>
                </c:pt>
                <c:pt idx="1891">
                  <c:v>20.655131056393973</c:v>
                </c:pt>
                <c:pt idx="1892">
                  <c:v>20.655131056393973</c:v>
                </c:pt>
                <c:pt idx="1893">
                  <c:v>20.655131056393973</c:v>
                </c:pt>
                <c:pt idx="1894">
                  <c:v>20.655131056393973</c:v>
                </c:pt>
                <c:pt idx="1895">
                  <c:v>20.655131056393973</c:v>
                </c:pt>
                <c:pt idx="1896">
                  <c:v>20.655131056393973</c:v>
                </c:pt>
                <c:pt idx="1897">
                  <c:v>20.655131056393973</c:v>
                </c:pt>
                <c:pt idx="1898">
                  <c:v>20.655131056393973</c:v>
                </c:pt>
                <c:pt idx="1899">
                  <c:v>20.655131056393973</c:v>
                </c:pt>
                <c:pt idx="1900">
                  <c:v>20.655131056393973</c:v>
                </c:pt>
                <c:pt idx="1901">
                  <c:v>20.655131056393973</c:v>
                </c:pt>
                <c:pt idx="1902">
                  <c:v>20.655131056393973</c:v>
                </c:pt>
                <c:pt idx="1903">
                  <c:v>20.655131056393973</c:v>
                </c:pt>
                <c:pt idx="1904">
                  <c:v>20.655131056393973</c:v>
                </c:pt>
                <c:pt idx="1905">
                  <c:v>20.655131056393973</c:v>
                </c:pt>
                <c:pt idx="1906">
                  <c:v>20.655131056393973</c:v>
                </c:pt>
                <c:pt idx="1907">
                  <c:v>20.655131056393973</c:v>
                </c:pt>
                <c:pt idx="1908">
                  <c:v>20.655131056393973</c:v>
                </c:pt>
                <c:pt idx="1909">
                  <c:v>20.655131056393973</c:v>
                </c:pt>
                <c:pt idx="1910">
                  <c:v>20.655131056393973</c:v>
                </c:pt>
                <c:pt idx="1911">
                  <c:v>20.655131056393973</c:v>
                </c:pt>
                <c:pt idx="1912">
                  <c:v>20.655131056393973</c:v>
                </c:pt>
                <c:pt idx="1913">
                  <c:v>20.655131056393973</c:v>
                </c:pt>
                <c:pt idx="1914">
                  <c:v>20.655131056393973</c:v>
                </c:pt>
                <c:pt idx="1915">
                  <c:v>20.655131056393973</c:v>
                </c:pt>
                <c:pt idx="1916">
                  <c:v>20.655131056393973</c:v>
                </c:pt>
                <c:pt idx="1917">
                  <c:v>20.655131056393973</c:v>
                </c:pt>
                <c:pt idx="1918">
                  <c:v>20.655131056393973</c:v>
                </c:pt>
                <c:pt idx="1919">
                  <c:v>20.655131056393973</c:v>
                </c:pt>
                <c:pt idx="1920">
                  <c:v>20.655131056393973</c:v>
                </c:pt>
                <c:pt idx="1921">
                  <c:v>20.655131056393973</c:v>
                </c:pt>
                <c:pt idx="1922">
                  <c:v>20.655131056393973</c:v>
                </c:pt>
                <c:pt idx="1923">
                  <c:v>20.655131056393973</c:v>
                </c:pt>
                <c:pt idx="1924">
                  <c:v>20.655131056393973</c:v>
                </c:pt>
                <c:pt idx="1925">
                  <c:v>20.655131056393973</c:v>
                </c:pt>
                <c:pt idx="1926">
                  <c:v>20.655131056393973</c:v>
                </c:pt>
                <c:pt idx="1927">
                  <c:v>20.655131056393973</c:v>
                </c:pt>
                <c:pt idx="1928">
                  <c:v>20.655131056393973</c:v>
                </c:pt>
                <c:pt idx="1929">
                  <c:v>20.655131056393973</c:v>
                </c:pt>
                <c:pt idx="1930">
                  <c:v>20.655131056393973</c:v>
                </c:pt>
                <c:pt idx="1931">
                  <c:v>20.655131056393973</c:v>
                </c:pt>
                <c:pt idx="1932">
                  <c:v>20.655131056393973</c:v>
                </c:pt>
                <c:pt idx="1933">
                  <c:v>20.655131056393973</c:v>
                </c:pt>
                <c:pt idx="1934">
                  <c:v>20.655131056393973</c:v>
                </c:pt>
                <c:pt idx="1935">
                  <c:v>20.655131056393973</c:v>
                </c:pt>
                <c:pt idx="1936">
                  <c:v>20.655131056393973</c:v>
                </c:pt>
                <c:pt idx="1937">
                  <c:v>20.655131056393973</c:v>
                </c:pt>
                <c:pt idx="1938">
                  <c:v>20.655131056393973</c:v>
                </c:pt>
                <c:pt idx="1939">
                  <c:v>20.655131056393973</c:v>
                </c:pt>
                <c:pt idx="1940">
                  <c:v>20.655131056393973</c:v>
                </c:pt>
                <c:pt idx="1941">
                  <c:v>20.655131056393973</c:v>
                </c:pt>
                <c:pt idx="1942">
                  <c:v>20.655131056393973</c:v>
                </c:pt>
                <c:pt idx="1943">
                  <c:v>20.655131056393973</c:v>
                </c:pt>
                <c:pt idx="1944">
                  <c:v>20.655131056393973</c:v>
                </c:pt>
                <c:pt idx="1945">
                  <c:v>20.655131056393973</c:v>
                </c:pt>
                <c:pt idx="1946">
                  <c:v>20.655131056393973</c:v>
                </c:pt>
                <c:pt idx="1947">
                  <c:v>20.655131056393973</c:v>
                </c:pt>
                <c:pt idx="1948">
                  <c:v>20.655131056393973</c:v>
                </c:pt>
                <c:pt idx="1949">
                  <c:v>20.655131056393973</c:v>
                </c:pt>
                <c:pt idx="1950">
                  <c:v>20.655131056393973</c:v>
                </c:pt>
                <c:pt idx="1951">
                  <c:v>20.655131056393973</c:v>
                </c:pt>
                <c:pt idx="1952">
                  <c:v>20.655131056393973</c:v>
                </c:pt>
                <c:pt idx="1953">
                  <c:v>20.655131056393973</c:v>
                </c:pt>
                <c:pt idx="1954">
                  <c:v>20.655131056393973</c:v>
                </c:pt>
                <c:pt idx="1955">
                  <c:v>20.655131056393973</c:v>
                </c:pt>
                <c:pt idx="1956">
                  <c:v>20.655131056393973</c:v>
                </c:pt>
                <c:pt idx="1957">
                  <c:v>20.655131056393973</c:v>
                </c:pt>
                <c:pt idx="1958">
                  <c:v>20.655131056393973</c:v>
                </c:pt>
                <c:pt idx="1959">
                  <c:v>20.655131056393973</c:v>
                </c:pt>
                <c:pt idx="1960">
                  <c:v>20.655131056393973</c:v>
                </c:pt>
                <c:pt idx="1961">
                  <c:v>20.655131056393973</c:v>
                </c:pt>
                <c:pt idx="1962">
                  <c:v>20.655131056393973</c:v>
                </c:pt>
                <c:pt idx="1963">
                  <c:v>20.655131056393973</c:v>
                </c:pt>
                <c:pt idx="1964">
                  <c:v>20.655131056393973</c:v>
                </c:pt>
                <c:pt idx="1965">
                  <c:v>20.655131056393973</c:v>
                </c:pt>
                <c:pt idx="1966">
                  <c:v>20.655131056393973</c:v>
                </c:pt>
                <c:pt idx="1967">
                  <c:v>20.655131056393973</c:v>
                </c:pt>
                <c:pt idx="1968">
                  <c:v>20.655131056393973</c:v>
                </c:pt>
                <c:pt idx="1969">
                  <c:v>20.655131056393973</c:v>
                </c:pt>
                <c:pt idx="1970">
                  <c:v>20.655131056393973</c:v>
                </c:pt>
                <c:pt idx="1971">
                  <c:v>20.655131056393973</c:v>
                </c:pt>
                <c:pt idx="1972">
                  <c:v>20.655131056393973</c:v>
                </c:pt>
                <c:pt idx="1973">
                  <c:v>20.655131056393973</c:v>
                </c:pt>
                <c:pt idx="1974">
                  <c:v>20.655131056393973</c:v>
                </c:pt>
                <c:pt idx="1975">
                  <c:v>20.655131056393973</c:v>
                </c:pt>
                <c:pt idx="1976">
                  <c:v>20.655131056393973</c:v>
                </c:pt>
                <c:pt idx="1977">
                  <c:v>20.655131056393973</c:v>
                </c:pt>
                <c:pt idx="1978">
                  <c:v>20.655131056393973</c:v>
                </c:pt>
                <c:pt idx="1979">
                  <c:v>20.655131056393973</c:v>
                </c:pt>
                <c:pt idx="1980">
                  <c:v>20.655131056393973</c:v>
                </c:pt>
                <c:pt idx="1981">
                  <c:v>20.655131056393973</c:v>
                </c:pt>
                <c:pt idx="1982">
                  <c:v>20.655131056393973</c:v>
                </c:pt>
                <c:pt idx="1983">
                  <c:v>20.655131056393973</c:v>
                </c:pt>
                <c:pt idx="1984">
                  <c:v>20.655131056393973</c:v>
                </c:pt>
                <c:pt idx="1985">
                  <c:v>20.655131056393973</c:v>
                </c:pt>
                <c:pt idx="1986">
                  <c:v>20.655131056393973</c:v>
                </c:pt>
                <c:pt idx="1987">
                  <c:v>20.655131056393973</c:v>
                </c:pt>
                <c:pt idx="1988">
                  <c:v>20.655131056393973</c:v>
                </c:pt>
                <c:pt idx="1989">
                  <c:v>20.655131056393973</c:v>
                </c:pt>
                <c:pt idx="1990">
                  <c:v>20.655131056393973</c:v>
                </c:pt>
                <c:pt idx="1991">
                  <c:v>20.655131056393973</c:v>
                </c:pt>
                <c:pt idx="1992">
                  <c:v>20.655131056393973</c:v>
                </c:pt>
                <c:pt idx="1993">
                  <c:v>20.655131056393973</c:v>
                </c:pt>
                <c:pt idx="1994">
                  <c:v>20.655131056393973</c:v>
                </c:pt>
                <c:pt idx="1995">
                  <c:v>20.655131056393973</c:v>
                </c:pt>
                <c:pt idx="1996">
                  <c:v>20.655131056393973</c:v>
                </c:pt>
                <c:pt idx="1997">
                  <c:v>20.655131056393973</c:v>
                </c:pt>
                <c:pt idx="1998">
                  <c:v>20.655131056393973</c:v>
                </c:pt>
                <c:pt idx="1999">
                  <c:v>20.655131056393973</c:v>
                </c:pt>
                <c:pt idx="2000">
                  <c:v>20.655131056393973</c:v>
                </c:pt>
                <c:pt idx="2001">
                  <c:v>20.655131056393973</c:v>
                </c:pt>
                <c:pt idx="2002">
                  <c:v>20.655131056393973</c:v>
                </c:pt>
                <c:pt idx="2003">
                  <c:v>20.655131056393973</c:v>
                </c:pt>
                <c:pt idx="2004">
                  <c:v>20.655131056393973</c:v>
                </c:pt>
                <c:pt idx="2005">
                  <c:v>20.655131056393973</c:v>
                </c:pt>
                <c:pt idx="2006">
                  <c:v>20.655131056393973</c:v>
                </c:pt>
                <c:pt idx="2007">
                  <c:v>20.655131056393973</c:v>
                </c:pt>
                <c:pt idx="2008">
                  <c:v>20.655131056393973</c:v>
                </c:pt>
                <c:pt idx="2009">
                  <c:v>20.655131056393973</c:v>
                </c:pt>
                <c:pt idx="2010">
                  <c:v>20.655131056393973</c:v>
                </c:pt>
                <c:pt idx="2011">
                  <c:v>20.655131056393973</c:v>
                </c:pt>
                <c:pt idx="2012">
                  <c:v>20.655131056393973</c:v>
                </c:pt>
                <c:pt idx="2013">
                  <c:v>20.655131056393973</c:v>
                </c:pt>
                <c:pt idx="2014">
                  <c:v>20.655131056393973</c:v>
                </c:pt>
                <c:pt idx="2015">
                  <c:v>20.655131056393973</c:v>
                </c:pt>
                <c:pt idx="2016">
                  <c:v>20.655131056393973</c:v>
                </c:pt>
                <c:pt idx="2017">
                  <c:v>20.655131056393973</c:v>
                </c:pt>
                <c:pt idx="2018">
                  <c:v>20.655131056393973</c:v>
                </c:pt>
                <c:pt idx="2019">
                  <c:v>20.655131056393973</c:v>
                </c:pt>
                <c:pt idx="2020">
                  <c:v>20.655131056393973</c:v>
                </c:pt>
                <c:pt idx="2021">
                  <c:v>20.655131056393973</c:v>
                </c:pt>
                <c:pt idx="2022">
                  <c:v>20.655131056393973</c:v>
                </c:pt>
                <c:pt idx="2023">
                  <c:v>20.655131056393973</c:v>
                </c:pt>
                <c:pt idx="2024">
                  <c:v>20.655131056393973</c:v>
                </c:pt>
                <c:pt idx="2025">
                  <c:v>20.655131056393973</c:v>
                </c:pt>
                <c:pt idx="2026">
                  <c:v>20.655131056393973</c:v>
                </c:pt>
                <c:pt idx="2027">
                  <c:v>20.655131056393973</c:v>
                </c:pt>
                <c:pt idx="2028">
                  <c:v>20.655131056393973</c:v>
                </c:pt>
                <c:pt idx="2029">
                  <c:v>20.655131056393973</c:v>
                </c:pt>
                <c:pt idx="2030">
                  <c:v>20.655131056393973</c:v>
                </c:pt>
                <c:pt idx="2031">
                  <c:v>20.655131056393973</c:v>
                </c:pt>
                <c:pt idx="2032">
                  <c:v>20.655131056393973</c:v>
                </c:pt>
                <c:pt idx="2033">
                  <c:v>20.655131056393973</c:v>
                </c:pt>
                <c:pt idx="2034">
                  <c:v>20.655131056393973</c:v>
                </c:pt>
                <c:pt idx="2035">
                  <c:v>20.655131056393973</c:v>
                </c:pt>
                <c:pt idx="2036">
                  <c:v>20.655131056393973</c:v>
                </c:pt>
                <c:pt idx="2037">
                  <c:v>20.655131056393973</c:v>
                </c:pt>
                <c:pt idx="2038">
                  <c:v>20.655131056393973</c:v>
                </c:pt>
                <c:pt idx="2039">
                  <c:v>20.655131056393973</c:v>
                </c:pt>
                <c:pt idx="2040">
                  <c:v>20.655131056393973</c:v>
                </c:pt>
                <c:pt idx="2041">
                  <c:v>20.655131056393973</c:v>
                </c:pt>
                <c:pt idx="2042">
                  <c:v>20.655131056393973</c:v>
                </c:pt>
                <c:pt idx="2043">
                  <c:v>20.655131056393973</c:v>
                </c:pt>
                <c:pt idx="2044">
                  <c:v>20.655131056393973</c:v>
                </c:pt>
                <c:pt idx="2045">
                  <c:v>20.655131056393973</c:v>
                </c:pt>
                <c:pt idx="2046">
                  <c:v>20.655131056393973</c:v>
                </c:pt>
                <c:pt idx="2047">
                  <c:v>20.655131056393973</c:v>
                </c:pt>
                <c:pt idx="2048">
                  <c:v>20.655131056393973</c:v>
                </c:pt>
                <c:pt idx="2049">
                  <c:v>20.655131056393973</c:v>
                </c:pt>
                <c:pt idx="2050">
                  <c:v>20.655131056393973</c:v>
                </c:pt>
                <c:pt idx="2051">
                  <c:v>20.655131056393973</c:v>
                </c:pt>
                <c:pt idx="2052">
                  <c:v>20.655131056393973</c:v>
                </c:pt>
                <c:pt idx="2053">
                  <c:v>20.655131056393973</c:v>
                </c:pt>
                <c:pt idx="2054">
                  <c:v>20.655131056393973</c:v>
                </c:pt>
                <c:pt idx="2055">
                  <c:v>20.655131056393973</c:v>
                </c:pt>
                <c:pt idx="2056">
                  <c:v>20.655131056393973</c:v>
                </c:pt>
                <c:pt idx="2057">
                  <c:v>20.655131056393973</c:v>
                </c:pt>
                <c:pt idx="2058">
                  <c:v>20.655131056393973</c:v>
                </c:pt>
                <c:pt idx="2059">
                  <c:v>20.655131056393973</c:v>
                </c:pt>
                <c:pt idx="2060">
                  <c:v>20.655131056393973</c:v>
                </c:pt>
                <c:pt idx="2061">
                  <c:v>20.655131056393973</c:v>
                </c:pt>
                <c:pt idx="2062">
                  <c:v>20.655131056393973</c:v>
                </c:pt>
                <c:pt idx="2063">
                  <c:v>20.655131056393973</c:v>
                </c:pt>
                <c:pt idx="2064">
                  <c:v>20.655131056393973</c:v>
                </c:pt>
                <c:pt idx="2065">
                  <c:v>20.655131056393973</c:v>
                </c:pt>
                <c:pt idx="2066">
                  <c:v>20.655131056393973</c:v>
                </c:pt>
                <c:pt idx="2067">
                  <c:v>20.655131056393973</c:v>
                </c:pt>
                <c:pt idx="2068">
                  <c:v>20.655131056393973</c:v>
                </c:pt>
                <c:pt idx="2069">
                  <c:v>20.655131056393973</c:v>
                </c:pt>
                <c:pt idx="2070">
                  <c:v>20.655131056393973</c:v>
                </c:pt>
                <c:pt idx="2071">
                  <c:v>20.655131056393973</c:v>
                </c:pt>
                <c:pt idx="2072">
                  <c:v>20.655131056393973</c:v>
                </c:pt>
                <c:pt idx="2073">
                  <c:v>20.655131056393973</c:v>
                </c:pt>
                <c:pt idx="2074">
                  <c:v>20.655131056393973</c:v>
                </c:pt>
                <c:pt idx="2075">
                  <c:v>20.655131056393973</c:v>
                </c:pt>
                <c:pt idx="2076">
                  <c:v>20.655131056393973</c:v>
                </c:pt>
                <c:pt idx="2077">
                  <c:v>20.655131056393973</c:v>
                </c:pt>
                <c:pt idx="2078">
                  <c:v>20.655131056393973</c:v>
                </c:pt>
                <c:pt idx="2079">
                  <c:v>20.655131056393973</c:v>
                </c:pt>
                <c:pt idx="2080">
                  <c:v>20.655131056393973</c:v>
                </c:pt>
                <c:pt idx="2081">
                  <c:v>20.655131056393973</c:v>
                </c:pt>
                <c:pt idx="2082">
                  <c:v>20.655131056393973</c:v>
                </c:pt>
                <c:pt idx="2083">
                  <c:v>20.655131056393973</c:v>
                </c:pt>
                <c:pt idx="2084">
                  <c:v>20.655131056393973</c:v>
                </c:pt>
                <c:pt idx="2085">
                  <c:v>20.655131056393973</c:v>
                </c:pt>
                <c:pt idx="2086">
                  <c:v>20.655131056393973</c:v>
                </c:pt>
                <c:pt idx="2087">
                  <c:v>20.655131056393973</c:v>
                </c:pt>
                <c:pt idx="2088">
                  <c:v>20.655131056393973</c:v>
                </c:pt>
                <c:pt idx="2089">
                  <c:v>20.655131056393973</c:v>
                </c:pt>
                <c:pt idx="2090">
                  <c:v>20.655131056393973</c:v>
                </c:pt>
                <c:pt idx="2091">
                  <c:v>20.655131056393973</c:v>
                </c:pt>
                <c:pt idx="2092">
                  <c:v>20.655131056393973</c:v>
                </c:pt>
                <c:pt idx="2093">
                  <c:v>20.655131056393973</c:v>
                </c:pt>
                <c:pt idx="2094">
                  <c:v>20.655131056393973</c:v>
                </c:pt>
                <c:pt idx="2095">
                  <c:v>20.655131056393973</c:v>
                </c:pt>
                <c:pt idx="2096">
                  <c:v>20.655131056393973</c:v>
                </c:pt>
                <c:pt idx="2097">
                  <c:v>20.655131056393973</c:v>
                </c:pt>
                <c:pt idx="2098">
                  <c:v>20.655131056393973</c:v>
                </c:pt>
                <c:pt idx="2099">
                  <c:v>20.655131056393973</c:v>
                </c:pt>
                <c:pt idx="2100">
                  <c:v>20.655131056393973</c:v>
                </c:pt>
                <c:pt idx="2101">
                  <c:v>20.655131056393973</c:v>
                </c:pt>
                <c:pt idx="2102">
                  <c:v>20.655131056393973</c:v>
                </c:pt>
                <c:pt idx="2103">
                  <c:v>20.655131056393973</c:v>
                </c:pt>
                <c:pt idx="2104">
                  <c:v>20.655131056393973</c:v>
                </c:pt>
                <c:pt idx="2105">
                  <c:v>20.655131056393973</c:v>
                </c:pt>
                <c:pt idx="2106">
                  <c:v>20.655131056393973</c:v>
                </c:pt>
                <c:pt idx="2107">
                  <c:v>20.655131056393973</c:v>
                </c:pt>
                <c:pt idx="2108">
                  <c:v>20.655131056393973</c:v>
                </c:pt>
                <c:pt idx="2109">
                  <c:v>20.655131056393973</c:v>
                </c:pt>
                <c:pt idx="2110">
                  <c:v>20.655131056393973</c:v>
                </c:pt>
                <c:pt idx="2111">
                  <c:v>20.655131056393973</c:v>
                </c:pt>
                <c:pt idx="2112">
                  <c:v>20.655131056393973</c:v>
                </c:pt>
                <c:pt idx="2113">
                  <c:v>20.655131056393973</c:v>
                </c:pt>
                <c:pt idx="2114">
                  <c:v>20.655131056393973</c:v>
                </c:pt>
                <c:pt idx="2115">
                  <c:v>20.655131056393973</c:v>
                </c:pt>
                <c:pt idx="2116">
                  <c:v>20.655131056393973</c:v>
                </c:pt>
                <c:pt idx="2117">
                  <c:v>20.655131056393973</c:v>
                </c:pt>
                <c:pt idx="2118">
                  <c:v>20.655131056393973</c:v>
                </c:pt>
                <c:pt idx="2119">
                  <c:v>20.655131056393973</c:v>
                </c:pt>
                <c:pt idx="2120">
                  <c:v>20.655131056393973</c:v>
                </c:pt>
                <c:pt idx="2121">
                  <c:v>20.655131056393973</c:v>
                </c:pt>
                <c:pt idx="2122">
                  <c:v>20.655131056393973</c:v>
                </c:pt>
                <c:pt idx="2123">
                  <c:v>20.655131056393973</c:v>
                </c:pt>
                <c:pt idx="2124">
                  <c:v>20.655131056393973</c:v>
                </c:pt>
                <c:pt idx="2125">
                  <c:v>20.655131056393973</c:v>
                </c:pt>
                <c:pt idx="2126">
                  <c:v>20.655131056393973</c:v>
                </c:pt>
                <c:pt idx="2127">
                  <c:v>20.655131056393973</c:v>
                </c:pt>
                <c:pt idx="2128">
                  <c:v>20.655131056393973</c:v>
                </c:pt>
                <c:pt idx="2129">
                  <c:v>20.655131056393973</c:v>
                </c:pt>
                <c:pt idx="2130">
                  <c:v>20.655131056393973</c:v>
                </c:pt>
                <c:pt idx="2131">
                  <c:v>20.655131056393973</c:v>
                </c:pt>
                <c:pt idx="2132">
                  <c:v>20.655131056393973</c:v>
                </c:pt>
                <c:pt idx="2133">
                  <c:v>20.655131056393973</c:v>
                </c:pt>
                <c:pt idx="2134">
                  <c:v>20.655131056393973</c:v>
                </c:pt>
                <c:pt idx="2135">
                  <c:v>20.655131056393973</c:v>
                </c:pt>
                <c:pt idx="2136">
                  <c:v>20.655131056393973</c:v>
                </c:pt>
                <c:pt idx="2137">
                  <c:v>20.655131056393973</c:v>
                </c:pt>
                <c:pt idx="2138">
                  <c:v>20.655131056393973</c:v>
                </c:pt>
                <c:pt idx="2139">
                  <c:v>20.655131056393973</c:v>
                </c:pt>
                <c:pt idx="2140">
                  <c:v>20.655131056393973</c:v>
                </c:pt>
                <c:pt idx="2141">
                  <c:v>20.655131056393973</c:v>
                </c:pt>
                <c:pt idx="2142">
                  <c:v>20.655131056393973</c:v>
                </c:pt>
                <c:pt idx="2143">
                  <c:v>20.655131056393973</c:v>
                </c:pt>
                <c:pt idx="2144">
                  <c:v>20.655131056393973</c:v>
                </c:pt>
                <c:pt idx="2145">
                  <c:v>20.655131056393973</c:v>
                </c:pt>
                <c:pt idx="2146">
                  <c:v>20.655131056393973</c:v>
                </c:pt>
                <c:pt idx="2147">
                  <c:v>20.655131056393973</c:v>
                </c:pt>
                <c:pt idx="2148">
                  <c:v>20.655131056393973</c:v>
                </c:pt>
                <c:pt idx="2149">
                  <c:v>20.655131056393973</c:v>
                </c:pt>
                <c:pt idx="2150">
                  <c:v>20.655131056393973</c:v>
                </c:pt>
                <c:pt idx="2151">
                  <c:v>20.655131056393973</c:v>
                </c:pt>
                <c:pt idx="2152">
                  <c:v>20.655131056393973</c:v>
                </c:pt>
                <c:pt idx="2153">
                  <c:v>20.655131056393973</c:v>
                </c:pt>
                <c:pt idx="2154">
                  <c:v>20.655131056393973</c:v>
                </c:pt>
                <c:pt idx="2155">
                  <c:v>20.655131056393973</c:v>
                </c:pt>
                <c:pt idx="2156">
                  <c:v>20.655131056393973</c:v>
                </c:pt>
                <c:pt idx="2157">
                  <c:v>20.655131056393973</c:v>
                </c:pt>
                <c:pt idx="2158">
                  <c:v>20.655131056393973</c:v>
                </c:pt>
                <c:pt idx="2159">
                  <c:v>20.655131056393973</c:v>
                </c:pt>
                <c:pt idx="2160">
                  <c:v>20.655131056393973</c:v>
                </c:pt>
                <c:pt idx="2161">
                  <c:v>20.655131056393973</c:v>
                </c:pt>
                <c:pt idx="2162">
                  <c:v>20.655131056393973</c:v>
                </c:pt>
                <c:pt idx="2163">
                  <c:v>20.655131056393973</c:v>
                </c:pt>
                <c:pt idx="2164">
                  <c:v>20.655131056393973</c:v>
                </c:pt>
                <c:pt idx="2165">
                  <c:v>20.655131056393973</c:v>
                </c:pt>
                <c:pt idx="2166">
                  <c:v>20.655131056393973</c:v>
                </c:pt>
                <c:pt idx="2167">
                  <c:v>20.655131056393973</c:v>
                </c:pt>
                <c:pt idx="2168">
                  <c:v>20.655131056393973</c:v>
                </c:pt>
                <c:pt idx="2169">
                  <c:v>20.655131056393973</c:v>
                </c:pt>
                <c:pt idx="2170">
                  <c:v>20.655131056393973</c:v>
                </c:pt>
                <c:pt idx="2171">
                  <c:v>20.655131056393973</c:v>
                </c:pt>
                <c:pt idx="2172">
                  <c:v>20.655131056393973</c:v>
                </c:pt>
                <c:pt idx="2173">
                  <c:v>20.655131056393973</c:v>
                </c:pt>
                <c:pt idx="2174">
                  <c:v>20.655131056393973</c:v>
                </c:pt>
                <c:pt idx="2175">
                  <c:v>20.655131056393973</c:v>
                </c:pt>
                <c:pt idx="2176">
                  <c:v>20.655131056393973</c:v>
                </c:pt>
                <c:pt idx="2177">
                  <c:v>20.655131056393973</c:v>
                </c:pt>
                <c:pt idx="2178">
                  <c:v>20.655131056393973</c:v>
                </c:pt>
                <c:pt idx="2179">
                  <c:v>20.655131056393973</c:v>
                </c:pt>
                <c:pt idx="2180">
                  <c:v>20.655131056393973</c:v>
                </c:pt>
                <c:pt idx="2181">
                  <c:v>20.655131056393973</c:v>
                </c:pt>
                <c:pt idx="2182">
                  <c:v>20.655131056393973</c:v>
                </c:pt>
                <c:pt idx="2183">
                  <c:v>20.655131056393973</c:v>
                </c:pt>
                <c:pt idx="2184">
                  <c:v>20.655131056393973</c:v>
                </c:pt>
                <c:pt idx="2185">
                  <c:v>20.655131056393973</c:v>
                </c:pt>
                <c:pt idx="2186">
                  <c:v>20.655131056393973</c:v>
                </c:pt>
                <c:pt idx="2187">
                  <c:v>20.655131056393973</c:v>
                </c:pt>
                <c:pt idx="2188">
                  <c:v>20.655131056393973</c:v>
                </c:pt>
                <c:pt idx="2189">
                  <c:v>20.655131056393973</c:v>
                </c:pt>
                <c:pt idx="2190">
                  <c:v>20.655131056393973</c:v>
                </c:pt>
                <c:pt idx="2191">
                  <c:v>20.655131056393973</c:v>
                </c:pt>
                <c:pt idx="2192">
                  <c:v>20.655131056393973</c:v>
                </c:pt>
                <c:pt idx="2193">
                  <c:v>20.655131056393973</c:v>
                </c:pt>
                <c:pt idx="2194">
                  <c:v>20.655131056393973</c:v>
                </c:pt>
                <c:pt idx="2195">
                  <c:v>20.655131056393973</c:v>
                </c:pt>
                <c:pt idx="2196">
                  <c:v>20.655131056393973</c:v>
                </c:pt>
                <c:pt idx="2197">
                  <c:v>20.655131056393973</c:v>
                </c:pt>
                <c:pt idx="2198">
                  <c:v>20.655131056393973</c:v>
                </c:pt>
                <c:pt idx="2199">
                  <c:v>20.655131056393973</c:v>
                </c:pt>
                <c:pt idx="2200">
                  <c:v>20.655131056393973</c:v>
                </c:pt>
                <c:pt idx="2201">
                  <c:v>20.655131056393973</c:v>
                </c:pt>
                <c:pt idx="2202">
                  <c:v>20.655131056393973</c:v>
                </c:pt>
                <c:pt idx="2203">
                  <c:v>20.655131056393973</c:v>
                </c:pt>
                <c:pt idx="2204">
                  <c:v>20.655131056393973</c:v>
                </c:pt>
                <c:pt idx="2205">
                  <c:v>20.655131056393973</c:v>
                </c:pt>
                <c:pt idx="2206">
                  <c:v>20.655131056393973</c:v>
                </c:pt>
                <c:pt idx="2207">
                  <c:v>20.655131056393973</c:v>
                </c:pt>
                <c:pt idx="2208">
                  <c:v>20.655131056393973</c:v>
                </c:pt>
                <c:pt idx="2209">
                  <c:v>20.655131056393973</c:v>
                </c:pt>
                <c:pt idx="2210">
                  <c:v>20.655131056393973</c:v>
                </c:pt>
                <c:pt idx="2211">
                  <c:v>20.655131056393973</c:v>
                </c:pt>
                <c:pt idx="2212">
                  <c:v>20.655131056393973</c:v>
                </c:pt>
                <c:pt idx="2213">
                  <c:v>20.655131056393973</c:v>
                </c:pt>
                <c:pt idx="2214">
                  <c:v>20.655131056393973</c:v>
                </c:pt>
                <c:pt idx="2215">
                  <c:v>20.655131056393973</c:v>
                </c:pt>
                <c:pt idx="2216">
                  <c:v>20.655131056393973</c:v>
                </c:pt>
                <c:pt idx="2217">
                  <c:v>20.655131056393973</c:v>
                </c:pt>
                <c:pt idx="2218">
                  <c:v>20.655131056393973</c:v>
                </c:pt>
                <c:pt idx="2219">
                  <c:v>20.655131056393973</c:v>
                </c:pt>
                <c:pt idx="2220">
                  <c:v>20.655131056393973</c:v>
                </c:pt>
                <c:pt idx="2221">
                  <c:v>20.655131056393973</c:v>
                </c:pt>
                <c:pt idx="2222">
                  <c:v>20.655131056393973</c:v>
                </c:pt>
                <c:pt idx="2223">
                  <c:v>20.655131056393973</c:v>
                </c:pt>
                <c:pt idx="2224">
                  <c:v>20.655131056393973</c:v>
                </c:pt>
                <c:pt idx="2225">
                  <c:v>20.655131056393973</c:v>
                </c:pt>
                <c:pt idx="2226">
                  <c:v>20.655131056393973</c:v>
                </c:pt>
                <c:pt idx="2227">
                  <c:v>20.655131056393973</c:v>
                </c:pt>
                <c:pt idx="2228">
                  <c:v>20.655131056393973</c:v>
                </c:pt>
                <c:pt idx="2229">
                  <c:v>20.655131056393973</c:v>
                </c:pt>
                <c:pt idx="2230">
                  <c:v>20.655131056393973</c:v>
                </c:pt>
                <c:pt idx="2231">
                  <c:v>20.655131056393973</c:v>
                </c:pt>
                <c:pt idx="2232">
                  <c:v>20.655131056393973</c:v>
                </c:pt>
                <c:pt idx="2233">
                  <c:v>20.655131056393973</c:v>
                </c:pt>
                <c:pt idx="2234">
                  <c:v>20.655131056393973</c:v>
                </c:pt>
                <c:pt idx="2235">
                  <c:v>20.655131056393973</c:v>
                </c:pt>
                <c:pt idx="2236">
                  <c:v>20.655131056393973</c:v>
                </c:pt>
                <c:pt idx="2237">
                  <c:v>20.655131056393973</c:v>
                </c:pt>
                <c:pt idx="2238">
                  <c:v>20.655131056393973</c:v>
                </c:pt>
                <c:pt idx="2239">
                  <c:v>20.655131056393973</c:v>
                </c:pt>
                <c:pt idx="2240">
                  <c:v>20.655131056393973</c:v>
                </c:pt>
                <c:pt idx="2241">
                  <c:v>20.655131056393973</c:v>
                </c:pt>
                <c:pt idx="2242">
                  <c:v>20.655131056393973</c:v>
                </c:pt>
                <c:pt idx="2243">
                  <c:v>20.655131056393973</c:v>
                </c:pt>
                <c:pt idx="2244">
                  <c:v>20.655131056393973</c:v>
                </c:pt>
                <c:pt idx="2245">
                  <c:v>20.655131056393973</c:v>
                </c:pt>
                <c:pt idx="2246">
                  <c:v>20.655131056393973</c:v>
                </c:pt>
                <c:pt idx="2247">
                  <c:v>20.655131056393973</c:v>
                </c:pt>
                <c:pt idx="2248">
                  <c:v>20.655131056393973</c:v>
                </c:pt>
                <c:pt idx="2249">
                  <c:v>20.655131056393973</c:v>
                </c:pt>
                <c:pt idx="2250">
                  <c:v>20.655131056393973</c:v>
                </c:pt>
                <c:pt idx="2251">
                  <c:v>20.655131056393973</c:v>
                </c:pt>
                <c:pt idx="2252">
                  <c:v>20.655131056393973</c:v>
                </c:pt>
                <c:pt idx="2253">
                  <c:v>20.655131056393973</c:v>
                </c:pt>
                <c:pt idx="2254">
                  <c:v>20.655131056393973</c:v>
                </c:pt>
                <c:pt idx="2255">
                  <c:v>20.655131056393973</c:v>
                </c:pt>
                <c:pt idx="2256">
                  <c:v>20.655131056393973</c:v>
                </c:pt>
                <c:pt idx="2257">
                  <c:v>20.655131056393973</c:v>
                </c:pt>
                <c:pt idx="2258">
                  <c:v>20.655131056393973</c:v>
                </c:pt>
                <c:pt idx="2259">
                  <c:v>20.655131056393973</c:v>
                </c:pt>
                <c:pt idx="2260">
                  <c:v>20.655131056393973</c:v>
                </c:pt>
                <c:pt idx="2261">
                  <c:v>20.655131056393973</c:v>
                </c:pt>
                <c:pt idx="2262">
                  <c:v>20.655131056393973</c:v>
                </c:pt>
                <c:pt idx="2263">
                  <c:v>20.655131056393973</c:v>
                </c:pt>
                <c:pt idx="2264">
                  <c:v>20.655131056393973</c:v>
                </c:pt>
                <c:pt idx="2265">
                  <c:v>20.655131056393973</c:v>
                </c:pt>
                <c:pt idx="2266">
                  <c:v>20.655131056393973</c:v>
                </c:pt>
                <c:pt idx="2267">
                  <c:v>20.655131056393973</c:v>
                </c:pt>
                <c:pt idx="2268">
                  <c:v>20.655131056393973</c:v>
                </c:pt>
                <c:pt idx="2269">
                  <c:v>20.655131056393973</c:v>
                </c:pt>
                <c:pt idx="2270">
                  <c:v>20.655131056393973</c:v>
                </c:pt>
                <c:pt idx="2271">
                  <c:v>20.655131056393973</c:v>
                </c:pt>
                <c:pt idx="2272">
                  <c:v>20.655131056393973</c:v>
                </c:pt>
                <c:pt idx="2273">
                  <c:v>20.655131056393973</c:v>
                </c:pt>
                <c:pt idx="2274">
                  <c:v>20.655131056393973</c:v>
                </c:pt>
                <c:pt idx="2275">
                  <c:v>20.655131056393973</c:v>
                </c:pt>
                <c:pt idx="2276">
                  <c:v>20.655131056393973</c:v>
                </c:pt>
                <c:pt idx="2277">
                  <c:v>20.655131056393973</c:v>
                </c:pt>
                <c:pt idx="2278">
                  <c:v>20.655131056393973</c:v>
                </c:pt>
                <c:pt idx="2279">
                  <c:v>20.655131056393973</c:v>
                </c:pt>
                <c:pt idx="2280">
                  <c:v>20.655131056393973</c:v>
                </c:pt>
                <c:pt idx="2281">
                  <c:v>20.655131056393973</c:v>
                </c:pt>
                <c:pt idx="2282">
                  <c:v>20.655131056393973</c:v>
                </c:pt>
                <c:pt idx="2283">
                  <c:v>20.655131056393973</c:v>
                </c:pt>
                <c:pt idx="2284">
                  <c:v>20.655131056393973</c:v>
                </c:pt>
                <c:pt idx="2285">
                  <c:v>20.655131056393973</c:v>
                </c:pt>
                <c:pt idx="2286">
                  <c:v>20.655131056393973</c:v>
                </c:pt>
                <c:pt idx="2287">
                  <c:v>20.655131056393973</c:v>
                </c:pt>
                <c:pt idx="2288">
                  <c:v>20.655131056393973</c:v>
                </c:pt>
                <c:pt idx="2289">
                  <c:v>20.655131056393973</c:v>
                </c:pt>
                <c:pt idx="2290">
                  <c:v>20.655131056393973</c:v>
                </c:pt>
                <c:pt idx="2291">
                  <c:v>20.655131056393973</c:v>
                </c:pt>
                <c:pt idx="2292">
                  <c:v>20.655131056393973</c:v>
                </c:pt>
                <c:pt idx="2293">
                  <c:v>20.655131056393973</c:v>
                </c:pt>
                <c:pt idx="2294">
                  <c:v>20.655131056393973</c:v>
                </c:pt>
                <c:pt idx="2295">
                  <c:v>20.655131056393973</c:v>
                </c:pt>
                <c:pt idx="2296">
                  <c:v>20.655131056393973</c:v>
                </c:pt>
                <c:pt idx="2297">
                  <c:v>20.655131056393973</c:v>
                </c:pt>
                <c:pt idx="2298">
                  <c:v>20.655131056393973</c:v>
                </c:pt>
                <c:pt idx="2299">
                  <c:v>20.655131056393973</c:v>
                </c:pt>
                <c:pt idx="2300">
                  <c:v>20.655131056393973</c:v>
                </c:pt>
                <c:pt idx="2301">
                  <c:v>20.655131056393973</c:v>
                </c:pt>
                <c:pt idx="2302">
                  <c:v>20.655131056393973</c:v>
                </c:pt>
                <c:pt idx="2303">
                  <c:v>20.655131056393973</c:v>
                </c:pt>
                <c:pt idx="2304">
                  <c:v>20.655131056393973</c:v>
                </c:pt>
                <c:pt idx="2305">
                  <c:v>20.655131056393973</c:v>
                </c:pt>
                <c:pt idx="2306">
                  <c:v>20.655131056393973</c:v>
                </c:pt>
                <c:pt idx="2307">
                  <c:v>20.655131056393973</c:v>
                </c:pt>
                <c:pt idx="2308">
                  <c:v>20.655131056393973</c:v>
                </c:pt>
                <c:pt idx="2309">
                  <c:v>20.655131056393973</c:v>
                </c:pt>
                <c:pt idx="2310">
                  <c:v>20.655131056393973</c:v>
                </c:pt>
                <c:pt idx="2311">
                  <c:v>20.655131056393973</c:v>
                </c:pt>
                <c:pt idx="2312">
                  <c:v>20.655131056393973</c:v>
                </c:pt>
                <c:pt idx="2313">
                  <c:v>20.655131056393973</c:v>
                </c:pt>
                <c:pt idx="2314">
                  <c:v>20.655131056393973</c:v>
                </c:pt>
                <c:pt idx="2315">
                  <c:v>20.655131056393973</c:v>
                </c:pt>
                <c:pt idx="2316">
                  <c:v>20.655131056393973</c:v>
                </c:pt>
                <c:pt idx="2317">
                  <c:v>20.655131056393973</c:v>
                </c:pt>
                <c:pt idx="2318">
                  <c:v>20.655131056393973</c:v>
                </c:pt>
                <c:pt idx="2319">
                  <c:v>20.655131056393973</c:v>
                </c:pt>
                <c:pt idx="2320">
                  <c:v>20.655131056393973</c:v>
                </c:pt>
                <c:pt idx="2321">
                  <c:v>20.655131056393973</c:v>
                </c:pt>
                <c:pt idx="2322">
                  <c:v>20.655131056393973</c:v>
                </c:pt>
                <c:pt idx="2323">
                  <c:v>20.655131056393973</c:v>
                </c:pt>
                <c:pt idx="2324">
                  <c:v>20.655131056393973</c:v>
                </c:pt>
                <c:pt idx="2325">
                  <c:v>20.655131056393973</c:v>
                </c:pt>
                <c:pt idx="2326">
                  <c:v>20.655131056393973</c:v>
                </c:pt>
                <c:pt idx="2327">
                  <c:v>20.655131056393973</c:v>
                </c:pt>
                <c:pt idx="2328">
                  <c:v>20.655131056393973</c:v>
                </c:pt>
                <c:pt idx="2329">
                  <c:v>20.655131056393973</c:v>
                </c:pt>
                <c:pt idx="2330">
                  <c:v>20.655131056393973</c:v>
                </c:pt>
                <c:pt idx="2331">
                  <c:v>20.655131056393973</c:v>
                </c:pt>
                <c:pt idx="2332">
                  <c:v>20.655131056393973</c:v>
                </c:pt>
                <c:pt idx="2333">
                  <c:v>20.655131056393973</c:v>
                </c:pt>
                <c:pt idx="2334">
                  <c:v>20.655131056393973</c:v>
                </c:pt>
                <c:pt idx="2335">
                  <c:v>20.655131056393973</c:v>
                </c:pt>
                <c:pt idx="2336">
                  <c:v>20.655131056393973</c:v>
                </c:pt>
                <c:pt idx="2337">
                  <c:v>20.655131056393973</c:v>
                </c:pt>
                <c:pt idx="2338">
                  <c:v>20.655131056393973</c:v>
                </c:pt>
                <c:pt idx="2339">
                  <c:v>20.655131056393973</c:v>
                </c:pt>
                <c:pt idx="2340">
                  <c:v>20.655131056393973</c:v>
                </c:pt>
                <c:pt idx="2341">
                  <c:v>20.655131056393973</c:v>
                </c:pt>
                <c:pt idx="2342">
                  <c:v>20.655131056393973</c:v>
                </c:pt>
                <c:pt idx="2343">
                  <c:v>20.655131056393973</c:v>
                </c:pt>
                <c:pt idx="2344">
                  <c:v>20.655131056393973</c:v>
                </c:pt>
                <c:pt idx="2345">
                  <c:v>20.655131056393973</c:v>
                </c:pt>
                <c:pt idx="2346">
                  <c:v>20.655131056393973</c:v>
                </c:pt>
                <c:pt idx="2347">
                  <c:v>20.655131056393973</c:v>
                </c:pt>
                <c:pt idx="2348">
                  <c:v>20.655131056393973</c:v>
                </c:pt>
                <c:pt idx="2349">
                  <c:v>20.655131056393973</c:v>
                </c:pt>
                <c:pt idx="2350">
                  <c:v>20.655131056393973</c:v>
                </c:pt>
                <c:pt idx="2351">
                  <c:v>20.655131056393973</c:v>
                </c:pt>
                <c:pt idx="2352">
                  <c:v>20.655131056393973</c:v>
                </c:pt>
                <c:pt idx="2353">
                  <c:v>20.655131056393973</c:v>
                </c:pt>
                <c:pt idx="2354">
                  <c:v>20.655131056393973</c:v>
                </c:pt>
                <c:pt idx="2355">
                  <c:v>20.655131056393973</c:v>
                </c:pt>
                <c:pt idx="2356">
                  <c:v>20.655131056393973</c:v>
                </c:pt>
                <c:pt idx="2357">
                  <c:v>20.655131056393973</c:v>
                </c:pt>
                <c:pt idx="2358">
                  <c:v>20.655131056393973</c:v>
                </c:pt>
                <c:pt idx="2359">
                  <c:v>20.655131056393973</c:v>
                </c:pt>
                <c:pt idx="2360">
                  <c:v>20.655131056393973</c:v>
                </c:pt>
                <c:pt idx="2361">
                  <c:v>20.655131056393973</c:v>
                </c:pt>
                <c:pt idx="2362">
                  <c:v>20.655131056393973</c:v>
                </c:pt>
                <c:pt idx="2363">
                  <c:v>20.655131056393973</c:v>
                </c:pt>
                <c:pt idx="2364">
                  <c:v>20.655131056393973</c:v>
                </c:pt>
                <c:pt idx="2365">
                  <c:v>20.655131056393973</c:v>
                </c:pt>
                <c:pt idx="2366">
                  <c:v>20.655131056393973</c:v>
                </c:pt>
                <c:pt idx="2367">
                  <c:v>20.655131056393973</c:v>
                </c:pt>
                <c:pt idx="2368">
                  <c:v>20.655131056393973</c:v>
                </c:pt>
                <c:pt idx="2369">
                  <c:v>20.655131056393973</c:v>
                </c:pt>
                <c:pt idx="2370">
                  <c:v>20.655131056393973</c:v>
                </c:pt>
                <c:pt idx="2371">
                  <c:v>20.655131056393973</c:v>
                </c:pt>
                <c:pt idx="2372">
                  <c:v>20.655131056393973</c:v>
                </c:pt>
                <c:pt idx="2373">
                  <c:v>20.655131056393973</c:v>
                </c:pt>
                <c:pt idx="2374">
                  <c:v>20.655131056393973</c:v>
                </c:pt>
                <c:pt idx="2375">
                  <c:v>20.655131056393973</c:v>
                </c:pt>
                <c:pt idx="2376">
                  <c:v>20.655131056393973</c:v>
                </c:pt>
                <c:pt idx="2377">
                  <c:v>20.655131056393973</c:v>
                </c:pt>
                <c:pt idx="2378">
                  <c:v>20.655131056393973</c:v>
                </c:pt>
                <c:pt idx="2379">
                  <c:v>20.655131056393973</c:v>
                </c:pt>
                <c:pt idx="2380">
                  <c:v>20.655131056393973</c:v>
                </c:pt>
                <c:pt idx="2381">
                  <c:v>20.655131056393973</c:v>
                </c:pt>
                <c:pt idx="2382">
                  <c:v>20.655131056393973</c:v>
                </c:pt>
                <c:pt idx="2383">
                  <c:v>20.655131056393973</c:v>
                </c:pt>
                <c:pt idx="2384">
                  <c:v>20.655131056393973</c:v>
                </c:pt>
                <c:pt idx="2385">
                  <c:v>20.655131056393973</c:v>
                </c:pt>
                <c:pt idx="2386">
                  <c:v>20.655131056393973</c:v>
                </c:pt>
                <c:pt idx="2387">
                  <c:v>20.655131056393973</c:v>
                </c:pt>
                <c:pt idx="2388">
                  <c:v>20.655131056393973</c:v>
                </c:pt>
                <c:pt idx="2389">
                  <c:v>20.655131056393973</c:v>
                </c:pt>
                <c:pt idx="2390">
                  <c:v>20.655131056393973</c:v>
                </c:pt>
                <c:pt idx="2391">
                  <c:v>20.655131056393973</c:v>
                </c:pt>
                <c:pt idx="2392">
                  <c:v>20.655131056393973</c:v>
                </c:pt>
                <c:pt idx="2393">
                  <c:v>20.655131056393973</c:v>
                </c:pt>
                <c:pt idx="2394">
                  <c:v>20.655131056393973</c:v>
                </c:pt>
                <c:pt idx="2395">
                  <c:v>20.655131056393973</c:v>
                </c:pt>
                <c:pt idx="2396">
                  <c:v>20.655131056393973</c:v>
                </c:pt>
                <c:pt idx="2397">
                  <c:v>20.655131056393973</c:v>
                </c:pt>
                <c:pt idx="2398">
                  <c:v>20.655131056393973</c:v>
                </c:pt>
                <c:pt idx="2399">
                  <c:v>20.655131056393973</c:v>
                </c:pt>
                <c:pt idx="2400">
                  <c:v>20.655131056393973</c:v>
                </c:pt>
                <c:pt idx="2401">
                  <c:v>20.655131056393973</c:v>
                </c:pt>
                <c:pt idx="2402">
                  <c:v>20.655131056393973</c:v>
                </c:pt>
                <c:pt idx="2403">
                  <c:v>20.655131056393973</c:v>
                </c:pt>
                <c:pt idx="2404">
                  <c:v>20.655131056393973</c:v>
                </c:pt>
                <c:pt idx="2405">
                  <c:v>20.655131056393973</c:v>
                </c:pt>
                <c:pt idx="2406">
                  <c:v>20.655131056393973</c:v>
                </c:pt>
                <c:pt idx="2407">
                  <c:v>20.655131056393973</c:v>
                </c:pt>
                <c:pt idx="2408">
                  <c:v>20.655131056393973</c:v>
                </c:pt>
                <c:pt idx="2409">
                  <c:v>20.655131056393973</c:v>
                </c:pt>
                <c:pt idx="2410">
                  <c:v>20.655131056393973</c:v>
                </c:pt>
                <c:pt idx="2411">
                  <c:v>20.655131056393973</c:v>
                </c:pt>
                <c:pt idx="2412">
                  <c:v>20.655131056393973</c:v>
                </c:pt>
                <c:pt idx="2413">
                  <c:v>20.655131056393973</c:v>
                </c:pt>
                <c:pt idx="2414">
                  <c:v>20.655131056393973</c:v>
                </c:pt>
                <c:pt idx="2415">
                  <c:v>20.655131056393973</c:v>
                </c:pt>
                <c:pt idx="2416">
                  <c:v>20.655131056393973</c:v>
                </c:pt>
                <c:pt idx="2417">
                  <c:v>20.655131056393973</c:v>
                </c:pt>
                <c:pt idx="2418">
                  <c:v>20.655131056393973</c:v>
                </c:pt>
                <c:pt idx="2419">
                  <c:v>20.655131056393973</c:v>
                </c:pt>
                <c:pt idx="2420">
                  <c:v>20.655131056393973</c:v>
                </c:pt>
                <c:pt idx="2421">
                  <c:v>20.655131056393973</c:v>
                </c:pt>
                <c:pt idx="2422">
                  <c:v>20.655131056393973</c:v>
                </c:pt>
                <c:pt idx="2423">
                  <c:v>20.655131056393973</c:v>
                </c:pt>
                <c:pt idx="2424">
                  <c:v>20.655131056393973</c:v>
                </c:pt>
                <c:pt idx="2425">
                  <c:v>20.655131056393973</c:v>
                </c:pt>
                <c:pt idx="2426">
                  <c:v>20.655131056393973</c:v>
                </c:pt>
                <c:pt idx="2427">
                  <c:v>20.655131056393973</c:v>
                </c:pt>
                <c:pt idx="2428">
                  <c:v>20.655131056393973</c:v>
                </c:pt>
                <c:pt idx="2429">
                  <c:v>20.655131056393973</c:v>
                </c:pt>
                <c:pt idx="2430">
                  <c:v>20.655131056393973</c:v>
                </c:pt>
                <c:pt idx="2431">
                  <c:v>20.655131056393973</c:v>
                </c:pt>
                <c:pt idx="2432">
                  <c:v>20.655131056393973</c:v>
                </c:pt>
                <c:pt idx="2433">
                  <c:v>20.655131056393973</c:v>
                </c:pt>
                <c:pt idx="2434">
                  <c:v>20.655131056393973</c:v>
                </c:pt>
                <c:pt idx="2435">
                  <c:v>20.655131056393973</c:v>
                </c:pt>
                <c:pt idx="2436">
                  <c:v>20.655131056393973</c:v>
                </c:pt>
                <c:pt idx="2437">
                  <c:v>20.655131056393973</c:v>
                </c:pt>
                <c:pt idx="2438">
                  <c:v>20.655131056393973</c:v>
                </c:pt>
                <c:pt idx="2439">
                  <c:v>20.655131056393973</c:v>
                </c:pt>
                <c:pt idx="2440">
                  <c:v>20.655131056393973</c:v>
                </c:pt>
                <c:pt idx="2441">
                  <c:v>20.655131056393973</c:v>
                </c:pt>
                <c:pt idx="2442">
                  <c:v>20.655131056393973</c:v>
                </c:pt>
                <c:pt idx="2443">
                  <c:v>20.655131056393973</c:v>
                </c:pt>
                <c:pt idx="2444">
                  <c:v>20.655131056393973</c:v>
                </c:pt>
                <c:pt idx="2445">
                  <c:v>20.655131056393973</c:v>
                </c:pt>
                <c:pt idx="2446">
                  <c:v>20.655131056393973</c:v>
                </c:pt>
                <c:pt idx="2447">
                  <c:v>20.655131056393973</c:v>
                </c:pt>
                <c:pt idx="2448">
                  <c:v>20.655131056393973</c:v>
                </c:pt>
                <c:pt idx="2449">
                  <c:v>20.655131056393973</c:v>
                </c:pt>
                <c:pt idx="2450">
                  <c:v>20.655131056393973</c:v>
                </c:pt>
                <c:pt idx="2451">
                  <c:v>20.655131056393973</c:v>
                </c:pt>
                <c:pt idx="2452">
                  <c:v>20.655131056393973</c:v>
                </c:pt>
                <c:pt idx="2453">
                  <c:v>20.655131056393973</c:v>
                </c:pt>
                <c:pt idx="2454">
                  <c:v>20.655131056393973</c:v>
                </c:pt>
                <c:pt idx="2455">
                  <c:v>20.655131056393973</c:v>
                </c:pt>
                <c:pt idx="2456">
                  <c:v>20.655131056393973</c:v>
                </c:pt>
                <c:pt idx="2457">
                  <c:v>20.655131056393973</c:v>
                </c:pt>
                <c:pt idx="2458">
                  <c:v>20.655131056393973</c:v>
                </c:pt>
                <c:pt idx="2459">
                  <c:v>20.655131056393973</c:v>
                </c:pt>
                <c:pt idx="2460">
                  <c:v>20.655131056393973</c:v>
                </c:pt>
                <c:pt idx="2461">
                  <c:v>20.655131056393973</c:v>
                </c:pt>
                <c:pt idx="2462">
                  <c:v>20.655131056393973</c:v>
                </c:pt>
                <c:pt idx="2463">
                  <c:v>20.655131056393973</c:v>
                </c:pt>
                <c:pt idx="2464">
                  <c:v>20.655131056393973</c:v>
                </c:pt>
                <c:pt idx="2465">
                  <c:v>20.655131056393973</c:v>
                </c:pt>
                <c:pt idx="2466">
                  <c:v>20.655131056393973</c:v>
                </c:pt>
                <c:pt idx="2467">
                  <c:v>20.655131056393973</c:v>
                </c:pt>
                <c:pt idx="2468">
                  <c:v>20.655131056393973</c:v>
                </c:pt>
                <c:pt idx="2469">
                  <c:v>20.655131056393973</c:v>
                </c:pt>
                <c:pt idx="2470">
                  <c:v>20.655131056393973</c:v>
                </c:pt>
                <c:pt idx="2471">
                  <c:v>20.655131056393973</c:v>
                </c:pt>
                <c:pt idx="2472">
                  <c:v>20.655131056393973</c:v>
                </c:pt>
                <c:pt idx="2473">
                  <c:v>20.655131056393973</c:v>
                </c:pt>
                <c:pt idx="2474">
                  <c:v>20.655131056393973</c:v>
                </c:pt>
                <c:pt idx="2475">
                  <c:v>20.655131056393973</c:v>
                </c:pt>
                <c:pt idx="2476">
                  <c:v>20.655131056393973</c:v>
                </c:pt>
                <c:pt idx="2477">
                  <c:v>20.655131056393973</c:v>
                </c:pt>
                <c:pt idx="2478">
                  <c:v>20.655131056393973</c:v>
                </c:pt>
                <c:pt idx="2479">
                  <c:v>20.655131056393973</c:v>
                </c:pt>
                <c:pt idx="2480">
                  <c:v>20.655131056393973</c:v>
                </c:pt>
                <c:pt idx="2481">
                  <c:v>20.655131056393973</c:v>
                </c:pt>
                <c:pt idx="2482">
                  <c:v>20.655131056393973</c:v>
                </c:pt>
                <c:pt idx="2483">
                  <c:v>20.655131056393973</c:v>
                </c:pt>
                <c:pt idx="2484">
                  <c:v>20.655131056393973</c:v>
                </c:pt>
                <c:pt idx="2485">
                  <c:v>20.655131056393973</c:v>
                </c:pt>
                <c:pt idx="2486">
                  <c:v>20.655131056393973</c:v>
                </c:pt>
                <c:pt idx="2487">
                  <c:v>20.655131056393973</c:v>
                </c:pt>
                <c:pt idx="2488">
                  <c:v>20.655131056393973</c:v>
                </c:pt>
                <c:pt idx="2489">
                  <c:v>20.655131056393973</c:v>
                </c:pt>
                <c:pt idx="2490">
                  <c:v>20.655131056393973</c:v>
                </c:pt>
                <c:pt idx="2491">
                  <c:v>20.655131056393973</c:v>
                </c:pt>
                <c:pt idx="2492">
                  <c:v>20.655131056393973</c:v>
                </c:pt>
                <c:pt idx="2493">
                  <c:v>20.655131056393973</c:v>
                </c:pt>
                <c:pt idx="2494">
                  <c:v>20.655131056393973</c:v>
                </c:pt>
                <c:pt idx="2495">
                  <c:v>20.655131056393973</c:v>
                </c:pt>
                <c:pt idx="2496">
                  <c:v>20.655131056393973</c:v>
                </c:pt>
                <c:pt idx="2497">
                  <c:v>20.655131056393973</c:v>
                </c:pt>
                <c:pt idx="2498">
                  <c:v>20.655131056393973</c:v>
                </c:pt>
                <c:pt idx="2499">
                  <c:v>20.655131056393973</c:v>
                </c:pt>
                <c:pt idx="2500">
                  <c:v>20.655131056393973</c:v>
                </c:pt>
                <c:pt idx="2501">
                  <c:v>20.655131056393973</c:v>
                </c:pt>
                <c:pt idx="2502">
                  <c:v>20.655131056393973</c:v>
                </c:pt>
                <c:pt idx="2503">
                  <c:v>20.655131056393973</c:v>
                </c:pt>
                <c:pt idx="2504">
                  <c:v>20.655131056393973</c:v>
                </c:pt>
                <c:pt idx="2505">
                  <c:v>20.655131056393973</c:v>
                </c:pt>
                <c:pt idx="2506">
                  <c:v>20.655131056393973</c:v>
                </c:pt>
                <c:pt idx="2507">
                  <c:v>20.655131056393973</c:v>
                </c:pt>
                <c:pt idx="2508">
                  <c:v>20.655131056393973</c:v>
                </c:pt>
                <c:pt idx="2509">
                  <c:v>20.655131056393973</c:v>
                </c:pt>
                <c:pt idx="2510">
                  <c:v>20.655131056393973</c:v>
                </c:pt>
                <c:pt idx="2511">
                  <c:v>20.655131056393973</c:v>
                </c:pt>
                <c:pt idx="2512">
                  <c:v>20.655131056393973</c:v>
                </c:pt>
                <c:pt idx="2513">
                  <c:v>20.655131056393973</c:v>
                </c:pt>
                <c:pt idx="2514">
                  <c:v>20.655131056393973</c:v>
                </c:pt>
                <c:pt idx="2515">
                  <c:v>20.655131056393973</c:v>
                </c:pt>
                <c:pt idx="2516">
                  <c:v>20.655131056393973</c:v>
                </c:pt>
                <c:pt idx="2517">
                  <c:v>20.655131056393973</c:v>
                </c:pt>
              </c:numCache>
            </c:numRef>
          </c:val>
          <c:smooth val="0"/>
          <c:extLst xmlns:c16r2="http://schemas.microsoft.com/office/drawing/2015/06/chart">
            <c:ext xmlns:c16="http://schemas.microsoft.com/office/drawing/2014/chart" uri="{C3380CC4-5D6E-409C-BE32-E72D297353CC}">
              <c16:uniqueId val="{00000001-7BC1-4D59-9949-7BF3AE7A745F}"/>
            </c:ext>
          </c:extLst>
        </c:ser>
        <c:ser>
          <c:idx val="4"/>
          <c:order val="2"/>
          <c:tx>
            <c:strRef>
              <c:f>Sheet1!$AF$4</c:f>
              <c:strCache>
                <c:ptCount val="1"/>
                <c:pt idx="0">
                  <c:v>6M average</c:v>
                </c:pt>
              </c:strCache>
            </c:strRef>
          </c:tx>
          <c:marker>
            <c:symbol val="none"/>
          </c:marker>
          <c:cat>
            <c:numRef>
              <c:f>Sheet1!$Z$5:$Z$2522</c:f>
              <c:numCache>
                <c:formatCode>m/d/yyyy</c:formatCode>
                <c:ptCount val="2518"/>
                <c:pt idx="0">
                  <c:v>38846</c:v>
                </c:pt>
                <c:pt idx="1">
                  <c:v>38847</c:v>
                </c:pt>
                <c:pt idx="2">
                  <c:v>38848</c:v>
                </c:pt>
                <c:pt idx="3">
                  <c:v>38849</c:v>
                </c:pt>
                <c:pt idx="4">
                  <c:v>38852</c:v>
                </c:pt>
                <c:pt idx="5">
                  <c:v>38853</c:v>
                </c:pt>
                <c:pt idx="6">
                  <c:v>38854</c:v>
                </c:pt>
                <c:pt idx="7">
                  <c:v>38855</c:v>
                </c:pt>
                <c:pt idx="8">
                  <c:v>38856</c:v>
                </c:pt>
                <c:pt idx="9">
                  <c:v>38859</c:v>
                </c:pt>
                <c:pt idx="10">
                  <c:v>38860</c:v>
                </c:pt>
                <c:pt idx="11">
                  <c:v>38861</c:v>
                </c:pt>
                <c:pt idx="12">
                  <c:v>38862</c:v>
                </c:pt>
                <c:pt idx="13">
                  <c:v>38863</c:v>
                </c:pt>
                <c:pt idx="14">
                  <c:v>38867</c:v>
                </c:pt>
                <c:pt idx="15">
                  <c:v>38868</c:v>
                </c:pt>
                <c:pt idx="16">
                  <c:v>38869</c:v>
                </c:pt>
                <c:pt idx="17">
                  <c:v>38870</c:v>
                </c:pt>
                <c:pt idx="18">
                  <c:v>38873</c:v>
                </c:pt>
                <c:pt idx="19">
                  <c:v>38874</c:v>
                </c:pt>
                <c:pt idx="20">
                  <c:v>38875</c:v>
                </c:pt>
                <c:pt idx="21">
                  <c:v>38876</c:v>
                </c:pt>
                <c:pt idx="22">
                  <c:v>38877</c:v>
                </c:pt>
                <c:pt idx="23">
                  <c:v>38880</c:v>
                </c:pt>
                <c:pt idx="24">
                  <c:v>38881</c:v>
                </c:pt>
                <c:pt idx="25">
                  <c:v>38882</c:v>
                </c:pt>
                <c:pt idx="26">
                  <c:v>38883</c:v>
                </c:pt>
                <c:pt idx="27">
                  <c:v>38884</c:v>
                </c:pt>
                <c:pt idx="28">
                  <c:v>38887</c:v>
                </c:pt>
                <c:pt idx="29">
                  <c:v>38888</c:v>
                </c:pt>
                <c:pt idx="30">
                  <c:v>38889</c:v>
                </c:pt>
                <c:pt idx="31">
                  <c:v>38890</c:v>
                </c:pt>
                <c:pt idx="32">
                  <c:v>38891</c:v>
                </c:pt>
                <c:pt idx="33">
                  <c:v>38894</c:v>
                </c:pt>
                <c:pt idx="34">
                  <c:v>38895</c:v>
                </c:pt>
                <c:pt idx="35">
                  <c:v>38896</c:v>
                </c:pt>
                <c:pt idx="36">
                  <c:v>38897</c:v>
                </c:pt>
                <c:pt idx="37">
                  <c:v>38898</c:v>
                </c:pt>
                <c:pt idx="38">
                  <c:v>38901</c:v>
                </c:pt>
                <c:pt idx="39">
                  <c:v>38903</c:v>
                </c:pt>
                <c:pt idx="40">
                  <c:v>38904</c:v>
                </c:pt>
                <c:pt idx="41">
                  <c:v>38905</c:v>
                </c:pt>
                <c:pt idx="42">
                  <c:v>38908</c:v>
                </c:pt>
                <c:pt idx="43">
                  <c:v>38909</c:v>
                </c:pt>
                <c:pt idx="44">
                  <c:v>38910</c:v>
                </c:pt>
                <c:pt idx="45">
                  <c:v>38911</c:v>
                </c:pt>
                <c:pt idx="46">
                  <c:v>38912</c:v>
                </c:pt>
                <c:pt idx="47">
                  <c:v>38915</c:v>
                </c:pt>
                <c:pt idx="48">
                  <c:v>38916</c:v>
                </c:pt>
                <c:pt idx="49">
                  <c:v>38917</c:v>
                </c:pt>
                <c:pt idx="50">
                  <c:v>38918</c:v>
                </c:pt>
                <c:pt idx="51">
                  <c:v>38919</c:v>
                </c:pt>
                <c:pt idx="52">
                  <c:v>38922</c:v>
                </c:pt>
                <c:pt idx="53">
                  <c:v>38923</c:v>
                </c:pt>
                <c:pt idx="54">
                  <c:v>38924</c:v>
                </c:pt>
                <c:pt idx="55">
                  <c:v>38925</c:v>
                </c:pt>
                <c:pt idx="56">
                  <c:v>38926</c:v>
                </c:pt>
                <c:pt idx="57">
                  <c:v>38929</c:v>
                </c:pt>
                <c:pt idx="58">
                  <c:v>38930</c:v>
                </c:pt>
                <c:pt idx="59">
                  <c:v>38931</c:v>
                </c:pt>
                <c:pt idx="60">
                  <c:v>38932</c:v>
                </c:pt>
                <c:pt idx="61">
                  <c:v>38933</c:v>
                </c:pt>
                <c:pt idx="62">
                  <c:v>38936</c:v>
                </c:pt>
                <c:pt idx="63">
                  <c:v>38937</c:v>
                </c:pt>
                <c:pt idx="64">
                  <c:v>38938</c:v>
                </c:pt>
                <c:pt idx="65">
                  <c:v>38939</c:v>
                </c:pt>
                <c:pt idx="66">
                  <c:v>38940</c:v>
                </c:pt>
                <c:pt idx="67">
                  <c:v>38943</c:v>
                </c:pt>
                <c:pt idx="68">
                  <c:v>38944</c:v>
                </c:pt>
                <c:pt idx="69">
                  <c:v>38945</c:v>
                </c:pt>
                <c:pt idx="70">
                  <c:v>38946</c:v>
                </c:pt>
                <c:pt idx="71">
                  <c:v>38947</c:v>
                </c:pt>
                <c:pt idx="72">
                  <c:v>38950</c:v>
                </c:pt>
                <c:pt idx="73">
                  <c:v>38951</c:v>
                </c:pt>
                <c:pt idx="74">
                  <c:v>38952</c:v>
                </c:pt>
                <c:pt idx="75">
                  <c:v>38953</c:v>
                </c:pt>
                <c:pt idx="76">
                  <c:v>38954</c:v>
                </c:pt>
                <c:pt idx="77">
                  <c:v>38957</c:v>
                </c:pt>
                <c:pt idx="78">
                  <c:v>38958</c:v>
                </c:pt>
                <c:pt idx="79">
                  <c:v>38959</c:v>
                </c:pt>
                <c:pt idx="80">
                  <c:v>38960</c:v>
                </c:pt>
                <c:pt idx="81">
                  <c:v>38961</c:v>
                </c:pt>
                <c:pt idx="82">
                  <c:v>38965</c:v>
                </c:pt>
                <c:pt idx="83">
                  <c:v>38966</c:v>
                </c:pt>
                <c:pt idx="84">
                  <c:v>38967</c:v>
                </c:pt>
                <c:pt idx="85">
                  <c:v>38968</c:v>
                </c:pt>
                <c:pt idx="86">
                  <c:v>38971</c:v>
                </c:pt>
                <c:pt idx="87">
                  <c:v>38972</c:v>
                </c:pt>
                <c:pt idx="88">
                  <c:v>38973</c:v>
                </c:pt>
                <c:pt idx="89">
                  <c:v>38974</c:v>
                </c:pt>
                <c:pt idx="90">
                  <c:v>38975</c:v>
                </c:pt>
                <c:pt idx="91">
                  <c:v>38978</c:v>
                </c:pt>
                <c:pt idx="92">
                  <c:v>38979</c:v>
                </c:pt>
                <c:pt idx="93">
                  <c:v>38980</c:v>
                </c:pt>
                <c:pt idx="94">
                  <c:v>38981</c:v>
                </c:pt>
                <c:pt idx="95">
                  <c:v>38982</c:v>
                </c:pt>
                <c:pt idx="96">
                  <c:v>38985</c:v>
                </c:pt>
                <c:pt idx="97">
                  <c:v>38986</c:v>
                </c:pt>
                <c:pt idx="98">
                  <c:v>38987</c:v>
                </c:pt>
                <c:pt idx="99">
                  <c:v>38988</c:v>
                </c:pt>
                <c:pt idx="100">
                  <c:v>38989</c:v>
                </c:pt>
                <c:pt idx="101">
                  <c:v>38992</c:v>
                </c:pt>
                <c:pt idx="102">
                  <c:v>38993</c:v>
                </c:pt>
                <c:pt idx="103">
                  <c:v>38994</c:v>
                </c:pt>
                <c:pt idx="104">
                  <c:v>38995</c:v>
                </c:pt>
                <c:pt idx="105">
                  <c:v>38996</c:v>
                </c:pt>
                <c:pt idx="106">
                  <c:v>38999</c:v>
                </c:pt>
                <c:pt idx="107">
                  <c:v>39000</c:v>
                </c:pt>
                <c:pt idx="108">
                  <c:v>39001</c:v>
                </c:pt>
                <c:pt idx="109">
                  <c:v>39002</c:v>
                </c:pt>
                <c:pt idx="110">
                  <c:v>39003</c:v>
                </c:pt>
                <c:pt idx="111">
                  <c:v>39006</c:v>
                </c:pt>
                <c:pt idx="112">
                  <c:v>39007</c:v>
                </c:pt>
                <c:pt idx="113">
                  <c:v>39008</c:v>
                </c:pt>
                <c:pt idx="114">
                  <c:v>39009</c:v>
                </c:pt>
                <c:pt idx="115">
                  <c:v>39010</c:v>
                </c:pt>
                <c:pt idx="116">
                  <c:v>39013</c:v>
                </c:pt>
                <c:pt idx="117">
                  <c:v>39014</c:v>
                </c:pt>
                <c:pt idx="118">
                  <c:v>39015</c:v>
                </c:pt>
                <c:pt idx="119">
                  <c:v>39016</c:v>
                </c:pt>
                <c:pt idx="120">
                  <c:v>39017</c:v>
                </c:pt>
                <c:pt idx="121">
                  <c:v>39020</c:v>
                </c:pt>
                <c:pt idx="122">
                  <c:v>39021</c:v>
                </c:pt>
                <c:pt idx="123">
                  <c:v>39022</c:v>
                </c:pt>
                <c:pt idx="124">
                  <c:v>39023</c:v>
                </c:pt>
                <c:pt idx="125">
                  <c:v>39024</c:v>
                </c:pt>
                <c:pt idx="126">
                  <c:v>39027</c:v>
                </c:pt>
                <c:pt idx="127">
                  <c:v>39028</c:v>
                </c:pt>
                <c:pt idx="128">
                  <c:v>39029</c:v>
                </c:pt>
                <c:pt idx="129">
                  <c:v>39030</c:v>
                </c:pt>
                <c:pt idx="130">
                  <c:v>39031</c:v>
                </c:pt>
                <c:pt idx="131">
                  <c:v>39034</c:v>
                </c:pt>
                <c:pt idx="132">
                  <c:v>39035</c:v>
                </c:pt>
                <c:pt idx="133">
                  <c:v>39036</c:v>
                </c:pt>
                <c:pt idx="134">
                  <c:v>39037</c:v>
                </c:pt>
                <c:pt idx="135">
                  <c:v>39038</c:v>
                </c:pt>
                <c:pt idx="136">
                  <c:v>39041</c:v>
                </c:pt>
                <c:pt idx="137">
                  <c:v>39042</c:v>
                </c:pt>
                <c:pt idx="138">
                  <c:v>39043</c:v>
                </c:pt>
                <c:pt idx="139">
                  <c:v>39045</c:v>
                </c:pt>
                <c:pt idx="140">
                  <c:v>39048</c:v>
                </c:pt>
                <c:pt idx="141">
                  <c:v>39049</c:v>
                </c:pt>
                <c:pt idx="142">
                  <c:v>39050</c:v>
                </c:pt>
                <c:pt idx="143">
                  <c:v>39051</c:v>
                </c:pt>
                <c:pt idx="144">
                  <c:v>39052</c:v>
                </c:pt>
                <c:pt idx="145">
                  <c:v>39055</c:v>
                </c:pt>
                <c:pt idx="146">
                  <c:v>39056</c:v>
                </c:pt>
                <c:pt idx="147">
                  <c:v>39057</c:v>
                </c:pt>
                <c:pt idx="148">
                  <c:v>39058</c:v>
                </c:pt>
                <c:pt idx="149">
                  <c:v>39059</c:v>
                </c:pt>
                <c:pt idx="150">
                  <c:v>39062</c:v>
                </c:pt>
                <c:pt idx="151">
                  <c:v>39063</c:v>
                </c:pt>
                <c:pt idx="152">
                  <c:v>39064</c:v>
                </c:pt>
                <c:pt idx="153">
                  <c:v>39065</c:v>
                </c:pt>
                <c:pt idx="154">
                  <c:v>39066</c:v>
                </c:pt>
                <c:pt idx="155">
                  <c:v>39069</c:v>
                </c:pt>
                <c:pt idx="156">
                  <c:v>39070</c:v>
                </c:pt>
                <c:pt idx="157">
                  <c:v>39071</c:v>
                </c:pt>
                <c:pt idx="158">
                  <c:v>39072</c:v>
                </c:pt>
                <c:pt idx="159">
                  <c:v>39073</c:v>
                </c:pt>
                <c:pt idx="160">
                  <c:v>39077</c:v>
                </c:pt>
                <c:pt idx="161">
                  <c:v>39078</c:v>
                </c:pt>
                <c:pt idx="162">
                  <c:v>39079</c:v>
                </c:pt>
                <c:pt idx="163">
                  <c:v>39080</c:v>
                </c:pt>
                <c:pt idx="164">
                  <c:v>39085</c:v>
                </c:pt>
                <c:pt idx="165">
                  <c:v>39086</c:v>
                </c:pt>
                <c:pt idx="166">
                  <c:v>39087</c:v>
                </c:pt>
                <c:pt idx="167">
                  <c:v>39090</c:v>
                </c:pt>
                <c:pt idx="168">
                  <c:v>39091</c:v>
                </c:pt>
                <c:pt idx="169">
                  <c:v>39092</c:v>
                </c:pt>
                <c:pt idx="170">
                  <c:v>39093</c:v>
                </c:pt>
                <c:pt idx="171">
                  <c:v>39094</c:v>
                </c:pt>
                <c:pt idx="172">
                  <c:v>39098</c:v>
                </c:pt>
                <c:pt idx="173">
                  <c:v>39099</c:v>
                </c:pt>
                <c:pt idx="174">
                  <c:v>39100</c:v>
                </c:pt>
                <c:pt idx="175">
                  <c:v>39101</c:v>
                </c:pt>
                <c:pt idx="176">
                  <c:v>39104</c:v>
                </c:pt>
                <c:pt idx="177">
                  <c:v>39105</c:v>
                </c:pt>
                <c:pt idx="178">
                  <c:v>39106</c:v>
                </c:pt>
                <c:pt idx="179">
                  <c:v>39107</c:v>
                </c:pt>
                <c:pt idx="180">
                  <c:v>39108</c:v>
                </c:pt>
                <c:pt idx="181">
                  <c:v>39111</c:v>
                </c:pt>
                <c:pt idx="182">
                  <c:v>39112</c:v>
                </c:pt>
                <c:pt idx="183">
                  <c:v>39113</c:v>
                </c:pt>
                <c:pt idx="184">
                  <c:v>39114</c:v>
                </c:pt>
                <c:pt idx="185">
                  <c:v>39115</c:v>
                </c:pt>
                <c:pt idx="186">
                  <c:v>39118</c:v>
                </c:pt>
                <c:pt idx="187">
                  <c:v>39119</c:v>
                </c:pt>
                <c:pt idx="188">
                  <c:v>39120</c:v>
                </c:pt>
                <c:pt idx="189">
                  <c:v>39121</c:v>
                </c:pt>
                <c:pt idx="190">
                  <c:v>39122</c:v>
                </c:pt>
                <c:pt idx="191">
                  <c:v>39125</c:v>
                </c:pt>
                <c:pt idx="192">
                  <c:v>39126</c:v>
                </c:pt>
                <c:pt idx="193">
                  <c:v>39127</c:v>
                </c:pt>
                <c:pt idx="194">
                  <c:v>39128</c:v>
                </c:pt>
                <c:pt idx="195">
                  <c:v>39129</c:v>
                </c:pt>
                <c:pt idx="196">
                  <c:v>39133</c:v>
                </c:pt>
                <c:pt idx="197">
                  <c:v>39134</c:v>
                </c:pt>
                <c:pt idx="198">
                  <c:v>39135</c:v>
                </c:pt>
                <c:pt idx="199">
                  <c:v>39136</c:v>
                </c:pt>
                <c:pt idx="200">
                  <c:v>39139</c:v>
                </c:pt>
                <c:pt idx="201">
                  <c:v>39140</c:v>
                </c:pt>
                <c:pt idx="202">
                  <c:v>39141</c:v>
                </c:pt>
                <c:pt idx="203">
                  <c:v>39142</c:v>
                </c:pt>
                <c:pt idx="204">
                  <c:v>39143</c:v>
                </c:pt>
                <c:pt idx="205">
                  <c:v>39146</c:v>
                </c:pt>
                <c:pt idx="206">
                  <c:v>39147</c:v>
                </c:pt>
                <c:pt idx="207">
                  <c:v>39148</c:v>
                </c:pt>
                <c:pt idx="208">
                  <c:v>39149</c:v>
                </c:pt>
                <c:pt idx="209">
                  <c:v>39150</c:v>
                </c:pt>
                <c:pt idx="210">
                  <c:v>39153</c:v>
                </c:pt>
                <c:pt idx="211">
                  <c:v>39154</c:v>
                </c:pt>
                <c:pt idx="212">
                  <c:v>39155</c:v>
                </c:pt>
                <c:pt idx="213">
                  <c:v>39156</c:v>
                </c:pt>
                <c:pt idx="214">
                  <c:v>39157</c:v>
                </c:pt>
                <c:pt idx="215">
                  <c:v>39160</c:v>
                </c:pt>
                <c:pt idx="216">
                  <c:v>39161</c:v>
                </c:pt>
                <c:pt idx="217">
                  <c:v>39162</c:v>
                </c:pt>
                <c:pt idx="218">
                  <c:v>39163</c:v>
                </c:pt>
                <c:pt idx="219">
                  <c:v>39164</c:v>
                </c:pt>
                <c:pt idx="220">
                  <c:v>39167</c:v>
                </c:pt>
                <c:pt idx="221">
                  <c:v>39168</c:v>
                </c:pt>
                <c:pt idx="222">
                  <c:v>39169</c:v>
                </c:pt>
                <c:pt idx="223">
                  <c:v>39170</c:v>
                </c:pt>
                <c:pt idx="224">
                  <c:v>39171</c:v>
                </c:pt>
                <c:pt idx="225">
                  <c:v>39174</c:v>
                </c:pt>
                <c:pt idx="226">
                  <c:v>39175</c:v>
                </c:pt>
                <c:pt idx="227">
                  <c:v>39176</c:v>
                </c:pt>
                <c:pt idx="228">
                  <c:v>39177</c:v>
                </c:pt>
                <c:pt idx="229">
                  <c:v>39181</c:v>
                </c:pt>
                <c:pt idx="230">
                  <c:v>39182</c:v>
                </c:pt>
                <c:pt idx="231">
                  <c:v>39183</c:v>
                </c:pt>
                <c:pt idx="232">
                  <c:v>39184</c:v>
                </c:pt>
                <c:pt idx="233">
                  <c:v>39185</c:v>
                </c:pt>
                <c:pt idx="234">
                  <c:v>39188</c:v>
                </c:pt>
                <c:pt idx="235">
                  <c:v>39189</c:v>
                </c:pt>
                <c:pt idx="236">
                  <c:v>39190</c:v>
                </c:pt>
                <c:pt idx="237">
                  <c:v>39191</c:v>
                </c:pt>
                <c:pt idx="238">
                  <c:v>39192</c:v>
                </c:pt>
                <c:pt idx="239">
                  <c:v>39195</c:v>
                </c:pt>
                <c:pt idx="240">
                  <c:v>39196</c:v>
                </c:pt>
                <c:pt idx="241">
                  <c:v>39197</c:v>
                </c:pt>
                <c:pt idx="242">
                  <c:v>39198</c:v>
                </c:pt>
                <c:pt idx="243">
                  <c:v>39199</c:v>
                </c:pt>
                <c:pt idx="244">
                  <c:v>39202</c:v>
                </c:pt>
                <c:pt idx="245">
                  <c:v>39203</c:v>
                </c:pt>
                <c:pt idx="246">
                  <c:v>39204</c:v>
                </c:pt>
                <c:pt idx="247">
                  <c:v>39205</c:v>
                </c:pt>
                <c:pt idx="248">
                  <c:v>39206</c:v>
                </c:pt>
                <c:pt idx="249">
                  <c:v>39209</c:v>
                </c:pt>
                <c:pt idx="250">
                  <c:v>39210</c:v>
                </c:pt>
                <c:pt idx="251">
                  <c:v>39211</c:v>
                </c:pt>
                <c:pt idx="252">
                  <c:v>39212</c:v>
                </c:pt>
                <c:pt idx="253">
                  <c:v>39213</c:v>
                </c:pt>
                <c:pt idx="254">
                  <c:v>39216</c:v>
                </c:pt>
                <c:pt idx="255">
                  <c:v>39217</c:v>
                </c:pt>
                <c:pt idx="256">
                  <c:v>39218</c:v>
                </c:pt>
                <c:pt idx="257">
                  <c:v>39219</c:v>
                </c:pt>
                <c:pt idx="258">
                  <c:v>39220</c:v>
                </c:pt>
                <c:pt idx="259">
                  <c:v>39223</c:v>
                </c:pt>
                <c:pt idx="260">
                  <c:v>39224</c:v>
                </c:pt>
                <c:pt idx="261">
                  <c:v>39225</c:v>
                </c:pt>
                <c:pt idx="262">
                  <c:v>39226</c:v>
                </c:pt>
                <c:pt idx="263">
                  <c:v>39227</c:v>
                </c:pt>
                <c:pt idx="264">
                  <c:v>39231</c:v>
                </c:pt>
                <c:pt idx="265">
                  <c:v>39232</c:v>
                </c:pt>
                <c:pt idx="266">
                  <c:v>39233</c:v>
                </c:pt>
                <c:pt idx="267">
                  <c:v>39234</c:v>
                </c:pt>
                <c:pt idx="268">
                  <c:v>39237</c:v>
                </c:pt>
                <c:pt idx="269">
                  <c:v>39238</c:v>
                </c:pt>
                <c:pt idx="270">
                  <c:v>39239</c:v>
                </c:pt>
                <c:pt idx="271">
                  <c:v>39240</c:v>
                </c:pt>
                <c:pt idx="272">
                  <c:v>39241</c:v>
                </c:pt>
                <c:pt idx="273">
                  <c:v>39244</c:v>
                </c:pt>
                <c:pt idx="274">
                  <c:v>39245</c:v>
                </c:pt>
                <c:pt idx="275">
                  <c:v>39246</c:v>
                </c:pt>
                <c:pt idx="276">
                  <c:v>39247</c:v>
                </c:pt>
                <c:pt idx="277">
                  <c:v>39248</c:v>
                </c:pt>
                <c:pt idx="278">
                  <c:v>39251</c:v>
                </c:pt>
                <c:pt idx="279">
                  <c:v>39252</c:v>
                </c:pt>
                <c:pt idx="280">
                  <c:v>39253</c:v>
                </c:pt>
                <c:pt idx="281">
                  <c:v>39254</c:v>
                </c:pt>
                <c:pt idx="282">
                  <c:v>39255</c:v>
                </c:pt>
                <c:pt idx="283">
                  <c:v>39258</c:v>
                </c:pt>
                <c:pt idx="284">
                  <c:v>39259</c:v>
                </c:pt>
                <c:pt idx="285">
                  <c:v>39260</c:v>
                </c:pt>
                <c:pt idx="286">
                  <c:v>39261</c:v>
                </c:pt>
                <c:pt idx="287">
                  <c:v>39262</c:v>
                </c:pt>
                <c:pt idx="288">
                  <c:v>39265</c:v>
                </c:pt>
                <c:pt idx="289">
                  <c:v>39266</c:v>
                </c:pt>
                <c:pt idx="290">
                  <c:v>39268</c:v>
                </c:pt>
                <c:pt idx="291">
                  <c:v>39269</c:v>
                </c:pt>
                <c:pt idx="292">
                  <c:v>39272</c:v>
                </c:pt>
                <c:pt idx="293">
                  <c:v>39273</c:v>
                </c:pt>
                <c:pt idx="294">
                  <c:v>39274</c:v>
                </c:pt>
                <c:pt idx="295">
                  <c:v>39275</c:v>
                </c:pt>
                <c:pt idx="296">
                  <c:v>39276</c:v>
                </c:pt>
                <c:pt idx="297">
                  <c:v>39279</c:v>
                </c:pt>
                <c:pt idx="298">
                  <c:v>39280</c:v>
                </c:pt>
                <c:pt idx="299">
                  <c:v>39281</c:v>
                </c:pt>
                <c:pt idx="300">
                  <c:v>39282</c:v>
                </c:pt>
                <c:pt idx="301">
                  <c:v>39283</c:v>
                </c:pt>
                <c:pt idx="302">
                  <c:v>39286</c:v>
                </c:pt>
                <c:pt idx="303">
                  <c:v>39287</c:v>
                </c:pt>
                <c:pt idx="304">
                  <c:v>39288</c:v>
                </c:pt>
                <c:pt idx="305">
                  <c:v>39289</c:v>
                </c:pt>
                <c:pt idx="306">
                  <c:v>39290</c:v>
                </c:pt>
                <c:pt idx="307">
                  <c:v>39293</c:v>
                </c:pt>
                <c:pt idx="308">
                  <c:v>39294</c:v>
                </c:pt>
                <c:pt idx="309">
                  <c:v>39295</c:v>
                </c:pt>
                <c:pt idx="310">
                  <c:v>39296</c:v>
                </c:pt>
                <c:pt idx="311">
                  <c:v>39297</c:v>
                </c:pt>
                <c:pt idx="312">
                  <c:v>39300</c:v>
                </c:pt>
                <c:pt idx="313">
                  <c:v>39301</c:v>
                </c:pt>
                <c:pt idx="314">
                  <c:v>39302</c:v>
                </c:pt>
                <c:pt idx="315">
                  <c:v>39303</c:v>
                </c:pt>
                <c:pt idx="316">
                  <c:v>39304</c:v>
                </c:pt>
                <c:pt idx="317">
                  <c:v>39307</c:v>
                </c:pt>
                <c:pt idx="318">
                  <c:v>39308</c:v>
                </c:pt>
                <c:pt idx="319">
                  <c:v>39309</c:v>
                </c:pt>
                <c:pt idx="320">
                  <c:v>39310</c:v>
                </c:pt>
                <c:pt idx="321">
                  <c:v>39311</c:v>
                </c:pt>
                <c:pt idx="322">
                  <c:v>39314</c:v>
                </c:pt>
                <c:pt idx="323">
                  <c:v>39315</c:v>
                </c:pt>
                <c:pt idx="324">
                  <c:v>39316</c:v>
                </c:pt>
                <c:pt idx="325">
                  <c:v>39317</c:v>
                </c:pt>
                <c:pt idx="326">
                  <c:v>39318</c:v>
                </c:pt>
                <c:pt idx="327">
                  <c:v>39321</c:v>
                </c:pt>
                <c:pt idx="328">
                  <c:v>39322</c:v>
                </c:pt>
                <c:pt idx="329">
                  <c:v>39323</c:v>
                </c:pt>
                <c:pt idx="330">
                  <c:v>39324</c:v>
                </c:pt>
                <c:pt idx="331">
                  <c:v>39325</c:v>
                </c:pt>
                <c:pt idx="332">
                  <c:v>39329</c:v>
                </c:pt>
                <c:pt idx="333">
                  <c:v>39330</c:v>
                </c:pt>
                <c:pt idx="334">
                  <c:v>39331</c:v>
                </c:pt>
                <c:pt idx="335">
                  <c:v>39332</c:v>
                </c:pt>
                <c:pt idx="336">
                  <c:v>39335</c:v>
                </c:pt>
                <c:pt idx="337">
                  <c:v>39336</c:v>
                </c:pt>
                <c:pt idx="338">
                  <c:v>39337</c:v>
                </c:pt>
                <c:pt idx="339">
                  <c:v>39338</c:v>
                </c:pt>
                <c:pt idx="340">
                  <c:v>39339</c:v>
                </c:pt>
                <c:pt idx="341">
                  <c:v>39342</c:v>
                </c:pt>
                <c:pt idx="342">
                  <c:v>39343</c:v>
                </c:pt>
                <c:pt idx="343">
                  <c:v>39344</c:v>
                </c:pt>
                <c:pt idx="344">
                  <c:v>39345</c:v>
                </c:pt>
                <c:pt idx="345">
                  <c:v>39346</c:v>
                </c:pt>
                <c:pt idx="346">
                  <c:v>39349</c:v>
                </c:pt>
                <c:pt idx="347">
                  <c:v>39350</c:v>
                </c:pt>
                <c:pt idx="348">
                  <c:v>39351</c:v>
                </c:pt>
                <c:pt idx="349">
                  <c:v>39352</c:v>
                </c:pt>
                <c:pt idx="350">
                  <c:v>39353</c:v>
                </c:pt>
                <c:pt idx="351">
                  <c:v>39356</c:v>
                </c:pt>
                <c:pt idx="352">
                  <c:v>39357</c:v>
                </c:pt>
                <c:pt idx="353">
                  <c:v>39358</c:v>
                </c:pt>
                <c:pt idx="354">
                  <c:v>39359</c:v>
                </c:pt>
                <c:pt idx="355">
                  <c:v>39360</c:v>
                </c:pt>
                <c:pt idx="356">
                  <c:v>39363</c:v>
                </c:pt>
                <c:pt idx="357">
                  <c:v>39364</c:v>
                </c:pt>
                <c:pt idx="358">
                  <c:v>39365</c:v>
                </c:pt>
                <c:pt idx="359">
                  <c:v>39366</c:v>
                </c:pt>
                <c:pt idx="360">
                  <c:v>39367</c:v>
                </c:pt>
                <c:pt idx="361">
                  <c:v>39370</c:v>
                </c:pt>
                <c:pt idx="362">
                  <c:v>39371</c:v>
                </c:pt>
                <c:pt idx="363">
                  <c:v>39372</c:v>
                </c:pt>
                <c:pt idx="364">
                  <c:v>39373</c:v>
                </c:pt>
                <c:pt idx="365">
                  <c:v>39374</c:v>
                </c:pt>
                <c:pt idx="366">
                  <c:v>39377</c:v>
                </c:pt>
                <c:pt idx="367">
                  <c:v>39378</c:v>
                </c:pt>
                <c:pt idx="368">
                  <c:v>39379</c:v>
                </c:pt>
                <c:pt idx="369">
                  <c:v>39380</c:v>
                </c:pt>
                <c:pt idx="370">
                  <c:v>39381</c:v>
                </c:pt>
                <c:pt idx="371">
                  <c:v>39384</c:v>
                </c:pt>
                <c:pt idx="372">
                  <c:v>39385</c:v>
                </c:pt>
                <c:pt idx="373">
                  <c:v>39386</c:v>
                </c:pt>
                <c:pt idx="374">
                  <c:v>39387</c:v>
                </c:pt>
                <c:pt idx="375">
                  <c:v>39388</c:v>
                </c:pt>
                <c:pt idx="376">
                  <c:v>39391</c:v>
                </c:pt>
                <c:pt idx="377">
                  <c:v>39392</c:v>
                </c:pt>
                <c:pt idx="378">
                  <c:v>39393</c:v>
                </c:pt>
                <c:pt idx="379">
                  <c:v>39394</c:v>
                </c:pt>
                <c:pt idx="380">
                  <c:v>39395</c:v>
                </c:pt>
                <c:pt idx="381">
                  <c:v>39398</c:v>
                </c:pt>
                <c:pt idx="382">
                  <c:v>39399</c:v>
                </c:pt>
                <c:pt idx="383">
                  <c:v>39400</c:v>
                </c:pt>
                <c:pt idx="384">
                  <c:v>39401</c:v>
                </c:pt>
                <c:pt idx="385">
                  <c:v>39402</c:v>
                </c:pt>
                <c:pt idx="386">
                  <c:v>39405</c:v>
                </c:pt>
                <c:pt idx="387">
                  <c:v>39406</c:v>
                </c:pt>
                <c:pt idx="388">
                  <c:v>39407</c:v>
                </c:pt>
                <c:pt idx="389">
                  <c:v>39409</c:v>
                </c:pt>
                <c:pt idx="390">
                  <c:v>39412</c:v>
                </c:pt>
                <c:pt idx="391">
                  <c:v>39413</c:v>
                </c:pt>
                <c:pt idx="392">
                  <c:v>39414</c:v>
                </c:pt>
                <c:pt idx="393">
                  <c:v>39415</c:v>
                </c:pt>
                <c:pt idx="394">
                  <c:v>39416</c:v>
                </c:pt>
                <c:pt idx="395">
                  <c:v>39419</c:v>
                </c:pt>
                <c:pt idx="396">
                  <c:v>39420</c:v>
                </c:pt>
                <c:pt idx="397">
                  <c:v>39421</c:v>
                </c:pt>
                <c:pt idx="398">
                  <c:v>39422</c:v>
                </c:pt>
                <c:pt idx="399">
                  <c:v>39423</c:v>
                </c:pt>
                <c:pt idx="400">
                  <c:v>39426</c:v>
                </c:pt>
                <c:pt idx="401">
                  <c:v>39427</c:v>
                </c:pt>
                <c:pt idx="402">
                  <c:v>39428</c:v>
                </c:pt>
                <c:pt idx="403">
                  <c:v>39429</c:v>
                </c:pt>
                <c:pt idx="404">
                  <c:v>39430</c:v>
                </c:pt>
                <c:pt idx="405">
                  <c:v>39433</c:v>
                </c:pt>
                <c:pt idx="406">
                  <c:v>39434</c:v>
                </c:pt>
                <c:pt idx="407">
                  <c:v>39435</c:v>
                </c:pt>
                <c:pt idx="408">
                  <c:v>39436</c:v>
                </c:pt>
                <c:pt idx="409">
                  <c:v>39437</c:v>
                </c:pt>
                <c:pt idx="410">
                  <c:v>39440</c:v>
                </c:pt>
                <c:pt idx="411">
                  <c:v>39442</c:v>
                </c:pt>
                <c:pt idx="412">
                  <c:v>39443</c:v>
                </c:pt>
                <c:pt idx="413">
                  <c:v>39444</c:v>
                </c:pt>
                <c:pt idx="414">
                  <c:v>39447</c:v>
                </c:pt>
                <c:pt idx="415">
                  <c:v>39449</c:v>
                </c:pt>
                <c:pt idx="416">
                  <c:v>39450</c:v>
                </c:pt>
                <c:pt idx="417">
                  <c:v>39451</c:v>
                </c:pt>
                <c:pt idx="418">
                  <c:v>39454</c:v>
                </c:pt>
                <c:pt idx="419">
                  <c:v>39455</c:v>
                </c:pt>
                <c:pt idx="420">
                  <c:v>39456</c:v>
                </c:pt>
                <c:pt idx="421">
                  <c:v>39457</c:v>
                </c:pt>
                <c:pt idx="422">
                  <c:v>39458</c:v>
                </c:pt>
                <c:pt idx="423">
                  <c:v>39461</c:v>
                </c:pt>
                <c:pt idx="424">
                  <c:v>39462</c:v>
                </c:pt>
                <c:pt idx="425">
                  <c:v>39463</c:v>
                </c:pt>
                <c:pt idx="426">
                  <c:v>39464</c:v>
                </c:pt>
                <c:pt idx="427">
                  <c:v>39465</c:v>
                </c:pt>
                <c:pt idx="428">
                  <c:v>39469</c:v>
                </c:pt>
                <c:pt idx="429">
                  <c:v>39470</c:v>
                </c:pt>
                <c:pt idx="430">
                  <c:v>39471</c:v>
                </c:pt>
                <c:pt idx="431">
                  <c:v>39472</c:v>
                </c:pt>
                <c:pt idx="432">
                  <c:v>39475</c:v>
                </c:pt>
                <c:pt idx="433">
                  <c:v>39476</c:v>
                </c:pt>
                <c:pt idx="434">
                  <c:v>39477</c:v>
                </c:pt>
                <c:pt idx="435">
                  <c:v>39478</c:v>
                </c:pt>
                <c:pt idx="436">
                  <c:v>39479</c:v>
                </c:pt>
                <c:pt idx="437">
                  <c:v>39482</c:v>
                </c:pt>
                <c:pt idx="438">
                  <c:v>39483</c:v>
                </c:pt>
                <c:pt idx="439">
                  <c:v>39484</c:v>
                </c:pt>
                <c:pt idx="440">
                  <c:v>39485</c:v>
                </c:pt>
                <c:pt idx="441">
                  <c:v>39486</c:v>
                </c:pt>
                <c:pt idx="442">
                  <c:v>39489</c:v>
                </c:pt>
                <c:pt idx="443">
                  <c:v>39490</c:v>
                </c:pt>
                <c:pt idx="444">
                  <c:v>39491</c:v>
                </c:pt>
                <c:pt idx="445">
                  <c:v>39492</c:v>
                </c:pt>
                <c:pt idx="446">
                  <c:v>39493</c:v>
                </c:pt>
                <c:pt idx="447">
                  <c:v>39497</c:v>
                </c:pt>
                <c:pt idx="448">
                  <c:v>39498</c:v>
                </c:pt>
                <c:pt idx="449">
                  <c:v>39499</c:v>
                </c:pt>
                <c:pt idx="450">
                  <c:v>39500</c:v>
                </c:pt>
                <c:pt idx="451">
                  <c:v>39503</c:v>
                </c:pt>
                <c:pt idx="452">
                  <c:v>39504</c:v>
                </c:pt>
                <c:pt idx="453">
                  <c:v>39505</c:v>
                </c:pt>
                <c:pt idx="454">
                  <c:v>39506</c:v>
                </c:pt>
                <c:pt idx="455">
                  <c:v>39507</c:v>
                </c:pt>
                <c:pt idx="456">
                  <c:v>39510</c:v>
                </c:pt>
                <c:pt idx="457">
                  <c:v>39511</c:v>
                </c:pt>
                <c:pt idx="458">
                  <c:v>39512</c:v>
                </c:pt>
                <c:pt idx="459">
                  <c:v>39513</c:v>
                </c:pt>
                <c:pt idx="460">
                  <c:v>39514</c:v>
                </c:pt>
                <c:pt idx="461">
                  <c:v>39517</c:v>
                </c:pt>
                <c:pt idx="462">
                  <c:v>39518</c:v>
                </c:pt>
                <c:pt idx="463">
                  <c:v>39519</c:v>
                </c:pt>
                <c:pt idx="464">
                  <c:v>39520</c:v>
                </c:pt>
                <c:pt idx="465">
                  <c:v>39521</c:v>
                </c:pt>
                <c:pt idx="466">
                  <c:v>39524</c:v>
                </c:pt>
                <c:pt idx="467">
                  <c:v>39525</c:v>
                </c:pt>
                <c:pt idx="468">
                  <c:v>39526</c:v>
                </c:pt>
                <c:pt idx="469">
                  <c:v>39527</c:v>
                </c:pt>
                <c:pt idx="470">
                  <c:v>39531</c:v>
                </c:pt>
                <c:pt idx="471">
                  <c:v>39532</c:v>
                </c:pt>
                <c:pt idx="472">
                  <c:v>39533</c:v>
                </c:pt>
                <c:pt idx="473">
                  <c:v>39534</c:v>
                </c:pt>
                <c:pt idx="474">
                  <c:v>39535</c:v>
                </c:pt>
                <c:pt idx="475">
                  <c:v>39538</c:v>
                </c:pt>
                <c:pt idx="476">
                  <c:v>39539</c:v>
                </c:pt>
                <c:pt idx="477">
                  <c:v>39540</c:v>
                </c:pt>
                <c:pt idx="478">
                  <c:v>39541</c:v>
                </c:pt>
                <c:pt idx="479">
                  <c:v>39542</c:v>
                </c:pt>
                <c:pt idx="480">
                  <c:v>39545</c:v>
                </c:pt>
                <c:pt idx="481">
                  <c:v>39546</c:v>
                </c:pt>
                <c:pt idx="482">
                  <c:v>39547</c:v>
                </c:pt>
                <c:pt idx="483">
                  <c:v>39548</c:v>
                </c:pt>
                <c:pt idx="484">
                  <c:v>39549</c:v>
                </c:pt>
                <c:pt idx="485">
                  <c:v>39552</c:v>
                </c:pt>
                <c:pt idx="486">
                  <c:v>39553</c:v>
                </c:pt>
                <c:pt idx="487">
                  <c:v>39554</c:v>
                </c:pt>
                <c:pt idx="488">
                  <c:v>39555</c:v>
                </c:pt>
                <c:pt idx="489">
                  <c:v>39556</c:v>
                </c:pt>
                <c:pt idx="490">
                  <c:v>39559</c:v>
                </c:pt>
                <c:pt idx="491">
                  <c:v>39560</c:v>
                </c:pt>
                <c:pt idx="492">
                  <c:v>39561</c:v>
                </c:pt>
                <c:pt idx="493">
                  <c:v>39562</c:v>
                </c:pt>
                <c:pt idx="494">
                  <c:v>39563</c:v>
                </c:pt>
                <c:pt idx="495">
                  <c:v>39566</c:v>
                </c:pt>
                <c:pt idx="496">
                  <c:v>39567</c:v>
                </c:pt>
                <c:pt idx="497">
                  <c:v>39568</c:v>
                </c:pt>
                <c:pt idx="498">
                  <c:v>39569</c:v>
                </c:pt>
                <c:pt idx="499">
                  <c:v>39570</c:v>
                </c:pt>
                <c:pt idx="500">
                  <c:v>39573</c:v>
                </c:pt>
                <c:pt idx="501">
                  <c:v>39574</c:v>
                </c:pt>
                <c:pt idx="502">
                  <c:v>39575</c:v>
                </c:pt>
                <c:pt idx="503">
                  <c:v>39576</c:v>
                </c:pt>
                <c:pt idx="504">
                  <c:v>39577</c:v>
                </c:pt>
                <c:pt idx="505">
                  <c:v>39580</c:v>
                </c:pt>
                <c:pt idx="506">
                  <c:v>39581</c:v>
                </c:pt>
                <c:pt idx="507">
                  <c:v>39582</c:v>
                </c:pt>
                <c:pt idx="508">
                  <c:v>39583</c:v>
                </c:pt>
                <c:pt idx="509">
                  <c:v>39584</c:v>
                </c:pt>
                <c:pt idx="510">
                  <c:v>39587</c:v>
                </c:pt>
                <c:pt idx="511">
                  <c:v>39588</c:v>
                </c:pt>
                <c:pt idx="512">
                  <c:v>39589</c:v>
                </c:pt>
                <c:pt idx="513">
                  <c:v>39590</c:v>
                </c:pt>
                <c:pt idx="514">
                  <c:v>39591</c:v>
                </c:pt>
                <c:pt idx="515">
                  <c:v>39595</c:v>
                </c:pt>
                <c:pt idx="516">
                  <c:v>39596</c:v>
                </c:pt>
                <c:pt idx="517">
                  <c:v>39597</c:v>
                </c:pt>
                <c:pt idx="518">
                  <c:v>39598</c:v>
                </c:pt>
                <c:pt idx="519">
                  <c:v>39601</c:v>
                </c:pt>
                <c:pt idx="520">
                  <c:v>39602</c:v>
                </c:pt>
                <c:pt idx="521">
                  <c:v>39603</c:v>
                </c:pt>
                <c:pt idx="522">
                  <c:v>39604</c:v>
                </c:pt>
                <c:pt idx="523">
                  <c:v>39605</c:v>
                </c:pt>
                <c:pt idx="524">
                  <c:v>39608</c:v>
                </c:pt>
                <c:pt idx="525">
                  <c:v>39609</c:v>
                </c:pt>
                <c:pt idx="526">
                  <c:v>39610</c:v>
                </c:pt>
                <c:pt idx="527">
                  <c:v>39611</c:v>
                </c:pt>
                <c:pt idx="528">
                  <c:v>39612</c:v>
                </c:pt>
                <c:pt idx="529">
                  <c:v>39615</c:v>
                </c:pt>
                <c:pt idx="530">
                  <c:v>39616</c:v>
                </c:pt>
                <c:pt idx="531">
                  <c:v>39617</c:v>
                </c:pt>
                <c:pt idx="532">
                  <c:v>39618</c:v>
                </c:pt>
                <c:pt idx="533">
                  <c:v>39619</c:v>
                </c:pt>
                <c:pt idx="534">
                  <c:v>39622</c:v>
                </c:pt>
                <c:pt idx="535">
                  <c:v>39623</c:v>
                </c:pt>
                <c:pt idx="536">
                  <c:v>39624</c:v>
                </c:pt>
                <c:pt idx="537">
                  <c:v>39625</c:v>
                </c:pt>
                <c:pt idx="538">
                  <c:v>39626</c:v>
                </c:pt>
                <c:pt idx="539">
                  <c:v>39629</c:v>
                </c:pt>
                <c:pt idx="540">
                  <c:v>39630</c:v>
                </c:pt>
                <c:pt idx="541">
                  <c:v>39631</c:v>
                </c:pt>
                <c:pt idx="542">
                  <c:v>39632</c:v>
                </c:pt>
                <c:pt idx="543">
                  <c:v>39636</c:v>
                </c:pt>
                <c:pt idx="544">
                  <c:v>39637</c:v>
                </c:pt>
                <c:pt idx="545">
                  <c:v>39638</c:v>
                </c:pt>
                <c:pt idx="546">
                  <c:v>39639</c:v>
                </c:pt>
                <c:pt idx="547">
                  <c:v>39640</c:v>
                </c:pt>
                <c:pt idx="548">
                  <c:v>39643</c:v>
                </c:pt>
                <c:pt idx="549">
                  <c:v>39644</c:v>
                </c:pt>
                <c:pt idx="550">
                  <c:v>39645</c:v>
                </c:pt>
                <c:pt idx="551">
                  <c:v>39646</c:v>
                </c:pt>
                <c:pt idx="552">
                  <c:v>39647</c:v>
                </c:pt>
                <c:pt idx="553">
                  <c:v>39650</c:v>
                </c:pt>
                <c:pt idx="554">
                  <c:v>39651</c:v>
                </c:pt>
                <c:pt idx="555">
                  <c:v>39652</c:v>
                </c:pt>
                <c:pt idx="556">
                  <c:v>39653</c:v>
                </c:pt>
                <c:pt idx="557">
                  <c:v>39654</c:v>
                </c:pt>
                <c:pt idx="558">
                  <c:v>39657</c:v>
                </c:pt>
                <c:pt idx="559">
                  <c:v>39658</c:v>
                </c:pt>
                <c:pt idx="560">
                  <c:v>39659</c:v>
                </c:pt>
                <c:pt idx="561">
                  <c:v>39660</c:v>
                </c:pt>
                <c:pt idx="562">
                  <c:v>39661</c:v>
                </c:pt>
                <c:pt idx="563">
                  <c:v>39664</c:v>
                </c:pt>
                <c:pt idx="564">
                  <c:v>39665</c:v>
                </c:pt>
                <c:pt idx="565">
                  <c:v>39666</c:v>
                </c:pt>
                <c:pt idx="566">
                  <c:v>39667</c:v>
                </c:pt>
                <c:pt idx="567">
                  <c:v>39668</c:v>
                </c:pt>
                <c:pt idx="568">
                  <c:v>39671</c:v>
                </c:pt>
                <c:pt idx="569">
                  <c:v>39672</c:v>
                </c:pt>
                <c:pt idx="570">
                  <c:v>39673</c:v>
                </c:pt>
                <c:pt idx="571">
                  <c:v>39674</c:v>
                </c:pt>
                <c:pt idx="572">
                  <c:v>39675</c:v>
                </c:pt>
                <c:pt idx="573">
                  <c:v>39678</c:v>
                </c:pt>
                <c:pt idx="574">
                  <c:v>39679</c:v>
                </c:pt>
                <c:pt idx="575">
                  <c:v>39680</c:v>
                </c:pt>
                <c:pt idx="576">
                  <c:v>39681</c:v>
                </c:pt>
                <c:pt idx="577">
                  <c:v>39682</c:v>
                </c:pt>
                <c:pt idx="578">
                  <c:v>39685</c:v>
                </c:pt>
                <c:pt idx="579">
                  <c:v>39686</c:v>
                </c:pt>
                <c:pt idx="580">
                  <c:v>39687</c:v>
                </c:pt>
                <c:pt idx="581">
                  <c:v>39688</c:v>
                </c:pt>
                <c:pt idx="582">
                  <c:v>39689</c:v>
                </c:pt>
                <c:pt idx="583">
                  <c:v>39693</c:v>
                </c:pt>
                <c:pt idx="584">
                  <c:v>39694</c:v>
                </c:pt>
                <c:pt idx="585">
                  <c:v>39695</c:v>
                </c:pt>
                <c:pt idx="586">
                  <c:v>39696</c:v>
                </c:pt>
                <c:pt idx="587">
                  <c:v>39699</c:v>
                </c:pt>
                <c:pt idx="588">
                  <c:v>39700</c:v>
                </c:pt>
                <c:pt idx="589">
                  <c:v>39701</c:v>
                </c:pt>
                <c:pt idx="590">
                  <c:v>39702</c:v>
                </c:pt>
                <c:pt idx="591">
                  <c:v>39703</c:v>
                </c:pt>
                <c:pt idx="592">
                  <c:v>39706</c:v>
                </c:pt>
                <c:pt idx="593">
                  <c:v>39707</c:v>
                </c:pt>
                <c:pt idx="594">
                  <c:v>39708</c:v>
                </c:pt>
                <c:pt idx="595">
                  <c:v>39709</c:v>
                </c:pt>
                <c:pt idx="596">
                  <c:v>39710</c:v>
                </c:pt>
                <c:pt idx="597">
                  <c:v>39713</c:v>
                </c:pt>
                <c:pt idx="598">
                  <c:v>39714</c:v>
                </c:pt>
                <c:pt idx="599">
                  <c:v>39715</c:v>
                </c:pt>
                <c:pt idx="600">
                  <c:v>39716</c:v>
                </c:pt>
                <c:pt idx="601">
                  <c:v>39717</c:v>
                </c:pt>
                <c:pt idx="602">
                  <c:v>39720</c:v>
                </c:pt>
                <c:pt idx="603">
                  <c:v>39721</c:v>
                </c:pt>
                <c:pt idx="604">
                  <c:v>39722</c:v>
                </c:pt>
                <c:pt idx="605">
                  <c:v>39723</c:v>
                </c:pt>
                <c:pt idx="606">
                  <c:v>39724</c:v>
                </c:pt>
                <c:pt idx="607">
                  <c:v>39727</c:v>
                </c:pt>
                <c:pt idx="608">
                  <c:v>39728</c:v>
                </c:pt>
                <c:pt idx="609">
                  <c:v>39729</c:v>
                </c:pt>
                <c:pt idx="610">
                  <c:v>39730</c:v>
                </c:pt>
                <c:pt idx="611">
                  <c:v>39731</c:v>
                </c:pt>
                <c:pt idx="612">
                  <c:v>39734</c:v>
                </c:pt>
                <c:pt idx="613">
                  <c:v>39735</c:v>
                </c:pt>
                <c:pt idx="614">
                  <c:v>39736</c:v>
                </c:pt>
                <c:pt idx="615">
                  <c:v>39737</c:v>
                </c:pt>
                <c:pt idx="616">
                  <c:v>39738</c:v>
                </c:pt>
                <c:pt idx="617">
                  <c:v>39741</c:v>
                </c:pt>
                <c:pt idx="618">
                  <c:v>39742</c:v>
                </c:pt>
                <c:pt idx="619">
                  <c:v>39743</c:v>
                </c:pt>
                <c:pt idx="620">
                  <c:v>39744</c:v>
                </c:pt>
                <c:pt idx="621">
                  <c:v>39745</c:v>
                </c:pt>
                <c:pt idx="622">
                  <c:v>39748</c:v>
                </c:pt>
                <c:pt idx="623">
                  <c:v>39749</c:v>
                </c:pt>
                <c:pt idx="624">
                  <c:v>39750</c:v>
                </c:pt>
                <c:pt idx="625">
                  <c:v>39751</c:v>
                </c:pt>
                <c:pt idx="626">
                  <c:v>39752</c:v>
                </c:pt>
                <c:pt idx="627">
                  <c:v>39755</c:v>
                </c:pt>
                <c:pt idx="628">
                  <c:v>39756</c:v>
                </c:pt>
                <c:pt idx="629">
                  <c:v>39757</c:v>
                </c:pt>
                <c:pt idx="630">
                  <c:v>39758</c:v>
                </c:pt>
                <c:pt idx="631">
                  <c:v>39759</c:v>
                </c:pt>
                <c:pt idx="632">
                  <c:v>39762</c:v>
                </c:pt>
                <c:pt idx="633">
                  <c:v>39763</c:v>
                </c:pt>
                <c:pt idx="634">
                  <c:v>39764</c:v>
                </c:pt>
                <c:pt idx="635">
                  <c:v>39765</c:v>
                </c:pt>
                <c:pt idx="636">
                  <c:v>39766</c:v>
                </c:pt>
                <c:pt idx="637">
                  <c:v>39769</c:v>
                </c:pt>
                <c:pt idx="638">
                  <c:v>39770</c:v>
                </c:pt>
                <c:pt idx="639">
                  <c:v>39771</c:v>
                </c:pt>
                <c:pt idx="640">
                  <c:v>39772</c:v>
                </c:pt>
                <c:pt idx="641">
                  <c:v>39773</c:v>
                </c:pt>
                <c:pt idx="642">
                  <c:v>39776</c:v>
                </c:pt>
                <c:pt idx="643">
                  <c:v>39777</c:v>
                </c:pt>
                <c:pt idx="644">
                  <c:v>39778</c:v>
                </c:pt>
                <c:pt idx="645">
                  <c:v>39780</c:v>
                </c:pt>
                <c:pt idx="646">
                  <c:v>39783</c:v>
                </c:pt>
                <c:pt idx="647">
                  <c:v>39784</c:v>
                </c:pt>
                <c:pt idx="648">
                  <c:v>39785</c:v>
                </c:pt>
                <c:pt idx="649">
                  <c:v>39786</c:v>
                </c:pt>
                <c:pt idx="650">
                  <c:v>39787</c:v>
                </c:pt>
                <c:pt idx="651">
                  <c:v>39790</c:v>
                </c:pt>
                <c:pt idx="652">
                  <c:v>39791</c:v>
                </c:pt>
                <c:pt idx="653">
                  <c:v>39792</c:v>
                </c:pt>
                <c:pt idx="654">
                  <c:v>39793</c:v>
                </c:pt>
                <c:pt idx="655">
                  <c:v>39794</c:v>
                </c:pt>
                <c:pt idx="656">
                  <c:v>39797</c:v>
                </c:pt>
                <c:pt idx="657">
                  <c:v>39798</c:v>
                </c:pt>
                <c:pt idx="658">
                  <c:v>39799</c:v>
                </c:pt>
                <c:pt idx="659">
                  <c:v>39800</c:v>
                </c:pt>
                <c:pt idx="660">
                  <c:v>39801</c:v>
                </c:pt>
                <c:pt idx="661">
                  <c:v>39804</c:v>
                </c:pt>
                <c:pt idx="662">
                  <c:v>39805</c:v>
                </c:pt>
                <c:pt idx="663">
                  <c:v>39806</c:v>
                </c:pt>
                <c:pt idx="664">
                  <c:v>39808</c:v>
                </c:pt>
                <c:pt idx="665">
                  <c:v>39811</c:v>
                </c:pt>
                <c:pt idx="666">
                  <c:v>39812</c:v>
                </c:pt>
                <c:pt idx="667">
                  <c:v>39813</c:v>
                </c:pt>
                <c:pt idx="668">
                  <c:v>39815</c:v>
                </c:pt>
                <c:pt idx="669">
                  <c:v>39818</c:v>
                </c:pt>
                <c:pt idx="670">
                  <c:v>39819</c:v>
                </c:pt>
                <c:pt idx="671">
                  <c:v>39820</c:v>
                </c:pt>
                <c:pt idx="672">
                  <c:v>39821</c:v>
                </c:pt>
                <c:pt idx="673">
                  <c:v>39822</c:v>
                </c:pt>
                <c:pt idx="674">
                  <c:v>39825</c:v>
                </c:pt>
                <c:pt idx="675">
                  <c:v>39826</c:v>
                </c:pt>
                <c:pt idx="676">
                  <c:v>39827</c:v>
                </c:pt>
                <c:pt idx="677">
                  <c:v>39828</c:v>
                </c:pt>
                <c:pt idx="678">
                  <c:v>39829</c:v>
                </c:pt>
                <c:pt idx="679">
                  <c:v>39833</c:v>
                </c:pt>
                <c:pt idx="680">
                  <c:v>39834</c:v>
                </c:pt>
                <c:pt idx="681">
                  <c:v>39835</c:v>
                </c:pt>
                <c:pt idx="682">
                  <c:v>39836</c:v>
                </c:pt>
                <c:pt idx="683">
                  <c:v>39839</c:v>
                </c:pt>
                <c:pt idx="684">
                  <c:v>39840</c:v>
                </c:pt>
                <c:pt idx="685">
                  <c:v>39841</c:v>
                </c:pt>
                <c:pt idx="686">
                  <c:v>39842</c:v>
                </c:pt>
                <c:pt idx="687">
                  <c:v>39843</c:v>
                </c:pt>
                <c:pt idx="688">
                  <c:v>39846</c:v>
                </c:pt>
                <c:pt idx="689">
                  <c:v>39847</c:v>
                </c:pt>
                <c:pt idx="690">
                  <c:v>39848</c:v>
                </c:pt>
                <c:pt idx="691">
                  <c:v>39849</c:v>
                </c:pt>
                <c:pt idx="692">
                  <c:v>39850</c:v>
                </c:pt>
                <c:pt idx="693">
                  <c:v>39853</c:v>
                </c:pt>
                <c:pt idx="694">
                  <c:v>39854</c:v>
                </c:pt>
                <c:pt idx="695">
                  <c:v>39855</c:v>
                </c:pt>
                <c:pt idx="696">
                  <c:v>39856</c:v>
                </c:pt>
                <c:pt idx="697">
                  <c:v>39857</c:v>
                </c:pt>
                <c:pt idx="698">
                  <c:v>39861</c:v>
                </c:pt>
                <c:pt idx="699">
                  <c:v>39862</c:v>
                </c:pt>
                <c:pt idx="700">
                  <c:v>39863</c:v>
                </c:pt>
                <c:pt idx="701">
                  <c:v>39864</c:v>
                </c:pt>
                <c:pt idx="702">
                  <c:v>39867</c:v>
                </c:pt>
                <c:pt idx="703">
                  <c:v>39868</c:v>
                </c:pt>
                <c:pt idx="704">
                  <c:v>39869</c:v>
                </c:pt>
                <c:pt idx="705">
                  <c:v>39870</c:v>
                </c:pt>
                <c:pt idx="706">
                  <c:v>39871</c:v>
                </c:pt>
                <c:pt idx="707">
                  <c:v>39874</c:v>
                </c:pt>
                <c:pt idx="708">
                  <c:v>39875</c:v>
                </c:pt>
                <c:pt idx="709">
                  <c:v>39876</c:v>
                </c:pt>
                <c:pt idx="710">
                  <c:v>39877</c:v>
                </c:pt>
                <c:pt idx="711">
                  <c:v>39878</c:v>
                </c:pt>
                <c:pt idx="712">
                  <c:v>39881</c:v>
                </c:pt>
                <c:pt idx="713">
                  <c:v>39882</c:v>
                </c:pt>
                <c:pt idx="714">
                  <c:v>39883</c:v>
                </c:pt>
                <c:pt idx="715">
                  <c:v>39884</c:v>
                </c:pt>
                <c:pt idx="716">
                  <c:v>39885</c:v>
                </c:pt>
                <c:pt idx="717">
                  <c:v>39888</c:v>
                </c:pt>
                <c:pt idx="718">
                  <c:v>39889</c:v>
                </c:pt>
                <c:pt idx="719">
                  <c:v>39890</c:v>
                </c:pt>
                <c:pt idx="720">
                  <c:v>39891</c:v>
                </c:pt>
                <c:pt idx="721">
                  <c:v>39892</c:v>
                </c:pt>
                <c:pt idx="722">
                  <c:v>39895</c:v>
                </c:pt>
                <c:pt idx="723">
                  <c:v>39896</c:v>
                </c:pt>
                <c:pt idx="724">
                  <c:v>39897</c:v>
                </c:pt>
                <c:pt idx="725">
                  <c:v>39898</c:v>
                </c:pt>
                <c:pt idx="726">
                  <c:v>39899</c:v>
                </c:pt>
                <c:pt idx="727">
                  <c:v>39902</c:v>
                </c:pt>
                <c:pt idx="728">
                  <c:v>39903</c:v>
                </c:pt>
                <c:pt idx="729">
                  <c:v>39904</c:v>
                </c:pt>
                <c:pt idx="730">
                  <c:v>39905</c:v>
                </c:pt>
                <c:pt idx="731">
                  <c:v>39906</c:v>
                </c:pt>
                <c:pt idx="732">
                  <c:v>39909</c:v>
                </c:pt>
                <c:pt idx="733">
                  <c:v>39910</c:v>
                </c:pt>
                <c:pt idx="734">
                  <c:v>39911</c:v>
                </c:pt>
                <c:pt idx="735">
                  <c:v>39912</c:v>
                </c:pt>
                <c:pt idx="736">
                  <c:v>39916</c:v>
                </c:pt>
                <c:pt idx="737">
                  <c:v>39917</c:v>
                </c:pt>
                <c:pt idx="738">
                  <c:v>39918</c:v>
                </c:pt>
                <c:pt idx="739">
                  <c:v>39919</c:v>
                </c:pt>
                <c:pt idx="740">
                  <c:v>39920</c:v>
                </c:pt>
                <c:pt idx="741">
                  <c:v>39923</c:v>
                </c:pt>
                <c:pt idx="742">
                  <c:v>39924</c:v>
                </c:pt>
                <c:pt idx="743">
                  <c:v>39925</c:v>
                </c:pt>
                <c:pt idx="744">
                  <c:v>39926</c:v>
                </c:pt>
                <c:pt idx="745">
                  <c:v>39927</c:v>
                </c:pt>
                <c:pt idx="746">
                  <c:v>39930</c:v>
                </c:pt>
                <c:pt idx="747">
                  <c:v>39931</c:v>
                </c:pt>
                <c:pt idx="748">
                  <c:v>39932</c:v>
                </c:pt>
                <c:pt idx="749">
                  <c:v>39933</c:v>
                </c:pt>
                <c:pt idx="750">
                  <c:v>39934</c:v>
                </c:pt>
                <c:pt idx="751">
                  <c:v>39937</c:v>
                </c:pt>
                <c:pt idx="752">
                  <c:v>39938</c:v>
                </c:pt>
                <c:pt idx="753">
                  <c:v>39939</c:v>
                </c:pt>
                <c:pt idx="754">
                  <c:v>39940</c:v>
                </c:pt>
                <c:pt idx="755">
                  <c:v>39941</c:v>
                </c:pt>
                <c:pt idx="756">
                  <c:v>39944</c:v>
                </c:pt>
                <c:pt idx="757">
                  <c:v>39945</c:v>
                </c:pt>
                <c:pt idx="758">
                  <c:v>39946</c:v>
                </c:pt>
                <c:pt idx="759">
                  <c:v>39947</c:v>
                </c:pt>
                <c:pt idx="760">
                  <c:v>39948</c:v>
                </c:pt>
                <c:pt idx="761">
                  <c:v>39951</c:v>
                </c:pt>
                <c:pt idx="762">
                  <c:v>39952</c:v>
                </c:pt>
                <c:pt idx="763">
                  <c:v>39953</c:v>
                </c:pt>
                <c:pt idx="764">
                  <c:v>39954</c:v>
                </c:pt>
                <c:pt idx="765">
                  <c:v>39955</c:v>
                </c:pt>
                <c:pt idx="766">
                  <c:v>39959</c:v>
                </c:pt>
                <c:pt idx="767">
                  <c:v>39960</c:v>
                </c:pt>
                <c:pt idx="768">
                  <c:v>39961</c:v>
                </c:pt>
                <c:pt idx="769">
                  <c:v>39962</c:v>
                </c:pt>
                <c:pt idx="770">
                  <c:v>39965</c:v>
                </c:pt>
                <c:pt idx="771">
                  <c:v>39966</c:v>
                </c:pt>
                <c:pt idx="772">
                  <c:v>39967</c:v>
                </c:pt>
                <c:pt idx="773">
                  <c:v>39968</c:v>
                </c:pt>
                <c:pt idx="774">
                  <c:v>39969</c:v>
                </c:pt>
                <c:pt idx="775">
                  <c:v>39972</c:v>
                </c:pt>
                <c:pt idx="776">
                  <c:v>39973</c:v>
                </c:pt>
                <c:pt idx="777">
                  <c:v>39974</c:v>
                </c:pt>
                <c:pt idx="778">
                  <c:v>39975</c:v>
                </c:pt>
                <c:pt idx="779">
                  <c:v>39976</c:v>
                </c:pt>
                <c:pt idx="780">
                  <c:v>39979</c:v>
                </c:pt>
                <c:pt idx="781">
                  <c:v>39980</c:v>
                </c:pt>
                <c:pt idx="782">
                  <c:v>39981</c:v>
                </c:pt>
                <c:pt idx="783">
                  <c:v>39982</c:v>
                </c:pt>
                <c:pt idx="784">
                  <c:v>39983</c:v>
                </c:pt>
                <c:pt idx="785">
                  <c:v>39986</c:v>
                </c:pt>
                <c:pt idx="786">
                  <c:v>39987</c:v>
                </c:pt>
                <c:pt idx="787">
                  <c:v>39988</c:v>
                </c:pt>
                <c:pt idx="788">
                  <c:v>39989</c:v>
                </c:pt>
                <c:pt idx="789">
                  <c:v>39990</c:v>
                </c:pt>
                <c:pt idx="790">
                  <c:v>39993</c:v>
                </c:pt>
                <c:pt idx="791">
                  <c:v>39994</c:v>
                </c:pt>
                <c:pt idx="792">
                  <c:v>39995</c:v>
                </c:pt>
                <c:pt idx="793">
                  <c:v>39996</c:v>
                </c:pt>
                <c:pt idx="794">
                  <c:v>40000</c:v>
                </c:pt>
                <c:pt idx="795">
                  <c:v>40001</c:v>
                </c:pt>
                <c:pt idx="796">
                  <c:v>40002</c:v>
                </c:pt>
                <c:pt idx="797">
                  <c:v>40003</c:v>
                </c:pt>
                <c:pt idx="798">
                  <c:v>40004</c:v>
                </c:pt>
                <c:pt idx="799">
                  <c:v>40007</c:v>
                </c:pt>
                <c:pt idx="800">
                  <c:v>40008</c:v>
                </c:pt>
                <c:pt idx="801">
                  <c:v>40009</c:v>
                </c:pt>
                <c:pt idx="802">
                  <c:v>40010</c:v>
                </c:pt>
                <c:pt idx="803">
                  <c:v>40011</c:v>
                </c:pt>
                <c:pt idx="804">
                  <c:v>40014</c:v>
                </c:pt>
                <c:pt idx="805">
                  <c:v>40015</c:v>
                </c:pt>
                <c:pt idx="806">
                  <c:v>40016</c:v>
                </c:pt>
                <c:pt idx="807">
                  <c:v>40017</c:v>
                </c:pt>
                <c:pt idx="808">
                  <c:v>40018</c:v>
                </c:pt>
                <c:pt idx="809">
                  <c:v>40021</c:v>
                </c:pt>
                <c:pt idx="810">
                  <c:v>40022</c:v>
                </c:pt>
                <c:pt idx="811">
                  <c:v>40023</c:v>
                </c:pt>
                <c:pt idx="812">
                  <c:v>40024</c:v>
                </c:pt>
                <c:pt idx="813">
                  <c:v>40025</c:v>
                </c:pt>
                <c:pt idx="814">
                  <c:v>40028</c:v>
                </c:pt>
                <c:pt idx="815">
                  <c:v>40029</c:v>
                </c:pt>
                <c:pt idx="816">
                  <c:v>40030</c:v>
                </c:pt>
                <c:pt idx="817">
                  <c:v>40031</c:v>
                </c:pt>
                <c:pt idx="818">
                  <c:v>40032</c:v>
                </c:pt>
                <c:pt idx="819">
                  <c:v>40035</c:v>
                </c:pt>
                <c:pt idx="820">
                  <c:v>40036</c:v>
                </c:pt>
                <c:pt idx="821">
                  <c:v>40037</c:v>
                </c:pt>
                <c:pt idx="822">
                  <c:v>40038</c:v>
                </c:pt>
                <c:pt idx="823">
                  <c:v>40039</c:v>
                </c:pt>
                <c:pt idx="824">
                  <c:v>40042</c:v>
                </c:pt>
                <c:pt idx="825">
                  <c:v>40043</c:v>
                </c:pt>
                <c:pt idx="826">
                  <c:v>40044</c:v>
                </c:pt>
                <c:pt idx="827">
                  <c:v>40045</c:v>
                </c:pt>
                <c:pt idx="828">
                  <c:v>40046</c:v>
                </c:pt>
                <c:pt idx="829">
                  <c:v>40049</c:v>
                </c:pt>
                <c:pt idx="830">
                  <c:v>40050</c:v>
                </c:pt>
                <c:pt idx="831">
                  <c:v>40051</c:v>
                </c:pt>
                <c:pt idx="832">
                  <c:v>40052</c:v>
                </c:pt>
                <c:pt idx="833">
                  <c:v>40053</c:v>
                </c:pt>
                <c:pt idx="834">
                  <c:v>40056</c:v>
                </c:pt>
                <c:pt idx="835">
                  <c:v>40057</c:v>
                </c:pt>
                <c:pt idx="836">
                  <c:v>40058</c:v>
                </c:pt>
                <c:pt idx="837">
                  <c:v>40059</c:v>
                </c:pt>
                <c:pt idx="838">
                  <c:v>40060</c:v>
                </c:pt>
                <c:pt idx="839">
                  <c:v>40064</c:v>
                </c:pt>
                <c:pt idx="840">
                  <c:v>40065</c:v>
                </c:pt>
                <c:pt idx="841">
                  <c:v>40066</c:v>
                </c:pt>
                <c:pt idx="842">
                  <c:v>40067</c:v>
                </c:pt>
                <c:pt idx="843">
                  <c:v>40070</c:v>
                </c:pt>
                <c:pt idx="844">
                  <c:v>40071</c:v>
                </c:pt>
                <c:pt idx="845">
                  <c:v>40072</c:v>
                </c:pt>
                <c:pt idx="846">
                  <c:v>40073</c:v>
                </c:pt>
                <c:pt idx="847">
                  <c:v>40074</c:v>
                </c:pt>
                <c:pt idx="848">
                  <c:v>40077</c:v>
                </c:pt>
                <c:pt idx="849">
                  <c:v>40078</c:v>
                </c:pt>
                <c:pt idx="850">
                  <c:v>40079</c:v>
                </c:pt>
                <c:pt idx="851">
                  <c:v>40080</c:v>
                </c:pt>
                <c:pt idx="852">
                  <c:v>40081</c:v>
                </c:pt>
                <c:pt idx="853">
                  <c:v>40084</c:v>
                </c:pt>
                <c:pt idx="854">
                  <c:v>40085</c:v>
                </c:pt>
                <c:pt idx="855">
                  <c:v>40086</c:v>
                </c:pt>
                <c:pt idx="856">
                  <c:v>40087</c:v>
                </c:pt>
                <c:pt idx="857">
                  <c:v>40088</c:v>
                </c:pt>
                <c:pt idx="858">
                  <c:v>40091</c:v>
                </c:pt>
                <c:pt idx="859">
                  <c:v>40092</c:v>
                </c:pt>
                <c:pt idx="860">
                  <c:v>40093</c:v>
                </c:pt>
                <c:pt idx="861">
                  <c:v>40094</c:v>
                </c:pt>
                <c:pt idx="862">
                  <c:v>40095</c:v>
                </c:pt>
                <c:pt idx="863">
                  <c:v>40098</c:v>
                </c:pt>
                <c:pt idx="864">
                  <c:v>40099</c:v>
                </c:pt>
                <c:pt idx="865">
                  <c:v>40100</c:v>
                </c:pt>
                <c:pt idx="866">
                  <c:v>40101</c:v>
                </c:pt>
                <c:pt idx="867">
                  <c:v>40102</c:v>
                </c:pt>
                <c:pt idx="868">
                  <c:v>40105</c:v>
                </c:pt>
                <c:pt idx="869">
                  <c:v>40106</c:v>
                </c:pt>
                <c:pt idx="870">
                  <c:v>40107</c:v>
                </c:pt>
                <c:pt idx="871">
                  <c:v>40108</c:v>
                </c:pt>
                <c:pt idx="872">
                  <c:v>40109</c:v>
                </c:pt>
                <c:pt idx="873">
                  <c:v>40112</c:v>
                </c:pt>
                <c:pt idx="874">
                  <c:v>40113</c:v>
                </c:pt>
                <c:pt idx="875">
                  <c:v>40114</c:v>
                </c:pt>
                <c:pt idx="876">
                  <c:v>40115</c:v>
                </c:pt>
                <c:pt idx="877">
                  <c:v>40116</c:v>
                </c:pt>
                <c:pt idx="878">
                  <c:v>40119</c:v>
                </c:pt>
                <c:pt idx="879">
                  <c:v>40120</c:v>
                </c:pt>
                <c:pt idx="880">
                  <c:v>40121</c:v>
                </c:pt>
                <c:pt idx="881">
                  <c:v>40122</c:v>
                </c:pt>
                <c:pt idx="882">
                  <c:v>40123</c:v>
                </c:pt>
                <c:pt idx="883">
                  <c:v>40126</c:v>
                </c:pt>
                <c:pt idx="884">
                  <c:v>40127</c:v>
                </c:pt>
                <c:pt idx="885">
                  <c:v>40128</c:v>
                </c:pt>
                <c:pt idx="886">
                  <c:v>40129</c:v>
                </c:pt>
                <c:pt idx="887">
                  <c:v>40130</c:v>
                </c:pt>
                <c:pt idx="888">
                  <c:v>40133</c:v>
                </c:pt>
                <c:pt idx="889">
                  <c:v>40134</c:v>
                </c:pt>
                <c:pt idx="890">
                  <c:v>40135</c:v>
                </c:pt>
                <c:pt idx="891">
                  <c:v>40136</c:v>
                </c:pt>
                <c:pt idx="892">
                  <c:v>40137</c:v>
                </c:pt>
                <c:pt idx="893">
                  <c:v>40140</c:v>
                </c:pt>
                <c:pt idx="894">
                  <c:v>40141</c:v>
                </c:pt>
                <c:pt idx="895">
                  <c:v>40142</c:v>
                </c:pt>
                <c:pt idx="896">
                  <c:v>40144</c:v>
                </c:pt>
                <c:pt idx="897">
                  <c:v>40147</c:v>
                </c:pt>
                <c:pt idx="898">
                  <c:v>40148</c:v>
                </c:pt>
                <c:pt idx="899">
                  <c:v>40149</c:v>
                </c:pt>
                <c:pt idx="900">
                  <c:v>40150</c:v>
                </c:pt>
                <c:pt idx="901">
                  <c:v>40151</c:v>
                </c:pt>
                <c:pt idx="902">
                  <c:v>40154</c:v>
                </c:pt>
                <c:pt idx="903">
                  <c:v>40155</c:v>
                </c:pt>
                <c:pt idx="904">
                  <c:v>40156</c:v>
                </c:pt>
                <c:pt idx="905">
                  <c:v>40157</c:v>
                </c:pt>
                <c:pt idx="906">
                  <c:v>40158</c:v>
                </c:pt>
                <c:pt idx="907">
                  <c:v>40161</c:v>
                </c:pt>
                <c:pt idx="908">
                  <c:v>40162</c:v>
                </c:pt>
                <c:pt idx="909">
                  <c:v>40163</c:v>
                </c:pt>
                <c:pt idx="910">
                  <c:v>40164</c:v>
                </c:pt>
                <c:pt idx="911">
                  <c:v>40165</c:v>
                </c:pt>
                <c:pt idx="912">
                  <c:v>40168</c:v>
                </c:pt>
                <c:pt idx="913">
                  <c:v>40169</c:v>
                </c:pt>
                <c:pt idx="914">
                  <c:v>40170</c:v>
                </c:pt>
                <c:pt idx="915">
                  <c:v>40171</c:v>
                </c:pt>
                <c:pt idx="916">
                  <c:v>40175</c:v>
                </c:pt>
                <c:pt idx="917">
                  <c:v>40176</c:v>
                </c:pt>
                <c:pt idx="918">
                  <c:v>40177</c:v>
                </c:pt>
                <c:pt idx="919">
                  <c:v>40178</c:v>
                </c:pt>
                <c:pt idx="920">
                  <c:v>40182</c:v>
                </c:pt>
                <c:pt idx="921">
                  <c:v>40183</c:v>
                </c:pt>
                <c:pt idx="922">
                  <c:v>40184</c:v>
                </c:pt>
                <c:pt idx="923">
                  <c:v>40185</c:v>
                </c:pt>
                <c:pt idx="924">
                  <c:v>40186</c:v>
                </c:pt>
                <c:pt idx="925">
                  <c:v>40189</c:v>
                </c:pt>
                <c:pt idx="926">
                  <c:v>40190</c:v>
                </c:pt>
                <c:pt idx="927">
                  <c:v>40191</c:v>
                </c:pt>
                <c:pt idx="928">
                  <c:v>40192</c:v>
                </c:pt>
                <c:pt idx="929">
                  <c:v>40193</c:v>
                </c:pt>
                <c:pt idx="930">
                  <c:v>40197</c:v>
                </c:pt>
                <c:pt idx="931">
                  <c:v>40198</c:v>
                </c:pt>
                <c:pt idx="932">
                  <c:v>40199</c:v>
                </c:pt>
                <c:pt idx="933">
                  <c:v>40200</c:v>
                </c:pt>
                <c:pt idx="934">
                  <c:v>40203</c:v>
                </c:pt>
                <c:pt idx="935">
                  <c:v>40204</c:v>
                </c:pt>
                <c:pt idx="936">
                  <c:v>40205</c:v>
                </c:pt>
                <c:pt idx="937">
                  <c:v>40206</c:v>
                </c:pt>
                <c:pt idx="938">
                  <c:v>40207</c:v>
                </c:pt>
                <c:pt idx="939">
                  <c:v>40210</c:v>
                </c:pt>
                <c:pt idx="940">
                  <c:v>40211</c:v>
                </c:pt>
                <c:pt idx="941">
                  <c:v>40212</c:v>
                </c:pt>
                <c:pt idx="942">
                  <c:v>40213</c:v>
                </c:pt>
                <c:pt idx="943">
                  <c:v>40214</c:v>
                </c:pt>
                <c:pt idx="944">
                  <c:v>40217</c:v>
                </c:pt>
                <c:pt idx="945">
                  <c:v>40218</c:v>
                </c:pt>
                <c:pt idx="946">
                  <c:v>40219</c:v>
                </c:pt>
                <c:pt idx="947">
                  <c:v>40220</c:v>
                </c:pt>
                <c:pt idx="948">
                  <c:v>40221</c:v>
                </c:pt>
                <c:pt idx="949">
                  <c:v>40225</c:v>
                </c:pt>
                <c:pt idx="950">
                  <c:v>40226</c:v>
                </c:pt>
                <c:pt idx="951">
                  <c:v>40227</c:v>
                </c:pt>
                <c:pt idx="952">
                  <c:v>40228</c:v>
                </c:pt>
                <c:pt idx="953">
                  <c:v>40231</c:v>
                </c:pt>
                <c:pt idx="954">
                  <c:v>40232</c:v>
                </c:pt>
                <c:pt idx="955">
                  <c:v>40233</c:v>
                </c:pt>
                <c:pt idx="956">
                  <c:v>40234</c:v>
                </c:pt>
                <c:pt idx="957">
                  <c:v>40235</c:v>
                </c:pt>
                <c:pt idx="958">
                  <c:v>40238</c:v>
                </c:pt>
                <c:pt idx="959">
                  <c:v>40239</c:v>
                </c:pt>
                <c:pt idx="960">
                  <c:v>40240</c:v>
                </c:pt>
                <c:pt idx="961">
                  <c:v>40241</c:v>
                </c:pt>
                <c:pt idx="962">
                  <c:v>40242</c:v>
                </c:pt>
                <c:pt idx="963">
                  <c:v>40245</c:v>
                </c:pt>
                <c:pt idx="964">
                  <c:v>40246</c:v>
                </c:pt>
                <c:pt idx="965">
                  <c:v>40247</c:v>
                </c:pt>
                <c:pt idx="966">
                  <c:v>40248</c:v>
                </c:pt>
                <c:pt idx="967">
                  <c:v>40249</c:v>
                </c:pt>
                <c:pt idx="968">
                  <c:v>40252</c:v>
                </c:pt>
                <c:pt idx="969">
                  <c:v>40253</c:v>
                </c:pt>
                <c:pt idx="970">
                  <c:v>40254</c:v>
                </c:pt>
                <c:pt idx="971">
                  <c:v>40255</c:v>
                </c:pt>
                <c:pt idx="972">
                  <c:v>40256</c:v>
                </c:pt>
                <c:pt idx="973">
                  <c:v>40259</c:v>
                </c:pt>
                <c:pt idx="974">
                  <c:v>40260</c:v>
                </c:pt>
                <c:pt idx="975">
                  <c:v>40261</c:v>
                </c:pt>
                <c:pt idx="976">
                  <c:v>40262</c:v>
                </c:pt>
                <c:pt idx="977">
                  <c:v>40263</c:v>
                </c:pt>
                <c:pt idx="978">
                  <c:v>40266</c:v>
                </c:pt>
                <c:pt idx="979">
                  <c:v>40267</c:v>
                </c:pt>
                <c:pt idx="980">
                  <c:v>40268</c:v>
                </c:pt>
                <c:pt idx="981">
                  <c:v>40269</c:v>
                </c:pt>
                <c:pt idx="982">
                  <c:v>40273</c:v>
                </c:pt>
                <c:pt idx="983">
                  <c:v>40274</c:v>
                </c:pt>
                <c:pt idx="984">
                  <c:v>40275</c:v>
                </c:pt>
                <c:pt idx="985">
                  <c:v>40276</c:v>
                </c:pt>
                <c:pt idx="986">
                  <c:v>40277</c:v>
                </c:pt>
                <c:pt idx="987">
                  <c:v>40280</c:v>
                </c:pt>
                <c:pt idx="988">
                  <c:v>40281</c:v>
                </c:pt>
                <c:pt idx="989">
                  <c:v>40282</c:v>
                </c:pt>
                <c:pt idx="990">
                  <c:v>40283</c:v>
                </c:pt>
                <c:pt idx="991">
                  <c:v>40284</c:v>
                </c:pt>
                <c:pt idx="992">
                  <c:v>40287</c:v>
                </c:pt>
                <c:pt idx="993">
                  <c:v>40288</c:v>
                </c:pt>
                <c:pt idx="994">
                  <c:v>40289</c:v>
                </c:pt>
                <c:pt idx="995">
                  <c:v>40290</c:v>
                </c:pt>
                <c:pt idx="996">
                  <c:v>40291</c:v>
                </c:pt>
                <c:pt idx="997">
                  <c:v>40294</c:v>
                </c:pt>
                <c:pt idx="998">
                  <c:v>40295</c:v>
                </c:pt>
                <c:pt idx="999">
                  <c:v>40296</c:v>
                </c:pt>
                <c:pt idx="1000">
                  <c:v>40297</c:v>
                </c:pt>
                <c:pt idx="1001">
                  <c:v>40298</c:v>
                </c:pt>
                <c:pt idx="1002">
                  <c:v>40301</c:v>
                </c:pt>
                <c:pt idx="1003">
                  <c:v>40302</c:v>
                </c:pt>
                <c:pt idx="1004">
                  <c:v>40303</c:v>
                </c:pt>
                <c:pt idx="1005">
                  <c:v>40304</c:v>
                </c:pt>
                <c:pt idx="1006">
                  <c:v>40305</c:v>
                </c:pt>
                <c:pt idx="1007">
                  <c:v>40308</c:v>
                </c:pt>
                <c:pt idx="1008">
                  <c:v>40309</c:v>
                </c:pt>
                <c:pt idx="1009">
                  <c:v>40310</c:v>
                </c:pt>
                <c:pt idx="1010">
                  <c:v>40311</c:v>
                </c:pt>
                <c:pt idx="1011">
                  <c:v>40312</c:v>
                </c:pt>
                <c:pt idx="1012">
                  <c:v>40315</c:v>
                </c:pt>
                <c:pt idx="1013">
                  <c:v>40316</c:v>
                </c:pt>
                <c:pt idx="1014">
                  <c:v>40317</c:v>
                </c:pt>
                <c:pt idx="1015">
                  <c:v>40318</c:v>
                </c:pt>
                <c:pt idx="1016">
                  <c:v>40319</c:v>
                </c:pt>
                <c:pt idx="1017">
                  <c:v>40322</c:v>
                </c:pt>
                <c:pt idx="1018">
                  <c:v>40323</c:v>
                </c:pt>
                <c:pt idx="1019">
                  <c:v>40324</c:v>
                </c:pt>
                <c:pt idx="1020">
                  <c:v>40325</c:v>
                </c:pt>
                <c:pt idx="1021">
                  <c:v>40326</c:v>
                </c:pt>
                <c:pt idx="1022">
                  <c:v>40330</c:v>
                </c:pt>
                <c:pt idx="1023">
                  <c:v>40331</c:v>
                </c:pt>
                <c:pt idx="1024">
                  <c:v>40332</c:v>
                </c:pt>
                <c:pt idx="1025">
                  <c:v>40333</c:v>
                </c:pt>
                <c:pt idx="1026">
                  <c:v>40336</c:v>
                </c:pt>
                <c:pt idx="1027">
                  <c:v>40337</c:v>
                </c:pt>
                <c:pt idx="1028">
                  <c:v>40338</c:v>
                </c:pt>
                <c:pt idx="1029">
                  <c:v>40339</c:v>
                </c:pt>
                <c:pt idx="1030">
                  <c:v>40340</c:v>
                </c:pt>
                <c:pt idx="1031">
                  <c:v>40343</c:v>
                </c:pt>
                <c:pt idx="1032">
                  <c:v>40344</c:v>
                </c:pt>
                <c:pt idx="1033">
                  <c:v>40345</c:v>
                </c:pt>
                <c:pt idx="1034">
                  <c:v>40346</c:v>
                </c:pt>
                <c:pt idx="1035">
                  <c:v>40347</c:v>
                </c:pt>
                <c:pt idx="1036">
                  <c:v>40350</c:v>
                </c:pt>
                <c:pt idx="1037">
                  <c:v>40351</c:v>
                </c:pt>
                <c:pt idx="1038">
                  <c:v>40352</c:v>
                </c:pt>
                <c:pt idx="1039">
                  <c:v>40353</c:v>
                </c:pt>
                <c:pt idx="1040">
                  <c:v>40354</c:v>
                </c:pt>
                <c:pt idx="1041">
                  <c:v>40357</c:v>
                </c:pt>
                <c:pt idx="1042">
                  <c:v>40358</c:v>
                </c:pt>
                <c:pt idx="1043">
                  <c:v>40359</c:v>
                </c:pt>
                <c:pt idx="1044">
                  <c:v>40360</c:v>
                </c:pt>
                <c:pt idx="1045">
                  <c:v>40361</c:v>
                </c:pt>
                <c:pt idx="1046">
                  <c:v>40365</c:v>
                </c:pt>
                <c:pt idx="1047">
                  <c:v>40366</c:v>
                </c:pt>
                <c:pt idx="1048">
                  <c:v>40367</c:v>
                </c:pt>
                <c:pt idx="1049">
                  <c:v>40368</c:v>
                </c:pt>
                <c:pt idx="1050">
                  <c:v>40371</c:v>
                </c:pt>
                <c:pt idx="1051">
                  <c:v>40372</c:v>
                </c:pt>
                <c:pt idx="1052">
                  <c:v>40373</c:v>
                </c:pt>
                <c:pt idx="1053">
                  <c:v>40374</c:v>
                </c:pt>
                <c:pt idx="1054">
                  <c:v>40375</c:v>
                </c:pt>
                <c:pt idx="1055">
                  <c:v>40378</c:v>
                </c:pt>
                <c:pt idx="1056">
                  <c:v>40379</c:v>
                </c:pt>
                <c:pt idx="1057">
                  <c:v>40380</c:v>
                </c:pt>
                <c:pt idx="1058">
                  <c:v>40381</c:v>
                </c:pt>
                <c:pt idx="1059">
                  <c:v>40382</c:v>
                </c:pt>
                <c:pt idx="1060">
                  <c:v>40385</c:v>
                </c:pt>
                <c:pt idx="1061">
                  <c:v>40386</c:v>
                </c:pt>
                <c:pt idx="1062">
                  <c:v>40387</c:v>
                </c:pt>
                <c:pt idx="1063">
                  <c:v>40388</c:v>
                </c:pt>
                <c:pt idx="1064">
                  <c:v>40389</c:v>
                </c:pt>
                <c:pt idx="1065">
                  <c:v>40392</c:v>
                </c:pt>
                <c:pt idx="1066">
                  <c:v>40393</c:v>
                </c:pt>
                <c:pt idx="1067">
                  <c:v>40394</c:v>
                </c:pt>
                <c:pt idx="1068">
                  <c:v>40395</c:v>
                </c:pt>
                <c:pt idx="1069">
                  <c:v>40396</c:v>
                </c:pt>
                <c:pt idx="1070">
                  <c:v>40399</c:v>
                </c:pt>
                <c:pt idx="1071">
                  <c:v>40400</c:v>
                </c:pt>
                <c:pt idx="1072">
                  <c:v>40401</c:v>
                </c:pt>
                <c:pt idx="1073">
                  <c:v>40402</c:v>
                </c:pt>
                <c:pt idx="1074">
                  <c:v>40403</c:v>
                </c:pt>
                <c:pt idx="1075">
                  <c:v>40406</c:v>
                </c:pt>
                <c:pt idx="1076">
                  <c:v>40407</c:v>
                </c:pt>
                <c:pt idx="1077">
                  <c:v>40408</c:v>
                </c:pt>
                <c:pt idx="1078">
                  <c:v>40409</c:v>
                </c:pt>
                <c:pt idx="1079">
                  <c:v>40410</c:v>
                </c:pt>
                <c:pt idx="1080">
                  <c:v>40413</c:v>
                </c:pt>
                <c:pt idx="1081">
                  <c:v>40414</c:v>
                </c:pt>
                <c:pt idx="1082">
                  <c:v>40415</c:v>
                </c:pt>
                <c:pt idx="1083">
                  <c:v>40416</c:v>
                </c:pt>
                <c:pt idx="1084">
                  <c:v>40417</c:v>
                </c:pt>
                <c:pt idx="1085">
                  <c:v>40420</c:v>
                </c:pt>
                <c:pt idx="1086">
                  <c:v>40421</c:v>
                </c:pt>
                <c:pt idx="1087">
                  <c:v>40422</c:v>
                </c:pt>
                <c:pt idx="1088">
                  <c:v>40423</c:v>
                </c:pt>
                <c:pt idx="1089">
                  <c:v>40424</c:v>
                </c:pt>
                <c:pt idx="1090">
                  <c:v>40428</c:v>
                </c:pt>
                <c:pt idx="1091">
                  <c:v>40429</c:v>
                </c:pt>
                <c:pt idx="1092">
                  <c:v>40430</c:v>
                </c:pt>
                <c:pt idx="1093">
                  <c:v>40431</c:v>
                </c:pt>
                <c:pt idx="1094">
                  <c:v>40434</c:v>
                </c:pt>
                <c:pt idx="1095">
                  <c:v>40435</c:v>
                </c:pt>
                <c:pt idx="1096">
                  <c:v>40436</c:v>
                </c:pt>
                <c:pt idx="1097">
                  <c:v>40437</c:v>
                </c:pt>
                <c:pt idx="1098">
                  <c:v>40438</c:v>
                </c:pt>
                <c:pt idx="1099">
                  <c:v>40441</c:v>
                </c:pt>
                <c:pt idx="1100">
                  <c:v>40442</c:v>
                </c:pt>
                <c:pt idx="1101">
                  <c:v>40443</c:v>
                </c:pt>
                <c:pt idx="1102">
                  <c:v>40444</c:v>
                </c:pt>
                <c:pt idx="1103">
                  <c:v>40445</c:v>
                </c:pt>
                <c:pt idx="1104">
                  <c:v>40448</c:v>
                </c:pt>
                <c:pt idx="1105">
                  <c:v>40449</c:v>
                </c:pt>
                <c:pt idx="1106">
                  <c:v>40450</c:v>
                </c:pt>
                <c:pt idx="1107">
                  <c:v>40451</c:v>
                </c:pt>
                <c:pt idx="1108">
                  <c:v>40452</c:v>
                </c:pt>
                <c:pt idx="1109">
                  <c:v>40455</c:v>
                </c:pt>
                <c:pt idx="1110">
                  <c:v>40456</c:v>
                </c:pt>
                <c:pt idx="1111">
                  <c:v>40457</c:v>
                </c:pt>
                <c:pt idx="1112">
                  <c:v>40458</c:v>
                </c:pt>
                <c:pt idx="1113">
                  <c:v>40459</c:v>
                </c:pt>
                <c:pt idx="1114">
                  <c:v>40462</c:v>
                </c:pt>
                <c:pt idx="1115">
                  <c:v>40463</c:v>
                </c:pt>
                <c:pt idx="1116">
                  <c:v>40464</c:v>
                </c:pt>
                <c:pt idx="1117">
                  <c:v>40465</c:v>
                </c:pt>
                <c:pt idx="1118">
                  <c:v>40466</c:v>
                </c:pt>
                <c:pt idx="1119">
                  <c:v>40469</c:v>
                </c:pt>
                <c:pt idx="1120">
                  <c:v>40470</c:v>
                </c:pt>
                <c:pt idx="1121">
                  <c:v>40471</c:v>
                </c:pt>
                <c:pt idx="1122">
                  <c:v>40472</c:v>
                </c:pt>
                <c:pt idx="1123">
                  <c:v>40473</c:v>
                </c:pt>
                <c:pt idx="1124">
                  <c:v>40476</c:v>
                </c:pt>
                <c:pt idx="1125">
                  <c:v>40477</c:v>
                </c:pt>
                <c:pt idx="1126">
                  <c:v>40478</c:v>
                </c:pt>
                <c:pt idx="1127">
                  <c:v>40479</c:v>
                </c:pt>
                <c:pt idx="1128">
                  <c:v>40480</c:v>
                </c:pt>
                <c:pt idx="1129">
                  <c:v>40483</c:v>
                </c:pt>
                <c:pt idx="1130">
                  <c:v>40484</c:v>
                </c:pt>
                <c:pt idx="1131">
                  <c:v>40485</c:v>
                </c:pt>
                <c:pt idx="1132">
                  <c:v>40486</c:v>
                </c:pt>
                <c:pt idx="1133">
                  <c:v>40487</c:v>
                </c:pt>
                <c:pt idx="1134">
                  <c:v>40490</c:v>
                </c:pt>
                <c:pt idx="1135">
                  <c:v>40491</c:v>
                </c:pt>
                <c:pt idx="1136">
                  <c:v>40492</c:v>
                </c:pt>
                <c:pt idx="1137">
                  <c:v>40493</c:v>
                </c:pt>
                <c:pt idx="1138">
                  <c:v>40494</c:v>
                </c:pt>
                <c:pt idx="1139">
                  <c:v>40497</c:v>
                </c:pt>
                <c:pt idx="1140">
                  <c:v>40498</c:v>
                </c:pt>
                <c:pt idx="1141">
                  <c:v>40499</c:v>
                </c:pt>
                <c:pt idx="1142">
                  <c:v>40500</c:v>
                </c:pt>
                <c:pt idx="1143">
                  <c:v>40501</c:v>
                </c:pt>
                <c:pt idx="1144">
                  <c:v>40504</c:v>
                </c:pt>
                <c:pt idx="1145">
                  <c:v>40505</c:v>
                </c:pt>
                <c:pt idx="1146">
                  <c:v>40506</c:v>
                </c:pt>
                <c:pt idx="1147">
                  <c:v>40508</c:v>
                </c:pt>
                <c:pt idx="1148">
                  <c:v>40511</c:v>
                </c:pt>
                <c:pt idx="1149">
                  <c:v>40512</c:v>
                </c:pt>
                <c:pt idx="1150">
                  <c:v>40513</c:v>
                </c:pt>
                <c:pt idx="1151">
                  <c:v>40514</c:v>
                </c:pt>
                <c:pt idx="1152">
                  <c:v>40515</c:v>
                </c:pt>
                <c:pt idx="1153">
                  <c:v>40518</c:v>
                </c:pt>
                <c:pt idx="1154">
                  <c:v>40519</c:v>
                </c:pt>
                <c:pt idx="1155">
                  <c:v>40520</c:v>
                </c:pt>
                <c:pt idx="1156">
                  <c:v>40521</c:v>
                </c:pt>
                <c:pt idx="1157">
                  <c:v>40522</c:v>
                </c:pt>
                <c:pt idx="1158">
                  <c:v>40525</c:v>
                </c:pt>
                <c:pt idx="1159">
                  <c:v>40526</c:v>
                </c:pt>
                <c:pt idx="1160">
                  <c:v>40527</c:v>
                </c:pt>
                <c:pt idx="1161">
                  <c:v>40528</c:v>
                </c:pt>
                <c:pt idx="1162">
                  <c:v>40529</c:v>
                </c:pt>
                <c:pt idx="1163">
                  <c:v>40532</c:v>
                </c:pt>
                <c:pt idx="1164">
                  <c:v>40533</c:v>
                </c:pt>
                <c:pt idx="1165">
                  <c:v>40534</c:v>
                </c:pt>
                <c:pt idx="1166">
                  <c:v>40535</c:v>
                </c:pt>
                <c:pt idx="1167">
                  <c:v>40539</c:v>
                </c:pt>
                <c:pt idx="1168">
                  <c:v>40540</c:v>
                </c:pt>
                <c:pt idx="1169">
                  <c:v>40541</c:v>
                </c:pt>
                <c:pt idx="1170">
                  <c:v>40542</c:v>
                </c:pt>
                <c:pt idx="1171">
                  <c:v>40543</c:v>
                </c:pt>
                <c:pt idx="1172">
                  <c:v>40546</c:v>
                </c:pt>
                <c:pt idx="1173">
                  <c:v>40547</c:v>
                </c:pt>
                <c:pt idx="1174">
                  <c:v>40548</c:v>
                </c:pt>
                <c:pt idx="1175">
                  <c:v>40549</c:v>
                </c:pt>
                <c:pt idx="1176">
                  <c:v>40550</c:v>
                </c:pt>
                <c:pt idx="1177">
                  <c:v>40553</c:v>
                </c:pt>
                <c:pt idx="1178">
                  <c:v>40554</c:v>
                </c:pt>
                <c:pt idx="1179">
                  <c:v>40555</c:v>
                </c:pt>
                <c:pt idx="1180">
                  <c:v>40556</c:v>
                </c:pt>
                <c:pt idx="1181">
                  <c:v>40557</c:v>
                </c:pt>
                <c:pt idx="1182">
                  <c:v>40561</c:v>
                </c:pt>
                <c:pt idx="1183">
                  <c:v>40562</c:v>
                </c:pt>
                <c:pt idx="1184">
                  <c:v>40563</c:v>
                </c:pt>
                <c:pt idx="1185">
                  <c:v>40564</c:v>
                </c:pt>
                <c:pt idx="1186">
                  <c:v>40567</c:v>
                </c:pt>
                <c:pt idx="1187">
                  <c:v>40568</c:v>
                </c:pt>
                <c:pt idx="1188">
                  <c:v>40569</c:v>
                </c:pt>
                <c:pt idx="1189">
                  <c:v>40570</c:v>
                </c:pt>
                <c:pt idx="1190">
                  <c:v>40571</c:v>
                </c:pt>
                <c:pt idx="1191">
                  <c:v>40574</c:v>
                </c:pt>
                <c:pt idx="1192">
                  <c:v>40575</c:v>
                </c:pt>
                <c:pt idx="1193">
                  <c:v>40576</c:v>
                </c:pt>
                <c:pt idx="1194">
                  <c:v>40577</c:v>
                </c:pt>
                <c:pt idx="1195">
                  <c:v>40578</c:v>
                </c:pt>
                <c:pt idx="1196">
                  <c:v>40581</c:v>
                </c:pt>
                <c:pt idx="1197">
                  <c:v>40582</c:v>
                </c:pt>
                <c:pt idx="1198">
                  <c:v>40583</c:v>
                </c:pt>
                <c:pt idx="1199">
                  <c:v>40584</c:v>
                </c:pt>
                <c:pt idx="1200">
                  <c:v>40585</c:v>
                </c:pt>
                <c:pt idx="1201">
                  <c:v>40588</c:v>
                </c:pt>
                <c:pt idx="1202">
                  <c:v>40589</c:v>
                </c:pt>
                <c:pt idx="1203">
                  <c:v>40590</c:v>
                </c:pt>
                <c:pt idx="1204">
                  <c:v>40591</c:v>
                </c:pt>
                <c:pt idx="1205">
                  <c:v>40592</c:v>
                </c:pt>
                <c:pt idx="1206">
                  <c:v>40596</c:v>
                </c:pt>
                <c:pt idx="1207">
                  <c:v>40597</c:v>
                </c:pt>
                <c:pt idx="1208">
                  <c:v>40598</c:v>
                </c:pt>
                <c:pt idx="1209">
                  <c:v>40599</c:v>
                </c:pt>
                <c:pt idx="1210">
                  <c:v>40602</c:v>
                </c:pt>
                <c:pt idx="1211">
                  <c:v>40603</c:v>
                </c:pt>
                <c:pt idx="1212">
                  <c:v>40604</c:v>
                </c:pt>
                <c:pt idx="1213">
                  <c:v>40605</c:v>
                </c:pt>
                <c:pt idx="1214">
                  <c:v>40606</c:v>
                </c:pt>
                <c:pt idx="1215">
                  <c:v>40609</c:v>
                </c:pt>
                <c:pt idx="1216">
                  <c:v>40610</c:v>
                </c:pt>
                <c:pt idx="1217">
                  <c:v>40611</c:v>
                </c:pt>
                <c:pt idx="1218">
                  <c:v>40612</c:v>
                </c:pt>
                <c:pt idx="1219">
                  <c:v>40613</c:v>
                </c:pt>
                <c:pt idx="1220">
                  <c:v>40616</c:v>
                </c:pt>
                <c:pt idx="1221">
                  <c:v>40617</c:v>
                </c:pt>
                <c:pt idx="1222">
                  <c:v>40618</c:v>
                </c:pt>
                <c:pt idx="1223">
                  <c:v>40619</c:v>
                </c:pt>
                <c:pt idx="1224">
                  <c:v>40620</c:v>
                </c:pt>
                <c:pt idx="1225">
                  <c:v>40623</c:v>
                </c:pt>
                <c:pt idx="1226">
                  <c:v>40624</c:v>
                </c:pt>
                <c:pt idx="1227">
                  <c:v>40625</c:v>
                </c:pt>
                <c:pt idx="1228">
                  <c:v>40626</c:v>
                </c:pt>
                <c:pt idx="1229">
                  <c:v>40627</c:v>
                </c:pt>
                <c:pt idx="1230">
                  <c:v>40630</c:v>
                </c:pt>
                <c:pt idx="1231">
                  <c:v>40631</c:v>
                </c:pt>
                <c:pt idx="1232">
                  <c:v>40632</c:v>
                </c:pt>
                <c:pt idx="1233">
                  <c:v>40633</c:v>
                </c:pt>
                <c:pt idx="1234">
                  <c:v>40634</c:v>
                </c:pt>
                <c:pt idx="1235">
                  <c:v>40637</c:v>
                </c:pt>
                <c:pt idx="1236">
                  <c:v>40638</c:v>
                </c:pt>
                <c:pt idx="1237">
                  <c:v>40639</c:v>
                </c:pt>
                <c:pt idx="1238">
                  <c:v>40640</c:v>
                </c:pt>
                <c:pt idx="1239">
                  <c:v>40641</c:v>
                </c:pt>
                <c:pt idx="1240">
                  <c:v>40644</c:v>
                </c:pt>
                <c:pt idx="1241">
                  <c:v>40645</c:v>
                </c:pt>
                <c:pt idx="1242">
                  <c:v>40646</c:v>
                </c:pt>
                <c:pt idx="1243">
                  <c:v>40647</c:v>
                </c:pt>
                <c:pt idx="1244">
                  <c:v>40648</c:v>
                </c:pt>
                <c:pt idx="1245">
                  <c:v>40651</c:v>
                </c:pt>
                <c:pt idx="1246">
                  <c:v>40652</c:v>
                </c:pt>
                <c:pt idx="1247">
                  <c:v>40653</c:v>
                </c:pt>
                <c:pt idx="1248">
                  <c:v>40654</c:v>
                </c:pt>
                <c:pt idx="1249">
                  <c:v>40658</c:v>
                </c:pt>
                <c:pt idx="1250">
                  <c:v>40659</c:v>
                </c:pt>
                <c:pt idx="1251">
                  <c:v>40660</c:v>
                </c:pt>
                <c:pt idx="1252">
                  <c:v>40661</c:v>
                </c:pt>
                <c:pt idx="1253">
                  <c:v>40662</c:v>
                </c:pt>
                <c:pt idx="1254">
                  <c:v>40665</c:v>
                </c:pt>
                <c:pt idx="1255">
                  <c:v>40666</c:v>
                </c:pt>
                <c:pt idx="1256">
                  <c:v>40667</c:v>
                </c:pt>
                <c:pt idx="1257">
                  <c:v>40668</c:v>
                </c:pt>
                <c:pt idx="1258">
                  <c:v>40669</c:v>
                </c:pt>
                <c:pt idx="1259">
                  <c:v>40672</c:v>
                </c:pt>
                <c:pt idx="1260">
                  <c:v>40673</c:v>
                </c:pt>
                <c:pt idx="1261">
                  <c:v>40674</c:v>
                </c:pt>
                <c:pt idx="1262">
                  <c:v>40675</c:v>
                </c:pt>
                <c:pt idx="1263">
                  <c:v>40676</c:v>
                </c:pt>
                <c:pt idx="1264">
                  <c:v>40679</c:v>
                </c:pt>
                <c:pt idx="1265">
                  <c:v>40680</c:v>
                </c:pt>
                <c:pt idx="1266">
                  <c:v>40681</c:v>
                </c:pt>
                <c:pt idx="1267">
                  <c:v>40682</c:v>
                </c:pt>
                <c:pt idx="1268">
                  <c:v>40683</c:v>
                </c:pt>
                <c:pt idx="1269">
                  <c:v>40686</c:v>
                </c:pt>
                <c:pt idx="1270">
                  <c:v>40687</c:v>
                </c:pt>
                <c:pt idx="1271">
                  <c:v>40688</c:v>
                </c:pt>
                <c:pt idx="1272">
                  <c:v>40689</c:v>
                </c:pt>
                <c:pt idx="1273">
                  <c:v>40690</c:v>
                </c:pt>
                <c:pt idx="1274">
                  <c:v>40694</c:v>
                </c:pt>
                <c:pt idx="1275">
                  <c:v>40695</c:v>
                </c:pt>
                <c:pt idx="1276">
                  <c:v>40696</c:v>
                </c:pt>
                <c:pt idx="1277">
                  <c:v>40697</c:v>
                </c:pt>
                <c:pt idx="1278">
                  <c:v>40700</c:v>
                </c:pt>
                <c:pt idx="1279">
                  <c:v>40701</c:v>
                </c:pt>
                <c:pt idx="1280">
                  <c:v>40702</c:v>
                </c:pt>
                <c:pt idx="1281">
                  <c:v>40703</c:v>
                </c:pt>
                <c:pt idx="1282">
                  <c:v>40704</c:v>
                </c:pt>
                <c:pt idx="1283">
                  <c:v>40707</c:v>
                </c:pt>
                <c:pt idx="1284">
                  <c:v>40708</c:v>
                </c:pt>
                <c:pt idx="1285">
                  <c:v>40709</c:v>
                </c:pt>
                <c:pt idx="1286">
                  <c:v>40710</c:v>
                </c:pt>
                <c:pt idx="1287">
                  <c:v>40711</c:v>
                </c:pt>
                <c:pt idx="1288">
                  <c:v>40714</c:v>
                </c:pt>
                <c:pt idx="1289">
                  <c:v>40715</c:v>
                </c:pt>
                <c:pt idx="1290">
                  <c:v>40716</c:v>
                </c:pt>
                <c:pt idx="1291">
                  <c:v>40717</c:v>
                </c:pt>
                <c:pt idx="1292">
                  <c:v>40718</c:v>
                </c:pt>
                <c:pt idx="1293">
                  <c:v>40721</c:v>
                </c:pt>
                <c:pt idx="1294">
                  <c:v>40722</c:v>
                </c:pt>
                <c:pt idx="1295">
                  <c:v>40723</c:v>
                </c:pt>
                <c:pt idx="1296">
                  <c:v>40724</c:v>
                </c:pt>
                <c:pt idx="1297">
                  <c:v>40725</c:v>
                </c:pt>
                <c:pt idx="1298">
                  <c:v>40729</c:v>
                </c:pt>
                <c:pt idx="1299">
                  <c:v>40730</c:v>
                </c:pt>
                <c:pt idx="1300">
                  <c:v>40731</c:v>
                </c:pt>
                <c:pt idx="1301">
                  <c:v>40732</c:v>
                </c:pt>
                <c:pt idx="1302">
                  <c:v>40735</c:v>
                </c:pt>
                <c:pt idx="1303">
                  <c:v>40736</c:v>
                </c:pt>
                <c:pt idx="1304">
                  <c:v>40737</c:v>
                </c:pt>
                <c:pt idx="1305">
                  <c:v>40738</c:v>
                </c:pt>
                <c:pt idx="1306">
                  <c:v>40739</c:v>
                </c:pt>
                <c:pt idx="1307">
                  <c:v>40742</c:v>
                </c:pt>
                <c:pt idx="1308">
                  <c:v>40743</c:v>
                </c:pt>
                <c:pt idx="1309">
                  <c:v>40744</c:v>
                </c:pt>
                <c:pt idx="1310">
                  <c:v>40745</c:v>
                </c:pt>
                <c:pt idx="1311">
                  <c:v>40746</c:v>
                </c:pt>
                <c:pt idx="1312">
                  <c:v>40749</c:v>
                </c:pt>
                <c:pt idx="1313">
                  <c:v>40750</c:v>
                </c:pt>
                <c:pt idx="1314">
                  <c:v>40751</c:v>
                </c:pt>
                <c:pt idx="1315">
                  <c:v>40752</c:v>
                </c:pt>
                <c:pt idx="1316">
                  <c:v>40753</c:v>
                </c:pt>
                <c:pt idx="1317">
                  <c:v>40756</c:v>
                </c:pt>
                <c:pt idx="1318">
                  <c:v>40757</c:v>
                </c:pt>
                <c:pt idx="1319">
                  <c:v>40758</c:v>
                </c:pt>
                <c:pt idx="1320">
                  <c:v>40759</c:v>
                </c:pt>
                <c:pt idx="1321">
                  <c:v>40760</c:v>
                </c:pt>
                <c:pt idx="1322">
                  <c:v>40763</c:v>
                </c:pt>
                <c:pt idx="1323">
                  <c:v>40764</c:v>
                </c:pt>
                <c:pt idx="1324">
                  <c:v>40765</c:v>
                </c:pt>
                <c:pt idx="1325">
                  <c:v>40766</c:v>
                </c:pt>
                <c:pt idx="1326">
                  <c:v>40767</c:v>
                </c:pt>
                <c:pt idx="1327">
                  <c:v>40770</c:v>
                </c:pt>
                <c:pt idx="1328">
                  <c:v>40771</c:v>
                </c:pt>
                <c:pt idx="1329">
                  <c:v>40772</c:v>
                </c:pt>
                <c:pt idx="1330">
                  <c:v>40773</c:v>
                </c:pt>
                <c:pt idx="1331">
                  <c:v>40774</c:v>
                </c:pt>
                <c:pt idx="1332">
                  <c:v>40777</c:v>
                </c:pt>
                <c:pt idx="1333">
                  <c:v>40778</c:v>
                </c:pt>
                <c:pt idx="1334">
                  <c:v>40779</c:v>
                </c:pt>
                <c:pt idx="1335">
                  <c:v>40780</c:v>
                </c:pt>
                <c:pt idx="1336">
                  <c:v>40781</c:v>
                </c:pt>
                <c:pt idx="1337">
                  <c:v>40784</c:v>
                </c:pt>
                <c:pt idx="1338">
                  <c:v>40785</c:v>
                </c:pt>
                <c:pt idx="1339">
                  <c:v>40786</c:v>
                </c:pt>
                <c:pt idx="1340">
                  <c:v>40787</c:v>
                </c:pt>
                <c:pt idx="1341">
                  <c:v>40788</c:v>
                </c:pt>
                <c:pt idx="1342">
                  <c:v>40792</c:v>
                </c:pt>
                <c:pt idx="1343">
                  <c:v>40793</c:v>
                </c:pt>
                <c:pt idx="1344">
                  <c:v>40794</c:v>
                </c:pt>
                <c:pt idx="1345">
                  <c:v>40795</c:v>
                </c:pt>
                <c:pt idx="1346">
                  <c:v>40798</c:v>
                </c:pt>
                <c:pt idx="1347">
                  <c:v>40799</c:v>
                </c:pt>
                <c:pt idx="1348">
                  <c:v>40800</c:v>
                </c:pt>
                <c:pt idx="1349">
                  <c:v>40801</c:v>
                </c:pt>
                <c:pt idx="1350">
                  <c:v>40802</c:v>
                </c:pt>
                <c:pt idx="1351">
                  <c:v>40805</c:v>
                </c:pt>
                <c:pt idx="1352">
                  <c:v>40806</c:v>
                </c:pt>
                <c:pt idx="1353">
                  <c:v>40807</c:v>
                </c:pt>
                <c:pt idx="1354">
                  <c:v>40808</c:v>
                </c:pt>
                <c:pt idx="1355">
                  <c:v>40809</c:v>
                </c:pt>
                <c:pt idx="1356">
                  <c:v>40812</c:v>
                </c:pt>
                <c:pt idx="1357">
                  <c:v>40813</c:v>
                </c:pt>
                <c:pt idx="1358">
                  <c:v>40814</c:v>
                </c:pt>
                <c:pt idx="1359">
                  <c:v>40815</c:v>
                </c:pt>
                <c:pt idx="1360">
                  <c:v>40816</c:v>
                </c:pt>
                <c:pt idx="1361">
                  <c:v>40819</c:v>
                </c:pt>
                <c:pt idx="1362">
                  <c:v>40820</c:v>
                </c:pt>
                <c:pt idx="1363">
                  <c:v>40821</c:v>
                </c:pt>
                <c:pt idx="1364">
                  <c:v>40822</c:v>
                </c:pt>
                <c:pt idx="1365">
                  <c:v>40823</c:v>
                </c:pt>
                <c:pt idx="1366">
                  <c:v>40826</c:v>
                </c:pt>
                <c:pt idx="1367">
                  <c:v>40827</c:v>
                </c:pt>
                <c:pt idx="1368">
                  <c:v>40828</c:v>
                </c:pt>
                <c:pt idx="1369">
                  <c:v>40829</c:v>
                </c:pt>
                <c:pt idx="1370">
                  <c:v>40830</c:v>
                </c:pt>
                <c:pt idx="1371">
                  <c:v>40833</c:v>
                </c:pt>
                <c:pt idx="1372">
                  <c:v>40834</c:v>
                </c:pt>
                <c:pt idx="1373">
                  <c:v>40835</c:v>
                </c:pt>
                <c:pt idx="1374">
                  <c:v>40836</c:v>
                </c:pt>
                <c:pt idx="1375">
                  <c:v>40837</c:v>
                </c:pt>
                <c:pt idx="1376">
                  <c:v>40840</c:v>
                </c:pt>
                <c:pt idx="1377">
                  <c:v>40841</c:v>
                </c:pt>
                <c:pt idx="1378">
                  <c:v>40842</c:v>
                </c:pt>
                <c:pt idx="1379">
                  <c:v>40843</c:v>
                </c:pt>
                <c:pt idx="1380">
                  <c:v>40844</c:v>
                </c:pt>
                <c:pt idx="1381">
                  <c:v>40847</c:v>
                </c:pt>
                <c:pt idx="1382">
                  <c:v>40848</c:v>
                </c:pt>
                <c:pt idx="1383">
                  <c:v>40849</c:v>
                </c:pt>
                <c:pt idx="1384">
                  <c:v>40850</c:v>
                </c:pt>
                <c:pt idx="1385">
                  <c:v>40851</c:v>
                </c:pt>
                <c:pt idx="1386">
                  <c:v>40854</c:v>
                </c:pt>
                <c:pt idx="1387">
                  <c:v>40855</c:v>
                </c:pt>
                <c:pt idx="1388">
                  <c:v>40856</c:v>
                </c:pt>
                <c:pt idx="1389">
                  <c:v>40857</c:v>
                </c:pt>
                <c:pt idx="1390">
                  <c:v>40858</c:v>
                </c:pt>
                <c:pt idx="1391">
                  <c:v>40861</c:v>
                </c:pt>
                <c:pt idx="1392">
                  <c:v>40862</c:v>
                </c:pt>
                <c:pt idx="1393">
                  <c:v>40863</c:v>
                </c:pt>
                <c:pt idx="1394">
                  <c:v>40864</c:v>
                </c:pt>
                <c:pt idx="1395">
                  <c:v>40865</c:v>
                </c:pt>
                <c:pt idx="1396">
                  <c:v>40868</c:v>
                </c:pt>
                <c:pt idx="1397">
                  <c:v>40869</c:v>
                </c:pt>
                <c:pt idx="1398">
                  <c:v>40870</c:v>
                </c:pt>
                <c:pt idx="1399">
                  <c:v>40872</c:v>
                </c:pt>
                <c:pt idx="1400">
                  <c:v>40875</c:v>
                </c:pt>
                <c:pt idx="1401">
                  <c:v>40876</c:v>
                </c:pt>
                <c:pt idx="1402">
                  <c:v>40877</c:v>
                </c:pt>
                <c:pt idx="1403">
                  <c:v>40878</c:v>
                </c:pt>
                <c:pt idx="1404">
                  <c:v>40879</c:v>
                </c:pt>
                <c:pt idx="1405">
                  <c:v>40882</c:v>
                </c:pt>
                <c:pt idx="1406">
                  <c:v>40883</c:v>
                </c:pt>
                <c:pt idx="1407">
                  <c:v>40884</c:v>
                </c:pt>
                <c:pt idx="1408">
                  <c:v>40885</c:v>
                </c:pt>
                <c:pt idx="1409">
                  <c:v>40886</c:v>
                </c:pt>
                <c:pt idx="1410">
                  <c:v>40889</c:v>
                </c:pt>
                <c:pt idx="1411">
                  <c:v>40890</c:v>
                </c:pt>
                <c:pt idx="1412">
                  <c:v>40891</c:v>
                </c:pt>
                <c:pt idx="1413">
                  <c:v>40892</c:v>
                </c:pt>
                <c:pt idx="1414">
                  <c:v>40893</c:v>
                </c:pt>
                <c:pt idx="1415">
                  <c:v>40896</c:v>
                </c:pt>
                <c:pt idx="1416">
                  <c:v>40897</c:v>
                </c:pt>
                <c:pt idx="1417">
                  <c:v>40898</c:v>
                </c:pt>
                <c:pt idx="1418">
                  <c:v>40899</c:v>
                </c:pt>
                <c:pt idx="1419">
                  <c:v>40900</c:v>
                </c:pt>
                <c:pt idx="1420">
                  <c:v>40904</c:v>
                </c:pt>
                <c:pt idx="1421">
                  <c:v>40905</c:v>
                </c:pt>
                <c:pt idx="1422">
                  <c:v>40906</c:v>
                </c:pt>
                <c:pt idx="1423">
                  <c:v>40907</c:v>
                </c:pt>
                <c:pt idx="1424">
                  <c:v>40911</c:v>
                </c:pt>
                <c:pt idx="1425">
                  <c:v>40912</c:v>
                </c:pt>
                <c:pt idx="1426">
                  <c:v>40913</c:v>
                </c:pt>
                <c:pt idx="1427">
                  <c:v>40914</c:v>
                </c:pt>
                <c:pt idx="1428">
                  <c:v>40917</c:v>
                </c:pt>
                <c:pt idx="1429">
                  <c:v>40918</c:v>
                </c:pt>
                <c:pt idx="1430">
                  <c:v>40919</c:v>
                </c:pt>
                <c:pt idx="1431">
                  <c:v>40920</c:v>
                </c:pt>
                <c:pt idx="1432">
                  <c:v>40921</c:v>
                </c:pt>
                <c:pt idx="1433">
                  <c:v>40925</c:v>
                </c:pt>
                <c:pt idx="1434">
                  <c:v>40926</c:v>
                </c:pt>
                <c:pt idx="1435">
                  <c:v>40927</c:v>
                </c:pt>
                <c:pt idx="1436">
                  <c:v>40928</c:v>
                </c:pt>
                <c:pt idx="1437">
                  <c:v>40931</c:v>
                </c:pt>
                <c:pt idx="1438">
                  <c:v>40932</c:v>
                </c:pt>
                <c:pt idx="1439">
                  <c:v>40933</c:v>
                </c:pt>
                <c:pt idx="1440">
                  <c:v>40934</c:v>
                </c:pt>
                <c:pt idx="1441">
                  <c:v>40935</c:v>
                </c:pt>
                <c:pt idx="1442">
                  <c:v>40938</c:v>
                </c:pt>
                <c:pt idx="1443">
                  <c:v>40939</c:v>
                </c:pt>
                <c:pt idx="1444">
                  <c:v>40940</c:v>
                </c:pt>
                <c:pt idx="1445">
                  <c:v>40941</c:v>
                </c:pt>
                <c:pt idx="1446">
                  <c:v>40942</c:v>
                </c:pt>
                <c:pt idx="1447">
                  <c:v>40945</c:v>
                </c:pt>
                <c:pt idx="1448">
                  <c:v>40946</c:v>
                </c:pt>
                <c:pt idx="1449">
                  <c:v>40947</c:v>
                </c:pt>
                <c:pt idx="1450">
                  <c:v>40948</c:v>
                </c:pt>
                <c:pt idx="1451">
                  <c:v>40949</c:v>
                </c:pt>
                <c:pt idx="1452">
                  <c:v>40952</c:v>
                </c:pt>
                <c:pt idx="1453">
                  <c:v>40953</c:v>
                </c:pt>
                <c:pt idx="1454">
                  <c:v>40954</c:v>
                </c:pt>
                <c:pt idx="1455">
                  <c:v>40955</c:v>
                </c:pt>
                <c:pt idx="1456">
                  <c:v>40956</c:v>
                </c:pt>
                <c:pt idx="1457">
                  <c:v>40960</c:v>
                </c:pt>
                <c:pt idx="1458">
                  <c:v>40961</c:v>
                </c:pt>
                <c:pt idx="1459">
                  <c:v>40962</c:v>
                </c:pt>
                <c:pt idx="1460">
                  <c:v>40963</c:v>
                </c:pt>
                <c:pt idx="1461">
                  <c:v>40966</c:v>
                </c:pt>
                <c:pt idx="1462">
                  <c:v>40967</c:v>
                </c:pt>
                <c:pt idx="1463">
                  <c:v>40968</c:v>
                </c:pt>
                <c:pt idx="1464">
                  <c:v>40969</c:v>
                </c:pt>
                <c:pt idx="1465">
                  <c:v>40970</c:v>
                </c:pt>
                <c:pt idx="1466">
                  <c:v>40973</c:v>
                </c:pt>
                <c:pt idx="1467">
                  <c:v>40974</c:v>
                </c:pt>
                <c:pt idx="1468">
                  <c:v>40975</c:v>
                </c:pt>
                <c:pt idx="1469">
                  <c:v>40976</c:v>
                </c:pt>
                <c:pt idx="1470">
                  <c:v>40977</c:v>
                </c:pt>
                <c:pt idx="1471">
                  <c:v>40980</c:v>
                </c:pt>
                <c:pt idx="1472">
                  <c:v>40981</c:v>
                </c:pt>
                <c:pt idx="1473">
                  <c:v>40982</c:v>
                </c:pt>
                <c:pt idx="1474">
                  <c:v>40983</c:v>
                </c:pt>
                <c:pt idx="1475">
                  <c:v>40984</c:v>
                </c:pt>
                <c:pt idx="1476">
                  <c:v>40987</c:v>
                </c:pt>
                <c:pt idx="1477">
                  <c:v>40988</c:v>
                </c:pt>
                <c:pt idx="1478">
                  <c:v>40989</c:v>
                </c:pt>
                <c:pt idx="1479">
                  <c:v>40990</c:v>
                </c:pt>
                <c:pt idx="1480">
                  <c:v>40991</c:v>
                </c:pt>
                <c:pt idx="1481">
                  <c:v>40994</c:v>
                </c:pt>
                <c:pt idx="1482">
                  <c:v>40995</c:v>
                </c:pt>
                <c:pt idx="1483">
                  <c:v>40996</c:v>
                </c:pt>
                <c:pt idx="1484">
                  <c:v>40997</c:v>
                </c:pt>
                <c:pt idx="1485">
                  <c:v>40998</c:v>
                </c:pt>
                <c:pt idx="1486">
                  <c:v>41001</c:v>
                </c:pt>
                <c:pt idx="1487">
                  <c:v>41002</c:v>
                </c:pt>
                <c:pt idx="1488">
                  <c:v>41003</c:v>
                </c:pt>
                <c:pt idx="1489">
                  <c:v>41004</c:v>
                </c:pt>
                <c:pt idx="1490">
                  <c:v>41008</c:v>
                </c:pt>
                <c:pt idx="1491">
                  <c:v>41009</c:v>
                </c:pt>
                <c:pt idx="1492">
                  <c:v>41010</c:v>
                </c:pt>
                <c:pt idx="1493">
                  <c:v>41011</c:v>
                </c:pt>
                <c:pt idx="1494">
                  <c:v>41012</c:v>
                </c:pt>
                <c:pt idx="1495">
                  <c:v>41015</c:v>
                </c:pt>
                <c:pt idx="1496">
                  <c:v>41016</c:v>
                </c:pt>
                <c:pt idx="1497">
                  <c:v>41017</c:v>
                </c:pt>
                <c:pt idx="1498">
                  <c:v>41018</c:v>
                </c:pt>
                <c:pt idx="1499">
                  <c:v>41019</c:v>
                </c:pt>
                <c:pt idx="1500">
                  <c:v>41022</c:v>
                </c:pt>
                <c:pt idx="1501">
                  <c:v>41023</c:v>
                </c:pt>
                <c:pt idx="1502">
                  <c:v>41024</c:v>
                </c:pt>
                <c:pt idx="1503">
                  <c:v>41025</c:v>
                </c:pt>
                <c:pt idx="1504">
                  <c:v>41026</c:v>
                </c:pt>
                <c:pt idx="1505">
                  <c:v>41029</c:v>
                </c:pt>
                <c:pt idx="1506">
                  <c:v>41030</c:v>
                </c:pt>
                <c:pt idx="1507">
                  <c:v>41031</c:v>
                </c:pt>
                <c:pt idx="1508">
                  <c:v>41032</c:v>
                </c:pt>
                <c:pt idx="1509">
                  <c:v>41033</c:v>
                </c:pt>
                <c:pt idx="1510">
                  <c:v>41036</c:v>
                </c:pt>
                <c:pt idx="1511">
                  <c:v>41037</c:v>
                </c:pt>
                <c:pt idx="1512">
                  <c:v>41038</c:v>
                </c:pt>
                <c:pt idx="1513">
                  <c:v>41039</c:v>
                </c:pt>
                <c:pt idx="1514">
                  <c:v>41040</c:v>
                </c:pt>
                <c:pt idx="1515">
                  <c:v>41043</c:v>
                </c:pt>
                <c:pt idx="1516">
                  <c:v>41044</c:v>
                </c:pt>
                <c:pt idx="1517">
                  <c:v>41045</c:v>
                </c:pt>
                <c:pt idx="1518">
                  <c:v>41046</c:v>
                </c:pt>
                <c:pt idx="1519">
                  <c:v>41047</c:v>
                </c:pt>
                <c:pt idx="1520">
                  <c:v>41050</c:v>
                </c:pt>
                <c:pt idx="1521">
                  <c:v>41051</c:v>
                </c:pt>
                <c:pt idx="1522">
                  <c:v>41052</c:v>
                </c:pt>
                <c:pt idx="1523">
                  <c:v>41053</c:v>
                </c:pt>
                <c:pt idx="1524">
                  <c:v>41054</c:v>
                </c:pt>
                <c:pt idx="1525">
                  <c:v>41058</c:v>
                </c:pt>
                <c:pt idx="1526">
                  <c:v>41059</c:v>
                </c:pt>
                <c:pt idx="1527">
                  <c:v>41060</c:v>
                </c:pt>
                <c:pt idx="1528">
                  <c:v>41061</c:v>
                </c:pt>
                <c:pt idx="1529">
                  <c:v>41064</c:v>
                </c:pt>
                <c:pt idx="1530">
                  <c:v>41065</c:v>
                </c:pt>
                <c:pt idx="1531">
                  <c:v>41066</c:v>
                </c:pt>
                <c:pt idx="1532">
                  <c:v>41067</c:v>
                </c:pt>
                <c:pt idx="1533">
                  <c:v>41068</c:v>
                </c:pt>
                <c:pt idx="1534">
                  <c:v>41071</c:v>
                </c:pt>
                <c:pt idx="1535">
                  <c:v>41072</c:v>
                </c:pt>
                <c:pt idx="1536">
                  <c:v>41073</c:v>
                </c:pt>
                <c:pt idx="1537">
                  <c:v>41074</c:v>
                </c:pt>
                <c:pt idx="1538">
                  <c:v>41075</c:v>
                </c:pt>
                <c:pt idx="1539">
                  <c:v>41078</c:v>
                </c:pt>
                <c:pt idx="1540">
                  <c:v>41079</c:v>
                </c:pt>
                <c:pt idx="1541">
                  <c:v>41080</c:v>
                </c:pt>
                <c:pt idx="1542">
                  <c:v>41081</c:v>
                </c:pt>
                <c:pt idx="1543">
                  <c:v>41082</c:v>
                </c:pt>
                <c:pt idx="1544">
                  <c:v>41085</c:v>
                </c:pt>
                <c:pt idx="1545">
                  <c:v>41086</c:v>
                </c:pt>
                <c:pt idx="1546">
                  <c:v>41087</c:v>
                </c:pt>
                <c:pt idx="1547">
                  <c:v>41088</c:v>
                </c:pt>
                <c:pt idx="1548">
                  <c:v>41089</c:v>
                </c:pt>
                <c:pt idx="1549">
                  <c:v>41092</c:v>
                </c:pt>
                <c:pt idx="1550">
                  <c:v>41093</c:v>
                </c:pt>
                <c:pt idx="1551">
                  <c:v>41095</c:v>
                </c:pt>
                <c:pt idx="1552">
                  <c:v>41096</c:v>
                </c:pt>
                <c:pt idx="1553">
                  <c:v>41099</c:v>
                </c:pt>
                <c:pt idx="1554">
                  <c:v>41100</c:v>
                </c:pt>
                <c:pt idx="1555">
                  <c:v>41101</c:v>
                </c:pt>
                <c:pt idx="1556">
                  <c:v>41102</c:v>
                </c:pt>
                <c:pt idx="1557">
                  <c:v>41103</c:v>
                </c:pt>
                <c:pt idx="1558">
                  <c:v>41106</c:v>
                </c:pt>
                <c:pt idx="1559">
                  <c:v>41107</c:v>
                </c:pt>
                <c:pt idx="1560">
                  <c:v>41108</c:v>
                </c:pt>
                <c:pt idx="1561">
                  <c:v>41109</c:v>
                </c:pt>
                <c:pt idx="1562">
                  <c:v>41110</c:v>
                </c:pt>
                <c:pt idx="1563">
                  <c:v>41113</c:v>
                </c:pt>
                <c:pt idx="1564">
                  <c:v>41114</c:v>
                </c:pt>
                <c:pt idx="1565">
                  <c:v>41115</c:v>
                </c:pt>
                <c:pt idx="1566">
                  <c:v>41116</c:v>
                </c:pt>
                <c:pt idx="1567">
                  <c:v>41117</c:v>
                </c:pt>
                <c:pt idx="1568">
                  <c:v>41120</c:v>
                </c:pt>
                <c:pt idx="1569">
                  <c:v>41121</c:v>
                </c:pt>
                <c:pt idx="1570">
                  <c:v>41122</c:v>
                </c:pt>
                <c:pt idx="1571">
                  <c:v>41123</c:v>
                </c:pt>
                <c:pt idx="1572">
                  <c:v>41124</c:v>
                </c:pt>
                <c:pt idx="1573">
                  <c:v>41127</c:v>
                </c:pt>
                <c:pt idx="1574">
                  <c:v>41128</c:v>
                </c:pt>
                <c:pt idx="1575">
                  <c:v>41129</c:v>
                </c:pt>
                <c:pt idx="1576">
                  <c:v>41130</c:v>
                </c:pt>
                <c:pt idx="1577">
                  <c:v>41131</c:v>
                </c:pt>
                <c:pt idx="1578">
                  <c:v>41134</c:v>
                </c:pt>
                <c:pt idx="1579">
                  <c:v>41135</c:v>
                </c:pt>
                <c:pt idx="1580">
                  <c:v>41136</c:v>
                </c:pt>
                <c:pt idx="1581">
                  <c:v>41137</c:v>
                </c:pt>
                <c:pt idx="1582">
                  <c:v>41138</c:v>
                </c:pt>
                <c:pt idx="1583">
                  <c:v>41141</c:v>
                </c:pt>
                <c:pt idx="1584">
                  <c:v>41142</c:v>
                </c:pt>
                <c:pt idx="1585">
                  <c:v>41143</c:v>
                </c:pt>
                <c:pt idx="1586">
                  <c:v>41144</c:v>
                </c:pt>
                <c:pt idx="1587">
                  <c:v>41145</c:v>
                </c:pt>
                <c:pt idx="1588">
                  <c:v>41148</c:v>
                </c:pt>
                <c:pt idx="1589">
                  <c:v>41149</c:v>
                </c:pt>
                <c:pt idx="1590">
                  <c:v>41150</c:v>
                </c:pt>
                <c:pt idx="1591">
                  <c:v>41151</c:v>
                </c:pt>
                <c:pt idx="1592">
                  <c:v>41152</c:v>
                </c:pt>
                <c:pt idx="1593">
                  <c:v>41156</c:v>
                </c:pt>
                <c:pt idx="1594">
                  <c:v>41157</c:v>
                </c:pt>
                <c:pt idx="1595">
                  <c:v>41158</c:v>
                </c:pt>
                <c:pt idx="1596">
                  <c:v>41159</c:v>
                </c:pt>
                <c:pt idx="1597">
                  <c:v>41162</c:v>
                </c:pt>
                <c:pt idx="1598">
                  <c:v>41163</c:v>
                </c:pt>
                <c:pt idx="1599">
                  <c:v>41164</c:v>
                </c:pt>
                <c:pt idx="1600">
                  <c:v>41165</c:v>
                </c:pt>
                <c:pt idx="1601">
                  <c:v>41166</c:v>
                </c:pt>
                <c:pt idx="1602">
                  <c:v>41169</c:v>
                </c:pt>
                <c:pt idx="1603">
                  <c:v>41170</c:v>
                </c:pt>
                <c:pt idx="1604">
                  <c:v>41171</c:v>
                </c:pt>
                <c:pt idx="1605">
                  <c:v>41172</c:v>
                </c:pt>
                <c:pt idx="1606">
                  <c:v>41173</c:v>
                </c:pt>
                <c:pt idx="1607">
                  <c:v>41176</c:v>
                </c:pt>
                <c:pt idx="1608">
                  <c:v>41177</c:v>
                </c:pt>
                <c:pt idx="1609">
                  <c:v>41178</c:v>
                </c:pt>
                <c:pt idx="1610">
                  <c:v>41179</c:v>
                </c:pt>
                <c:pt idx="1611">
                  <c:v>41180</c:v>
                </c:pt>
                <c:pt idx="1612">
                  <c:v>41183</c:v>
                </c:pt>
                <c:pt idx="1613">
                  <c:v>41184</c:v>
                </c:pt>
                <c:pt idx="1614">
                  <c:v>41185</c:v>
                </c:pt>
                <c:pt idx="1615">
                  <c:v>41186</c:v>
                </c:pt>
                <c:pt idx="1616">
                  <c:v>41187</c:v>
                </c:pt>
                <c:pt idx="1617">
                  <c:v>41190</c:v>
                </c:pt>
                <c:pt idx="1618">
                  <c:v>41191</c:v>
                </c:pt>
                <c:pt idx="1619">
                  <c:v>41192</c:v>
                </c:pt>
                <c:pt idx="1620">
                  <c:v>41193</c:v>
                </c:pt>
                <c:pt idx="1621">
                  <c:v>41194</c:v>
                </c:pt>
                <c:pt idx="1622">
                  <c:v>41197</c:v>
                </c:pt>
                <c:pt idx="1623">
                  <c:v>41198</c:v>
                </c:pt>
                <c:pt idx="1624">
                  <c:v>41199</c:v>
                </c:pt>
                <c:pt idx="1625">
                  <c:v>41200</c:v>
                </c:pt>
                <c:pt idx="1626">
                  <c:v>41201</c:v>
                </c:pt>
                <c:pt idx="1627">
                  <c:v>41204</c:v>
                </c:pt>
                <c:pt idx="1628">
                  <c:v>41205</c:v>
                </c:pt>
                <c:pt idx="1629">
                  <c:v>41206</c:v>
                </c:pt>
                <c:pt idx="1630">
                  <c:v>41207</c:v>
                </c:pt>
                <c:pt idx="1631">
                  <c:v>41208</c:v>
                </c:pt>
                <c:pt idx="1632">
                  <c:v>41213</c:v>
                </c:pt>
                <c:pt idx="1633">
                  <c:v>41214</c:v>
                </c:pt>
                <c:pt idx="1634">
                  <c:v>41215</c:v>
                </c:pt>
                <c:pt idx="1635">
                  <c:v>41218</c:v>
                </c:pt>
                <c:pt idx="1636">
                  <c:v>41219</c:v>
                </c:pt>
                <c:pt idx="1637">
                  <c:v>41220</c:v>
                </c:pt>
                <c:pt idx="1638">
                  <c:v>41221</c:v>
                </c:pt>
                <c:pt idx="1639">
                  <c:v>41222</c:v>
                </c:pt>
                <c:pt idx="1640">
                  <c:v>41225</c:v>
                </c:pt>
                <c:pt idx="1641">
                  <c:v>41226</c:v>
                </c:pt>
                <c:pt idx="1642">
                  <c:v>41227</c:v>
                </c:pt>
                <c:pt idx="1643">
                  <c:v>41228</c:v>
                </c:pt>
                <c:pt idx="1644">
                  <c:v>41229</c:v>
                </c:pt>
                <c:pt idx="1645">
                  <c:v>41232</c:v>
                </c:pt>
                <c:pt idx="1646">
                  <c:v>41233</c:v>
                </c:pt>
                <c:pt idx="1647">
                  <c:v>41234</c:v>
                </c:pt>
                <c:pt idx="1648">
                  <c:v>41236</c:v>
                </c:pt>
                <c:pt idx="1649">
                  <c:v>41239</c:v>
                </c:pt>
                <c:pt idx="1650">
                  <c:v>41240</c:v>
                </c:pt>
                <c:pt idx="1651">
                  <c:v>41241</c:v>
                </c:pt>
                <c:pt idx="1652">
                  <c:v>41242</c:v>
                </c:pt>
                <c:pt idx="1653">
                  <c:v>41243</c:v>
                </c:pt>
                <c:pt idx="1654">
                  <c:v>41246</c:v>
                </c:pt>
                <c:pt idx="1655">
                  <c:v>41247</c:v>
                </c:pt>
                <c:pt idx="1656">
                  <c:v>41248</c:v>
                </c:pt>
                <c:pt idx="1657">
                  <c:v>41249</c:v>
                </c:pt>
                <c:pt idx="1658">
                  <c:v>41250</c:v>
                </c:pt>
                <c:pt idx="1659">
                  <c:v>41253</c:v>
                </c:pt>
                <c:pt idx="1660">
                  <c:v>41254</c:v>
                </c:pt>
                <c:pt idx="1661">
                  <c:v>41255</c:v>
                </c:pt>
                <c:pt idx="1662">
                  <c:v>41256</c:v>
                </c:pt>
                <c:pt idx="1663">
                  <c:v>41257</c:v>
                </c:pt>
                <c:pt idx="1664">
                  <c:v>41260</c:v>
                </c:pt>
                <c:pt idx="1665">
                  <c:v>41261</c:v>
                </c:pt>
                <c:pt idx="1666">
                  <c:v>41262</c:v>
                </c:pt>
                <c:pt idx="1667">
                  <c:v>41263</c:v>
                </c:pt>
                <c:pt idx="1668">
                  <c:v>41264</c:v>
                </c:pt>
                <c:pt idx="1669">
                  <c:v>41267</c:v>
                </c:pt>
                <c:pt idx="1670">
                  <c:v>41269</c:v>
                </c:pt>
                <c:pt idx="1671">
                  <c:v>41270</c:v>
                </c:pt>
                <c:pt idx="1672">
                  <c:v>41271</c:v>
                </c:pt>
                <c:pt idx="1673">
                  <c:v>41274</c:v>
                </c:pt>
                <c:pt idx="1674">
                  <c:v>41276</c:v>
                </c:pt>
                <c:pt idx="1675">
                  <c:v>41277</c:v>
                </c:pt>
                <c:pt idx="1676">
                  <c:v>41278</c:v>
                </c:pt>
                <c:pt idx="1677">
                  <c:v>41281</c:v>
                </c:pt>
                <c:pt idx="1678">
                  <c:v>41282</c:v>
                </c:pt>
                <c:pt idx="1679">
                  <c:v>41283</c:v>
                </c:pt>
                <c:pt idx="1680">
                  <c:v>41284</c:v>
                </c:pt>
                <c:pt idx="1681">
                  <c:v>41285</c:v>
                </c:pt>
                <c:pt idx="1682">
                  <c:v>41288</c:v>
                </c:pt>
                <c:pt idx="1683">
                  <c:v>41289</c:v>
                </c:pt>
                <c:pt idx="1684">
                  <c:v>41290</c:v>
                </c:pt>
                <c:pt idx="1685">
                  <c:v>41291</c:v>
                </c:pt>
                <c:pt idx="1686">
                  <c:v>41292</c:v>
                </c:pt>
                <c:pt idx="1687">
                  <c:v>41296</c:v>
                </c:pt>
                <c:pt idx="1688">
                  <c:v>41297</c:v>
                </c:pt>
                <c:pt idx="1689">
                  <c:v>41298</c:v>
                </c:pt>
                <c:pt idx="1690">
                  <c:v>41299</c:v>
                </c:pt>
                <c:pt idx="1691">
                  <c:v>41302</c:v>
                </c:pt>
                <c:pt idx="1692">
                  <c:v>41303</c:v>
                </c:pt>
                <c:pt idx="1693">
                  <c:v>41304</c:v>
                </c:pt>
                <c:pt idx="1694">
                  <c:v>41305</c:v>
                </c:pt>
                <c:pt idx="1695">
                  <c:v>41306</c:v>
                </c:pt>
                <c:pt idx="1696">
                  <c:v>41309</c:v>
                </c:pt>
                <c:pt idx="1697">
                  <c:v>41310</c:v>
                </c:pt>
                <c:pt idx="1698">
                  <c:v>41311</c:v>
                </c:pt>
                <c:pt idx="1699">
                  <c:v>41312</c:v>
                </c:pt>
                <c:pt idx="1700">
                  <c:v>41313</c:v>
                </c:pt>
                <c:pt idx="1701">
                  <c:v>41316</c:v>
                </c:pt>
                <c:pt idx="1702">
                  <c:v>41317</c:v>
                </c:pt>
                <c:pt idx="1703">
                  <c:v>41318</c:v>
                </c:pt>
                <c:pt idx="1704">
                  <c:v>41319</c:v>
                </c:pt>
                <c:pt idx="1705">
                  <c:v>41320</c:v>
                </c:pt>
                <c:pt idx="1706">
                  <c:v>41324</c:v>
                </c:pt>
                <c:pt idx="1707">
                  <c:v>41325</c:v>
                </c:pt>
                <c:pt idx="1708">
                  <c:v>41326</c:v>
                </c:pt>
                <c:pt idx="1709">
                  <c:v>41327</c:v>
                </c:pt>
                <c:pt idx="1710">
                  <c:v>41330</c:v>
                </c:pt>
                <c:pt idx="1711">
                  <c:v>41331</c:v>
                </c:pt>
                <c:pt idx="1712">
                  <c:v>41332</c:v>
                </c:pt>
                <c:pt idx="1713">
                  <c:v>41333</c:v>
                </c:pt>
                <c:pt idx="1714">
                  <c:v>41334</c:v>
                </c:pt>
                <c:pt idx="1715">
                  <c:v>41337</c:v>
                </c:pt>
                <c:pt idx="1716">
                  <c:v>41338</c:v>
                </c:pt>
                <c:pt idx="1717">
                  <c:v>41339</c:v>
                </c:pt>
                <c:pt idx="1718">
                  <c:v>41340</c:v>
                </c:pt>
                <c:pt idx="1719">
                  <c:v>41341</c:v>
                </c:pt>
                <c:pt idx="1720">
                  <c:v>41344</c:v>
                </c:pt>
                <c:pt idx="1721">
                  <c:v>41345</c:v>
                </c:pt>
                <c:pt idx="1722">
                  <c:v>41346</c:v>
                </c:pt>
                <c:pt idx="1723">
                  <c:v>41347</c:v>
                </c:pt>
                <c:pt idx="1724">
                  <c:v>41348</c:v>
                </c:pt>
                <c:pt idx="1725">
                  <c:v>41351</c:v>
                </c:pt>
                <c:pt idx="1726">
                  <c:v>41352</c:v>
                </c:pt>
                <c:pt idx="1727">
                  <c:v>41353</c:v>
                </c:pt>
                <c:pt idx="1728">
                  <c:v>41354</c:v>
                </c:pt>
                <c:pt idx="1729">
                  <c:v>41355</c:v>
                </c:pt>
                <c:pt idx="1730">
                  <c:v>41358</c:v>
                </c:pt>
                <c:pt idx="1731">
                  <c:v>41359</c:v>
                </c:pt>
                <c:pt idx="1732">
                  <c:v>41360</c:v>
                </c:pt>
                <c:pt idx="1733">
                  <c:v>41361</c:v>
                </c:pt>
                <c:pt idx="1734">
                  <c:v>41365</c:v>
                </c:pt>
                <c:pt idx="1735">
                  <c:v>41366</c:v>
                </c:pt>
                <c:pt idx="1736">
                  <c:v>41367</c:v>
                </c:pt>
                <c:pt idx="1737">
                  <c:v>41368</c:v>
                </c:pt>
                <c:pt idx="1738">
                  <c:v>41369</c:v>
                </c:pt>
                <c:pt idx="1739">
                  <c:v>41372</c:v>
                </c:pt>
                <c:pt idx="1740">
                  <c:v>41373</c:v>
                </c:pt>
                <c:pt idx="1741">
                  <c:v>41374</c:v>
                </c:pt>
                <c:pt idx="1742">
                  <c:v>41375</c:v>
                </c:pt>
                <c:pt idx="1743">
                  <c:v>41376</c:v>
                </c:pt>
                <c:pt idx="1744">
                  <c:v>41379</c:v>
                </c:pt>
                <c:pt idx="1745">
                  <c:v>41380</c:v>
                </c:pt>
                <c:pt idx="1746">
                  <c:v>41381</c:v>
                </c:pt>
                <c:pt idx="1747">
                  <c:v>41382</c:v>
                </c:pt>
                <c:pt idx="1748">
                  <c:v>41383</c:v>
                </c:pt>
                <c:pt idx="1749">
                  <c:v>41386</c:v>
                </c:pt>
                <c:pt idx="1750">
                  <c:v>41387</c:v>
                </c:pt>
                <c:pt idx="1751">
                  <c:v>41388</c:v>
                </c:pt>
                <c:pt idx="1752">
                  <c:v>41389</c:v>
                </c:pt>
                <c:pt idx="1753">
                  <c:v>41390</c:v>
                </c:pt>
                <c:pt idx="1754">
                  <c:v>41393</c:v>
                </c:pt>
                <c:pt idx="1755">
                  <c:v>41394</c:v>
                </c:pt>
                <c:pt idx="1756">
                  <c:v>41395</c:v>
                </c:pt>
                <c:pt idx="1757">
                  <c:v>41396</c:v>
                </c:pt>
                <c:pt idx="1758">
                  <c:v>41397</c:v>
                </c:pt>
                <c:pt idx="1759">
                  <c:v>41400</c:v>
                </c:pt>
                <c:pt idx="1760">
                  <c:v>41401</c:v>
                </c:pt>
                <c:pt idx="1761">
                  <c:v>41402</c:v>
                </c:pt>
                <c:pt idx="1762">
                  <c:v>41403</c:v>
                </c:pt>
                <c:pt idx="1763">
                  <c:v>41404</c:v>
                </c:pt>
                <c:pt idx="1764">
                  <c:v>41407</c:v>
                </c:pt>
                <c:pt idx="1765">
                  <c:v>41408</c:v>
                </c:pt>
                <c:pt idx="1766">
                  <c:v>41409</c:v>
                </c:pt>
                <c:pt idx="1767">
                  <c:v>41410</c:v>
                </c:pt>
                <c:pt idx="1768">
                  <c:v>41411</c:v>
                </c:pt>
                <c:pt idx="1769">
                  <c:v>41414</c:v>
                </c:pt>
                <c:pt idx="1770">
                  <c:v>41415</c:v>
                </c:pt>
                <c:pt idx="1771">
                  <c:v>41416</c:v>
                </c:pt>
                <c:pt idx="1772">
                  <c:v>41417</c:v>
                </c:pt>
                <c:pt idx="1773">
                  <c:v>41418</c:v>
                </c:pt>
                <c:pt idx="1774">
                  <c:v>41422</c:v>
                </c:pt>
                <c:pt idx="1775">
                  <c:v>41423</c:v>
                </c:pt>
                <c:pt idx="1776">
                  <c:v>41424</c:v>
                </c:pt>
                <c:pt idx="1777">
                  <c:v>41425</c:v>
                </c:pt>
                <c:pt idx="1778">
                  <c:v>41428</c:v>
                </c:pt>
                <c:pt idx="1779">
                  <c:v>41429</c:v>
                </c:pt>
                <c:pt idx="1780">
                  <c:v>41430</c:v>
                </c:pt>
                <c:pt idx="1781">
                  <c:v>41431</c:v>
                </c:pt>
                <c:pt idx="1782">
                  <c:v>41432</c:v>
                </c:pt>
                <c:pt idx="1783">
                  <c:v>41435</c:v>
                </c:pt>
                <c:pt idx="1784">
                  <c:v>41436</c:v>
                </c:pt>
                <c:pt idx="1785">
                  <c:v>41437</c:v>
                </c:pt>
                <c:pt idx="1786">
                  <c:v>41438</c:v>
                </c:pt>
                <c:pt idx="1787">
                  <c:v>41439</c:v>
                </c:pt>
                <c:pt idx="1788">
                  <c:v>41442</c:v>
                </c:pt>
                <c:pt idx="1789">
                  <c:v>41443</c:v>
                </c:pt>
                <c:pt idx="1790">
                  <c:v>41444</c:v>
                </c:pt>
                <c:pt idx="1791">
                  <c:v>41445</c:v>
                </c:pt>
                <c:pt idx="1792">
                  <c:v>41446</c:v>
                </c:pt>
                <c:pt idx="1793">
                  <c:v>41449</c:v>
                </c:pt>
                <c:pt idx="1794">
                  <c:v>41450</c:v>
                </c:pt>
                <c:pt idx="1795">
                  <c:v>41451</c:v>
                </c:pt>
                <c:pt idx="1796">
                  <c:v>41452</c:v>
                </c:pt>
                <c:pt idx="1797">
                  <c:v>41453</c:v>
                </c:pt>
                <c:pt idx="1798">
                  <c:v>41456</c:v>
                </c:pt>
                <c:pt idx="1799">
                  <c:v>41457</c:v>
                </c:pt>
                <c:pt idx="1800">
                  <c:v>41458</c:v>
                </c:pt>
                <c:pt idx="1801">
                  <c:v>41460</c:v>
                </c:pt>
                <c:pt idx="1802">
                  <c:v>41463</c:v>
                </c:pt>
                <c:pt idx="1803">
                  <c:v>41464</c:v>
                </c:pt>
                <c:pt idx="1804">
                  <c:v>41465</c:v>
                </c:pt>
                <c:pt idx="1805">
                  <c:v>41466</c:v>
                </c:pt>
                <c:pt idx="1806">
                  <c:v>41467</c:v>
                </c:pt>
                <c:pt idx="1807">
                  <c:v>41470</c:v>
                </c:pt>
                <c:pt idx="1808">
                  <c:v>41471</c:v>
                </c:pt>
                <c:pt idx="1809">
                  <c:v>41472</c:v>
                </c:pt>
                <c:pt idx="1810">
                  <c:v>41473</c:v>
                </c:pt>
                <c:pt idx="1811">
                  <c:v>41474</c:v>
                </c:pt>
                <c:pt idx="1812">
                  <c:v>41477</c:v>
                </c:pt>
                <c:pt idx="1813">
                  <c:v>41478</c:v>
                </c:pt>
                <c:pt idx="1814">
                  <c:v>41479</c:v>
                </c:pt>
                <c:pt idx="1815">
                  <c:v>41480</c:v>
                </c:pt>
                <c:pt idx="1816">
                  <c:v>41481</c:v>
                </c:pt>
                <c:pt idx="1817">
                  <c:v>41484</c:v>
                </c:pt>
                <c:pt idx="1818">
                  <c:v>41485</c:v>
                </c:pt>
                <c:pt idx="1819">
                  <c:v>41486</c:v>
                </c:pt>
                <c:pt idx="1820">
                  <c:v>41487</c:v>
                </c:pt>
                <c:pt idx="1821">
                  <c:v>41488</c:v>
                </c:pt>
                <c:pt idx="1822">
                  <c:v>41491</c:v>
                </c:pt>
                <c:pt idx="1823">
                  <c:v>41492</c:v>
                </c:pt>
                <c:pt idx="1824">
                  <c:v>41493</c:v>
                </c:pt>
                <c:pt idx="1825">
                  <c:v>41494</c:v>
                </c:pt>
                <c:pt idx="1826">
                  <c:v>41495</c:v>
                </c:pt>
                <c:pt idx="1827">
                  <c:v>41498</c:v>
                </c:pt>
                <c:pt idx="1828">
                  <c:v>41499</c:v>
                </c:pt>
                <c:pt idx="1829">
                  <c:v>41500</c:v>
                </c:pt>
                <c:pt idx="1830">
                  <c:v>41501</c:v>
                </c:pt>
                <c:pt idx="1831">
                  <c:v>41502</c:v>
                </c:pt>
                <c:pt idx="1832">
                  <c:v>41505</c:v>
                </c:pt>
                <c:pt idx="1833">
                  <c:v>41506</c:v>
                </c:pt>
                <c:pt idx="1834">
                  <c:v>41507</c:v>
                </c:pt>
                <c:pt idx="1835">
                  <c:v>41508</c:v>
                </c:pt>
                <c:pt idx="1836">
                  <c:v>41509</c:v>
                </c:pt>
                <c:pt idx="1837">
                  <c:v>41512</c:v>
                </c:pt>
                <c:pt idx="1838">
                  <c:v>41513</c:v>
                </c:pt>
                <c:pt idx="1839">
                  <c:v>41514</c:v>
                </c:pt>
                <c:pt idx="1840">
                  <c:v>41515</c:v>
                </c:pt>
                <c:pt idx="1841">
                  <c:v>41516</c:v>
                </c:pt>
                <c:pt idx="1842">
                  <c:v>41520</c:v>
                </c:pt>
                <c:pt idx="1843">
                  <c:v>41521</c:v>
                </c:pt>
                <c:pt idx="1844">
                  <c:v>41522</c:v>
                </c:pt>
                <c:pt idx="1845">
                  <c:v>41523</c:v>
                </c:pt>
                <c:pt idx="1846">
                  <c:v>41526</c:v>
                </c:pt>
                <c:pt idx="1847">
                  <c:v>41527</c:v>
                </c:pt>
                <c:pt idx="1848">
                  <c:v>41528</c:v>
                </c:pt>
                <c:pt idx="1849">
                  <c:v>41529</c:v>
                </c:pt>
                <c:pt idx="1850">
                  <c:v>41530</c:v>
                </c:pt>
                <c:pt idx="1851">
                  <c:v>41533</c:v>
                </c:pt>
                <c:pt idx="1852">
                  <c:v>41534</c:v>
                </c:pt>
                <c:pt idx="1853">
                  <c:v>41535</c:v>
                </c:pt>
                <c:pt idx="1854">
                  <c:v>41536</c:v>
                </c:pt>
                <c:pt idx="1855">
                  <c:v>41537</c:v>
                </c:pt>
                <c:pt idx="1856">
                  <c:v>41540</c:v>
                </c:pt>
                <c:pt idx="1857">
                  <c:v>41541</c:v>
                </c:pt>
                <c:pt idx="1858">
                  <c:v>41542</c:v>
                </c:pt>
                <c:pt idx="1859">
                  <c:v>41543</c:v>
                </c:pt>
                <c:pt idx="1860">
                  <c:v>41544</c:v>
                </c:pt>
                <c:pt idx="1861">
                  <c:v>41547</c:v>
                </c:pt>
                <c:pt idx="1862">
                  <c:v>41548</c:v>
                </c:pt>
                <c:pt idx="1863">
                  <c:v>41549</c:v>
                </c:pt>
                <c:pt idx="1864">
                  <c:v>41550</c:v>
                </c:pt>
                <c:pt idx="1865">
                  <c:v>41551</c:v>
                </c:pt>
                <c:pt idx="1866">
                  <c:v>41554</c:v>
                </c:pt>
                <c:pt idx="1867">
                  <c:v>41555</c:v>
                </c:pt>
                <c:pt idx="1868">
                  <c:v>41556</c:v>
                </c:pt>
                <c:pt idx="1869">
                  <c:v>41557</c:v>
                </c:pt>
                <c:pt idx="1870">
                  <c:v>41558</c:v>
                </c:pt>
                <c:pt idx="1871">
                  <c:v>41561</c:v>
                </c:pt>
                <c:pt idx="1872">
                  <c:v>41562</c:v>
                </c:pt>
                <c:pt idx="1873">
                  <c:v>41563</c:v>
                </c:pt>
                <c:pt idx="1874">
                  <c:v>41564</c:v>
                </c:pt>
                <c:pt idx="1875">
                  <c:v>41565</c:v>
                </c:pt>
                <c:pt idx="1876">
                  <c:v>41568</c:v>
                </c:pt>
                <c:pt idx="1877">
                  <c:v>41569</c:v>
                </c:pt>
                <c:pt idx="1878">
                  <c:v>41570</c:v>
                </c:pt>
                <c:pt idx="1879">
                  <c:v>41571</c:v>
                </c:pt>
                <c:pt idx="1880">
                  <c:v>41572</c:v>
                </c:pt>
                <c:pt idx="1881">
                  <c:v>41575</c:v>
                </c:pt>
                <c:pt idx="1882">
                  <c:v>41576</c:v>
                </c:pt>
                <c:pt idx="1883">
                  <c:v>41577</c:v>
                </c:pt>
                <c:pt idx="1884">
                  <c:v>41578</c:v>
                </c:pt>
                <c:pt idx="1885">
                  <c:v>41579</c:v>
                </c:pt>
                <c:pt idx="1886">
                  <c:v>41582</c:v>
                </c:pt>
                <c:pt idx="1887">
                  <c:v>41583</c:v>
                </c:pt>
                <c:pt idx="1888">
                  <c:v>41584</c:v>
                </c:pt>
                <c:pt idx="1889">
                  <c:v>41585</c:v>
                </c:pt>
                <c:pt idx="1890">
                  <c:v>41586</c:v>
                </c:pt>
                <c:pt idx="1891">
                  <c:v>41589</c:v>
                </c:pt>
                <c:pt idx="1892">
                  <c:v>41590</c:v>
                </c:pt>
                <c:pt idx="1893">
                  <c:v>41591</c:v>
                </c:pt>
                <c:pt idx="1894">
                  <c:v>41592</c:v>
                </c:pt>
                <c:pt idx="1895">
                  <c:v>41593</c:v>
                </c:pt>
                <c:pt idx="1896">
                  <c:v>41596</c:v>
                </c:pt>
                <c:pt idx="1897">
                  <c:v>41597</c:v>
                </c:pt>
                <c:pt idx="1898">
                  <c:v>41598</c:v>
                </c:pt>
                <c:pt idx="1899">
                  <c:v>41599</c:v>
                </c:pt>
                <c:pt idx="1900">
                  <c:v>41600</c:v>
                </c:pt>
                <c:pt idx="1901">
                  <c:v>41603</c:v>
                </c:pt>
                <c:pt idx="1902">
                  <c:v>41604</c:v>
                </c:pt>
                <c:pt idx="1903">
                  <c:v>41605</c:v>
                </c:pt>
                <c:pt idx="1904">
                  <c:v>41607</c:v>
                </c:pt>
                <c:pt idx="1905">
                  <c:v>41610</c:v>
                </c:pt>
                <c:pt idx="1906">
                  <c:v>41611</c:v>
                </c:pt>
                <c:pt idx="1907">
                  <c:v>41612</c:v>
                </c:pt>
                <c:pt idx="1908">
                  <c:v>41613</c:v>
                </c:pt>
                <c:pt idx="1909">
                  <c:v>41614</c:v>
                </c:pt>
                <c:pt idx="1910">
                  <c:v>41617</c:v>
                </c:pt>
                <c:pt idx="1911">
                  <c:v>41618</c:v>
                </c:pt>
                <c:pt idx="1912">
                  <c:v>41619</c:v>
                </c:pt>
                <c:pt idx="1913">
                  <c:v>41620</c:v>
                </c:pt>
                <c:pt idx="1914">
                  <c:v>41621</c:v>
                </c:pt>
                <c:pt idx="1915">
                  <c:v>41624</c:v>
                </c:pt>
                <c:pt idx="1916">
                  <c:v>41625</c:v>
                </c:pt>
                <c:pt idx="1917">
                  <c:v>41626</c:v>
                </c:pt>
                <c:pt idx="1918">
                  <c:v>41627</c:v>
                </c:pt>
                <c:pt idx="1919">
                  <c:v>41628</c:v>
                </c:pt>
                <c:pt idx="1920">
                  <c:v>41631</c:v>
                </c:pt>
                <c:pt idx="1921">
                  <c:v>41632</c:v>
                </c:pt>
                <c:pt idx="1922">
                  <c:v>41634</c:v>
                </c:pt>
                <c:pt idx="1923">
                  <c:v>41635</c:v>
                </c:pt>
                <c:pt idx="1924">
                  <c:v>41638</c:v>
                </c:pt>
                <c:pt idx="1925">
                  <c:v>41639</c:v>
                </c:pt>
                <c:pt idx="1926">
                  <c:v>41641</c:v>
                </c:pt>
                <c:pt idx="1927">
                  <c:v>41642</c:v>
                </c:pt>
                <c:pt idx="1928">
                  <c:v>41645</c:v>
                </c:pt>
                <c:pt idx="1929">
                  <c:v>41646</c:v>
                </c:pt>
                <c:pt idx="1930">
                  <c:v>41647</c:v>
                </c:pt>
                <c:pt idx="1931">
                  <c:v>41648</c:v>
                </c:pt>
                <c:pt idx="1932">
                  <c:v>41649</c:v>
                </c:pt>
                <c:pt idx="1933">
                  <c:v>41652</c:v>
                </c:pt>
                <c:pt idx="1934">
                  <c:v>41653</c:v>
                </c:pt>
                <c:pt idx="1935">
                  <c:v>41654</c:v>
                </c:pt>
                <c:pt idx="1936">
                  <c:v>41655</c:v>
                </c:pt>
                <c:pt idx="1937">
                  <c:v>41656</c:v>
                </c:pt>
                <c:pt idx="1938">
                  <c:v>41660</c:v>
                </c:pt>
                <c:pt idx="1939">
                  <c:v>41661</c:v>
                </c:pt>
                <c:pt idx="1940">
                  <c:v>41662</c:v>
                </c:pt>
                <c:pt idx="1941">
                  <c:v>41663</c:v>
                </c:pt>
                <c:pt idx="1942">
                  <c:v>41666</c:v>
                </c:pt>
                <c:pt idx="1943">
                  <c:v>41667</c:v>
                </c:pt>
                <c:pt idx="1944">
                  <c:v>41668</c:v>
                </c:pt>
                <c:pt idx="1945">
                  <c:v>41669</c:v>
                </c:pt>
                <c:pt idx="1946">
                  <c:v>41670</c:v>
                </c:pt>
                <c:pt idx="1947">
                  <c:v>41673</c:v>
                </c:pt>
                <c:pt idx="1948">
                  <c:v>41674</c:v>
                </c:pt>
                <c:pt idx="1949">
                  <c:v>41675</c:v>
                </c:pt>
                <c:pt idx="1950">
                  <c:v>41676</c:v>
                </c:pt>
                <c:pt idx="1951">
                  <c:v>41677</c:v>
                </c:pt>
                <c:pt idx="1952">
                  <c:v>41680</c:v>
                </c:pt>
                <c:pt idx="1953">
                  <c:v>41681</c:v>
                </c:pt>
                <c:pt idx="1954">
                  <c:v>41682</c:v>
                </c:pt>
                <c:pt idx="1955">
                  <c:v>41683</c:v>
                </c:pt>
                <c:pt idx="1956">
                  <c:v>41684</c:v>
                </c:pt>
                <c:pt idx="1957">
                  <c:v>41688</c:v>
                </c:pt>
                <c:pt idx="1958">
                  <c:v>41689</c:v>
                </c:pt>
                <c:pt idx="1959">
                  <c:v>41690</c:v>
                </c:pt>
                <c:pt idx="1960">
                  <c:v>41691</c:v>
                </c:pt>
                <c:pt idx="1961">
                  <c:v>41694</c:v>
                </c:pt>
                <c:pt idx="1962">
                  <c:v>41695</c:v>
                </c:pt>
                <c:pt idx="1963">
                  <c:v>41696</c:v>
                </c:pt>
                <c:pt idx="1964">
                  <c:v>41697</c:v>
                </c:pt>
                <c:pt idx="1965">
                  <c:v>41698</c:v>
                </c:pt>
                <c:pt idx="1966">
                  <c:v>41701</c:v>
                </c:pt>
                <c:pt idx="1967">
                  <c:v>41702</c:v>
                </c:pt>
                <c:pt idx="1968">
                  <c:v>41703</c:v>
                </c:pt>
                <c:pt idx="1969">
                  <c:v>41704</c:v>
                </c:pt>
                <c:pt idx="1970">
                  <c:v>41705</c:v>
                </c:pt>
                <c:pt idx="1971">
                  <c:v>41708</c:v>
                </c:pt>
                <c:pt idx="1972">
                  <c:v>41709</c:v>
                </c:pt>
                <c:pt idx="1973">
                  <c:v>41710</c:v>
                </c:pt>
                <c:pt idx="1974">
                  <c:v>41711</c:v>
                </c:pt>
                <c:pt idx="1975">
                  <c:v>41712</c:v>
                </c:pt>
                <c:pt idx="1976">
                  <c:v>41715</c:v>
                </c:pt>
                <c:pt idx="1977">
                  <c:v>41716</c:v>
                </c:pt>
                <c:pt idx="1978">
                  <c:v>41717</c:v>
                </c:pt>
                <c:pt idx="1979">
                  <c:v>41718</c:v>
                </c:pt>
                <c:pt idx="1980">
                  <c:v>41719</c:v>
                </c:pt>
                <c:pt idx="1981">
                  <c:v>41722</c:v>
                </c:pt>
                <c:pt idx="1982">
                  <c:v>41723</c:v>
                </c:pt>
                <c:pt idx="1983">
                  <c:v>41724</c:v>
                </c:pt>
                <c:pt idx="1984">
                  <c:v>41725</c:v>
                </c:pt>
                <c:pt idx="1985">
                  <c:v>41726</c:v>
                </c:pt>
                <c:pt idx="1986">
                  <c:v>41729</c:v>
                </c:pt>
                <c:pt idx="1987">
                  <c:v>41730</c:v>
                </c:pt>
                <c:pt idx="1988">
                  <c:v>41731</c:v>
                </c:pt>
                <c:pt idx="1989">
                  <c:v>41732</c:v>
                </c:pt>
                <c:pt idx="1990">
                  <c:v>41733</c:v>
                </c:pt>
                <c:pt idx="1991">
                  <c:v>41736</c:v>
                </c:pt>
                <c:pt idx="1992">
                  <c:v>41737</c:v>
                </c:pt>
                <c:pt idx="1993">
                  <c:v>41738</c:v>
                </c:pt>
                <c:pt idx="1994">
                  <c:v>41739</c:v>
                </c:pt>
                <c:pt idx="1995">
                  <c:v>41740</c:v>
                </c:pt>
                <c:pt idx="1996">
                  <c:v>41743</c:v>
                </c:pt>
                <c:pt idx="1997">
                  <c:v>41744</c:v>
                </c:pt>
                <c:pt idx="1998">
                  <c:v>41745</c:v>
                </c:pt>
                <c:pt idx="1999">
                  <c:v>41746</c:v>
                </c:pt>
                <c:pt idx="2000">
                  <c:v>41750</c:v>
                </c:pt>
                <c:pt idx="2001">
                  <c:v>41751</c:v>
                </c:pt>
                <c:pt idx="2002">
                  <c:v>41752</c:v>
                </c:pt>
                <c:pt idx="2003">
                  <c:v>41753</c:v>
                </c:pt>
                <c:pt idx="2004">
                  <c:v>41754</c:v>
                </c:pt>
                <c:pt idx="2005">
                  <c:v>41757</c:v>
                </c:pt>
                <c:pt idx="2006">
                  <c:v>41758</c:v>
                </c:pt>
                <c:pt idx="2007">
                  <c:v>41759</c:v>
                </c:pt>
                <c:pt idx="2008">
                  <c:v>41760</c:v>
                </c:pt>
                <c:pt idx="2009">
                  <c:v>41761</c:v>
                </c:pt>
                <c:pt idx="2010">
                  <c:v>41764</c:v>
                </c:pt>
                <c:pt idx="2011">
                  <c:v>41765</c:v>
                </c:pt>
                <c:pt idx="2012">
                  <c:v>41766</c:v>
                </c:pt>
                <c:pt idx="2013">
                  <c:v>41767</c:v>
                </c:pt>
                <c:pt idx="2014">
                  <c:v>41768</c:v>
                </c:pt>
                <c:pt idx="2015">
                  <c:v>41771</c:v>
                </c:pt>
                <c:pt idx="2016">
                  <c:v>41772</c:v>
                </c:pt>
                <c:pt idx="2017">
                  <c:v>41773</c:v>
                </c:pt>
                <c:pt idx="2018">
                  <c:v>41774</c:v>
                </c:pt>
                <c:pt idx="2019">
                  <c:v>41775</c:v>
                </c:pt>
                <c:pt idx="2020">
                  <c:v>41778</c:v>
                </c:pt>
                <c:pt idx="2021">
                  <c:v>41779</c:v>
                </c:pt>
                <c:pt idx="2022">
                  <c:v>41780</c:v>
                </c:pt>
                <c:pt idx="2023">
                  <c:v>41781</c:v>
                </c:pt>
                <c:pt idx="2024">
                  <c:v>41782</c:v>
                </c:pt>
                <c:pt idx="2025">
                  <c:v>41786</c:v>
                </c:pt>
                <c:pt idx="2026">
                  <c:v>41787</c:v>
                </c:pt>
                <c:pt idx="2027">
                  <c:v>41788</c:v>
                </c:pt>
                <c:pt idx="2028">
                  <c:v>41789</c:v>
                </c:pt>
                <c:pt idx="2029">
                  <c:v>41792</c:v>
                </c:pt>
                <c:pt idx="2030">
                  <c:v>41793</c:v>
                </c:pt>
                <c:pt idx="2031">
                  <c:v>41794</c:v>
                </c:pt>
                <c:pt idx="2032">
                  <c:v>41795</c:v>
                </c:pt>
                <c:pt idx="2033">
                  <c:v>41796</c:v>
                </c:pt>
                <c:pt idx="2034">
                  <c:v>41799</c:v>
                </c:pt>
                <c:pt idx="2035">
                  <c:v>41800</c:v>
                </c:pt>
                <c:pt idx="2036">
                  <c:v>41801</c:v>
                </c:pt>
                <c:pt idx="2037">
                  <c:v>41802</c:v>
                </c:pt>
                <c:pt idx="2038">
                  <c:v>41803</c:v>
                </c:pt>
                <c:pt idx="2039">
                  <c:v>41806</c:v>
                </c:pt>
                <c:pt idx="2040">
                  <c:v>41807</c:v>
                </c:pt>
                <c:pt idx="2041">
                  <c:v>41808</c:v>
                </c:pt>
                <c:pt idx="2042">
                  <c:v>41809</c:v>
                </c:pt>
                <c:pt idx="2043">
                  <c:v>41810</c:v>
                </c:pt>
                <c:pt idx="2044">
                  <c:v>41813</c:v>
                </c:pt>
                <c:pt idx="2045">
                  <c:v>41814</c:v>
                </c:pt>
                <c:pt idx="2046">
                  <c:v>41815</c:v>
                </c:pt>
                <c:pt idx="2047">
                  <c:v>41816</c:v>
                </c:pt>
                <c:pt idx="2048">
                  <c:v>41817</c:v>
                </c:pt>
                <c:pt idx="2049">
                  <c:v>41820</c:v>
                </c:pt>
                <c:pt idx="2050">
                  <c:v>41821</c:v>
                </c:pt>
                <c:pt idx="2051">
                  <c:v>41822</c:v>
                </c:pt>
                <c:pt idx="2052">
                  <c:v>41823</c:v>
                </c:pt>
                <c:pt idx="2053">
                  <c:v>41827</c:v>
                </c:pt>
                <c:pt idx="2054">
                  <c:v>41828</c:v>
                </c:pt>
                <c:pt idx="2055">
                  <c:v>41829</c:v>
                </c:pt>
                <c:pt idx="2056">
                  <c:v>41830</c:v>
                </c:pt>
                <c:pt idx="2057">
                  <c:v>41831</c:v>
                </c:pt>
                <c:pt idx="2058">
                  <c:v>41834</c:v>
                </c:pt>
                <c:pt idx="2059">
                  <c:v>41835</c:v>
                </c:pt>
                <c:pt idx="2060">
                  <c:v>41836</c:v>
                </c:pt>
                <c:pt idx="2061">
                  <c:v>41837</c:v>
                </c:pt>
                <c:pt idx="2062">
                  <c:v>41838</c:v>
                </c:pt>
                <c:pt idx="2063">
                  <c:v>41841</c:v>
                </c:pt>
                <c:pt idx="2064">
                  <c:v>41842</c:v>
                </c:pt>
                <c:pt idx="2065">
                  <c:v>41843</c:v>
                </c:pt>
                <c:pt idx="2066">
                  <c:v>41844</c:v>
                </c:pt>
                <c:pt idx="2067">
                  <c:v>41845</c:v>
                </c:pt>
                <c:pt idx="2068">
                  <c:v>41848</c:v>
                </c:pt>
                <c:pt idx="2069">
                  <c:v>41849</c:v>
                </c:pt>
                <c:pt idx="2070">
                  <c:v>41850</c:v>
                </c:pt>
                <c:pt idx="2071">
                  <c:v>41851</c:v>
                </c:pt>
                <c:pt idx="2072">
                  <c:v>41852</c:v>
                </c:pt>
                <c:pt idx="2073">
                  <c:v>41855</c:v>
                </c:pt>
                <c:pt idx="2074">
                  <c:v>41856</c:v>
                </c:pt>
                <c:pt idx="2075">
                  <c:v>41857</c:v>
                </c:pt>
                <c:pt idx="2076">
                  <c:v>41858</c:v>
                </c:pt>
                <c:pt idx="2077">
                  <c:v>41859</c:v>
                </c:pt>
                <c:pt idx="2078">
                  <c:v>41862</c:v>
                </c:pt>
                <c:pt idx="2079">
                  <c:v>41863</c:v>
                </c:pt>
                <c:pt idx="2080">
                  <c:v>41864</c:v>
                </c:pt>
                <c:pt idx="2081">
                  <c:v>41865</c:v>
                </c:pt>
                <c:pt idx="2082">
                  <c:v>41866</c:v>
                </c:pt>
                <c:pt idx="2083">
                  <c:v>41869</c:v>
                </c:pt>
                <c:pt idx="2084">
                  <c:v>41870</c:v>
                </c:pt>
                <c:pt idx="2085">
                  <c:v>41871</c:v>
                </c:pt>
                <c:pt idx="2086">
                  <c:v>41872</c:v>
                </c:pt>
                <c:pt idx="2087">
                  <c:v>41873</c:v>
                </c:pt>
                <c:pt idx="2088">
                  <c:v>41876</c:v>
                </c:pt>
                <c:pt idx="2089">
                  <c:v>41877</c:v>
                </c:pt>
                <c:pt idx="2090">
                  <c:v>41878</c:v>
                </c:pt>
                <c:pt idx="2091">
                  <c:v>41879</c:v>
                </c:pt>
                <c:pt idx="2092">
                  <c:v>41880</c:v>
                </c:pt>
                <c:pt idx="2093">
                  <c:v>41884</c:v>
                </c:pt>
                <c:pt idx="2094">
                  <c:v>41885</c:v>
                </c:pt>
                <c:pt idx="2095">
                  <c:v>41886</c:v>
                </c:pt>
                <c:pt idx="2096">
                  <c:v>41887</c:v>
                </c:pt>
                <c:pt idx="2097">
                  <c:v>41890</c:v>
                </c:pt>
                <c:pt idx="2098">
                  <c:v>41891</c:v>
                </c:pt>
                <c:pt idx="2099">
                  <c:v>41892</c:v>
                </c:pt>
                <c:pt idx="2100">
                  <c:v>41893</c:v>
                </c:pt>
                <c:pt idx="2101">
                  <c:v>41894</c:v>
                </c:pt>
                <c:pt idx="2102">
                  <c:v>41897</c:v>
                </c:pt>
                <c:pt idx="2103">
                  <c:v>41898</c:v>
                </c:pt>
                <c:pt idx="2104">
                  <c:v>41899</c:v>
                </c:pt>
                <c:pt idx="2105">
                  <c:v>41900</c:v>
                </c:pt>
                <c:pt idx="2106">
                  <c:v>41901</c:v>
                </c:pt>
                <c:pt idx="2107">
                  <c:v>41904</c:v>
                </c:pt>
                <c:pt idx="2108">
                  <c:v>41905</c:v>
                </c:pt>
                <c:pt idx="2109">
                  <c:v>41906</c:v>
                </c:pt>
                <c:pt idx="2110">
                  <c:v>41907</c:v>
                </c:pt>
                <c:pt idx="2111">
                  <c:v>41908</c:v>
                </c:pt>
                <c:pt idx="2112">
                  <c:v>41911</c:v>
                </c:pt>
                <c:pt idx="2113">
                  <c:v>41912</c:v>
                </c:pt>
                <c:pt idx="2114">
                  <c:v>41913</c:v>
                </c:pt>
                <c:pt idx="2115">
                  <c:v>41914</c:v>
                </c:pt>
                <c:pt idx="2116">
                  <c:v>41915</c:v>
                </c:pt>
                <c:pt idx="2117">
                  <c:v>41918</c:v>
                </c:pt>
                <c:pt idx="2118">
                  <c:v>41919</c:v>
                </c:pt>
                <c:pt idx="2119">
                  <c:v>41920</c:v>
                </c:pt>
                <c:pt idx="2120">
                  <c:v>41921</c:v>
                </c:pt>
                <c:pt idx="2121">
                  <c:v>41922</c:v>
                </c:pt>
                <c:pt idx="2122">
                  <c:v>41925</c:v>
                </c:pt>
                <c:pt idx="2123">
                  <c:v>41926</c:v>
                </c:pt>
                <c:pt idx="2124">
                  <c:v>41927</c:v>
                </c:pt>
                <c:pt idx="2125">
                  <c:v>41928</c:v>
                </c:pt>
                <c:pt idx="2126">
                  <c:v>41929</c:v>
                </c:pt>
                <c:pt idx="2127">
                  <c:v>41932</c:v>
                </c:pt>
                <c:pt idx="2128">
                  <c:v>41933</c:v>
                </c:pt>
                <c:pt idx="2129">
                  <c:v>41934</c:v>
                </c:pt>
                <c:pt idx="2130">
                  <c:v>41935</c:v>
                </c:pt>
                <c:pt idx="2131">
                  <c:v>41936</c:v>
                </c:pt>
                <c:pt idx="2132">
                  <c:v>41939</c:v>
                </c:pt>
                <c:pt idx="2133">
                  <c:v>41940</c:v>
                </c:pt>
                <c:pt idx="2134">
                  <c:v>41941</c:v>
                </c:pt>
                <c:pt idx="2135">
                  <c:v>41942</c:v>
                </c:pt>
                <c:pt idx="2136">
                  <c:v>41943</c:v>
                </c:pt>
                <c:pt idx="2137">
                  <c:v>41946</c:v>
                </c:pt>
                <c:pt idx="2138">
                  <c:v>41947</c:v>
                </c:pt>
                <c:pt idx="2139">
                  <c:v>41948</c:v>
                </c:pt>
                <c:pt idx="2140">
                  <c:v>41949</c:v>
                </c:pt>
                <c:pt idx="2141">
                  <c:v>41950</c:v>
                </c:pt>
                <c:pt idx="2142">
                  <c:v>41953</c:v>
                </c:pt>
                <c:pt idx="2143">
                  <c:v>41954</c:v>
                </c:pt>
                <c:pt idx="2144">
                  <c:v>41955</c:v>
                </c:pt>
                <c:pt idx="2145">
                  <c:v>41956</c:v>
                </c:pt>
                <c:pt idx="2146">
                  <c:v>41957</c:v>
                </c:pt>
                <c:pt idx="2147">
                  <c:v>41960</c:v>
                </c:pt>
                <c:pt idx="2148">
                  <c:v>41961</c:v>
                </c:pt>
                <c:pt idx="2149">
                  <c:v>41962</c:v>
                </c:pt>
                <c:pt idx="2150">
                  <c:v>41963</c:v>
                </c:pt>
                <c:pt idx="2151">
                  <c:v>41964</c:v>
                </c:pt>
                <c:pt idx="2152">
                  <c:v>41967</c:v>
                </c:pt>
                <c:pt idx="2153">
                  <c:v>41968</c:v>
                </c:pt>
                <c:pt idx="2154">
                  <c:v>41969</c:v>
                </c:pt>
                <c:pt idx="2155">
                  <c:v>41971</c:v>
                </c:pt>
                <c:pt idx="2156">
                  <c:v>41974</c:v>
                </c:pt>
                <c:pt idx="2157">
                  <c:v>41975</c:v>
                </c:pt>
                <c:pt idx="2158">
                  <c:v>41976</c:v>
                </c:pt>
                <c:pt idx="2159">
                  <c:v>41977</c:v>
                </c:pt>
                <c:pt idx="2160">
                  <c:v>41978</c:v>
                </c:pt>
                <c:pt idx="2161">
                  <c:v>41981</c:v>
                </c:pt>
                <c:pt idx="2162">
                  <c:v>41982</c:v>
                </c:pt>
                <c:pt idx="2163">
                  <c:v>41983</c:v>
                </c:pt>
                <c:pt idx="2164">
                  <c:v>41984</c:v>
                </c:pt>
                <c:pt idx="2165">
                  <c:v>41985</c:v>
                </c:pt>
                <c:pt idx="2166">
                  <c:v>41988</c:v>
                </c:pt>
                <c:pt idx="2167">
                  <c:v>41989</c:v>
                </c:pt>
                <c:pt idx="2168">
                  <c:v>41990</c:v>
                </c:pt>
                <c:pt idx="2169">
                  <c:v>41991</c:v>
                </c:pt>
                <c:pt idx="2170">
                  <c:v>41992</c:v>
                </c:pt>
                <c:pt idx="2171">
                  <c:v>41995</c:v>
                </c:pt>
                <c:pt idx="2172">
                  <c:v>41996</c:v>
                </c:pt>
                <c:pt idx="2173">
                  <c:v>41997</c:v>
                </c:pt>
                <c:pt idx="2174">
                  <c:v>41999</c:v>
                </c:pt>
                <c:pt idx="2175">
                  <c:v>42002</c:v>
                </c:pt>
                <c:pt idx="2176">
                  <c:v>42003</c:v>
                </c:pt>
                <c:pt idx="2177">
                  <c:v>42004</c:v>
                </c:pt>
                <c:pt idx="2178">
                  <c:v>42006</c:v>
                </c:pt>
                <c:pt idx="2179">
                  <c:v>42009</c:v>
                </c:pt>
                <c:pt idx="2180">
                  <c:v>42010</c:v>
                </c:pt>
                <c:pt idx="2181">
                  <c:v>42011</c:v>
                </c:pt>
                <c:pt idx="2182">
                  <c:v>42012</c:v>
                </c:pt>
                <c:pt idx="2183">
                  <c:v>42013</c:v>
                </c:pt>
                <c:pt idx="2184">
                  <c:v>42016</c:v>
                </c:pt>
                <c:pt idx="2185">
                  <c:v>42017</c:v>
                </c:pt>
                <c:pt idx="2186">
                  <c:v>42018</c:v>
                </c:pt>
                <c:pt idx="2187">
                  <c:v>42019</c:v>
                </c:pt>
                <c:pt idx="2188">
                  <c:v>42020</c:v>
                </c:pt>
                <c:pt idx="2189">
                  <c:v>42024</c:v>
                </c:pt>
                <c:pt idx="2190">
                  <c:v>42025</c:v>
                </c:pt>
                <c:pt idx="2191">
                  <c:v>42026</c:v>
                </c:pt>
                <c:pt idx="2192">
                  <c:v>42027</c:v>
                </c:pt>
                <c:pt idx="2193">
                  <c:v>42030</c:v>
                </c:pt>
                <c:pt idx="2194">
                  <c:v>42031</c:v>
                </c:pt>
                <c:pt idx="2195">
                  <c:v>42032</c:v>
                </c:pt>
                <c:pt idx="2196">
                  <c:v>42033</c:v>
                </c:pt>
                <c:pt idx="2197">
                  <c:v>42034</c:v>
                </c:pt>
                <c:pt idx="2198">
                  <c:v>42037</c:v>
                </c:pt>
                <c:pt idx="2199">
                  <c:v>42038</c:v>
                </c:pt>
                <c:pt idx="2200">
                  <c:v>42039</c:v>
                </c:pt>
                <c:pt idx="2201">
                  <c:v>42040</c:v>
                </c:pt>
                <c:pt idx="2202">
                  <c:v>42041</c:v>
                </c:pt>
                <c:pt idx="2203">
                  <c:v>42044</c:v>
                </c:pt>
                <c:pt idx="2204">
                  <c:v>42045</c:v>
                </c:pt>
                <c:pt idx="2205">
                  <c:v>42046</c:v>
                </c:pt>
                <c:pt idx="2206">
                  <c:v>42047</c:v>
                </c:pt>
                <c:pt idx="2207">
                  <c:v>42048</c:v>
                </c:pt>
                <c:pt idx="2208">
                  <c:v>42052</c:v>
                </c:pt>
                <c:pt idx="2209">
                  <c:v>42053</c:v>
                </c:pt>
                <c:pt idx="2210">
                  <c:v>42054</c:v>
                </c:pt>
                <c:pt idx="2211">
                  <c:v>42055</c:v>
                </c:pt>
                <c:pt idx="2212">
                  <c:v>42058</c:v>
                </c:pt>
                <c:pt idx="2213">
                  <c:v>42059</c:v>
                </c:pt>
                <c:pt idx="2214">
                  <c:v>42060</c:v>
                </c:pt>
                <c:pt idx="2215">
                  <c:v>42061</c:v>
                </c:pt>
                <c:pt idx="2216">
                  <c:v>42062</c:v>
                </c:pt>
                <c:pt idx="2217">
                  <c:v>42065</c:v>
                </c:pt>
                <c:pt idx="2218">
                  <c:v>42066</c:v>
                </c:pt>
                <c:pt idx="2219">
                  <c:v>42067</c:v>
                </c:pt>
                <c:pt idx="2220">
                  <c:v>42068</c:v>
                </c:pt>
                <c:pt idx="2221">
                  <c:v>42069</c:v>
                </c:pt>
                <c:pt idx="2222">
                  <c:v>42072</c:v>
                </c:pt>
                <c:pt idx="2223">
                  <c:v>42073</c:v>
                </c:pt>
                <c:pt idx="2224">
                  <c:v>42074</c:v>
                </c:pt>
                <c:pt idx="2225">
                  <c:v>42075</c:v>
                </c:pt>
                <c:pt idx="2226">
                  <c:v>42076</c:v>
                </c:pt>
                <c:pt idx="2227">
                  <c:v>42079</c:v>
                </c:pt>
                <c:pt idx="2228">
                  <c:v>42080</c:v>
                </c:pt>
                <c:pt idx="2229">
                  <c:v>42081</c:v>
                </c:pt>
                <c:pt idx="2230">
                  <c:v>42082</c:v>
                </c:pt>
                <c:pt idx="2231">
                  <c:v>42083</c:v>
                </c:pt>
                <c:pt idx="2232">
                  <c:v>42086</c:v>
                </c:pt>
                <c:pt idx="2233">
                  <c:v>42087</c:v>
                </c:pt>
                <c:pt idx="2234">
                  <c:v>42088</c:v>
                </c:pt>
                <c:pt idx="2235">
                  <c:v>42089</c:v>
                </c:pt>
                <c:pt idx="2236">
                  <c:v>42090</c:v>
                </c:pt>
                <c:pt idx="2237">
                  <c:v>42093</c:v>
                </c:pt>
                <c:pt idx="2238">
                  <c:v>42094</c:v>
                </c:pt>
                <c:pt idx="2239">
                  <c:v>42095</c:v>
                </c:pt>
                <c:pt idx="2240">
                  <c:v>42096</c:v>
                </c:pt>
                <c:pt idx="2241">
                  <c:v>42100</c:v>
                </c:pt>
                <c:pt idx="2242">
                  <c:v>42101</c:v>
                </c:pt>
                <c:pt idx="2243">
                  <c:v>42102</c:v>
                </c:pt>
                <c:pt idx="2244">
                  <c:v>42103</c:v>
                </c:pt>
                <c:pt idx="2245">
                  <c:v>42104</c:v>
                </c:pt>
                <c:pt idx="2246">
                  <c:v>42107</c:v>
                </c:pt>
                <c:pt idx="2247">
                  <c:v>42108</c:v>
                </c:pt>
                <c:pt idx="2248">
                  <c:v>42109</c:v>
                </c:pt>
                <c:pt idx="2249">
                  <c:v>42110</c:v>
                </c:pt>
                <c:pt idx="2250">
                  <c:v>42111</c:v>
                </c:pt>
                <c:pt idx="2251">
                  <c:v>42114</c:v>
                </c:pt>
                <c:pt idx="2252">
                  <c:v>42115</c:v>
                </c:pt>
                <c:pt idx="2253">
                  <c:v>42116</c:v>
                </c:pt>
                <c:pt idx="2254">
                  <c:v>42117</c:v>
                </c:pt>
                <c:pt idx="2255">
                  <c:v>42118</c:v>
                </c:pt>
                <c:pt idx="2256">
                  <c:v>42121</c:v>
                </c:pt>
                <c:pt idx="2257">
                  <c:v>42122</c:v>
                </c:pt>
                <c:pt idx="2258">
                  <c:v>42123</c:v>
                </c:pt>
                <c:pt idx="2259">
                  <c:v>42124</c:v>
                </c:pt>
                <c:pt idx="2260">
                  <c:v>42125</c:v>
                </c:pt>
                <c:pt idx="2261">
                  <c:v>42128</c:v>
                </c:pt>
                <c:pt idx="2262">
                  <c:v>42129</c:v>
                </c:pt>
                <c:pt idx="2263">
                  <c:v>42130</c:v>
                </c:pt>
                <c:pt idx="2264">
                  <c:v>42131</c:v>
                </c:pt>
                <c:pt idx="2265">
                  <c:v>42132</c:v>
                </c:pt>
                <c:pt idx="2266">
                  <c:v>42135</c:v>
                </c:pt>
                <c:pt idx="2267">
                  <c:v>42136</c:v>
                </c:pt>
                <c:pt idx="2268">
                  <c:v>42137</c:v>
                </c:pt>
                <c:pt idx="2269">
                  <c:v>42138</c:v>
                </c:pt>
                <c:pt idx="2270">
                  <c:v>42139</c:v>
                </c:pt>
                <c:pt idx="2271">
                  <c:v>42142</c:v>
                </c:pt>
                <c:pt idx="2272">
                  <c:v>42143</c:v>
                </c:pt>
                <c:pt idx="2273">
                  <c:v>42144</c:v>
                </c:pt>
                <c:pt idx="2274">
                  <c:v>42145</c:v>
                </c:pt>
                <c:pt idx="2275">
                  <c:v>42146</c:v>
                </c:pt>
                <c:pt idx="2276">
                  <c:v>42150</c:v>
                </c:pt>
                <c:pt idx="2277">
                  <c:v>42151</c:v>
                </c:pt>
                <c:pt idx="2278">
                  <c:v>42152</c:v>
                </c:pt>
                <c:pt idx="2279">
                  <c:v>42153</c:v>
                </c:pt>
                <c:pt idx="2280">
                  <c:v>42156</c:v>
                </c:pt>
                <c:pt idx="2281">
                  <c:v>42157</c:v>
                </c:pt>
                <c:pt idx="2282">
                  <c:v>42158</c:v>
                </c:pt>
                <c:pt idx="2283">
                  <c:v>42159</c:v>
                </c:pt>
                <c:pt idx="2284">
                  <c:v>42160</c:v>
                </c:pt>
                <c:pt idx="2285">
                  <c:v>42163</c:v>
                </c:pt>
                <c:pt idx="2286">
                  <c:v>42164</c:v>
                </c:pt>
                <c:pt idx="2287">
                  <c:v>42165</c:v>
                </c:pt>
                <c:pt idx="2288">
                  <c:v>42166</c:v>
                </c:pt>
                <c:pt idx="2289">
                  <c:v>42167</c:v>
                </c:pt>
                <c:pt idx="2290">
                  <c:v>42170</c:v>
                </c:pt>
                <c:pt idx="2291">
                  <c:v>42171</c:v>
                </c:pt>
                <c:pt idx="2292">
                  <c:v>42172</c:v>
                </c:pt>
                <c:pt idx="2293">
                  <c:v>42173</c:v>
                </c:pt>
                <c:pt idx="2294">
                  <c:v>42174</c:v>
                </c:pt>
                <c:pt idx="2295">
                  <c:v>42177</c:v>
                </c:pt>
                <c:pt idx="2296">
                  <c:v>42178</c:v>
                </c:pt>
                <c:pt idx="2297">
                  <c:v>42179</c:v>
                </c:pt>
                <c:pt idx="2298">
                  <c:v>42180</c:v>
                </c:pt>
                <c:pt idx="2299">
                  <c:v>42181</c:v>
                </c:pt>
                <c:pt idx="2300">
                  <c:v>42184</c:v>
                </c:pt>
                <c:pt idx="2301">
                  <c:v>42185</c:v>
                </c:pt>
                <c:pt idx="2302">
                  <c:v>42186</c:v>
                </c:pt>
                <c:pt idx="2303">
                  <c:v>42187</c:v>
                </c:pt>
                <c:pt idx="2304">
                  <c:v>42191</c:v>
                </c:pt>
                <c:pt idx="2305">
                  <c:v>42192</c:v>
                </c:pt>
                <c:pt idx="2306">
                  <c:v>42193</c:v>
                </c:pt>
                <c:pt idx="2307">
                  <c:v>42194</c:v>
                </c:pt>
                <c:pt idx="2308">
                  <c:v>42195</c:v>
                </c:pt>
                <c:pt idx="2309">
                  <c:v>42198</c:v>
                </c:pt>
                <c:pt idx="2310">
                  <c:v>42199</c:v>
                </c:pt>
                <c:pt idx="2311">
                  <c:v>42200</c:v>
                </c:pt>
                <c:pt idx="2312">
                  <c:v>42201</c:v>
                </c:pt>
                <c:pt idx="2313">
                  <c:v>42202</c:v>
                </c:pt>
                <c:pt idx="2314">
                  <c:v>42205</c:v>
                </c:pt>
                <c:pt idx="2315">
                  <c:v>42206</c:v>
                </c:pt>
                <c:pt idx="2316">
                  <c:v>42207</c:v>
                </c:pt>
                <c:pt idx="2317">
                  <c:v>42208</c:v>
                </c:pt>
                <c:pt idx="2318">
                  <c:v>42209</c:v>
                </c:pt>
                <c:pt idx="2319">
                  <c:v>42212</c:v>
                </c:pt>
                <c:pt idx="2320">
                  <c:v>42213</c:v>
                </c:pt>
                <c:pt idx="2321">
                  <c:v>42214</c:v>
                </c:pt>
                <c:pt idx="2322">
                  <c:v>42215</c:v>
                </c:pt>
                <c:pt idx="2323">
                  <c:v>42216</c:v>
                </c:pt>
                <c:pt idx="2324">
                  <c:v>42219</c:v>
                </c:pt>
                <c:pt idx="2325">
                  <c:v>42220</c:v>
                </c:pt>
                <c:pt idx="2326">
                  <c:v>42221</c:v>
                </c:pt>
                <c:pt idx="2327">
                  <c:v>42222</c:v>
                </c:pt>
                <c:pt idx="2328">
                  <c:v>42223</c:v>
                </c:pt>
                <c:pt idx="2329">
                  <c:v>42226</c:v>
                </c:pt>
                <c:pt idx="2330">
                  <c:v>42227</c:v>
                </c:pt>
                <c:pt idx="2331">
                  <c:v>42228</c:v>
                </c:pt>
                <c:pt idx="2332">
                  <c:v>42229</c:v>
                </c:pt>
                <c:pt idx="2333">
                  <c:v>42230</c:v>
                </c:pt>
                <c:pt idx="2334">
                  <c:v>42233</c:v>
                </c:pt>
                <c:pt idx="2335">
                  <c:v>42234</c:v>
                </c:pt>
                <c:pt idx="2336">
                  <c:v>42235</c:v>
                </c:pt>
                <c:pt idx="2337">
                  <c:v>42236</c:v>
                </c:pt>
                <c:pt idx="2338">
                  <c:v>42237</c:v>
                </c:pt>
                <c:pt idx="2339">
                  <c:v>42240</c:v>
                </c:pt>
                <c:pt idx="2340">
                  <c:v>42241</c:v>
                </c:pt>
                <c:pt idx="2341">
                  <c:v>42242</c:v>
                </c:pt>
                <c:pt idx="2342">
                  <c:v>42243</c:v>
                </c:pt>
                <c:pt idx="2343">
                  <c:v>42244</c:v>
                </c:pt>
                <c:pt idx="2344">
                  <c:v>42247</c:v>
                </c:pt>
                <c:pt idx="2345">
                  <c:v>42248</c:v>
                </c:pt>
                <c:pt idx="2346">
                  <c:v>42249</c:v>
                </c:pt>
                <c:pt idx="2347">
                  <c:v>42250</c:v>
                </c:pt>
                <c:pt idx="2348">
                  <c:v>42251</c:v>
                </c:pt>
                <c:pt idx="2349">
                  <c:v>42255</c:v>
                </c:pt>
                <c:pt idx="2350">
                  <c:v>42256</c:v>
                </c:pt>
                <c:pt idx="2351">
                  <c:v>42257</c:v>
                </c:pt>
                <c:pt idx="2352">
                  <c:v>42258</c:v>
                </c:pt>
                <c:pt idx="2353">
                  <c:v>42261</c:v>
                </c:pt>
                <c:pt idx="2354">
                  <c:v>42262</c:v>
                </c:pt>
                <c:pt idx="2355">
                  <c:v>42263</c:v>
                </c:pt>
                <c:pt idx="2356">
                  <c:v>42264</c:v>
                </c:pt>
                <c:pt idx="2357">
                  <c:v>42265</c:v>
                </c:pt>
                <c:pt idx="2358">
                  <c:v>42268</c:v>
                </c:pt>
                <c:pt idx="2359">
                  <c:v>42269</c:v>
                </c:pt>
                <c:pt idx="2360">
                  <c:v>42270</c:v>
                </c:pt>
                <c:pt idx="2361">
                  <c:v>42271</c:v>
                </c:pt>
                <c:pt idx="2362">
                  <c:v>42272</c:v>
                </c:pt>
                <c:pt idx="2363">
                  <c:v>42275</c:v>
                </c:pt>
                <c:pt idx="2364">
                  <c:v>42276</c:v>
                </c:pt>
                <c:pt idx="2365">
                  <c:v>42277</c:v>
                </c:pt>
                <c:pt idx="2366">
                  <c:v>42278</c:v>
                </c:pt>
                <c:pt idx="2367">
                  <c:v>42279</c:v>
                </c:pt>
                <c:pt idx="2368">
                  <c:v>42282</c:v>
                </c:pt>
                <c:pt idx="2369">
                  <c:v>42283</c:v>
                </c:pt>
                <c:pt idx="2370">
                  <c:v>42284</c:v>
                </c:pt>
                <c:pt idx="2371">
                  <c:v>42285</c:v>
                </c:pt>
                <c:pt idx="2372">
                  <c:v>42286</c:v>
                </c:pt>
                <c:pt idx="2373">
                  <c:v>42289</c:v>
                </c:pt>
                <c:pt idx="2374">
                  <c:v>42290</c:v>
                </c:pt>
                <c:pt idx="2375">
                  <c:v>42291</c:v>
                </c:pt>
                <c:pt idx="2376">
                  <c:v>42292</c:v>
                </c:pt>
                <c:pt idx="2377">
                  <c:v>42293</c:v>
                </c:pt>
                <c:pt idx="2378">
                  <c:v>42296</c:v>
                </c:pt>
                <c:pt idx="2379">
                  <c:v>42297</c:v>
                </c:pt>
                <c:pt idx="2380">
                  <c:v>42298</c:v>
                </c:pt>
                <c:pt idx="2381">
                  <c:v>42299</c:v>
                </c:pt>
                <c:pt idx="2382">
                  <c:v>42300</c:v>
                </c:pt>
                <c:pt idx="2383">
                  <c:v>42303</c:v>
                </c:pt>
                <c:pt idx="2384">
                  <c:v>42304</c:v>
                </c:pt>
                <c:pt idx="2385">
                  <c:v>42305</c:v>
                </c:pt>
                <c:pt idx="2386">
                  <c:v>42306</c:v>
                </c:pt>
                <c:pt idx="2387">
                  <c:v>42307</c:v>
                </c:pt>
                <c:pt idx="2388">
                  <c:v>42310</c:v>
                </c:pt>
                <c:pt idx="2389">
                  <c:v>42311</c:v>
                </c:pt>
                <c:pt idx="2390">
                  <c:v>42312</c:v>
                </c:pt>
                <c:pt idx="2391">
                  <c:v>42313</c:v>
                </c:pt>
                <c:pt idx="2392">
                  <c:v>42314</c:v>
                </c:pt>
                <c:pt idx="2393">
                  <c:v>42317</c:v>
                </c:pt>
                <c:pt idx="2394">
                  <c:v>42318</c:v>
                </c:pt>
                <c:pt idx="2395">
                  <c:v>42319</c:v>
                </c:pt>
                <c:pt idx="2396">
                  <c:v>42320</c:v>
                </c:pt>
                <c:pt idx="2397">
                  <c:v>42321</c:v>
                </c:pt>
                <c:pt idx="2398">
                  <c:v>42324</c:v>
                </c:pt>
                <c:pt idx="2399">
                  <c:v>42325</c:v>
                </c:pt>
                <c:pt idx="2400">
                  <c:v>42326</c:v>
                </c:pt>
                <c:pt idx="2401">
                  <c:v>42327</c:v>
                </c:pt>
                <c:pt idx="2402">
                  <c:v>42328</c:v>
                </c:pt>
                <c:pt idx="2403">
                  <c:v>42331</c:v>
                </c:pt>
                <c:pt idx="2404">
                  <c:v>42332</c:v>
                </c:pt>
                <c:pt idx="2405">
                  <c:v>42333</c:v>
                </c:pt>
                <c:pt idx="2406">
                  <c:v>42335</c:v>
                </c:pt>
                <c:pt idx="2407">
                  <c:v>42338</c:v>
                </c:pt>
                <c:pt idx="2408">
                  <c:v>42339</c:v>
                </c:pt>
                <c:pt idx="2409">
                  <c:v>42340</c:v>
                </c:pt>
                <c:pt idx="2410">
                  <c:v>42341</c:v>
                </c:pt>
                <c:pt idx="2411">
                  <c:v>42342</c:v>
                </c:pt>
                <c:pt idx="2412">
                  <c:v>42345</c:v>
                </c:pt>
                <c:pt idx="2413">
                  <c:v>42346</c:v>
                </c:pt>
                <c:pt idx="2414">
                  <c:v>42347</c:v>
                </c:pt>
                <c:pt idx="2415">
                  <c:v>42348</c:v>
                </c:pt>
                <c:pt idx="2416">
                  <c:v>42349</c:v>
                </c:pt>
                <c:pt idx="2417">
                  <c:v>42352</c:v>
                </c:pt>
                <c:pt idx="2418">
                  <c:v>42353</c:v>
                </c:pt>
                <c:pt idx="2419">
                  <c:v>42354</c:v>
                </c:pt>
                <c:pt idx="2420">
                  <c:v>42355</c:v>
                </c:pt>
                <c:pt idx="2421">
                  <c:v>42356</c:v>
                </c:pt>
                <c:pt idx="2422">
                  <c:v>42359</c:v>
                </c:pt>
                <c:pt idx="2423">
                  <c:v>42360</c:v>
                </c:pt>
                <c:pt idx="2424">
                  <c:v>42361</c:v>
                </c:pt>
                <c:pt idx="2425">
                  <c:v>42362</c:v>
                </c:pt>
                <c:pt idx="2426">
                  <c:v>42366</c:v>
                </c:pt>
                <c:pt idx="2427">
                  <c:v>42367</c:v>
                </c:pt>
                <c:pt idx="2428">
                  <c:v>42368</c:v>
                </c:pt>
                <c:pt idx="2429">
                  <c:v>42369</c:v>
                </c:pt>
                <c:pt idx="2430">
                  <c:v>42373</c:v>
                </c:pt>
                <c:pt idx="2431">
                  <c:v>42374</c:v>
                </c:pt>
                <c:pt idx="2432">
                  <c:v>42375</c:v>
                </c:pt>
                <c:pt idx="2433">
                  <c:v>42376</c:v>
                </c:pt>
                <c:pt idx="2434">
                  <c:v>42377</c:v>
                </c:pt>
                <c:pt idx="2435">
                  <c:v>42380</c:v>
                </c:pt>
                <c:pt idx="2436">
                  <c:v>42381</c:v>
                </c:pt>
                <c:pt idx="2437">
                  <c:v>42382</c:v>
                </c:pt>
                <c:pt idx="2438">
                  <c:v>42383</c:v>
                </c:pt>
                <c:pt idx="2439">
                  <c:v>42384</c:v>
                </c:pt>
                <c:pt idx="2440">
                  <c:v>42388</c:v>
                </c:pt>
                <c:pt idx="2441">
                  <c:v>42389</c:v>
                </c:pt>
                <c:pt idx="2442">
                  <c:v>42390</c:v>
                </c:pt>
                <c:pt idx="2443">
                  <c:v>42391</c:v>
                </c:pt>
                <c:pt idx="2444">
                  <c:v>42394</c:v>
                </c:pt>
                <c:pt idx="2445">
                  <c:v>42395</c:v>
                </c:pt>
                <c:pt idx="2446">
                  <c:v>42396</c:v>
                </c:pt>
                <c:pt idx="2447">
                  <c:v>42397</c:v>
                </c:pt>
                <c:pt idx="2448">
                  <c:v>42398</c:v>
                </c:pt>
                <c:pt idx="2449">
                  <c:v>42401</c:v>
                </c:pt>
                <c:pt idx="2450">
                  <c:v>42402</c:v>
                </c:pt>
                <c:pt idx="2451">
                  <c:v>42403</c:v>
                </c:pt>
                <c:pt idx="2452">
                  <c:v>42404</c:v>
                </c:pt>
                <c:pt idx="2453">
                  <c:v>42405</c:v>
                </c:pt>
                <c:pt idx="2454">
                  <c:v>42408</c:v>
                </c:pt>
                <c:pt idx="2455">
                  <c:v>42409</c:v>
                </c:pt>
                <c:pt idx="2456">
                  <c:v>42410</c:v>
                </c:pt>
                <c:pt idx="2457">
                  <c:v>42411</c:v>
                </c:pt>
                <c:pt idx="2458">
                  <c:v>42412</c:v>
                </c:pt>
                <c:pt idx="2459">
                  <c:v>42416</c:v>
                </c:pt>
                <c:pt idx="2460">
                  <c:v>42417</c:v>
                </c:pt>
                <c:pt idx="2461">
                  <c:v>42418</c:v>
                </c:pt>
                <c:pt idx="2462">
                  <c:v>42419</c:v>
                </c:pt>
                <c:pt idx="2463">
                  <c:v>42422</c:v>
                </c:pt>
                <c:pt idx="2464">
                  <c:v>42423</c:v>
                </c:pt>
                <c:pt idx="2465">
                  <c:v>42424</c:v>
                </c:pt>
                <c:pt idx="2466">
                  <c:v>42425</c:v>
                </c:pt>
                <c:pt idx="2467">
                  <c:v>42426</c:v>
                </c:pt>
                <c:pt idx="2468">
                  <c:v>42429</c:v>
                </c:pt>
                <c:pt idx="2469">
                  <c:v>42430</c:v>
                </c:pt>
                <c:pt idx="2470">
                  <c:v>42431</c:v>
                </c:pt>
                <c:pt idx="2471">
                  <c:v>42432</c:v>
                </c:pt>
                <c:pt idx="2472">
                  <c:v>42433</c:v>
                </c:pt>
                <c:pt idx="2473">
                  <c:v>42436</c:v>
                </c:pt>
                <c:pt idx="2474">
                  <c:v>42437</c:v>
                </c:pt>
                <c:pt idx="2475">
                  <c:v>42438</c:v>
                </c:pt>
                <c:pt idx="2476">
                  <c:v>42439</c:v>
                </c:pt>
                <c:pt idx="2477">
                  <c:v>42440</c:v>
                </c:pt>
                <c:pt idx="2478">
                  <c:v>42443</c:v>
                </c:pt>
                <c:pt idx="2479">
                  <c:v>42444</c:v>
                </c:pt>
                <c:pt idx="2480">
                  <c:v>42445</c:v>
                </c:pt>
                <c:pt idx="2481">
                  <c:v>42446</c:v>
                </c:pt>
                <c:pt idx="2482">
                  <c:v>42447</c:v>
                </c:pt>
                <c:pt idx="2483">
                  <c:v>42450</c:v>
                </c:pt>
                <c:pt idx="2484">
                  <c:v>42451</c:v>
                </c:pt>
                <c:pt idx="2485">
                  <c:v>42452</c:v>
                </c:pt>
                <c:pt idx="2486">
                  <c:v>42453</c:v>
                </c:pt>
                <c:pt idx="2487">
                  <c:v>42457</c:v>
                </c:pt>
                <c:pt idx="2488">
                  <c:v>42458</c:v>
                </c:pt>
                <c:pt idx="2489">
                  <c:v>42459</c:v>
                </c:pt>
                <c:pt idx="2490">
                  <c:v>42460</c:v>
                </c:pt>
                <c:pt idx="2491">
                  <c:v>42461</c:v>
                </c:pt>
                <c:pt idx="2492">
                  <c:v>42464</c:v>
                </c:pt>
                <c:pt idx="2493">
                  <c:v>42465</c:v>
                </c:pt>
                <c:pt idx="2494">
                  <c:v>42466</c:v>
                </c:pt>
                <c:pt idx="2495">
                  <c:v>42467</c:v>
                </c:pt>
                <c:pt idx="2496">
                  <c:v>42468</c:v>
                </c:pt>
                <c:pt idx="2497">
                  <c:v>42471</c:v>
                </c:pt>
                <c:pt idx="2498">
                  <c:v>42472</c:v>
                </c:pt>
                <c:pt idx="2499">
                  <c:v>42473</c:v>
                </c:pt>
                <c:pt idx="2500">
                  <c:v>42474</c:v>
                </c:pt>
                <c:pt idx="2501">
                  <c:v>42475</c:v>
                </c:pt>
                <c:pt idx="2502">
                  <c:v>42478</c:v>
                </c:pt>
                <c:pt idx="2503">
                  <c:v>42479</c:v>
                </c:pt>
                <c:pt idx="2504">
                  <c:v>42480</c:v>
                </c:pt>
                <c:pt idx="2505">
                  <c:v>42481</c:v>
                </c:pt>
                <c:pt idx="2506">
                  <c:v>42482</c:v>
                </c:pt>
                <c:pt idx="2507">
                  <c:v>42485</c:v>
                </c:pt>
                <c:pt idx="2508">
                  <c:v>42486</c:v>
                </c:pt>
                <c:pt idx="2509">
                  <c:v>42487</c:v>
                </c:pt>
                <c:pt idx="2510">
                  <c:v>42488</c:v>
                </c:pt>
                <c:pt idx="2511">
                  <c:v>42489</c:v>
                </c:pt>
                <c:pt idx="2512">
                  <c:v>42492</c:v>
                </c:pt>
                <c:pt idx="2513">
                  <c:v>42493</c:v>
                </c:pt>
                <c:pt idx="2514">
                  <c:v>42494</c:v>
                </c:pt>
                <c:pt idx="2515">
                  <c:v>42495</c:v>
                </c:pt>
                <c:pt idx="2516">
                  <c:v>42496</c:v>
                </c:pt>
                <c:pt idx="2517">
                  <c:v>42499</c:v>
                </c:pt>
              </c:numCache>
            </c:numRef>
          </c:cat>
          <c:val>
            <c:numRef>
              <c:f>Sheet1!$AF$5:$AF$2522</c:f>
              <c:numCache>
                <c:formatCode>General</c:formatCode>
                <c:ptCount val="2518"/>
                <c:pt idx="0">
                  <c:v>14.79418604651163</c:v>
                </c:pt>
                <c:pt idx="1">
                  <c:v>14.79418604651163</c:v>
                </c:pt>
                <c:pt idx="2">
                  <c:v>14.79418604651163</c:v>
                </c:pt>
                <c:pt idx="3">
                  <c:v>14.79418604651163</c:v>
                </c:pt>
                <c:pt idx="4">
                  <c:v>14.79418604651163</c:v>
                </c:pt>
                <c:pt idx="5">
                  <c:v>14.79418604651163</c:v>
                </c:pt>
                <c:pt idx="6">
                  <c:v>14.79418604651163</c:v>
                </c:pt>
                <c:pt idx="7">
                  <c:v>14.79418604651163</c:v>
                </c:pt>
                <c:pt idx="8">
                  <c:v>14.79418604651163</c:v>
                </c:pt>
                <c:pt idx="9">
                  <c:v>14.79418604651163</c:v>
                </c:pt>
                <c:pt idx="10">
                  <c:v>14.79418604651163</c:v>
                </c:pt>
                <c:pt idx="11">
                  <c:v>14.79418604651163</c:v>
                </c:pt>
                <c:pt idx="12">
                  <c:v>14.79418604651163</c:v>
                </c:pt>
                <c:pt idx="13">
                  <c:v>14.79418604651163</c:v>
                </c:pt>
                <c:pt idx="14">
                  <c:v>14.79418604651163</c:v>
                </c:pt>
                <c:pt idx="15">
                  <c:v>14.79418604651163</c:v>
                </c:pt>
                <c:pt idx="16">
                  <c:v>14.79418604651163</c:v>
                </c:pt>
                <c:pt idx="17">
                  <c:v>14.79418604651163</c:v>
                </c:pt>
                <c:pt idx="18">
                  <c:v>14.79418604651163</c:v>
                </c:pt>
                <c:pt idx="19">
                  <c:v>14.79418604651163</c:v>
                </c:pt>
                <c:pt idx="20">
                  <c:v>14.79418604651163</c:v>
                </c:pt>
                <c:pt idx="21">
                  <c:v>14.79418604651163</c:v>
                </c:pt>
                <c:pt idx="22">
                  <c:v>14.79418604651163</c:v>
                </c:pt>
                <c:pt idx="23">
                  <c:v>14.79418604651163</c:v>
                </c:pt>
                <c:pt idx="24">
                  <c:v>14.79418604651163</c:v>
                </c:pt>
                <c:pt idx="25">
                  <c:v>14.79418604651163</c:v>
                </c:pt>
                <c:pt idx="26">
                  <c:v>14.79418604651163</c:v>
                </c:pt>
                <c:pt idx="27">
                  <c:v>14.79418604651163</c:v>
                </c:pt>
                <c:pt idx="28">
                  <c:v>14.79418604651163</c:v>
                </c:pt>
                <c:pt idx="29">
                  <c:v>14.79418604651163</c:v>
                </c:pt>
                <c:pt idx="30">
                  <c:v>14.79418604651163</c:v>
                </c:pt>
                <c:pt idx="31">
                  <c:v>14.79418604651163</c:v>
                </c:pt>
                <c:pt idx="32">
                  <c:v>14.79418604651163</c:v>
                </c:pt>
                <c:pt idx="33">
                  <c:v>14.79418604651163</c:v>
                </c:pt>
                <c:pt idx="34">
                  <c:v>14.79418604651163</c:v>
                </c:pt>
                <c:pt idx="35">
                  <c:v>14.79418604651163</c:v>
                </c:pt>
                <c:pt idx="36">
                  <c:v>14.79418604651163</c:v>
                </c:pt>
                <c:pt idx="37">
                  <c:v>14.79418604651163</c:v>
                </c:pt>
                <c:pt idx="38">
                  <c:v>14.79418604651163</c:v>
                </c:pt>
                <c:pt idx="39">
                  <c:v>14.79418604651163</c:v>
                </c:pt>
                <c:pt idx="40">
                  <c:v>14.79418604651163</c:v>
                </c:pt>
                <c:pt idx="41">
                  <c:v>14.79418604651163</c:v>
                </c:pt>
                <c:pt idx="42">
                  <c:v>14.79418604651163</c:v>
                </c:pt>
                <c:pt idx="43">
                  <c:v>14.79418604651163</c:v>
                </c:pt>
                <c:pt idx="44">
                  <c:v>14.79418604651163</c:v>
                </c:pt>
                <c:pt idx="45">
                  <c:v>14.79418604651163</c:v>
                </c:pt>
                <c:pt idx="46">
                  <c:v>14.79418604651163</c:v>
                </c:pt>
                <c:pt idx="47">
                  <c:v>14.79418604651163</c:v>
                </c:pt>
                <c:pt idx="48">
                  <c:v>14.79418604651163</c:v>
                </c:pt>
                <c:pt idx="49">
                  <c:v>14.79418604651163</c:v>
                </c:pt>
                <c:pt idx="50">
                  <c:v>14.79418604651163</c:v>
                </c:pt>
                <c:pt idx="51">
                  <c:v>14.79418604651163</c:v>
                </c:pt>
                <c:pt idx="52">
                  <c:v>14.79418604651163</c:v>
                </c:pt>
                <c:pt idx="53">
                  <c:v>14.79418604651163</c:v>
                </c:pt>
                <c:pt idx="54">
                  <c:v>14.79418604651163</c:v>
                </c:pt>
                <c:pt idx="55">
                  <c:v>14.79418604651163</c:v>
                </c:pt>
                <c:pt idx="56">
                  <c:v>14.79418604651163</c:v>
                </c:pt>
                <c:pt idx="57">
                  <c:v>14.79418604651163</c:v>
                </c:pt>
                <c:pt idx="58">
                  <c:v>14.79418604651163</c:v>
                </c:pt>
                <c:pt idx="59">
                  <c:v>14.79418604651163</c:v>
                </c:pt>
                <c:pt idx="60">
                  <c:v>14.79418604651163</c:v>
                </c:pt>
                <c:pt idx="61">
                  <c:v>14.79418604651163</c:v>
                </c:pt>
                <c:pt idx="62">
                  <c:v>14.79418604651163</c:v>
                </c:pt>
                <c:pt idx="63">
                  <c:v>14.79418604651163</c:v>
                </c:pt>
                <c:pt idx="64">
                  <c:v>14.79418604651163</c:v>
                </c:pt>
                <c:pt idx="65">
                  <c:v>14.79418604651163</c:v>
                </c:pt>
                <c:pt idx="66">
                  <c:v>14.79418604651163</c:v>
                </c:pt>
                <c:pt idx="67">
                  <c:v>14.79418604651163</c:v>
                </c:pt>
                <c:pt idx="68">
                  <c:v>14.79418604651163</c:v>
                </c:pt>
                <c:pt idx="69">
                  <c:v>14.79418604651163</c:v>
                </c:pt>
                <c:pt idx="70">
                  <c:v>14.79418604651163</c:v>
                </c:pt>
                <c:pt idx="71">
                  <c:v>14.79418604651163</c:v>
                </c:pt>
                <c:pt idx="72">
                  <c:v>14.79418604651163</c:v>
                </c:pt>
                <c:pt idx="73">
                  <c:v>14.79418604651163</c:v>
                </c:pt>
                <c:pt idx="74">
                  <c:v>14.79418604651163</c:v>
                </c:pt>
                <c:pt idx="75">
                  <c:v>14.79418604651163</c:v>
                </c:pt>
                <c:pt idx="76">
                  <c:v>14.79418604651163</c:v>
                </c:pt>
                <c:pt idx="77">
                  <c:v>14.79418604651163</c:v>
                </c:pt>
                <c:pt idx="78">
                  <c:v>14.79418604651163</c:v>
                </c:pt>
                <c:pt idx="79">
                  <c:v>14.79418604651163</c:v>
                </c:pt>
                <c:pt idx="80">
                  <c:v>14.79418604651163</c:v>
                </c:pt>
                <c:pt idx="81">
                  <c:v>14.79418604651163</c:v>
                </c:pt>
                <c:pt idx="82">
                  <c:v>14.79418604651163</c:v>
                </c:pt>
                <c:pt idx="83">
                  <c:v>14.79418604651163</c:v>
                </c:pt>
                <c:pt idx="84">
                  <c:v>14.79418604651163</c:v>
                </c:pt>
                <c:pt idx="85">
                  <c:v>14.79418604651163</c:v>
                </c:pt>
                <c:pt idx="86">
                  <c:v>14.79418604651163</c:v>
                </c:pt>
                <c:pt idx="87">
                  <c:v>14.79418604651163</c:v>
                </c:pt>
                <c:pt idx="88">
                  <c:v>14.79418604651163</c:v>
                </c:pt>
                <c:pt idx="89">
                  <c:v>14.79418604651163</c:v>
                </c:pt>
                <c:pt idx="90">
                  <c:v>14.79418604651163</c:v>
                </c:pt>
                <c:pt idx="91">
                  <c:v>14.79418604651163</c:v>
                </c:pt>
                <c:pt idx="92">
                  <c:v>14.79418604651163</c:v>
                </c:pt>
                <c:pt idx="93">
                  <c:v>14.79418604651163</c:v>
                </c:pt>
                <c:pt idx="94">
                  <c:v>14.79418604651163</c:v>
                </c:pt>
                <c:pt idx="95">
                  <c:v>14.79418604651163</c:v>
                </c:pt>
                <c:pt idx="96">
                  <c:v>14.79418604651163</c:v>
                </c:pt>
                <c:pt idx="97">
                  <c:v>14.79418604651163</c:v>
                </c:pt>
                <c:pt idx="98">
                  <c:v>14.79418604651163</c:v>
                </c:pt>
                <c:pt idx="99">
                  <c:v>14.79418604651163</c:v>
                </c:pt>
                <c:pt idx="100">
                  <c:v>14.79418604651163</c:v>
                </c:pt>
                <c:pt idx="101">
                  <c:v>14.79418604651163</c:v>
                </c:pt>
                <c:pt idx="102">
                  <c:v>14.79418604651163</c:v>
                </c:pt>
                <c:pt idx="103">
                  <c:v>14.79418604651163</c:v>
                </c:pt>
                <c:pt idx="104">
                  <c:v>14.79418604651163</c:v>
                </c:pt>
                <c:pt idx="105">
                  <c:v>14.79418604651163</c:v>
                </c:pt>
                <c:pt idx="106">
                  <c:v>14.79418604651163</c:v>
                </c:pt>
                <c:pt idx="107">
                  <c:v>14.79418604651163</c:v>
                </c:pt>
                <c:pt idx="108">
                  <c:v>14.79418604651163</c:v>
                </c:pt>
                <c:pt idx="109">
                  <c:v>14.79418604651163</c:v>
                </c:pt>
                <c:pt idx="110">
                  <c:v>14.79418604651163</c:v>
                </c:pt>
                <c:pt idx="111">
                  <c:v>14.79418604651163</c:v>
                </c:pt>
                <c:pt idx="112">
                  <c:v>14.79418604651163</c:v>
                </c:pt>
                <c:pt idx="113">
                  <c:v>14.79418604651163</c:v>
                </c:pt>
                <c:pt idx="114">
                  <c:v>14.79418604651163</c:v>
                </c:pt>
                <c:pt idx="115">
                  <c:v>14.79418604651163</c:v>
                </c:pt>
                <c:pt idx="116">
                  <c:v>14.79418604651163</c:v>
                </c:pt>
                <c:pt idx="117">
                  <c:v>14.79418604651163</c:v>
                </c:pt>
                <c:pt idx="118">
                  <c:v>14.79418604651163</c:v>
                </c:pt>
                <c:pt idx="119">
                  <c:v>14.79418604651163</c:v>
                </c:pt>
                <c:pt idx="120">
                  <c:v>14.79418604651163</c:v>
                </c:pt>
                <c:pt idx="121">
                  <c:v>14.79418604651163</c:v>
                </c:pt>
                <c:pt idx="122">
                  <c:v>14.79418604651163</c:v>
                </c:pt>
                <c:pt idx="123">
                  <c:v>14.79418604651163</c:v>
                </c:pt>
                <c:pt idx="124">
                  <c:v>14.79418604651163</c:v>
                </c:pt>
                <c:pt idx="125">
                  <c:v>14.79418604651163</c:v>
                </c:pt>
                <c:pt idx="126">
                  <c:v>14.79418604651163</c:v>
                </c:pt>
                <c:pt idx="127">
                  <c:v>14.79418604651163</c:v>
                </c:pt>
                <c:pt idx="128">
                  <c:v>14.79418604651163</c:v>
                </c:pt>
                <c:pt idx="129">
                  <c:v>14.79418604651163</c:v>
                </c:pt>
                <c:pt idx="130">
                  <c:v>14.79418604651163</c:v>
                </c:pt>
                <c:pt idx="131">
                  <c:v>14.79418604651163</c:v>
                </c:pt>
                <c:pt idx="132">
                  <c:v>14.79418604651163</c:v>
                </c:pt>
                <c:pt idx="133">
                  <c:v>14.79418604651163</c:v>
                </c:pt>
                <c:pt idx="134">
                  <c:v>14.79418604651163</c:v>
                </c:pt>
                <c:pt idx="135">
                  <c:v>14.79418604651163</c:v>
                </c:pt>
                <c:pt idx="136">
                  <c:v>14.79418604651163</c:v>
                </c:pt>
                <c:pt idx="137">
                  <c:v>14.79418604651163</c:v>
                </c:pt>
                <c:pt idx="138">
                  <c:v>14.79418604651163</c:v>
                </c:pt>
                <c:pt idx="139">
                  <c:v>14.79418604651163</c:v>
                </c:pt>
                <c:pt idx="140">
                  <c:v>14.79418604651163</c:v>
                </c:pt>
                <c:pt idx="141">
                  <c:v>14.79418604651163</c:v>
                </c:pt>
                <c:pt idx="142">
                  <c:v>14.79418604651163</c:v>
                </c:pt>
                <c:pt idx="143">
                  <c:v>14.79418604651163</c:v>
                </c:pt>
                <c:pt idx="144">
                  <c:v>14.79418604651163</c:v>
                </c:pt>
                <c:pt idx="145">
                  <c:v>14.79418604651163</c:v>
                </c:pt>
                <c:pt idx="146">
                  <c:v>14.79418604651163</c:v>
                </c:pt>
                <c:pt idx="147">
                  <c:v>14.79418604651163</c:v>
                </c:pt>
                <c:pt idx="148">
                  <c:v>14.79418604651163</c:v>
                </c:pt>
                <c:pt idx="149">
                  <c:v>14.79418604651163</c:v>
                </c:pt>
                <c:pt idx="150">
                  <c:v>14.79418604651163</c:v>
                </c:pt>
                <c:pt idx="151">
                  <c:v>14.79418604651163</c:v>
                </c:pt>
                <c:pt idx="152">
                  <c:v>14.79418604651163</c:v>
                </c:pt>
                <c:pt idx="153">
                  <c:v>14.79418604651163</c:v>
                </c:pt>
                <c:pt idx="154">
                  <c:v>14.79418604651163</c:v>
                </c:pt>
                <c:pt idx="155">
                  <c:v>14.79418604651163</c:v>
                </c:pt>
                <c:pt idx="156">
                  <c:v>14.79418604651163</c:v>
                </c:pt>
                <c:pt idx="157">
                  <c:v>14.79418604651163</c:v>
                </c:pt>
                <c:pt idx="158">
                  <c:v>14.79418604651163</c:v>
                </c:pt>
                <c:pt idx="159">
                  <c:v>14.79418604651163</c:v>
                </c:pt>
                <c:pt idx="160">
                  <c:v>14.79418604651163</c:v>
                </c:pt>
                <c:pt idx="161">
                  <c:v>14.79418604651163</c:v>
                </c:pt>
                <c:pt idx="162">
                  <c:v>14.79418604651163</c:v>
                </c:pt>
                <c:pt idx="163">
                  <c:v>14.79418604651163</c:v>
                </c:pt>
                <c:pt idx="164">
                  <c:v>14.79418604651163</c:v>
                </c:pt>
                <c:pt idx="165">
                  <c:v>14.79418604651163</c:v>
                </c:pt>
                <c:pt idx="166">
                  <c:v>14.79418604651163</c:v>
                </c:pt>
                <c:pt idx="167">
                  <c:v>14.79418604651163</c:v>
                </c:pt>
                <c:pt idx="168">
                  <c:v>14.79418604651163</c:v>
                </c:pt>
                <c:pt idx="169">
                  <c:v>14.79418604651163</c:v>
                </c:pt>
                <c:pt idx="170">
                  <c:v>14.79418604651163</c:v>
                </c:pt>
                <c:pt idx="171">
                  <c:v>14.79418604651163</c:v>
                </c:pt>
                <c:pt idx="172">
                  <c:v>14.79418604651163</c:v>
                </c:pt>
                <c:pt idx="173">
                  <c:v>14.79418604651163</c:v>
                </c:pt>
                <c:pt idx="174">
                  <c:v>14.79418604651163</c:v>
                </c:pt>
                <c:pt idx="175">
                  <c:v>14.79418604651163</c:v>
                </c:pt>
                <c:pt idx="176">
                  <c:v>14.79418604651163</c:v>
                </c:pt>
                <c:pt idx="177">
                  <c:v>14.79418604651163</c:v>
                </c:pt>
                <c:pt idx="178">
                  <c:v>14.79418604651163</c:v>
                </c:pt>
                <c:pt idx="179">
                  <c:v>14.79418604651163</c:v>
                </c:pt>
                <c:pt idx="180">
                  <c:v>14.79418604651163</c:v>
                </c:pt>
                <c:pt idx="181">
                  <c:v>14.79418604651163</c:v>
                </c:pt>
                <c:pt idx="182">
                  <c:v>14.79418604651163</c:v>
                </c:pt>
                <c:pt idx="183">
                  <c:v>14.79418604651163</c:v>
                </c:pt>
                <c:pt idx="184">
                  <c:v>14.79418604651163</c:v>
                </c:pt>
                <c:pt idx="185">
                  <c:v>14.79418604651163</c:v>
                </c:pt>
                <c:pt idx="186">
                  <c:v>14.79418604651163</c:v>
                </c:pt>
                <c:pt idx="187">
                  <c:v>14.79418604651163</c:v>
                </c:pt>
                <c:pt idx="188">
                  <c:v>14.79418604651163</c:v>
                </c:pt>
                <c:pt idx="189">
                  <c:v>14.79418604651163</c:v>
                </c:pt>
                <c:pt idx="190">
                  <c:v>14.79418604651163</c:v>
                </c:pt>
                <c:pt idx="191">
                  <c:v>14.79418604651163</c:v>
                </c:pt>
                <c:pt idx="192">
                  <c:v>14.79418604651163</c:v>
                </c:pt>
                <c:pt idx="193">
                  <c:v>14.79418604651163</c:v>
                </c:pt>
                <c:pt idx="194">
                  <c:v>14.79418604651163</c:v>
                </c:pt>
                <c:pt idx="195">
                  <c:v>14.79418604651163</c:v>
                </c:pt>
                <c:pt idx="196">
                  <c:v>14.79418604651163</c:v>
                </c:pt>
                <c:pt idx="197">
                  <c:v>14.79418604651163</c:v>
                </c:pt>
                <c:pt idx="198">
                  <c:v>14.79418604651163</c:v>
                </c:pt>
                <c:pt idx="199">
                  <c:v>14.79418604651163</c:v>
                </c:pt>
                <c:pt idx="200">
                  <c:v>14.79418604651163</c:v>
                </c:pt>
                <c:pt idx="201">
                  <c:v>14.79418604651163</c:v>
                </c:pt>
                <c:pt idx="202">
                  <c:v>14.79418604651163</c:v>
                </c:pt>
                <c:pt idx="203">
                  <c:v>14.79418604651163</c:v>
                </c:pt>
                <c:pt idx="204">
                  <c:v>14.79418604651163</c:v>
                </c:pt>
                <c:pt idx="205">
                  <c:v>14.79418604651163</c:v>
                </c:pt>
                <c:pt idx="206">
                  <c:v>14.79418604651163</c:v>
                </c:pt>
                <c:pt idx="207">
                  <c:v>14.79418604651163</c:v>
                </c:pt>
                <c:pt idx="208">
                  <c:v>14.79418604651163</c:v>
                </c:pt>
                <c:pt idx="209">
                  <c:v>14.79418604651163</c:v>
                </c:pt>
                <c:pt idx="210">
                  <c:v>14.79418604651163</c:v>
                </c:pt>
                <c:pt idx="211">
                  <c:v>14.79418604651163</c:v>
                </c:pt>
                <c:pt idx="212">
                  <c:v>14.79418604651163</c:v>
                </c:pt>
                <c:pt idx="213">
                  <c:v>14.79418604651163</c:v>
                </c:pt>
                <c:pt idx="214">
                  <c:v>14.79418604651163</c:v>
                </c:pt>
                <c:pt idx="215">
                  <c:v>14.79418604651163</c:v>
                </c:pt>
                <c:pt idx="216">
                  <c:v>14.79418604651163</c:v>
                </c:pt>
                <c:pt idx="217">
                  <c:v>14.79418604651163</c:v>
                </c:pt>
                <c:pt idx="218">
                  <c:v>14.79418604651163</c:v>
                </c:pt>
                <c:pt idx="219">
                  <c:v>14.79418604651163</c:v>
                </c:pt>
                <c:pt idx="220">
                  <c:v>14.79418604651163</c:v>
                </c:pt>
                <c:pt idx="221">
                  <c:v>14.79418604651163</c:v>
                </c:pt>
                <c:pt idx="222">
                  <c:v>14.79418604651163</c:v>
                </c:pt>
                <c:pt idx="223">
                  <c:v>14.79418604651163</c:v>
                </c:pt>
                <c:pt idx="224">
                  <c:v>14.79418604651163</c:v>
                </c:pt>
                <c:pt idx="225">
                  <c:v>14.79418604651163</c:v>
                </c:pt>
                <c:pt idx="226">
                  <c:v>14.79418604651163</c:v>
                </c:pt>
                <c:pt idx="227">
                  <c:v>14.79418604651163</c:v>
                </c:pt>
                <c:pt idx="228">
                  <c:v>14.79418604651163</c:v>
                </c:pt>
                <c:pt idx="229">
                  <c:v>14.79418604651163</c:v>
                </c:pt>
                <c:pt idx="230">
                  <c:v>14.79418604651163</c:v>
                </c:pt>
                <c:pt idx="231">
                  <c:v>14.79418604651163</c:v>
                </c:pt>
                <c:pt idx="232">
                  <c:v>14.79418604651163</c:v>
                </c:pt>
                <c:pt idx="233">
                  <c:v>14.79418604651163</c:v>
                </c:pt>
                <c:pt idx="234">
                  <c:v>14.79418604651163</c:v>
                </c:pt>
                <c:pt idx="235">
                  <c:v>14.79418604651163</c:v>
                </c:pt>
                <c:pt idx="236">
                  <c:v>14.79418604651163</c:v>
                </c:pt>
                <c:pt idx="237">
                  <c:v>14.79418604651163</c:v>
                </c:pt>
                <c:pt idx="238">
                  <c:v>14.79418604651163</c:v>
                </c:pt>
                <c:pt idx="239">
                  <c:v>14.79418604651163</c:v>
                </c:pt>
                <c:pt idx="240">
                  <c:v>14.79418604651163</c:v>
                </c:pt>
                <c:pt idx="241">
                  <c:v>14.79418604651163</c:v>
                </c:pt>
                <c:pt idx="242">
                  <c:v>14.79418604651163</c:v>
                </c:pt>
                <c:pt idx="243">
                  <c:v>14.79418604651163</c:v>
                </c:pt>
                <c:pt idx="244">
                  <c:v>14.79418604651163</c:v>
                </c:pt>
                <c:pt idx="245">
                  <c:v>14.79418604651163</c:v>
                </c:pt>
                <c:pt idx="246">
                  <c:v>14.79418604651163</c:v>
                </c:pt>
                <c:pt idx="247">
                  <c:v>14.79418604651163</c:v>
                </c:pt>
                <c:pt idx="248">
                  <c:v>14.79418604651163</c:v>
                </c:pt>
                <c:pt idx="249">
                  <c:v>14.79418604651163</c:v>
                </c:pt>
                <c:pt idx="250">
                  <c:v>14.79418604651163</c:v>
                </c:pt>
                <c:pt idx="251">
                  <c:v>14.79418604651163</c:v>
                </c:pt>
                <c:pt idx="252">
                  <c:v>14.79418604651163</c:v>
                </c:pt>
                <c:pt idx="253">
                  <c:v>14.79418604651163</c:v>
                </c:pt>
                <c:pt idx="254">
                  <c:v>14.79418604651163</c:v>
                </c:pt>
                <c:pt idx="255">
                  <c:v>14.79418604651163</c:v>
                </c:pt>
                <c:pt idx="256">
                  <c:v>14.79418604651163</c:v>
                </c:pt>
                <c:pt idx="257">
                  <c:v>14.79418604651163</c:v>
                </c:pt>
                <c:pt idx="258">
                  <c:v>14.79418604651163</c:v>
                </c:pt>
                <c:pt idx="259">
                  <c:v>14.79418604651163</c:v>
                </c:pt>
                <c:pt idx="260">
                  <c:v>14.79418604651163</c:v>
                </c:pt>
                <c:pt idx="261">
                  <c:v>14.79418604651163</c:v>
                </c:pt>
                <c:pt idx="262">
                  <c:v>14.79418604651163</c:v>
                </c:pt>
                <c:pt idx="263">
                  <c:v>14.79418604651163</c:v>
                </c:pt>
                <c:pt idx="264">
                  <c:v>14.79418604651163</c:v>
                </c:pt>
                <c:pt idx="265">
                  <c:v>14.79418604651163</c:v>
                </c:pt>
                <c:pt idx="266">
                  <c:v>14.79418604651163</c:v>
                </c:pt>
                <c:pt idx="267">
                  <c:v>14.79418604651163</c:v>
                </c:pt>
                <c:pt idx="268">
                  <c:v>14.79418604651163</c:v>
                </c:pt>
                <c:pt idx="269">
                  <c:v>14.79418604651163</c:v>
                </c:pt>
                <c:pt idx="270">
                  <c:v>14.79418604651163</c:v>
                </c:pt>
                <c:pt idx="271">
                  <c:v>14.79418604651163</c:v>
                </c:pt>
                <c:pt idx="272">
                  <c:v>14.79418604651163</c:v>
                </c:pt>
                <c:pt idx="273">
                  <c:v>14.79418604651163</c:v>
                </c:pt>
                <c:pt idx="274">
                  <c:v>14.79418604651163</c:v>
                </c:pt>
                <c:pt idx="275">
                  <c:v>14.79418604651163</c:v>
                </c:pt>
                <c:pt idx="276">
                  <c:v>14.79418604651163</c:v>
                </c:pt>
                <c:pt idx="277">
                  <c:v>14.79418604651163</c:v>
                </c:pt>
                <c:pt idx="278">
                  <c:v>14.79418604651163</c:v>
                </c:pt>
                <c:pt idx="279">
                  <c:v>14.79418604651163</c:v>
                </c:pt>
                <c:pt idx="280">
                  <c:v>14.79418604651163</c:v>
                </c:pt>
                <c:pt idx="281">
                  <c:v>14.79418604651163</c:v>
                </c:pt>
                <c:pt idx="282">
                  <c:v>14.79418604651163</c:v>
                </c:pt>
                <c:pt idx="283">
                  <c:v>14.79418604651163</c:v>
                </c:pt>
                <c:pt idx="284">
                  <c:v>14.79418604651163</c:v>
                </c:pt>
                <c:pt idx="285">
                  <c:v>14.79418604651163</c:v>
                </c:pt>
                <c:pt idx="286">
                  <c:v>14.79418604651163</c:v>
                </c:pt>
                <c:pt idx="287">
                  <c:v>14.79418604651163</c:v>
                </c:pt>
                <c:pt idx="288">
                  <c:v>14.79418604651163</c:v>
                </c:pt>
                <c:pt idx="289">
                  <c:v>14.79418604651163</c:v>
                </c:pt>
                <c:pt idx="290">
                  <c:v>14.79418604651163</c:v>
                </c:pt>
                <c:pt idx="291">
                  <c:v>14.79418604651163</c:v>
                </c:pt>
                <c:pt idx="292">
                  <c:v>14.79418604651163</c:v>
                </c:pt>
                <c:pt idx="293">
                  <c:v>14.79418604651163</c:v>
                </c:pt>
                <c:pt idx="294">
                  <c:v>14.79418604651163</c:v>
                </c:pt>
                <c:pt idx="295">
                  <c:v>14.79418604651163</c:v>
                </c:pt>
                <c:pt idx="296">
                  <c:v>14.79418604651163</c:v>
                </c:pt>
                <c:pt idx="297">
                  <c:v>14.79418604651163</c:v>
                </c:pt>
                <c:pt idx="298">
                  <c:v>14.79418604651163</c:v>
                </c:pt>
                <c:pt idx="299">
                  <c:v>14.79418604651163</c:v>
                </c:pt>
                <c:pt idx="300">
                  <c:v>14.79418604651163</c:v>
                </c:pt>
                <c:pt idx="301">
                  <c:v>14.79418604651163</c:v>
                </c:pt>
                <c:pt idx="302">
                  <c:v>14.79418604651163</c:v>
                </c:pt>
                <c:pt idx="303">
                  <c:v>14.79418604651163</c:v>
                </c:pt>
                <c:pt idx="304">
                  <c:v>14.79418604651163</c:v>
                </c:pt>
                <c:pt idx="305">
                  <c:v>14.79418604651163</c:v>
                </c:pt>
                <c:pt idx="306">
                  <c:v>14.79418604651163</c:v>
                </c:pt>
                <c:pt idx="307">
                  <c:v>14.79418604651163</c:v>
                </c:pt>
                <c:pt idx="308">
                  <c:v>14.79418604651163</c:v>
                </c:pt>
                <c:pt idx="309">
                  <c:v>14.79418604651163</c:v>
                </c:pt>
                <c:pt idx="310">
                  <c:v>14.79418604651163</c:v>
                </c:pt>
                <c:pt idx="311">
                  <c:v>14.79418604651163</c:v>
                </c:pt>
                <c:pt idx="312">
                  <c:v>14.79418604651163</c:v>
                </c:pt>
                <c:pt idx="313">
                  <c:v>14.79418604651163</c:v>
                </c:pt>
                <c:pt idx="314">
                  <c:v>14.79418604651163</c:v>
                </c:pt>
                <c:pt idx="315">
                  <c:v>14.79418604651163</c:v>
                </c:pt>
                <c:pt idx="316">
                  <c:v>14.79418604651163</c:v>
                </c:pt>
                <c:pt idx="317">
                  <c:v>14.79418604651163</c:v>
                </c:pt>
                <c:pt idx="318">
                  <c:v>14.79418604651163</c:v>
                </c:pt>
                <c:pt idx="319">
                  <c:v>14.79418604651163</c:v>
                </c:pt>
                <c:pt idx="320">
                  <c:v>14.79418604651163</c:v>
                </c:pt>
                <c:pt idx="321">
                  <c:v>14.79418604651163</c:v>
                </c:pt>
                <c:pt idx="322">
                  <c:v>14.79418604651163</c:v>
                </c:pt>
                <c:pt idx="323">
                  <c:v>14.79418604651163</c:v>
                </c:pt>
                <c:pt idx="324">
                  <c:v>14.79418604651163</c:v>
                </c:pt>
                <c:pt idx="325">
                  <c:v>14.79418604651163</c:v>
                </c:pt>
                <c:pt idx="326">
                  <c:v>14.79418604651163</c:v>
                </c:pt>
                <c:pt idx="327">
                  <c:v>14.79418604651163</c:v>
                </c:pt>
                <c:pt idx="328">
                  <c:v>14.79418604651163</c:v>
                </c:pt>
                <c:pt idx="329">
                  <c:v>14.79418604651163</c:v>
                </c:pt>
                <c:pt idx="330">
                  <c:v>14.79418604651163</c:v>
                </c:pt>
                <c:pt idx="331">
                  <c:v>14.79418604651163</c:v>
                </c:pt>
                <c:pt idx="332">
                  <c:v>14.79418604651163</c:v>
                </c:pt>
                <c:pt idx="333">
                  <c:v>14.79418604651163</c:v>
                </c:pt>
                <c:pt idx="334">
                  <c:v>14.79418604651163</c:v>
                </c:pt>
                <c:pt idx="335">
                  <c:v>14.79418604651163</c:v>
                </c:pt>
                <c:pt idx="336">
                  <c:v>14.79418604651163</c:v>
                </c:pt>
                <c:pt idx="337">
                  <c:v>14.79418604651163</c:v>
                </c:pt>
                <c:pt idx="338">
                  <c:v>14.79418604651163</c:v>
                </c:pt>
                <c:pt idx="339">
                  <c:v>14.79418604651163</c:v>
                </c:pt>
                <c:pt idx="340">
                  <c:v>14.79418604651163</c:v>
                </c:pt>
                <c:pt idx="341">
                  <c:v>14.79418604651163</c:v>
                </c:pt>
                <c:pt idx="342">
                  <c:v>14.79418604651163</c:v>
                </c:pt>
                <c:pt idx="343">
                  <c:v>14.79418604651163</c:v>
                </c:pt>
                <c:pt idx="344">
                  <c:v>14.79418604651163</c:v>
                </c:pt>
                <c:pt idx="345">
                  <c:v>14.79418604651163</c:v>
                </c:pt>
                <c:pt idx="346">
                  <c:v>14.79418604651163</c:v>
                </c:pt>
                <c:pt idx="347">
                  <c:v>14.79418604651163</c:v>
                </c:pt>
                <c:pt idx="348">
                  <c:v>14.79418604651163</c:v>
                </c:pt>
                <c:pt idx="349">
                  <c:v>14.79418604651163</c:v>
                </c:pt>
                <c:pt idx="350">
                  <c:v>14.79418604651163</c:v>
                </c:pt>
                <c:pt idx="351">
                  <c:v>14.79418604651163</c:v>
                </c:pt>
                <c:pt idx="352">
                  <c:v>14.79418604651163</c:v>
                </c:pt>
                <c:pt idx="353">
                  <c:v>14.79418604651163</c:v>
                </c:pt>
                <c:pt idx="354">
                  <c:v>14.79418604651163</c:v>
                </c:pt>
                <c:pt idx="355">
                  <c:v>14.79418604651163</c:v>
                </c:pt>
                <c:pt idx="356">
                  <c:v>14.79418604651163</c:v>
                </c:pt>
                <c:pt idx="357">
                  <c:v>14.79418604651163</c:v>
                </c:pt>
                <c:pt idx="358">
                  <c:v>14.79418604651163</c:v>
                </c:pt>
                <c:pt idx="359">
                  <c:v>14.79418604651163</c:v>
                </c:pt>
                <c:pt idx="360">
                  <c:v>14.79418604651163</c:v>
                </c:pt>
                <c:pt idx="361">
                  <c:v>14.79418604651163</c:v>
                </c:pt>
                <c:pt idx="362">
                  <c:v>14.79418604651163</c:v>
                </c:pt>
                <c:pt idx="363">
                  <c:v>14.79418604651163</c:v>
                </c:pt>
                <c:pt idx="364">
                  <c:v>14.79418604651163</c:v>
                </c:pt>
                <c:pt idx="365">
                  <c:v>14.79418604651163</c:v>
                </c:pt>
                <c:pt idx="366">
                  <c:v>14.79418604651163</c:v>
                </c:pt>
                <c:pt idx="367">
                  <c:v>14.79418604651163</c:v>
                </c:pt>
                <c:pt idx="368">
                  <c:v>14.79418604651163</c:v>
                </c:pt>
                <c:pt idx="369">
                  <c:v>14.79418604651163</c:v>
                </c:pt>
                <c:pt idx="370">
                  <c:v>14.79418604651163</c:v>
                </c:pt>
                <c:pt idx="371">
                  <c:v>14.79418604651163</c:v>
                </c:pt>
                <c:pt idx="372">
                  <c:v>14.79418604651163</c:v>
                </c:pt>
                <c:pt idx="373">
                  <c:v>14.79418604651163</c:v>
                </c:pt>
                <c:pt idx="374">
                  <c:v>14.79418604651163</c:v>
                </c:pt>
                <c:pt idx="375">
                  <c:v>14.79418604651163</c:v>
                </c:pt>
                <c:pt idx="376">
                  <c:v>14.79418604651163</c:v>
                </c:pt>
                <c:pt idx="377">
                  <c:v>14.79418604651163</c:v>
                </c:pt>
                <c:pt idx="378">
                  <c:v>14.79418604651163</c:v>
                </c:pt>
                <c:pt idx="379">
                  <c:v>14.79418604651163</c:v>
                </c:pt>
                <c:pt idx="380">
                  <c:v>14.79418604651163</c:v>
                </c:pt>
                <c:pt idx="381">
                  <c:v>14.79418604651163</c:v>
                </c:pt>
                <c:pt idx="382">
                  <c:v>14.79418604651163</c:v>
                </c:pt>
                <c:pt idx="383">
                  <c:v>14.79418604651163</c:v>
                </c:pt>
                <c:pt idx="384">
                  <c:v>14.79418604651163</c:v>
                </c:pt>
                <c:pt idx="385">
                  <c:v>14.79418604651163</c:v>
                </c:pt>
                <c:pt idx="386">
                  <c:v>14.79418604651163</c:v>
                </c:pt>
                <c:pt idx="387">
                  <c:v>14.79418604651163</c:v>
                </c:pt>
                <c:pt idx="388">
                  <c:v>14.79418604651163</c:v>
                </c:pt>
                <c:pt idx="389">
                  <c:v>14.79418604651163</c:v>
                </c:pt>
                <c:pt idx="390">
                  <c:v>14.79418604651163</c:v>
                </c:pt>
                <c:pt idx="391">
                  <c:v>14.79418604651163</c:v>
                </c:pt>
                <c:pt idx="392">
                  <c:v>14.79418604651163</c:v>
                </c:pt>
                <c:pt idx="393">
                  <c:v>14.79418604651163</c:v>
                </c:pt>
                <c:pt idx="394">
                  <c:v>14.79418604651163</c:v>
                </c:pt>
                <c:pt idx="395">
                  <c:v>14.79418604651163</c:v>
                </c:pt>
                <c:pt idx="396">
                  <c:v>14.79418604651163</c:v>
                </c:pt>
                <c:pt idx="397">
                  <c:v>14.79418604651163</c:v>
                </c:pt>
                <c:pt idx="398">
                  <c:v>14.79418604651163</c:v>
                </c:pt>
                <c:pt idx="399">
                  <c:v>14.79418604651163</c:v>
                </c:pt>
                <c:pt idx="400">
                  <c:v>14.79418604651163</c:v>
                </c:pt>
                <c:pt idx="401">
                  <c:v>14.79418604651163</c:v>
                </c:pt>
                <c:pt idx="402">
                  <c:v>14.79418604651163</c:v>
                </c:pt>
                <c:pt idx="403">
                  <c:v>14.79418604651163</c:v>
                </c:pt>
                <c:pt idx="404">
                  <c:v>14.79418604651163</c:v>
                </c:pt>
                <c:pt idx="405">
                  <c:v>14.79418604651163</c:v>
                </c:pt>
                <c:pt idx="406">
                  <c:v>14.79418604651163</c:v>
                </c:pt>
                <c:pt idx="407">
                  <c:v>14.79418604651163</c:v>
                </c:pt>
                <c:pt idx="408">
                  <c:v>14.79418604651163</c:v>
                </c:pt>
                <c:pt idx="409">
                  <c:v>14.79418604651163</c:v>
                </c:pt>
                <c:pt idx="410">
                  <c:v>14.79418604651163</c:v>
                </c:pt>
                <c:pt idx="411">
                  <c:v>14.79418604651163</c:v>
                </c:pt>
                <c:pt idx="412">
                  <c:v>14.79418604651163</c:v>
                </c:pt>
                <c:pt idx="413">
                  <c:v>14.79418604651163</c:v>
                </c:pt>
                <c:pt idx="414">
                  <c:v>14.79418604651163</c:v>
                </c:pt>
                <c:pt idx="415">
                  <c:v>14.79418604651163</c:v>
                </c:pt>
                <c:pt idx="416">
                  <c:v>14.79418604651163</c:v>
                </c:pt>
                <c:pt idx="417">
                  <c:v>14.79418604651163</c:v>
                </c:pt>
                <c:pt idx="418">
                  <c:v>14.79418604651163</c:v>
                </c:pt>
                <c:pt idx="419">
                  <c:v>14.79418604651163</c:v>
                </c:pt>
                <c:pt idx="420">
                  <c:v>14.79418604651163</c:v>
                </c:pt>
                <c:pt idx="421">
                  <c:v>14.79418604651163</c:v>
                </c:pt>
                <c:pt idx="422">
                  <c:v>14.79418604651163</c:v>
                </c:pt>
                <c:pt idx="423">
                  <c:v>14.79418604651163</c:v>
                </c:pt>
                <c:pt idx="424">
                  <c:v>14.79418604651163</c:v>
                </c:pt>
                <c:pt idx="425">
                  <c:v>14.79418604651163</c:v>
                </c:pt>
                <c:pt idx="426">
                  <c:v>14.79418604651163</c:v>
                </c:pt>
                <c:pt idx="427">
                  <c:v>14.79418604651163</c:v>
                </c:pt>
                <c:pt idx="428">
                  <c:v>14.79418604651163</c:v>
                </c:pt>
                <c:pt idx="429">
                  <c:v>14.79418604651163</c:v>
                </c:pt>
                <c:pt idx="430">
                  <c:v>14.79418604651163</c:v>
                </c:pt>
                <c:pt idx="431">
                  <c:v>14.79418604651163</c:v>
                </c:pt>
                <c:pt idx="432">
                  <c:v>14.79418604651163</c:v>
                </c:pt>
                <c:pt idx="433">
                  <c:v>14.79418604651163</c:v>
                </c:pt>
                <c:pt idx="434">
                  <c:v>14.79418604651163</c:v>
                </c:pt>
                <c:pt idx="435">
                  <c:v>14.79418604651163</c:v>
                </c:pt>
                <c:pt idx="436">
                  <c:v>14.79418604651163</c:v>
                </c:pt>
                <c:pt idx="437">
                  <c:v>14.79418604651163</c:v>
                </c:pt>
                <c:pt idx="438">
                  <c:v>14.79418604651163</c:v>
                </c:pt>
                <c:pt idx="439">
                  <c:v>14.79418604651163</c:v>
                </c:pt>
                <c:pt idx="440">
                  <c:v>14.79418604651163</c:v>
                </c:pt>
                <c:pt idx="441">
                  <c:v>14.79418604651163</c:v>
                </c:pt>
                <c:pt idx="442">
                  <c:v>14.79418604651163</c:v>
                </c:pt>
                <c:pt idx="443">
                  <c:v>14.79418604651163</c:v>
                </c:pt>
                <c:pt idx="444">
                  <c:v>14.79418604651163</c:v>
                </c:pt>
                <c:pt idx="445">
                  <c:v>14.79418604651163</c:v>
                </c:pt>
                <c:pt idx="446">
                  <c:v>14.79418604651163</c:v>
                </c:pt>
                <c:pt idx="447">
                  <c:v>14.79418604651163</c:v>
                </c:pt>
                <c:pt idx="448">
                  <c:v>14.79418604651163</c:v>
                </c:pt>
                <c:pt idx="449">
                  <c:v>14.79418604651163</c:v>
                </c:pt>
                <c:pt idx="450">
                  <c:v>14.79418604651163</c:v>
                </c:pt>
                <c:pt idx="451">
                  <c:v>14.79418604651163</c:v>
                </c:pt>
                <c:pt idx="452">
                  <c:v>14.79418604651163</c:v>
                </c:pt>
                <c:pt idx="453">
                  <c:v>14.79418604651163</c:v>
                </c:pt>
                <c:pt idx="454">
                  <c:v>14.79418604651163</c:v>
                </c:pt>
                <c:pt idx="455">
                  <c:v>14.79418604651163</c:v>
                </c:pt>
                <c:pt idx="456">
                  <c:v>14.79418604651163</c:v>
                </c:pt>
                <c:pt idx="457">
                  <c:v>14.79418604651163</c:v>
                </c:pt>
                <c:pt idx="458">
                  <c:v>14.79418604651163</c:v>
                </c:pt>
                <c:pt idx="459">
                  <c:v>14.79418604651163</c:v>
                </c:pt>
                <c:pt idx="460">
                  <c:v>14.79418604651163</c:v>
                </c:pt>
                <c:pt idx="461">
                  <c:v>14.79418604651163</c:v>
                </c:pt>
                <c:pt idx="462">
                  <c:v>14.79418604651163</c:v>
                </c:pt>
                <c:pt idx="463">
                  <c:v>14.79418604651163</c:v>
                </c:pt>
                <c:pt idx="464">
                  <c:v>14.79418604651163</c:v>
                </c:pt>
                <c:pt idx="465">
                  <c:v>14.79418604651163</c:v>
                </c:pt>
                <c:pt idx="466">
                  <c:v>14.79418604651163</c:v>
                </c:pt>
                <c:pt idx="467">
                  <c:v>14.79418604651163</c:v>
                </c:pt>
                <c:pt idx="468">
                  <c:v>14.79418604651163</c:v>
                </c:pt>
                <c:pt idx="469">
                  <c:v>14.79418604651163</c:v>
                </c:pt>
                <c:pt idx="470">
                  <c:v>14.79418604651163</c:v>
                </c:pt>
                <c:pt idx="471">
                  <c:v>14.79418604651163</c:v>
                </c:pt>
                <c:pt idx="472">
                  <c:v>14.79418604651163</c:v>
                </c:pt>
                <c:pt idx="473">
                  <c:v>14.79418604651163</c:v>
                </c:pt>
                <c:pt idx="474">
                  <c:v>14.79418604651163</c:v>
                </c:pt>
                <c:pt idx="475">
                  <c:v>14.79418604651163</c:v>
                </c:pt>
                <c:pt idx="476">
                  <c:v>14.79418604651163</c:v>
                </c:pt>
                <c:pt idx="477">
                  <c:v>14.79418604651163</c:v>
                </c:pt>
                <c:pt idx="478">
                  <c:v>14.79418604651163</c:v>
                </c:pt>
                <c:pt idx="479">
                  <c:v>14.79418604651163</c:v>
                </c:pt>
                <c:pt idx="480">
                  <c:v>14.79418604651163</c:v>
                </c:pt>
                <c:pt idx="481">
                  <c:v>14.79418604651163</c:v>
                </c:pt>
                <c:pt idx="482">
                  <c:v>14.79418604651163</c:v>
                </c:pt>
                <c:pt idx="483">
                  <c:v>14.79418604651163</c:v>
                </c:pt>
                <c:pt idx="484">
                  <c:v>14.79418604651163</c:v>
                </c:pt>
                <c:pt idx="485">
                  <c:v>14.79418604651163</c:v>
                </c:pt>
                <c:pt idx="486">
                  <c:v>14.79418604651163</c:v>
                </c:pt>
                <c:pt idx="487">
                  <c:v>14.79418604651163</c:v>
                </c:pt>
                <c:pt idx="488">
                  <c:v>14.79418604651163</c:v>
                </c:pt>
                <c:pt idx="489">
                  <c:v>14.79418604651163</c:v>
                </c:pt>
                <c:pt idx="490">
                  <c:v>14.79418604651163</c:v>
                </c:pt>
                <c:pt idx="491">
                  <c:v>14.79418604651163</c:v>
                </c:pt>
                <c:pt idx="492">
                  <c:v>14.79418604651163</c:v>
                </c:pt>
                <c:pt idx="493">
                  <c:v>14.79418604651163</c:v>
                </c:pt>
                <c:pt idx="494">
                  <c:v>14.79418604651163</c:v>
                </c:pt>
                <c:pt idx="495">
                  <c:v>14.79418604651163</c:v>
                </c:pt>
                <c:pt idx="496">
                  <c:v>14.79418604651163</c:v>
                </c:pt>
                <c:pt idx="497">
                  <c:v>14.79418604651163</c:v>
                </c:pt>
                <c:pt idx="498">
                  <c:v>14.79418604651163</c:v>
                </c:pt>
                <c:pt idx="499">
                  <c:v>14.79418604651163</c:v>
                </c:pt>
                <c:pt idx="500">
                  <c:v>14.79418604651163</c:v>
                </c:pt>
                <c:pt idx="501">
                  <c:v>14.79418604651163</c:v>
                </c:pt>
                <c:pt idx="502">
                  <c:v>14.79418604651163</c:v>
                </c:pt>
                <c:pt idx="503">
                  <c:v>14.79418604651163</c:v>
                </c:pt>
                <c:pt idx="504">
                  <c:v>14.79418604651163</c:v>
                </c:pt>
                <c:pt idx="505">
                  <c:v>14.79418604651163</c:v>
                </c:pt>
                <c:pt idx="506">
                  <c:v>14.79418604651163</c:v>
                </c:pt>
                <c:pt idx="507">
                  <c:v>14.79418604651163</c:v>
                </c:pt>
                <c:pt idx="508">
                  <c:v>14.79418604651163</c:v>
                </c:pt>
                <c:pt idx="509">
                  <c:v>14.79418604651163</c:v>
                </c:pt>
                <c:pt idx="510">
                  <c:v>14.79418604651163</c:v>
                </c:pt>
                <c:pt idx="511">
                  <c:v>14.79418604651163</c:v>
                </c:pt>
                <c:pt idx="512">
                  <c:v>14.79418604651163</c:v>
                </c:pt>
                <c:pt idx="513">
                  <c:v>14.79418604651163</c:v>
                </c:pt>
                <c:pt idx="514">
                  <c:v>14.79418604651163</c:v>
                </c:pt>
                <c:pt idx="515">
                  <c:v>14.79418604651163</c:v>
                </c:pt>
                <c:pt idx="516">
                  <c:v>14.79418604651163</c:v>
                </c:pt>
                <c:pt idx="517">
                  <c:v>14.79418604651163</c:v>
                </c:pt>
                <c:pt idx="518">
                  <c:v>14.79418604651163</c:v>
                </c:pt>
                <c:pt idx="519">
                  <c:v>14.79418604651163</c:v>
                </c:pt>
                <c:pt idx="520">
                  <c:v>14.79418604651163</c:v>
                </c:pt>
                <c:pt idx="521">
                  <c:v>14.79418604651163</c:v>
                </c:pt>
                <c:pt idx="522">
                  <c:v>14.79418604651163</c:v>
                </c:pt>
                <c:pt idx="523">
                  <c:v>14.79418604651163</c:v>
                </c:pt>
                <c:pt idx="524">
                  <c:v>14.79418604651163</c:v>
                </c:pt>
                <c:pt idx="525">
                  <c:v>14.79418604651163</c:v>
                </c:pt>
                <c:pt idx="526">
                  <c:v>14.79418604651163</c:v>
                </c:pt>
                <c:pt idx="527">
                  <c:v>14.79418604651163</c:v>
                </c:pt>
                <c:pt idx="528">
                  <c:v>14.79418604651163</c:v>
                </c:pt>
                <c:pt idx="529">
                  <c:v>14.79418604651163</c:v>
                </c:pt>
                <c:pt idx="530">
                  <c:v>14.79418604651163</c:v>
                </c:pt>
                <c:pt idx="531">
                  <c:v>14.79418604651163</c:v>
                </c:pt>
                <c:pt idx="532">
                  <c:v>14.79418604651163</c:v>
                </c:pt>
                <c:pt idx="533">
                  <c:v>14.79418604651163</c:v>
                </c:pt>
                <c:pt idx="534">
                  <c:v>14.79418604651163</c:v>
                </c:pt>
                <c:pt idx="535">
                  <c:v>14.79418604651163</c:v>
                </c:pt>
                <c:pt idx="536">
                  <c:v>14.79418604651163</c:v>
                </c:pt>
                <c:pt idx="537">
                  <c:v>14.79418604651163</c:v>
                </c:pt>
                <c:pt idx="538">
                  <c:v>14.79418604651163</c:v>
                </c:pt>
                <c:pt idx="539">
                  <c:v>14.79418604651163</c:v>
                </c:pt>
                <c:pt idx="540">
                  <c:v>14.79418604651163</c:v>
                </c:pt>
                <c:pt idx="541">
                  <c:v>14.79418604651163</c:v>
                </c:pt>
                <c:pt idx="542">
                  <c:v>14.79418604651163</c:v>
                </c:pt>
                <c:pt idx="543">
                  <c:v>14.79418604651163</c:v>
                </c:pt>
                <c:pt idx="544">
                  <c:v>14.79418604651163</c:v>
                </c:pt>
                <c:pt idx="545">
                  <c:v>14.79418604651163</c:v>
                </c:pt>
                <c:pt idx="546">
                  <c:v>14.79418604651163</c:v>
                </c:pt>
                <c:pt idx="547">
                  <c:v>14.79418604651163</c:v>
                </c:pt>
                <c:pt idx="548">
                  <c:v>14.79418604651163</c:v>
                </c:pt>
                <c:pt idx="549">
                  <c:v>14.79418604651163</c:v>
                </c:pt>
                <c:pt idx="550">
                  <c:v>14.79418604651163</c:v>
                </c:pt>
                <c:pt idx="551">
                  <c:v>14.79418604651163</c:v>
                </c:pt>
                <c:pt idx="552">
                  <c:v>14.79418604651163</c:v>
                </c:pt>
                <c:pt idx="553">
                  <c:v>14.79418604651163</c:v>
                </c:pt>
                <c:pt idx="554">
                  <c:v>14.79418604651163</c:v>
                </c:pt>
                <c:pt idx="555">
                  <c:v>14.79418604651163</c:v>
                </c:pt>
                <c:pt idx="556">
                  <c:v>14.79418604651163</c:v>
                </c:pt>
                <c:pt idx="557">
                  <c:v>14.79418604651163</c:v>
                </c:pt>
                <c:pt idx="558">
                  <c:v>14.79418604651163</c:v>
                </c:pt>
                <c:pt idx="559">
                  <c:v>14.79418604651163</c:v>
                </c:pt>
                <c:pt idx="560">
                  <c:v>14.79418604651163</c:v>
                </c:pt>
                <c:pt idx="561">
                  <c:v>14.79418604651163</c:v>
                </c:pt>
                <c:pt idx="562">
                  <c:v>14.79418604651163</c:v>
                </c:pt>
                <c:pt idx="563">
                  <c:v>14.79418604651163</c:v>
                </c:pt>
                <c:pt idx="564">
                  <c:v>14.79418604651163</c:v>
                </c:pt>
                <c:pt idx="565">
                  <c:v>14.79418604651163</c:v>
                </c:pt>
                <c:pt idx="566">
                  <c:v>14.79418604651163</c:v>
                </c:pt>
                <c:pt idx="567">
                  <c:v>14.79418604651163</c:v>
                </c:pt>
                <c:pt idx="568">
                  <c:v>14.79418604651163</c:v>
                </c:pt>
                <c:pt idx="569">
                  <c:v>14.79418604651163</c:v>
                </c:pt>
                <c:pt idx="570">
                  <c:v>14.79418604651163</c:v>
                </c:pt>
                <c:pt idx="571">
                  <c:v>14.79418604651163</c:v>
                </c:pt>
                <c:pt idx="572">
                  <c:v>14.79418604651163</c:v>
                </c:pt>
                <c:pt idx="573">
                  <c:v>14.79418604651163</c:v>
                </c:pt>
                <c:pt idx="574">
                  <c:v>14.79418604651163</c:v>
                </c:pt>
                <c:pt idx="575">
                  <c:v>14.79418604651163</c:v>
                </c:pt>
                <c:pt idx="576">
                  <c:v>14.79418604651163</c:v>
                </c:pt>
                <c:pt idx="577">
                  <c:v>14.79418604651163</c:v>
                </c:pt>
                <c:pt idx="578">
                  <c:v>14.79418604651163</c:v>
                </c:pt>
                <c:pt idx="579">
                  <c:v>14.79418604651163</c:v>
                </c:pt>
                <c:pt idx="580">
                  <c:v>14.79418604651163</c:v>
                </c:pt>
                <c:pt idx="581">
                  <c:v>14.79418604651163</c:v>
                </c:pt>
                <c:pt idx="582">
                  <c:v>14.79418604651163</c:v>
                </c:pt>
                <c:pt idx="583">
                  <c:v>14.79418604651163</c:v>
                </c:pt>
                <c:pt idx="584">
                  <c:v>14.79418604651163</c:v>
                </c:pt>
                <c:pt idx="585">
                  <c:v>14.79418604651163</c:v>
                </c:pt>
                <c:pt idx="586">
                  <c:v>14.79418604651163</c:v>
                </c:pt>
                <c:pt idx="587">
                  <c:v>14.79418604651163</c:v>
                </c:pt>
                <c:pt idx="588">
                  <c:v>14.79418604651163</c:v>
                </c:pt>
                <c:pt idx="589">
                  <c:v>14.79418604651163</c:v>
                </c:pt>
                <c:pt idx="590">
                  <c:v>14.79418604651163</c:v>
                </c:pt>
                <c:pt idx="591">
                  <c:v>14.79418604651163</c:v>
                </c:pt>
                <c:pt idx="592">
                  <c:v>14.79418604651163</c:v>
                </c:pt>
                <c:pt idx="593">
                  <c:v>14.79418604651163</c:v>
                </c:pt>
                <c:pt idx="594">
                  <c:v>14.79418604651163</c:v>
                </c:pt>
                <c:pt idx="595">
                  <c:v>14.79418604651163</c:v>
                </c:pt>
                <c:pt idx="596">
                  <c:v>14.79418604651163</c:v>
                </c:pt>
                <c:pt idx="597">
                  <c:v>14.79418604651163</c:v>
                </c:pt>
                <c:pt idx="598">
                  <c:v>14.79418604651163</c:v>
                </c:pt>
                <c:pt idx="599">
                  <c:v>14.79418604651163</c:v>
                </c:pt>
                <c:pt idx="600">
                  <c:v>14.79418604651163</c:v>
                </c:pt>
                <c:pt idx="601">
                  <c:v>14.79418604651163</c:v>
                </c:pt>
                <c:pt idx="602">
                  <c:v>14.79418604651163</c:v>
                </c:pt>
                <c:pt idx="603">
                  <c:v>14.79418604651163</c:v>
                </c:pt>
                <c:pt idx="604">
                  <c:v>14.79418604651163</c:v>
                </c:pt>
                <c:pt idx="605">
                  <c:v>14.79418604651163</c:v>
                </c:pt>
                <c:pt idx="606">
                  <c:v>14.79418604651163</c:v>
                </c:pt>
                <c:pt idx="607">
                  <c:v>14.79418604651163</c:v>
                </c:pt>
                <c:pt idx="608">
                  <c:v>14.79418604651163</c:v>
                </c:pt>
                <c:pt idx="609">
                  <c:v>14.79418604651163</c:v>
                </c:pt>
                <c:pt idx="610">
                  <c:v>14.79418604651163</c:v>
                </c:pt>
                <c:pt idx="611">
                  <c:v>14.79418604651163</c:v>
                </c:pt>
                <c:pt idx="612">
                  <c:v>14.79418604651163</c:v>
                </c:pt>
                <c:pt idx="613">
                  <c:v>14.79418604651163</c:v>
                </c:pt>
                <c:pt idx="614">
                  <c:v>14.79418604651163</c:v>
                </c:pt>
                <c:pt idx="615">
                  <c:v>14.79418604651163</c:v>
                </c:pt>
                <c:pt idx="616">
                  <c:v>14.79418604651163</c:v>
                </c:pt>
                <c:pt idx="617">
                  <c:v>14.79418604651163</c:v>
                </c:pt>
                <c:pt idx="618">
                  <c:v>14.79418604651163</c:v>
                </c:pt>
                <c:pt idx="619">
                  <c:v>14.79418604651163</c:v>
                </c:pt>
                <c:pt idx="620">
                  <c:v>14.79418604651163</c:v>
                </c:pt>
                <c:pt idx="621">
                  <c:v>14.79418604651163</c:v>
                </c:pt>
                <c:pt idx="622">
                  <c:v>14.79418604651163</c:v>
                </c:pt>
                <c:pt idx="623">
                  <c:v>14.79418604651163</c:v>
                </c:pt>
                <c:pt idx="624">
                  <c:v>14.79418604651163</c:v>
                </c:pt>
                <c:pt idx="625">
                  <c:v>14.79418604651163</c:v>
                </c:pt>
                <c:pt idx="626">
                  <c:v>14.79418604651163</c:v>
                </c:pt>
                <c:pt idx="627">
                  <c:v>14.79418604651163</c:v>
                </c:pt>
                <c:pt idx="628">
                  <c:v>14.79418604651163</c:v>
                </c:pt>
                <c:pt idx="629">
                  <c:v>14.79418604651163</c:v>
                </c:pt>
                <c:pt idx="630">
                  <c:v>14.79418604651163</c:v>
                </c:pt>
                <c:pt idx="631">
                  <c:v>14.79418604651163</c:v>
                </c:pt>
                <c:pt idx="632">
                  <c:v>14.79418604651163</c:v>
                </c:pt>
                <c:pt idx="633">
                  <c:v>14.79418604651163</c:v>
                </c:pt>
                <c:pt idx="634">
                  <c:v>14.79418604651163</c:v>
                </c:pt>
                <c:pt idx="635">
                  <c:v>14.79418604651163</c:v>
                </c:pt>
                <c:pt idx="636">
                  <c:v>14.79418604651163</c:v>
                </c:pt>
                <c:pt idx="637">
                  <c:v>14.79418604651163</c:v>
                </c:pt>
                <c:pt idx="638">
                  <c:v>14.79418604651163</c:v>
                </c:pt>
                <c:pt idx="639">
                  <c:v>14.79418604651163</c:v>
                </c:pt>
                <c:pt idx="640">
                  <c:v>14.79418604651163</c:v>
                </c:pt>
                <c:pt idx="641">
                  <c:v>14.79418604651163</c:v>
                </c:pt>
                <c:pt idx="642">
                  <c:v>14.79418604651163</c:v>
                </c:pt>
                <c:pt idx="643">
                  <c:v>14.79418604651163</c:v>
                </c:pt>
                <c:pt idx="644">
                  <c:v>14.79418604651163</c:v>
                </c:pt>
                <c:pt idx="645">
                  <c:v>14.79418604651163</c:v>
                </c:pt>
                <c:pt idx="646">
                  <c:v>14.79418604651163</c:v>
                </c:pt>
                <c:pt idx="647">
                  <c:v>14.79418604651163</c:v>
                </c:pt>
                <c:pt idx="648">
                  <c:v>14.79418604651163</c:v>
                </c:pt>
                <c:pt idx="649">
                  <c:v>14.79418604651163</c:v>
                </c:pt>
                <c:pt idx="650">
                  <c:v>14.79418604651163</c:v>
                </c:pt>
                <c:pt idx="651">
                  <c:v>14.79418604651163</c:v>
                </c:pt>
                <c:pt idx="652">
                  <c:v>14.79418604651163</c:v>
                </c:pt>
                <c:pt idx="653">
                  <c:v>14.79418604651163</c:v>
                </c:pt>
                <c:pt idx="654">
                  <c:v>14.79418604651163</c:v>
                </c:pt>
                <c:pt idx="655">
                  <c:v>14.79418604651163</c:v>
                </c:pt>
                <c:pt idx="656">
                  <c:v>14.79418604651163</c:v>
                </c:pt>
                <c:pt idx="657">
                  <c:v>14.79418604651163</c:v>
                </c:pt>
                <c:pt idx="658">
                  <c:v>14.79418604651163</c:v>
                </c:pt>
                <c:pt idx="659">
                  <c:v>14.79418604651163</c:v>
                </c:pt>
                <c:pt idx="660">
                  <c:v>14.79418604651163</c:v>
                </c:pt>
                <c:pt idx="661">
                  <c:v>14.79418604651163</c:v>
                </c:pt>
                <c:pt idx="662">
                  <c:v>14.79418604651163</c:v>
                </c:pt>
                <c:pt idx="663">
                  <c:v>14.79418604651163</c:v>
                </c:pt>
                <c:pt idx="664">
                  <c:v>14.79418604651163</c:v>
                </c:pt>
                <c:pt idx="665">
                  <c:v>14.79418604651163</c:v>
                </c:pt>
                <c:pt idx="666">
                  <c:v>14.79418604651163</c:v>
                </c:pt>
                <c:pt idx="667">
                  <c:v>14.79418604651163</c:v>
                </c:pt>
                <c:pt idx="668">
                  <c:v>14.79418604651163</c:v>
                </c:pt>
                <c:pt idx="669">
                  <c:v>14.79418604651163</c:v>
                </c:pt>
                <c:pt idx="670">
                  <c:v>14.79418604651163</c:v>
                </c:pt>
                <c:pt idx="671">
                  <c:v>14.79418604651163</c:v>
                </c:pt>
                <c:pt idx="672">
                  <c:v>14.79418604651163</c:v>
                </c:pt>
                <c:pt idx="673">
                  <c:v>14.79418604651163</c:v>
                </c:pt>
                <c:pt idx="674">
                  <c:v>14.79418604651163</c:v>
                </c:pt>
                <c:pt idx="675">
                  <c:v>14.79418604651163</c:v>
                </c:pt>
                <c:pt idx="676">
                  <c:v>14.79418604651163</c:v>
                </c:pt>
                <c:pt idx="677">
                  <c:v>14.79418604651163</c:v>
                </c:pt>
                <c:pt idx="678">
                  <c:v>14.79418604651163</c:v>
                </c:pt>
                <c:pt idx="679">
                  <c:v>14.79418604651163</c:v>
                </c:pt>
                <c:pt idx="680">
                  <c:v>14.79418604651163</c:v>
                </c:pt>
                <c:pt idx="681">
                  <c:v>14.79418604651163</c:v>
                </c:pt>
                <c:pt idx="682">
                  <c:v>14.79418604651163</c:v>
                </c:pt>
                <c:pt idx="683">
                  <c:v>14.79418604651163</c:v>
                </c:pt>
                <c:pt idx="684">
                  <c:v>14.79418604651163</c:v>
                </c:pt>
                <c:pt idx="685">
                  <c:v>14.79418604651163</c:v>
                </c:pt>
                <c:pt idx="686">
                  <c:v>14.79418604651163</c:v>
                </c:pt>
                <c:pt idx="687">
                  <c:v>14.79418604651163</c:v>
                </c:pt>
                <c:pt idx="688">
                  <c:v>14.79418604651163</c:v>
                </c:pt>
                <c:pt idx="689">
                  <c:v>14.79418604651163</c:v>
                </c:pt>
                <c:pt idx="690">
                  <c:v>14.79418604651163</c:v>
                </c:pt>
                <c:pt idx="691">
                  <c:v>14.79418604651163</c:v>
                </c:pt>
                <c:pt idx="692">
                  <c:v>14.79418604651163</c:v>
                </c:pt>
                <c:pt idx="693">
                  <c:v>14.79418604651163</c:v>
                </c:pt>
                <c:pt idx="694">
                  <c:v>14.79418604651163</c:v>
                </c:pt>
                <c:pt idx="695">
                  <c:v>14.79418604651163</c:v>
                </c:pt>
                <c:pt idx="696">
                  <c:v>14.79418604651163</c:v>
                </c:pt>
                <c:pt idx="697">
                  <c:v>14.79418604651163</c:v>
                </c:pt>
                <c:pt idx="698">
                  <c:v>14.79418604651163</c:v>
                </c:pt>
                <c:pt idx="699">
                  <c:v>14.79418604651163</c:v>
                </c:pt>
                <c:pt idx="700">
                  <c:v>14.79418604651163</c:v>
                </c:pt>
                <c:pt idx="701">
                  <c:v>14.79418604651163</c:v>
                </c:pt>
                <c:pt idx="702">
                  <c:v>14.79418604651163</c:v>
                </c:pt>
                <c:pt idx="703">
                  <c:v>14.79418604651163</c:v>
                </c:pt>
                <c:pt idx="704">
                  <c:v>14.79418604651163</c:v>
                </c:pt>
                <c:pt idx="705">
                  <c:v>14.79418604651163</c:v>
                </c:pt>
                <c:pt idx="706">
                  <c:v>14.79418604651163</c:v>
                </c:pt>
                <c:pt idx="707">
                  <c:v>14.79418604651163</c:v>
                </c:pt>
                <c:pt idx="708">
                  <c:v>14.79418604651163</c:v>
                </c:pt>
                <c:pt idx="709">
                  <c:v>14.79418604651163</c:v>
                </c:pt>
                <c:pt idx="710">
                  <c:v>14.79418604651163</c:v>
                </c:pt>
                <c:pt idx="711">
                  <c:v>14.79418604651163</c:v>
                </c:pt>
                <c:pt idx="712">
                  <c:v>14.79418604651163</c:v>
                </c:pt>
                <c:pt idx="713">
                  <c:v>14.79418604651163</c:v>
                </c:pt>
                <c:pt idx="714">
                  <c:v>14.79418604651163</c:v>
                </c:pt>
                <c:pt idx="715">
                  <c:v>14.79418604651163</c:v>
                </c:pt>
                <c:pt idx="716">
                  <c:v>14.79418604651163</c:v>
                </c:pt>
                <c:pt idx="717">
                  <c:v>14.79418604651163</c:v>
                </c:pt>
                <c:pt idx="718">
                  <c:v>14.79418604651163</c:v>
                </c:pt>
                <c:pt idx="719">
                  <c:v>14.79418604651163</c:v>
                </c:pt>
                <c:pt idx="720">
                  <c:v>14.79418604651163</c:v>
                </c:pt>
                <c:pt idx="721">
                  <c:v>14.79418604651163</c:v>
                </c:pt>
                <c:pt idx="722">
                  <c:v>14.79418604651163</c:v>
                </c:pt>
                <c:pt idx="723">
                  <c:v>14.79418604651163</c:v>
                </c:pt>
                <c:pt idx="724">
                  <c:v>14.79418604651163</c:v>
                </c:pt>
                <c:pt idx="725">
                  <c:v>14.79418604651163</c:v>
                </c:pt>
                <c:pt idx="726">
                  <c:v>14.79418604651163</c:v>
                </c:pt>
                <c:pt idx="727">
                  <c:v>14.79418604651163</c:v>
                </c:pt>
                <c:pt idx="728">
                  <c:v>14.79418604651163</c:v>
                </c:pt>
                <c:pt idx="729">
                  <c:v>14.79418604651163</c:v>
                </c:pt>
                <c:pt idx="730">
                  <c:v>14.79418604651163</c:v>
                </c:pt>
                <c:pt idx="731">
                  <c:v>14.79418604651163</c:v>
                </c:pt>
                <c:pt idx="732">
                  <c:v>14.79418604651163</c:v>
                </c:pt>
                <c:pt idx="733">
                  <c:v>14.79418604651163</c:v>
                </c:pt>
                <c:pt idx="734">
                  <c:v>14.79418604651163</c:v>
                </c:pt>
                <c:pt idx="735">
                  <c:v>14.79418604651163</c:v>
                </c:pt>
                <c:pt idx="736">
                  <c:v>14.79418604651163</c:v>
                </c:pt>
                <c:pt idx="737">
                  <c:v>14.79418604651163</c:v>
                </c:pt>
                <c:pt idx="738">
                  <c:v>14.79418604651163</c:v>
                </c:pt>
                <c:pt idx="739">
                  <c:v>14.79418604651163</c:v>
                </c:pt>
                <c:pt idx="740">
                  <c:v>14.79418604651163</c:v>
                </c:pt>
                <c:pt idx="741">
                  <c:v>14.79418604651163</c:v>
                </c:pt>
                <c:pt idx="742">
                  <c:v>14.79418604651163</c:v>
                </c:pt>
                <c:pt idx="743">
                  <c:v>14.79418604651163</c:v>
                </c:pt>
                <c:pt idx="744">
                  <c:v>14.79418604651163</c:v>
                </c:pt>
                <c:pt idx="745">
                  <c:v>14.79418604651163</c:v>
                </c:pt>
                <c:pt idx="746">
                  <c:v>14.79418604651163</c:v>
                </c:pt>
                <c:pt idx="747">
                  <c:v>14.79418604651163</c:v>
                </c:pt>
                <c:pt idx="748">
                  <c:v>14.79418604651163</c:v>
                </c:pt>
                <c:pt idx="749">
                  <c:v>14.79418604651163</c:v>
                </c:pt>
                <c:pt idx="750">
                  <c:v>14.79418604651163</c:v>
                </c:pt>
                <c:pt idx="751">
                  <c:v>14.79418604651163</c:v>
                </c:pt>
                <c:pt idx="752">
                  <c:v>14.79418604651163</c:v>
                </c:pt>
                <c:pt idx="753">
                  <c:v>14.79418604651163</c:v>
                </c:pt>
                <c:pt idx="754">
                  <c:v>14.79418604651163</c:v>
                </c:pt>
                <c:pt idx="755">
                  <c:v>14.79418604651163</c:v>
                </c:pt>
                <c:pt idx="756">
                  <c:v>14.79418604651163</c:v>
                </c:pt>
                <c:pt idx="757">
                  <c:v>14.79418604651163</c:v>
                </c:pt>
                <c:pt idx="758">
                  <c:v>14.79418604651163</c:v>
                </c:pt>
                <c:pt idx="759">
                  <c:v>14.79418604651163</c:v>
                </c:pt>
                <c:pt idx="760">
                  <c:v>14.79418604651163</c:v>
                </c:pt>
                <c:pt idx="761">
                  <c:v>14.79418604651163</c:v>
                </c:pt>
                <c:pt idx="762">
                  <c:v>14.79418604651163</c:v>
                </c:pt>
                <c:pt idx="763">
                  <c:v>14.79418604651163</c:v>
                </c:pt>
                <c:pt idx="764">
                  <c:v>14.79418604651163</c:v>
                </c:pt>
                <c:pt idx="765">
                  <c:v>14.79418604651163</c:v>
                </c:pt>
                <c:pt idx="766">
                  <c:v>14.79418604651163</c:v>
                </c:pt>
                <c:pt idx="767">
                  <c:v>14.79418604651163</c:v>
                </c:pt>
                <c:pt idx="768">
                  <c:v>14.79418604651163</c:v>
                </c:pt>
                <c:pt idx="769">
                  <c:v>14.79418604651163</c:v>
                </c:pt>
                <c:pt idx="770">
                  <c:v>14.79418604651163</c:v>
                </c:pt>
                <c:pt idx="771">
                  <c:v>14.79418604651163</c:v>
                </c:pt>
                <c:pt idx="772">
                  <c:v>14.79418604651163</c:v>
                </c:pt>
                <c:pt idx="773">
                  <c:v>14.79418604651163</c:v>
                </c:pt>
                <c:pt idx="774">
                  <c:v>14.79418604651163</c:v>
                </c:pt>
                <c:pt idx="775">
                  <c:v>14.79418604651163</c:v>
                </c:pt>
                <c:pt idx="776">
                  <c:v>14.79418604651163</c:v>
                </c:pt>
                <c:pt idx="777">
                  <c:v>14.79418604651163</c:v>
                </c:pt>
                <c:pt idx="778">
                  <c:v>14.79418604651163</c:v>
                </c:pt>
                <c:pt idx="779">
                  <c:v>14.79418604651163</c:v>
                </c:pt>
                <c:pt idx="780">
                  <c:v>14.79418604651163</c:v>
                </c:pt>
                <c:pt idx="781">
                  <c:v>14.79418604651163</c:v>
                </c:pt>
                <c:pt idx="782">
                  <c:v>14.79418604651163</c:v>
                </c:pt>
                <c:pt idx="783">
                  <c:v>14.79418604651163</c:v>
                </c:pt>
                <c:pt idx="784">
                  <c:v>14.79418604651163</c:v>
                </c:pt>
                <c:pt idx="785">
                  <c:v>14.79418604651163</c:v>
                </c:pt>
                <c:pt idx="786">
                  <c:v>14.79418604651163</c:v>
                </c:pt>
                <c:pt idx="787">
                  <c:v>14.79418604651163</c:v>
                </c:pt>
                <c:pt idx="788">
                  <c:v>14.79418604651163</c:v>
                </c:pt>
                <c:pt idx="789">
                  <c:v>14.79418604651163</c:v>
                </c:pt>
                <c:pt idx="790">
                  <c:v>14.79418604651163</c:v>
                </c:pt>
                <c:pt idx="791">
                  <c:v>14.79418604651163</c:v>
                </c:pt>
                <c:pt idx="792">
                  <c:v>14.79418604651163</c:v>
                </c:pt>
                <c:pt idx="793">
                  <c:v>14.79418604651163</c:v>
                </c:pt>
                <c:pt idx="794">
                  <c:v>14.79418604651163</c:v>
                </c:pt>
                <c:pt idx="795">
                  <c:v>14.79418604651163</c:v>
                </c:pt>
                <c:pt idx="796">
                  <c:v>14.79418604651163</c:v>
                </c:pt>
                <c:pt idx="797">
                  <c:v>14.79418604651163</c:v>
                </c:pt>
                <c:pt idx="798">
                  <c:v>14.79418604651163</c:v>
                </c:pt>
                <c:pt idx="799">
                  <c:v>14.79418604651163</c:v>
                </c:pt>
                <c:pt idx="800">
                  <c:v>14.79418604651163</c:v>
                </c:pt>
                <c:pt idx="801">
                  <c:v>14.79418604651163</c:v>
                </c:pt>
                <c:pt idx="802">
                  <c:v>14.79418604651163</c:v>
                </c:pt>
                <c:pt idx="803">
                  <c:v>14.79418604651163</c:v>
                </c:pt>
                <c:pt idx="804">
                  <c:v>14.79418604651163</c:v>
                </c:pt>
                <c:pt idx="805">
                  <c:v>14.79418604651163</c:v>
                </c:pt>
                <c:pt idx="806">
                  <c:v>14.79418604651163</c:v>
                </c:pt>
                <c:pt idx="807">
                  <c:v>14.79418604651163</c:v>
                </c:pt>
                <c:pt idx="808">
                  <c:v>14.79418604651163</c:v>
                </c:pt>
                <c:pt idx="809">
                  <c:v>14.79418604651163</c:v>
                </c:pt>
                <c:pt idx="810">
                  <c:v>14.79418604651163</c:v>
                </c:pt>
                <c:pt idx="811">
                  <c:v>14.79418604651163</c:v>
                </c:pt>
                <c:pt idx="812">
                  <c:v>14.79418604651163</c:v>
                </c:pt>
                <c:pt idx="813">
                  <c:v>14.79418604651163</c:v>
                </c:pt>
                <c:pt idx="814">
                  <c:v>14.79418604651163</c:v>
                </c:pt>
                <c:pt idx="815">
                  <c:v>14.79418604651163</c:v>
                </c:pt>
                <c:pt idx="816">
                  <c:v>14.79418604651163</c:v>
                </c:pt>
                <c:pt idx="817">
                  <c:v>14.79418604651163</c:v>
                </c:pt>
                <c:pt idx="818">
                  <c:v>14.79418604651163</c:v>
                </c:pt>
                <c:pt idx="819">
                  <c:v>14.79418604651163</c:v>
                </c:pt>
                <c:pt idx="820">
                  <c:v>14.79418604651163</c:v>
                </c:pt>
                <c:pt idx="821">
                  <c:v>14.79418604651163</c:v>
                </c:pt>
                <c:pt idx="822">
                  <c:v>14.79418604651163</c:v>
                </c:pt>
                <c:pt idx="823">
                  <c:v>14.79418604651163</c:v>
                </c:pt>
                <c:pt idx="824">
                  <c:v>14.79418604651163</c:v>
                </c:pt>
                <c:pt idx="825">
                  <c:v>14.79418604651163</c:v>
                </c:pt>
                <c:pt idx="826">
                  <c:v>14.79418604651163</c:v>
                </c:pt>
                <c:pt idx="827">
                  <c:v>14.79418604651163</c:v>
                </c:pt>
                <c:pt idx="828">
                  <c:v>14.79418604651163</c:v>
                </c:pt>
                <c:pt idx="829">
                  <c:v>14.79418604651163</c:v>
                </c:pt>
                <c:pt idx="830">
                  <c:v>14.79418604651163</c:v>
                </c:pt>
                <c:pt idx="831">
                  <c:v>14.79418604651163</c:v>
                </c:pt>
                <c:pt idx="832">
                  <c:v>14.79418604651163</c:v>
                </c:pt>
                <c:pt idx="833">
                  <c:v>14.79418604651163</c:v>
                </c:pt>
                <c:pt idx="834">
                  <c:v>14.79418604651163</c:v>
                </c:pt>
                <c:pt idx="835">
                  <c:v>14.79418604651163</c:v>
                </c:pt>
                <c:pt idx="836">
                  <c:v>14.79418604651163</c:v>
                </c:pt>
                <c:pt idx="837">
                  <c:v>14.79418604651163</c:v>
                </c:pt>
                <c:pt idx="838">
                  <c:v>14.79418604651163</c:v>
                </c:pt>
                <c:pt idx="839">
                  <c:v>14.79418604651163</c:v>
                </c:pt>
                <c:pt idx="840">
                  <c:v>14.79418604651163</c:v>
                </c:pt>
                <c:pt idx="841">
                  <c:v>14.79418604651163</c:v>
                </c:pt>
                <c:pt idx="842">
                  <c:v>14.79418604651163</c:v>
                </c:pt>
                <c:pt idx="843">
                  <c:v>14.79418604651163</c:v>
                </c:pt>
                <c:pt idx="844">
                  <c:v>14.79418604651163</c:v>
                </c:pt>
                <c:pt idx="845">
                  <c:v>14.79418604651163</c:v>
                </c:pt>
                <c:pt idx="846">
                  <c:v>14.79418604651163</c:v>
                </c:pt>
                <c:pt idx="847">
                  <c:v>14.79418604651163</c:v>
                </c:pt>
                <c:pt idx="848">
                  <c:v>14.79418604651163</c:v>
                </c:pt>
                <c:pt idx="849">
                  <c:v>14.79418604651163</c:v>
                </c:pt>
                <c:pt idx="850">
                  <c:v>14.79418604651163</c:v>
                </c:pt>
                <c:pt idx="851">
                  <c:v>14.79418604651163</c:v>
                </c:pt>
                <c:pt idx="852">
                  <c:v>14.79418604651163</c:v>
                </c:pt>
                <c:pt idx="853">
                  <c:v>14.79418604651163</c:v>
                </c:pt>
                <c:pt idx="854">
                  <c:v>14.79418604651163</c:v>
                </c:pt>
                <c:pt idx="855">
                  <c:v>14.79418604651163</c:v>
                </c:pt>
                <c:pt idx="856">
                  <c:v>14.79418604651163</c:v>
                </c:pt>
                <c:pt idx="857">
                  <c:v>14.79418604651163</c:v>
                </c:pt>
                <c:pt idx="858">
                  <c:v>14.79418604651163</c:v>
                </c:pt>
                <c:pt idx="859">
                  <c:v>14.79418604651163</c:v>
                </c:pt>
                <c:pt idx="860">
                  <c:v>14.79418604651163</c:v>
                </c:pt>
                <c:pt idx="861">
                  <c:v>14.79418604651163</c:v>
                </c:pt>
                <c:pt idx="862">
                  <c:v>14.79418604651163</c:v>
                </c:pt>
                <c:pt idx="863">
                  <c:v>14.79418604651163</c:v>
                </c:pt>
                <c:pt idx="864">
                  <c:v>14.79418604651163</c:v>
                </c:pt>
                <c:pt idx="865">
                  <c:v>14.79418604651163</c:v>
                </c:pt>
                <c:pt idx="866">
                  <c:v>14.79418604651163</c:v>
                </c:pt>
                <c:pt idx="867">
                  <c:v>14.79418604651163</c:v>
                </c:pt>
                <c:pt idx="868">
                  <c:v>14.79418604651163</c:v>
                </c:pt>
                <c:pt idx="869">
                  <c:v>14.79418604651163</c:v>
                </c:pt>
                <c:pt idx="870">
                  <c:v>14.79418604651163</c:v>
                </c:pt>
                <c:pt idx="871">
                  <c:v>14.79418604651163</c:v>
                </c:pt>
                <c:pt idx="872">
                  <c:v>14.79418604651163</c:v>
                </c:pt>
                <c:pt idx="873">
                  <c:v>14.79418604651163</c:v>
                </c:pt>
                <c:pt idx="874">
                  <c:v>14.79418604651163</c:v>
                </c:pt>
                <c:pt idx="875">
                  <c:v>14.79418604651163</c:v>
                </c:pt>
                <c:pt idx="876">
                  <c:v>14.79418604651163</c:v>
                </c:pt>
                <c:pt idx="877">
                  <c:v>14.79418604651163</c:v>
                </c:pt>
                <c:pt idx="878">
                  <c:v>14.79418604651163</c:v>
                </c:pt>
                <c:pt idx="879">
                  <c:v>14.79418604651163</c:v>
                </c:pt>
                <c:pt idx="880">
                  <c:v>14.79418604651163</c:v>
                </c:pt>
                <c:pt idx="881">
                  <c:v>14.79418604651163</c:v>
                </c:pt>
                <c:pt idx="882">
                  <c:v>14.79418604651163</c:v>
                </c:pt>
                <c:pt idx="883">
                  <c:v>14.79418604651163</c:v>
                </c:pt>
                <c:pt idx="884">
                  <c:v>14.79418604651163</c:v>
                </c:pt>
                <c:pt idx="885">
                  <c:v>14.79418604651163</c:v>
                </c:pt>
                <c:pt idx="886">
                  <c:v>14.79418604651163</c:v>
                </c:pt>
                <c:pt idx="887">
                  <c:v>14.79418604651163</c:v>
                </c:pt>
                <c:pt idx="888">
                  <c:v>14.79418604651163</c:v>
                </c:pt>
                <c:pt idx="889">
                  <c:v>14.79418604651163</c:v>
                </c:pt>
                <c:pt idx="890">
                  <c:v>14.79418604651163</c:v>
                </c:pt>
                <c:pt idx="891">
                  <c:v>14.79418604651163</c:v>
                </c:pt>
                <c:pt idx="892">
                  <c:v>14.79418604651163</c:v>
                </c:pt>
                <c:pt idx="893">
                  <c:v>14.79418604651163</c:v>
                </c:pt>
                <c:pt idx="894">
                  <c:v>14.79418604651163</c:v>
                </c:pt>
                <c:pt idx="895">
                  <c:v>14.79418604651163</c:v>
                </c:pt>
                <c:pt idx="896">
                  <c:v>14.79418604651163</c:v>
                </c:pt>
                <c:pt idx="897">
                  <c:v>14.79418604651163</c:v>
                </c:pt>
                <c:pt idx="898">
                  <c:v>14.79418604651163</c:v>
                </c:pt>
                <c:pt idx="899">
                  <c:v>14.79418604651163</c:v>
                </c:pt>
                <c:pt idx="900">
                  <c:v>14.79418604651163</c:v>
                </c:pt>
                <c:pt idx="901">
                  <c:v>14.79418604651163</c:v>
                </c:pt>
                <c:pt idx="902">
                  <c:v>14.79418604651163</c:v>
                </c:pt>
                <c:pt idx="903">
                  <c:v>14.79418604651163</c:v>
                </c:pt>
                <c:pt idx="904">
                  <c:v>14.79418604651163</c:v>
                </c:pt>
                <c:pt idx="905">
                  <c:v>14.79418604651163</c:v>
                </c:pt>
                <c:pt idx="906">
                  <c:v>14.79418604651163</c:v>
                </c:pt>
                <c:pt idx="907">
                  <c:v>14.79418604651163</c:v>
                </c:pt>
                <c:pt idx="908">
                  <c:v>14.79418604651163</c:v>
                </c:pt>
                <c:pt idx="909">
                  <c:v>14.79418604651163</c:v>
                </c:pt>
                <c:pt idx="910">
                  <c:v>14.79418604651163</c:v>
                </c:pt>
                <c:pt idx="911">
                  <c:v>14.79418604651163</c:v>
                </c:pt>
                <c:pt idx="912">
                  <c:v>14.79418604651163</c:v>
                </c:pt>
                <c:pt idx="913">
                  <c:v>14.79418604651163</c:v>
                </c:pt>
                <c:pt idx="914">
                  <c:v>14.79418604651163</c:v>
                </c:pt>
                <c:pt idx="915">
                  <c:v>14.79418604651163</c:v>
                </c:pt>
                <c:pt idx="916">
                  <c:v>14.79418604651163</c:v>
                </c:pt>
                <c:pt idx="917">
                  <c:v>14.79418604651163</c:v>
                </c:pt>
                <c:pt idx="918">
                  <c:v>14.79418604651163</c:v>
                </c:pt>
                <c:pt idx="919">
                  <c:v>14.79418604651163</c:v>
                </c:pt>
                <c:pt idx="920">
                  <c:v>14.79418604651163</c:v>
                </c:pt>
                <c:pt idx="921">
                  <c:v>14.79418604651163</c:v>
                </c:pt>
                <c:pt idx="922">
                  <c:v>14.79418604651163</c:v>
                </c:pt>
                <c:pt idx="923">
                  <c:v>14.79418604651163</c:v>
                </c:pt>
                <c:pt idx="924">
                  <c:v>14.79418604651163</c:v>
                </c:pt>
                <c:pt idx="925">
                  <c:v>14.79418604651163</c:v>
                </c:pt>
                <c:pt idx="926">
                  <c:v>14.79418604651163</c:v>
                </c:pt>
                <c:pt idx="927">
                  <c:v>14.79418604651163</c:v>
                </c:pt>
                <c:pt idx="928">
                  <c:v>14.79418604651163</c:v>
                </c:pt>
                <c:pt idx="929">
                  <c:v>14.79418604651163</c:v>
                </c:pt>
                <c:pt idx="930">
                  <c:v>14.79418604651163</c:v>
                </c:pt>
                <c:pt idx="931">
                  <c:v>14.79418604651163</c:v>
                </c:pt>
                <c:pt idx="932">
                  <c:v>14.79418604651163</c:v>
                </c:pt>
                <c:pt idx="933">
                  <c:v>14.79418604651163</c:v>
                </c:pt>
                <c:pt idx="934">
                  <c:v>14.79418604651163</c:v>
                </c:pt>
                <c:pt idx="935">
                  <c:v>14.79418604651163</c:v>
                </c:pt>
                <c:pt idx="936">
                  <c:v>14.79418604651163</c:v>
                </c:pt>
                <c:pt idx="937">
                  <c:v>14.79418604651163</c:v>
                </c:pt>
                <c:pt idx="938">
                  <c:v>14.79418604651163</c:v>
                </c:pt>
                <c:pt idx="939">
                  <c:v>14.79418604651163</c:v>
                </c:pt>
                <c:pt idx="940">
                  <c:v>14.79418604651163</c:v>
                </c:pt>
                <c:pt idx="941">
                  <c:v>14.79418604651163</c:v>
                </c:pt>
                <c:pt idx="942">
                  <c:v>14.79418604651163</c:v>
                </c:pt>
                <c:pt idx="943">
                  <c:v>14.79418604651163</c:v>
                </c:pt>
                <c:pt idx="944">
                  <c:v>14.79418604651163</c:v>
                </c:pt>
                <c:pt idx="945">
                  <c:v>14.79418604651163</c:v>
                </c:pt>
                <c:pt idx="946">
                  <c:v>14.79418604651163</c:v>
                </c:pt>
                <c:pt idx="947">
                  <c:v>14.79418604651163</c:v>
                </c:pt>
                <c:pt idx="948">
                  <c:v>14.79418604651163</c:v>
                </c:pt>
                <c:pt idx="949">
                  <c:v>14.79418604651163</c:v>
                </c:pt>
                <c:pt idx="950">
                  <c:v>14.79418604651163</c:v>
                </c:pt>
                <c:pt idx="951">
                  <c:v>14.79418604651163</c:v>
                </c:pt>
                <c:pt idx="952">
                  <c:v>14.79418604651163</c:v>
                </c:pt>
                <c:pt idx="953">
                  <c:v>14.79418604651163</c:v>
                </c:pt>
                <c:pt idx="954">
                  <c:v>14.79418604651163</c:v>
                </c:pt>
                <c:pt idx="955">
                  <c:v>14.79418604651163</c:v>
                </c:pt>
                <c:pt idx="956">
                  <c:v>14.79418604651163</c:v>
                </c:pt>
                <c:pt idx="957">
                  <c:v>14.79418604651163</c:v>
                </c:pt>
                <c:pt idx="958">
                  <c:v>14.79418604651163</c:v>
                </c:pt>
                <c:pt idx="959">
                  <c:v>14.79418604651163</c:v>
                </c:pt>
                <c:pt idx="960">
                  <c:v>14.79418604651163</c:v>
                </c:pt>
                <c:pt idx="961">
                  <c:v>14.79418604651163</c:v>
                </c:pt>
                <c:pt idx="962">
                  <c:v>14.79418604651163</c:v>
                </c:pt>
                <c:pt idx="963">
                  <c:v>14.79418604651163</c:v>
                </c:pt>
                <c:pt idx="964">
                  <c:v>14.79418604651163</c:v>
                </c:pt>
                <c:pt idx="965">
                  <c:v>14.79418604651163</c:v>
                </c:pt>
                <c:pt idx="966">
                  <c:v>14.79418604651163</c:v>
                </c:pt>
                <c:pt idx="967">
                  <c:v>14.79418604651163</c:v>
                </c:pt>
                <c:pt idx="968">
                  <c:v>14.79418604651163</c:v>
                </c:pt>
                <c:pt idx="969">
                  <c:v>14.79418604651163</c:v>
                </c:pt>
                <c:pt idx="970">
                  <c:v>14.79418604651163</c:v>
                </c:pt>
                <c:pt idx="971">
                  <c:v>14.79418604651163</c:v>
                </c:pt>
                <c:pt idx="972">
                  <c:v>14.79418604651163</c:v>
                </c:pt>
                <c:pt idx="973">
                  <c:v>14.79418604651163</c:v>
                </c:pt>
                <c:pt idx="974">
                  <c:v>14.79418604651163</c:v>
                </c:pt>
                <c:pt idx="975">
                  <c:v>14.79418604651163</c:v>
                </c:pt>
                <c:pt idx="976">
                  <c:v>14.79418604651163</c:v>
                </c:pt>
                <c:pt idx="977">
                  <c:v>14.79418604651163</c:v>
                </c:pt>
                <c:pt idx="978">
                  <c:v>14.79418604651163</c:v>
                </c:pt>
                <c:pt idx="979">
                  <c:v>14.79418604651163</c:v>
                </c:pt>
                <c:pt idx="980">
                  <c:v>14.79418604651163</c:v>
                </c:pt>
                <c:pt idx="981">
                  <c:v>14.79418604651163</c:v>
                </c:pt>
                <c:pt idx="982">
                  <c:v>14.79418604651163</c:v>
                </c:pt>
                <c:pt idx="983">
                  <c:v>14.79418604651163</c:v>
                </c:pt>
                <c:pt idx="984">
                  <c:v>14.79418604651163</c:v>
                </c:pt>
                <c:pt idx="985">
                  <c:v>14.79418604651163</c:v>
                </c:pt>
                <c:pt idx="986">
                  <c:v>14.79418604651163</c:v>
                </c:pt>
                <c:pt idx="987">
                  <c:v>14.79418604651163</c:v>
                </c:pt>
                <c:pt idx="988">
                  <c:v>14.79418604651163</c:v>
                </c:pt>
                <c:pt idx="989">
                  <c:v>14.79418604651163</c:v>
                </c:pt>
                <c:pt idx="990">
                  <c:v>14.79418604651163</c:v>
                </c:pt>
                <c:pt idx="991">
                  <c:v>14.79418604651163</c:v>
                </c:pt>
                <c:pt idx="992">
                  <c:v>14.79418604651163</c:v>
                </c:pt>
                <c:pt idx="993">
                  <c:v>14.79418604651163</c:v>
                </c:pt>
                <c:pt idx="994">
                  <c:v>14.79418604651163</c:v>
                </c:pt>
                <c:pt idx="995">
                  <c:v>14.79418604651163</c:v>
                </c:pt>
                <c:pt idx="996">
                  <c:v>14.79418604651163</c:v>
                </c:pt>
                <c:pt idx="997">
                  <c:v>14.79418604651163</c:v>
                </c:pt>
                <c:pt idx="998">
                  <c:v>14.79418604651163</c:v>
                </c:pt>
                <c:pt idx="999">
                  <c:v>14.79418604651163</c:v>
                </c:pt>
                <c:pt idx="1000">
                  <c:v>14.79418604651163</c:v>
                </c:pt>
                <c:pt idx="1001">
                  <c:v>14.79418604651163</c:v>
                </c:pt>
                <c:pt idx="1002">
                  <c:v>14.79418604651163</c:v>
                </c:pt>
                <c:pt idx="1003">
                  <c:v>14.79418604651163</c:v>
                </c:pt>
                <c:pt idx="1004">
                  <c:v>14.79418604651163</c:v>
                </c:pt>
                <c:pt idx="1005">
                  <c:v>14.79418604651163</c:v>
                </c:pt>
                <c:pt idx="1006">
                  <c:v>14.79418604651163</c:v>
                </c:pt>
                <c:pt idx="1007">
                  <c:v>14.79418604651163</c:v>
                </c:pt>
                <c:pt idx="1008">
                  <c:v>14.79418604651163</c:v>
                </c:pt>
                <c:pt idx="1009">
                  <c:v>14.79418604651163</c:v>
                </c:pt>
                <c:pt idx="1010">
                  <c:v>14.79418604651163</c:v>
                </c:pt>
                <c:pt idx="1011">
                  <c:v>14.79418604651163</c:v>
                </c:pt>
                <c:pt idx="1012">
                  <c:v>14.79418604651163</c:v>
                </c:pt>
                <c:pt idx="1013">
                  <c:v>14.79418604651163</c:v>
                </c:pt>
                <c:pt idx="1014">
                  <c:v>14.79418604651163</c:v>
                </c:pt>
                <c:pt idx="1015">
                  <c:v>14.79418604651163</c:v>
                </c:pt>
                <c:pt idx="1016">
                  <c:v>14.79418604651163</c:v>
                </c:pt>
                <c:pt idx="1017">
                  <c:v>14.79418604651163</c:v>
                </c:pt>
                <c:pt idx="1018">
                  <c:v>14.79418604651163</c:v>
                </c:pt>
                <c:pt idx="1019">
                  <c:v>14.79418604651163</c:v>
                </c:pt>
                <c:pt idx="1020">
                  <c:v>14.79418604651163</c:v>
                </c:pt>
                <c:pt idx="1021">
                  <c:v>14.79418604651163</c:v>
                </c:pt>
                <c:pt idx="1022">
                  <c:v>14.79418604651163</c:v>
                </c:pt>
                <c:pt idx="1023">
                  <c:v>14.79418604651163</c:v>
                </c:pt>
                <c:pt idx="1024">
                  <c:v>14.79418604651163</c:v>
                </c:pt>
                <c:pt idx="1025">
                  <c:v>14.79418604651163</c:v>
                </c:pt>
                <c:pt idx="1026">
                  <c:v>14.79418604651163</c:v>
                </c:pt>
                <c:pt idx="1027">
                  <c:v>14.79418604651163</c:v>
                </c:pt>
                <c:pt idx="1028">
                  <c:v>14.79418604651163</c:v>
                </c:pt>
                <c:pt idx="1029">
                  <c:v>14.79418604651163</c:v>
                </c:pt>
                <c:pt idx="1030">
                  <c:v>14.79418604651163</c:v>
                </c:pt>
                <c:pt idx="1031">
                  <c:v>14.79418604651163</c:v>
                </c:pt>
                <c:pt idx="1032">
                  <c:v>14.79418604651163</c:v>
                </c:pt>
                <c:pt idx="1033">
                  <c:v>14.79418604651163</c:v>
                </c:pt>
                <c:pt idx="1034">
                  <c:v>14.79418604651163</c:v>
                </c:pt>
                <c:pt idx="1035">
                  <c:v>14.79418604651163</c:v>
                </c:pt>
                <c:pt idx="1036">
                  <c:v>14.79418604651163</c:v>
                </c:pt>
                <c:pt idx="1037">
                  <c:v>14.79418604651163</c:v>
                </c:pt>
                <c:pt idx="1038">
                  <c:v>14.79418604651163</c:v>
                </c:pt>
                <c:pt idx="1039">
                  <c:v>14.79418604651163</c:v>
                </c:pt>
                <c:pt idx="1040">
                  <c:v>14.79418604651163</c:v>
                </c:pt>
                <c:pt idx="1041">
                  <c:v>14.79418604651163</c:v>
                </c:pt>
                <c:pt idx="1042">
                  <c:v>14.79418604651163</c:v>
                </c:pt>
                <c:pt idx="1043">
                  <c:v>14.79418604651163</c:v>
                </c:pt>
                <c:pt idx="1044">
                  <c:v>14.79418604651163</c:v>
                </c:pt>
                <c:pt idx="1045">
                  <c:v>14.79418604651163</c:v>
                </c:pt>
                <c:pt idx="1046">
                  <c:v>14.79418604651163</c:v>
                </c:pt>
                <c:pt idx="1047">
                  <c:v>14.79418604651163</c:v>
                </c:pt>
                <c:pt idx="1048">
                  <c:v>14.79418604651163</c:v>
                </c:pt>
                <c:pt idx="1049">
                  <c:v>14.79418604651163</c:v>
                </c:pt>
                <c:pt idx="1050">
                  <c:v>14.79418604651163</c:v>
                </c:pt>
                <c:pt idx="1051">
                  <c:v>14.79418604651163</c:v>
                </c:pt>
                <c:pt idx="1052">
                  <c:v>14.79418604651163</c:v>
                </c:pt>
                <c:pt idx="1053">
                  <c:v>14.79418604651163</c:v>
                </c:pt>
                <c:pt idx="1054">
                  <c:v>14.79418604651163</c:v>
                </c:pt>
                <c:pt idx="1055">
                  <c:v>14.79418604651163</c:v>
                </c:pt>
                <c:pt idx="1056">
                  <c:v>14.79418604651163</c:v>
                </c:pt>
                <c:pt idx="1057">
                  <c:v>14.79418604651163</c:v>
                </c:pt>
                <c:pt idx="1058">
                  <c:v>14.79418604651163</c:v>
                </c:pt>
                <c:pt idx="1059">
                  <c:v>14.79418604651163</c:v>
                </c:pt>
                <c:pt idx="1060">
                  <c:v>14.79418604651163</c:v>
                </c:pt>
                <c:pt idx="1061">
                  <c:v>14.79418604651163</c:v>
                </c:pt>
                <c:pt idx="1062">
                  <c:v>14.79418604651163</c:v>
                </c:pt>
                <c:pt idx="1063">
                  <c:v>14.79418604651163</c:v>
                </c:pt>
                <c:pt idx="1064">
                  <c:v>14.79418604651163</c:v>
                </c:pt>
                <c:pt idx="1065">
                  <c:v>14.79418604651163</c:v>
                </c:pt>
                <c:pt idx="1066">
                  <c:v>14.79418604651163</c:v>
                </c:pt>
                <c:pt idx="1067">
                  <c:v>14.79418604651163</c:v>
                </c:pt>
                <c:pt idx="1068">
                  <c:v>14.79418604651163</c:v>
                </c:pt>
                <c:pt idx="1069">
                  <c:v>14.79418604651163</c:v>
                </c:pt>
                <c:pt idx="1070">
                  <c:v>14.79418604651163</c:v>
                </c:pt>
                <c:pt idx="1071">
                  <c:v>14.79418604651163</c:v>
                </c:pt>
                <c:pt idx="1072">
                  <c:v>14.79418604651163</c:v>
                </c:pt>
                <c:pt idx="1073">
                  <c:v>14.79418604651163</c:v>
                </c:pt>
                <c:pt idx="1074">
                  <c:v>14.79418604651163</c:v>
                </c:pt>
                <c:pt idx="1075">
                  <c:v>14.79418604651163</c:v>
                </c:pt>
                <c:pt idx="1076">
                  <c:v>14.79418604651163</c:v>
                </c:pt>
                <c:pt idx="1077">
                  <c:v>14.79418604651163</c:v>
                </c:pt>
                <c:pt idx="1078">
                  <c:v>14.79418604651163</c:v>
                </c:pt>
                <c:pt idx="1079">
                  <c:v>14.79418604651163</c:v>
                </c:pt>
                <c:pt idx="1080">
                  <c:v>14.79418604651163</c:v>
                </c:pt>
                <c:pt idx="1081">
                  <c:v>14.79418604651163</c:v>
                </c:pt>
                <c:pt idx="1082">
                  <c:v>14.79418604651163</c:v>
                </c:pt>
                <c:pt idx="1083">
                  <c:v>14.79418604651163</c:v>
                </c:pt>
                <c:pt idx="1084">
                  <c:v>14.79418604651163</c:v>
                </c:pt>
                <c:pt idx="1085">
                  <c:v>14.79418604651163</c:v>
                </c:pt>
                <c:pt idx="1086">
                  <c:v>14.79418604651163</c:v>
                </c:pt>
                <c:pt idx="1087">
                  <c:v>14.79418604651163</c:v>
                </c:pt>
                <c:pt idx="1088">
                  <c:v>14.79418604651163</c:v>
                </c:pt>
                <c:pt idx="1089">
                  <c:v>14.79418604651163</c:v>
                </c:pt>
                <c:pt idx="1090">
                  <c:v>14.79418604651163</c:v>
                </c:pt>
                <c:pt idx="1091">
                  <c:v>14.79418604651163</c:v>
                </c:pt>
                <c:pt idx="1092">
                  <c:v>14.79418604651163</c:v>
                </c:pt>
                <c:pt idx="1093">
                  <c:v>14.79418604651163</c:v>
                </c:pt>
                <c:pt idx="1094">
                  <c:v>14.79418604651163</c:v>
                </c:pt>
                <c:pt idx="1095">
                  <c:v>14.79418604651163</c:v>
                </c:pt>
                <c:pt idx="1096">
                  <c:v>14.79418604651163</c:v>
                </c:pt>
                <c:pt idx="1097">
                  <c:v>14.79418604651163</c:v>
                </c:pt>
                <c:pt idx="1098">
                  <c:v>14.79418604651163</c:v>
                </c:pt>
                <c:pt idx="1099">
                  <c:v>14.79418604651163</c:v>
                </c:pt>
                <c:pt idx="1100">
                  <c:v>14.79418604651163</c:v>
                </c:pt>
                <c:pt idx="1101">
                  <c:v>14.79418604651163</c:v>
                </c:pt>
                <c:pt idx="1102">
                  <c:v>14.79418604651163</c:v>
                </c:pt>
                <c:pt idx="1103">
                  <c:v>14.79418604651163</c:v>
                </c:pt>
                <c:pt idx="1104">
                  <c:v>14.79418604651163</c:v>
                </c:pt>
                <c:pt idx="1105">
                  <c:v>14.79418604651163</c:v>
                </c:pt>
                <c:pt idx="1106">
                  <c:v>14.79418604651163</c:v>
                </c:pt>
                <c:pt idx="1107">
                  <c:v>14.79418604651163</c:v>
                </c:pt>
                <c:pt idx="1108">
                  <c:v>14.79418604651163</c:v>
                </c:pt>
                <c:pt idx="1109">
                  <c:v>14.79418604651163</c:v>
                </c:pt>
                <c:pt idx="1110">
                  <c:v>14.79418604651163</c:v>
                </c:pt>
                <c:pt idx="1111">
                  <c:v>14.79418604651163</c:v>
                </c:pt>
                <c:pt idx="1112">
                  <c:v>14.79418604651163</c:v>
                </c:pt>
                <c:pt idx="1113">
                  <c:v>14.79418604651163</c:v>
                </c:pt>
                <c:pt idx="1114">
                  <c:v>14.79418604651163</c:v>
                </c:pt>
                <c:pt idx="1115">
                  <c:v>14.79418604651163</c:v>
                </c:pt>
                <c:pt idx="1116">
                  <c:v>14.79418604651163</c:v>
                </c:pt>
                <c:pt idx="1117">
                  <c:v>14.79418604651163</c:v>
                </c:pt>
                <c:pt idx="1118">
                  <c:v>14.79418604651163</c:v>
                </c:pt>
                <c:pt idx="1119">
                  <c:v>14.79418604651163</c:v>
                </c:pt>
                <c:pt idx="1120">
                  <c:v>14.79418604651163</c:v>
                </c:pt>
                <c:pt idx="1121">
                  <c:v>14.79418604651163</c:v>
                </c:pt>
                <c:pt idx="1122">
                  <c:v>14.79418604651163</c:v>
                </c:pt>
                <c:pt idx="1123">
                  <c:v>14.79418604651163</c:v>
                </c:pt>
                <c:pt idx="1124">
                  <c:v>14.79418604651163</c:v>
                </c:pt>
                <c:pt idx="1125">
                  <c:v>14.79418604651163</c:v>
                </c:pt>
                <c:pt idx="1126">
                  <c:v>14.79418604651163</c:v>
                </c:pt>
                <c:pt idx="1127">
                  <c:v>14.79418604651163</c:v>
                </c:pt>
                <c:pt idx="1128">
                  <c:v>14.79418604651163</c:v>
                </c:pt>
                <c:pt idx="1129">
                  <c:v>14.79418604651163</c:v>
                </c:pt>
                <c:pt idx="1130">
                  <c:v>14.79418604651163</c:v>
                </c:pt>
                <c:pt idx="1131">
                  <c:v>14.79418604651163</c:v>
                </c:pt>
                <c:pt idx="1132">
                  <c:v>14.79418604651163</c:v>
                </c:pt>
                <c:pt idx="1133">
                  <c:v>14.79418604651163</c:v>
                </c:pt>
                <c:pt idx="1134">
                  <c:v>14.79418604651163</c:v>
                </c:pt>
                <c:pt idx="1135">
                  <c:v>14.79418604651163</c:v>
                </c:pt>
                <c:pt idx="1136">
                  <c:v>14.79418604651163</c:v>
                </c:pt>
                <c:pt idx="1137">
                  <c:v>14.79418604651163</c:v>
                </c:pt>
                <c:pt idx="1138">
                  <c:v>14.79418604651163</c:v>
                </c:pt>
                <c:pt idx="1139">
                  <c:v>14.79418604651163</c:v>
                </c:pt>
                <c:pt idx="1140">
                  <c:v>14.79418604651163</c:v>
                </c:pt>
                <c:pt idx="1141">
                  <c:v>14.79418604651163</c:v>
                </c:pt>
                <c:pt idx="1142">
                  <c:v>14.79418604651163</c:v>
                </c:pt>
                <c:pt idx="1143">
                  <c:v>14.79418604651163</c:v>
                </c:pt>
                <c:pt idx="1144">
                  <c:v>14.79418604651163</c:v>
                </c:pt>
                <c:pt idx="1145">
                  <c:v>14.79418604651163</c:v>
                </c:pt>
                <c:pt idx="1146">
                  <c:v>14.79418604651163</c:v>
                </c:pt>
                <c:pt idx="1147">
                  <c:v>14.79418604651163</c:v>
                </c:pt>
                <c:pt idx="1148">
                  <c:v>14.79418604651163</c:v>
                </c:pt>
                <c:pt idx="1149">
                  <c:v>14.79418604651163</c:v>
                </c:pt>
                <c:pt idx="1150">
                  <c:v>14.79418604651163</c:v>
                </c:pt>
                <c:pt idx="1151">
                  <c:v>14.79418604651163</c:v>
                </c:pt>
                <c:pt idx="1152">
                  <c:v>14.79418604651163</c:v>
                </c:pt>
                <c:pt idx="1153">
                  <c:v>14.79418604651163</c:v>
                </c:pt>
                <c:pt idx="1154">
                  <c:v>14.79418604651163</c:v>
                </c:pt>
                <c:pt idx="1155">
                  <c:v>14.79418604651163</c:v>
                </c:pt>
                <c:pt idx="1156">
                  <c:v>14.79418604651163</c:v>
                </c:pt>
                <c:pt idx="1157">
                  <c:v>14.79418604651163</c:v>
                </c:pt>
                <c:pt idx="1158">
                  <c:v>14.79418604651163</c:v>
                </c:pt>
                <c:pt idx="1159">
                  <c:v>14.79418604651163</c:v>
                </c:pt>
                <c:pt idx="1160">
                  <c:v>14.79418604651163</c:v>
                </c:pt>
                <c:pt idx="1161">
                  <c:v>14.79418604651163</c:v>
                </c:pt>
                <c:pt idx="1162">
                  <c:v>14.79418604651163</c:v>
                </c:pt>
                <c:pt idx="1163">
                  <c:v>14.79418604651163</c:v>
                </c:pt>
                <c:pt idx="1164">
                  <c:v>14.79418604651163</c:v>
                </c:pt>
                <c:pt idx="1165">
                  <c:v>14.79418604651163</c:v>
                </c:pt>
                <c:pt idx="1166">
                  <c:v>14.79418604651163</c:v>
                </c:pt>
                <c:pt idx="1167">
                  <c:v>14.79418604651163</c:v>
                </c:pt>
                <c:pt idx="1168">
                  <c:v>14.79418604651163</c:v>
                </c:pt>
                <c:pt idx="1169">
                  <c:v>14.79418604651163</c:v>
                </c:pt>
                <c:pt idx="1170">
                  <c:v>14.79418604651163</c:v>
                </c:pt>
                <c:pt idx="1171">
                  <c:v>14.79418604651163</c:v>
                </c:pt>
                <c:pt idx="1172">
                  <c:v>14.79418604651163</c:v>
                </c:pt>
                <c:pt idx="1173">
                  <c:v>14.79418604651163</c:v>
                </c:pt>
                <c:pt idx="1174">
                  <c:v>14.79418604651163</c:v>
                </c:pt>
                <c:pt idx="1175">
                  <c:v>14.79418604651163</c:v>
                </c:pt>
                <c:pt idx="1176">
                  <c:v>14.79418604651163</c:v>
                </c:pt>
                <c:pt idx="1177">
                  <c:v>14.79418604651163</c:v>
                </c:pt>
                <c:pt idx="1178">
                  <c:v>14.79418604651163</c:v>
                </c:pt>
                <c:pt idx="1179">
                  <c:v>14.79418604651163</c:v>
                </c:pt>
                <c:pt idx="1180">
                  <c:v>14.79418604651163</c:v>
                </c:pt>
                <c:pt idx="1181">
                  <c:v>14.79418604651163</c:v>
                </c:pt>
                <c:pt idx="1182">
                  <c:v>14.79418604651163</c:v>
                </c:pt>
                <c:pt idx="1183">
                  <c:v>14.79418604651163</c:v>
                </c:pt>
                <c:pt idx="1184">
                  <c:v>14.79418604651163</c:v>
                </c:pt>
                <c:pt idx="1185">
                  <c:v>14.79418604651163</c:v>
                </c:pt>
                <c:pt idx="1186">
                  <c:v>14.79418604651163</c:v>
                </c:pt>
                <c:pt idx="1187">
                  <c:v>14.79418604651163</c:v>
                </c:pt>
                <c:pt idx="1188">
                  <c:v>14.79418604651163</c:v>
                </c:pt>
                <c:pt idx="1189">
                  <c:v>14.79418604651163</c:v>
                </c:pt>
                <c:pt idx="1190">
                  <c:v>14.79418604651163</c:v>
                </c:pt>
                <c:pt idx="1191">
                  <c:v>14.79418604651163</c:v>
                </c:pt>
                <c:pt idx="1192">
                  <c:v>14.79418604651163</c:v>
                </c:pt>
                <c:pt idx="1193">
                  <c:v>14.79418604651163</c:v>
                </c:pt>
                <c:pt idx="1194">
                  <c:v>14.79418604651163</c:v>
                </c:pt>
                <c:pt idx="1195">
                  <c:v>14.79418604651163</c:v>
                </c:pt>
                <c:pt idx="1196">
                  <c:v>14.79418604651163</c:v>
                </c:pt>
                <c:pt idx="1197">
                  <c:v>14.79418604651163</c:v>
                </c:pt>
                <c:pt idx="1198">
                  <c:v>14.79418604651163</c:v>
                </c:pt>
                <c:pt idx="1199">
                  <c:v>14.79418604651163</c:v>
                </c:pt>
                <c:pt idx="1200">
                  <c:v>14.79418604651163</c:v>
                </c:pt>
                <c:pt idx="1201">
                  <c:v>14.79418604651163</c:v>
                </c:pt>
                <c:pt idx="1202">
                  <c:v>14.79418604651163</c:v>
                </c:pt>
                <c:pt idx="1203">
                  <c:v>14.79418604651163</c:v>
                </c:pt>
                <c:pt idx="1204">
                  <c:v>14.79418604651163</c:v>
                </c:pt>
                <c:pt idx="1205">
                  <c:v>14.79418604651163</c:v>
                </c:pt>
                <c:pt idx="1206">
                  <c:v>14.79418604651163</c:v>
                </c:pt>
                <c:pt idx="1207">
                  <c:v>14.79418604651163</c:v>
                </c:pt>
                <c:pt idx="1208">
                  <c:v>14.79418604651163</c:v>
                </c:pt>
                <c:pt idx="1209">
                  <c:v>14.79418604651163</c:v>
                </c:pt>
                <c:pt idx="1210">
                  <c:v>14.79418604651163</c:v>
                </c:pt>
                <c:pt idx="1211">
                  <c:v>14.79418604651163</c:v>
                </c:pt>
                <c:pt idx="1212">
                  <c:v>14.79418604651163</c:v>
                </c:pt>
                <c:pt idx="1213">
                  <c:v>14.79418604651163</c:v>
                </c:pt>
                <c:pt idx="1214">
                  <c:v>14.79418604651163</c:v>
                </c:pt>
                <c:pt idx="1215">
                  <c:v>14.79418604651163</c:v>
                </c:pt>
                <c:pt idx="1216">
                  <c:v>14.79418604651163</c:v>
                </c:pt>
                <c:pt idx="1217">
                  <c:v>14.79418604651163</c:v>
                </c:pt>
                <c:pt idx="1218">
                  <c:v>14.79418604651163</c:v>
                </c:pt>
                <c:pt idx="1219">
                  <c:v>14.79418604651163</c:v>
                </c:pt>
                <c:pt idx="1220">
                  <c:v>14.79418604651163</c:v>
                </c:pt>
                <c:pt idx="1221">
                  <c:v>14.79418604651163</c:v>
                </c:pt>
                <c:pt idx="1222">
                  <c:v>14.79418604651163</c:v>
                </c:pt>
                <c:pt idx="1223">
                  <c:v>14.79418604651163</c:v>
                </c:pt>
                <c:pt idx="1224">
                  <c:v>14.79418604651163</c:v>
                </c:pt>
                <c:pt idx="1225">
                  <c:v>14.79418604651163</c:v>
                </c:pt>
                <c:pt idx="1226">
                  <c:v>14.79418604651163</c:v>
                </c:pt>
                <c:pt idx="1227">
                  <c:v>14.79418604651163</c:v>
                </c:pt>
                <c:pt idx="1228">
                  <c:v>14.79418604651163</c:v>
                </c:pt>
                <c:pt idx="1229">
                  <c:v>14.79418604651163</c:v>
                </c:pt>
                <c:pt idx="1230">
                  <c:v>14.79418604651163</c:v>
                </c:pt>
                <c:pt idx="1231">
                  <c:v>14.79418604651163</c:v>
                </c:pt>
                <c:pt idx="1232">
                  <c:v>14.79418604651163</c:v>
                </c:pt>
                <c:pt idx="1233">
                  <c:v>14.79418604651163</c:v>
                </c:pt>
                <c:pt idx="1234">
                  <c:v>14.79418604651163</c:v>
                </c:pt>
                <c:pt idx="1235">
                  <c:v>14.79418604651163</c:v>
                </c:pt>
                <c:pt idx="1236">
                  <c:v>14.79418604651163</c:v>
                </c:pt>
                <c:pt idx="1237">
                  <c:v>14.79418604651163</c:v>
                </c:pt>
                <c:pt idx="1238">
                  <c:v>14.79418604651163</c:v>
                </c:pt>
                <c:pt idx="1239">
                  <c:v>14.79418604651163</c:v>
                </c:pt>
                <c:pt idx="1240">
                  <c:v>14.79418604651163</c:v>
                </c:pt>
                <c:pt idx="1241">
                  <c:v>14.79418604651163</c:v>
                </c:pt>
                <c:pt idx="1242">
                  <c:v>14.79418604651163</c:v>
                </c:pt>
                <c:pt idx="1243">
                  <c:v>14.79418604651163</c:v>
                </c:pt>
                <c:pt idx="1244">
                  <c:v>14.79418604651163</c:v>
                </c:pt>
                <c:pt idx="1245">
                  <c:v>14.79418604651163</c:v>
                </c:pt>
                <c:pt idx="1246">
                  <c:v>14.79418604651163</c:v>
                </c:pt>
                <c:pt idx="1247">
                  <c:v>14.79418604651163</c:v>
                </c:pt>
                <c:pt idx="1248">
                  <c:v>14.79418604651163</c:v>
                </c:pt>
                <c:pt idx="1249">
                  <c:v>14.79418604651163</c:v>
                </c:pt>
                <c:pt idx="1250">
                  <c:v>14.79418604651163</c:v>
                </c:pt>
                <c:pt idx="1251">
                  <c:v>14.79418604651163</c:v>
                </c:pt>
                <c:pt idx="1252">
                  <c:v>14.79418604651163</c:v>
                </c:pt>
                <c:pt idx="1253">
                  <c:v>14.79418604651163</c:v>
                </c:pt>
                <c:pt idx="1254">
                  <c:v>14.79418604651163</c:v>
                </c:pt>
                <c:pt idx="1255">
                  <c:v>14.79418604651163</c:v>
                </c:pt>
                <c:pt idx="1256">
                  <c:v>14.79418604651163</c:v>
                </c:pt>
                <c:pt idx="1257">
                  <c:v>14.79418604651163</c:v>
                </c:pt>
                <c:pt idx="1258">
                  <c:v>14.79418604651163</c:v>
                </c:pt>
                <c:pt idx="1259">
                  <c:v>14.79418604651163</c:v>
                </c:pt>
                <c:pt idx="1260">
                  <c:v>14.79418604651163</c:v>
                </c:pt>
                <c:pt idx="1261">
                  <c:v>14.79418604651163</c:v>
                </c:pt>
                <c:pt idx="1262">
                  <c:v>14.79418604651163</c:v>
                </c:pt>
                <c:pt idx="1263">
                  <c:v>14.79418604651163</c:v>
                </c:pt>
                <c:pt idx="1264">
                  <c:v>14.79418604651163</c:v>
                </c:pt>
                <c:pt idx="1265">
                  <c:v>14.79418604651163</c:v>
                </c:pt>
                <c:pt idx="1266">
                  <c:v>14.79418604651163</c:v>
                </c:pt>
                <c:pt idx="1267">
                  <c:v>14.79418604651163</c:v>
                </c:pt>
                <c:pt idx="1268">
                  <c:v>14.79418604651163</c:v>
                </c:pt>
                <c:pt idx="1269">
                  <c:v>14.79418604651163</c:v>
                </c:pt>
                <c:pt idx="1270">
                  <c:v>14.79418604651163</c:v>
                </c:pt>
                <c:pt idx="1271">
                  <c:v>14.79418604651163</c:v>
                </c:pt>
                <c:pt idx="1272">
                  <c:v>14.79418604651163</c:v>
                </c:pt>
                <c:pt idx="1273">
                  <c:v>14.79418604651163</c:v>
                </c:pt>
                <c:pt idx="1274">
                  <c:v>14.79418604651163</c:v>
                </c:pt>
                <c:pt idx="1275">
                  <c:v>14.79418604651163</c:v>
                </c:pt>
                <c:pt idx="1276">
                  <c:v>14.79418604651163</c:v>
                </c:pt>
                <c:pt idx="1277">
                  <c:v>14.79418604651163</c:v>
                </c:pt>
                <c:pt idx="1278">
                  <c:v>14.79418604651163</c:v>
                </c:pt>
                <c:pt idx="1279">
                  <c:v>14.79418604651163</c:v>
                </c:pt>
                <c:pt idx="1280">
                  <c:v>14.79418604651163</c:v>
                </c:pt>
                <c:pt idx="1281">
                  <c:v>14.79418604651163</c:v>
                </c:pt>
                <c:pt idx="1282">
                  <c:v>14.79418604651163</c:v>
                </c:pt>
                <c:pt idx="1283">
                  <c:v>14.79418604651163</c:v>
                </c:pt>
                <c:pt idx="1284">
                  <c:v>14.79418604651163</c:v>
                </c:pt>
                <c:pt idx="1285">
                  <c:v>14.79418604651163</c:v>
                </c:pt>
                <c:pt idx="1286">
                  <c:v>14.79418604651163</c:v>
                </c:pt>
                <c:pt idx="1287">
                  <c:v>14.79418604651163</c:v>
                </c:pt>
                <c:pt idx="1288">
                  <c:v>14.79418604651163</c:v>
                </c:pt>
                <c:pt idx="1289">
                  <c:v>14.79418604651163</c:v>
                </c:pt>
                <c:pt idx="1290">
                  <c:v>14.79418604651163</c:v>
                </c:pt>
                <c:pt idx="1291">
                  <c:v>14.79418604651163</c:v>
                </c:pt>
                <c:pt idx="1292">
                  <c:v>14.79418604651163</c:v>
                </c:pt>
                <c:pt idx="1293">
                  <c:v>14.79418604651163</c:v>
                </c:pt>
                <c:pt idx="1294">
                  <c:v>14.79418604651163</c:v>
                </c:pt>
                <c:pt idx="1295">
                  <c:v>14.79418604651163</c:v>
                </c:pt>
                <c:pt idx="1296">
                  <c:v>14.79418604651163</c:v>
                </c:pt>
                <c:pt idx="1297">
                  <c:v>14.79418604651163</c:v>
                </c:pt>
                <c:pt idx="1298">
                  <c:v>14.79418604651163</c:v>
                </c:pt>
                <c:pt idx="1299">
                  <c:v>14.79418604651163</c:v>
                </c:pt>
                <c:pt idx="1300">
                  <c:v>14.79418604651163</c:v>
                </c:pt>
                <c:pt idx="1301">
                  <c:v>14.79418604651163</c:v>
                </c:pt>
                <c:pt idx="1302">
                  <c:v>14.79418604651163</c:v>
                </c:pt>
                <c:pt idx="1303">
                  <c:v>14.79418604651163</c:v>
                </c:pt>
                <c:pt idx="1304">
                  <c:v>14.79418604651163</c:v>
                </c:pt>
                <c:pt idx="1305">
                  <c:v>14.79418604651163</c:v>
                </c:pt>
                <c:pt idx="1306">
                  <c:v>14.79418604651163</c:v>
                </c:pt>
                <c:pt idx="1307">
                  <c:v>14.79418604651163</c:v>
                </c:pt>
                <c:pt idx="1308">
                  <c:v>14.79418604651163</c:v>
                </c:pt>
                <c:pt idx="1309">
                  <c:v>14.79418604651163</c:v>
                </c:pt>
                <c:pt idx="1310">
                  <c:v>14.79418604651163</c:v>
                </c:pt>
                <c:pt idx="1311">
                  <c:v>14.79418604651163</c:v>
                </c:pt>
                <c:pt idx="1312">
                  <c:v>14.79418604651163</c:v>
                </c:pt>
                <c:pt idx="1313">
                  <c:v>14.79418604651163</c:v>
                </c:pt>
                <c:pt idx="1314">
                  <c:v>14.79418604651163</c:v>
                </c:pt>
                <c:pt idx="1315">
                  <c:v>14.79418604651163</c:v>
                </c:pt>
                <c:pt idx="1316">
                  <c:v>14.79418604651163</c:v>
                </c:pt>
                <c:pt idx="1317">
                  <c:v>14.79418604651163</c:v>
                </c:pt>
                <c:pt idx="1318">
                  <c:v>14.79418604651163</c:v>
                </c:pt>
                <c:pt idx="1319">
                  <c:v>14.79418604651163</c:v>
                </c:pt>
                <c:pt idx="1320">
                  <c:v>14.79418604651163</c:v>
                </c:pt>
                <c:pt idx="1321">
                  <c:v>14.79418604651163</c:v>
                </c:pt>
                <c:pt idx="1322">
                  <c:v>14.79418604651163</c:v>
                </c:pt>
                <c:pt idx="1323">
                  <c:v>14.79418604651163</c:v>
                </c:pt>
                <c:pt idx="1324">
                  <c:v>14.79418604651163</c:v>
                </c:pt>
                <c:pt idx="1325">
                  <c:v>14.79418604651163</c:v>
                </c:pt>
                <c:pt idx="1326">
                  <c:v>14.79418604651163</c:v>
                </c:pt>
                <c:pt idx="1327">
                  <c:v>14.79418604651163</c:v>
                </c:pt>
                <c:pt idx="1328">
                  <c:v>14.79418604651163</c:v>
                </c:pt>
                <c:pt idx="1329">
                  <c:v>14.79418604651163</c:v>
                </c:pt>
                <c:pt idx="1330">
                  <c:v>14.79418604651163</c:v>
                </c:pt>
                <c:pt idx="1331">
                  <c:v>14.79418604651163</c:v>
                </c:pt>
                <c:pt idx="1332">
                  <c:v>14.79418604651163</c:v>
                </c:pt>
                <c:pt idx="1333">
                  <c:v>14.79418604651163</c:v>
                </c:pt>
                <c:pt idx="1334">
                  <c:v>14.79418604651163</c:v>
                </c:pt>
                <c:pt idx="1335">
                  <c:v>14.79418604651163</c:v>
                </c:pt>
                <c:pt idx="1336">
                  <c:v>14.79418604651163</c:v>
                </c:pt>
                <c:pt idx="1337">
                  <c:v>14.79418604651163</c:v>
                </c:pt>
                <c:pt idx="1338">
                  <c:v>14.79418604651163</c:v>
                </c:pt>
                <c:pt idx="1339">
                  <c:v>14.79418604651163</c:v>
                </c:pt>
                <c:pt idx="1340">
                  <c:v>14.79418604651163</c:v>
                </c:pt>
                <c:pt idx="1341">
                  <c:v>14.79418604651163</c:v>
                </c:pt>
                <c:pt idx="1342">
                  <c:v>14.79418604651163</c:v>
                </c:pt>
                <c:pt idx="1343">
                  <c:v>14.79418604651163</c:v>
                </c:pt>
                <c:pt idx="1344">
                  <c:v>14.79418604651163</c:v>
                </c:pt>
                <c:pt idx="1345">
                  <c:v>14.79418604651163</c:v>
                </c:pt>
                <c:pt idx="1346">
                  <c:v>14.79418604651163</c:v>
                </c:pt>
                <c:pt idx="1347">
                  <c:v>14.79418604651163</c:v>
                </c:pt>
                <c:pt idx="1348">
                  <c:v>14.79418604651163</c:v>
                </c:pt>
                <c:pt idx="1349">
                  <c:v>14.79418604651163</c:v>
                </c:pt>
                <c:pt idx="1350">
                  <c:v>14.79418604651163</c:v>
                </c:pt>
                <c:pt idx="1351">
                  <c:v>14.79418604651163</c:v>
                </c:pt>
                <c:pt idx="1352">
                  <c:v>14.79418604651163</c:v>
                </c:pt>
                <c:pt idx="1353">
                  <c:v>14.79418604651163</c:v>
                </c:pt>
                <c:pt idx="1354">
                  <c:v>14.79418604651163</c:v>
                </c:pt>
                <c:pt idx="1355">
                  <c:v>14.79418604651163</c:v>
                </c:pt>
                <c:pt idx="1356">
                  <c:v>14.79418604651163</c:v>
                </c:pt>
                <c:pt idx="1357">
                  <c:v>14.79418604651163</c:v>
                </c:pt>
                <c:pt idx="1358">
                  <c:v>14.79418604651163</c:v>
                </c:pt>
                <c:pt idx="1359">
                  <c:v>14.79418604651163</c:v>
                </c:pt>
                <c:pt idx="1360">
                  <c:v>14.79418604651163</c:v>
                </c:pt>
                <c:pt idx="1361">
                  <c:v>14.79418604651163</c:v>
                </c:pt>
                <c:pt idx="1362">
                  <c:v>14.79418604651163</c:v>
                </c:pt>
                <c:pt idx="1363">
                  <c:v>14.79418604651163</c:v>
                </c:pt>
                <c:pt idx="1364">
                  <c:v>14.79418604651163</c:v>
                </c:pt>
                <c:pt idx="1365">
                  <c:v>14.79418604651163</c:v>
                </c:pt>
                <c:pt idx="1366">
                  <c:v>14.79418604651163</c:v>
                </c:pt>
                <c:pt idx="1367">
                  <c:v>14.79418604651163</c:v>
                </c:pt>
                <c:pt idx="1368">
                  <c:v>14.79418604651163</c:v>
                </c:pt>
                <c:pt idx="1369">
                  <c:v>14.79418604651163</c:v>
                </c:pt>
                <c:pt idx="1370">
                  <c:v>14.79418604651163</c:v>
                </c:pt>
                <c:pt idx="1371">
                  <c:v>14.79418604651163</c:v>
                </c:pt>
                <c:pt idx="1372">
                  <c:v>14.79418604651163</c:v>
                </c:pt>
                <c:pt idx="1373">
                  <c:v>14.79418604651163</c:v>
                </c:pt>
                <c:pt idx="1374">
                  <c:v>14.79418604651163</c:v>
                </c:pt>
                <c:pt idx="1375">
                  <c:v>14.79418604651163</c:v>
                </c:pt>
                <c:pt idx="1376">
                  <c:v>14.79418604651163</c:v>
                </c:pt>
                <c:pt idx="1377">
                  <c:v>14.79418604651163</c:v>
                </c:pt>
                <c:pt idx="1378">
                  <c:v>14.79418604651163</c:v>
                </c:pt>
                <c:pt idx="1379">
                  <c:v>14.79418604651163</c:v>
                </c:pt>
                <c:pt idx="1380">
                  <c:v>14.79418604651163</c:v>
                </c:pt>
                <c:pt idx="1381">
                  <c:v>14.79418604651163</c:v>
                </c:pt>
                <c:pt idx="1382">
                  <c:v>14.79418604651163</c:v>
                </c:pt>
                <c:pt idx="1383">
                  <c:v>14.79418604651163</c:v>
                </c:pt>
                <c:pt idx="1384">
                  <c:v>14.79418604651163</c:v>
                </c:pt>
                <c:pt idx="1385">
                  <c:v>14.79418604651163</c:v>
                </c:pt>
                <c:pt idx="1386">
                  <c:v>14.79418604651163</c:v>
                </c:pt>
                <c:pt idx="1387">
                  <c:v>14.79418604651163</c:v>
                </c:pt>
                <c:pt idx="1388">
                  <c:v>14.79418604651163</c:v>
                </c:pt>
                <c:pt idx="1389">
                  <c:v>14.79418604651163</c:v>
                </c:pt>
                <c:pt idx="1390">
                  <c:v>14.79418604651163</c:v>
                </c:pt>
                <c:pt idx="1391">
                  <c:v>14.79418604651163</c:v>
                </c:pt>
                <c:pt idx="1392">
                  <c:v>14.79418604651163</c:v>
                </c:pt>
                <c:pt idx="1393">
                  <c:v>14.79418604651163</c:v>
                </c:pt>
                <c:pt idx="1394">
                  <c:v>14.79418604651163</c:v>
                </c:pt>
                <c:pt idx="1395">
                  <c:v>14.79418604651163</c:v>
                </c:pt>
                <c:pt idx="1396">
                  <c:v>14.79418604651163</c:v>
                </c:pt>
                <c:pt idx="1397">
                  <c:v>14.79418604651163</c:v>
                </c:pt>
                <c:pt idx="1398">
                  <c:v>14.79418604651163</c:v>
                </c:pt>
                <c:pt idx="1399">
                  <c:v>14.79418604651163</c:v>
                </c:pt>
                <c:pt idx="1400">
                  <c:v>14.79418604651163</c:v>
                </c:pt>
                <c:pt idx="1401">
                  <c:v>14.79418604651163</c:v>
                </c:pt>
                <c:pt idx="1402">
                  <c:v>14.79418604651163</c:v>
                </c:pt>
                <c:pt idx="1403">
                  <c:v>14.79418604651163</c:v>
                </c:pt>
                <c:pt idx="1404">
                  <c:v>14.79418604651163</c:v>
                </c:pt>
                <c:pt idx="1405">
                  <c:v>14.79418604651163</c:v>
                </c:pt>
                <c:pt idx="1406">
                  <c:v>14.79418604651163</c:v>
                </c:pt>
                <c:pt idx="1407">
                  <c:v>14.79418604651163</c:v>
                </c:pt>
                <c:pt idx="1408">
                  <c:v>14.79418604651163</c:v>
                </c:pt>
                <c:pt idx="1409">
                  <c:v>14.79418604651163</c:v>
                </c:pt>
                <c:pt idx="1410">
                  <c:v>14.79418604651163</c:v>
                </c:pt>
                <c:pt idx="1411">
                  <c:v>14.79418604651163</c:v>
                </c:pt>
                <c:pt idx="1412">
                  <c:v>14.79418604651163</c:v>
                </c:pt>
                <c:pt idx="1413">
                  <c:v>14.79418604651163</c:v>
                </c:pt>
                <c:pt idx="1414">
                  <c:v>14.79418604651163</c:v>
                </c:pt>
                <c:pt idx="1415">
                  <c:v>14.79418604651163</c:v>
                </c:pt>
                <c:pt idx="1416">
                  <c:v>14.79418604651163</c:v>
                </c:pt>
                <c:pt idx="1417">
                  <c:v>14.79418604651163</c:v>
                </c:pt>
                <c:pt idx="1418">
                  <c:v>14.79418604651163</c:v>
                </c:pt>
                <c:pt idx="1419">
                  <c:v>14.79418604651163</c:v>
                </c:pt>
                <c:pt idx="1420">
                  <c:v>14.79418604651163</c:v>
                </c:pt>
                <c:pt idx="1421">
                  <c:v>14.79418604651163</c:v>
                </c:pt>
                <c:pt idx="1422">
                  <c:v>14.79418604651163</c:v>
                </c:pt>
                <c:pt idx="1423">
                  <c:v>14.79418604651163</c:v>
                </c:pt>
                <c:pt idx="1424">
                  <c:v>14.79418604651163</c:v>
                </c:pt>
                <c:pt idx="1425">
                  <c:v>14.79418604651163</c:v>
                </c:pt>
                <c:pt idx="1426">
                  <c:v>14.79418604651163</c:v>
                </c:pt>
                <c:pt idx="1427">
                  <c:v>14.79418604651163</c:v>
                </c:pt>
                <c:pt idx="1428">
                  <c:v>14.79418604651163</c:v>
                </c:pt>
                <c:pt idx="1429">
                  <c:v>14.79418604651163</c:v>
                </c:pt>
                <c:pt idx="1430">
                  <c:v>14.79418604651163</c:v>
                </c:pt>
                <c:pt idx="1431">
                  <c:v>14.79418604651163</c:v>
                </c:pt>
                <c:pt idx="1432">
                  <c:v>14.79418604651163</c:v>
                </c:pt>
                <c:pt idx="1433">
                  <c:v>14.79418604651163</c:v>
                </c:pt>
                <c:pt idx="1434">
                  <c:v>14.79418604651163</c:v>
                </c:pt>
                <c:pt idx="1435">
                  <c:v>14.79418604651163</c:v>
                </c:pt>
                <c:pt idx="1436">
                  <c:v>14.79418604651163</c:v>
                </c:pt>
                <c:pt idx="1437">
                  <c:v>14.79418604651163</c:v>
                </c:pt>
                <c:pt idx="1438">
                  <c:v>14.79418604651163</c:v>
                </c:pt>
                <c:pt idx="1439">
                  <c:v>14.79418604651163</c:v>
                </c:pt>
                <c:pt idx="1440">
                  <c:v>14.79418604651163</c:v>
                </c:pt>
                <c:pt idx="1441">
                  <c:v>14.79418604651163</c:v>
                </c:pt>
                <c:pt idx="1442">
                  <c:v>14.79418604651163</c:v>
                </c:pt>
                <c:pt idx="1443">
                  <c:v>14.79418604651163</c:v>
                </c:pt>
                <c:pt idx="1444">
                  <c:v>14.79418604651163</c:v>
                </c:pt>
                <c:pt idx="1445">
                  <c:v>14.79418604651163</c:v>
                </c:pt>
                <c:pt idx="1446">
                  <c:v>14.79418604651163</c:v>
                </c:pt>
                <c:pt idx="1447">
                  <c:v>14.79418604651163</c:v>
                </c:pt>
                <c:pt idx="1448">
                  <c:v>14.79418604651163</c:v>
                </c:pt>
                <c:pt idx="1449">
                  <c:v>14.79418604651163</c:v>
                </c:pt>
                <c:pt idx="1450">
                  <c:v>14.79418604651163</c:v>
                </c:pt>
                <c:pt idx="1451">
                  <c:v>14.79418604651163</c:v>
                </c:pt>
                <c:pt idx="1452">
                  <c:v>14.79418604651163</c:v>
                </c:pt>
                <c:pt idx="1453">
                  <c:v>14.79418604651163</c:v>
                </c:pt>
                <c:pt idx="1454">
                  <c:v>14.79418604651163</c:v>
                </c:pt>
                <c:pt idx="1455">
                  <c:v>14.79418604651163</c:v>
                </c:pt>
                <c:pt idx="1456">
                  <c:v>14.79418604651163</c:v>
                </c:pt>
                <c:pt idx="1457">
                  <c:v>14.79418604651163</c:v>
                </c:pt>
                <c:pt idx="1458">
                  <c:v>14.79418604651163</c:v>
                </c:pt>
                <c:pt idx="1459">
                  <c:v>14.79418604651163</c:v>
                </c:pt>
                <c:pt idx="1460">
                  <c:v>14.79418604651163</c:v>
                </c:pt>
                <c:pt idx="1461">
                  <c:v>14.79418604651163</c:v>
                </c:pt>
                <c:pt idx="1462">
                  <c:v>14.79418604651163</c:v>
                </c:pt>
                <c:pt idx="1463">
                  <c:v>14.79418604651163</c:v>
                </c:pt>
                <c:pt idx="1464">
                  <c:v>14.79418604651163</c:v>
                </c:pt>
                <c:pt idx="1465">
                  <c:v>14.79418604651163</c:v>
                </c:pt>
                <c:pt idx="1466">
                  <c:v>14.79418604651163</c:v>
                </c:pt>
                <c:pt idx="1467">
                  <c:v>14.79418604651163</c:v>
                </c:pt>
                <c:pt idx="1468">
                  <c:v>14.79418604651163</c:v>
                </c:pt>
                <c:pt idx="1469">
                  <c:v>14.79418604651163</c:v>
                </c:pt>
                <c:pt idx="1470">
                  <c:v>14.79418604651163</c:v>
                </c:pt>
                <c:pt idx="1471">
                  <c:v>14.79418604651163</c:v>
                </c:pt>
                <c:pt idx="1472">
                  <c:v>14.79418604651163</c:v>
                </c:pt>
                <c:pt idx="1473">
                  <c:v>14.79418604651163</c:v>
                </c:pt>
                <c:pt idx="1474">
                  <c:v>14.79418604651163</c:v>
                </c:pt>
                <c:pt idx="1475">
                  <c:v>14.79418604651163</c:v>
                </c:pt>
                <c:pt idx="1476">
                  <c:v>14.79418604651163</c:v>
                </c:pt>
                <c:pt idx="1477">
                  <c:v>14.79418604651163</c:v>
                </c:pt>
                <c:pt idx="1478">
                  <c:v>14.79418604651163</c:v>
                </c:pt>
                <c:pt idx="1479">
                  <c:v>14.79418604651163</c:v>
                </c:pt>
                <c:pt idx="1480">
                  <c:v>14.79418604651163</c:v>
                </c:pt>
                <c:pt idx="1481">
                  <c:v>14.79418604651163</c:v>
                </c:pt>
                <c:pt idx="1482">
                  <c:v>14.79418604651163</c:v>
                </c:pt>
                <c:pt idx="1483">
                  <c:v>14.79418604651163</c:v>
                </c:pt>
                <c:pt idx="1484">
                  <c:v>14.79418604651163</c:v>
                </c:pt>
                <c:pt idx="1485">
                  <c:v>14.79418604651163</c:v>
                </c:pt>
                <c:pt idx="1486">
                  <c:v>14.79418604651163</c:v>
                </c:pt>
                <c:pt idx="1487">
                  <c:v>14.79418604651163</c:v>
                </c:pt>
                <c:pt idx="1488">
                  <c:v>14.79418604651163</c:v>
                </c:pt>
                <c:pt idx="1489">
                  <c:v>14.79418604651163</c:v>
                </c:pt>
                <c:pt idx="1490">
                  <c:v>14.79418604651163</c:v>
                </c:pt>
                <c:pt idx="1491">
                  <c:v>14.79418604651163</c:v>
                </c:pt>
                <c:pt idx="1492">
                  <c:v>14.79418604651163</c:v>
                </c:pt>
                <c:pt idx="1493">
                  <c:v>14.79418604651163</c:v>
                </c:pt>
                <c:pt idx="1494">
                  <c:v>14.79418604651163</c:v>
                </c:pt>
                <c:pt idx="1495">
                  <c:v>14.79418604651163</c:v>
                </c:pt>
                <c:pt idx="1496">
                  <c:v>14.79418604651163</c:v>
                </c:pt>
                <c:pt idx="1497">
                  <c:v>14.79418604651163</c:v>
                </c:pt>
                <c:pt idx="1498">
                  <c:v>14.79418604651163</c:v>
                </c:pt>
                <c:pt idx="1499">
                  <c:v>14.79418604651163</c:v>
                </c:pt>
                <c:pt idx="1500">
                  <c:v>14.79418604651163</c:v>
                </c:pt>
                <c:pt idx="1501">
                  <c:v>14.79418604651163</c:v>
                </c:pt>
                <c:pt idx="1502">
                  <c:v>14.79418604651163</c:v>
                </c:pt>
                <c:pt idx="1503">
                  <c:v>14.79418604651163</c:v>
                </c:pt>
                <c:pt idx="1504">
                  <c:v>14.79418604651163</c:v>
                </c:pt>
                <c:pt idx="1505">
                  <c:v>14.79418604651163</c:v>
                </c:pt>
                <c:pt idx="1506">
                  <c:v>14.79418604651163</c:v>
                </c:pt>
                <c:pt idx="1507">
                  <c:v>14.79418604651163</c:v>
                </c:pt>
                <c:pt idx="1508">
                  <c:v>14.79418604651163</c:v>
                </c:pt>
                <c:pt idx="1509">
                  <c:v>14.79418604651163</c:v>
                </c:pt>
                <c:pt idx="1510">
                  <c:v>14.79418604651163</c:v>
                </c:pt>
                <c:pt idx="1511">
                  <c:v>14.79418604651163</c:v>
                </c:pt>
                <c:pt idx="1512">
                  <c:v>14.79418604651163</c:v>
                </c:pt>
                <c:pt idx="1513">
                  <c:v>14.79418604651163</c:v>
                </c:pt>
                <c:pt idx="1514">
                  <c:v>14.79418604651163</c:v>
                </c:pt>
                <c:pt idx="1515">
                  <c:v>14.79418604651163</c:v>
                </c:pt>
                <c:pt idx="1516">
                  <c:v>14.79418604651163</c:v>
                </c:pt>
                <c:pt idx="1517">
                  <c:v>14.79418604651163</c:v>
                </c:pt>
                <c:pt idx="1518">
                  <c:v>14.79418604651163</c:v>
                </c:pt>
                <c:pt idx="1519">
                  <c:v>14.79418604651163</c:v>
                </c:pt>
                <c:pt idx="1520">
                  <c:v>14.79418604651163</c:v>
                </c:pt>
                <c:pt idx="1521">
                  <c:v>14.79418604651163</c:v>
                </c:pt>
                <c:pt idx="1522">
                  <c:v>14.79418604651163</c:v>
                </c:pt>
                <c:pt idx="1523">
                  <c:v>14.79418604651163</c:v>
                </c:pt>
                <c:pt idx="1524">
                  <c:v>14.79418604651163</c:v>
                </c:pt>
                <c:pt idx="1525">
                  <c:v>14.79418604651163</c:v>
                </c:pt>
                <c:pt idx="1526">
                  <c:v>14.79418604651163</c:v>
                </c:pt>
                <c:pt idx="1527">
                  <c:v>14.79418604651163</c:v>
                </c:pt>
                <c:pt idx="1528">
                  <c:v>14.79418604651163</c:v>
                </c:pt>
                <c:pt idx="1529">
                  <c:v>14.79418604651163</c:v>
                </c:pt>
                <c:pt idx="1530">
                  <c:v>14.79418604651163</c:v>
                </c:pt>
                <c:pt idx="1531">
                  <c:v>14.79418604651163</c:v>
                </c:pt>
                <c:pt idx="1532">
                  <c:v>14.79418604651163</c:v>
                </c:pt>
                <c:pt idx="1533">
                  <c:v>14.79418604651163</c:v>
                </c:pt>
                <c:pt idx="1534">
                  <c:v>14.79418604651163</c:v>
                </c:pt>
                <c:pt idx="1535">
                  <c:v>14.79418604651163</c:v>
                </c:pt>
                <c:pt idx="1536">
                  <c:v>14.79418604651163</c:v>
                </c:pt>
                <c:pt idx="1537">
                  <c:v>14.79418604651163</c:v>
                </c:pt>
                <c:pt idx="1538">
                  <c:v>14.79418604651163</c:v>
                </c:pt>
                <c:pt idx="1539">
                  <c:v>14.79418604651163</c:v>
                </c:pt>
                <c:pt idx="1540">
                  <c:v>14.79418604651163</c:v>
                </c:pt>
                <c:pt idx="1541">
                  <c:v>14.79418604651163</c:v>
                </c:pt>
                <c:pt idx="1542">
                  <c:v>14.79418604651163</c:v>
                </c:pt>
                <c:pt idx="1543">
                  <c:v>14.79418604651163</c:v>
                </c:pt>
                <c:pt idx="1544">
                  <c:v>14.79418604651163</c:v>
                </c:pt>
                <c:pt idx="1545">
                  <c:v>14.79418604651163</c:v>
                </c:pt>
                <c:pt idx="1546">
                  <c:v>14.79418604651163</c:v>
                </c:pt>
                <c:pt idx="1547">
                  <c:v>14.79418604651163</c:v>
                </c:pt>
                <c:pt idx="1548">
                  <c:v>14.79418604651163</c:v>
                </c:pt>
                <c:pt idx="1549">
                  <c:v>14.79418604651163</c:v>
                </c:pt>
                <c:pt idx="1550">
                  <c:v>14.79418604651163</c:v>
                </c:pt>
                <c:pt idx="1551">
                  <c:v>14.79418604651163</c:v>
                </c:pt>
                <c:pt idx="1552">
                  <c:v>14.79418604651163</c:v>
                </c:pt>
                <c:pt idx="1553">
                  <c:v>14.79418604651163</c:v>
                </c:pt>
                <c:pt idx="1554">
                  <c:v>14.79418604651163</c:v>
                </c:pt>
                <c:pt idx="1555">
                  <c:v>14.79418604651163</c:v>
                </c:pt>
                <c:pt idx="1556">
                  <c:v>14.79418604651163</c:v>
                </c:pt>
                <c:pt idx="1557">
                  <c:v>14.79418604651163</c:v>
                </c:pt>
                <c:pt idx="1558">
                  <c:v>14.79418604651163</c:v>
                </c:pt>
                <c:pt idx="1559">
                  <c:v>14.79418604651163</c:v>
                </c:pt>
                <c:pt idx="1560">
                  <c:v>14.79418604651163</c:v>
                </c:pt>
                <c:pt idx="1561">
                  <c:v>14.79418604651163</c:v>
                </c:pt>
                <c:pt idx="1562">
                  <c:v>14.79418604651163</c:v>
                </c:pt>
                <c:pt idx="1563">
                  <c:v>14.79418604651163</c:v>
                </c:pt>
                <c:pt idx="1564">
                  <c:v>14.79418604651163</c:v>
                </c:pt>
                <c:pt idx="1565">
                  <c:v>14.79418604651163</c:v>
                </c:pt>
                <c:pt idx="1566">
                  <c:v>14.79418604651163</c:v>
                </c:pt>
                <c:pt idx="1567">
                  <c:v>14.79418604651163</c:v>
                </c:pt>
                <c:pt idx="1568">
                  <c:v>14.79418604651163</c:v>
                </c:pt>
                <c:pt idx="1569">
                  <c:v>14.79418604651163</c:v>
                </c:pt>
                <c:pt idx="1570">
                  <c:v>14.79418604651163</c:v>
                </c:pt>
                <c:pt idx="1571">
                  <c:v>14.79418604651163</c:v>
                </c:pt>
                <c:pt idx="1572">
                  <c:v>14.79418604651163</c:v>
                </c:pt>
                <c:pt idx="1573">
                  <c:v>14.79418604651163</c:v>
                </c:pt>
                <c:pt idx="1574">
                  <c:v>14.79418604651163</c:v>
                </c:pt>
                <c:pt idx="1575">
                  <c:v>14.79418604651163</c:v>
                </c:pt>
                <c:pt idx="1576">
                  <c:v>14.79418604651163</c:v>
                </c:pt>
                <c:pt idx="1577">
                  <c:v>14.79418604651163</c:v>
                </c:pt>
                <c:pt idx="1578">
                  <c:v>14.79418604651163</c:v>
                </c:pt>
                <c:pt idx="1579">
                  <c:v>14.79418604651163</c:v>
                </c:pt>
                <c:pt idx="1580">
                  <c:v>14.79418604651163</c:v>
                </c:pt>
                <c:pt idx="1581">
                  <c:v>14.79418604651163</c:v>
                </c:pt>
                <c:pt idx="1582">
                  <c:v>14.79418604651163</c:v>
                </c:pt>
                <c:pt idx="1583">
                  <c:v>14.79418604651163</c:v>
                </c:pt>
                <c:pt idx="1584">
                  <c:v>14.79418604651163</c:v>
                </c:pt>
                <c:pt idx="1585">
                  <c:v>14.79418604651163</c:v>
                </c:pt>
                <c:pt idx="1586">
                  <c:v>14.79418604651163</c:v>
                </c:pt>
                <c:pt idx="1587">
                  <c:v>14.79418604651163</c:v>
                </c:pt>
                <c:pt idx="1588">
                  <c:v>14.79418604651163</c:v>
                </c:pt>
                <c:pt idx="1589">
                  <c:v>14.79418604651163</c:v>
                </c:pt>
                <c:pt idx="1590">
                  <c:v>14.79418604651163</c:v>
                </c:pt>
                <c:pt idx="1591">
                  <c:v>14.79418604651163</c:v>
                </c:pt>
                <c:pt idx="1592">
                  <c:v>14.79418604651163</c:v>
                </c:pt>
                <c:pt idx="1593">
                  <c:v>14.79418604651163</c:v>
                </c:pt>
                <c:pt idx="1594">
                  <c:v>14.79418604651163</c:v>
                </c:pt>
                <c:pt idx="1595">
                  <c:v>14.79418604651163</c:v>
                </c:pt>
                <c:pt idx="1596">
                  <c:v>14.79418604651163</c:v>
                </c:pt>
                <c:pt idx="1597">
                  <c:v>14.79418604651163</c:v>
                </c:pt>
                <c:pt idx="1598">
                  <c:v>14.79418604651163</c:v>
                </c:pt>
                <c:pt idx="1599">
                  <c:v>14.79418604651163</c:v>
                </c:pt>
                <c:pt idx="1600">
                  <c:v>14.79418604651163</c:v>
                </c:pt>
                <c:pt idx="1601">
                  <c:v>14.79418604651163</c:v>
                </c:pt>
                <c:pt idx="1602">
                  <c:v>14.79418604651163</c:v>
                </c:pt>
                <c:pt idx="1603">
                  <c:v>14.79418604651163</c:v>
                </c:pt>
                <c:pt idx="1604">
                  <c:v>14.79418604651163</c:v>
                </c:pt>
                <c:pt idx="1605">
                  <c:v>14.79418604651163</c:v>
                </c:pt>
                <c:pt idx="1606">
                  <c:v>14.79418604651163</c:v>
                </c:pt>
                <c:pt idx="1607">
                  <c:v>14.79418604651163</c:v>
                </c:pt>
                <c:pt idx="1608">
                  <c:v>14.79418604651163</c:v>
                </c:pt>
                <c:pt idx="1609">
                  <c:v>14.79418604651163</c:v>
                </c:pt>
                <c:pt idx="1610">
                  <c:v>14.79418604651163</c:v>
                </c:pt>
                <c:pt idx="1611">
                  <c:v>14.79418604651163</c:v>
                </c:pt>
                <c:pt idx="1612">
                  <c:v>14.79418604651163</c:v>
                </c:pt>
                <c:pt idx="1613">
                  <c:v>14.79418604651163</c:v>
                </c:pt>
                <c:pt idx="1614">
                  <c:v>14.79418604651163</c:v>
                </c:pt>
                <c:pt idx="1615">
                  <c:v>14.79418604651163</c:v>
                </c:pt>
                <c:pt idx="1616">
                  <c:v>14.79418604651163</c:v>
                </c:pt>
                <c:pt idx="1617">
                  <c:v>14.79418604651163</c:v>
                </c:pt>
                <c:pt idx="1618">
                  <c:v>14.79418604651163</c:v>
                </c:pt>
                <c:pt idx="1619">
                  <c:v>14.79418604651163</c:v>
                </c:pt>
                <c:pt idx="1620">
                  <c:v>14.79418604651163</c:v>
                </c:pt>
                <c:pt idx="1621">
                  <c:v>14.79418604651163</c:v>
                </c:pt>
                <c:pt idx="1622">
                  <c:v>14.79418604651163</c:v>
                </c:pt>
                <c:pt idx="1623">
                  <c:v>14.79418604651163</c:v>
                </c:pt>
                <c:pt idx="1624">
                  <c:v>14.79418604651163</c:v>
                </c:pt>
                <c:pt idx="1625">
                  <c:v>14.79418604651163</c:v>
                </c:pt>
                <c:pt idx="1626">
                  <c:v>14.79418604651163</c:v>
                </c:pt>
                <c:pt idx="1627">
                  <c:v>14.79418604651163</c:v>
                </c:pt>
                <c:pt idx="1628">
                  <c:v>14.79418604651163</c:v>
                </c:pt>
                <c:pt idx="1629">
                  <c:v>14.79418604651163</c:v>
                </c:pt>
                <c:pt idx="1630">
                  <c:v>14.79418604651163</c:v>
                </c:pt>
                <c:pt idx="1631">
                  <c:v>14.79418604651163</c:v>
                </c:pt>
                <c:pt idx="1632">
                  <c:v>14.79418604651163</c:v>
                </c:pt>
                <c:pt idx="1633">
                  <c:v>14.79418604651163</c:v>
                </c:pt>
                <c:pt idx="1634">
                  <c:v>14.79418604651163</c:v>
                </c:pt>
                <c:pt idx="1635">
                  <c:v>14.79418604651163</c:v>
                </c:pt>
                <c:pt idx="1636">
                  <c:v>14.79418604651163</c:v>
                </c:pt>
                <c:pt idx="1637">
                  <c:v>14.79418604651163</c:v>
                </c:pt>
                <c:pt idx="1638">
                  <c:v>14.79418604651163</c:v>
                </c:pt>
                <c:pt idx="1639">
                  <c:v>14.79418604651163</c:v>
                </c:pt>
                <c:pt idx="1640">
                  <c:v>14.79418604651163</c:v>
                </c:pt>
                <c:pt idx="1641">
                  <c:v>14.79418604651163</c:v>
                </c:pt>
                <c:pt idx="1642">
                  <c:v>14.79418604651163</c:v>
                </c:pt>
                <c:pt idx="1643">
                  <c:v>14.79418604651163</c:v>
                </c:pt>
                <c:pt idx="1644">
                  <c:v>14.79418604651163</c:v>
                </c:pt>
                <c:pt idx="1645">
                  <c:v>14.79418604651163</c:v>
                </c:pt>
                <c:pt idx="1646">
                  <c:v>14.79418604651163</c:v>
                </c:pt>
                <c:pt idx="1647">
                  <c:v>14.79418604651163</c:v>
                </c:pt>
                <c:pt idx="1648">
                  <c:v>14.79418604651163</c:v>
                </c:pt>
                <c:pt idx="1649">
                  <c:v>14.79418604651163</c:v>
                </c:pt>
                <c:pt idx="1650">
                  <c:v>14.79418604651163</c:v>
                </c:pt>
                <c:pt idx="1651">
                  <c:v>14.79418604651163</c:v>
                </c:pt>
                <c:pt idx="1652">
                  <c:v>14.79418604651163</c:v>
                </c:pt>
                <c:pt idx="1653">
                  <c:v>14.79418604651163</c:v>
                </c:pt>
                <c:pt idx="1654">
                  <c:v>14.79418604651163</c:v>
                </c:pt>
                <c:pt idx="1655">
                  <c:v>14.79418604651163</c:v>
                </c:pt>
                <c:pt idx="1656">
                  <c:v>14.79418604651163</c:v>
                </c:pt>
                <c:pt idx="1657">
                  <c:v>14.79418604651163</c:v>
                </c:pt>
                <c:pt idx="1658">
                  <c:v>14.79418604651163</c:v>
                </c:pt>
                <c:pt idx="1659">
                  <c:v>14.79418604651163</c:v>
                </c:pt>
                <c:pt idx="1660">
                  <c:v>14.79418604651163</c:v>
                </c:pt>
                <c:pt idx="1661">
                  <c:v>14.79418604651163</c:v>
                </c:pt>
                <c:pt idx="1662">
                  <c:v>14.79418604651163</c:v>
                </c:pt>
                <c:pt idx="1663">
                  <c:v>14.79418604651163</c:v>
                </c:pt>
                <c:pt idx="1664">
                  <c:v>14.79418604651163</c:v>
                </c:pt>
                <c:pt idx="1665">
                  <c:v>14.79418604651163</c:v>
                </c:pt>
                <c:pt idx="1666">
                  <c:v>14.79418604651163</c:v>
                </c:pt>
                <c:pt idx="1667">
                  <c:v>14.79418604651163</c:v>
                </c:pt>
                <c:pt idx="1668">
                  <c:v>14.79418604651163</c:v>
                </c:pt>
                <c:pt idx="1669">
                  <c:v>14.79418604651163</c:v>
                </c:pt>
                <c:pt idx="1670">
                  <c:v>14.79418604651163</c:v>
                </c:pt>
                <c:pt idx="1671">
                  <c:v>14.79418604651163</c:v>
                </c:pt>
                <c:pt idx="1672">
                  <c:v>14.79418604651163</c:v>
                </c:pt>
                <c:pt idx="1673">
                  <c:v>14.79418604651163</c:v>
                </c:pt>
                <c:pt idx="1674">
                  <c:v>14.79418604651163</c:v>
                </c:pt>
                <c:pt idx="1675">
                  <c:v>14.79418604651163</c:v>
                </c:pt>
                <c:pt idx="1676">
                  <c:v>14.79418604651163</c:v>
                </c:pt>
                <c:pt idx="1677">
                  <c:v>14.79418604651163</c:v>
                </c:pt>
                <c:pt idx="1678">
                  <c:v>14.79418604651163</c:v>
                </c:pt>
                <c:pt idx="1679">
                  <c:v>14.79418604651163</c:v>
                </c:pt>
                <c:pt idx="1680">
                  <c:v>14.79418604651163</c:v>
                </c:pt>
                <c:pt idx="1681">
                  <c:v>14.79418604651163</c:v>
                </c:pt>
                <c:pt idx="1682">
                  <c:v>14.79418604651163</c:v>
                </c:pt>
                <c:pt idx="1683">
                  <c:v>14.79418604651163</c:v>
                </c:pt>
                <c:pt idx="1684">
                  <c:v>14.79418604651163</c:v>
                </c:pt>
                <c:pt idx="1685">
                  <c:v>14.79418604651163</c:v>
                </c:pt>
                <c:pt idx="1686">
                  <c:v>14.79418604651163</c:v>
                </c:pt>
                <c:pt idx="1687">
                  <c:v>14.79418604651163</c:v>
                </c:pt>
                <c:pt idx="1688">
                  <c:v>14.79418604651163</c:v>
                </c:pt>
                <c:pt idx="1689">
                  <c:v>14.79418604651163</c:v>
                </c:pt>
                <c:pt idx="1690">
                  <c:v>14.79418604651163</c:v>
                </c:pt>
                <c:pt idx="1691">
                  <c:v>14.79418604651163</c:v>
                </c:pt>
                <c:pt idx="1692">
                  <c:v>14.79418604651163</c:v>
                </c:pt>
                <c:pt idx="1693">
                  <c:v>14.79418604651163</c:v>
                </c:pt>
                <c:pt idx="1694">
                  <c:v>14.79418604651163</c:v>
                </c:pt>
                <c:pt idx="1695">
                  <c:v>14.79418604651163</c:v>
                </c:pt>
                <c:pt idx="1696">
                  <c:v>14.79418604651163</c:v>
                </c:pt>
                <c:pt idx="1697">
                  <c:v>14.79418604651163</c:v>
                </c:pt>
                <c:pt idx="1698">
                  <c:v>14.79418604651163</c:v>
                </c:pt>
                <c:pt idx="1699">
                  <c:v>14.79418604651163</c:v>
                </c:pt>
                <c:pt idx="1700">
                  <c:v>14.79418604651163</c:v>
                </c:pt>
                <c:pt idx="1701">
                  <c:v>14.79418604651163</c:v>
                </c:pt>
                <c:pt idx="1702">
                  <c:v>14.79418604651163</c:v>
                </c:pt>
                <c:pt idx="1703">
                  <c:v>14.79418604651163</c:v>
                </c:pt>
                <c:pt idx="1704">
                  <c:v>14.79418604651163</c:v>
                </c:pt>
                <c:pt idx="1705">
                  <c:v>14.79418604651163</c:v>
                </c:pt>
                <c:pt idx="1706">
                  <c:v>14.79418604651163</c:v>
                </c:pt>
                <c:pt idx="1707">
                  <c:v>14.79418604651163</c:v>
                </c:pt>
                <c:pt idx="1708">
                  <c:v>14.79418604651163</c:v>
                </c:pt>
                <c:pt idx="1709">
                  <c:v>14.79418604651163</c:v>
                </c:pt>
                <c:pt idx="1710">
                  <c:v>14.79418604651163</c:v>
                </c:pt>
                <c:pt idx="1711">
                  <c:v>14.79418604651163</c:v>
                </c:pt>
                <c:pt idx="1712">
                  <c:v>14.79418604651163</c:v>
                </c:pt>
                <c:pt idx="1713">
                  <c:v>14.79418604651163</c:v>
                </c:pt>
                <c:pt idx="1714">
                  <c:v>14.79418604651163</c:v>
                </c:pt>
                <c:pt idx="1715">
                  <c:v>14.79418604651163</c:v>
                </c:pt>
                <c:pt idx="1716">
                  <c:v>14.79418604651163</c:v>
                </c:pt>
                <c:pt idx="1717">
                  <c:v>14.79418604651163</c:v>
                </c:pt>
                <c:pt idx="1718">
                  <c:v>14.79418604651163</c:v>
                </c:pt>
                <c:pt idx="1719">
                  <c:v>14.79418604651163</c:v>
                </c:pt>
                <c:pt idx="1720">
                  <c:v>14.79418604651163</c:v>
                </c:pt>
                <c:pt idx="1721">
                  <c:v>14.79418604651163</c:v>
                </c:pt>
                <c:pt idx="1722">
                  <c:v>14.79418604651163</c:v>
                </c:pt>
                <c:pt idx="1723">
                  <c:v>14.79418604651163</c:v>
                </c:pt>
                <c:pt idx="1724">
                  <c:v>14.79418604651163</c:v>
                </c:pt>
                <c:pt idx="1725">
                  <c:v>14.79418604651163</c:v>
                </c:pt>
                <c:pt idx="1726">
                  <c:v>14.79418604651163</c:v>
                </c:pt>
                <c:pt idx="1727">
                  <c:v>14.79418604651163</c:v>
                </c:pt>
                <c:pt idx="1728">
                  <c:v>14.79418604651163</c:v>
                </c:pt>
                <c:pt idx="1729">
                  <c:v>14.79418604651163</c:v>
                </c:pt>
                <c:pt idx="1730">
                  <c:v>14.79418604651163</c:v>
                </c:pt>
                <c:pt idx="1731">
                  <c:v>14.79418604651163</c:v>
                </c:pt>
                <c:pt idx="1732">
                  <c:v>14.79418604651163</c:v>
                </c:pt>
                <c:pt idx="1733">
                  <c:v>14.79418604651163</c:v>
                </c:pt>
                <c:pt idx="1734">
                  <c:v>14.79418604651163</c:v>
                </c:pt>
                <c:pt idx="1735">
                  <c:v>14.79418604651163</c:v>
                </c:pt>
                <c:pt idx="1736">
                  <c:v>14.79418604651163</c:v>
                </c:pt>
                <c:pt idx="1737">
                  <c:v>14.79418604651163</c:v>
                </c:pt>
                <c:pt idx="1738">
                  <c:v>14.79418604651163</c:v>
                </c:pt>
                <c:pt idx="1739">
                  <c:v>14.79418604651163</c:v>
                </c:pt>
                <c:pt idx="1740">
                  <c:v>14.79418604651163</c:v>
                </c:pt>
                <c:pt idx="1741">
                  <c:v>14.79418604651163</c:v>
                </c:pt>
                <c:pt idx="1742">
                  <c:v>14.79418604651163</c:v>
                </c:pt>
                <c:pt idx="1743">
                  <c:v>14.79418604651163</c:v>
                </c:pt>
                <c:pt idx="1744">
                  <c:v>14.79418604651163</c:v>
                </c:pt>
                <c:pt idx="1745">
                  <c:v>14.79418604651163</c:v>
                </c:pt>
                <c:pt idx="1746">
                  <c:v>14.79418604651163</c:v>
                </c:pt>
                <c:pt idx="1747">
                  <c:v>14.79418604651163</c:v>
                </c:pt>
                <c:pt idx="1748">
                  <c:v>14.79418604651163</c:v>
                </c:pt>
                <c:pt idx="1749">
                  <c:v>14.79418604651163</c:v>
                </c:pt>
                <c:pt idx="1750">
                  <c:v>14.79418604651163</c:v>
                </c:pt>
                <c:pt idx="1751">
                  <c:v>14.79418604651163</c:v>
                </c:pt>
                <c:pt idx="1752">
                  <c:v>14.79418604651163</c:v>
                </c:pt>
                <c:pt idx="1753">
                  <c:v>14.79418604651163</c:v>
                </c:pt>
                <c:pt idx="1754">
                  <c:v>14.79418604651163</c:v>
                </c:pt>
                <c:pt idx="1755">
                  <c:v>14.79418604651163</c:v>
                </c:pt>
                <c:pt idx="1756">
                  <c:v>14.79418604651163</c:v>
                </c:pt>
                <c:pt idx="1757">
                  <c:v>14.79418604651163</c:v>
                </c:pt>
                <c:pt idx="1758">
                  <c:v>14.79418604651163</c:v>
                </c:pt>
                <c:pt idx="1759">
                  <c:v>14.79418604651163</c:v>
                </c:pt>
                <c:pt idx="1760">
                  <c:v>14.79418604651163</c:v>
                </c:pt>
                <c:pt idx="1761">
                  <c:v>14.79418604651163</c:v>
                </c:pt>
                <c:pt idx="1762">
                  <c:v>14.79418604651163</c:v>
                </c:pt>
                <c:pt idx="1763">
                  <c:v>14.79418604651163</c:v>
                </c:pt>
                <c:pt idx="1764">
                  <c:v>14.79418604651163</c:v>
                </c:pt>
                <c:pt idx="1765">
                  <c:v>14.79418604651163</c:v>
                </c:pt>
                <c:pt idx="1766">
                  <c:v>14.79418604651163</c:v>
                </c:pt>
                <c:pt idx="1767">
                  <c:v>14.79418604651163</c:v>
                </c:pt>
                <c:pt idx="1768">
                  <c:v>14.79418604651163</c:v>
                </c:pt>
                <c:pt idx="1769">
                  <c:v>14.79418604651163</c:v>
                </c:pt>
                <c:pt idx="1770">
                  <c:v>14.79418604651163</c:v>
                </c:pt>
                <c:pt idx="1771">
                  <c:v>14.79418604651163</c:v>
                </c:pt>
                <c:pt idx="1772">
                  <c:v>14.79418604651163</c:v>
                </c:pt>
                <c:pt idx="1773">
                  <c:v>14.79418604651163</c:v>
                </c:pt>
                <c:pt idx="1774">
                  <c:v>14.79418604651163</c:v>
                </c:pt>
                <c:pt idx="1775">
                  <c:v>14.79418604651163</c:v>
                </c:pt>
                <c:pt idx="1776">
                  <c:v>14.79418604651163</c:v>
                </c:pt>
                <c:pt idx="1777">
                  <c:v>14.79418604651163</c:v>
                </c:pt>
                <c:pt idx="1778">
                  <c:v>14.79418604651163</c:v>
                </c:pt>
                <c:pt idx="1779">
                  <c:v>14.79418604651163</c:v>
                </c:pt>
                <c:pt idx="1780">
                  <c:v>14.79418604651163</c:v>
                </c:pt>
                <c:pt idx="1781">
                  <c:v>14.79418604651163</c:v>
                </c:pt>
                <c:pt idx="1782">
                  <c:v>14.79418604651163</c:v>
                </c:pt>
                <c:pt idx="1783">
                  <c:v>14.79418604651163</c:v>
                </c:pt>
                <c:pt idx="1784">
                  <c:v>14.79418604651163</c:v>
                </c:pt>
                <c:pt idx="1785">
                  <c:v>14.79418604651163</c:v>
                </c:pt>
                <c:pt idx="1786">
                  <c:v>14.79418604651163</c:v>
                </c:pt>
                <c:pt idx="1787">
                  <c:v>14.79418604651163</c:v>
                </c:pt>
                <c:pt idx="1788">
                  <c:v>14.79418604651163</c:v>
                </c:pt>
                <c:pt idx="1789">
                  <c:v>14.79418604651163</c:v>
                </c:pt>
                <c:pt idx="1790">
                  <c:v>14.79418604651163</c:v>
                </c:pt>
                <c:pt idx="1791">
                  <c:v>14.79418604651163</c:v>
                </c:pt>
                <c:pt idx="1792">
                  <c:v>14.79418604651163</c:v>
                </c:pt>
                <c:pt idx="1793">
                  <c:v>14.79418604651163</c:v>
                </c:pt>
                <c:pt idx="1794">
                  <c:v>14.79418604651163</c:v>
                </c:pt>
                <c:pt idx="1795">
                  <c:v>14.79418604651163</c:v>
                </c:pt>
                <c:pt idx="1796">
                  <c:v>14.79418604651163</c:v>
                </c:pt>
                <c:pt idx="1797">
                  <c:v>14.79418604651163</c:v>
                </c:pt>
                <c:pt idx="1798">
                  <c:v>14.79418604651163</c:v>
                </c:pt>
                <c:pt idx="1799">
                  <c:v>14.79418604651163</c:v>
                </c:pt>
                <c:pt idx="1800">
                  <c:v>14.79418604651163</c:v>
                </c:pt>
                <c:pt idx="1801">
                  <c:v>14.79418604651163</c:v>
                </c:pt>
                <c:pt idx="1802">
                  <c:v>14.79418604651163</c:v>
                </c:pt>
                <c:pt idx="1803">
                  <c:v>14.79418604651163</c:v>
                </c:pt>
                <c:pt idx="1804">
                  <c:v>14.79418604651163</c:v>
                </c:pt>
                <c:pt idx="1805">
                  <c:v>14.79418604651163</c:v>
                </c:pt>
                <c:pt idx="1806">
                  <c:v>14.79418604651163</c:v>
                </c:pt>
                <c:pt idx="1807">
                  <c:v>14.79418604651163</c:v>
                </c:pt>
                <c:pt idx="1808">
                  <c:v>14.79418604651163</c:v>
                </c:pt>
                <c:pt idx="1809">
                  <c:v>14.79418604651163</c:v>
                </c:pt>
                <c:pt idx="1810">
                  <c:v>14.79418604651163</c:v>
                </c:pt>
                <c:pt idx="1811">
                  <c:v>14.79418604651163</c:v>
                </c:pt>
                <c:pt idx="1812">
                  <c:v>14.79418604651163</c:v>
                </c:pt>
                <c:pt idx="1813">
                  <c:v>14.79418604651163</c:v>
                </c:pt>
                <c:pt idx="1814">
                  <c:v>14.79418604651163</c:v>
                </c:pt>
                <c:pt idx="1815">
                  <c:v>14.79418604651163</c:v>
                </c:pt>
                <c:pt idx="1816">
                  <c:v>14.79418604651163</c:v>
                </c:pt>
                <c:pt idx="1817">
                  <c:v>14.79418604651163</c:v>
                </c:pt>
                <c:pt idx="1818">
                  <c:v>14.79418604651163</c:v>
                </c:pt>
                <c:pt idx="1819">
                  <c:v>14.79418604651163</c:v>
                </c:pt>
                <c:pt idx="1820">
                  <c:v>14.79418604651163</c:v>
                </c:pt>
                <c:pt idx="1821">
                  <c:v>14.79418604651163</c:v>
                </c:pt>
                <c:pt idx="1822">
                  <c:v>14.79418604651163</c:v>
                </c:pt>
                <c:pt idx="1823">
                  <c:v>14.79418604651163</c:v>
                </c:pt>
                <c:pt idx="1824">
                  <c:v>14.79418604651163</c:v>
                </c:pt>
                <c:pt idx="1825">
                  <c:v>14.79418604651163</c:v>
                </c:pt>
                <c:pt idx="1826">
                  <c:v>14.79418604651163</c:v>
                </c:pt>
                <c:pt idx="1827">
                  <c:v>14.79418604651163</c:v>
                </c:pt>
                <c:pt idx="1828">
                  <c:v>14.79418604651163</c:v>
                </c:pt>
                <c:pt idx="1829">
                  <c:v>14.79418604651163</c:v>
                </c:pt>
                <c:pt idx="1830">
                  <c:v>14.79418604651163</c:v>
                </c:pt>
                <c:pt idx="1831">
                  <c:v>14.79418604651163</c:v>
                </c:pt>
                <c:pt idx="1832">
                  <c:v>14.79418604651163</c:v>
                </c:pt>
                <c:pt idx="1833">
                  <c:v>14.79418604651163</c:v>
                </c:pt>
                <c:pt idx="1834">
                  <c:v>14.79418604651163</c:v>
                </c:pt>
                <c:pt idx="1835">
                  <c:v>14.79418604651163</c:v>
                </c:pt>
                <c:pt idx="1836">
                  <c:v>14.79418604651163</c:v>
                </c:pt>
                <c:pt idx="1837">
                  <c:v>14.79418604651163</c:v>
                </c:pt>
                <c:pt idx="1838">
                  <c:v>14.79418604651163</c:v>
                </c:pt>
                <c:pt idx="1839">
                  <c:v>14.79418604651163</c:v>
                </c:pt>
                <c:pt idx="1840">
                  <c:v>14.79418604651163</c:v>
                </c:pt>
                <c:pt idx="1841">
                  <c:v>14.79418604651163</c:v>
                </c:pt>
                <c:pt idx="1842">
                  <c:v>14.79418604651163</c:v>
                </c:pt>
                <c:pt idx="1843">
                  <c:v>14.79418604651163</c:v>
                </c:pt>
                <c:pt idx="1844">
                  <c:v>14.79418604651163</c:v>
                </c:pt>
                <c:pt idx="1845">
                  <c:v>14.79418604651163</c:v>
                </c:pt>
                <c:pt idx="1846">
                  <c:v>14.79418604651163</c:v>
                </c:pt>
                <c:pt idx="1847">
                  <c:v>14.79418604651163</c:v>
                </c:pt>
                <c:pt idx="1848">
                  <c:v>14.79418604651163</c:v>
                </c:pt>
                <c:pt idx="1849">
                  <c:v>14.79418604651163</c:v>
                </c:pt>
                <c:pt idx="1850">
                  <c:v>14.79418604651163</c:v>
                </c:pt>
                <c:pt idx="1851">
                  <c:v>14.79418604651163</c:v>
                </c:pt>
                <c:pt idx="1852">
                  <c:v>14.79418604651163</c:v>
                </c:pt>
                <c:pt idx="1853">
                  <c:v>14.79418604651163</c:v>
                </c:pt>
                <c:pt idx="1854">
                  <c:v>14.79418604651163</c:v>
                </c:pt>
                <c:pt idx="1855">
                  <c:v>14.79418604651163</c:v>
                </c:pt>
                <c:pt idx="1856">
                  <c:v>14.79418604651163</c:v>
                </c:pt>
                <c:pt idx="1857">
                  <c:v>14.79418604651163</c:v>
                </c:pt>
                <c:pt idx="1858">
                  <c:v>14.79418604651163</c:v>
                </c:pt>
                <c:pt idx="1859">
                  <c:v>14.79418604651163</c:v>
                </c:pt>
                <c:pt idx="1860">
                  <c:v>14.79418604651163</c:v>
                </c:pt>
                <c:pt idx="1861">
                  <c:v>14.79418604651163</c:v>
                </c:pt>
                <c:pt idx="1862">
                  <c:v>14.79418604651163</c:v>
                </c:pt>
                <c:pt idx="1863">
                  <c:v>14.79418604651163</c:v>
                </c:pt>
                <c:pt idx="1864">
                  <c:v>14.79418604651163</c:v>
                </c:pt>
                <c:pt idx="1865">
                  <c:v>14.79418604651163</c:v>
                </c:pt>
                <c:pt idx="1866">
                  <c:v>14.79418604651163</c:v>
                </c:pt>
                <c:pt idx="1867">
                  <c:v>14.79418604651163</c:v>
                </c:pt>
                <c:pt idx="1868">
                  <c:v>14.79418604651163</c:v>
                </c:pt>
                <c:pt idx="1869">
                  <c:v>14.79418604651163</c:v>
                </c:pt>
                <c:pt idx="1870">
                  <c:v>14.79418604651163</c:v>
                </c:pt>
                <c:pt idx="1871">
                  <c:v>14.79418604651163</c:v>
                </c:pt>
                <c:pt idx="1872">
                  <c:v>14.79418604651163</c:v>
                </c:pt>
                <c:pt idx="1873">
                  <c:v>14.79418604651163</c:v>
                </c:pt>
                <c:pt idx="1874">
                  <c:v>14.79418604651163</c:v>
                </c:pt>
                <c:pt idx="1875">
                  <c:v>14.79418604651163</c:v>
                </c:pt>
                <c:pt idx="1876">
                  <c:v>14.79418604651163</c:v>
                </c:pt>
                <c:pt idx="1877">
                  <c:v>14.79418604651163</c:v>
                </c:pt>
                <c:pt idx="1878">
                  <c:v>14.79418604651163</c:v>
                </c:pt>
                <c:pt idx="1879">
                  <c:v>14.79418604651163</c:v>
                </c:pt>
                <c:pt idx="1880">
                  <c:v>14.79418604651163</c:v>
                </c:pt>
                <c:pt idx="1881">
                  <c:v>14.79418604651163</c:v>
                </c:pt>
                <c:pt idx="1882">
                  <c:v>14.79418604651163</c:v>
                </c:pt>
                <c:pt idx="1883">
                  <c:v>14.79418604651163</c:v>
                </c:pt>
                <c:pt idx="1884">
                  <c:v>14.79418604651163</c:v>
                </c:pt>
                <c:pt idx="1885">
                  <c:v>14.79418604651163</c:v>
                </c:pt>
                <c:pt idx="1886">
                  <c:v>14.79418604651163</c:v>
                </c:pt>
                <c:pt idx="1887">
                  <c:v>14.79418604651163</c:v>
                </c:pt>
                <c:pt idx="1888">
                  <c:v>14.79418604651163</c:v>
                </c:pt>
                <c:pt idx="1889">
                  <c:v>14.79418604651163</c:v>
                </c:pt>
                <c:pt idx="1890">
                  <c:v>14.79418604651163</c:v>
                </c:pt>
                <c:pt idx="1891">
                  <c:v>14.79418604651163</c:v>
                </c:pt>
                <c:pt idx="1892">
                  <c:v>14.79418604651163</c:v>
                </c:pt>
                <c:pt idx="1893">
                  <c:v>14.79418604651163</c:v>
                </c:pt>
                <c:pt idx="1894">
                  <c:v>14.79418604651163</c:v>
                </c:pt>
                <c:pt idx="1895">
                  <c:v>14.79418604651163</c:v>
                </c:pt>
                <c:pt idx="1896">
                  <c:v>14.79418604651163</c:v>
                </c:pt>
                <c:pt idx="1897">
                  <c:v>14.79418604651163</c:v>
                </c:pt>
                <c:pt idx="1898">
                  <c:v>14.79418604651163</c:v>
                </c:pt>
                <c:pt idx="1899">
                  <c:v>14.79418604651163</c:v>
                </c:pt>
                <c:pt idx="1900">
                  <c:v>14.79418604651163</c:v>
                </c:pt>
                <c:pt idx="1901">
                  <c:v>14.79418604651163</c:v>
                </c:pt>
                <c:pt idx="1902">
                  <c:v>14.79418604651163</c:v>
                </c:pt>
                <c:pt idx="1903">
                  <c:v>14.79418604651163</c:v>
                </c:pt>
                <c:pt idx="1904">
                  <c:v>14.79418604651163</c:v>
                </c:pt>
                <c:pt idx="1905">
                  <c:v>14.79418604651163</c:v>
                </c:pt>
                <c:pt idx="1906">
                  <c:v>14.79418604651163</c:v>
                </c:pt>
                <c:pt idx="1907">
                  <c:v>14.79418604651163</c:v>
                </c:pt>
                <c:pt idx="1908">
                  <c:v>14.79418604651163</c:v>
                </c:pt>
                <c:pt idx="1909">
                  <c:v>14.79418604651163</c:v>
                </c:pt>
                <c:pt idx="1910">
                  <c:v>14.79418604651163</c:v>
                </c:pt>
                <c:pt idx="1911">
                  <c:v>14.79418604651163</c:v>
                </c:pt>
                <c:pt idx="1912">
                  <c:v>14.79418604651163</c:v>
                </c:pt>
                <c:pt idx="1913">
                  <c:v>14.79418604651163</c:v>
                </c:pt>
                <c:pt idx="1914">
                  <c:v>14.79418604651163</c:v>
                </c:pt>
                <c:pt idx="1915">
                  <c:v>14.79418604651163</c:v>
                </c:pt>
                <c:pt idx="1916">
                  <c:v>14.79418604651163</c:v>
                </c:pt>
                <c:pt idx="1917">
                  <c:v>14.79418604651163</c:v>
                </c:pt>
                <c:pt idx="1918">
                  <c:v>14.79418604651163</c:v>
                </c:pt>
                <c:pt idx="1919">
                  <c:v>14.79418604651163</c:v>
                </c:pt>
                <c:pt idx="1920">
                  <c:v>14.79418604651163</c:v>
                </c:pt>
                <c:pt idx="1921">
                  <c:v>14.79418604651163</c:v>
                </c:pt>
                <c:pt idx="1922">
                  <c:v>14.79418604651163</c:v>
                </c:pt>
                <c:pt idx="1923">
                  <c:v>14.79418604651163</c:v>
                </c:pt>
                <c:pt idx="1924">
                  <c:v>14.79418604651163</c:v>
                </c:pt>
                <c:pt idx="1925">
                  <c:v>14.79418604651163</c:v>
                </c:pt>
                <c:pt idx="1926">
                  <c:v>14.79418604651163</c:v>
                </c:pt>
                <c:pt idx="1927">
                  <c:v>14.79418604651163</c:v>
                </c:pt>
                <c:pt idx="1928">
                  <c:v>14.79418604651163</c:v>
                </c:pt>
                <c:pt idx="1929">
                  <c:v>14.79418604651163</c:v>
                </c:pt>
                <c:pt idx="1930">
                  <c:v>14.79418604651163</c:v>
                </c:pt>
                <c:pt idx="1931">
                  <c:v>14.79418604651163</c:v>
                </c:pt>
                <c:pt idx="1932">
                  <c:v>14.79418604651163</c:v>
                </c:pt>
                <c:pt idx="1933">
                  <c:v>14.79418604651163</c:v>
                </c:pt>
                <c:pt idx="1934">
                  <c:v>14.79418604651163</c:v>
                </c:pt>
                <c:pt idx="1935">
                  <c:v>14.79418604651163</c:v>
                </c:pt>
                <c:pt idx="1936">
                  <c:v>14.79418604651163</c:v>
                </c:pt>
                <c:pt idx="1937">
                  <c:v>14.79418604651163</c:v>
                </c:pt>
                <c:pt idx="1938">
                  <c:v>14.79418604651163</c:v>
                </c:pt>
                <c:pt idx="1939">
                  <c:v>14.79418604651163</c:v>
                </c:pt>
                <c:pt idx="1940">
                  <c:v>14.79418604651163</c:v>
                </c:pt>
                <c:pt idx="1941">
                  <c:v>14.79418604651163</c:v>
                </c:pt>
                <c:pt idx="1942">
                  <c:v>14.79418604651163</c:v>
                </c:pt>
                <c:pt idx="1943">
                  <c:v>14.79418604651163</c:v>
                </c:pt>
                <c:pt idx="1944">
                  <c:v>14.79418604651163</c:v>
                </c:pt>
                <c:pt idx="1945">
                  <c:v>14.79418604651163</c:v>
                </c:pt>
                <c:pt idx="1946">
                  <c:v>14.79418604651163</c:v>
                </c:pt>
                <c:pt idx="1947">
                  <c:v>14.79418604651163</c:v>
                </c:pt>
                <c:pt idx="1948">
                  <c:v>14.79418604651163</c:v>
                </c:pt>
                <c:pt idx="1949">
                  <c:v>14.79418604651163</c:v>
                </c:pt>
                <c:pt idx="1950">
                  <c:v>14.79418604651163</c:v>
                </c:pt>
                <c:pt idx="1951">
                  <c:v>14.79418604651163</c:v>
                </c:pt>
                <c:pt idx="1952">
                  <c:v>14.79418604651163</c:v>
                </c:pt>
                <c:pt idx="1953">
                  <c:v>14.79418604651163</c:v>
                </c:pt>
                <c:pt idx="1954">
                  <c:v>14.79418604651163</c:v>
                </c:pt>
                <c:pt idx="1955">
                  <c:v>14.79418604651163</c:v>
                </c:pt>
                <c:pt idx="1956">
                  <c:v>14.79418604651163</c:v>
                </c:pt>
                <c:pt idx="1957">
                  <c:v>14.79418604651163</c:v>
                </c:pt>
                <c:pt idx="1958">
                  <c:v>14.79418604651163</c:v>
                </c:pt>
                <c:pt idx="1959">
                  <c:v>14.79418604651163</c:v>
                </c:pt>
                <c:pt idx="1960">
                  <c:v>14.79418604651163</c:v>
                </c:pt>
                <c:pt idx="1961">
                  <c:v>14.79418604651163</c:v>
                </c:pt>
                <c:pt idx="1962">
                  <c:v>14.79418604651163</c:v>
                </c:pt>
                <c:pt idx="1963">
                  <c:v>14.79418604651163</c:v>
                </c:pt>
                <c:pt idx="1964">
                  <c:v>14.79418604651163</c:v>
                </c:pt>
                <c:pt idx="1965">
                  <c:v>14.79418604651163</c:v>
                </c:pt>
                <c:pt idx="1966">
                  <c:v>14.79418604651163</c:v>
                </c:pt>
                <c:pt idx="1967">
                  <c:v>14.79418604651163</c:v>
                </c:pt>
                <c:pt idx="1968">
                  <c:v>14.79418604651163</c:v>
                </c:pt>
                <c:pt idx="1969">
                  <c:v>14.79418604651163</c:v>
                </c:pt>
                <c:pt idx="1970">
                  <c:v>14.79418604651163</c:v>
                </c:pt>
                <c:pt idx="1971">
                  <c:v>14.79418604651163</c:v>
                </c:pt>
                <c:pt idx="1972">
                  <c:v>14.79418604651163</c:v>
                </c:pt>
                <c:pt idx="1973">
                  <c:v>14.79418604651163</c:v>
                </c:pt>
                <c:pt idx="1974">
                  <c:v>14.79418604651163</c:v>
                </c:pt>
                <c:pt idx="1975">
                  <c:v>14.79418604651163</c:v>
                </c:pt>
                <c:pt idx="1976">
                  <c:v>14.79418604651163</c:v>
                </c:pt>
                <c:pt idx="1977">
                  <c:v>14.79418604651163</c:v>
                </c:pt>
                <c:pt idx="1978">
                  <c:v>14.79418604651163</c:v>
                </c:pt>
                <c:pt idx="1979">
                  <c:v>14.79418604651163</c:v>
                </c:pt>
                <c:pt idx="1980">
                  <c:v>14.79418604651163</c:v>
                </c:pt>
                <c:pt idx="1981">
                  <c:v>14.79418604651163</c:v>
                </c:pt>
                <c:pt idx="1982">
                  <c:v>14.79418604651163</c:v>
                </c:pt>
                <c:pt idx="1983">
                  <c:v>14.79418604651163</c:v>
                </c:pt>
                <c:pt idx="1984">
                  <c:v>14.79418604651163</c:v>
                </c:pt>
                <c:pt idx="1985">
                  <c:v>14.79418604651163</c:v>
                </c:pt>
                <c:pt idx="1986">
                  <c:v>14.79418604651163</c:v>
                </c:pt>
                <c:pt idx="1987">
                  <c:v>14.79418604651163</c:v>
                </c:pt>
                <c:pt idx="1988">
                  <c:v>14.79418604651163</c:v>
                </c:pt>
                <c:pt idx="1989">
                  <c:v>14.79418604651163</c:v>
                </c:pt>
                <c:pt idx="1990">
                  <c:v>14.79418604651163</c:v>
                </c:pt>
                <c:pt idx="1991">
                  <c:v>14.79418604651163</c:v>
                </c:pt>
                <c:pt idx="1992">
                  <c:v>14.79418604651163</c:v>
                </c:pt>
                <c:pt idx="1993">
                  <c:v>14.79418604651163</c:v>
                </c:pt>
                <c:pt idx="1994">
                  <c:v>14.79418604651163</c:v>
                </c:pt>
                <c:pt idx="1995">
                  <c:v>14.79418604651163</c:v>
                </c:pt>
                <c:pt idx="1996">
                  <c:v>14.79418604651163</c:v>
                </c:pt>
                <c:pt idx="1997">
                  <c:v>14.79418604651163</c:v>
                </c:pt>
                <c:pt idx="1998">
                  <c:v>14.79418604651163</c:v>
                </c:pt>
                <c:pt idx="1999">
                  <c:v>14.79418604651163</c:v>
                </c:pt>
                <c:pt idx="2000">
                  <c:v>14.79418604651163</c:v>
                </c:pt>
                <c:pt idx="2001">
                  <c:v>14.79418604651163</c:v>
                </c:pt>
                <c:pt idx="2002">
                  <c:v>14.79418604651163</c:v>
                </c:pt>
                <c:pt idx="2003">
                  <c:v>14.79418604651163</c:v>
                </c:pt>
                <c:pt idx="2004">
                  <c:v>14.79418604651163</c:v>
                </c:pt>
                <c:pt idx="2005">
                  <c:v>14.79418604651163</c:v>
                </c:pt>
                <c:pt idx="2006">
                  <c:v>14.79418604651163</c:v>
                </c:pt>
                <c:pt idx="2007">
                  <c:v>14.79418604651163</c:v>
                </c:pt>
                <c:pt idx="2008">
                  <c:v>14.79418604651163</c:v>
                </c:pt>
                <c:pt idx="2009">
                  <c:v>14.79418604651163</c:v>
                </c:pt>
                <c:pt idx="2010">
                  <c:v>14.79418604651163</c:v>
                </c:pt>
                <c:pt idx="2011">
                  <c:v>14.79418604651163</c:v>
                </c:pt>
                <c:pt idx="2012">
                  <c:v>14.79418604651163</c:v>
                </c:pt>
                <c:pt idx="2013">
                  <c:v>14.79418604651163</c:v>
                </c:pt>
                <c:pt idx="2014">
                  <c:v>14.79418604651163</c:v>
                </c:pt>
                <c:pt idx="2015">
                  <c:v>14.79418604651163</c:v>
                </c:pt>
                <c:pt idx="2016">
                  <c:v>14.79418604651163</c:v>
                </c:pt>
                <c:pt idx="2017">
                  <c:v>14.79418604651163</c:v>
                </c:pt>
                <c:pt idx="2018">
                  <c:v>14.79418604651163</c:v>
                </c:pt>
                <c:pt idx="2019">
                  <c:v>14.79418604651163</c:v>
                </c:pt>
                <c:pt idx="2020">
                  <c:v>14.79418604651163</c:v>
                </c:pt>
                <c:pt idx="2021">
                  <c:v>14.79418604651163</c:v>
                </c:pt>
                <c:pt idx="2022">
                  <c:v>14.79418604651163</c:v>
                </c:pt>
                <c:pt idx="2023">
                  <c:v>14.79418604651163</c:v>
                </c:pt>
                <c:pt idx="2024">
                  <c:v>14.79418604651163</c:v>
                </c:pt>
                <c:pt idx="2025">
                  <c:v>14.79418604651163</c:v>
                </c:pt>
                <c:pt idx="2026">
                  <c:v>14.79418604651163</c:v>
                </c:pt>
                <c:pt idx="2027">
                  <c:v>14.79418604651163</c:v>
                </c:pt>
                <c:pt idx="2028">
                  <c:v>14.79418604651163</c:v>
                </c:pt>
                <c:pt idx="2029">
                  <c:v>14.79418604651163</c:v>
                </c:pt>
                <c:pt idx="2030">
                  <c:v>14.79418604651163</c:v>
                </c:pt>
                <c:pt idx="2031">
                  <c:v>14.79418604651163</c:v>
                </c:pt>
                <c:pt idx="2032">
                  <c:v>14.79418604651163</c:v>
                </c:pt>
                <c:pt idx="2033">
                  <c:v>14.79418604651163</c:v>
                </c:pt>
                <c:pt idx="2034">
                  <c:v>14.79418604651163</c:v>
                </c:pt>
                <c:pt idx="2035">
                  <c:v>14.79418604651163</c:v>
                </c:pt>
                <c:pt idx="2036">
                  <c:v>14.79418604651163</c:v>
                </c:pt>
                <c:pt idx="2037">
                  <c:v>14.79418604651163</c:v>
                </c:pt>
                <c:pt idx="2038">
                  <c:v>14.79418604651163</c:v>
                </c:pt>
                <c:pt idx="2039">
                  <c:v>14.79418604651163</c:v>
                </c:pt>
                <c:pt idx="2040">
                  <c:v>14.79418604651163</c:v>
                </c:pt>
                <c:pt idx="2041">
                  <c:v>14.79418604651163</c:v>
                </c:pt>
                <c:pt idx="2042">
                  <c:v>14.79418604651163</c:v>
                </c:pt>
                <c:pt idx="2043">
                  <c:v>14.79418604651163</c:v>
                </c:pt>
                <c:pt idx="2044">
                  <c:v>14.79418604651163</c:v>
                </c:pt>
                <c:pt idx="2045">
                  <c:v>14.79418604651163</c:v>
                </c:pt>
                <c:pt idx="2046">
                  <c:v>14.79418604651163</c:v>
                </c:pt>
                <c:pt idx="2047">
                  <c:v>14.79418604651163</c:v>
                </c:pt>
                <c:pt idx="2048">
                  <c:v>14.79418604651163</c:v>
                </c:pt>
                <c:pt idx="2049">
                  <c:v>14.79418604651163</c:v>
                </c:pt>
                <c:pt idx="2050">
                  <c:v>14.79418604651163</c:v>
                </c:pt>
                <c:pt idx="2051">
                  <c:v>14.79418604651163</c:v>
                </c:pt>
                <c:pt idx="2052">
                  <c:v>14.79418604651163</c:v>
                </c:pt>
                <c:pt idx="2053">
                  <c:v>14.79418604651163</c:v>
                </c:pt>
                <c:pt idx="2054">
                  <c:v>14.79418604651163</c:v>
                </c:pt>
                <c:pt idx="2055">
                  <c:v>14.79418604651163</c:v>
                </c:pt>
                <c:pt idx="2056">
                  <c:v>14.79418604651163</c:v>
                </c:pt>
                <c:pt idx="2057">
                  <c:v>14.79418604651163</c:v>
                </c:pt>
                <c:pt idx="2058">
                  <c:v>14.79418604651163</c:v>
                </c:pt>
                <c:pt idx="2059">
                  <c:v>14.79418604651163</c:v>
                </c:pt>
                <c:pt idx="2060">
                  <c:v>14.79418604651163</c:v>
                </c:pt>
                <c:pt idx="2061">
                  <c:v>14.79418604651163</c:v>
                </c:pt>
                <c:pt idx="2062">
                  <c:v>14.79418604651163</c:v>
                </c:pt>
                <c:pt idx="2063">
                  <c:v>14.79418604651163</c:v>
                </c:pt>
                <c:pt idx="2064">
                  <c:v>14.79418604651163</c:v>
                </c:pt>
                <c:pt idx="2065">
                  <c:v>14.79418604651163</c:v>
                </c:pt>
                <c:pt idx="2066">
                  <c:v>14.79418604651163</c:v>
                </c:pt>
                <c:pt idx="2067">
                  <c:v>14.79418604651163</c:v>
                </c:pt>
                <c:pt idx="2068">
                  <c:v>14.79418604651163</c:v>
                </c:pt>
                <c:pt idx="2069">
                  <c:v>14.79418604651163</c:v>
                </c:pt>
                <c:pt idx="2070">
                  <c:v>14.79418604651163</c:v>
                </c:pt>
                <c:pt idx="2071">
                  <c:v>14.79418604651163</c:v>
                </c:pt>
                <c:pt idx="2072">
                  <c:v>14.79418604651163</c:v>
                </c:pt>
                <c:pt idx="2073">
                  <c:v>14.79418604651163</c:v>
                </c:pt>
                <c:pt idx="2074">
                  <c:v>14.79418604651163</c:v>
                </c:pt>
                <c:pt idx="2075">
                  <c:v>14.79418604651163</c:v>
                </c:pt>
                <c:pt idx="2076">
                  <c:v>14.79418604651163</c:v>
                </c:pt>
                <c:pt idx="2077">
                  <c:v>14.79418604651163</c:v>
                </c:pt>
                <c:pt idx="2078">
                  <c:v>14.79418604651163</c:v>
                </c:pt>
                <c:pt idx="2079">
                  <c:v>14.79418604651163</c:v>
                </c:pt>
                <c:pt idx="2080">
                  <c:v>14.79418604651163</c:v>
                </c:pt>
                <c:pt idx="2081">
                  <c:v>14.79418604651163</c:v>
                </c:pt>
                <c:pt idx="2082">
                  <c:v>14.79418604651163</c:v>
                </c:pt>
                <c:pt idx="2083">
                  <c:v>14.79418604651163</c:v>
                </c:pt>
                <c:pt idx="2084">
                  <c:v>14.79418604651163</c:v>
                </c:pt>
                <c:pt idx="2085">
                  <c:v>14.79418604651163</c:v>
                </c:pt>
                <c:pt idx="2086">
                  <c:v>14.79418604651163</c:v>
                </c:pt>
                <c:pt idx="2087">
                  <c:v>14.79418604651163</c:v>
                </c:pt>
                <c:pt idx="2088">
                  <c:v>14.79418604651163</c:v>
                </c:pt>
                <c:pt idx="2089">
                  <c:v>14.79418604651163</c:v>
                </c:pt>
                <c:pt idx="2090">
                  <c:v>14.79418604651163</c:v>
                </c:pt>
                <c:pt idx="2091">
                  <c:v>14.79418604651163</c:v>
                </c:pt>
                <c:pt idx="2092">
                  <c:v>14.79418604651163</c:v>
                </c:pt>
                <c:pt idx="2093">
                  <c:v>14.79418604651163</c:v>
                </c:pt>
                <c:pt idx="2094">
                  <c:v>14.79418604651163</c:v>
                </c:pt>
                <c:pt idx="2095">
                  <c:v>14.79418604651163</c:v>
                </c:pt>
                <c:pt idx="2096">
                  <c:v>14.79418604651163</c:v>
                </c:pt>
                <c:pt idx="2097">
                  <c:v>14.79418604651163</c:v>
                </c:pt>
                <c:pt idx="2098">
                  <c:v>14.79418604651163</c:v>
                </c:pt>
                <c:pt idx="2099">
                  <c:v>14.79418604651163</c:v>
                </c:pt>
                <c:pt idx="2100">
                  <c:v>14.79418604651163</c:v>
                </c:pt>
                <c:pt idx="2101">
                  <c:v>14.79418604651163</c:v>
                </c:pt>
                <c:pt idx="2102">
                  <c:v>14.79418604651163</c:v>
                </c:pt>
                <c:pt idx="2103">
                  <c:v>14.79418604651163</c:v>
                </c:pt>
                <c:pt idx="2104">
                  <c:v>14.79418604651163</c:v>
                </c:pt>
                <c:pt idx="2105">
                  <c:v>14.79418604651163</c:v>
                </c:pt>
                <c:pt idx="2106">
                  <c:v>14.79418604651163</c:v>
                </c:pt>
                <c:pt idx="2107">
                  <c:v>14.79418604651163</c:v>
                </c:pt>
                <c:pt idx="2108">
                  <c:v>14.79418604651163</c:v>
                </c:pt>
                <c:pt idx="2109">
                  <c:v>14.79418604651163</c:v>
                </c:pt>
                <c:pt idx="2110">
                  <c:v>14.79418604651163</c:v>
                </c:pt>
                <c:pt idx="2111">
                  <c:v>14.79418604651163</c:v>
                </c:pt>
                <c:pt idx="2112">
                  <c:v>14.79418604651163</c:v>
                </c:pt>
                <c:pt idx="2113">
                  <c:v>14.79418604651163</c:v>
                </c:pt>
                <c:pt idx="2114">
                  <c:v>14.79418604651163</c:v>
                </c:pt>
                <c:pt idx="2115">
                  <c:v>14.79418604651163</c:v>
                </c:pt>
                <c:pt idx="2116">
                  <c:v>14.79418604651163</c:v>
                </c:pt>
                <c:pt idx="2117">
                  <c:v>14.79418604651163</c:v>
                </c:pt>
                <c:pt idx="2118">
                  <c:v>14.79418604651163</c:v>
                </c:pt>
                <c:pt idx="2119">
                  <c:v>14.79418604651163</c:v>
                </c:pt>
                <c:pt idx="2120">
                  <c:v>14.79418604651163</c:v>
                </c:pt>
                <c:pt idx="2121">
                  <c:v>14.79418604651163</c:v>
                </c:pt>
                <c:pt idx="2122">
                  <c:v>14.79418604651163</c:v>
                </c:pt>
                <c:pt idx="2123">
                  <c:v>14.79418604651163</c:v>
                </c:pt>
                <c:pt idx="2124">
                  <c:v>14.79418604651163</c:v>
                </c:pt>
                <c:pt idx="2125">
                  <c:v>14.79418604651163</c:v>
                </c:pt>
                <c:pt idx="2126">
                  <c:v>14.79418604651163</c:v>
                </c:pt>
                <c:pt idx="2127">
                  <c:v>14.79418604651163</c:v>
                </c:pt>
                <c:pt idx="2128">
                  <c:v>14.79418604651163</c:v>
                </c:pt>
                <c:pt idx="2129">
                  <c:v>14.79418604651163</c:v>
                </c:pt>
                <c:pt idx="2130">
                  <c:v>14.79418604651163</c:v>
                </c:pt>
                <c:pt idx="2131">
                  <c:v>14.79418604651163</c:v>
                </c:pt>
                <c:pt idx="2132">
                  <c:v>14.79418604651163</c:v>
                </c:pt>
                <c:pt idx="2133">
                  <c:v>14.79418604651163</c:v>
                </c:pt>
                <c:pt idx="2134">
                  <c:v>14.79418604651163</c:v>
                </c:pt>
                <c:pt idx="2135">
                  <c:v>14.79418604651163</c:v>
                </c:pt>
                <c:pt idx="2136">
                  <c:v>14.79418604651163</c:v>
                </c:pt>
                <c:pt idx="2137">
                  <c:v>14.79418604651163</c:v>
                </c:pt>
                <c:pt idx="2138">
                  <c:v>14.79418604651163</c:v>
                </c:pt>
                <c:pt idx="2139">
                  <c:v>14.79418604651163</c:v>
                </c:pt>
                <c:pt idx="2140">
                  <c:v>14.79418604651163</c:v>
                </c:pt>
                <c:pt idx="2141">
                  <c:v>14.79418604651163</c:v>
                </c:pt>
                <c:pt idx="2142">
                  <c:v>14.79418604651163</c:v>
                </c:pt>
                <c:pt idx="2143">
                  <c:v>14.79418604651163</c:v>
                </c:pt>
                <c:pt idx="2144">
                  <c:v>14.79418604651163</c:v>
                </c:pt>
                <c:pt idx="2145">
                  <c:v>14.79418604651163</c:v>
                </c:pt>
                <c:pt idx="2146">
                  <c:v>14.79418604651163</c:v>
                </c:pt>
                <c:pt idx="2147">
                  <c:v>14.79418604651163</c:v>
                </c:pt>
                <c:pt idx="2148">
                  <c:v>14.79418604651163</c:v>
                </c:pt>
                <c:pt idx="2149">
                  <c:v>14.79418604651163</c:v>
                </c:pt>
                <c:pt idx="2150">
                  <c:v>14.79418604651163</c:v>
                </c:pt>
                <c:pt idx="2151">
                  <c:v>14.79418604651163</c:v>
                </c:pt>
                <c:pt idx="2152">
                  <c:v>14.79418604651163</c:v>
                </c:pt>
                <c:pt idx="2153">
                  <c:v>14.79418604651163</c:v>
                </c:pt>
                <c:pt idx="2154">
                  <c:v>14.79418604651163</c:v>
                </c:pt>
                <c:pt idx="2155">
                  <c:v>14.79418604651163</c:v>
                </c:pt>
                <c:pt idx="2156">
                  <c:v>14.79418604651163</c:v>
                </c:pt>
                <c:pt idx="2157">
                  <c:v>14.79418604651163</c:v>
                </c:pt>
                <c:pt idx="2158">
                  <c:v>14.79418604651163</c:v>
                </c:pt>
                <c:pt idx="2159">
                  <c:v>14.79418604651163</c:v>
                </c:pt>
                <c:pt idx="2160">
                  <c:v>14.79418604651163</c:v>
                </c:pt>
                <c:pt idx="2161">
                  <c:v>14.79418604651163</c:v>
                </c:pt>
                <c:pt idx="2162">
                  <c:v>14.79418604651163</c:v>
                </c:pt>
                <c:pt idx="2163">
                  <c:v>14.79418604651163</c:v>
                </c:pt>
                <c:pt idx="2164">
                  <c:v>14.79418604651163</c:v>
                </c:pt>
                <c:pt idx="2165">
                  <c:v>14.79418604651163</c:v>
                </c:pt>
                <c:pt idx="2166">
                  <c:v>14.79418604651163</c:v>
                </c:pt>
                <c:pt idx="2167">
                  <c:v>14.79418604651163</c:v>
                </c:pt>
                <c:pt idx="2168">
                  <c:v>14.79418604651163</c:v>
                </c:pt>
                <c:pt idx="2169">
                  <c:v>14.79418604651163</c:v>
                </c:pt>
                <c:pt idx="2170">
                  <c:v>14.79418604651163</c:v>
                </c:pt>
                <c:pt idx="2171">
                  <c:v>14.79418604651163</c:v>
                </c:pt>
                <c:pt idx="2172">
                  <c:v>14.79418604651163</c:v>
                </c:pt>
                <c:pt idx="2173">
                  <c:v>14.79418604651163</c:v>
                </c:pt>
                <c:pt idx="2174">
                  <c:v>14.79418604651163</c:v>
                </c:pt>
                <c:pt idx="2175">
                  <c:v>14.79418604651163</c:v>
                </c:pt>
                <c:pt idx="2176">
                  <c:v>14.79418604651163</c:v>
                </c:pt>
                <c:pt idx="2177">
                  <c:v>14.79418604651163</c:v>
                </c:pt>
                <c:pt idx="2178">
                  <c:v>14.79418604651163</c:v>
                </c:pt>
                <c:pt idx="2179">
                  <c:v>14.79418604651163</c:v>
                </c:pt>
                <c:pt idx="2180">
                  <c:v>14.79418604651163</c:v>
                </c:pt>
                <c:pt idx="2181">
                  <c:v>14.79418604651163</c:v>
                </c:pt>
                <c:pt idx="2182">
                  <c:v>14.79418604651163</c:v>
                </c:pt>
                <c:pt idx="2183">
                  <c:v>14.79418604651163</c:v>
                </c:pt>
                <c:pt idx="2184">
                  <c:v>14.79418604651163</c:v>
                </c:pt>
                <c:pt idx="2185">
                  <c:v>14.79418604651163</c:v>
                </c:pt>
                <c:pt idx="2186">
                  <c:v>14.79418604651163</c:v>
                </c:pt>
                <c:pt idx="2187">
                  <c:v>14.79418604651163</c:v>
                </c:pt>
                <c:pt idx="2188">
                  <c:v>14.79418604651163</c:v>
                </c:pt>
                <c:pt idx="2189">
                  <c:v>14.79418604651163</c:v>
                </c:pt>
                <c:pt idx="2190">
                  <c:v>14.79418604651163</c:v>
                </c:pt>
                <c:pt idx="2191">
                  <c:v>14.79418604651163</c:v>
                </c:pt>
                <c:pt idx="2192">
                  <c:v>14.79418604651163</c:v>
                </c:pt>
                <c:pt idx="2193">
                  <c:v>14.79418604651163</c:v>
                </c:pt>
                <c:pt idx="2194">
                  <c:v>14.79418604651163</c:v>
                </c:pt>
                <c:pt idx="2195">
                  <c:v>14.79418604651163</c:v>
                </c:pt>
                <c:pt idx="2196">
                  <c:v>14.79418604651163</c:v>
                </c:pt>
                <c:pt idx="2197">
                  <c:v>14.79418604651163</c:v>
                </c:pt>
                <c:pt idx="2198">
                  <c:v>14.79418604651163</c:v>
                </c:pt>
                <c:pt idx="2199">
                  <c:v>14.79418604651163</c:v>
                </c:pt>
                <c:pt idx="2200">
                  <c:v>14.79418604651163</c:v>
                </c:pt>
                <c:pt idx="2201">
                  <c:v>14.79418604651163</c:v>
                </c:pt>
                <c:pt idx="2202">
                  <c:v>14.79418604651163</c:v>
                </c:pt>
                <c:pt idx="2203">
                  <c:v>14.79418604651163</c:v>
                </c:pt>
                <c:pt idx="2204">
                  <c:v>14.79418604651163</c:v>
                </c:pt>
                <c:pt idx="2205">
                  <c:v>14.79418604651163</c:v>
                </c:pt>
                <c:pt idx="2206">
                  <c:v>14.79418604651163</c:v>
                </c:pt>
                <c:pt idx="2207">
                  <c:v>14.79418604651163</c:v>
                </c:pt>
                <c:pt idx="2208">
                  <c:v>14.79418604651163</c:v>
                </c:pt>
                <c:pt idx="2209">
                  <c:v>14.79418604651163</c:v>
                </c:pt>
                <c:pt idx="2210">
                  <c:v>14.79418604651163</c:v>
                </c:pt>
                <c:pt idx="2211">
                  <c:v>14.79418604651163</c:v>
                </c:pt>
                <c:pt idx="2212">
                  <c:v>14.79418604651163</c:v>
                </c:pt>
                <c:pt idx="2213">
                  <c:v>14.79418604651163</c:v>
                </c:pt>
                <c:pt idx="2214">
                  <c:v>14.79418604651163</c:v>
                </c:pt>
                <c:pt idx="2215">
                  <c:v>14.79418604651163</c:v>
                </c:pt>
                <c:pt idx="2216">
                  <c:v>14.79418604651163</c:v>
                </c:pt>
                <c:pt idx="2217">
                  <c:v>14.79418604651163</c:v>
                </c:pt>
                <c:pt idx="2218">
                  <c:v>14.79418604651163</c:v>
                </c:pt>
                <c:pt idx="2219">
                  <c:v>14.79418604651163</c:v>
                </c:pt>
                <c:pt idx="2220">
                  <c:v>14.79418604651163</c:v>
                </c:pt>
                <c:pt idx="2221">
                  <c:v>14.79418604651163</c:v>
                </c:pt>
                <c:pt idx="2222">
                  <c:v>14.79418604651163</c:v>
                </c:pt>
                <c:pt idx="2223">
                  <c:v>14.79418604651163</c:v>
                </c:pt>
                <c:pt idx="2224">
                  <c:v>14.79418604651163</c:v>
                </c:pt>
                <c:pt idx="2225">
                  <c:v>14.79418604651163</c:v>
                </c:pt>
                <c:pt idx="2226">
                  <c:v>14.79418604651163</c:v>
                </c:pt>
                <c:pt idx="2227">
                  <c:v>14.79418604651163</c:v>
                </c:pt>
                <c:pt idx="2228">
                  <c:v>14.79418604651163</c:v>
                </c:pt>
                <c:pt idx="2229">
                  <c:v>14.79418604651163</c:v>
                </c:pt>
                <c:pt idx="2230">
                  <c:v>14.79418604651163</c:v>
                </c:pt>
                <c:pt idx="2231">
                  <c:v>14.79418604651163</c:v>
                </c:pt>
                <c:pt idx="2232">
                  <c:v>14.79418604651163</c:v>
                </c:pt>
                <c:pt idx="2233">
                  <c:v>14.79418604651163</c:v>
                </c:pt>
                <c:pt idx="2234">
                  <c:v>14.79418604651163</c:v>
                </c:pt>
                <c:pt idx="2235">
                  <c:v>14.79418604651163</c:v>
                </c:pt>
                <c:pt idx="2236">
                  <c:v>14.79418604651163</c:v>
                </c:pt>
                <c:pt idx="2237">
                  <c:v>14.79418604651163</c:v>
                </c:pt>
                <c:pt idx="2238">
                  <c:v>14.79418604651163</c:v>
                </c:pt>
                <c:pt idx="2239">
                  <c:v>14.79418604651163</c:v>
                </c:pt>
                <c:pt idx="2240">
                  <c:v>14.79418604651163</c:v>
                </c:pt>
                <c:pt idx="2241">
                  <c:v>14.79418604651163</c:v>
                </c:pt>
                <c:pt idx="2242">
                  <c:v>14.79418604651163</c:v>
                </c:pt>
                <c:pt idx="2243">
                  <c:v>14.79418604651163</c:v>
                </c:pt>
                <c:pt idx="2244">
                  <c:v>14.79418604651163</c:v>
                </c:pt>
                <c:pt idx="2245">
                  <c:v>14.79418604651163</c:v>
                </c:pt>
                <c:pt idx="2246">
                  <c:v>14.79418604651163</c:v>
                </c:pt>
                <c:pt idx="2247">
                  <c:v>14.79418604651163</c:v>
                </c:pt>
                <c:pt idx="2248">
                  <c:v>14.79418604651163</c:v>
                </c:pt>
                <c:pt idx="2249">
                  <c:v>14.79418604651163</c:v>
                </c:pt>
                <c:pt idx="2250">
                  <c:v>14.79418604651163</c:v>
                </c:pt>
                <c:pt idx="2251">
                  <c:v>14.79418604651163</c:v>
                </c:pt>
                <c:pt idx="2252">
                  <c:v>14.79418604651163</c:v>
                </c:pt>
                <c:pt idx="2253">
                  <c:v>14.79418604651163</c:v>
                </c:pt>
                <c:pt idx="2254">
                  <c:v>14.79418604651163</c:v>
                </c:pt>
                <c:pt idx="2255">
                  <c:v>14.79418604651163</c:v>
                </c:pt>
                <c:pt idx="2256">
                  <c:v>14.79418604651163</c:v>
                </c:pt>
                <c:pt idx="2257">
                  <c:v>14.79418604651163</c:v>
                </c:pt>
                <c:pt idx="2258">
                  <c:v>14.79418604651163</c:v>
                </c:pt>
                <c:pt idx="2259">
                  <c:v>14.79418604651163</c:v>
                </c:pt>
                <c:pt idx="2260">
                  <c:v>14.79418604651163</c:v>
                </c:pt>
                <c:pt idx="2261">
                  <c:v>14.79418604651163</c:v>
                </c:pt>
                <c:pt idx="2262">
                  <c:v>14.79418604651163</c:v>
                </c:pt>
                <c:pt idx="2263">
                  <c:v>14.79418604651163</c:v>
                </c:pt>
                <c:pt idx="2264">
                  <c:v>14.79418604651163</c:v>
                </c:pt>
                <c:pt idx="2265">
                  <c:v>14.79418604651163</c:v>
                </c:pt>
                <c:pt idx="2266">
                  <c:v>14.79418604651163</c:v>
                </c:pt>
                <c:pt idx="2267">
                  <c:v>14.79418604651163</c:v>
                </c:pt>
                <c:pt idx="2268">
                  <c:v>14.79418604651163</c:v>
                </c:pt>
                <c:pt idx="2269">
                  <c:v>14.79418604651163</c:v>
                </c:pt>
                <c:pt idx="2270">
                  <c:v>14.79418604651163</c:v>
                </c:pt>
                <c:pt idx="2271">
                  <c:v>14.79418604651163</c:v>
                </c:pt>
                <c:pt idx="2272">
                  <c:v>14.79418604651163</c:v>
                </c:pt>
                <c:pt idx="2273">
                  <c:v>14.79418604651163</c:v>
                </c:pt>
                <c:pt idx="2274">
                  <c:v>14.79418604651163</c:v>
                </c:pt>
                <c:pt idx="2275">
                  <c:v>14.79418604651163</c:v>
                </c:pt>
                <c:pt idx="2276">
                  <c:v>14.79418604651163</c:v>
                </c:pt>
                <c:pt idx="2277">
                  <c:v>14.79418604651163</c:v>
                </c:pt>
                <c:pt idx="2278">
                  <c:v>14.79418604651163</c:v>
                </c:pt>
                <c:pt idx="2279">
                  <c:v>14.79418604651163</c:v>
                </c:pt>
                <c:pt idx="2280">
                  <c:v>14.79418604651163</c:v>
                </c:pt>
                <c:pt idx="2281">
                  <c:v>14.79418604651163</c:v>
                </c:pt>
                <c:pt idx="2282">
                  <c:v>14.79418604651163</c:v>
                </c:pt>
                <c:pt idx="2283">
                  <c:v>14.79418604651163</c:v>
                </c:pt>
                <c:pt idx="2284">
                  <c:v>14.79418604651163</c:v>
                </c:pt>
                <c:pt idx="2285">
                  <c:v>14.79418604651163</c:v>
                </c:pt>
                <c:pt idx="2286">
                  <c:v>14.79418604651163</c:v>
                </c:pt>
                <c:pt idx="2287">
                  <c:v>14.79418604651163</c:v>
                </c:pt>
                <c:pt idx="2288">
                  <c:v>14.79418604651163</c:v>
                </c:pt>
                <c:pt idx="2289">
                  <c:v>14.79418604651163</c:v>
                </c:pt>
                <c:pt idx="2290">
                  <c:v>14.79418604651163</c:v>
                </c:pt>
                <c:pt idx="2291">
                  <c:v>14.79418604651163</c:v>
                </c:pt>
                <c:pt idx="2292">
                  <c:v>14.79418604651163</c:v>
                </c:pt>
                <c:pt idx="2293">
                  <c:v>14.79418604651163</c:v>
                </c:pt>
                <c:pt idx="2294">
                  <c:v>14.79418604651163</c:v>
                </c:pt>
                <c:pt idx="2295">
                  <c:v>14.79418604651163</c:v>
                </c:pt>
                <c:pt idx="2296">
                  <c:v>14.79418604651163</c:v>
                </c:pt>
                <c:pt idx="2297">
                  <c:v>14.79418604651163</c:v>
                </c:pt>
                <c:pt idx="2298">
                  <c:v>14.79418604651163</c:v>
                </c:pt>
                <c:pt idx="2299">
                  <c:v>14.79418604651163</c:v>
                </c:pt>
                <c:pt idx="2300">
                  <c:v>14.79418604651163</c:v>
                </c:pt>
                <c:pt idx="2301">
                  <c:v>14.79418604651163</c:v>
                </c:pt>
                <c:pt idx="2302">
                  <c:v>14.79418604651163</c:v>
                </c:pt>
                <c:pt idx="2303">
                  <c:v>14.79418604651163</c:v>
                </c:pt>
                <c:pt idx="2304">
                  <c:v>14.79418604651163</c:v>
                </c:pt>
                <c:pt idx="2305">
                  <c:v>14.79418604651163</c:v>
                </c:pt>
                <c:pt idx="2306">
                  <c:v>14.79418604651163</c:v>
                </c:pt>
                <c:pt idx="2307">
                  <c:v>14.79418604651163</c:v>
                </c:pt>
                <c:pt idx="2308">
                  <c:v>14.79418604651163</c:v>
                </c:pt>
                <c:pt idx="2309">
                  <c:v>14.79418604651163</c:v>
                </c:pt>
                <c:pt idx="2310">
                  <c:v>14.79418604651163</c:v>
                </c:pt>
                <c:pt idx="2311">
                  <c:v>14.79418604651163</c:v>
                </c:pt>
                <c:pt idx="2312">
                  <c:v>14.79418604651163</c:v>
                </c:pt>
                <c:pt idx="2313">
                  <c:v>14.79418604651163</c:v>
                </c:pt>
                <c:pt idx="2314">
                  <c:v>14.79418604651163</c:v>
                </c:pt>
                <c:pt idx="2315">
                  <c:v>14.79418604651163</c:v>
                </c:pt>
                <c:pt idx="2316">
                  <c:v>14.79418604651163</c:v>
                </c:pt>
                <c:pt idx="2317">
                  <c:v>14.79418604651163</c:v>
                </c:pt>
                <c:pt idx="2318">
                  <c:v>14.79418604651163</c:v>
                </c:pt>
                <c:pt idx="2319">
                  <c:v>14.79418604651163</c:v>
                </c:pt>
                <c:pt idx="2320">
                  <c:v>14.79418604651163</c:v>
                </c:pt>
                <c:pt idx="2321">
                  <c:v>14.79418604651163</c:v>
                </c:pt>
                <c:pt idx="2322">
                  <c:v>14.79418604651163</c:v>
                </c:pt>
                <c:pt idx="2323">
                  <c:v>14.79418604651163</c:v>
                </c:pt>
                <c:pt idx="2324">
                  <c:v>14.79418604651163</c:v>
                </c:pt>
                <c:pt idx="2325">
                  <c:v>14.79418604651163</c:v>
                </c:pt>
                <c:pt idx="2326">
                  <c:v>14.79418604651163</c:v>
                </c:pt>
                <c:pt idx="2327">
                  <c:v>14.79418604651163</c:v>
                </c:pt>
                <c:pt idx="2328">
                  <c:v>14.79418604651163</c:v>
                </c:pt>
                <c:pt idx="2329">
                  <c:v>14.79418604651163</c:v>
                </c:pt>
                <c:pt idx="2330">
                  <c:v>14.79418604651163</c:v>
                </c:pt>
                <c:pt idx="2331">
                  <c:v>14.79418604651163</c:v>
                </c:pt>
                <c:pt idx="2332">
                  <c:v>14.79418604651163</c:v>
                </c:pt>
                <c:pt idx="2333">
                  <c:v>14.79418604651163</c:v>
                </c:pt>
                <c:pt idx="2334">
                  <c:v>14.79418604651163</c:v>
                </c:pt>
                <c:pt idx="2335">
                  <c:v>14.79418604651163</c:v>
                </c:pt>
                <c:pt idx="2336">
                  <c:v>14.79418604651163</c:v>
                </c:pt>
                <c:pt idx="2337">
                  <c:v>14.79418604651163</c:v>
                </c:pt>
                <c:pt idx="2338">
                  <c:v>14.79418604651163</c:v>
                </c:pt>
                <c:pt idx="2339">
                  <c:v>14.79418604651163</c:v>
                </c:pt>
                <c:pt idx="2340">
                  <c:v>14.79418604651163</c:v>
                </c:pt>
                <c:pt idx="2341">
                  <c:v>14.79418604651163</c:v>
                </c:pt>
                <c:pt idx="2342">
                  <c:v>14.79418604651163</c:v>
                </c:pt>
                <c:pt idx="2343">
                  <c:v>14.79418604651163</c:v>
                </c:pt>
                <c:pt idx="2344">
                  <c:v>14.79418604651163</c:v>
                </c:pt>
                <c:pt idx="2345">
                  <c:v>14.79418604651163</c:v>
                </c:pt>
                <c:pt idx="2346">
                  <c:v>14.79418604651163</c:v>
                </c:pt>
                <c:pt idx="2347">
                  <c:v>14.79418604651163</c:v>
                </c:pt>
                <c:pt idx="2348">
                  <c:v>14.79418604651163</c:v>
                </c:pt>
                <c:pt idx="2349">
                  <c:v>14.79418604651163</c:v>
                </c:pt>
                <c:pt idx="2350">
                  <c:v>14.79418604651163</c:v>
                </c:pt>
                <c:pt idx="2351">
                  <c:v>14.79418604651163</c:v>
                </c:pt>
                <c:pt idx="2352">
                  <c:v>14.79418604651163</c:v>
                </c:pt>
                <c:pt idx="2353">
                  <c:v>14.79418604651163</c:v>
                </c:pt>
                <c:pt idx="2354">
                  <c:v>14.79418604651163</c:v>
                </c:pt>
                <c:pt idx="2355">
                  <c:v>14.79418604651163</c:v>
                </c:pt>
                <c:pt idx="2356">
                  <c:v>14.79418604651163</c:v>
                </c:pt>
                <c:pt idx="2357">
                  <c:v>14.79418604651163</c:v>
                </c:pt>
                <c:pt idx="2358">
                  <c:v>14.79418604651163</c:v>
                </c:pt>
                <c:pt idx="2359">
                  <c:v>14.79418604651163</c:v>
                </c:pt>
                <c:pt idx="2360">
                  <c:v>14.79418604651163</c:v>
                </c:pt>
                <c:pt idx="2361">
                  <c:v>14.79418604651163</c:v>
                </c:pt>
                <c:pt idx="2362">
                  <c:v>14.79418604651163</c:v>
                </c:pt>
                <c:pt idx="2363">
                  <c:v>14.79418604651163</c:v>
                </c:pt>
                <c:pt idx="2364">
                  <c:v>14.79418604651163</c:v>
                </c:pt>
                <c:pt idx="2365">
                  <c:v>14.79418604651163</c:v>
                </c:pt>
                <c:pt idx="2366">
                  <c:v>14.79418604651163</c:v>
                </c:pt>
                <c:pt idx="2367">
                  <c:v>14.79418604651163</c:v>
                </c:pt>
                <c:pt idx="2368">
                  <c:v>14.79418604651163</c:v>
                </c:pt>
                <c:pt idx="2369">
                  <c:v>14.79418604651163</c:v>
                </c:pt>
                <c:pt idx="2370">
                  <c:v>14.79418604651163</c:v>
                </c:pt>
                <c:pt idx="2371">
                  <c:v>14.79418604651163</c:v>
                </c:pt>
                <c:pt idx="2372">
                  <c:v>14.79418604651163</c:v>
                </c:pt>
                <c:pt idx="2373">
                  <c:v>14.79418604651163</c:v>
                </c:pt>
                <c:pt idx="2374">
                  <c:v>14.79418604651163</c:v>
                </c:pt>
                <c:pt idx="2375">
                  <c:v>14.79418604651163</c:v>
                </c:pt>
                <c:pt idx="2376">
                  <c:v>14.79418604651163</c:v>
                </c:pt>
                <c:pt idx="2377">
                  <c:v>14.79418604651163</c:v>
                </c:pt>
                <c:pt idx="2378">
                  <c:v>14.79418604651163</c:v>
                </c:pt>
                <c:pt idx="2379">
                  <c:v>14.79418604651163</c:v>
                </c:pt>
                <c:pt idx="2380">
                  <c:v>14.79418604651163</c:v>
                </c:pt>
                <c:pt idx="2381">
                  <c:v>14.79418604651163</c:v>
                </c:pt>
                <c:pt idx="2382">
                  <c:v>14.79418604651163</c:v>
                </c:pt>
                <c:pt idx="2383">
                  <c:v>14.79418604651163</c:v>
                </c:pt>
                <c:pt idx="2384">
                  <c:v>14.79418604651163</c:v>
                </c:pt>
                <c:pt idx="2385">
                  <c:v>14.79418604651163</c:v>
                </c:pt>
                <c:pt idx="2386">
                  <c:v>14.79418604651163</c:v>
                </c:pt>
                <c:pt idx="2387">
                  <c:v>14.79418604651163</c:v>
                </c:pt>
                <c:pt idx="2388">
                  <c:v>14.79418604651163</c:v>
                </c:pt>
                <c:pt idx="2389">
                  <c:v>14.79418604651163</c:v>
                </c:pt>
                <c:pt idx="2390">
                  <c:v>14.79418604651163</c:v>
                </c:pt>
                <c:pt idx="2391">
                  <c:v>14.79418604651163</c:v>
                </c:pt>
                <c:pt idx="2392">
                  <c:v>14.79418604651163</c:v>
                </c:pt>
                <c:pt idx="2393">
                  <c:v>14.79418604651163</c:v>
                </c:pt>
                <c:pt idx="2394">
                  <c:v>14.79418604651163</c:v>
                </c:pt>
                <c:pt idx="2395">
                  <c:v>14.79418604651163</c:v>
                </c:pt>
                <c:pt idx="2396">
                  <c:v>14.79418604651163</c:v>
                </c:pt>
                <c:pt idx="2397">
                  <c:v>14.79418604651163</c:v>
                </c:pt>
                <c:pt idx="2398">
                  <c:v>14.79418604651163</c:v>
                </c:pt>
                <c:pt idx="2399">
                  <c:v>14.79418604651163</c:v>
                </c:pt>
                <c:pt idx="2400">
                  <c:v>14.79418604651163</c:v>
                </c:pt>
                <c:pt idx="2401">
                  <c:v>14.79418604651163</c:v>
                </c:pt>
                <c:pt idx="2402">
                  <c:v>14.79418604651163</c:v>
                </c:pt>
                <c:pt idx="2403">
                  <c:v>14.79418604651163</c:v>
                </c:pt>
                <c:pt idx="2404">
                  <c:v>14.79418604651163</c:v>
                </c:pt>
                <c:pt idx="2405">
                  <c:v>14.79418604651163</c:v>
                </c:pt>
                <c:pt idx="2406">
                  <c:v>14.79418604651163</c:v>
                </c:pt>
                <c:pt idx="2407">
                  <c:v>14.79418604651163</c:v>
                </c:pt>
                <c:pt idx="2408">
                  <c:v>14.79418604651163</c:v>
                </c:pt>
                <c:pt idx="2409">
                  <c:v>14.79418604651163</c:v>
                </c:pt>
                <c:pt idx="2410">
                  <c:v>14.79418604651163</c:v>
                </c:pt>
                <c:pt idx="2411">
                  <c:v>14.79418604651163</c:v>
                </c:pt>
                <c:pt idx="2412">
                  <c:v>14.79418604651163</c:v>
                </c:pt>
                <c:pt idx="2413">
                  <c:v>14.79418604651163</c:v>
                </c:pt>
                <c:pt idx="2414">
                  <c:v>14.79418604651163</c:v>
                </c:pt>
                <c:pt idx="2415">
                  <c:v>14.79418604651163</c:v>
                </c:pt>
                <c:pt idx="2416">
                  <c:v>14.79418604651163</c:v>
                </c:pt>
                <c:pt idx="2417">
                  <c:v>14.79418604651163</c:v>
                </c:pt>
                <c:pt idx="2418">
                  <c:v>14.79418604651163</c:v>
                </c:pt>
                <c:pt idx="2419">
                  <c:v>14.79418604651163</c:v>
                </c:pt>
                <c:pt idx="2420">
                  <c:v>14.79418604651163</c:v>
                </c:pt>
                <c:pt idx="2421">
                  <c:v>14.79418604651163</c:v>
                </c:pt>
                <c:pt idx="2422">
                  <c:v>14.79418604651163</c:v>
                </c:pt>
                <c:pt idx="2423">
                  <c:v>14.79418604651163</c:v>
                </c:pt>
                <c:pt idx="2424">
                  <c:v>14.79418604651163</c:v>
                </c:pt>
                <c:pt idx="2425">
                  <c:v>14.79418604651163</c:v>
                </c:pt>
                <c:pt idx="2426">
                  <c:v>14.79418604651163</c:v>
                </c:pt>
                <c:pt idx="2427">
                  <c:v>14.79418604651163</c:v>
                </c:pt>
                <c:pt idx="2428">
                  <c:v>14.79418604651163</c:v>
                </c:pt>
                <c:pt idx="2429">
                  <c:v>14.79418604651163</c:v>
                </c:pt>
                <c:pt idx="2430">
                  <c:v>14.79418604651163</c:v>
                </c:pt>
                <c:pt idx="2431">
                  <c:v>14.79418604651163</c:v>
                </c:pt>
                <c:pt idx="2432">
                  <c:v>14.79418604651163</c:v>
                </c:pt>
                <c:pt idx="2433">
                  <c:v>14.79418604651163</c:v>
                </c:pt>
                <c:pt idx="2434">
                  <c:v>14.79418604651163</c:v>
                </c:pt>
                <c:pt idx="2435">
                  <c:v>14.79418604651163</c:v>
                </c:pt>
                <c:pt idx="2436">
                  <c:v>14.79418604651163</c:v>
                </c:pt>
                <c:pt idx="2437">
                  <c:v>14.79418604651163</c:v>
                </c:pt>
                <c:pt idx="2438">
                  <c:v>14.79418604651163</c:v>
                </c:pt>
                <c:pt idx="2439">
                  <c:v>14.79418604651163</c:v>
                </c:pt>
                <c:pt idx="2440">
                  <c:v>14.79418604651163</c:v>
                </c:pt>
                <c:pt idx="2441">
                  <c:v>14.79418604651163</c:v>
                </c:pt>
                <c:pt idx="2442">
                  <c:v>14.79418604651163</c:v>
                </c:pt>
                <c:pt idx="2443">
                  <c:v>14.79418604651163</c:v>
                </c:pt>
                <c:pt idx="2444">
                  <c:v>14.79418604651163</c:v>
                </c:pt>
                <c:pt idx="2445">
                  <c:v>14.79418604651163</c:v>
                </c:pt>
                <c:pt idx="2446">
                  <c:v>14.79418604651163</c:v>
                </c:pt>
                <c:pt idx="2447">
                  <c:v>14.79418604651163</c:v>
                </c:pt>
                <c:pt idx="2448">
                  <c:v>14.79418604651163</c:v>
                </c:pt>
                <c:pt idx="2449">
                  <c:v>14.79418604651163</c:v>
                </c:pt>
                <c:pt idx="2450">
                  <c:v>14.79418604651163</c:v>
                </c:pt>
                <c:pt idx="2451">
                  <c:v>14.79418604651163</c:v>
                </c:pt>
                <c:pt idx="2452">
                  <c:v>14.79418604651163</c:v>
                </c:pt>
                <c:pt idx="2453">
                  <c:v>14.79418604651163</c:v>
                </c:pt>
                <c:pt idx="2454">
                  <c:v>14.79418604651163</c:v>
                </c:pt>
                <c:pt idx="2455">
                  <c:v>14.79418604651163</c:v>
                </c:pt>
                <c:pt idx="2456">
                  <c:v>14.79418604651163</c:v>
                </c:pt>
                <c:pt idx="2457">
                  <c:v>14.79418604651163</c:v>
                </c:pt>
                <c:pt idx="2458">
                  <c:v>14.79418604651163</c:v>
                </c:pt>
                <c:pt idx="2459">
                  <c:v>14.79418604651163</c:v>
                </c:pt>
                <c:pt idx="2460">
                  <c:v>14.79418604651163</c:v>
                </c:pt>
                <c:pt idx="2461">
                  <c:v>14.79418604651163</c:v>
                </c:pt>
                <c:pt idx="2462">
                  <c:v>14.79418604651163</c:v>
                </c:pt>
                <c:pt idx="2463">
                  <c:v>14.79418604651163</c:v>
                </c:pt>
                <c:pt idx="2464">
                  <c:v>14.79418604651163</c:v>
                </c:pt>
                <c:pt idx="2465">
                  <c:v>14.79418604651163</c:v>
                </c:pt>
                <c:pt idx="2466">
                  <c:v>14.79418604651163</c:v>
                </c:pt>
                <c:pt idx="2467">
                  <c:v>14.79418604651163</c:v>
                </c:pt>
                <c:pt idx="2468">
                  <c:v>14.79418604651163</c:v>
                </c:pt>
                <c:pt idx="2469">
                  <c:v>14.79418604651163</c:v>
                </c:pt>
                <c:pt idx="2470">
                  <c:v>14.79418604651163</c:v>
                </c:pt>
                <c:pt idx="2471">
                  <c:v>14.79418604651163</c:v>
                </c:pt>
                <c:pt idx="2472">
                  <c:v>14.79418604651163</c:v>
                </c:pt>
                <c:pt idx="2473">
                  <c:v>14.79418604651163</c:v>
                </c:pt>
                <c:pt idx="2474">
                  <c:v>14.79418604651163</c:v>
                </c:pt>
                <c:pt idx="2475">
                  <c:v>14.79418604651163</c:v>
                </c:pt>
                <c:pt idx="2476">
                  <c:v>14.79418604651163</c:v>
                </c:pt>
                <c:pt idx="2477">
                  <c:v>14.79418604651163</c:v>
                </c:pt>
                <c:pt idx="2478">
                  <c:v>14.79418604651163</c:v>
                </c:pt>
                <c:pt idx="2479">
                  <c:v>14.79418604651163</c:v>
                </c:pt>
                <c:pt idx="2480">
                  <c:v>14.79418604651163</c:v>
                </c:pt>
                <c:pt idx="2481">
                  <c:v>14.79418604651163</c:v>
                </c:pt>
                <c:pt idx="2482">
                  <c:v>14.79418604651163</c:v>
                </c:pt>
                <c:pt idx="2483">
                  <c:v>14.79418604651163</c:v>
                </c:pt>
                <c:pt idx="2484">
                  <c:v>14.79418604651163</c:v>
                </c:pt>
                <c:pt idx="2485">
                  <c:v>14.79418604651163</c:v>
                </c:pt>
                <c:pt idx="2486">
                  <c:v>14.79418604651163</c:v>
                </c:pt>
                <c:pt idx="2487">
                  <c:v>14.79418604651163</c:v>
                </c:pt>
                <c:pt idx="2488">
                  <c:v>14.79418604651163</c:v>
                </c:pt>
                <c:pt idx="2489">
                  <c:v>14.79418604651163</c:v>
                </c:pt>
                <c:pt idx="2490">
                  <c:v>14.79418604651163</c:v>
                </c:pt>
                <c:pt idx="2491">
                  <c:v>14.79418604651163</c:v>
                </c:pt>
                <c:pt idx="2492">
                  <c:v>14.79418604651163</c:v>
                </c:pt>
                <c:pt idx="2493">
                  <c:v>14.79418604651163</c:v>
                </c:pt>
                <c:pt idx="2494">
                  <c:v>14.79418604651163</c:v>
                </c:pt>
                <c:pt idx="2495">
                  <c:v>14.79418604651163</c:v>
                </c:pt>
                <c:pt idx="2496">
                  <c:v>14.79418604651163</c:v>
                </c:pt>
                <c:pt idx="2497">
                  <c:v>14.79418604651163</c:v>
                </c:pt>
                <c:pt idx="2498">
                  <c:v>14.79418604651163</c:v>
                </c:pt>
                <c:pt idx="2499">
                  <c:v>14.79418604651163</c:v>
                </c:pt>
                <c:pt idx="2500">
                  <c:v>14.79418604651163</c:v>
                </c:pt>
                <c:pt idx="2501">
                  <c:v>14.79418604651163</c:v>
                </c:pt>
                <c:pt idx="2502">
                  <c:v>14.79418604651163</c:v>
                </c:pt>
                <c:pt idx="2503">
                  <c:v>14.79418604651163</c:v>
                </c:pt>
                <c:pt idx="2504">
                  <c:v>14.79418604651163</c:v>
                </c:pt>
                <c:pt idx="2505">
                  <c:v>14.79418604651163</c:v>
                </c:pt>
                <c:pt idx="2506">
                  <c:v>14.79418604651163</c:v>
                </c:pt>
                <c:pt idx="2507">
                  <c:v>14.79418604651163</c:v>
                </c:pt>
                <c:pt idx="2508">
                  <c:v>14.79418604651163</c:v>
                </c:pt>
                <c:pt idx="2509">
                  <c:v>14.79418604651163</c:v>
                </c:pt>
                <c:pt idx="2510">
                  <c:v>14.79418604651163</c:v>
                </c:pt>
                <c:pt idx="2511">
                  <c:v>14.79418604651163</c:v>
                </c:pt>
                <c:pt idx="2512">
                  <c:v>14.79418604651163</c:v>
                </c:pt>
                <c:pt idx="2513">
                  <c:v>14.79418604651163</c:v>
                </c:pt>
                <c:pt idx="2514">
                  <c:v>14.79418604651163</c:v>
                </c:pt>
                <c:pt idx="2515">
                  <c:v>14.79418604651163</c:v>
                </c:pt>
                <c:pt idx="2516">
                  <c:v>14.79418604651163</c:v>
                </c:pt>
                <c:pt idx="2517">
                  <c:v>14.79418604651163</c:v>
                </c:pt>
              </c:numCache>
            </c:numRef>
          </c:val>
          <c:smooth val="0"/>
          <c:extLst xmlns:c16r2="http://schemas.microsoft.com/office/drawing/2015/06/chart">
            <c:ext xmlns:c16="http://schemas.microsoft.com/office/drawing/2014/chart" uri="{C3380CC4-5D6E-409C-BE32-E72D297353CC}">
              <c16:uniqueId val="{00000002-7BC1-4D59-9949-7BF3AE7A745F}"/>
            </c:ext>
          </c:extLst>
        </c:ser>
        <c:dLbls>
          <c:showLegendKey val="0"/>
          <c:showVal val="0"/>
          <c:showCatName val="0"/>
          <c:showSerName val="0"/>
          <c:showPercent val="0"/>
          <c:showBubbleSize val="0"/>
        </c:dLbls>
        <c:marker val="1"/>
        <c:smooth val="0"/>
        <c:axId val="552651008"/>
        <c:axId val="552931328"/>
      </c:lineChart>
      <c:dateAx>
        <c:axId val="552651008"/>
        <c:scaling>
          <c:orientation val="minMax"/>
        </c:scaling>
        <c:delete val="0"/>
        <c:axPos val="b"/>
        <c:numFmt formatCode="m/d/yyyy" sourceLinked="0"/>
        <c:majorTickMark val="none"/>
        <c:minorTickMark val="none"/>
        <c:tickLblPos val="nextTo"/>
        <c:crossAx val="552931328"/>
        <c:crosses val="autoZero"/>
        <c:auto val="1"/>
        <c:lblOffset val="100"/>
        <c:baseTimeUnit val="days"/>
      </c:dateAx>
      <c:valAx>
        <c:axId val="552931328"/>
        <c:scaling>
          <c:orientation val="minMax"/>
        </c:scaling>
        <c:delete val="0"/>
        <c:axPos val="l"/>
        <c:majorGridlines/>
        <c:title>
          <c:tx>
            <c:rich>
              <a:bodyPr rot="0" vert="horz"/>
              <a:lstStyle/>
              <a:p>
                <a:pPr>
                  <a:defRPr/>
                </a:pPr>
                <a:r>
                  <a:rPr lang="en-US" dirty="0"/>
                  <a:t>VIX Index</a:t>
                </a:r>
              </a:p>
            </c:rich>
          </c:tx>
          <c:layout/>
          <c:overlay val="0"/>
        </c:title>
        <c:numFmt formatCode="General" sourceLinked="1"/>
        <c:majorTickMark val="none"/>
        <c:minorTickMark val="none"/>
        <c:tickLblPos val="nextTo"/>
        <c:spPr>
          <a:ln w="9525">
            <a:noFill/>
          </a:ln>
        </c:spPr>
        <c:crossAx val="55265100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a:lstStyle/>
          <a:p>
            <a:pPr>
              <a:defRPr/>
            </a:pPr>
            <a:r>
              <a:rPr lang="en-US" sz="1400" dirty="0"/>
              <a:t>Historical periods length</a:t>
            </a:r>
            <a:r>
              <a:rPr lang="en-US" sz="1400" baseline="0" dirty="0"/>
              <a:t> (in consecutive bd) of </a:t>
            </a:r>
            <a:r>
              <a:rPr lang="en-US" sz="1400" dirty="0"/>
              <a:t>VIX above its 1m-highs</a:t>
            </a:r>
            <a:r>
              <a:rPr lang="en-US" sz="1400" baseline="0" dirty="0"/>
              <a:t> </a:t>
            </a:r>
            <a:r>
              <a:rPr lang="en-US" sz="1400" dirty="0"/>
              <a:t>and corresponding VIX</a:t>
            </a:r>
            <a:r>
              <a:rPr lang="en-US" sz="1400" baseline="0" dirty="0"/>
              <a:t> move</a:t>
            </a:r>
            <a:endParaRPr lang="en-US" sz="1400" dirty="0"/>
          </a:p>
        </c:rich>
      </c:tx>
      <c:layout/>
      <c:overlay val="0"/>
    </c:title>
    <c:autoTitleDeleted val="0"/>
    <c:plotArea>
      <c:layout/>
      <c:scatterChart>
        <c:scatterStyle val="lineMarker"/>
        <c:varyColors val="0"/>
        <c:ser>
          <c:idx val="0"/>
          <c:order val="0"/>
          <c:tx>
            <c:strRef>
              <c:f>'VIX-max'!$W$257</c:f>
              <c:strCache>
                <c:ptCount val="1"/>
                <c:pt idx="0">
                  <c:v>VIX move over the period</c:v>
                </c:pt>
              </c:strCache>
            </c:strRef>
          </c:tx>
          <c:spPr>
            <a:ln w="28575">
              <a:noFill/>
            </a:ln>
          </c:spPr>
          <c:xVal>
            <c:numRef>
              <c:f>'VIX-max'!$V$258:$V$526</c:f>
              <c:numCache>
                <c:formatCode>General</c:formatCode>
                <c:ptCount val="269"/>
                <c:pt idx="0">
                  <c:v>6</c:v>
                </c:pt>
                <c:pt idx="1">
                  <c:v>6</c:v>
                </c:pt>
                <c:pt idx="2">
                  <c:v>5</c:v>
                </c:pt>
                <c:pt idx="3">
                  <c:v>5</c:v>
                </c:pt>
                <c:pt idx="4">
                  <c:v>5</c:v>
                </c:pt>
                <c:pt idx="5">
                  <c:v>5</c:v>
                </c:pt>
                <c:pt idx="6">
                  <c:v>5</c:v>
                </c:pt>
                <c:pt idx="7">
                  <c:v>5</c:v>
                </c:pt>
                <c:pt idx="8">
                  <c:v>4</c:v>
                </c:pt>
                <c:pt idx="9">
                  <c:v>4</c:v>
                </c:pt>
                <c:pt idx="10">
                  <c:v>4</c:v>
                </c:pt>
                <c:pt idx="11">
                  <c:v>4</c:v>
                </c:pt>
                <c:pt idx="12">
                  <c:v>4</c:v>
                </c:pt>
                <c:pt idx="13">
                  <c:v>4</c:v>
                </c:pt>
                <c:pt idx="14">
                  <c:v>4</c:v>
                </c:pt>
                <c:pt idx="15">
                  <c:v>4</c:v>
                </c:pt>
                <c:pt idx="16">
                  <c:v>4</c:v>
                </c:pt>
                <c:pt idx="17">
                  <c:v>4</c:v>
                </c:pt>
                <c:pt idx="18">
                  <c:v>4</c:v>
                </c:pt>
                <c:pt idx="19">
                  <c:v>4</c:v>
                </c:pt>
                <c:pt idx="20">
                  <c:v>3</c:v>
                </c:pt>
                <c:pt idx="21">
                  <c:v>3</c:v>
                </c:pt>
                <c:pt idx="22">
                  <c:v>3</c:v>
                </c:pt>
                <c:pt idx="23">
                  <c:v>3</c:v>
                </c:pt>
                <c:pt idx="24">
                  <c:v>3</c:v>
                </c:pt>
                <c:pt idx="25">
                  <c:v>3</c:v>
                </c:pt>
                <c:pt idx="26">
                  <c:v>3</c:v>
                </c:pt>
                <c:pt idx="27">
                  <c:v>3</c:v>
                </c:pt>
                <c:pt idx="28">
                  <c:v>3</c:v>
                </c:pt>
                <c:pt idx="29">
                  <c:v>3</c:v>
                </c:pt>
                <c:pt idx="30">
                  <c:v>3</c:v>
                </c:pt>
                <c:pt idx="31">
                  <c:v>3</c:v>
                </c:pt>
                <c:pt idx="32">
                  <c:v>3</c:v>
                </c:pt>
                <c:pt idx="33">
                  <c:v>3</c:v>
                </c:pt>
                <c:pt idx="34">
                  <c:v>3</c:v>
                </c:pt>
                <c:pt idx="35">
                  <c:v>3</c:v>
                </c:pt>
                <c:pt idx="36">
                  <c:v>3</c:v>
                </c:pt>
                <c:pt idx="37">
                  <c:v>3</c:v>
                </c:pt>
                <c:pt idx="38">
                  <c:v>2</c:v>
                </c:pt>
                <c:pt idx="39">
                  <c:v>2</c:v>
                </c:pt>
                <c:pt idx="40">
                  <c:v>2</c:v>
                </c:pt>
                <c:pt idx="41">
                  <c:v>2</c:v>
                </c:pt>
                <c:pt idx="42">
                  <c:v>2</c:v>
                </c:pt>
                <c:pt idx="43">
                  <c:v>2</c:v>
                </c:pt>
                <c:pt idx="44">
                  <c:v>2</c:v>
                </c:pt>
                <c:pt idx="45">
                  <c:v>2</c:v>
                </c:pt>
                <c:pt idx="46">
                  <c:v>2</c:v>
                </c:pt>
                <c:pt idx="47">
                  <c:v>2</c:v>
                </c:pt>
                <c:pt idx="48">
                  <c:v>2</c:v>
                </c:pt>
                <c:pt idx="49">
                  <c:v>2</c:v>
                </c:pt>
                <c:pt idx="50">
                  <c:v>2</c:v>
                </c:pt>
                <c:pt idx="51">
                  <c:v>2</c:v>
                </c:pt>
                <c:pt idx="52">
                  <c:v>2</c:v>
                </c:pt>
                <c:pt idx="53">
                  <c:v>2</c:v>
                </c:pt>
                <c:pt idx="54">
                  <c:v>2</c:v>
                </c:pt>
                <c:pt idx="55">
                  <c:v>2</c:v>
                </c:pt>
                <c:pt idx="56">
                  <c:v>2</c:v>
                </c:pt>
                <c:pt idx="57">
                  <c:v>2</c:v>
                </c:pt>
                <c:pt idx="58">
                  <c:v>2</c:v>
                </c:pt>
                <c:pt idx="59">
                  <c:v>2</c:v>
                </c:pt>
                <c:pt idx="60">
                  <c:v>2</c:v>
                </c:pt>
                <c:pt idx="61">
                  <c:v>2</c:v>
                </c:pt>
                <c:pt idx="62">
                  <c:v>2</c:v>
                </c:pt>
                <c:pt idx="63">
                  <c:v>2</c:v>
                </c:pt>
                <c:pt idx="64">
                  <c:v>2</c:v>
                </c:pt>
                <c:pt idx="65">
                  <c:v>2</c:v>
                </c:pt>
                <c:pt idx="66">
                  <c:v>2</c:v>
                </c:pt>
                <c:pt idx="67">
                  <c:v>2</c:v>
                </c:pt>
                <c:pt idx="68">
                  <c:v>2</c:v>
                </c:pt>
                <c:pt idx="69">
                  <c:v>2</c:v>
                </c:pt>
                <c:pt idx="70">
                  <c:v>2</c:v>
                </c:pt>
                <c:pt idx="71">
                  <c:v>2</c:v>
                </c:pt>
                <c:pt idx="72">
                  <c:v>2</c:v>
                </c:pt>
                <c:pt idx="73">
                  <c:v>2</c:v>
                </c:pt>
                <c:pt idx="74">
                  <c:v>2</c:v>
                </c:pt>
                <c:pt idx="75">
                  <c:v>2</c:v>
                </c:pt>
                <c:pt idx="76">
                  <c:v>2</c:v>
                </c:pt>
                <c:pt idx="77">
                  <c:v>2</c:v>
                </c:pt>
                <c:pt idx="78">
                  <c:v>2</c:v>
                </c:pt>
                <c:pt idx="79">
                  <c:v>2</c:v>
                </c:pt>
                <c:pt idx="80">
                  <c:v>2</c:v>
                </c:pt>
                <c:pt idx="81">
                  <c:v>2</c:v>
                </c:pt>
                <c:pt idx="82">
                  <c:v>2</c:v>
                </c:pt>
                <c:pt idx="83">
                  <c:v>2</c:v>
                </c:pt>
                <c:pt idx="84">
                  <c:v>2</c:v>
                </c:pt>
                <c:pt idx="85">
                  <c:v>2</c:v>
                </c:pt>
                <c:pt idx="86">
                  <c:v>2</c:v>
                </c:pt>
                <c:pt idx="87">
                  <c:v>2</c:v>
                </c:pt>
                <c:pt idx="88">
                  <c:v>2</c:v>
                </c:pt>
                <c:pt idx="89">
                  <c:v>2</c:v>
                </c:pt>
                <c:pt idx="90">
                  <c:v>2</c:v>
                </c:pt>
                <c:pt idx="91">
                  <c:v>2</c:v>
                </c:pt>
                <c:pt idx="92">
                  <c:v>2</c:v>
                </c:pt>
                <c:pt idx="93">
                  <c:v>2</c:v>
                </c:pt>
                <c:pt idx="94">
                  <c:v>2</c:v>
                </c:pt>
                <c:pt idx="95">
                  <c:v>2</c:v>
                </c:pt>
                <c:pt idx="96">
                  <c:v>2</c:v>
                </c:pt>
                <c:pt idx="97">
                  <c:v>2</c:v>
                </c:pt>
                <c:pt idx="98">
                  <c:v>2</c:v>
                </c:pt>
                <c:pt idx="99">
                  <c:v>2</c:v>
                </c:pt>
                <c:pt idx="100">
                  <c:v>2</c:v>
                </c:pt>
                <c:pt idx="101">
                  <c:v>2</c:v>
                </c:pt>
                <c:pt idx="102">
                  <c:v>2</c:v>
                </c:pt>
                <c:pt idx="103">
                  <c:v>2</c:v>
                </c:pt>
                <c:pt idx="104">
                  <c:v>2</c:v>
                </c:pt>
                <c:pt idx="105">
                  <c:v>2</c:v>
                </c:pt>
                <c:pt idx="106">
                  <c:v>2</c:v>
                </c:pt>
                <c:pt idx="107">
                  <c:v>2</c:v>
                </c:pt>
                <c:pt idx="108">
                  <c:v>2</c:v>
                </c:pt>
                <c:pt idx="109">
                  <c:v>2</c:v>
                </c:pt>
                <c:pt idx="110">
                  <c:v>2</c:v>
                </c:pt>
                <c:pt idx="111">
                  <c:v>2</c:v>
                </c:pt>
                <c:pt idx="112">
                  <c:v>2</c:v>
                </c:pt>
                <c:pt idx="113">
                  <c:v>2</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1</c:v>
                </c:pt>
                <c:pt idx="139">
                  <c:v>1</c:v>
                </c:pt>
                <c:pt idx="140">
                  <c:v>1</c:v>
                </c:pt>
                <c:pt idx="141">
                  <c:v>1</c:v>
                </c:pt>
                <c:pt idx="142">
                  <c:v>1</c:v>
                </c:pt>
                <c:pt idx="143">
                  <c:v>1</c:v>
                </c:pt>
                <c:pt idx="144">
                  <c:v>1</c:v>
                </c:pt>
                <c:pt idx="145">
                  <c:v>1</c:v>
                </c:pt>
                <c:pt idx="146">
                  <c:v>1</c:v>
                </c:pt>
                <c:pt idx="147">
                  <c:v>1</c:v>
                </c:pt>
                <c:pt idx="148">
                  <c:v>1</c:v>
                </c:pt>
                <c:pt idx="149">
                  <c:v>1</c:v>
                </c:pt>
                <c:pt idx="150">
                  <c:v>1</c:v>
                </c:pt>
                <c:pt idx="151">
                  <c:v>1</c:v>
                </c:pt>
                <c:pt idx="152">
                  <c:v>1</c:v>
                </c:pt>
                <c:pt idx="153">
                  <c:v>1</c:v>
                </c:pt>
                <c:pt idx="154">
                  <c:v>1</c:v>
                </c:pt>
                <c:pt idx="155">
                  <c:v>1</c:v>
                </c:pt>
                <c:pt idx="156">
                  <c:v>1</c:v>
                </c:pt>
                <c:pt idx="157">
                  <c:v>1</c:v>
                </c:pt>
                <c:pt idx="158">
                  <c:v>1</c:v>
                </c:pt>
                <c:pt idx="159">
                  <c:v>1</c:v>
                </c:pt>
                <c:pt idx="160">
                  <c:v>1</c:v>
                </c:pt>
                <c:pt idx="161">
                  <c:v>1</c:v>
                </c:pt>
                <c:pt idx="162">
                  <c:v>1</c:v>
                </c:pt>
                <c:pt idx="163">
                  <c:v>1</c:v>
                </c:pt>
                <c:pt idx="164">
                  <c:v>1</c:v>
                </c:pt>
                <c:pt idx="165">
                  <c:v>1</c:v>
                </c:pt>
                <c:pt idx="166">
                  <c:v>1</c:v>
                </c:pt>
                <c:pt idx="167">
                  <c:v>1</c:v>
                </c:pt>
                <c:pt idx="168">
                  <c:v>1</c:v>
                </c:pt>
                <c:pt idx="169">
                  <c:v>1</c:v>
                </c:pt>
                <c:pt idx="170">
                  <c:v>1</c:v>
                </c:pt>
                <c:pt idx="171">
                  <c:v>1</c:v>
                </c:pt>
                <c:pt idx="172">
                  <c:v>1</c:v>
                </c:pt>
                <c:pt idx="173">
                  <c:v>1</c:v>
                </c:pt>
                <c:pt idx="174">
                  <c:v>1</c:v>
                </c:pt>
                <c:pt idx="175">
                  <c:v>1</c:v>
                </c:pt>
                <c:pt idx="176">
                  <c:v>1</c:v>
                </c:pt>
                <c:pt idx="177">
                  <c:v>1</c:v>
                </c:pt>
                <c:pt idx="178">
                  <c:v>1</c:v>
                </c:pt>
                <c:pt idx="179">
                  <c:v>1</c:v>
                </c:pt>
                <c:pt idx="180">
                  <c:v>1</c:v>
                </c:pt>
                <c:pt idx="181">
                  <c:v>1</c:v>
                </c:pt>
                <c:pt idx="182">
                  <c:v>1</c:v>
                </c:pt>
                <c:pt idx="183">
                  <c:v>1</c:v>
                </c:pt>
                <c:pt idx="184">
                  <c:v>1</c:v>
                </c:pt>
                <c:pt idx="185">
                  <c:v>1</c:v>
                </c:pt>
                <c:pt idx="186">
                  <c:v>1</c:v>
                </c:pt>
                <c:pt idx="187">
                  <c:v>1</c:v>
                </c:pt>
                <c:pt idx="188">
                  <c:v>1</c:v>
                </c:pt>
                <c:pt idx="189">
                  <c:v>1</c:v>
                </c:pt>
                <c:pt idx="190">
                  <c:v>1</c:v>
                </c:pt>
                <c:pt idx="191">
                  <c:v>1</c:v>
                </c:pt>
                <c:pt idx="192">
                  <c:v>1</c:v>
                </c:pt>
                <c:pt idx="193">
                  <c:v>1</c:v>
                </c:pt>
                <c:pt idx="194">
                  <c:v>1</c:v>
                </c:pt>
                <c:pt idx="195">
                  <c:v>1</c:v>
                </c:pt>
                <c:pt idx="196">
                  <c:v>1</c:v>
                </c:pt>
                <c:pt idx="197">
                  <c:v>1</c:v>
                </c:pt>
                <c:pt idx="198">
                  <c:v>1</c:v>
                </c:pt>
                <c:pt idx="199">
                  <c:v>1</c:v>
                </c:pt>
                <c:pt idx="200">
                  <c:v>1</c:v>
                </c:pt>
                <c:pt idx="201">
                  <c:v>1</c:v>
                </c:pt>
                <c:pt idx="202">
                  <c:v>1</c:v>
                </c:pt>
                <c:pt idx="203">
                  <c:v>1</c:v>
                </c:pt>
                <c:pt idx="204">
                  <c:v>1</c:v>
                </c:pt>
                <c:pt idx="205">
                  <c:v>1</c:v>
                </c:pt>
                <c:pt idx="206">
                  <c:v>1</c:v>
                </c:pt>
                <c:pt idx="207">
                  <c:v>1</c:v>
                </c:pt>
                <c:pt idx="208">
                  <c:v>1</c:v>
                </c:pt>
                <c:pt idx="209">
                  <c:v>1</c:v>
                </c:pt>
                <c:pt idx="210">
                  <c:v>1</c:v>
                </c:pt>
                <c:pt idx="211">
                  <c:v>1</c:v>
                </c:pt>
                <c:pt idx="212">
                  <c:v>1</c:v>
                </c:pt>
                <c:pt idx="213">
                  <c:v>1</c:v>
                </c:pt>
                <c:pt idx="214">
                  <c:v>1</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1</c:v>
                </c:pt>
                <c:pt idx="238">
                  <c:v>1</c:v>
                </c:pt>
                <c:pt idx="239">
                  <c:v>1</c:v>
                </c:pt>
                <c:pt idx="240">
                  <c:v>1</c:v>
                </c:pt>
                <c:pt idx="241">
                  <c:v>1</c:v>
                </c:pt>
                <c:pt idx="242">
                  <c:v>1</c:v>
                </c:pt>
                <c:pt idx="243">
                  <c:v>1</c:v>
                </c:pt>
                <c:pt idx="244">
                  <c:v>1</c:v>
                </c:pt>
                <c:pt idx="245">
                  <c:v>1</c:v>
                </c:pt>
                <c:pt idx="246">
                  <c:v>1</c:v>
                </c:pt>
                <c:pt idx="247">
                  <c:v>1</c:v>
                </c:pt>
                <c:pt idx="248">
                  <c:v>1</c:v>
                </c:pt>
                <c:pt idx="249">
                  <c:v>1</c:v>
                </c:pt>
                <c:pt idx="250">
                  <c:v>1</c:v>
                </c:pt>
                <c:pt idx="251">
                  <c:v>1</c:v>
                </c:pt>
                <c:pt idx="252">
                  <c:v>1</c:v>
                </c:pt>
                <c:pt idx="253">
                  <c:v>1</c:v>
                </c:pt>
                <c:pt idx="254">
                  <c:v>1</c:v>
                </c:pt>
                <c:pt idx="255">
                  <c:v>1</c:v>
                </c:pt>
                <c:pt idx="256">
                  <c:v>1</c:v>
                </c:pt>
                <c:pt idx="257">
                  <c:v>1</c:v>
                </c:pt>
                <c:pt idx="258">
                  <c:v>1</c:v>
                </c:pt>
                <c:pt idx="259">
                  <c:v>1</c:v>
                </c:pt>
                <c:pt idx="260">
                  <c:v>1</c:v>
                </c:pt>
                <c:pt idx="261">
                  <c:v>1</c:v>
                </c:pt>
                <c:pt idx="262">
                  <c:v>1</c:v>
                </c:pt>
                <c:pt idx="263">
                  <c:v>1</c:v>
                </c:pt>
                <c:pt idx="264">
                  <c:v>1</c:v>
                </c:pt>
                <c:pt idx="265">
                  <c:v>1</c:v>
                </c:pt>
                <c:pt idx="266">
                  <c:v>1</c:v>
                </c:pt>
                <c:pt idx="267">
                  <c:v>1</c:v>
                </c:pt>
                <c:pt idx="268">
                  <c:v>1</c:v>
                </c:pt>
              </c:numCache>
            </c:numRef>
          </c:xVal>
          <c:yVal>
            <c:numRef>
              <c:f>'VIX-max'!$W$258:$W$526</c:f>
              <c:numCache>
                <c:formatCode>General</c:formatCode>
                <c:ptCount val="269"/>
                <c:pt idx="0">
                  <c:v>15.210000000000004</c:v>
                </c:pt>
                <c:pt idx="1">
                  <c:v>9.9199999999999982</c:v>
                </c:pt>
                <c:pt idx="2">
                  <c:v>7.8000000000000007</c:v>
                </c:pt>
                <c:pt idx="3">
                  <c:v>2</c:v>
                </c:pt>
                <c:pt idx="4">
                  <c:v>24.810000000000002</c:v>
                </c:pt>
                <c:pt idx="5">
                  <c:v>5.2100000000000009</c:v>
                </c:pt>
                <c:pt idx="6">
                  <c:v>1.8099999999999987</c:v>
                </c:pt>
                <c:pt idx="7">
                  <c:v>0.79000000000000092</c:v>
                </c:pt>
                <c:pt idx="8">
                  <c:v>3.9400000000000013</c:v>
                </c:pt>
                <c:pt idx="9">
                  <c:v>0.59999999999999964</c:v>
                </c:pt>
                <c:pt idx="10">
                  <c:v>3</c:v>
                </c:pt>
                <c:pt idx="11">
                  <c:v>2.3099999999999987</c:v>
                </c:pt>
                <c:pt idx="12">
                  <c:v>2.120000000000001</c:v>
                </c:pt>
                <c:pt idx="13">
                  <c:v>2.2399999999999984</c:v>
                </c:pt>
                <c:pt idx="14">
                  <c:v>5.09</c:v>
                </c:pt>
                <c:pt idx="15">
                  <c:v>3.2800000000000011</c:v>
                </c:pt>
                <c:pt idx="16">
                  <c:v>1.879999999999999</c:v>
                </c:pt>
                <c:pt idx="17">
                  <c:v>18.900000000000002</c:v>
                </c:pt>
                <c:pt idx="18">
                  <c:v>1.3800000000000008</c:v>
                </c:pt>
                <c:pt idx="19">
                  <c:v>9.259999999999998</c:v>
                </c:pt>
                <c:pt idx="20">
                  <c:v>6.1099999999999959</c:v>
                </c:pt>
                <c:pt idx="21">
                  <c:v>3.7000000000000028</c:v>
                </c:pt>
                <c:pt idx="22">
                  <c:v>3.1900000000000013</c:v>
                </c:pt>
                <c:pt idx="23">
                  <c:v>3.4200000000000017</c:v>
                </c:pt>
                <c:pt idx="24">
                  <c:v>5.730000000000004</c:v>
                </c:pt>
                <c:pt idx="25">
                  <c:v>2.759999999999998</c:v>
                </c:pt>
                <c:pt idx="26">
                  <c:v>7.5000000000000036</c:v>
                </c:pt>
                <c:pt idx="27">
                  <c:v>2.9300000000000033</c:v>
                </c:pt>
                <c:pt idx="28">
                  <c:v>4.9699999999999989</c:v>
                </c:pt>
                <c:pt idx="29">
                  <c:v>6.75</c:v>
                </c:pt>
                <c:pt idx="30">
                  <c:v>1.9299999999999997</c:v>
                </c:pt>
                <c:pt idx="31">
                  <c:v>1.379999999999999</c:v>
                </c:pt>
                <c:pt idx="32">
                  <c:v>1.0500000000000007</c:v>
                </c:pt>
                <c:pt idx="33">
                  <c:v>5.8999999999999986</c:v>
                </c:pt>
                <c:pt idx="34">
                  <c:v>16.34</c:v>
                </c:pt>
                <c:pt idx="35">
                  <c:v>1.8600000000000012</c:v>
                </c:pt>
                <c:pt idx="36">
                  <c:v>5.879999999999999</c:v>
                </c:pt>
                <c:pt idx="37">
                  <c:v>21.6</c:v>
                </c:pt>
                <c:pt idx="38">
                  <c:v>1.5500000000000007</c:v>
                </c:pt>
                <c:pt idx="39">
                  <c:v>0.72000000000000242</c:v>
                </c:pt>
                <c:pt idx="40">
                  <c:v>3.4399999999999995</c:v>
                </c:pt>
                <c:pt idx="41">
                  <c:v>1.3600000000000012</c:v>
                </c:pt>
                <c:pt idx="42">
                  <c:v>3.5199999999999996</c:v>
                </c:pt>
                <c:pt idx="43">
                  <c:v>2.08</c:v>
                </c:pt>
                <c:pt idx="44">
                  <c:v>2.2400000000000002</c:v>
                </c:pt>
                <c:pt idx="45">
                  <c:v>1.4900000000000002</c:v>
                </c:pt>
                <c:pt idx="46">
                  <c:v>2.3899999999999988</c:v>
                </c:pt>
                <c:pt idx="47">
                  <c:v>0.89000000000000057</c:v>
                </c:pt>
                <c:pt idx="48">
                  <c:v>1.6899999999999995</c:v>
                </c:pt>
                <c:pt idx="49">
                  <c:v>3.0000000000001137E-2</c:v>
                </c:pt>
                <c:pt idx="50">
                  <c:v>2.3800000000000008</c:v>
                </c:pt>
                <c:pt idx="51">
                  <c:v>1.4100000000000001</c:v>
                </c:pt>
                <c:pt idx="52">
                  <c:v>2.8199999999999985</c:v>
                </c:pt>
                <c:pt idx="53">
                  <c:v>1.4399999999999995</c:v>
                </c:pt>
                <c:pt idx="54">
                  <c:v>4.2899999999999991</c:v>
                </c:pt>
                <c:pt idx="55">
                  <c:v>3.5</c:v>
                </c:pt>
                <c:pt idx="56">
                  <c:v>1.0500000000000007</c:v>
                </c:pt>
                <c:pt idx="57">
                  <c:v>0.62999999999999901</c:v>
                </c:pt>
                <c:pt idx="58">
                  <c:v>1.2300000000000004</c:v>
                </c:pt>
                <c:pt idx="59">
                  <c:v>2.0599999999999987</c:v>
                </c:pt>
                <c:pt idx="60">
                  <c:v>0.50999999999999801</c:v>
                </c:pt>
                <c:pt idx="61">
                  <c:v>6.259999999999998</c:v>
                </c:pt>
                <c:pt idx="62">
                  <c:v>4.5</c:v>
                </c:pt>
                <c:pt idx="63">
                  <c:v>1.6600000000000001</c:v>
                </c:pt>
                <c:pt idx="64">
                  <c:v>1.8499999999999979</c:v>
                </c:pt>
                <c:pt idx="65">
                  <c:v>4.3000000000000007</c:v>
                </c:pt>
                <c:pt idx="66">
                  <c:v>1.1400000000000006</c:v>
                </c:pt>
                <c:pt idx="67">
                  <c:v>2.3800000000000026</c:v>
                </c:pt>
                <c:pt idx="68">
                  <c:v>3.91</c:v>
                </c:pt>
                <c:pt idx="69">
                  <c:v>1.5100000000000016</c:v>
                </c:pt>
                <c:pt idx="70">
                  <c:v>2.84</c:v>
                </c:pt>
                <c:pt idx="71">
                  <c:v>1.1900000000000013</c:v>
                </c:pt>
                <c:pt idx="72">
                  <c:v>4.0200000000000031</c:v>
                </c:pt>
                <c:pt idx="73">
                  <c:v>6.990000000000002</c:v>
                </c:pt>
                <c:pt idx="74">
                  <c:v>3.7100000000000009</c:v>
                </c:pt>
                <c:pt idx="75">
                  <c:v>3.1799999999999962</c:v>
                </c:pt>
                <c:pt idx="76">
                  <c:v>2.610000000000003</c:v>
                </c:pt>
                <c:pt idx="77">
                  <c:v>2.1699999999999982</c:v>
                </c:pt>
                <c:pt idx="78">
                  <c:v>4.8800000000000026</c:v>
                </c:pt>
                <c:pt idx="79">
                  <c:v>1.6400000000000006</c:v>
                </c:pt>
                <c:pt idx="80">
                  <c:v>0.80000000000000071</c:v>
                </c:pt>
                <c:pt idx="81">
                  <c:v>3.3099999999999987</c:v>
                </c:pt>
                <c:pt idx="82">
                  <c:v>0.29000000000000092</c:v>
                </c:pt>
                <c:pt idx="83">
                  <c:v>0.6899999999999995</c:v>
                </c:pt>
                <c:pt idx="84">
                  <c:v>1.129999999999999</c:v>
                </c:pt>
                <c:pt idx="85">
                  <c:v>6.4399999999999977</c:v>
                </c:pt>
                <c:pt idx="86">
                  <c:v>2.5</c:v>
                </c:pt>
                <c:pt idx="87">
                  <c:v>5.6899999999999977</c:v>
                </c:pt>
                <c:pt idx="88">
                  <c:v>1.0199999999999996</c:v>
                </c:pt>
                <c:pt idx="89">
                  <c:v>3.7699999999999996</c:v>
                </c:pt>
                <c:pt idx="90">
                  <c:v>5.620000000000001</c:v>
                </c:pt>
                <c:pt idx="91">
                  <c:v>6.740000000000002</c:v>
                </c:pt>
                <c:pt idx="92">
                  <c:v>4.259999999999998</c:v>
                </c:pt>
                <c:pt idx="93">
                  <c:v>2.59</c:v>
                </c:pt>
                <c:pt idx="94">
                  <c:v>1.0800000000000018</c:v>
                </c:pt>
                <c:pt idx="95">
                  <c:v>2.9700000000000024</c:v>
                </c:pt>
                <c:pt idx="96">
                  <c:v>6.0399999999999991</c:v>
                </c:pt>
                <c:pt idx="97">
                  <c:v>0.93000000000000682</c:v>
                </c:pt>
                <c:pt idx="98">
                  <c:v>2.5999999999999996</c:v>
                </c:pt>
                <c:pt idx="99">
                  <c:v>5.6999999999999993</c:v>
                </c:pt>
                <c:pt idx="100">
                  <c:v>9.32</c:v>
                </c:pt>
                <c:pt idx="101">
                  <c:v>1.6999999999999993</c:v>
                </c:pt>
                <c:pt idx="102">
                  <c:v>0.75</c:v>
                </c:pt>
                <c:pt idx="103">
                  <c:v>3.120000000000001</c:v>
                </c:pt>
                <c:pt idx="104">
                  <c:v>2.490000000000002</c:v>
                </c:pt>
                <c:pt idx="105">
                  <c:v>2.76</c:v>
                </c:pt>
                <c:pt idx="106">
                  <c:v>0.24000000000000199</c:v>
                </c:pt>
                <c:pt idx="107">
                  <c:v>3.6000000000000014</c:v>
                </c:pt>
                <c:pt idx="108">
                  <c:v>3.0300000000000011</c:v>
                </c:pt>
                <c:pt idx="109">
                  <c:v>3.0199999999999996</c:v>
                </c:pt>
                <c:pt idx="110">
                  <c:v>3.7500000000000018</c:v>
                </c:pt>
                <c:pt idx="111">
                  <c:v>2.9599999999999973</c:v>
                </c:pt>
                <c:pt idx="112">
                  <c:v>4.7899999999999991</c:v>
                </c:pt>
                <c:pt idx="113">
                  <c:v>7.6700000000000017</c:v>
                </c:pt>
                <c:pt idx="114">
                  <c:v>3.5700000000000003</c:v>
                </c:pt>
                <c:pt idx="115">
                  <c:v>0.71999999999999886</c:v>
                </c:pt>
                <c:pt idx="116">
                  <c:v>1.7699999999999996</c:v>
                </c:pt>
                <c:pt idx="117">
                  <c:v>1.5700000000000003</c:v>
                </c:pt>
                <c:pt idx="118">
                  <c:v>1.9399999999999977</c:v>
                </c:pt>
                <c:pt idx="119">
                  <c:v>5.18</c:v>
                </c:pt>
                <c:pt idx="120">
                  <c:v>2.9499999999999975</c:v>
                </c:pt>
                <c:pt idx="121">
                  <c:v>7.23</c:v>
                </c:pt>
                <c:pt idx="122">
                  <c:v>1.8599999999999994</c:v>
                </c:pt>
                <c:pt idx="123">
                  <c:v>0.10999999999999943</c:v>
                </c:pt>
                <c:pt idx="124">
                  <c:v>3.4299999999999997</c:v>
                </c:pt>
                <c:pt idx="125">
                  <c:v>1.4300000000000015</c:v>
                </c:pt>
                <c:pt idx="126">
                  <c:v>1.1500000000000004</c:v>
                </c:pt>
                <c:pt idx="127">
                  <c:v>0.25</c:v>
                </c:pt>
                <c:pt idx="128">
                  <c:v>1.1800000000000015</c:v>
                </c:pt>
                <c:pt idx="129">
                  <c:v>0.38999999999999879</c:v>
                </c:pt>
                <c:pt idx="130">
                  <c:v>1.009999999999998</c:v>
                </c:pt>
                <c:pt idx="131">
                  <c:v>0.78999999999999915</c:v>
                </c:pt>
                <c:pt idx="132">
                  <c:v>2.1399999999999988</c:v>
                </c:pt>
                <c:pt idx="133">
                  <c:v>1.8900000000000006</c:v>
                </c:pt>
                <c:pt idx="134">
                  <c:v>6.0000000000000497E-2</c:v>
                </c:pt>
                <c:pt idx="135">
                  <c:v>0.87000000000000099</c:v>
                </c:pt>
                <c:pt idx="136">
                  <c:v>4.6400000000000006</c:v>
                </c:pt>
                <c:pt idx="137">
                  <c:v>2.4400000000000013</c:v>
                </c:pt>
                <c:pt idx="138">
                  <c:v>0.32000000000000028</c:v>
                </c:pt>
                <c:pt idx="139">
                  <c:v>1.7400000000000002</c:v>
                </c:pt>
                <c:pt idx="140">
                  <c:v>2.6999999999999993</c:v>
                </c:pt>
                <c:pt idx="141">
                  <c:v>1.2900000000000009</c:v>
                </c:pt>
                <c:pt idx="142">
                  <c:v>1.0599999999999987</c:v>
                </c:pt>
                <c:pt idx="143">
                  <c:v>0.62000000000000099</c:v>
                </c:pt>
                <c:pt idx="144">
                  <c:v>2.2800000000000011</c:v>
                </c:pt>
                <c:pt idx="145">
                  <c:v>1.67</c:v>
                </c:pt>
                <c:pt idx="146">
                  <c:v>2.7700000000000014</c:v>
                </c:pt>
                <c:pt idx="147">
                  <c:v>0.93000000000000149</c:v>
                </c:pt>
                <c:pt idx="148">
                  <c:v>0.46999999999999886</c:v>
                </c:pt>
                <c:pt idx="149">
                  <c:v>0.3100000000000005</c:v>
                </c:pt>
                <c:pt idx="150">
                  <c:v>0.75999999999999979</c:v>
                </c:pt>
                <c:pt idx="151">
                  <c:v>3.1100000000000012</c:v>
                </c:pt>
                <c:pt idx="152">
                  <c:v>1.4300000000000015</c:v>
                </c:pt>
                <c:pt idx="153">
                  <c:v>0.41000000000000014</c:v>
                </c:pt>
                <c:pt idx="154">
                  <c:v>4.1400000000000006</c:v>
                </c:pt>
                <c:pt idx="155">
                  <c:v>1.6400000000000006</c:v>
                </c:pt>
                <c:pt idx="156">
                  <c:v>3.0199999999999996</c:v>
                </c:pt>
                <c:pt idx="157">
                  <c:v>0.14000000000000057</c:v>
                </c:pt>
                <c:pt idx="158">
                  <c:v>1.5399999999999991</c:v>
                </c:pt>
                <c:pt idx="159">
                  <c:v>0.89000000000000057</c:v>
                </c:pt>
                <c:pt idx="160">
                  <c:v>1.4800000000000004</c:v>
                </c:pt>
                <c:pt idx="161">
                  <c:v>1.7100000000000009</c:v>
                </c:pt>
                <c:pt idx="162">
                  <c:v>0.78999999999999915</c:v>
                </c:pt>
                <c:pt idx="163">
                  <c:v>1.6400000000000006</c:v>
                </c:pt>
                <c:pt idx="164">
                  <c:v>1.2100000000000009</c:v>
                </c:pt>
                <c:pt idx="165">
                  <c:v>0.48000000000000043</c:v>
                </c:pt>
                <c:pt idx="166">
                  <c:v>0.99000000000000199</c:v>
                </c:pt>
                <c:pt idx="167">
                  <c:v>3.6499999999999986</c:v>
                </c:pt>
                <c:pt idx="168">
                  <c:v>0.5</c:v>
                </c:pt>
                <c:pt idx="169">
                  <c:v>2.0999999999999979</c:v>
                </c:pt>
                <c:pt idx="170">
                  <c:v>1.7100000000000009</c:v>
                </c:pt>
                <c:pt idx="171">
                  <c:v>4.120000000000001</c:v>
                </c:pt>
                <c:pt idx="172">
                  <c:v>3.0500000000000007</c:v>
                </c:pt>
                <c:pt idx="173">
                  <c:v>3.16</c:v>
                </c:pt>
                <c:pt idx="174">
                  <c:v>4.8900000000000006</c:v>
                </c:pt>
                <c:pt idx="175">
                  <c:v>5.7900000000000027</c:v>
                </c:pt>
                <c:pt idx="176">
                  <c:v>7.3900000000000006</c:v>
                </c:pt>
                <c:pt idx="177">
                  <c:v>4.5399999999999991</c:v>
                </c:pt>
                <c:pt idx="178">
                  <c:v>3.59</c:v>
                </c:pt>
                <c:pt idx="179">
                  <c:v>4.8799999999999955</c:v>
                </c:pt>
                <c:pt idx="180">
                  <c:v>1.8200000000000003</c:v>
                </c:pt>
                <c:pt idx="181">
                  <c:v>1.4800000000000004</c:v>
                </c:pt>
                <c:pt idx="182">
                  <c:v>2.3499999999999979</c:v>
                </c:pt>
                <c:pt idx="183">
                  <c:v>2.1900000000000013</c:v>
                </c:pt>
                <c:pt idx="184">
                  <c:v>2.7899999999999991</c:v>
                </c:pt>
                <c:pt idx="185">
                  <c:v>1.8500000000000014</c:v>
                </c:pt>
                <c:pt idx="186">
                  <c:v>1.7900000000000027</c:v>
                </c:pt>
                <c:pt idx="187">
                  <c:v>2.370000000000001</c:v>
                </c:pt>
                <c:pt idx="188">
                  <c:v>0.60999999999999943</c:v>
                </c:pt>
                <c:pt idx="189">
                  <c:v>3.259999999999998</c:v>
                </c:pt>
                <c:pt idx="190">
                  <c:v>2.009999999999998</c:v>
                </c:pt>
                <c:pt idx="191">
                  <c:v>4.0399999999999991</c:v>
                </c:pt>
                <c:pt idx="192">
                  <c:v>2.9200000000000017</c:v>
                </c:pt>
                <c:pt idx="193">
                  <c:v>4.6999999999999993</c:v>
                </c:pt>
                <c:pt idx="194">
                  <c:v>6.0799999999999983</c:v>
                </c:pt>
                <c:pt idx="195">
                  <c:v>0.36000000000000298</c:v>
                </c:pt>
                <c:pt idx="196">
                  <c:v>2.8999999999999986</c:v>
                </c:pt>
                <c:pt idx="197">
                  <c:v>3.41</c:v>
                </c:pt>
                <c:pt idx="198">
                  <c:v>4.8700000000000045</c:v>
                </c:pt>
                <c:pt idx="199">
                  <c:v>3.34</c:v>
                </c:pt>
                <c:pt idx="200">
                  <c:v>0.83000000000000185</c:v>
                </c:pt>
                <c:pt idx="201">
                  <c:v>0.26999999999999957</c:v>
                </c:pt>
                <c:pt idx="202">
                  <c:v>0.93999999999999773</c:v>
                </c:pt>
                <c:pt idx="203">
                  <c:v>3.7899999999999991</c:v>
                </c:pt>
                <c:pt idx="204">
                  <c:v>2.6400000000000006</c:v>
                </c:pt>
                <c:pt idx="205">
                  <c:v>3.1799999999999997</c:v>
                </c:pt>
                <c:pt idx="206">
                  <c:v>0.89999999999999858</c:v>
                </c:pt>
                <c:pt idx="207">
                  <c:v>1.75</c:v>
                </c:pt>
                <c:pt idx="208">
                  <c:v>0.48999999999999844</c:v>
                </c:pt>
                <c:pt idx="209">
                  <c:v>0.37000000000000099</c:v>
                </c:pt>
                <c:pt idx="210">
                  <c:v>1.2199999999999989</c:v>
                </c:pt>
                <c:pt idx="211">
                  <c:v>2.8299999999999983</c:v>
                </c:pt>
                <c:pt idx="212">
                  <c:v>2.4299999999999997</c:v>
                </c:pt>
                <c:pt idx="213">
                  <c:v>1.490000000000002</c:v>
                </c:pt>
                <c:pt idx="214">
                  <c:v>1.2400000000000002</c:v>
                </c:pt>
                <c:pt idx="215">
                  <c:v>1.7700000000000014</c:v>
                </c:pt>
                <c:pt idx="216">
                  <c:v>1.2999999999999989</c:v>
                </c:pt>
                <c:pt idx="217">
                  <c:v>0.79000000000000092</c:v>
                </c:pt>
                <c:pt idx="218">
                  <c:v>9.9999999999997868E-3</c:v>
                </c:pt>
                <c:pt idx="219">
                  <c:v>1.0700000000000003</c:v>
                </c:pt>
                <c:pt idx="220">
                  <c:v>0.76999999999999957</c:v>
                </c:pt>
                <c:pt idx="221">
                  <c:v>0.73000000000000043</c:v>
                </c:pt>
                <c:pt idx="222">
                  <c:v>0.77999999999999936</c:v>
                </c:pt>
                <c:pt idx="223">
                  <c:v>0.75</c:v>
                </c:pt>
                <c:pt idx="224">
                  <c:v>1.0199999999999996</c:v>
                </c:pt>
                <c:pt idx="225">
                  <c:v>2.3100000000000005</c:v>
                </c:pt>
                <c:pt idx="226">
                  <c:v>0.74000000000000021</c:v>
                </c:pt>
                <c:pt idx="227">
                  <c:v>2.41</c:v>
                </c:pt>
                <c:pt idx="228">
                  <c:v>4.4000000000000004</c:v>
                </c:pt>
                <c:pt idx="229">
                  <c:v>1.5700000000000003</c:v>
                </c:pt>
                <c:pt idx="230">
                  <c:v>1.4000000000000004</c:v>
                </c:pt>
                <c:pt idx="231">
                  <c:v>0.50999999999999979</c:v>
                </c:pt>
                <c:pt idx="232">
                  <c:v>7.7299999999999986</c:v>
                </c:pt>
                <c:pt idx="233">
                  <c:v>3.1400000000000006</c:v>
                </c:pt>
                <c:pt idx="234">
                  <c:v>1.4899999999999984</c:v>
                </c:pt>
                <c:pt idx="235">
                  <c:v>4.4200000000000017</c:v>
                </c:pt>
                <c:pt idx="236">
                  <c:v>2.1400000000000006</c:v>
                </c:pt>
                <c:pt idx="237">
                  <c:v>1.2999999999999972</c:v>
                </c:pt>
                <c:pt idx="238">
                  <c:v>2.1799999999999997</c:v>
                </c:pt>
                <c:pt idx="239">
                  <c:v>1.4899999999999984</c:v>
                </c:pt>
                <c:pt idx="240">
                  <c:v>5.120000000000001</c:v>
                </c:pt>
                <c:pt idx="241">
                  <c:v>3.8300000000000018</c:v>
                </c:pt>
                <c:pt idx="242">
                  <c:v>1.8900000000000006</c:v>
                </c:pt>
                <c:pt idx="243">
                  <c:v>2.759999999999998</c:v>
                </c:pt>
                <c:pt idx="244">
                  <c:v>1</c:v>
                </c:pt>
                <c:pt idx="245">
                  <c:v>1.9700000000000024</c:v>
                </c:pt>
                <c:pt idx="246">
                  <c:v>2.0400000000000027</c:v>
                </c:pt>
                <c:pt idx="247">
                  <c:v>2.41</c:v>
                </c:pt>
                <c:pt idx="248">
                  <c:v>4.5199999999999996</c:v>
                </c:pt>
                <c:pt idx="249">
                  <c:v>11.979999999999997</c:v>
                </c:pt>
                <c:pt idx="250">
                  <c:v>1.0799999999999983</c:v>
                </c:pt>
                <c:pt idx="251">
                  <c:v>13.219999999999999</c:v>
                </c:pt>
                <c:pt idx="252">
                  <c:v>10.54</c:v>
                </c:pt>
                <c:pt idx="253">
                  <c:v>3.3200000000000003</c:v>
                </c:pt>
                <c:pt idx="254">
                  <c:v>6.2999999999999972</c:v>
                </c:pt>
                <c:pt idx="255">
                  <c:v>3.620000000000001</c:v>
                </c:pt>
                <c:pt idx="256">
                  <c:v>4.389999999999997</c:v>
                </c:pt>
                <c:pt idx="257">
                  <c:v>2.7800000000000011</c:v>
                </c:pt>
                <c:pt idx="258">
                  <c:v>8.629999999999999</c:v>
                </c:pt>
                <c:pt idx="259">
                  <c:v>6.1899999999999977</c:v>
                </c:pt>
                <c:pt idx="260">
                  <c:v>12.240000000000002</c:v>
                </c:pt>
                <c:pt idx="261">
                  <c:v>2.110000000000003</c:v>
                </c:pt>
                <c:pt idx="262">
                  <c:v>1.9700000000000024</c:v>
                </c:pt>
                <c:pt idx="263">
                  <c:v>1.9699999999999989</c:v>
                </c:pt>
                <c:pt idx="264">
                  <c:v>1.3200000000000003</c:v>
                </c:pt>
                <c:pt idx="265">
                  <c:v>3.3999999999999986</c:v>
                </c:pt>
                <c:pt idx="266">
                  <c:v>0.53999999999999915</c:v>
                </c:pt>
                <c:pt idx="267">
                  <c:v>0.30000000000000071</c:v>
                </c:pt>
                <c:pt idx="268">
                  <c:v>6.3099999999999952</c:v>
                </c:pt>
              </c:numCache>
            </c:numRef>
          </c:yVal>
          <c:smooth val="0"/>
          <c:extLst xmlns:c16r2="http://schemas.microsoft.com/office/drawing/2015/06/chart">
            <c:ext xmlns:c16="http://schemas.microsoft.com/office/drawing/2014/chart" uri="{C3380CC4-5D6E-409C-BE32-E72D297353CC}">
              <c16:uniqueId val="{00000000-06E2-4446-828F-DF70E48B423D}"/>
            </c:ext>
          </c:extLst>
        </c:ser>
        <c:dLbls>
          <c:showLegendKey val="0"/>
          <c:showVal val="0"/>
          <c:showCatName val="0"/>
          <c:showSerName val="0"/>
          <c:showPercent val="0"/>
          <c:showBubbleSize val="0"/>
        </c:dLbls>
        <c:axId val="552946304"/>
        <c:axId val="553882368"/>
      </c:scatterChart>
      <c:valAx>
        <c:axId val="552946304"/>
        <c:scaling>
          <c:orientation val="minMax"/>
        </c:scaling>
        <c:delete val="0"/>
        <c:axPos val="b"/>
        <c:title>
          <c:tx>
            <c:rich>
              <a:bodyPr/>
              <a:lstStyle/>
              <a:p>
                <a:pPr>
                  <a:defRPr/>
                </a:pPr>
                <a:r>
                  <a:rPr lang="en-US" dirty="0"/>
                  <a:t>Historical</a:t>
                </a:r>
                <a:r>
                  <a:rPr lang="en-US" baseline="0" dirty="0"/>
                  <a:t> n</a:t>
                </a:r>
                <a:r>
                  <a:rPr lang="en-US" dirty="0"/>
                  <a:t>umber of consecutive days of VIX above its highest</a:t>
                </a:r>
                <a:r>
                  <a:rPr lang="en-US" baseline="0" dirty="0"/>
                  <a:t> level on previous 22 bd</a:t>
                </a:r>
                <a:endParaRPr lang="en-US" dirty="0"/>
              </a:p>
            </c:rich>
          </c:tx>
          <c:layout/>
          <c:overlay val="0"/>
        </c:title>
        <c:numFmt formatCode="General" sourceLinked="1"/>
        <c:majorTickMark val="none"/>
        <c:minorTickMark val="none"/>
        <c:tickLblPos val="nextTo"/>
        <c:crossAx val="553882368"/>
        <c:crosses val="autoZero"/>
        <c:crossBetween val="midCat"/>
      </c:valAx>
      <c:valAx>
        <c:axId val="553882368"/>
        <c:scaling>
          <c:orientation val="minMax"/>
        </c:scaling>
        <c:delete val="0"/>
        <c:axPos val="l"/>
        <c:majorGridlines/>
        <c:title>
          <c:tx>
            <c:rich>
              <a:bodyPr/>
              <a:lstStyle/>
              <a:p>
                <a:pPr>
                  <a:defRPr/>
                </a:pPr>
                <a:r>
                  <a:rPr lang="en-US" dirty="0"/>
                  <a:t>Corresponding VIX movements</a:t>
                </a:r>
                <a:r>
                  <a:rPr lang="en-US" baseline="0" dirty="0"/>
                  <a:t> (volatility points) </a:t>
                </a:r>
                <a:endParaRPr lang="en-US" dirty="0"/>
              </a:p>
            </c:rich>
          </c:tx>
          <c:layout>
            <c:manualLayout>
              <c:xMode val="edge"/>
              <c:yMode val="edge"/>
              <c:x val="2.8116843700136378E-2"/>
              <c:y val="0.16147307161949326"/>
            </c:manualLayout>
          </c:layout>
          <c:overlay val="0"/>
        </c:title>
        <c:numFmt formatCode="General" sourceLinked="1"/>
        <c:majorTickMark val="none"/>
        <c:minorTickMark val="none"/>
        <c:tickLblPos val="nextTo"/>
        <c:crossAx val="552946304"/>
        <c:crosses val="autoZero"/>
        <c:crossBetween val="midCat"/>
      </c:valAx>
    </c:plotArea>
    <c:legend>
      <c:legendPos val="b"/>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55F649-D348-4EBB-8556-718ECD957B64}" type="datetimeFigureOut">
              <a:rPr lang="en-US" smtClean="0"/>
              <a:t>5/2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57D723-BC33-41C5-9C54-69E1B7436878}" type="slidenum">
              <a:rPr lang="en-US" smtClean="0"/>
              <a:t>‹#›</a:t>
            </a:fld>
            <a:endParaRPr lang="en-US"/>
          </a:p>
        </p:txBody>
      </p:sp>
    </p:spTree>
    <p:extLst>
      <p:ext uri="{BB962C8B-B14F-4D97-AF65-F5344CB8AC3E}">
        <p14:creationId xmlns:p14="http://schemas.microsoft.com/office/powerpoint/2010/main" val="28248658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7188" y="528638"/>
            <a:ext cx="3502025" cy="2627312"/>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04E20B-3CB8-4A6F-8DC0-BC8949B0D52D}"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fr-FR"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4320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04E20B-3CB8-4A6F-8DC0-BC8949B0D52D}"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fr-FR"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8710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04E20B-3CB8-4A6F-8DC0-BC8949B0D52D}"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fr-FR"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1884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4784" y="116572"/>
            <a:ext cx="11285184" cy="709715"/>
          </a:xfrm>
        </p:spPr>
        <p:txBody>
          <a:bodyPr lIns="0" tIns="0" rIns="0" bIns="0">
            <a:normAutofit/>
          </a:bodyPr>
          <a:lstStyle>
            <a:lvl1pPr algn="l">
              <a:defRPr sz="3200" b="1">
                <a:solidFill>
                  <a:srgbClr val="00915A"/>
                </a:solidFill>
              </a:defRPr>
            </a:lvl1pPr>
          </a:lstStyle>
          <a:p>
            <a:r>
              <a:rPr lang="en-US"/>
              <a:t>Click to edit Master title style</a:t>
            </a:r>
            <a:endParaRPr lang="en-GB" dirty="0"/>
          </a:p>
        </p:txBody>
      </p:sp>
      <p:sp>
        <p:nvSpPr>
          <p:cNvPr id="3" name="Content Placeholder 2"/>
          <p:cNvSpPr>
            <a:spLocks noGrp="1"/>
          </p:cNvSpPr>
          <p:nvPr>
            <p:ph idx="1"/>
          </p:nvPr>
        </p:nvSpPr>
        <p:spPr>
          <a:xfrm>
            <a:off x="853306" y="1138285"/>
            <a:ext cx="10881975" cy="4741715"/>
          </a:xfrm>
        </p:spPr>
        <p:txBody>
          <a:bodyPr lIns="0" tIns="0" rIns="0" bIns="0">
            <a:normAutofit/>
          </a:bodyPr>
          <a:lstStyle>
            <a:lvl1pPr marL="0" indent="0">
              <a:spcBef>
                <a:spcPts val="237"/>
              </a:spcBef>
              <a:buNone/>
              <a:defRPr sz="1200"/>
            </a:lvl1pPr>
            <a:lvl2pPr marL="410758" indent="-200815">
              <a:spcBef>
                <a:spcPts val="237"/>
              </a:spcBef>
              <a:buClr>
                <a:srgbClr val="00915A"/>
              </a:buClr>
              <a:buSzPct val="100000"/>
              <a:buFont typeface="Wingdings" panose="05000000000000000000" pitchFamily="2" charset="2"/>
              <a:buChar char=""/>
              <a:defRPr sz="1200"/>
            </a:lvl2pPr>
            <a:lvl3pPr marL="622526" indent="-211768">
              <a:spcBef>
                <a:spcPts val="237"/>
              </a:spcBef>
              <a:buClr>
                <a:srgbClr val="00915A"/>
              </a:buClr>
              <a:buSzPct val="90000"/>
              <a:buFont typeface="Wingdings" panose="05000000000000000000" pitchFamily="2" charset="2"/>
              <a:buChar char=""/>
              <a:defRPr sz="1200"/>
            </a:lvl3pPr>
            <a:lvl4pPr marL="823341" indent="-200815">
              <a:spcBef>
                <a:spcPts val="237"/>
              </a:spcBef>
              <a:buClr>
                <a:srgbClr val="00915A"/>
              </a:buClr>
              <a:buSzPct val="70000"/>
              <a:buFont typeface="Wingdings" panose="05000000000000000000" pitchFamily="2" charset="2"/>
              <a:buChar char="n"/>
              <a:defRPr sz="1200"/>
            </a:lvl4pPr>
            <a:lvl5pPr marL="1033282" indent="-209943">
              <a:spcBef>
                <a:spcPts val="237"/>
              </a:spcBef>
              <a:buClr>
                <a:srgbClr val="00915A"/>
              </a:buClr>
              <a:buSzPct val="60000"/>
              <a:buFont typeface="Wingdings" panose="05000000000000000000" pitchFamily="2" charset="2"/>
              <a:buChar char="n"/>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3" name="Connecteur droit 9"/>
          <p:cNvCxnSpPr/>
          <p:nvPr/>
        </p:nvCxnSpPr>
        <p:spPr>
          <a:xfrm>
            <a:off x="456771" y="879000"/>
            <a:ext cx="11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p:cNvSpPr>
            <a:spLocks noGrp="1"/>
          </p:cNvSpPr>
          <p:nvPr>
            <p:ph type="ftr" sz="quarter" idx="3"/>
          </p:nvPr>
        </p:nvSpPr>
        <p:spPr>
          <a:xfrm>
            <a:off x="7468759" y="6394288"/>
            <a:ext cx="2686501" cy="181713"/>
          </a:xfrm>
          <a:prstGeom prst="rect">
            <a:avLst/>
          </a:prstGeom>
        </p:spPr>
        <p:txBody>
          <a:bodyPr vert="horz" lIns="0" tIns="0" rIns="0" bIns="0" rtlCol="0" anchor="ctr"/>
          <a:lstStyle>
            <a:lvl1pPr algn="r">
              <a:defRPr sz="933">
                <a:solidFill>
                  <a:schemeClr val="tx1"/>
                </a:solidFill>
              </a:defRPr>
            </a:lvl1pPr>
          </a:lstStyle>
          <a:p>
            <a:endParaRPr lang="en-GB" dirty="0"/>
          </a:p>
        </p:txBody>
      </p:sp>
      <p:sp>
        <p:nvSpPr>
          <p:cNvPr id="22" name="Rectangle 14"/>
          <p:cNvSpPr>
            <a:spLocks noGrp="1" noChangeArrowheads="1"/>
          </p:cNvSpPr>
          <p:nvPr>
            <p:ph type="dt" sz="half" idx="2"/>
          </p:nvPr>
        </p:nvSpPr>
        <p:spPr bwMode="auto">
          <a:xfrm>
            <a:off x="10227127" y="6395560"/>
            <a:ext cx="944740" cy="180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933">
                <a:solidFill>
                  <a:schemeClr val="tx1"/>
                </a:solidFill>
              </a:defRPr>
            </a:lvl1pPr>
          </a:lstStyle>
          <a:p>
            <a:r>
              <a:rPr lang="en-US"/>
              <a:t>|  00/00/0000  |</a:t>
            </a:r>
            <a:endParaRPr lang="en-GB" dirty="0"/>
          </a:p>
        </p:txBody>
      </p:sp>
      <p:sp>
        <p:nvSpPr>
          <p:cNvPr id="23" name="Espace réservé du numéro de diapositive 16"/>
          <p:cNvSpPr>
            <a:spLocks noGrp="1" noChangeArrowheads="1"/>
          </p:cNvSpPr>
          <p:nvPr>
            <p:ph type="sldNum" sz="quarter" idx="4"/>
          </p:nvPr>
        </p:nvSpPr>
        <p:spPr bwMode="auto">
          <a:xfrm>
            <a:off x="11159691" y="6395560"/>
            <a:ext cx="240000" cy="180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933" b="1">
                <a:solidFill>
                  <a:schemeClr val="tx1"/>
                </a:solidFill>
              </a:defRPr>
            </a:lvl1pPr>
          </a:lstStyle>
          <a:p>
            <a:fld id="{BF6629C6-E8D8-4E6B-8015-798ECD15B16B}" type="slidenum">
              <a:rPr lang="en-GB" smtClean="0"/>
              <a:pPr/>
              <a:t>‹#›</a:t>
            </a:fld>
            <a:endParaRPr lang="en-GB" dirty="0"/>
          </a:p>
        </p:txBody>
      </p:sp>
      <p:cxnSp>
        <p:nvCxnSpPr>
          <p:cNvPr id="24" name="Connecteur droit 14"/>
          <p:cNvCxnSpPr/>
          <p:nvPr/>
        </p:nvCxnSpPr>
        <p:spPr>
          <a:xfrm>
            <a:off x="456771" y="6102440"/>
            <a:ext cx="11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5414" y="6274098"/>
            <a:ext cx="2208245" cy="41926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4550963" y="6412512"/>
            <a:ext cx="2592288" cy="184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2287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16" name="Content Placeholder 3"/>
          <p:cNvSpPr>
            <a:spLocks noGrp="1"/>
          </p:cNvSpPr>
          <p:nvPr>
            <p:ph sz="half" idx="2"/>
          </p:nvPr>
        </p:nvSpPr>
        <p:spPr>
          <a:xfrm>
            <a:off x="239183" y="2492896"/>
            <a:ext cx="11703179" cy="3744416"/>
          </a:xfrm>
          <a:prstGeom prst="rect">
            <a:avLst/>
          </a:prstGeom>
        </p:spPr>
        <p:txBody>
          <a:bodyPr/>
          <a:lstStyle>
            <a:lvl1pPr marL="0" indent="0">
              <a:buNone/>
              <a:defRPr sz="1400" b="1"/>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spcBef>
                <a:spcPts val="300"/>
              </a:spcBef>
              <a:spcAft>
                <a:spcPts val="0"/>
              </a:spcAft>
              <a:buClr>
                <a:srgbClr val="7030A0"/>
              </a:buClr>
              <a:defRPr sz="1200"/>
            </a:lvl3pPr>
            <a:lvl4pPr marL="623888" indent="-228600">
              <a:spcBef>
                <a:spcPts val="300"/>
              </a:spcBef>
              <a:spcAft>
                <a:spcPts val="0"/>
              </a:spcAft>
              <a:buClr>
                <a:srgbClr val="7030A0"/>
              </a:buClr>
              <a:defRPr sz="1100"/>
            </a:lvl4pPr>
            <a:lvl5pPr marL="809625" indent="-228600">
              <a:spcBef>
                <a:spcPts val="300"/>
              </a:spcBef>
              <a:buClr>
                <a:srgbClr val="7030A0"/>
              </a:buClr>
              <a:defRPr sz="11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10" name="Rectangle 9"/>
          <p:cNvSpPr/>
          <p:nvPr userDrawn="1"/>
        </p:nvSpPr>
        <p:spPr>
          <a:xfrm>
            <a:off x="8905389" y="1196752"/>
            <a:ext cx="3143272" cy="707886"/>
          </a:xfrm>
          <a:prstGeom prst="rect">
            <a:avLst/>
          </a:prstGeom>
        </p:spPr>
        <p:txBody>
          <a:bodyPr wrap="square">
            <a:spAutoFit/>
          </a:bodyPr>
          <a:lstStyle/>
          <a:p>
            <a:pPr algn="r"/>
            <a:endParaRPr lang="fr-FR" sz="1000" dirty="0">
              <a:solidFill>
                <a:schemeClr val="tx1"/>
              </a:solidFill>
            </a:endParaRPr>
          </a:p>
          <a:p>
            <a:pPr algn="r"/>
            <a:r>
              <a:rPr lang="fr-FR" sz="1000" dirty="0">
                <a:solidFill>
                  <a:schemeClr val="tx1"/>
                </a:solidFill>
              </a:rPr>
              <a:t>FOR INFORMATION ONLY</a:t>
            </a:r>
          </a:p>
          <a:p>
            <a:pPr algn="r"/>
            <a:endParaRPr lang="en-US" sz="1000" dirty="0">
              <a:solidFill>
                <a:schemeClr val="tx1"/>
              </a:solidFill>
            </a:endParaRPr>
          </a:p>
          <a:p>
            <a:pPr algn="r"/>
            <a:r>
              <a:rPr lang="en-US" sz="1000" dirty="0">
                <a:solidFill>
                  <a:schemeClr val="tx1"/>
                </a:solidFill>
              </a:rPr>
              <a:t>May, 2016</a:t>
            </a:r>
            <a:endParaRPr lang="fr-FR" sz="1000" dirty="0">
              <a:solidFill>
                <a:schemeClr val="tx1"/>
              </a:solidFill>
            </a:endParaRPr>
          </a:p>
        </p:txBody>
      </p:sp>
      <p:sp>
        <p:nvSpPr>
          <p:cNvPr id="15"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or recipient(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9"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9019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txBox="1">
            <a:spLocks/>
          </p:cNvSpPr>
          <p:nvPr userDrawn="1"/>
        </p:nvSpPr>
        <p:spPr>
          <a:xfrm>
            <a:off x="431371" y="1556795"/>
            <a:ext cx="5952661" cy="576063"/>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fr-FR" sz="1800" b="1" dirty="0">
                <a:solidFill>
                  <a:schemeClr val="tx1"/>
                </a:solidFill>
                <a:latin typeface="+mj-lt"/>
                <a:cs typeface="Times New Roman" panose="02020603050405020304" pitchFamily="18" charset="0"/>
              </a:rPr>
              <a:t>Natixis</a:t>
            </a:r>
          </a:p>
        </p:txBody>
      </p:sp>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b="26594"/>
          <a:stretch/>
        </p:blipFill>
        <p:spPr>
          <a:xfrm>
            <a:off x="481781" y="2348880"/>
            <a:ext cx="11182841" cy="4104456"/>
          </a:xfrm>
          <a:prstGeom prst="rect">
            <a:avLst/>
          </a:prstGeom>
        </p:spPr>
      </p:pic>
      <p:pic>
        <p:nvPicPr>
          <p:cNvPr id="12"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9168342" y="332657"/>
            <a:ext cx="2748761" cy="576064"/>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userDrawn="1"/>
        </p:nvSpPr>
        <p:spPr>
          <a:xfrm>
            <a:off x="431371" y="836715"/>
            <a:ext cx="3072341" cy="576063"/>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fr-FR" sz="1000" dirty="0">
                <a:latin typeface="+mj-lt"/>
                <a:cs typeface="Times New Roman" panose="02020603050405020304" pitchFamily="18" charset="0"/>
              </a:rPr>
              <a:t>FINANCIAL</a:t>
            </a:r>
            <a:r>
              <a:rPr lang="fr-FR" sz="1000" baseline="0" dirty="0">
                <a:latin typeface="+mj-lt"/>
                <a:cs typeface="Times New Roman" panose="02020603050405020304" pitchFamily="18" charset="0"/>
              </a:rPr>
              <a:t> ENGINEERING</a:t>
            </a:r>
            <a:endParaRPr lang="fr-FR" sz="1000" dirty="0">
              <a:latin typeface="+mj-lt"/>
              <a:cs typeface="Times New Roman" panose="02020603050405020304" pitchFamily="18" charset="0"/>
            </a:endParaRPr>
          </a:p>
        </p:txBody>
      </p:sp>
      <p:sp>
        <p:nvSpPr>
          <p:cNvPr id="13" name="Title 1"/>
          <p:cNvSpPr txBox="1">
            <a:spLocks/>
          </p:cNvSpPr>
          <p:nvPr userDrawn="1"/>
        </p:nvSpPr>
        <p:spPr>
          <a:xfrm>
            <a:off x="7789142" y="997872"/>
            <a:ext cx="3936437" cy="86409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dirty="0">
                <a:latin typeface="+mn-lt"/>
                <a:cs typeface="Times New Roman" panose="02020603050405020304" pitchFamily="18" charset="0"/>
              </a:rPr>
              <a:t>FOR Institutional</a:t>
            </a:r>
            <a:r>
              <a:rPr lang="en-US" sz="900" baseline="0" dirty="0">
                <a:latin typeface="+mn-lt"/>
                <a:cs typeface="Times New Roman" panose="02020603050405020304" pitchFamily="18" charset="0"/>
              </a:rPr>
              <a:t> Investors Only</a:t>
            </a:r>
            <a:endParaRPr lang="en-US" sz="900" dirty="0">
              <a:latin typeface="+mn-lt"/>
              <a:cs typeface="Times New Roman" panose="02020603050405020304" pitchFamily="18" charset="0"/>
            </a:endParaRPr>
          </a:p>
          <a:p>
            <a:pPr algn="r"/>
            <a:r>
              <a:rPr lang="en-US" sz="900" dirty="0">
                <a:latin typeface="+mn-lt"/>
                <a:cs typeface="Times New Roman" panose="02020603050405020304" pitchFamily="18" charset="0"/>
              </a:rPr>
              <a:t>Confidential and not for onward distribution.</a:t>
            </a:r>
          </a:p>
          <a:p>
            <a:pPr algn="r"/>
            <a:r>
              <a:rPr lang="en-GB" sz="900" baseline="0" dirty="0">
                <a:latin typeface="+mn-lt"/>
                <a:cs typeface="Times New Roman" panose="02020603050405020304" pitchFamily="18" charset="0"/>
              </a:rPr>
              <a:t>May 2016</a:t>
            </a:r>
            <a:endParaRPr lang="fr-FR" sz="900" dirty="0">
              <a:latin typeface="+mn-lt"/>
              <a:cs typeface="Times New Roman" panose="02020603050405020304" pitchFamily="18" charset="0"/>
            </a:endParaRPr>
          </a:p>
        </p:txBody>
      </p:sp>
    </p:spTree>
    <p:extLst>
      <p:ext uri="{BB962C8B-B14F-4D97-AF65-F5344CB8AC3E}">
        <p14:creationId xmlns:p14="http://schemas.microsoft.com/office/powerpoint/2010/main" val="3339805099"/>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6" name="Slide Number Placeholder 5"/>
          <p:cNvSpPr>
            <a:spLocks noGrp="1"/>
          </p:cNvSpPr>
          <p:nvPr>
            <p:ph type="sldNum" sz="quarter" idx="12"/>
          </p:nvPr>
        </p:nvSpPr>
        <p:spPr>
          <a:xfrm>
            <a:off x="9107849" y="6453338"/>
            <a:ext cx="2834512" cy="365125"/>
          </a:xfrm>
          <a:prstGeom prst="rect">
            <a:avLst/>
          </a:prstGeom>
        </p:spPr>
        <p:txBody>
          <a:bodyPr anchor="ctr"/>
          <a:lstStyle>
            <a:lvl1pPr algn="r">
              <a:defRPr sz="1000"/>
            </a:lvl1pPr>
          </a:lstStyle>
          <a:p>
            <a:fld id="{F17CF34B-14F5-48FF-8D5E-809DE1167B0F}" type="slidenum">
              <a:rPr lang="fr-FR" smtClean="0"/>
              <a:pPr/>
              <a:t>‹#›</a:t>
            </a:fld>
            <a:endParaRPr lang="fr-FR" dirty="0"/>
          </a:p>
        </p:txBody>
      </p:sp>
      <p:sp>
        <p:nvSpPr>
          <p:cNvPr id="16" name="Content Placeholder 3"/>
          <p:cNvSpPr>
            <a:spLocks noGrp="1"/>
          </p:cNvSpPr>
          <p:nvPr>
            <p:ph sz="half" idx="2"/>
          </p:nvPr>
        </p:nvSpPr>
        <p:spPr>
          <a:xfrm>
            <a:off x="239183" y="2492896"/>
            <a:ext cx="11703179" cy="3744416"/>
          </a:xfrm>
          <a:prstGeom prst="rect">
            <a:avLst/>
          </a:prstGeom>
        </p:spPr>
        <p:txBody>
          <a:bodyPr/>
          <a:lstStyle>
            <a:lvl1pPr marL="0" indent="0">
              <a:buNone/>
              <a:defRPr sz="1400" b="1"/>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spcBef>
                <a:spcPts val="300"/>
              </a:spcBef>
              <a:spcAft>
                <a:spcPts val="0"/>
              </a:spcAft>
              <a:buClr>
                <a:srgbClr val="7030A0"/>
              </a:buClr>
              <a:defRPr sz="1200"/>
            </a:lvl3pPr>
            <a:lvl4pPr marL="623888" indent="-228600">
              <a:spcBef>
                <a:spcPts val="300"/>
              </a:spcBef>
              <a:spcAft>
                <a:spcPts val="0"/>
              </a:spcAft>
              <a:buClr>
                <a:srgbClr val="7030A0"/>
              </a:buClr>
              <a:defRPr sz="1100"/>
            </a:lvl4pPr>
            <a:lvl5pPr marL="809625" indent="-228600">
              <a:spcBef>
                <a:spcPts val="300"/>
              </a:spcBef>
              <a:buClr>
                <a:srgbClr val="7030A0"/>
              </a:buClr>
              <a:defRPr sz="11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17" name="Text Placeholder 2"/>
          <p:cNvSpPr>
            <a:spLocks noGrp="1"/>
          </p:cNvSpPr>
          <p:nvPr>
            <p:ph type="body" idx="1"/>
          </p:nvPr>
        </p:nvSpPr>
        <p:spPr>
          <a:xfrm>
            <a:off x="231755" y="1989138"/>
            <a:ext cx="11710607" cy="431750"/>
          </a:xfrm>
          <a:prstGeom prst="rect">
            <a:avLst/>
          </a:prstGeom>
        </p:spPr>
        <p:txBody>
          <a:bodyPr anchor="ctr"/>
          <a:lstStyle>
            <a:lvl1pPr marL="0" indent="0">
              <a:buNone/>
              <a:defRPr lang="en-US" sz="1800" b="1" kern="1200" dirty="0" smtClean="0">
                <a:solidFill>
                  <a:schemeClr val="tx1"/>
                </a:solidFill>
                <a:latin typeface="+mj-lt"/>
                <a:ea typeface="+mj-ea"/>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8" name="Title 1"/>
          <p:cNvSpPr>
            <a:spLocks noGrp="1"/>
          </p:cNvSpPr>
          <p:nvPr>
            <p:ph type="title"/>
          </p:nvPr>
        </p:nvSpPr>
        <p:spPr>
          <a:xfrm>
            <a:off x="222259" y="1263197"/>
            <a:ext cx="11720103" cy="580926"/>
          </a:xfrm>
          <a:prstGeom prst="rect">
            <a:avLst/>
          </a:prstGeom>
        </p:spPr>
        <p:txBody>
          <a:bodyPr anchor="ctr"/>
          <a:lstStyle>
            <a:lvl1pPr algn="l">
              <a:defRPr lang="en-US" sz="1800" b="1" kern="1200" dirty="0" smtClean="0">
                <a:solidFill>
                  <a:schemeClr val="tx1"/>
                </a:solidFill>
                <a:latin typeface="+mj-lt"/>
                <a:ea typeface="+mj-ea"/>
                <a:cs typeface="Times New Roman" panose="02020603050405020304" pitchFamily="18" charset="0"/>
              </a:defRPr>
            </a:lvl1pPr>
          </a:lstStyle>
          <a:p>
            <a:r>
              <a:rPr lang="en-US" dirty="0"/>
              <a:t>Click to edit Master title style</a:t>
            </a:r>
            <a:endParaRPr lang="fr-FR" dirty="0"/>
          </a:p>
        </p:txBody>
      </p:sp>
      <p:cxnSp>
        <p:nvCxnSpPr>
          <p:cNvPr id="19" name="Straight Connector 18"/>
          <p:cNvCxnSpPr/>
          <p:nvPr userDrawn="1"/>
        </p:nvCxnSpPr>
        <p:spPr>
          <a:xfrm>
            <a:off x="239185" y="2420888"/>
            <a:ext cx="117136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8016380" y="1253470"/>
            <a:ext cx="3936437" cy="58746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kern="1200" dirty="0">
                <a:solidFill>
                  <a:schemeClr val="tx1"/>
                </a:solidFill>
                <a:latin typeface="+mj-lt"/>
                <a:ea typeface="+mj-ea"/>
                <a:cs typeface="Times New Roman" panose="02020603050405020304" pitchFamily="18" charset="0"/>
              </a:rPr>
              <a:t>FOR PROFESSIONAL</a:t>
            </a:r>
            <a:r>
              <a:rPr lang="en-US" sz="900" kern="1200" baseline="0" dirty="0">
                <a:solidFill>
                  <a:schemeClr val="tx1"/>
                </a:solidFill>
                <a:latin typeface="+mj-lt"/>
                <a:ea typeface="+mj-ea"/>
                <a:cs typeface="Times New Roman" panose="02020603050405020304" pitchFamily="18" charset="0"/>
              </a:rPr>
              <a:t> CLIENTS / DISTRIBUTORS ONLY</a:t>
            </a:r>
            <a:endParaRPr lang="en-US" sz="900" kern="1200" dirty="0">
              <a:solidFill>
                <a:schemeClr val="tx1"/>
              </a:solidFill>
              <a:latin typeface="+mj-lt"/>
              <a:ea typeface="+mj-ea"/>
              <a:cs typeface="Times New Roman" panose="02020603050405020304" pitchFamily="18" charset="0"/>
            </a:endParaRPr>
          </a:p>
          <a:p>
            <a:pPr algn="r"/>
            <a:r>
              <a:rPr lang="en-US" sz="900" kern="1200" dirty="0">
                <a:solidFill>
                  <a:schemeClr val="tx1"/>
                </a:solidFill>
                <a:latin typeface="+mj-lt"/>
                <a:ea typeface="+mj-ea"/>
                <a:cs typeface="Times New Roman" panose="02020603050405020304" pitchFamily="18" charset="0"/>
              </a:rPr>
              <a:t>Confidential and not for onward distribution</a:t>
            </a:r>
            <a:endParaRPr lang="fr-FR" sz="900" dirty="0">
              <a:latin typeface="+mj-lt"/>
              <a:cs typeface="Times New Roman" panose="02020603050405020304" pitchFamily="18" charset="0"/>
            </a:endParaRPr>
          </a:p>
        </p:txBody>
      </p:sp>
      <p:sp>
        <p:nvSpPr>
          <p:cNvPr id="22" name="TextBox 19"/>
          <p:cNvSpPr txBox="1"/>
          <p:nvPr userDrawn="1"/>
        </p:nvSpPr>
        <p:spPr>
          <a:xfrm>
            <a:off x="9734116" y="1840930"/>
            <a:ext cx="2208245"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cs typeface="Times New Roman" panose="02020603050405020304" pitchFamily="18" charset="0"/>
              </a:rPr>
              <a:t>May 2016</a:t>
            </a: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p:txBody>
      </p:sp>
      <p:sp>
        <p:nvSpPr>
          <p:cNvPr id="23"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12"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20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16" name="Content Placeholder 3"/>
          <p:cNvSpPr>
            <a:spLocks noGrp="1"/>
          </p:cNvSpPr>
          <p:nvPr>
            <p:ph sz="half" idx="2"/>
          </p:nvPr>
        </p:nvSpPr>
        <p:spPr>
          <a:xfrm>
            <a:off x="239183" y="2492896"/>
            <a:ext cx="11703179" cy="3744416"/>
          </a:xfrm>
          <a:prstGeom prst="rect">
            <a:avLst/>
          </a:prstGeom>
        </p:spPr>
        <p:txBody>
          <a:bodyPr/>
          <a:lstStyle>
            <a:lvl1pPr marL="0" indent="0">
              <a:buNone/>
              <a:defRPr sz="1400" b="1"/>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spcBef>
                <a:spcPts val="300"/>
              </a:spcBef>
              <a:spcAft>
                <a:spcPts val="0"/>
              </a:spcAft>
              <a:buClr>
                <a:srgbClr val="7030A0"/>
              </a:buClr>
              <a:defRPr sz="1200"/>
            </a:lvl3pPr>
            <a:lvl4pPr marL="623888" indent="-228600">
              <a:spcBef>
                <a:spcPts val="300"/>
              </a:spcBef>
              <a:spcAft>
                <a:spcPts val="0"/>
              </a:spcAft>
              <a:buClr>
                <a:srgbClr val="7030A0"/>
              </a:buClr>
              <a:defRPr sz="1100"/>
            </a:lvl4pPr>
            <a:lvl5pPr marL="809625" indent="-228600">
              <a:spcBef>
                <a:spcPts val="300"/>
              </a:spcBef>
              <a:buClr>
                <a:srgbClr val="7030A0"/>
              </a:buClr>
              <a:defRPr sz="11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17" name="Text Placeholder 2"/>
          <p:cNvSpPr>
            <a:spLocks noGrp="1"/>
          </p:cNvSpPr>
          <p:nvPr>
            <p:ph type="body" idx="1"/>
          </p:nvPr>
        </p:nvSpPr>
        <p:spPr>
          <a:xfrm>
            <a:off x="231755" y="1989138"/>
            <a:ext cx="11710607" cy="431750"/>
          </a:xfrm>
          <a:prstGeom prst="rect">
            <a:avLst/>
          </a:prstGeom>
        </p:spPr>
        <p:txBody>
          <a:bodyPr anchor="ctr"/>
          <a:lstStyle>
            <a:lvl1pPr marL="0" indent="0">
              <a:buNone/>
              <a:defRPr lang="en-US" sz="1800" b="1" kern="1200" dirty="0" smtClean="0">
                <a:solidFill>
                  <a:schemeClr val="tx1"/>
                </a:solidFill>
                <a:latin typeface="+mj-lt"/>
                <a:ea typeface="+mj-ea"/>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8" name="Title 1"/>
          <p:cNvSpPr>
            <a:spLocks noGrp="1"/>
          </p:cNvSpPr>
          <p:nvPr>
            <p:ph type="title"/>
          </p:nvPr>
        </p:nvSpPr>
        <p:spPr>
          <a:xfrm>
            <a:off x="222259" y="1263197"/>
            <a:ext cx="11720103" cy="580926"/>
          </a:xfrm>
          <a:prstGeom prst="rect">
            <a:avLst/>
          </a:prstGeom>
        </p:spPr>
        <p:txBody>
          <a:bodyPr anchor="ctr"/>
          <a:lstStyle>
            <a:lvl1pPr algn="l">
              <a:defRPr lang="en-US" sz="1800" b="1" kern="1200" dirty="0" smtClean="0">
                <a:solidFill>
                  <a:schemeClr val="tx1"/>
                </a:solidFill>
                <a:latin typeface="+mj-lt"/>
                <a:ea typeface="+mj-ea"/>
                <a:cs typeface="Times New Roman" panose="02020603050405020304" pitchFamily="18" charset="0"/>
              </a:defRPr>
            </a:lvl1pPr>
          </a:lstStyle>
          <a:p>
            <a:r>
              <a:rPr lang="en-US" dirty="0"/>
              <a:t>Click to edit Master title style</a:t>
            </a:r>
            <a:endParaRPr lang="fr-FR" dirty="0"/>
          </a:p>
        </p:txBody>
      </p:sp>
      <p:sp>
        <p:nvSpPr>
          <p:cNvPr id="21" name="Title 1"/>
          <p:cNvSpPr txBox="1">
            <a:spLocks/>
          </p:cNvSpPr>
          <p:nvPr userDrawn="1"/>
        </p:nvSpPr>
        <p:spPr>
          <a:xfrm>
            <a:off x="8016380" y="1253470"/>
            <a:ext cx="3936437" cy="58746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kern="1200" dirty="0">
                <a:solidFill>
                  <a:schemeClr val="tx1"/>
                </a:solidFill>
                <a:latin typeface="+mj-lt"/>
                <a:ea typeface="+mj-ea"/>
                <a:cs typeface="Times New Roman" panose="02020603050405020304" pitchFamily="18" charset="0"/>
              </a:rPr>
              <a:t>FOR PROFESSIONAL</a:t>
            </a:r>
            <a:r>
              <a:rPr lang="en-US" sz="900" kern="1200" baseline="0" dirty="0">
                <a:solidFill>
                  <a:schemeClr val="tx1"/>
                </a:solidFill>
                <a:latin typeface="+mj-lt"/>
                <a:ea typeface="+mj-ea"/>
                <a:cs typeface="Times New Roman" panose="02020603050405020304" pitchFamily="18" charset="0"/>
              </a:rPr>
              <a:t> CLIENTS / DISTRIBUTORS ONLY</a:t>
            </a:r>
            <a:endParaRPr lang="en-US" sz="900" kern="1200" dirty="0">
              <a:solidFill>
                <a:schemeClr val="tx1"/>
              </a:solidFill>
              <a:latin typeface="+mj-lt"/>
              <a:ea typeface="+mj-ea"/>
              <a:cs typeface="Times New Roman" panose="02020603050405020304" pitchFamily="18" charset="0"/>
            </a:endParaRPr>
          </a:p>
          <a:p>
            <a:pPr algn="r"/>
            <a:r>
              <a:rPr lang="en-US" sz="900" kern="1200" dirty="0">
                <a:solidFill>
                  <a:schemeClr val="tx1"/>
                </a:solidFill>
                <a:latin typeface="+mj-lt"/>
                <a:ea typeface="+mj-ea"/>
                <a:cs typeface="Times New Roman" panose="02020603050405020304" pitchFamily="18" charset="0"/>
              </a:rPr>
              <a:t>Confidential and not for onward distribution</a:t>
            </a:r>
            <a:endParaRPr lang="fr-FR" sz="900" dirty="0">
              <a:latin typeface="+mj-lt"/>
              <a:cs typeface="Times New Roman" panose="02020603050405020304" pitchFamily="18" charset="0"/>
            </a:endParaRPr>
          </a:p>
        </p:txBody>
      </p:sp>
      <p:sp>
        <p:nvSpPr>
          <p:cNvPr id="22" name="TextBox 19"/>
          <p:cNvSpPr txBox="1"/>
          <p:nvPr userDrawn="1"/>
        </p:nvSpPr>
        <p:spPr>
          <a:xfrm>
            <a:off x="9734116" y="1840930"/>
            <a:ext cx="2208245"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cs typeface="Times New Roman" panose="02020603050405020304" pitchFamily="18" charset="0"/>
              </a:rPr>
              <a:t>May 2016</a:t>
            </a: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p:txBody>
      </p:sp>
      <p:sp>
        <p:nvSpPr>
          <p:cNvPr id="23"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11"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819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9" name="Title 1"/>
          <p:cNvSpPr>
            <a:spLocks noGrp="1"/>
          </p:cNvSpPr>
          <p:nvPr>
            <p:ph type="title"/>
          </p:nvPr>
        </p:nvSpPr>
        <p:spPr>
          <a:xfrm>
            <a:off x="222260" y="3138537"/>
            <a:ext cx="11730557" cy="580926"/>
          </a:xfrm>
          <a:prstGeom prst="rect">
            <a:avLst/>
          </a:prstGeom>
        </p:spPr>
        <p:txBody>
          <a:bodyPr anchor="ctr"/>
          <a:lstStyle>
            <a:lvl1pPr algn="ctr">
              <a:defRPr lang="en-US" sz="2800" b="1" kern="1200" dirty="0" smtClean="0">
                <a:solidFill>
                  <a:schemeClr val="tx1"/>
                </a:solidFill>
                <a:latin typeface="+mj-lt"/>
                <a:ea typeface="+mj-ea"/>
                <a:cs typeface="Times New Roman" panose="02020603050405020304" pitchFamily="18" charset="0"/>
              </a:defRPr>
            </a:lvl1pPr>
          </a:lstStyle>
          <a:p>
            <a:r>
              <a:rPr lang="en-US" dirty="0"/>
              <a:t>Click to edit Master title style</a:t>
            </a:r>
            <a:endParaRPr lang="fr-FR" dirty="0"/>
          </a:p>
        </p:txBody>
      </p:sp>
      <p:sp>
        <p:nvSpPr>
          <p:cNvPr id="20" name="TextBox 16"/>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or recipient(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7"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087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10" name="Text Placeholder 2"/>
          <p:cNvSpPr>
            <a:spLocks noGrp="1"/>
          </p:cNvSpPr>
          <p:nvPr>
            <p:ph type="body" idx="1"/>
          </p:nvPr>
        </p:nvSpPr>
        <p:spPr>
          <a:xfrm>
            <a:off x="231756" y="1989138"/>
            <a:ext cx="11721061" cy="431750"/>
          </a:xfrm>
          <a:prstGeom prst="rect">
            <a:avLst/>
          </a:prstGeom>
        </p:spPr>
        <p:txBody>
          <a:bodyPr anchor="ctr"/>
          <a:lstStyle>
            <a:lvl1pPr marL="0" indent="0">
              <a:buNone/>
              <a:defRPr lang="en-US" sz="1800" b="1" kern="1200" dirty="0" smtClean="0">
                <a:solidFill>
                  <a:schemeClr val="tx1"/>
                </a:solidFill>
                <a:latin typeface="+mj-lt"/>
                <a:ea typeface="+mj-ea"/>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6" name="Title 1"/>
          <p:cNvSpPr>
            <a:spLocks noGrp="1"/>
          </p:cNvSpPr>
          <p:nvPr>
            <p:ph type="title"/>
          </p:nvPr>
        </p:nvSpPr>
        <p:spPr>
          <a:xfrm>
            <a:off x="222259" y="1268413"/>
            <a:ext cx="11730559" cy="569348"/>
          </a:xfrm>
          <a:prstGeom prst="rect">
            <a:avLst/>
          </a:prstGeom>
        </p:spPr>
        <p:txBody>
          <a:bodyPr anchor="ctr"/>
          <a:lstStyle>
            <a:lvl1pPr algn="l">
              <a:defRPr lang="en-US" sz="1800" b="1" kern="1200" dirty="0" smtClean="0">
                <a:solidFill>
                  <a:schemeClr val="tx1"/>
                </a:solidFill>
                <a:latin typeface="+mj-lt"/>
                <a:ea typeface="+mj-ea"/>
                <a:cs typeface="Times New Roman" panose="02020603050405020304" pitchFamily="18" charset="0"/>
              </a:defRPr>
            </a:lvl1pPr>
          </a:lstStyle>
          <a:p>
            <a:r>
              <a:rPr lang="en-US" dirty="0"/>
              <a:t>Click to edit Master title style</a:t>
            </a:r>
            <a:endParaRPr lang="fr-FR" dirty="0"/>
          </a:p>
        </p:txBody>
      </p:sp>
      <p:cxnSp>
        <p:nvCxnSpPr>
          <p:cNvPr id="17" name="Straight Connector 16"/>
          <p:cNvCxnSpPr/>
          <p:nvPr userDrawn="1"/>
        </p:nvCxnSpPr>
        <p:spPr>
          <a:xfrm>
            <a:off x="239185" y="2420888"/>
            <a:ext cx="117136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3"/>
          <p:cNvSpPr>
            <a:spLocks noGrp="1"/>
          </p:cNvSpPr>
          <p:nvPr>
            <p:ph sz="half" idx="2"/>
          </p:nvPr>
        </p:nvSpPr>
        <p:spPr>
          <a:xfrm>
            <a:off x="239185" y="2492896"/>
            <a:ext cx="5856816" cy="3744416"/>
          </a:xfrm>
          <a:prstGeom prst="rect">
            <a:avLst/>
          </a:prstGeom>
        </p:spPr>
        <p:txBody>
          <a:bodyPr/>
          <a:lstStyle>
            <a:lvl1pPr marL="0" indent="0">
              <a:buNone/>
              <a:defRPr sz="1400" b="1"/>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spcBef>
                <a:spcPts val="300"/>
              </a:spcBef>
              <a:spcAft>
                <a:spcPts val="0"/>
              </a:spcAft>
              <a:buClr>
                <a:srgbClr val="7030A0"/>
              </a:buClr>
              <a:defRPr sz="1200"/>
            </a:lvl3pPr>
            <a:lvl4pPr marL="623888" indent="-228600">
              <a:spcBef>
                <a:spcPts val="300"/>
              </a:spcBef>
              <a:spcAft>
                <a:spcPts val="0"/>
              </a:spcAft>
              <a:buClr>
                <a:srgbClr val="7030A0"/>
              </a:buClr>
              <a:defRPr sz="1100"/>
            </a:lvl4pPr>
            <a:lvl5pPr marL="809625" indent="-228600">
              <a:spcBef>
                <a:spcPts val="300"/>
              </a:spcBef>
              <a:buClr>
                <a:srgbClr val="7030A0"/>
              </a:buClr>
              <a:defRPr sz="11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19" name="Content Placeholder 3"/>
          <p:cNvSpPr>
            <a:spLocks noGrp="1"/>
          </p:cNvSpPr>
          <p:nvPr>
            <p:ph sz="half" idx="13"/>
          </p:nvPr>
        </p:nvSpPr>
        <p:spPr>
          <a:xfrm>
            <a:off x="6102679" y="2492896"/>
            <a:ext cx="5850139" cy="3744416"/>
          </a:xfrm>
          <a:prstGeom prst="rect">
            <a:avLst/>
          </a:prstGeom>
        </p:spPr>
        <p:txBody>
          <a:bodyPr/>
          <a:lstStyle>
            <a:lvl1pPr marL="0" indent="0">
              <a:buNone/>
              <a:defRPr sz="1400" b="1"/>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spcBef>
                <a:spcPts val="300"/>
              </a:spcBef>
              <a:spcAft>
                <a:spcPts val="0"/>
              </a:spcAft>
              <a:buClr>
                <a:srgbClr val="7030A0"/>
              </a:buClr>
              <a:defRPr sz="1200"/>
            </a:lvl3pPr>
            <a:lvl4pPr marL="623888" indent="-228600">
              <a:spcBef>
                <a:spcPts val="300"/>
              </a:spcBef>
              <a:spcAft>
                <a:spcPts val="0"/>
              </a:spcAft>
              <a:buClr>
                <a:srgbClr val="7030A0"/>
              </a:buClr>
              <a:defRPr sz="1100"/>
            </a:lvl4pPr>
            <a:lvl5pPr marL="809625" indent="-228600">
              <a:spcBef>
                <a:spcPts val="300"/>
              </a:spcBef>
              <a:buClr>
                <a:srgbClr val="7030A0"/>
              </a:buClr>
              <a:defRPr sz="11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24" name="Title 1"/>
          <p:cNvSpPr txBox="1">
            <a:spLocks/>
          </p:cNvSpPr>
          <p:nvPr userDrawn="1"/>
        </p:nvSpPr>
        <p:spPr>
          <a:xfrm>
            <a:off x="8016380" y="1253470"/>
            <a:ext cx="3936437" cy="58746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kern="1200" dirty="0">
                <a:solidFill>
                  <a:schemeClr val="tx1"/>
                </a:solidFill>
                <a:latin typeface="+mj-lt"/>
                <a:ea typeface="+mj-ea"/>
                <a:cs typeface="Times New Roman" panose="02020603050405020304" pitchFamily="18" charset="0"/>
              </a:rPr>
              <a:t>FOR PROFESSIONAL</a:t>
            </a:r>
            <a:r>
              <a:rPr lang="en-US" sz="900" kern="1200" baseline="0" dirty="0">
                <a:solidFill>
                  <a:schemeClr val="tx1"/>
                </a:solidFill>
                <a:latin typeface="+mj-lt"/>
                <a:ea typeface="+mj-ea"/>
                <a:cs typeface="Times New Roman" panose="02020603050405020304" pitchFamily="18" charset="0"/>
              </a:rPr>
              <a:t> CLIENTS / DISTRIBUTORS ONLY</a:t>
            </a:r>
            <a:endParaRPr lang="en-US" sz="900" kern="1200" dirty="0">
              <a:solidFill>
                <a:schemeClr val="tx1"/>
              </a:solidFill>
              <a:latin typeface="+mj-lt"/>
              <a:ea typeface="+mj-ea"/>
              <a:cs typeface="Times New Roman" panose="02020603050405020304" pitchFamily="18" charset="0"/>
            </a:endParaRPr>
          </a:p>
          <a:p>
            <a:pPr algn="r"/>
            <a:r>
              <a:rPr lang="en-US" sz="900" kern="1200" dirty="0">
                <a:solidFill>
                  <a:schemeClr val="tx1"/>
                </a:solidFill>
                <a:latin typeface="+mj-lt"/>
                <a:ea typeface="+mj-ea"/>
                <a:cs typeface="Times New Roman" panose="02020603050405020304" pitchFamily="18" charset="0"/>
              </a:rPr>
              <a:t>Confidential and not for onward distribution</a:t>
            </a:r>
            <a:endParaRPr lang="fr-FR" sz="900" dirty="0">
              <a:latin typeface="+mj-lt"/>
              <a:cs typeface="Times New Roman" panose="02020603050405020304" pitchFamily="18" charset="0"/>
            </a:endParaRPr>
          </a:p>
        </p:txBody>
      </p:sp>
      <p:sp>
        <p:nvSpPr>
          <p:cNvPr id="25" name="TextBox 19"/>
          <p:cNvSpPr txBox="1"/>
          <p:nvPr userDrawn="1"/>
        </p:nvSpPr>
        <p:spPr>
          <a:xfrm>
            <a:off x="9734116" y="1840930"/>
            <a:ext cx="2208245"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cs typeface="Times New Roman" panose="02020603050405020304" pitchFamily="18" charset="0"/>
              </a:rPr>
              <a:t>May 2016</a:t>
            </a: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p:txBody>
      </p:sp>
      <p:sp>
        <p:nvSpPr>
          <p:cNvPr id="26"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or recipient(s)</a:t>
            </a:r>
            <a:r>
              <a:rPr lang="en-US" sz="700" baseline="0" dirty="0"/>
              <a:t> </a:t>
            </a:r>
            <a:r>
              <a:rPr lang="en-US" sz="700" dirty="0"/>
              <a:t>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13"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0855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14" name="Title 1"/>
          <p:cNvSpPr txBox="1">
            <a:spLocks/>
          </p:cNvSpPr>
          <p:nvPr userDrawn="1"/>
        </p:nvSpPr>
        <p:spPr>
          <a:xfrm>
            <a:off x="8016380" y="1253470"/>
            <a:ext cx="3936437" cy="58746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kern="1200" dirty="0">
                <a:solidFill>
                  <a:schemeClr val="tx1"/>
                </a:solidFill>
                <a:latin typeface="+mj-lt"/>
                <a:ea typeface="+mj-ea"/>
                <a:cs typeface="Times New Roman" panose="02020603050405020304" pitchFamily="18" charset="0"/>
              </a:rPr>
              <a:t>FOR PROFESSIONAL</a:t>
            </a:r>
            <a:r>
              <a:rPr lang="en-US" sz="900" kern="1200" baseline="0" dirty="0">
                <a:solidFill>
                  <a:schemeClr val="tx1"/>
                </a:solidFill>
                <a:latin typeface="+mj-lt"/>
                <a:ea typeface="+mj-ea"/>
                <a:cs typeface="Times New Roman" panose="02020603050405020304" pitchFamily="18" charset="0"/>
              </a:rPr>
              <a:t> CLIENTS / DISTRIBUTORS ONLY</a:t>
            </a:r>
            <a:endParaRPr lang="en-US" sz="900" kern="1200" dirty="0">
              <a:solidFill>
                <a:schemeClr val="tx1"/>
              </a:solidFill>
              <a:latin typeface="+mj-lt"/>
              <a:ea typeface="+mj-ea"/>
              <a:cs typeface="Times New Roman" panose="02020603050405020304" pitchFamily="18" charset="0"/>
            </a:endParaRPr>
          </a:p>
          <a:p>
            <a:pPr algn="r"/>
            <a:r>
              <a:rPr lang="en-US" sz="900" kern="1200" dirty="0">
                <a:solidFill>
                  <a:schemeClr val="tx1"/>
                </a:solidFill>
                <a:latin typeface="+mj-lt"/>
                <a:ea typeface="+mj-ea"/>
                <a:cs typeface="Times New Roman" panose="02020603050405020304" pitchFamily="18" charset="0"/>
              </a:rPr>
              <a:t>Confidential and not for onward distribution</a:t>
            </a:r>
            <a:endParaRPr lang="fr-FR" sz="900" dirty="0">
              <a:latin typeface="+mj-lt"/>
              <a:cs typeface="Times New Roman" panose="02020603050405020304" pitchFamily="18" charset="0"/>
            </a:endParaRPr>
          </a:p>
        </p:txBody>
      </p:sp>
      <p:sp>
        <p:nvSpPr>
          <p:cNvPr id="15" name="TextBox 19"/>
          <p:cNvSpPr txBox="1"/>
          <p:nvPr userDrawn="1"/>
        </p:nvSpPr>
        <p:spPr>
          <a:xfrm>
            <a:off x="9734116" y="1840930"/>
            <a:ext cx="2208245"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cs typeface="Times New Roman" panose="02020603050405020304" pitchFamily="18" charset="0"/>
              </a:rPr>
              <a:t>May 2016</a:t>
            </a: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p:txBody>
      </p:sp>
      <p:sp>
        <p:nvSpPr>
          <p:cNvPr id="16"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or recipient(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10"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03395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11" name="Title 1"/>
          <p:cNvSpPr txBox="1">
            <a:spLocks/>
          </p:cNvSpPr>
          <p:nvPr userDrawn="1"/>
        </p:nvSpPr>
        <p:spPr>
          <a:xfrm>
            <a:off x="8016380" y="1253470"/>
            <a:ext cx="3936437" cy="58746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kern="1200" dirty="0">
                <a:solidFill>
                  <a:schemeClr val="tx1"/>
                </a:solidFill>
                <a:latin typeface="+mj-lt"/>
                <a:ea typeface="+mj-ea"/>
                <a:cs typeface="Times New Roman" panose="02020603050405020304" pitchFamily="18" charset="0"/>
              </a:rPr>
              <a:t>FOR PROFESSIONAL</a:t>
            </a:r>
            <a:r>
              <a:rPr lang="en-US" sz="900" kern="1200" baseline="0" dirty="0">
                <a:solidFill>
                  <a:schemeClr val="tx1"/>
                </a:solidFill>
                <a:latin typeface="+mj-lt"/>
                <a:ea typeface="+mj-ea"/>
                <a:cs typeface="Times New Roman" panose="02020603050405020304" pitchFamily="18" charset="0"/>
              </a:rPr>
              <a:t> CLIENTS / DISTRIBUTORS ONLY</a:t>
            </a:r>
            <a:endParaRPr lang="en-US" sz="900" kern="1200" dirty="0">
              <a:solidFill>
                <a:schemeClr val="tx1"/>
              </a:solidFill>
              <a:latin typeface="+mj-lt"/>
              <a:ea typeface="+mj-ea"/>
              <a:cs typeface="Times New Roman" panose="02020603050405020304" pitchFamily="18" charset="0"/>
            </a:endParaRPr>
          </a:p>
          <a:p>
            <a:pPr algn="r"/>
            <a:r>
              <a:rPr lang="en-US" sz="900" kern="1200" dirty="0">
                <a:solidFill>
                  <a:schemeClr val="tx1"/>
                </a:solidFill>
                <a:latin typeface="+mj-lt"/>
                <a:ea typeface="+mj-ea"/>
                <a:cs typeface="Times New Roman" panose="02020603050405020304" pitchFamily="18" charset="0"/>
              </a:rPr>
              <a:t>Confidential and not for onward distribution</a:t>
            </a:r>
            <a:endParaRPr lang="fr-FR" sz="900" dirty="0">
              <a:latin typeface="+mj-lt"/>
              <a:cs typeface="Times New Roman" panose="02020603050405020304" pitchFamily="18" charset="0"/>
            </a:endParaRPr>
          </a:p>
        </p:txBody>
      </p:sp>
      <p:sp>
        <p:nvSpPr>
          <p:cNvPr id="12" name="TextBox 19"/>
          <p:cNvSpPr txBox="1"/>
          <p:nvPr userDrawn="1"/>
        </p:nvSpPr>
        <p:spPr>
          <a:xfrm>
            <a:off x="9734116" y="1840930"/>
            <a:ext cx="2208245"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cs typeface="Times New Roman" panose="02020603050405020304" pitchFamily="18" charset="0"/>
              </a:rPr>
              <a:t>May 2016</a:t>
            </a: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p:txBody>
      </p:sp>
      <p:sp>
        <p:nvSpPr>
          <p:cNvPr id="14"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or recipient(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10"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058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l="1042" t="19880" r="540" b="59017"/>
          <a:stretch/>
        </p:blipFill>
        <p:spPr>
          <a:xfrm>
            <a:off x="0" y="0"/>
            <a:ext cx="12192000" cy="1142830"/>
          </a:xfrm>
          <a:prstGeom prst="rect">
            <a:avLst/>
          </a:prstGeom>
        </p:spPr>
      </p:pic>
      <p:sp>
        <p:nvSpPr>
          <p:cNvPr id="6" name="Title 1"/>
          <p:cNvSpPr txBox="1">
            <a:spLocks/>
          </p:cNvSpPr>
          <p:nvPr userDrawn="1"/>
        </p:nvSpPr>
        <p:spPr>
          <a:xfrm>
            <a:off x="8016380" y="1253470"/>
            <a:ext cx="3936437" cy="58746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900" kern="1200" dirty="0">
                <a:solidFill>
                  <a:schemeClr val="tx1"/>
                </a:solidFill>
                <a:latin typeface="+mj-lt"/>
                <a:ea typeface="+mj-ea"/>
                <a:cs typeface="Times New Roman" panose="02020603050405020304" pitchFamily="18" charset="0"/>
              </a:rPr>
              <a:t>FOR PROFESSIONAL</a:t>
            </a:r>
            <a:r>
              <a:rPr lang="en-US" sz="900" kern="1200" baseline="0" dirty="0">
                <a:solidFill>
                  <a:schemeClr val="tx1"/>
                </a:solidFill>
                <a:latin typeface="+mj-lt"/>
                <a:ea typeface="+mj-ea"/>
                <a:cs typeface="Times New Roman" panose="02020603050405020304" pitchFamily="18" charset="0"/>
              </a:rPr>
              <a:t> CLIENTS / DISTRIBUTORS ONLY</a:t>
            </a:r>
            <a:endParaRPr lang="en-US" sz="900" kern="1200" dirty="0">
              <a:solidFill>
                <a:schemeClr val="tx1"/>
              </a:solidFill>
              <a:latin typeface="+mj-lt"/>
              <a:ea typeface="+mj-ea"/>
              <a:cs typeface="Times New Roman" panose="02020603050405020304" pitchFamily="18" charset="0"/>
            </a:endParaRPr>
          </a:p>
          <a:p>
            <a:pPr algn="r"/>
            <a:r>
              <a:rPr lang="en-US" sz="900" kern="1200" dirty="0">
                <a:solidFill>
                  <a:schemeClr val="tx1"/>
                </a:solidFill>
                <a:latin typeface="+mj-lt"/>
                <a:ea typeface="+mj-ea"/>
                <a:cs typeface="Times New Roman" panose="02020603050405020304" pitchFamily="18" charset="0"/>
              </a:rPr>
              <a:t>Confidential and not for onward distribution</a:t>
            </a:r>
            <a:endParaRPr lang="fr-FR" sz="900" dirty="0">
              <a:latin typeface="+mj-lt"/>
              <a:cs typeface="Times New Roman" panose="02020603050405020304" pitchFamily="18" charset="0"/>
            </a:endParaRPr>
          </a:p>
        </p:txBody>
      </p:sp>
      <p:sp>
        <p:nvSpPr>
          <p:cNvPr id="7" name="TextBox 19"/>
          <p:cNvSpPr txBox="1"/>
          <p:nvPr userDrawn="1"/>
        </p:nvSpPr>
        <p:spPr>
          <a:xfrm>
            <a:off x="9734116" y="1840930"/>
            <a:ext cx="2208245"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cs typeface="Times New Roman" panose="02020603050405020304" pitchFamily="18" charset="0"/>
              </a:rPr>
              <a:t>May 2016</a:t>
            </a: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prstClr val="black"/>
              </a:solidFill>
              <a:effectLst/>
              <a:uLnTx/>
              <a:uFillTx/>
              <a:latin typeface="+mn-lt"/>
              <a:cs typeface="Times New Roman" panose="02020603050405020304" pitchFamily="18" charset="0"/>
            </a:endParaRPr>
          </a:p>
        </p:txBody>
      </p:sp>
      <p:sp>
        <p:nvSpPr>
          <p:cNvPr id="10" name="TextBox 13"/>
          <p:cNvSpPr txBox="1"/>
          <p:nvPr userDrawn="1"/>
        </p:nvSpPr>
        <p:spPr>
          <a:xfrm>
            <a:off x="3887755" y="6433592"/>
            <a:ext cx="7680853" cy="307777"/>
          </a:xfrm>
          <a:prstGeom prst="rect">
            <a:avLst/>
          </a:prstGeom>
          <a:noFill/>
        </p:spPr>
        <p:txBody>
          <a:bodyPr wrap="square" rtlCol="0">
            <a:spAutoFit/>
          </a:bodyPr>
          <a:lstStyle/>
          <a:p>
            <a:r>
              <a:rPr lang="en-US" sz="700" b="1" dirty="0"/>
              <a:t>This document is for discussion and information purposes only. </a:t>
            </a:r>
            <a:r>
              <a:rPr lang="en-US" sz="700" dirty="0"/>
              <a:t>It is highly confidential and it is the property of Natixis. It should not be transmitted to any person other than the original addressee(s) or recipient(s) without the prior written consent of Natixis. This document is a marketing presentation.</a:t>
            </a:r>
            <a:endParaRPr lang="fr-FR" sz="700" dirty="0">
              <a:latin typeface="Times New Roman" panose="02020603050405020304" pitchFamily="18" charset="0"/>
              <a:cs typeface="Times New Roman" panose="02020603050405020304" pitchFamily="18" charset="0"/>
            </a:endParaRPr>
          </a:p>
        </p:txBody>
      </p:sp>
      <p:pic>
        <p:nvPicPr>
          <p:cNvPr id="11" name="Picture 5" descr="RVB_NATIXIS_10CM"/>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07504" y="6157029"/>
            <a:ext cx="2160240" cy="57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09481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10"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4"/>
            </p:custDataLst>
            <p:extLst/>
          </p:nvPr>
        </p:nvGraphicFramePr>
        <p:xfrm>
          <a:off x="2069" y="1514"/>
          <a:ext cx="2067" cy="1511"/>
        </p:xfrm>
        <a:graphic>
          <a:graphicData uri="http://schemas.openxmlformats.org/presentationml/2006/ole">
            <mc:AlternateContent xmlns:mc="http://schemas.openxmlformats.org/markup-compatibility/2006">
              <mc:Choice xmlns:v="urn:schemas-microsoft-com:vml" Requires="v">
                <p:oleObj spid="_x0000_s720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069" y="1514"/>
                        <a:ext cx="2067" cy="1511"/>
                      </a:xfrm>
                      <a:prstGeom prst="rect">
                        <a:avLst/>
                      </a:prstGeom>
                    </p:spPr>
                  </p:pic>
                </p:oleObj>
              </mc:Fallback>
            </mc:AlternateContent>
          </a:graphicData>
        </a:graphic>
      </p:graphicFrame>
      <p:sp>
        <p:nvSpPr>
          <p:cNvPr id="2" name="Title Placeholder 1"/>
          <p:cNvSpPr>
            <a:spLocks noGrp="1"/>
          </p:cNvSpPr>
          <p:nvPr>
            <p:ph type="title"/>
          </p:nvPr>
        </p:nvSpPr>
        <p:spPr>
          <a:xfrm>
            <a:off x="609912" y="275168"/>
            <a:ext cx="10972179" cy="1143000"/>
          </a:xfrm>
          <a:prstGeom prst="rect">
            <a:avLst/>
          </a:prstGeom>
        </p:spPr>
        <p:txBody>
          <a:bodyPr vert="horz" lIns="78867" tIns="39434" rIns="78867" bIns="39434"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9912" y="1599596"/>
            <a:ext cx="10972179" cy="4526643"/>
          </a:xfrm>
          <a:prstGeom prst="rect">
            <a:avLst/>
          </a:prstGeom>
        </p:spPr>
        <p:txBody>
          <a:bodyPr vert="horz" lIns="78867" tIns="39434" rIns="78867" bIns="394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912" y="6356050"/>
            <a:ext cx="2844869" cy="365881"/>
          </a:xfrm>
          <a:prstGeom prst="rect">
            <a:avLst/>
          </a:prstGeom>
        </p:spPr>
        <p:txBody>
          <a:bodyPr vert="horz" lIns="78867" tIns="39434" rIns="78867" bIns="39434" rtlCol="0" anchor="ctr"/>
          <a:lstStyle>
            <a:lvl1pPr algn="l">
              <a:defRPr sz="1333">
                <a:solidFill>
                  <a:schemeClr val="tx1">
                    <a:tint val="75000"/>
                  </a:schemeClr>
                </a:solidFill>
              </a:defRPr>
            </a:lvl1pPr>
          </a:lstStyle>
          <a:p>
            <a:r>
              <a:rPr lang="en-US"/>
              <a:t>|  00/00/0000  |</a:t>
            </a:r>
            <a:endParaRPr lang="en-GB"/>
          </a:p>
        </p:txBody>
      </p:sp>
      <p:sp>
        <p:nvSpPr>
          <p:cNvPr id="5" name="Footer Placeholder 4"/>
          <p:cNvSpPr>
            <a:spLocks noGrp="1"/>
          </p:cNvSpPr>
          <p:nvPr>
            <p:ph type="ftr" sz="quarter" idx="3"/>
          </p:nvPr>
        </p:nvSpPr>
        <p:spPr>
          <a:xfrm>
            <a:off x="4165998" y="6356050"/>
            <a:ext cx="3860007" cy="365881"/>
          </a:xfrm>
          <a:prstGeom prst="rect">
            <a:avLst/>
          </a:prstGeom>
        </p:spPr>
        <p:txBody>
          <a:bodyPr vert="horz" lIns="78867" tIns="39434" rIns="78867" bIns="39434" rtlCol="0" anchor="ctr"/>
          <a:lstStyle>
            <a:lvl1pPr algn="ctr">
              <a:defRPr sz="1333">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737220" y="6356050"/>
            <a:ext cx="2844869" cy="365881"/>
          </a:xfrm>
          <a:prstGeom prst="rect">
            <a:avLst/>
          </a:prstGeom>
        </p:spPr>
        <p:txBody>
          <a:bodyPr vert="horz" lIns="78867" tIns="39434" rIns="78867" bIns="39434" rtlCol="0" anchor="ctr"/>
          <a:lstStyle>
            <a:lvl1pPr algn="r">
              <a:defRPr sz="1333">
                <a:solidFill>
                  <a:schemeClr val="tx1">
                    <a:tint val="75000"/>
                  </a:schemeClr>
                </a:solidFill>
              </a:defRPr>
            </a:lvl1pPr>
          </a:lstStyle>
          <a:p>
            <a:fld id="{9E40306A-7C2D-43E9-A6B1-2A286F8D5B5E}" type="slidenum">
              <a:rPr lang="en-GB" smtClean="0"/>
              <a:t>‹#›</a:t>
            </a:fld>
            <a:endParaRPr lang="en-GB"/>
          </a:p>
        </p:txBody>
      </p:sp>
      <p:sp>
        <p:nvSpPr>
          <p:cNvPr id="9" name="Text Box 4"/>
          <p:cNvSpPr txBox="1">
            <a:spLocks noChangeArrowheads="1"/>
          </p:cNvSpPr>
          <p:nvPr userDrawn="1"/>
        </p:nvSpPr>
        <p:spPr bwMode="auto">
          <a:xfrm>
            <a:off x="6576054" y="68627"/>
            <a:ext cx="5389369" cy="184666"/>
          </a:xfrm>
          <a:prstGeom prst="rect">
            <a:avLst/>
          </a:prstGeom>
          <a:noFill/>
          <a:ln>
            <a:noFill/>
          </a:ln>
          <a:effectLst/>
          <a:extLst>
            <a:ext uri="{909E8E84-426E-40DD-AFC4-6F175D3DCCD1}">
              <a14:hiddenFill xmlns:a14="http://schemas.microsoft.com/office/drawing/2010/main">
                <a:solidFill>
                  <a:srgbClr val="335687"/>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eaLnBrk="0" hangingPunct="0">
              <a:defRPr sz="1900">
                <a:solidFill>
                  <a:schemeClr val="tx1"/>
                </a:solidFill>
                <a:latin typeface="Arial" charset="0"/>
                <a:cs typeface="Arial" charset="0"/>
              </a:defRPr>
            </a:lvl1pPr>
            <a:lvl2pPr marL="742950" indent="-285750"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r>
              <a:rPr lang="en-US" sz="1200" dirty="0">
                <a:latin typeface="Arial Narrow" panose="020B0606020202030204" pitchFamily="34" charset="0"/>
              </a:rPr>
              <a:t>FOR</a:t>
            </a:r>
            <a:r>
              <a:rPr lang="en-US" sz="1200" baseline="0" dirty="0">
                <a:latin typeface="Arial Narrow" panose="020B0606020202030204" pitchFamily="34" charset="0"/>
              </a:rPr>
              <a:t> INSTITUTIONAL INVESTORS ONLY - NOT INTENDED FOR FURTHER DISTRIBUTION</a:t>
            </a:r>
            <a:endParaRPr lang="en-US" sz="1200" dirty="0">
              <a:latin typeface="Arial Narrow" panose="020B0606020202030204" pitchFamily="34" charset="0"/>
            </a:endParaRPr>
          </a:p>
        </p:txBody>
      </p:sp>
    </p:spTree>
    <p:extLst>
      <p:ext uri="{BB962C8B-B14F-4D97-AF65-F5344CB8AC3E}">
        <p14:creationId xmlns:p14="http://schemas.microsoft.com/office/powerpoint/2010/main" val="2926149879"/>
      </p:ext>
    </p:extLst>
  </p:cSld>
  <p:clrMap bg1="lt1" tx1="dk1" bg2="lt2" tx2="dk2" accent1="accent1" accent2="accent2" accent3="accent3" accent4="accent4" accent5="accent5" accent6="accent6" hlink="hlink" folHlink="folHlink"/>
  <p:sldLayoutIdLst>
    <p:sldLayoutId id="2147483728" r:id="rId1"/>
  </p:sldLayoutIdLst>
  <p:hf hdr="0"/>
  <p:txStyles>
    <p:titleStyle>
      <a:lvl1pPr algn="ctr" defTabSz="1051538" rtl="0" eaLnBrk="1" latinLnBrk="0" hangingPunct="1">
        <a:spcBef>
          <a:spcPct val="0"/>
        </a:spcBef>
        <a:buNone/>
        <a:defRPr sz="5067" kern="1200">
          <a:solidFill>
            <a:schemeClr val="tx1"/>
          </a:solidFill>
          <a:latin typeface="+mj-lt"/>
          <a:ea typeface="+mj-ea"/>
          <a:cs typeface="+mj-cs"/>
        </a:defRPr>
      </a:lvl1pPr>
    </p:titleStyle>
    <p:bodyStyle>
      <a:lvl1pPr marL="394326" indent="-394326" algn="l" defTabSz="1051538"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54375" indent="-328605" algn="l" defTabSz="105153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14422" indent="-262884" algn="l" defTabSz="105153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3pPr>
      <a:lvl4pPr marL="1840191" indent="-262884" algn="l" defTabSz="1051538"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4pPr>
      <a:lvl5pPr marL="2365961" indent="-262884" algn="l" defTabSz="1051538"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5pPr>
      <a:lvl6pPr marL="2891729" indent="-262884" algn="l" defTabSz="1051538"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6pPr>
      <a:lvl7pPr marL="3417499" indent="-262884" algn="l" defTabSz="1051538"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7pPr>
      <a:lvl8pPr marL="3943267" indent="-262884" algn="l" defTabSz="1051538"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8pPr>
      <a:lvl9pPr marL="4469036" indent="-262884" algn="l" defTabSz="1051538"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9pPr>
    </p:bodyStyle>
    <p:otherStyle>
      <a:defPPr>
        <a:defRPr lang="en-US"/>
      </a:defPPr>
      <a:lvl1pPr marL="0" algn="l" defTabSz="1051538" rtl="0" eaLnBrk="1" latinLnBrk="0" hangingPunct="1">
        <a:defRPr sz="2133" kern="1200">
          <a:solidFill>
            <a:schemeClr val="tx1"/>
          </a:solidFill>
          <a:latin typeface="+mn-lt"/>
          <a:ea typeface="+mn-ea"/>
          <a:cs typeface="+mn-cs"/>
        </a:defRPr>
      </a:lvl1pPr>
      <a:lvl2pPr marL="525768" algn="l" defTabSz="1051538" rtl="0" eaLnBrk="1" latinLnBrk="0" hangingPunct="1">
        <a:defRPr sz="2133" kern="1200">
          <a:solidFill>
            <a:schemeClr val="tx1"/>
          </a:solidFill>
          <a:latin typeface="+mn-lt"/>
          <a:ea typeface="+mn-ea"/>
          <a:cs typeface="+mn-cs"/>
        </a:defRPr>
      </a:lvl2pPr>
      <a:lvl3pPr marL="1051538" algn="l" defTabSz="1051538" rtl="0" eaLnBrk="1" latinLnBrk="0" hangingPunct="1">
        <a:defRPr sz="2133" kern="1200">
          <a:solidFill>
            <a:schemeClr val="tx1"/>
          </a:solidFill>
          <a:latin typeface="+mn-lt"/>
          <a:ea typeface="+mn-ea"/>
          <a:cs typeface="+mn-cs"/>
        </a:defRPr>
      </a:lvl3pPr>
      <a:lvl4pPr marL="1577306" algn="l" defTabSz="1051538" rtl="0" eaLnBrk="1" latinLnBrk="0" hangingPunct="1">
        <a:defRPr sz="2133" kern="1200">
          <a:solidFill>
            <a:schemeClr val="tx1"/>
          </a:solidFill>
          <a:latin typeface="+mn-lt"/>
          <a:ea typeface="+mn-ea"/>
          <a:cs typeface="+mn-cs"/>
        </a:defRPr>
      </a:lvl4pPr>
      <a:lvl5pPr marL="2103075" algn="l" defTabSz="1051538" rtl="0" eaLnBrk="1" latinLnBrk="0" hangingPunct="1">
        <a:defRPr sz="2133" kern="1200">
          <a:solidFill>
            <a:schemeClr val="tx1"/>
          </a:solidFill>
          <a:latin typeface="+mn-lt"/>
          <a:ea typeface="+mn-ea"/>
          <a:cs typeface="+mn-cs"/>
        </a:defRPr>
      </a:lvl5pPr>
      <a:lvl6pPr marL="2628845" algn="l" defTabSz="1051538" rtl="0" eaLnBrk="1" latinLnBrk="0" hangingPunct="1">
        <a:defRPr sz="2133" kern="1200">
          <a:solidFill>
            <a:schemeClr val="tx1"/>
          </a:solidFill>
          <a:latin typeface="+mn-lt"/>
          <a:ea typeface="+mn-ea"/>
          <a:cs typeface="+mn-cs"/>
        </a:defRPr>
      </a:lvl6pPr>
      <a:lvl7pPr marL="3154614" algn="l" defTabSz="1051538" rtl="0" eaLnBrk="1" latinLnBrk="0" hangingPunct="1">
        <a:defRPr sz="2133" kern="1200">
          <a:solidFill>
            <a:schemeClr val="tx1"/>
          </a:solidFill>
          <a:latin typeface="+mn-lt"/>
          <a:ea typeface="+mn-ea"/>
          <a:cs typeface="+mn-cs"/>
        </a:defRPr>
      </a:lvl7pPr>
      <a:lvl8pPr marL="3680383" algn="l" defTabSz="1051538" rtl="0" eaLnBrk="1" latinLnBrk="0" hangingPunct="1">
        <a:defRPr sz="2133" kern="1200">
          <a:solidFill>
            <a:schemeClr val="tx1"/>
          </a:solidFill>
          <a:latin typeface="+mn-lt"/>
          <a:ea typeface="+mn-ea"/>
          <a:cs typeface="+mn-cs"/>
        </a:defRPr>
      </a:lvl8pPr>
      <a:lvl9pPr marL="4206152" algn="l" defTabSz="1051538"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56880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package" Target="../embeddings/Microsoft_Excel_Worksheet1.xlsx"/></Relationships>
</file>

<file path=ppt/slides/_rels/slide36.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18.png"/><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533776" y="1877993"/>
            <a:ext cx="6765450" cy="504056"/>
          </a:xfrm>
          <a:prstGeom prst="rect">
            <a:avLst/>
          </a:prstGeom>
        </p:spPr>
        <p:txBody>
          <a:bodyPr vert="horz" lIns="91429" tIns="45714" rIns="91429" bIns="4571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fr-FR" sz="2000" b="1" dirty="0">
                <a:latin typeface="+mn-lt"/>
                <a:ea typeface="+mn-ea"/>
                <a:cs typeface="Times New Roman" panose="02020603050405020304" pitchFamily="18" charset="0"/>
              </a:rPr>
              <a:t>MEAN REVERSION TRADING ON VOLATILITY ASSETS</a:t>
            </a:r>
          </a:p>
        </p:txBody>
      </p:sp>
    </p:spTree>
    <p:extLst>
      <p:ext uri="{BB962C8B-B14F-4D97-AF65-F5344CB8AC3E}">
        <p14:creationId xmlns:p14="http://schemas.microsoft.com/office/powerpoint/2010/main" val="3938286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720080"/>
          </a:xfrm>
        </p:spPr>
        <p:txBody>
          <a:bodyPr/>
          <a:lstStyle/>
          <a:p>
            <a:pPr algn="ctr"/>
            <a:r>
              <a:rPr lang="en-US" sz="3200" b="0" dirty="0"/>
              <a:t>Diversification benefits</a:t>
            </a:r>
          </a:p>
        </p:txBody>
      </p:sp>
      <p:sp>
        <p:nvSpPr>
          <p:cNvPr id="5" name="Espace réservé du contenu 2"/>
          <p:cNvSpPr txBox="1">
            <a:spLocks/>
          </p:cNvSpPr>
          <p:nvPr/>
        </p:nvSpPr>
        <p:spPr>
          <a:xfrm>
            <a:off x="0" y="5810566"/>
            <a:ext cx="12191999" cy="485492"/>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Potential diversification issues on market cap weighted indices</a:t>
            </a:r>
          </a:p>
        </p:txBody>
      </p:sp>
      <p:graphicFrame>
        <p:nvGraphicFramePr>
          <p:cNvPr id="6" name="Chart 5"/>
          <p:cNvGraphicFramePr>
            <a:graphicFrameLocks/>
          </p:cNvGraphicFramePr>
          <p:nvPr>
            <p:extLst/>
          </p:nvPr>
        </p:nvGraphicFramePr>
        <p:xfrm>
          <a:off x="5519936" y="1988840"/>
          <a:ext cx="4896544" cy="3096344"/>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1082040" y="2079516"/>
            <a:ext cx="3643395" cy="302433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800" b="0" dirty="0"/>
              <a:t>Market cap weighted indices can become overweight in some particular sector because of performance</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Exposure to financial bubbles can therefore be significant </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Mean Reversion may help to mitigate negative effects of speculative bubble bursts</a:t>
            </a:r>
          </a:p>
          <a:p>
            <a:endParaRPr lang="en-US" b="0" dirty="0"/>
          </a:p>
          <a:p>
            <a:pPr algn="just"/>
            <a:endParaRPr lang="en-US" sz="2400" b="0" dirty="0"/>
          </a:p>
          <a:p>
            <a:pPr algn="just"/>
            <a:endParaRPr lang="en-US" sz="2800" b="0" dirty="0"/>
          </a:p>
        </p:txBody>
      </p:sp>
      <p:sp>
        <p:nvSpPr>
          <p:cNvPr id="4" name="Oval 3"/>
          <p:cNvSpPr/>
          <p:nvPr/>
        </p:nvSpPr>
        <p:spPr>
          <a:xfrm>
            <a:off x="7458075" y="2867026"/>
            <a:ext cx="657225" cy="1114425"/>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kern="0">
              <a:solidFill>
                <a:sysClr val="windowText" lastClr="000000"/>
              </a:solidFill>
            </a:endParaRPr>
          </a:p>
        </p:txBody>
      </p:sp>
      <p:sp>
        <p:nvSpPr>
          <p:cNvPr id="9" name="Oval 8"/>
          <p:cNvSpPr/>
          <p:nvPr/>
        </p:nvSpPr>
        <p:spPr>
          <a:xfrm>
            <a:off x="8553450" y="2871788"/>
            <a:ext cx="723900" cy="1114425"/>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kern="0">
              <a:solidFill>
                <a:sysClr val="windowText" lastClr="000000"/>
              </a:solidFill>
            </a:endParaRPr>
          </a:p>
        </p:txBody>
      </p:sp>
      <p:sp>
        <p:nvSpPr>
          <p:cNvPr id="10" name="TextBox 9"/>
          <p:cNvSpPr txBox="1"/>
          <p:nvPr/>
        </p:nvSpPr>
        <p:spPr>
          <a:xfrm>
            <a:off x="7343776" y="2495551"/>
            <a:ext cx="857249" cy="246221"/>
          </a:xfrm>
          <a:prstGeom prst="rect">
            <a:avLst/>
          </a:prstGeom>
          <a:noFill/>
        </p:spPr>
        <p:txBody>
          <a:bodyPr wrap="square" rtlCol="0">
            <a:spAutoFit/>
          </a:bodyPr>
          <a:lstStyle/>
          <a:p>
            <a:pPr algn="ctr"/>
            <a:r>
              <a:rPr lang="en-US" sz="1000" kern="0" dirty="0">
                <a:solidFill>
                  <a:sysClr val="windowText" lastClr="000000"/>
                </a:solidFill>
              </a:rPr>
              <a:t>Tech bubble</a:t>
            </a:r>
          </a:p>
        </p:txBody>
      </p:sp>
      <p:sp>
        <p:nvSpPr>
          <p:cNvPr id="11" name="TextBox 10"/>
          <p:cNvSpPr txBox="1"/>
          <p:nvPr/>
        </p:nvSpPr>
        <p:spPr>
          <a:xfrm>
            <a:off x="8372475" y="2479634"/>
            <a:ext cx="1066800" cy="246221"/>
          </a:xfrm>
          <a:prstGeom prst="rect">
            <a:avLst/>
          </a:prstGeom>
          <a:noFill/>
        </p:spPr>
        <p:txBody>
          <a:bodyPr wrap="square" rtlCol="0">
            <a:spAutoFit/>
          </a:bodyPr>
          <a:lstStyle/>
          <a:p>
            <a:pPr algn="ctr"/>
            <a:r>
              <a:rPr lang="en-US" sz="1000" kern="0" dirty="0">
                <a:solidFill>
                  <a:sysClr val="windowText" lastClr="000000"/>
                </a:solidFill>
              </a:rPr>
              <a:t>Housing bubble</a:t>
            </a:r>
          </a:p>
        </p:txBody>
      </p:sp>
      <p:sp>
        <p:nvSpPr>
          <p:cNvPr id="13" name="Espace réservé du contenu 2"/>
          <p:cNvSpPr txBox="1">
            <a:spLocks/>
          </p:cNvSpPr>
          <p:nvPr/>
        </p:nvSpPr>
        <p:spPr>
          <a:xfrm>
            <a:off x="5702640" y="50735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5663761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1066800" y="1865337"/>
            <a:ext cx="4343400" cy="3960440"/>
          </a:xfrm>
        </p:spPr>
        <p:txBody>
          <a:bodyPr/>
          <a:lstStyle/>
          <a:p>
            <a:r>
              <a:rPr lang="en-US" sz="1800" dirty="0"/>
              <a:t>Imbalance between offer and demand</a:t>
            </a:r>
          </a:p>
          <a:p>
            <a:pPr marL="171450" indent="-171450">
              <a:buFont typeface="Arial" panose="020B0604020202020204" pitchFamily="34" charset="0"/>
              <a:buChar char="•"/>
            </a:pPr>
            <a:r>
              <a:rPr lang="en-US" sz="1800" b="0" dirty="0"/>
              <a:t>Liquidity drought can often link to under or over valuation levels </a:t>
            </a:r>
          </a:p>
          <a:p>
            <a:pPr marL="171450" indent="-171450">
              <a:buFont typeface="Arial" panose="020B0604020202020204" pitchFamily="34" charset="0"/>
              <a:buChar char="•"/>
            </a:pPr>
            <a:r>
              <a:rPr lang="en-US" sz="1800" b="0" dirty="0"/>
              <a:t>Correlation is high between VIX major spikes and VIX futures liquidity</a:t>
            </a:r>
          </a:p>
          <a:p>
            <a:pPr marL="171450" indent="-171450">
              <a:buFont typeface="Arial" panose="020B0604020202020204" pitchFamily="34" charset="0"/>
              <a:buChar char="•"/>
            </a:pPr>
            <a:r>
              <a:rPr lang="en-US" sz="1800" b="0" dirty="0"/>
              <a:t>Short-squeeze effects</a:t>
            </a:r>
          </a:p>
          <a:p>
            <a:pPr marL="171450" indent="-171450">
              <a:buFont typeface="Arial" panose="020B0604020202020204" pitchFamily="34" charset="0"/>
              <a:buChar char="•"/>
            </a:pPr>
            <a:r>
              <a:rPr lang="en-US" sz="1800" b="0" dirty="0"/>
              <a:t>Over / under supply consequences (e.g. on commodities)</a:t>
            </a:r>
          </a:p>
          <a:p>
            <a:pPr marL="171450" indent="-171450">
              <a:buFont typeface="Arial" panose="020B0604020202020204" pitchFamily="34" charset="0"/>
              <a:buChar char="•"/>
            </a:pPr>
            <a:endParaRPr lang="en-US" sz="1050" b="0" dirty="0"/>
          </a:p>
          <a:p>
            <a:r>
              <a:rPr lang="en-US" sz="1800" dirty="0"/>
              <a:t>General market participants behavior</a:t>
            </a:r>
            <a:endParaRPr lang="en-US" sz="1050" dirty="0"/>
          </a:p>
          <a:p>
            <a:pPr marL="171450" indent="-171450" algn="just">
              <a:buFont typeface="Arial" panose="020B0604020202020204" pitchFamily="34" charset="0"/>
              <a:buChar char="•"/>
            </a:pPr>
            <a:r>
              <a:rPr lang="en-US" sz="1800" b="0" dirty="0"/>
              <a:t>Herd / trend following behavior of market participants often link to an amplification of the movements (e.g. bubbles)</a:t>
            </a:r>
          </a:p>
          <a:p>
            <a:pPr marL="171450" indent="-171450">
              <a:buFont typeface="Arial" panose="020B0604020202020204" pitchFamily="34" charset="0"/>
              <a:buChar char="•"/>
            </a:pPr>
            <a:endParaRPr lang="en-US" sz="1050" b="0" dirty="0"/>
          </a:p>
          <a:p>
            <a:pPr marL="171450" indent="-171450">
              <a:buFont typeface="Arial" panose="020B0604020202020204" pitchFamily="34" charset="0"/>
              <a:buChar char="•"/>
            </a:pPr>
            <a:endParaRPr lang="en-US" sz="1050" b="0" dirty="0"/>
          </a:p>
          <a:p>
            <a:pPr algn="just"/>
            <a:endParaRPr lang="en-US" sz="1100" b="0" dirty="0"/>
          </a:p>
          <a:p>
            <a:pPr algn="just"/>
            <a:endParaRPr lang="en-US" sz="1100" b="0" dirty="0"/>
          </a:p>
          <a:p>
            <a:pPr algn="just"/>
            <a:endParaRPr lang="en-US" sz="2400" b="0" dirty="0"/>
          </a:p>
          <a:p>
            <a:pPr algn="just"/>
            <a:endParaRPr lang="en-US" sz="2800" b="0" dirty="0"/>
          </a:p>
        </p:txBody>
      </p:sp>
      <p:graphicFrame>
        <p:nvGraphicFramePr>
          <p:cNvPr id="4" name="Chart 3"/>
          <p:cNvGraphicFramePr>
            <a:graphicFrameLocks/>
          </p:cNvGraphicFramePr>
          <p:nvPr>
            <p:extLst/>
          </p:nvPr>
        </p:nvGraphicFramePr>
        <p:xfrm>
          <a:off x="5663953" y="2132857"/>
          <a:ext cx="4214043" cy="2820077"/>
        </p:xfrm>
        <a:graphic>
          <a:graphicData uri="http://schemas.openxmlformats.org/drawingml/2006/chart">
            <c:chart xmlns:c="http://schemas.openxmlformats.org/drawingml/2006/chart" xmlns:r="http://schemas.openxmlformats.org/officeDocument/2006/relationships" r:id="rId2"/>
          </a:graphicData>
        </a:graphic>
      </p:graphicFrame>
      <p:sp>
        <p:nvSpPr>
          <p:cNvPr id="5" name="Espace réservé du contenu 2"/>
          <p:cNvSpPr txBox="1">
            <a:spLocks/>
          </p:cNvSpPr>
          <p:nvPr/>
        </p:nvSpPr>
        <p:spPr>
          <a:xfrm>
            <a:off x="0" y="5715000"/>
            <a:ext cx="12192000" cy="522312"/>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Some drivers can be identified</a:t>
            </a:r>
          </a:p>
        </p:txBody>
      </p:sp>
      <p:sp>
        <p:nvSpPr>
          <p:cNvPr id="6" name="Espace réservé du contenu 2"/>
          <p:cNvSpPr txBox="1">
            <a:spLocks/>
          </p:cNvSpPr>
          <p:nvPr/>
        </p:nvSpPr>
        <p:spPr>
          <a:xfrm>
            <a:off x="0" y="1145257"/>
            <a:ext cx="12192000" cy="72008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3200" b="0" dirty="0"/>
              <a:t>The main drivers of mean reversion </a:t>
            </a:r>
          </a:p>
        </p:txBody>
      </p:sp>
      <p:sp>
        <p:nvSpPr>
          <p:cNvPr id="7" name="Espace réservé du contenu 2"/>
          <p:cNvSpPr txBox="1">
            <a:spLocks/>
          </p:cNvSpPr>
          <p:nvPr/>
        </p:nvSpPr>
        <p:spPr>
          <a:xfrm>
            <a:off x="1790733" y="1376772"/>
            <a:ext cx="8317268" cy="50405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endParaRPr lang="en-US" sz="2800" b="0" dirty="0"/>
          </a:p>
        </p:txBody>
      </p:sp>
      <p:sp>
        <p:nvSpPr>
          <p:cNvPr id="9" name="Espace réservé du contenu 2"/>
          <p:cNvSpPr txBox="1">
            <a:spLocks/>
          </p:cNvSpPr>
          <p:nvPr/>
        </p:nvSpPr>
        <p:spPr>
          <a:xfrm>
            <a:off x="5702640" y="489257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31434083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1082040" y="1983363"/>
            <a:ext cx="10073640" cy="3600400"/>
          </a:xfrm>
        </p:spPr>
        <p:txBody>
          <a:bodyPr/>
          <a:lstStyle/>
          <a:p>
            <a:r>
              <a:rPr lang="en-US" sz="2000" dirty="0"/>
              <a:t>Arbitrage</a:t>
            </a:r>
          </a:p>
          <a:p>
            <a:pPr marL="171450" indent="-171450">
              <a:buFont typeface="Arial" panose="020B0604020202020204" pitchFamily="34" charset="0"/>
              <a:buChar char="•"/>
            </a:pPr>
            <a:r>
              <a:rPr lang="en-US" sz="2000" b="0" dirty="0"/>
              <a:t>Hedge funds, proprietary traders, and arbitragers</a:t>
            </a:r>
          </a:p>
          <a:p>
            <a:pPr marL="171450" indent="-171450">
              <a:buFont typeface="Arial" panose="020B0604020202020204" pitchFamily="34" charset="0"/>
              <a:buChar char="•"/>
            </a:pPr>
            <a:r>
              <a:rPr lang="en-US" sz="2000" b="0" dirty="0"/>
              <a:t>Attractiveness of asymmetric trades (“easy money” to be made relatively quickly)</a:t>
            </a:r>
          </a:p>
          <a:p>
            <a:pPr marL="171450" indent="-171450">
              <a:buFont typeface="Arial" panose="020B0604020202020204" pitchFamily="34" charset="0"/>
              <a:buChar char="•"/>
            </a:pPr>
            <a:r>
              <a:rPr lang="en-US" sz="2000" b="0" dirty="0"/>
              <a:t>Common beliefs often becomes self fulfilling</a:t>
            </a:r>
          </a:p>
          <a:p>
            <a:pPr algn="just"/>
            <a:endParaRPr lang="en-US" sz="500" dirty="0"/>
          </a:p>
          <a:p>
            <a:pPr algn="just"/>
            <a:endParaRPr lang="en-US" sz="500" dirty="0"/>
          </a:p>
          <a:p>
            <a:pPr algn="just"/>
            <a:r>
              <a:rPr lang="en-US" sz="2000" dirty="0"/>
              <a:t>Implied assets:</a:t>
            </a:r>
            <a:endParaRPr lang="en-US" sz="1200" dirty="0"/>
          </a:p>
          <a:p>
            <a:pPr marL="285750" indent="-285750" algn="just">
              <a:buFont typeface="Arial" panose="020B0604020202020204" pitchFamily="34" charset="0"/>
              <a:buChar char="•"/>
            </a:pPr>
            <a:r>
              <a:rPr lang="en-US" sz="2000" b="0" dirty="0"/>
              <a:t>Implied correlation trades range bound between -1 and +1 </a:t>
            </a:r>
          </a:p>
          <a:p>
            <a:pPr marL="285750" indent="-285750" algn="just">
              <a:buFont typeface="Arial" panose="020B0604020202020204" pitchFamily="34" charset="0"/>
              <a:buChar char="•"/>
            </a:pPr>
            <a:r>
              <a:rPr lang="en-US" sz="2000" b="0" dirty="0"/>
              <a:t>Implied volatility, skew, term structure, and </a:t>
            </a:r>
            <a:r>
              <a:rPr lang="en-US" sz="2000" b="0" dirty="0" err="1"/>
              <a:t>vol</a:t>
            </a:r>
            <a:r>
              <a:rPr lang="en-US" sz="2000" b="0" dirty="0"/>
              <a:t> of </a:t>
            </a:r>
            <a:r>
              <a:rPr lang="en-US" sz="2000" b="0" dirty="0" err="1"/>
              <a:t>vol</a:t>
            </a:r>
            <a:r>
              <a:rPr lang="en-US" sz="2000" b="0" dirty="0"/>
              <a:t> are regarded as mean reverting</a:t>
            </a:r>
          </a:p>
          <a:p>
            <a:pPr algn="just"/>
            <a:endParaRPr lang="en-US" sz="1200" b="0" dirty="0"/>
          </a:p>
          <a:p>
            <a:pPr algn="just"/>
            <a:endParaRPr lang="en-US" b="0" dirty="0"/>
          </a:p>
          <a:p>
            <a:pPr algn="just"/>
            <a:endParaRPr lang="en-US" sz="2400" b="0" dirty="0"/>
          </a:p>
          <a:p>
            <a:pPr algn="just"/>
            <a:endParaRPr lang="en-US" sz="2800" b="0" dirty="0"/>
          </a:p>
        </p:txBody>
      </p:sp>
      <p:sp>
        <p:nvSpPr>
          <p:cNvPr id="5" name="Espace réservé du contenu 2"/>
          <p:cNvSpPr txBox="1">
            <a:spLocks/>
          </p:cNvSpPr>
          <p:nvPr/>
        </p:nvSpPr>
        <p:spPr>
          <a:xfrm>
            <a:off x="0" y="5661248"/>
            <a:ext cx="12192000" cy="50405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Some assets are ‘believed’ to be mean reverting</a:t>
            </a:r>
          </a:p>
        </p:txBody>
      </p:sp>
      <p:sp>
        <p:nvSpPr>
          <p:cNvPr id="6" name="Espace réservé du contenu 2"/>
          <p:cNvSpPr txBox="1">
            <a:spLocks/>
          </p:cNvSpPr>
          <p:nvPr/>
        </p:nvSpPr>
        <p:spPr>
          <a:xfrm>
            <a:off x="0" y="1140224"/>
            <a:ext cx="12192000" cy="50405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3200" b="0" dirty="0"/>
              <a:t>The main drivers of mean reversion </a:t>
            </a:r>
          </a:p>
        </p:txBody>
      </p:sp>
    </p:spTree>
    <p:extLst>
      <p:ext uri="{BB962C8B-B14F-4D97-AF65-F5344CB8AC3E}">
        <p14:creationId xmlns:p14="http://schemas.microsoft.com/office/powerpoint/2010/main" val="3559519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84960" y="4414927"/>
            <a:ext cx="9144000" cy="3399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7" name="Text Box 56"/>
          <p:cNvSpPr txBox="1">
            <a:spLocks noChangeArrowheads="1"/>
          </p:cNvSpPr>
          <p:nvPr/>
        </p:nvSpPr>
        <p:spPr bwMode="auto">
          <a:xfrm>
            <a:off x="1584960" y="1786891"/>
            <a:ext cx="9862184" cy="5632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62000">
            <a:spAutoFit/>
          </a:bodyPr>
          <a:lstStyle>
            <a:lvl1pPr marL="895350" indent="-895350" algn="ctr" eaLnBrk="0" hangingPunct="0">
              <a:defRPr>
                <a:solidFill>
                  <a:schemeClr val="tx1"/>
                </a:solidFill>
                <a:latin typeface="Arial" pitchFamily="34" charset="0"/>
                <a:cs typeface="Arial" pitchFamily="34" charset="0"/>
              </a:defRPr>
            </a:lvl1pPr>
            <a:lvl2pPr marL="742950" indent="-285750" algn="ctr" eaLnBrk="0" hangingPunct="0">
              <a:defRPr>
                <a:solidFill>
                  <a:schemeClr val="tx1"/>
                </a:solidFill>
                <a:latin typeface="Arial" pitchFamily="34" charset="0"/>
                <a:cs typeface="Arial" pitchFamily="34" charset="0"/>
              </a:defRPr>
            </a:lvl2pPr>
            <a:lvl3pPr marL="1143000" indent="-228600" algn="ctr" eaLnBrk="0" hangingPunct="0">
              <a:defRPr>
                <a:solidFill>
                  <a:schemeClr val="tx1"/>
                </a:solidFill>
                <a:latin typeface="Arial" pitchFamily="34" charset="0"/>
                <a:cs typeface="Arial" pitchFamily="34" charset="0"/>
              </a:defRPr>
            </a:lvl3pPr>
            <a:lvl4pPr marL="1600200" indent="-228600" algn="ctr" eaLnBrk="0" hangingPunct="0">
              <a:defRPr>
                <a:solidFill>
                  <a:schemeClr val="tx1"/>
                </a:solidFill>
                <a:latin typeface="Arial" pitchFamily="34" charset="0"/>
                <a:cs typeface="Arial" pitchFamily="34" charset="0"/>
              </a:defRPr>
            </a:lvl4pPr>
            <a:lvl5pPr marL="2057400" indent="-228600" algn="ctr" eaLnBrk="0" hangingPunct="0">
              <a:defRPr>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cs typeface="Arial" pitchFamily="34" charset="0"/>
              </a:defRPr>
            </a:lvl9pPr>
          </a:lstStyle>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What is Mean Reversion?</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A simple definition</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Our intuition on Mean Reversion</a:t>
            </a: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r>
              <a:rPr kumimoji="0" lang="en-GB" altLang="en-US" sz="2400" b="0" i="0" u="none" strike="noStrike" kern="0" cap="none" spc="0" normalizeH="0" baseline="0" noProof="0" dirty="0">
                <a:ln>
                  <a:noFill/>
                </a:ln>
                <a:effectLst/>
                <a:uLnTx/>
                <a:uFillTx/>
                <a:latin typeface="+mn-lt"/>
                <a:cs typeface="Arial" pitchFamily="34" charset="0"/>
              </a:rPr>
              <a:t>Why consider Mean Reversion?</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For diversification purposes</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The main drivers are known</a:t>
            </a: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r>
              <a:rPr kumimoji="0" lang="en-US" altLang="en-US" sz="2400" b="0" i="0" u="none" strike="noStrike" kern="0" cap="none" spc="0" normalizeH="0" baseline="0" noProof="0" dirty="0">
                <a:ln>
                  <a:noFill/>
                </a:ln>
                <a:solidFill>
                  <a:schemeClr val="bg1"/>
                </a:solidFill>
                <a:effectLst/>
                <a:uLnTx/>
                <a:uFillTx/>
                <a:latin typeface="+mn-lt"/>
                <a:cs typeface="Arial" pitchFamily="34" charset="0"/>
              </a:rPr>
              <a:t>Implied volatility focus: How to trade Mean Reversion on VIX?</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0" cap="none" spc="0" normalizeH="0" baseline="0" noProof="0" dirty="0">
                <a:ln>
                  <a:noFill/>
                </a:ln>
                <a:solidFill>
                  <a:schemeClr val="tx1"/>
                </a:solidFill>
                <a:effectLst/>
                <a:uLnTx/>
                <a:uFillTx/>
                <a:latin typeface="+mn-lt"/>
                <a:cs typeface="Arial" pitchFamily="34" charset="0"/>
              </a:rPr>
              <a:t>How to illustrate mean reversion on VIX?</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0" cap="none" spc="0" normalizeH="0" baseline="0" noProof="0" dirty="0">
                <a:ln>
                  <a:noFill/>
                </a:ln>
                <a:solidFill>
                  <a:schemeClr val="tx1"/>
                </a:solidFill>
                <a:effectLst/>
                <a:uLnTx/>
                <a:uFillTx/>
                <a:latin typeface="+mn-lt"/>
                <a:cs typeface="Arial" pitchFamily="34" charset="0"/>
              </a:rPr>
              <a:t>A statistical approach to design a mean reversion strategy on VIX</a:t>
            </a:r>
          </a:p>
          <a:p>
            <a:pPr marL="1143000" marR="0" lvl="2" indent="-228600" algn="l" defTabSz="914400" eaLnBrk="1" fontAlgn="auto" latinLnBrk="0" hangingPunct="1">
              <a:lnSpc>
                <a:spcPct val="100000"/>
              </a:lnSpc>
              <a:spcBef>
                <a:spcPct val="50000"/>
              </a:spcBef>
              <a:spcAft>
                <a:spcPts val="0"/>
              </a:spcAft>
              <a:buClrTx/>
              <a:buSzTx/>
              <a:buFontTx/>
              <a:buAutoNum type="arabicPeriod"/>
              <a:tabLst/>
              <a:defRPr/>
            </a:pPr>
            <a:endParaRPr kumimoji="0" lang="en-GB" altLang="en-US" sz="2400" b="0" i="0" u="none" strike="noStrike" kern="0" cap="none" spc="0" normalizeH="0" baseline="0" noProof="0" dirty="0">
              <a:ln>
                <a:noFill/>
              </a:ln>
              <a:solidFill>
                <a:schemeClr val="tx1"/>
              </a:solidFill>
              <a:effectLst/>
              <a:uLnTx/>
              <a:uFillTx/>
              <a:latin typeface="+mn-lt"/>
              <a:cs typeface="Arial" pitchFamily="34" charset="0"/>
            </a:endParaRP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endParaRPr kumimoji="0" lang="en-GB" altLang="en-US" sz="2800" b="0" i="0" u="none" strike="noStrike" kern="0" cap="none" spc="0" normalizeH="0" baseline="0" noProof="0" dirty="0">
              <a:ln>
                <a:noFill/>
              </a:ln>
              <a:solidFill>
                <a:schemeClr val="tx1"/>
              </a:solidFill>
              <a:effectLst/>
              <a:uLnTx/>
              <a:uFillTx/>
              <a:latin typeface="Verdana" pitchFamily="34" charset="0"/>
              <a:cs typeface="Arial" pitchFamily="34" charset="0"/>
            </a:endParaRP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endParaRPr kumimoji="0" lang="en-GB" altLang="en-US" sz="2800" b="0" i="0" u="none" strike="noStrike" kern="0" cap="none" spc="0" normalizeH="0" baseline="0" noProof="0" dirty="0">
              <a:ln>
                <a:noFill/>
              </a:ln>
              <a:solidFill>
                <a:schemeClr val="tx1"/>
              </a:solidFill>
              <a:effectLst/>
              <a:uLnTx/>
              <a:uFillTx/>
              <a:latin typeface="Verdana" pitchFamily="34" charset="0"/>
              <a:cs typeface="Arial" pitchFamily="34" charset="0"/>
            </a:endParaRPr>
          </a:p>
        </p:txBody>
      </p:sp>
    </p:spTree>
    <p:extLst>
      <p:ext uri="{BB962C8B-B14F-4D97-AF65-F5344CB8AC3E}">
        <p14:creationId xmlns:p14="http://schemas.microsoft.com/office/powerpoint/2010/main" val="694985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p:cNvSpPr txBox="1">
            <a:spLocks/>
          </p:cNvSpPr>
          <p:nvPr/>
        </p:nvSpPr>
        <p:spPr>
          <a:xfrm>
            <a:off x="631852" y="1756392"/>
            <a:ext cx="5394960" cy="4175224"/>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600" dirty="0">
                <a:latin typeface="+mj-lt"/>
              </a:rPr>
              <a:t>The VIX Index reflects the short term implied volatility of the S&amp;P 500:</a:t>
            </a:r>
          </a:p>
          <a:p>
            <a:pPr marL="171450" indent="-171450">
              <a:buFont typeface="Arial" panose="020B0604020202020204" pitchFamily="34" charset="0"/>
              <a:buChar char="•"/>
            </a:pPr>
            <a:r>
              <a:rPr lang="en-US" b="0" dirty="0"/>
              <a:t>The CBOE Volatility Index (VIX) is a key measure of market expectations of near-term volatility conveyed by S&amp;P 500 stock index option prices.</a:t>
            </a:r>
            <a:endParaRPr lang="en-US" altLang="fr-FR" b="0" dirty="0">
              <a:latin typeface="+mj-lt"/>
            </a:endParaRPr>
          </a:p>
          <a:p>
            <a:endParaRPr lang="en-US" altLang="fr-FR" sz="1200" dirty="0">
              <a:latin typeface="+mj-lt"/>
            </a:endParaRPr>
          </a:p>
          <a:p>
            <a:r>
              <a:rPr lang="en-US" sz="1600" dirty="0">
                <a:latin typeface="+mj-lt"/>
              </a:rPr>
              <a:t>The VIX Index spikes in bearish market environments:</a:t>
            </a:r>
          </a:p>
          <a:p>
            <a:pPr marL="171450" indent="-171450">
              <a:buFont typeface="Arial" panose="020B0604020202020204" pitchFamily="34" charset="0"/>
              <a:buChar char="•"/>
            </a:pPr>
            <a:r>
              <a:rPr lang="en-US" b="0" dirty="0"/>
              <a:t>VIX is known as the “fear gauge”</a:t>
            </a:r>
          </a:p>
          <a:p>
            <a:pPr marL="171450" indent="-171450">
              <a:buFont typeface="Arial" panose="020B0604020202020204" pitchFamily="34" charset="0"/>
              <a:buChar char="•"/>
            </a:pPr>
            <a:r>
              <a:rPr lang="en-US" b="0" dirty="0"/>
              <a:t>Put option hedging flows on S&amp;P 500 index increase in bearish markets</a:t>
            </a:r>
          </a:p>
          <a:p>
            <a:pPr marL="171450" indent="-171450">
              <a:buFont typeface="Arial" panose="020B0604020202020204" pitchFamily="34" charset="0"/>
              <a:buChar char="•"/>
            </a:pPr>
            <a:r>
              <a:rPr lang="en-US" b="0" dirty="0"/>
              <a:t>The street increases its long implied volatility exposure</a:t>
            </a:r>
          </a:p>
          <a:p>
            <a:endParaRPr lang="en-US" altLang="fr-FR" sz="1200" dirty="0">
              <a:latin typeface="+mj-lt"/>
            </a:endParaRPr>
          </a:p>
          <a:p>
            <a:r>
              <a:rPr lang="en-US" sz="1600" dirty="0">
                <a:latin typeface="+mj-lt"/>
              </a:rPr>
              <a:t>The VIX Index has a relatively low level in quiet or bullish markets</a:t>
            </a:r>
          </a:p>
          <a:p>
            <a:pPr marL="171450" indent="-171450">
              <a:buFont typeface="Arial" panose="020B0604020202020204" pitchFamily="34" charset="0"/>
              <a:buChar char="•"/>
            </a:pPr>
            <a:r>
              <a:rPr lang="en-US" altLang="fr-FR" b="0" dirty="0">
                <a:latin typeface="+mj-lt"/>
              </a:rPr>
              <a:t>Less hedging flows in quiet or bullish markets</a:t>
            </a:r>
          </a:p>
          <a:p>
            <a:pPr marL="171450" indent="-171450">
              <a:buFont typeface="Arial" panose="020B0604020202020204" pitchFamily="34" charset="0"/>
              <a:buChar char="•"/>
            </a:pPr>
            <a:r>
              <a:rPr lang="en-US" b="0" dirty="0">
                <a:latin typeface="+mj-lt"/>
              </a:rPr>
              <a:t>The street increases its short implied volatility exposure</a:t>
            </a:r>
            <a:endParaRPr lang="en-US" sz="1100" dirty="0">
              <a:latin typeface="Book Antiqua" panose="02040602050305030304" pitchFamily="18" charset="0"/>
            </a:endParaRPr>
          </a:p>
        </p:txBody>
      </p:sp>
      <p:sp>
        <p:nvSpPr>
          <p:cNvPr id="5" name="Rectangle 4"/>
          <p:cNvSpPr/>
          <p:nvPr/>
        </p:nvSpPr>
        <p:spPr>
          <a:xfrm>
            <a:off x="0" y="1162101"/>
            <a:ext cx="12192000" cy="584775"/>
          </a:xfrm>
          <a:prstGeom prst="rect">
            <a:avLst/>
          </a:prstGeom>
        </p:spPr>
        <p:txBody>
          <a:bodyPr wrap="square">
            <a:spAutoFit/>
          </a:bodyPr>
          <a:lstStyle/>
          <a:p>
            <a:pPr marL="447675" lvl="2" algn="ctr"/>
            <a:r>
              <a:rPr lang="en-US" sz="3200" kern="0" dirty="0">
                <a:solidFill>
                  <a:sysClr val="windowText" lastClr="000000"/>
                </a:solidFill>
              </a:rPr>
              <a:t>How to trade Mean Reversion on VIX ?</a:t>
            </a:r>
          </a:p>
        </p:txBody>
      </p:sp>
      <p:graphicFrame>
        <p:nvGraphicFramePr>
          <p:cNvPr id="6" name="Chart 5"/>
          <p:cNvGraphicFramePr>
            <a:graphicFrameLocks/>
          </p:cNvGraphicFramePr>
          <p:nvPr>
            <p:extLst/>
          </p:nvPr>
        </p:nvGraphicFramePr>
        <p:xfrm>
          <a:off x="5962650" y="2754164"/>
          <a:ext cx="4324672" cy="2616497"/>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0" y="5838826"/>
            <a:ext cx="12191999" cy="684941"/>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How to illustrate VIX Mean Reversion?</a:t>
            </a:r>
          </a:p>
        </p:txBody>
      </p:sp>
      <p:sp>
        <p:nvSpPr>
          <p:cNvPr id="10" name="Espace réservé du contenu 2"/>
          <p:cNvSpPr txBox="1">
            <a:spLocks/>
          </p:cNvSpPr>
          <p:nvPr/>
        </p:nvSpPr>
        <p:spPr>
          <a:xfrm>
            <a:off x="6169365" y="53021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925660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5838826"/>
            <a:ext cx="12192000" cy="684941"/>
          </a:xfrm>
        </p:spPr>
        <p:txBody>
          <a:bodyPr/>
          <a:lstStyle/>
          <a:p>
            <a:pPr algn="ctr"/>
            <a:r>
              <a:rPr lang="en-US" sz="2400" b="0" dirty="0"/>
              <a:t>How to illustrate VIX Mean Reversion?</a:t>
            </a:r>
          </a:p>
        </p:txBody>
      </p:sp>
      <p:sp>
        <p:nvSpPr>
          <p:cNvPr id="4" name="Espace réservé du contenu 2"/>
          <p:cNvSpPr txBox="1">
            <a:spLocks/>
          </p:cNvSpPr>
          <p:nvPr/>
        </p:nvSpPr>
        <p:spPr>
          <a:xfrm>
            <a:off x="1015364" y="1932890"/>
            <a:ext cx="4947286" cy="3571875"/>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just"/>
            <a:r>
              <a:rPr lang="en-US" sz="1800" dirty="0">
                <a:latin typeface="+mj-lt"/>
              </a:rPr>
              <a:t>Upside Mean Reversion:</a:t>
            </a:r>
            <a:endParaRPr lang="en-US" sz="1200" b="0" dirty="0">
              <a:latin typeface="+mj-lt"/>
            </a:endParaRPr>
          </a:p>
          <a:p>
            <a:pPr marL="171450" indent="-171450" algn="just">
              <a:buFont typeface="Arial" panose="020B0604020202020204" pitchFamily="34" charset="0"/>
              <a:buChar char="•"/>
            </a:pPr>
            <a:r>
              <a:rPr lang="en-US" sz="1600" b="0" dirty="0">
                <a:latin typeface="+mj-lt"/>
              </a:rPr>
              <a:t>How often did the VIX Index close above its highest closing value of the month ?</a:t>
            </a:r>
          </a:p>
          <a:p>
            <a:pPr marL="171450" indent="-171450" algn="just">
              <a:buFont typeface="Arial" panose="020B0604020202020204" pitchFamily="34" charset="0"/>
              <a:buChar char="•"/>
            </a:pPr>
            <a:endParaRPr lang="en-US" sz="1600" b="0" dirty="0">
              <a:latin typeface="+mj-lt"/>
            </a:endParaRPr>
          </a:p>
          <a:p>
            <a:pPr marL="171450" indent="-171450" algn="just">
              <a:buFont typeface="Arial" panose="020B0604020202020204" pitchFamily="34" charset="0"/>
              <a:buChar char="•"/>
            </a:pPr>
            <a:r>
              <a:rPr lang="en-US" sz="1600" b="0" dirty="0"/>
              <a:t>Once closing above its monthly highest value, how many consecutive days did the VIX continue to close above its previous value ?</a:t>
            </a:r>
            <a:endParaRPr lang="en-US" sz="1200" b="0" dirty="0">
              <a:latin typeface="+mj-lt"/>
            </a:endParaRPr>
          </a:p>
          <a:p>
            <a:pPr marL="171450" indent="-171450" algn="just">
              <a:buFont typeface="Arial" panose="020B0604020202020204" pitchFamily="34" charset="0"/>
              <a:buChar char="•"/>
            </a:pPr>
            <a:endParaRPr lang="en-US" sz="1200" b="0" dirty="0">
              <a:latin typeface="+mj-lt"/>
            </a:endParaRPr>
          </a:p>
          <a:p>
            <a:pPr algn="just"/>
            <a:r>
              <a:rPr lang="en-US" sz="1800" dirty="0"/>
              <a:t>Downside Mean Reversion:</a:t>
            </a:r>
            <a:endParaRPr lang="en-US" sz="1200" b="0" dirty="0"/>
          </a:p>
          <a:p>
            <a:pPr marL="171450" indent="-171450" algn="just">
              <a:buFont typeface="Arial" panose="020B0604020202020204" pitchFamily="34" charset="0"/>
              <a:buChar char="•"/>
            </a:pPr>
            <a:r>
              <a:rPr lang="en-US" sz="1600" b="0" dirty="0"/>
              <a:t>How often did the VIX Index close below its lowest closing value of the month ?</a:t>
            </a:r>
          </a:p>
          <a:p>
            <a:pPr marL="171450" indent="-171450" algn="just">
              <a:buFont typeface="Arial" panose="020B0604020202020204" pitchFamily="34" charset="0"/>
              <a:buChar char="•"/>
            </a:pPr>
            <a:endParaRPr lang="en-US" sz="1200" b="0" dirty="0"/>
          </a:p>
          <a:p>
            <a:pPr marL="171450" indent="-171450" algn="just">
              <a:buFont typeface="Arial" panose="020B0604020202020204" pitchFamily="34" charset="0"/>
              <a:buChar char="•"/>
            </a:pPr>
            <a:r>
              <a:rPr lang="en-US" sz="1600" b="0" dirty="0"/>
              <a:t>Once closing below its monthly lowest value, how many consecutive days did the VIX continue to close below its previous value ?</a:t>
            </a:r>
          </a:p>
          <a:p>
            <a:pPr algn="just"/>
            <a:endParaRPr lang="en-US" sz="1200" dirty="0"/>
          </a:p>
          <a:p>
            <a:pPr algn="just"/>
            <a:endParaRPr lang="en-US" sz="1200" dirty="0"/>
          </a:p>
        </p:txBody>
      </p:sp>
      <p:sp>
        <p:nvSpPr>
          <p:cNvPr id="5" name="Rectangle 4"/>
          <p:cNvSpPr/>
          <p:nvPr/>
        </p:nvSpPr>
        <p:spPr>
          <a:xfrm>
            <a:off x="0" y="1163207"/>
            <a:ext cx="12192000" cy="584775"/>
          </a:xfrm>
          <a:prstGeom prst="rect">
            <a:avLst/>
          </a:prstGeom>
        </p:spPr>
        <p:txBody>
          <a:bodyPr wrap="square">
            <a:spAutoFit/>
          </a:bodyPr>
          <a:lstStyle/>
          <a:p>
            <a:pPr marL="447675" lvl="2" algn="ctr"/>
            <a:r>
              <a:rPr lang="en-US" sz="3200" kern="0" dirty="0">
                <a:solidFill>
                  <a:sysClr val="windowText" lastClr="000000"/>
                </a:solidFill>
              </a:rPr>
              <a:t>How to trade Mean Reversion on VIX ?</a:t>
            </a:r>
          </a:p>
        </p:txBody>
      </p:sp>
      <p:graphicFrame>
        <p:nvGraphicFramePr>
          <p:cNvPr id="6" name="Chart 5"/>
          <p:cNvGraphicFramePr>
            <a:graphicFrameLocks/>
          </p:cNvGraphicFramePr>
          <p:nvPr>
            <p:extLst/>
          </p:nvPr>
        </p:nvGraphicFramePr>
        <p:xfrm>
          <a:off x="5962650" y="2754164"/>
          <a:ext cx="4324672" cy="2616497"/>
        </p:xfrm>
        <a:graphic>
          <a:graphicData uri="http://schemas.openxmlformats.org/drawingml/2006/chart">
            <c:chart xmlns:c="http://schemas.openxmlformats.org/drawingml/2006/chart" xmlns:r="http://schemas.openxmlformats.org/officeDocument/2006/relationships" r:id="rId2"/>
          </a:graphicData>
        </a:graphic>
      </p:graphicFrame>
      <p:sp>
        <p:nvSpPr>
          <p:cNvPr id="7" name="Espace réservé du contenu 2"/>
          <p:cNvSpPr txBox="1">
            <a:spLocks/>
          </p:cNvSpPr>
          <p:nvPr/>
        </p:nvSpPr>
        <p:spPr>
          <a:xfrm>
            <a:off x="6121740" y="523547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793588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58270"/>
            <a:ext cx="12191999" cy="576064"/>
          </a:xfrm>
        </p:spPr>
        <p:txBody>
          <a:bodyPr/>
          <a:lstStyle/>
          <a:p>
            <a:pPr lvl="2" indent="0" algn="ctr">
              <a:buNone/>
            </a:pPr>
            <a:r>
              <a:rPr lang="en-US" sz="3200" dirty="0"/>
              <a:t>How to trade Mean Reversion on VIX ?</a:t>
            </a:r>
          </a:p>
          <a:p>
            <a:pPr lvl="2" indent="0" algn="ctr">
              <a:buNone/>
            </a:pPr>
            <a:endParaRPr lang="en-US" sz="3200" dirty="0"/>
          </a:p>
          <a:p>
            <a:pPr lvl="2" indent="0" algn="ctr">
              <a:buNone/>
            </a:pPr>
            <a:endParaRPr lang="en-US" sz="3200" dirty="0"/>
          </a:p>
        </p:txBody>
      </p:sp>
      <p:sp>
        <p:nvSpPr>
          <p:cNvPr id="7" name="Espace réservé du contenu 2"/>
          <p:cNvSpPr txBox="1">
            <a:spLocks/>
          </p:cNvSpPr>
          <p:nvPr/>
        </p:nvSpPr>
        <p:spPr>
          <a:xfrm>
            <a:off x="1051560" y="1988840"/>
            <a:ext cx="4072890" cy="347851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just"/>
            <a:r>
              <a:rPr lang="en-US" sz="1800" dirty="0"/>
              <a:t>Since January 1990:</a:t>
            </a:r>
            <a:endParaRPr lang="en-US" sz="1800" b="0" dirty="0"/>
          </a:p>
          <a:p>
            <a:pPr algn="just"/>
            <a:endParaRPr lang="en-US" b="0" dirty="0"/>
          </a:p>
          <a:p>
            <a:pPr marL="171450" indent="-171450">
              <a:buFont typeface="Arial" panose="020B0604020202020204" pitchFamily="34" charset="0"/>
              <a:buChar char="•"/>
            </a:pPr>
            <a:r>
              <a:rPr lang="en-US" sz="1800" b="0" dirty="0"/>
              <a:t>The VIX Index closed its 1m-high approximately 7% of the time </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Once above its 1m-high, the VIX Index closed above that value for an average period of 1.68 days before moving back down</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The VIX Index has never moved up by more than 25 points during those above periods</a:t>
            </a:r>
          </a:p>
          <a:p>
            <a:pPr algn="just"/>
            <a:endParaRPr lang="en-US" b="0" dirty="0"/>
          </a:p>
          <a:p>
            <a:pPr algn="just"/>
            <a:endParaRPr lang="en-US" sz="2400" b="0" dirty="0"/>
          </a:p>
          <a:p>
            <a:pPr algn="just"/>
            <a:endParaRPr lang="en-US" sz="2800" b="0" dirty="0"/>
          </a:p>
        </p:txBody>
      </p:sp>
      <p:graphicFrame>
        <p:nvGraphicFramePr>
          <p:cNvPr id="6" name="Chart 5"/>
          <p:cNvGraphicFramePr>
            <a:graphicFrameLocks/>
          </p:cNvGraphicFramePr>
          <p:nvPr>
            <p:extLst/>
          </p:nvPr>
        </p:nvGraphicFramePr>
        <p:xfrm>
          <a:off x="5303912" y="1988840"/>
          <a:ext cx="4968552" cy="3672408"/>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p:cNvSpPr/>
          <p:nvPr/>
        </p:nvSpPr>
        <p:spPr>
          <a:xfrm>
            <a:off x="0" y="5717142"/>
            <a:ext cx="12191999" cy="461665"/>
          </a:xfrm>
          <a:prstGeom prst="rect">
            <a:avLst/>
          </a:prstGeom>
        </p:spPr>
        <p:txBody>
          <a:bodyPr wrap="square">
            <a:spAutoFit/>
          </a:bodyPr>
          <a:lstStyle/>
          <a:p>
            <a:pPr algn="ctr"/>
            <a:r>
              <a:rPr lang="en-US" sz="2400" kern="0" dirty="0">
                <a:solidFill>
                  <a:sysClr val="windowText" lastClr="000000"/>
                </a:solidFill>
              </a:rPr>
              <a:t>An illustration of upside mean reversion behavior</a:t>
            </a:r>
          </a:p>
        </p:txBody>
      </p:sp>
      <p:sp>
        <p:nvSpPr>
          <p:cNvPr id="8" name="Espace réservé du contenu 2"/>
          <p:cNvSpPr txBox="1">
            <a:spLocks/>
          </p:cNvSpPr>
          <p:nvPr/>
        </p:nvSpPr>
        <p:spPr>
          <a:xfrm>
            <a:off x="5702640" y="54926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953203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 ?</a:t>
            </a:r>
          </a:p>
          <a:p>
            <a:pPr lvl="2" indent="0" algn="ctr">
              <a:buNone/>
            </a:pPr>
            <a:endParaRPr lang="en-US" sz="2400" dirty="0"/>
          </a:p>
        </p:txBody>
      </p:sp>
      <p:sp>
        <p:nvSpPr>
          <p:cNvPr id="7" name="Espace réservé du contenu 2"/>
          <p:cNvSpPr txBox="1">
            <a:spLocks/>
          </p:cNvSpPr>
          <p:nvPr/>
        </p:nvSpPr>
        <p:spPr>
          <a:xfrm>
            <a:off x="1066800" y="2018578"/>
            <a:ext cx="4057650" cy="3448772"/>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just"/>
            <a:r>
              <a:rPr lang="en-US" sz="1800" dirty="0"/>
              <a:t>Since January 1990:</a:t>
            </a:r>
            <a:endParaRPr lang="en-US" sz="1800" b="0" dirty="0"/>
          </a:p>
          <a:p>
            <a:pPr algn="just"/>
            <a:endParaRPr lang="en-US" b="0" dirty="0"/>
          </a:p>
          <a:p>
            <a:pPr marL="171450" indent="-171450">
              <a:buFont typeface="Arial" panose="020B0604020202020204" pitchFamily="34" charset="0"/>
              <a:buChar char="•"/>
            </a:pPr>
            <a:r>
              <a:rPr lang="en-US" sz="1800" b="0" dirty="0"/>
              <a:t>The VIX Index closed below its 1m-low approximately 11% of the time </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Once below its 1m-low, the VIX Index closed below that value for an average period of 1.76 days before moving back up</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The VIX Index has never moved down by more than 8 points during those above periods</a:t>
            </a:r>
          </a:p>
          <a:p>
            <a:pPr algn="just"/>
            <a:endParaRPr lang="en-US" b="0" dirty="0"/>
          </a:p>
          <a:p>
            <a:pPr algn="just"/>
            <a:endParaRPr lang="en-US" sz="2400" b="0" dirty="0"/>
          </a:p>
          <a:p>
            <a:pPr algn="just"/>
            <a:endParaRPr lang="en-US" sz="2800" b="0" dirty="0"/>
          </a:p>
        </p:txBody>
      </p:sp>
      <p:sp>
        <p:nvSpPr>
          <p:cNvPr id="4" name="Rectangle 3"/>
          <p:cNvSpPr/>
          <p:nvPr/>
        </p:nvSpPr>
        <p:spPr>
          <a:xfrm>
            <a:off x="0" y="5711308"/>
            <a:ext cx="12192000" cy="461665"/>
          </a:xfrm>
          <a:prstGeom prst="rect">
            <a:avLst/>
          </a:prstGeom>
        </p:spPr>
        <p:txBody>
          <a:bodyPr wrap="square">
            <a:spAutoFit/>
          </a:bodyPr>
          <a:lstStyle/>
          <a:p>
            <a:pPr algn="ctr"/>
            <a:r>
              <a:rPr lang="en-US" sz="2400" kern="0" dirty="0">
                <a:solidFill>
                  <a:sysClr val="windowText" lastClr="000000"/>
                </a:solidFill>
              </a:rPr>
              <a:t>An illustration of downside mean reversion behavior</a:t>
            </a:r>
          </a:p>
        </p:txBody>
      </p:sp>
      <p:graphicFrame>
        <p:nvGraphicFramePr>
          <p:cNvPr id="8" name="Chart 7"/>
          <p:cNvGraphicFramePr>
            <a:graphicFrameLocks/>
          </p:cNvGraphicFramePr>
          <p:nvPr>
            <p:extLst/>
          </p:nvPr>
        </p:nvGraphicFramePr>
        <p:xfrm>
          <a:off x="5267326" y="2132856"/>
          <a:ext cx="4833937" cy="3134469"/>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contenu 2"/>
          <p:cNvSpPr txBox="1">
            <a:spLocks/>
          </p:cNvSpPr>
          <p:nvPr/>
        </p:nvSpPr>
        <p:spPr>
          <a:xfrm>
            <a:off x="5702640" y="51878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32014819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58240"/>
            <a:ext cx="12192000" cy="625624"/>
          </a:xfrm>
        </p:spPr>
        <p:txBody>
          <a:bodyPr/>
          <a:lstStyle/>
          <a:p>
            <a:pPr lvl="2" indent="0" algn="ctr">
              <a:buNone/>
            </a:pPr>
            <a:r>
              <a:rPr lang="en-US" sz="3200" dirty="0"/>
              <a:t>How to trade Mean Reversion on VIX?</a:t>
            </a:r>
          </a:p>
          <a:p>
            <a:pPr lvl="2" indent="0" algn="ctr">
              <a:buNone/>
            </a:pPr>
            <a:endParaRPr lang="en-US" sz="3600" dirty="0"/>
          </a:p>
        </p:txBody>
      </p:sp>
      <p:sp>
        <p:nvSpPr>
          <p:cNvPr id="7" name="Espace réservé du contenu 2"/>
          <p:cNvSpPr txBox="1">
            <a:spLocks/>
          </p:cNvSpPr>
          <p:nvPr/>
        </p:nvSpPr>
        <p:spPr>
          <a:xfrm>
            <a:off x="1066800" y="2164081"/>
            <a:ext cx="4034490" cy="254127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285750" indent="-285750" algn="just">
              <a:buFont typeface="Wingdings" panose="05000000000000000000" pitchFamily="2" charset="2"/>
              <a:buChar char="ü"/>
            </a:pPr>
            <a:r>
              <a:rPr lang="en-US" sz="1800" dirty="0"/>
              <a:t>The VIX is not an investable index</a:t>
            </a:r>
          </a:p>
          <a:p>
            <a:pPr algn="just"/>
            <a:endParaRPr lang="en-US" dirty="0"/>
          </a:p>
          <a:p>
            <a:pPr marL="342900" indent="-342900" algn="just">
              <a:buFont typeface="Wingdings" panose="05000000000000000000" pitchFamily="2" charset="2"/>
              <a:buChar char="ü"/>
            </a:pPr>
            <a:r>
              <a:rPr lang="en-US" sz="1800" dirty="0"/>
              <a:t>Selection of the best proxy of the VIX</a:t>
            </a:r>
            <a:endParaRPr lang="en-US" sz="1800" b="0" dirty="0"/>
          </a:p>
          <a:p>
            <a:pPr algn="just"/>
            <a:endParaRPr lang="en-US" b="0" dirty="0"/>
          </a:p>
          <a:p>
            <a:pPr marL="171450" indent="-171450">
              <a:buFont typeface="Arial" panose="020B0604020202020204" pitchFamily="34" charset="0"/>
              <a:buChar char="•"/>
            </a:pPr>
            <a:r>
              <a:rPr lang="en-US" sz="1800" b="0" dirty="0"/>
              <a:t>VIX Future contracts are the best proxy of VIX Index</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The first nearby contract exhibits the highest sensitivity to the VIX index</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endParaRPr lang="en-US" sz="1200" b="0" dirty="0"/>
          </a:p>
          <a:p>
            <a:pPr algn="just"/>
            <a:endParaRPr lang="en-US" b="0" dirty="0"/>
          </a:p>
          <a:p>
            <a:pPr algn="just"/>
            <a:endParaRPr lang="en-US" sz="2400" b="0" dirty="0"/>
          </a:p>
          <a:p>
            <a:pPr algn="just"/>
            <a:endParaRPr lang="en-US" sz="2800" b="0" dirty="0"/>
          </a:p>
        </p:txBody>
      </p:sp>
      <p:sp>
        <p:nvSpPr>
          <p:cNvPr id="4" name="Rectangle 3"/>
          <p:cNvSpPr/>
          <p:nvPr/>
        </p:nvSpPr>
        <p:spPr>
          <a:xfrm>
            <a:off x="2989367" y="5711309"/>
            <a:ext cx="5889497" cy="400110"/>
          </a:xfrm>
          <a:prstGeom prst="rect">
            <a:avLst/>
          </a:prstGeom>
        </p:spPr>
        <p:txBody>
          <a:bodyPr wrap="none">
            <a:spAutoFit/>
          </a:bodyPr>
          <a:lstStyle/>
          <a:p>
            <a:pPr algn="ctr"/>
            <a:r>
              <a:rPr lang="en-US" sz="2000" kern="0" dirty="0">
                <a:solidFill>
                  <a:sysClr val="windowText" lastClr="000000"/>
                </a:solidFill>
              </a:rPr>
              <a:t>The first VIX future contract may be the best VIX proxy </a:t>
            </a:r>
          </a:p>
        </p:txBody>
      </p:sp>
      <p:graphicFrame>
        <p:nvGraphicFramePr>
          <p:cNvPr id="8" name="Chart 7"/>
          <p:cNvGraphicFramePr>
            <a:graphicFrameLocks/>
          </p:cNvGraphicFramePr>
          <p:nvPr>
            <p:extLst/>
          </p:nvPr>
        </p:nvGraphicFramePr>
        <p:xfrm>
          <a:off x="5181616" y="2026072"/>
          <a:ext cx="4905375" cy="3548062"/>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contenu 2"/>
          <p:cNvSpPr txBox="1">
            <a:spLocks/>
          </p:cNvSpPr>
          <p:nvPr/>
        </p:nvSpPr>
        <p:spPr>
          <a:xfrm>
            <a:off x="5702640" y="54545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401341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5827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7" name="Espace réservé du contenu 2"/>
          <p:cNvSpPr txBox="1">
            <a:spLocks/>
          </p:cNvSpPr>
          <p:nvPr/>
        </p:nvSpPr>
        <p:spPr>
          <a:xfrm>
            <a:off x="1097280" y="2194560"/>
            <a:ext cx="4103370" cy="2825115"/>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r>
              <a:rPr lang="en-US" sz="1800" dirty="0"/>
              <a:t>Selection of the most liquid underlying</a:t>
            </a:r>
            <a:endParaRPr lang="en-US" sz="1800" b="0" dirty="0"/>
          </a:p>
          <a:p>
            <a:pPr algn="just"/>
            <a:endParaRPr lang="en-US" b="0" dirty="0"/>
          </a:p>
          <a:p>
            <a:pPr marL="171450" indent="-171450">
              <a:buFont typeface="Arial" panose="020B0604020202020204" pitchFamily="34" charset="0"/>
              <a:buChar char="•"/>
            </a:pPr>
            <a:r>
              <a:rPr lang="en-US" sz="1800" b="0" dirty="0"/>
              <a:t>VIX Future contracts are the best proxy of VIX Index</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The first nearby contract is much more liquid than following contracts</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endParaRPr lang="en-US" sz="1200" b="0" dirty="0"/>
          </a:p>
          <a:p>
            <a:pPr algn="just"/>
            <a:endParaRPr lang="en-US" b="0" dirty="0"/>
          </a:p>
          <a:p>
            <a:pPr algn="just"/>
            <a:endParaRPr lang="en-US" sz="2400" b="0" dirty="0"/>
          </a:p>
          <a:p>
            <a:pPr algn="just"/>
            <a:endParaRPr lang="en-US" sz="2800" b="0" dirty="0"/>
          </a:p>
        </p:txBody>
      </p:sp>
      <p:graphicFrame>
        <p:nvGraphicFramePr>
          <p:cNvPr id="9" name="Chart 8"/>
          <p:cNvGraphicFramePr>
            <a:graphicFrameLocks/>
          </p:cNvGraphicFramePr>
          <p:nvPr>
            <p:extLst/>
          </p:nvPr>
        </p:nvGraphicFramePr>
        <p:xfrm>
          <a:off x="5724525" y="1952625"/>
          <a:ext cx="4495800" cy="3086100"/>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p:cNvSpPr/>
          <p:nvPr/>
        </p:nvSpPr>
        <p:spPr>
          <a:xfrm>
            <a:off x="0" y="5562600"/>
            <a:ext cx="12191999" cy="461665"/>
          </a:xfrm>
          <a:prstGeom prst="rect">
            <a:avLst/>
          </a:prstGeom>
        </p:spPr>
        <p:txBody>
          <a:bodyPr wrap="square">
            <a:spAutoFit/>
          </a:bodyPr>
          <a:lstStyle/>
          <a:p>
            <a:pPr algn="ctr"/>
            <a:r>
              <a:rPr lang="en-US" sz="2400" kern="0" dirty="0">
                <a:solidFill>
                  <a:sysClr val="windowText" lastClr="000000"/>
                </a:solidFill>
              </a:rPr>
              <a:t>The first VIX future contract may be the best VIX proxy </a:t>
            </a:r>
          </a:p>
        </p:txBody>
      </p:sp>
      <p:sp>
        <p:nvSpPr>
          <p:cNvPr id="11" name="Espace réservé du contenu 2"/>
          <p:cNvSpPr txBox="1">
            <a:spLocks/>
          </p:cNvSpPr>
          <p:nvPr/>
        </p:nvSpPr>
        <p:spPr>
          <a:xfrm>
            <a:off x="5702640" y="50735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533440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212532" y="1695451"/>
            <a:ext cx="8429625" cy="3457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chemeClr val="bg1"/>
              </a:solidFill>
            </a:endParaRPr>
          </a:p>
        </p:txBody>
      </p:sp>
      <p:sp>
        <p:nvSpPr>
          <p:cNvPr id="7" name="Text Box 56"/>
          <p:cNvSpPr txBox="1">
            <a:spLocks noChangeArrowheads="1"/>
          </p:cNvSpPr>
          <p:nvPr/>
        </p:nvSpPr>
        <p:spPr bwMode="auto">
          <a:xfrm>
            <a:off x="1243012" y="1634491"/>
            <a:ext cx="9814560" cy="5632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62000">
            <a:spAutoFit/>
          </a:bodyPr>
          <a:lstStyle>
            <a:lvl1pPr marL="895350" indent="-895350" algn="ctr" eaLnBrk="0" hangingPunct="0">
              <a:defRPr>
                <a:solidFill>
                  <a:schemeClr val="tx1"/>
                </a:solidFill>
                <a:latin typeface="Arial" pitchFamily="34" charset="0"/>
                <a:cs typeface="Arial" pitchFamily="34" charset="0"/>
              </a:defRPr>
            </a:lvl1pPr>
            <a:lvl2pPr marL="742950" indent="-285750" algn="ctr" eaLnBrk="0" hangingPunct="0">
              <a:defRPr>
                <a:solidFill>
                  <a:schemeClr val="tx1"/>
                </a:solidFill>
                <a:latin typeface="Arial" pitchFamily="34" charset="0"/>
                <a:cs typeface="Arial" pitchFamily="34" charset="0"/>
              </a:defRPr>
            </a:lvl2pPr>
            <a:lvl3pPr marL="1143000" indent="-228600" algn="ctr" eaLnBrk="0" hangingPunct="0">
              <a:defRPr>
                <a:solidFill>
                  <a:schemeClr val="tx1"/>
                </a:solidFill>
                <a:latin typeface="Arial" pitchFamily="34" charset="0"/>
                <a:cs typeface="Arial" pitchFamily="34" charset="0"/>
              </a:defRPr>
            </a:lvl3pPr>
            <a:lvl4pPr marL="1600200" indent="-228600" algn="ctr" eaLnBrk="0" hangingPunct="0">
              <a:defRPr>
                <a:solidFill>
                  <a:schemeClr val="tx1"/>
                </a:solidFill>
                <a:latin typeface="Arial" pitchFamily="34" charset="0"/>
                <a:cs typeface="Arial" pitchFamily="34" charset="0"/>
              </a:defRPr>
            </a:lvl4pPr>
            <a:lvl5pPr marL="2057400" indent="-228600" algn="ctr" eaLnBrk="0" hangingPunct="0">
              <a:defRPr>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spcBef>
                <a:spcPct val="50000"/>
              </a:spcBef>
              <a:buFontTx/>
              <a:buAutoNum type="arabicPeriod"/>
            </a:pPr>
            <a:r>
              <a:rPr lang="en-GB" altLang="en-US" sz="2400" kern="0" dirty="0">
                <a:solidFill>
                  <a:schemeClr val="bg1"/>
                </a:solidFill>
                <a:latin typeface="+mn-lt"/>
              </a:rPr>
              <a:t>What is Mean Reversion?</a:t>
            </a:r>
          </a:p>
          <a:p>
            <a:pPr marL="1200150" lvl="2" indent="-285750" algn="l" eaLnBrk="1" hangingPunct="1">
              <a:buFont typeface="Arial" panose="020B0604020202020204" pitchFamily="34" charset="0"/>
              <a:buChar char="•"/>
            </a:pPr>
            <a:r>
              <a:rPr lang="en-GB" altLang="en-US" sz="2400" kern="0" dirty="0">
                <a:latin typeface="+mn-lt"/>
              </a:rPr>
              <a:t>A simple definition</a:t>
            </a:r>
          </a:p>
          <a:p>
            <a:pPr marL="1200150" lvl="2" indent="-285750" algn="l" eaLnBrk="1" hangingPunct="1">
              <a:buFont typeface="Arial" panose="020B0604020202020204" pitchFamily="34" charset="0"/>
              <a:buChar char="•"/>
            </a:pPr>
            <a:r>
              <a:rPr lang="en-GB" altLang="en-US" sz="2400" kern="0" dirty="0">
                <a:latin typeface="+mn-lt"/>
              </a:rPr>
              <a:t>Our intuition on Mean Reversion</a:t>
            </a:r>
          </a:p>
          <a:p>
            <a:pPr algn="l" eaLnBrk="1" hangingPunct="1">
              <a:spcBef>
                <a:spcPct val="50000"/>
              </a:spcBef>
              <a:buFontTx/>
              <a:buAutoNum type="arabicPeriod"/>
            </a:pPr>
            <a:r>
              <a:rPr lang="en-GB" altLang="en-US" sz="2400" kern="0" dirty="0">
                <a:latin typeface="+mn-lt"/>
              </a:rPr>
              <a:t>Why consider Mean Reversion?</a:t>
            </a:r>
          </a:p>
          <a:p>
            <a:pPr marL="1200150" lvl="2" indent="-285750" algn="l" eaLnBrk="1" hangingPunct="1">
              <a:buFont typeface="Arial" panose="020B0604020202020204" pitchFamily="34" charset="0"/>
              <a:buChar char="•"/>
            </a:pPr>
            <a:r>
              <a:rPr lang="en-GB" altLang="en-US" sz="2400" kern="0" dirty="0">
                <a:latin typeface="+mn-lt"/>
              </a:rPr>
              <a:t>For diversification purposes</a:t>
            </a:r>
          </a:p>
          <a:p>
            <a:pPr marL="1200150" lvl="2" indent="-285750" algn="l" eaLnBrk="1" hangingPunct="1">
              <a:buFont typeface="Arial" panose="020B0604020202020204" pitchFamily="34" charset="0"/>
              <a:buChar char="•"/>
            </a:pPr>
            <a:r>
              <a:rPr lang="en-GB" altLang="en-US" sz="2400" kern="0" dirty="0">
                <a:latin typeface="+mn-lt"/>
              </a:rPr>
              <a:t>The main drivers are known</a:t>
            </a:r>
          </a:p>
          <a:p>
            <a:pPr algn="l" eaLnBrk="1" hangingPunct="1">
              <a:spcBef>
                <a:spcPct val="50000"/>
              </a:spcBef>
              <a:buFontTx/>
              <a:buAutoNum type="arabicPeriod"/>
            </a:pPr>
            <a:r>
              <a:rPr lang="en-US" altLang="en-US" sz="2400" kern="0" dirty="0">
                <a:latin typeface="+mn-lt"/>
              </a:rPr>
              <a:t>Implied volatility focus: How to trade Mean Reversion on VIX?</a:t>
            </a:r>
          </a:p>
          <a:p>
            <a:pPr marL="1200150" lvl="2" indent="-285750" algn="l" eaLnBrk="1" hangingPunct="1">
              <a:buFont typeface="Arial" panose="020B0604020202020204" pitchFamily="34" charset="0"/>
              <a:buChar char="•"/>
            </a:pPr>
            <a:r>
              <a:rPr lang="en-US" altLang="en-US" sz="2400" kern="0" dirty="0">
                <a:latin typeface="+mn-lt"/>
              </a:rPr>
              <a:t>How to illustrate mean reversion on VIX?</a:t>
            </a:r>
          </a:p>
          <a:p>
            <a:pPr marL="1200150" lvl="2" indent="-285750" algn="l" eaLnBrk="1" hangingPunct="1">
              <a:buFont typeface="Arial" panose="020B0604020202020204" pitchFamily="34" charset="0"/>
              <a:buChar char="•"/>
            </a:pPr>
            <a:r>
              <a:rPr lang="en-US" altLang="en-US" sz="2400" kern="0" dirty="0">
                <a:latin typeface="+mn-lt"/>
              </a:rPr>
              <a:t>A statistical approach to design a mean reversion strategy on VIX</a:t>
            </a:r>
          </a:p>
          <a:p>
            <a:pPr lvl="2" algn="l" eaLnBrk="1" hangingPunct="1">
              <a:spcBef>
                <a:spcPct val="50000"/>
              </a:spcBef>
              <a:buFontTx/>
              <a:buAutoNum type="arabicPeriod"/>
            </a:pPr>
            <a:endParaRPr lang="en-GB" altLang="en-US" sz="2400" kern="0" dirty="0">
              <a:latin typeface="+mn-lt"/>
            </a:endParaRPr>
          </a:p>
          <a:p>
            <a:pPr algn="l" eaLnBrk="1" hangingPunct="1">
              <a:spcBef>
                <a:spcPct val="50000"/>
              </a:spcBef>
              <a:buFontTx/>
              <a:buAutoNum type="arabicPeriod"/>
            </a:pPr>
            <a:endParaRPr lang="en-GB" altLang="en-US" sz="2800" kern="0" dirty="0">
              <a:latin typeface="Verdana" pitchFamily="34" charset="0"/>
            </a:endParaRPr>
          </a:p>
          <a:p>
            <a:pPr algn="l" eaLnBrk="1" hangingPunct="1">
              <a:spcBef>
                <a:spcPct val="50000"/>
              </a:spcBef>
              <a:buFontTx/>
              <a:buAutoNum type="arabicPeriod"/>
            </a:pPr>
            <a:endParaRPr lang="en-GB" altLang="en-US" sz="2800" kern="0" dirty="0">
              <a:latin typeface="Verdana" pitchFamily="34" charset="0"/>
            </a:endParaRPr>
          </a:p>
        </p:txBody>
      </p:sp>
    </p:spTree>
    <p:extLst>
      <p:ext uri="{BB962C8B-B14F-4D97-AF65-F5344CB8AC3E}">
        <p14:creationId xmlns:p14="http://schemas.microsoft.com/office/powerpoint/2010/main" val="17880264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p:txBody>
      </p:sp>
      <p:sp>
        <p:nvSpPr>
          <p:cNvPr id="5" name="Espace réservé du contenu 2"/>
          <p:cNvSpPr txBox="1">
            <a:spLocks/>
          </p:cNvSpPr>
          <p:nvPr/>
        </p:nvSpPr>
        <p:spPr>
          <a:xfrm>
            <a:off x="1963937" y="5877272"/>
            <a:ext cx="8670788" cy="72008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000" b="0" dirty="0"/>
              <a:t>Illustration of upside mean reversion of the first rolled VIX future contract</a:t>
            </a:r>
          </a:p>
        </p:txBody>
      </p:sp>
      <p:sp>
        <p:nvSpPr>
          <p:cNvPr id="7" name="Espace réservé du contenu 2"/>
          <p:cNvSpPr txBox="1">
            <a:spLocks/>
          </p:cNvSpPr>
          <p:nvPr/>
        </p:nvSpPr>
        <p:spPr>
          <a:xfrm>
            <a:off x="579120" y="1572032"/>
            <a:ext cx="4632960" cy="3373474"/>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just"/>
            <a:endParaRPr lang="en-US" sz="1200" dirty="0"/>
          </a:p>
          <a:p>
            <a:pPr algn="just"/>
            <a:r>
              <a:rPr lang="en-US" sz="1600" dirty="0"/>
              <a:t>An Illustration of the Mean Reversion of the first rolled VIX future contracts</a:t>
            </a:r>
          </a:p>
          <a:p>
            <a:pPr algn="just"/>
            <a:endParaRPr lang="en-US" sz="1200" dirty="0"/>
          </a:p>
          <a:p>
            <a:pPr algn="just"/>
            <a:r>
              <a:rPr lang="en-US" sz="1600" dirty="0"/>
              <a:t>Since January 1990:</a:t>
            </a:r>
            <a:endParaRPr lang="en-US" sz="1600" b="0" dirty="0"/>
          </a:p>
          <a:p>
            <a:pPr algn="just"/>
            <a:endParaRPr lang="en-US" sz="1050" b="0" dirty="0"/>
          </a:p>
          <a:p>
            <a:pPr marL="171450" indent="-171450">
              <a:buFont typeface="Arial" panose="020B0604020202020204" pitchFamily="34" charset="0"/>
              <a:buChar char="•"/>
            </a:pPr>
            <a:r>
              <a:rPr lang="en-US" sz="1600" b="0" dirty="0"/>
              <a:t>The first VIX future rolled contract quoted (at the close of VIX index) above 1m-high approximately 7% of the time </a:t>
            </a:r>
          </a:p>
          <a:p>
            <a:pPr marL="171450" indent="-171450">
              <a:buFont typeface="Arial" panose="020B0604020202020204" pitchFamily="34" charset="0"/>
              <a:buChar char="•"/>
            </a:pPr>
            <a:endParaRPr lang="en-US" sz="1050" b="0" dirty="0"/>
          </a:p>
          <a:p>
            <a:pPr marL="171450" indent="-171450">
              <a:buFont typeface="Arial" panose="020B0604020202020204" pitchFamily="34" charset="0"/>
              <a:buChar char="•"/>
            </a:pPr>
            <a:r>
              <a:rPr lang="en-US" sz="1600" b="0" dirty="0"/>
              <a:t>Once above 1m-high, the first VIX future rolled contract stayed (at the close of VIX index) above that value for an average period of 1.93 days before moving back down</a:t>
            </a:r>
          </a:p>
          <a:p>
            <a:pPr marL="171450" indent="-171450">
              <a:buFont typeface="Arial" panose="020B0604020202020204" pitchFamily="34" charset="0"/>
              <a:buChar char="•"/>
            </a:pPr>
            <a:endParaRPr lang="en-US" sz="1050" b="0" dirty="0"/>
          </a:p>
          <a:p>
            <a:pPr marL="171450" indent="-171450">
              <a:buFont typeface="Arial" panose="020B0604020202020204" pitchFamily="34" charset="0"/>
              <a:buChar char="•"/>
            </a:pPr>
            <a:r>
              <a:rPr lang="en-US" sz="1600" b="0" dirty="0"/>
              <a:t>The first VIX future rolled contract Index has never moved up by more than 70% during those above periods</a:t>
            </a:r>
          </a:p>
          <a:p>
            <a:pPr algn="just"/>
            <a:endParaRPr lang="en-US" b="0" dirty="0"/>
          </a:p>
          <a:p>
            <a:pPr algn="just"/>
            <a:endParaRPr lang="en-US" sz="2400" b="0" dirty="0"/>
          </a:p>
          <a:p>
            <a:pPr algn="just"/>
            <a:endParaRPr lang="en-US" sz="2800" b="0" dirty="0"/>
          </a:p>
        </p:txBody>
      </p:sp>
      <p:graphicFrame>
        <p:nvGraphicFramePr>
          <p:cNvPr id="8" name="Chart 7"/>
          <p:cNvGraphicFramePr>
            <a:graphicFrameLocks/>
          </p:cNvGraphicFramePr>
          <p:nvPr>
            <p:extLst/>
          </p:nvPr>
        </p:nvGraphicFramePr>
        <p:xfrm>
          <a:off x="5457825" y="2295525"/>
          <a:ext cx="4829175" cy="3362325"/>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contenu 2"/>
          <p:cNvSpPr txBox="1">
            <a:spLocks/>
          </p:cNvSpPr>
          <p:nvPr/>
        </p:nvSpPr>
        <p:spPr>
          <a:xfrm>
            <a:off x="5883615" y="561647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5400057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8745"/>
            <a:ext cx="12192000" cy="576064"/>
          </a:xfrm>
        </p:spPr>
        <p:txBody>
          <a:bodyPr/>
          <a:lstStyle/>
          <a:p>
            <a:pPr lvl="2" indent="0" algn="ctr">
              <a:buNone/>
            </a:pPr>
            <a:r>
              <a:rPr lang="en-US" sz="3200" dirty="0"/>
              <a:t>How to trade Mean Reversion on VIX?</a:t>
            </a:r>
          </a:p>
        </p:txBody>
      </p:sp>
      <p:sp>
        <p:nvSpPr>
          <p:cNvPr id="5" name="Espace réservé du contenu 2"/>
          <p:cNvSpPr txBox="1">
            <a:spLocks/>
          </p:cNvSpPr>
          <p:nvPr/>
        </p:nvSpPr>
        <p:spPr>
          <a:xfrm>
            <a:off x="0" y="5877272"/>
            <a:ext cx="12192000" cy="72008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Illustration of downside mean reversion of the first rolled VIX future contract</a:t>
            </a:r>
          </a:p>
        </p:txBody>
      </p:sp>
      <p:sp>
        <p:nvSpPr>
          <p:cNvPr id="7" name="Espace réservé du contenu 2"/>
          <p:cNvSpPr txBox="1">
            <a:spLocks/>
          </p:cNvSpPr>
          <p:nvPr/>
        </p:nvSpPr>
        <p:spPr>
          <a:xfrm>
            <a:off x="1097280" y="1688960"/>
            <a:ext cx="4027170" cy="3551695"/>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just"/>
            <a:r>
              <a:rPr lang="en-US" sz="1600" dirty="0"/>
              <a:t>An Illustration of the Mean Reversion of the first rolled VIX future contracts (“UX1”) </a:t>
            </a:r>
          </a:p>
          <a:p>
            <a:pPr algn="just"/>
            <a:endParaRPr lang="en-US" sz="1050" dirty="0"/>
          </a:p>
          <a:p>
            <a:pPr algn="just"/>
            <a:r>
              <a:rPr lang="en-US" sz="1600" dirty="0"/>
              <a:t>Since January 1990:</a:t>
            </a:r>
            <a:endParaRPr lang="en-US" sz="1600" b="0" dirty="0"/>
          </a:p>
          <a:p>
            <a:pPr algn="just"/>
            <a:endParaRPr lang="en-US" sz="1050" b="0" dirty="0"/>
          </a:p>
          <a:p>
            <a:pPr marL="171450" indent="-171450">
              <a:buFont typeface="Arial" panose="020B0604020202020204" pitchFamily="34" charset="0"/>
              <a:buChar char="•"/>
            </a:pPr>
            <a:r>
              <a:rPr lang="en-US" sz="1600" b="0" dirty="0"/>
              <a:t>The first VIX future rolled contract quoted (at the close of VIX index) below its 1m-low approximately 22 % of the time </a:t>
            </a:r>
          </a:p>
          <a:p>
            <a:pPr marL="171450" indent="-171450">
              <a:buFont typeface="Arial" panose="020B0604020202020204" pitchFamily="34" charset="0"/>
              <a:buChar char="•"/>
            </a:pPr>
            <a:endParaRPr lang="en-US" sz="1050" b="0" dirty="0"/>
          </a:p>
          <a:p>
            <a:pPr marL="171450" indent="-171450">
              <a:buFont typeface="Arial" panose="020B0604020202020204" pitchFamily="34" charset="0"/>
              <a:buChar char="•"/>
            </a:pPr>
            <a:r>
              <a:rPr lang="en-US" sz="1600" b="0" dirty="0"/>
              <a:t>Once below its 1m-low, the first VIX future rolled contract stayed (at the close of VIX index) below that value for an average period of 2.25 days before moving back up</a:t>
            </a:r>
          </a:p>
          <a:p>
            <a:pPr marL="171450" indent="-171450">
              <a:buFont typeface="Arial" panose="020B0604020202020204" pitchFamily="34" charset="0"/>
              <a:buChar char="•"/>
            </a:pPr>
            <a:endParaRPr lang="en-US" sz="1050" b="0" dirty="0"/>
          </a:p>
          <a:p>
            <a:pPr marL="171450" indent="-171450">
              <a:buFont typeface="Arial" panose="020B0604020202020204" pitchFamily="34" charset="0"/>
              <a:buChar char="•"/>
            </a:pPr>
            <a:r>
              <a:rPr lang="en-US" sz="1600" b="0" dirty="0"/>
              <a:t>The first VIX future rolled contract Index has never moved down by more than 21% during those above periods</a:t>
            </a:r>
          </a:p>
          <a:p>
            <a:pPr algn="just"/>
            <a:endParaRPr lang="en-US" b="0" dirty="0"/>
          </a:p>
          <a:p>
            <a:pPr algn="just"/>
            <a:endParaRPr lang="en-US" sz="2400" b="0" dirty="0"/>
          </a:p>
          <a:p>
            <a:pPr algn="just"/>
            <a:endParaRPr lang="en-US" sz="2800" b="0" dirty="0"/>
          </a:p>
        </p:txBody>
      </p:sp>
      <p:graphicFrame>
        <p:nvGraphicFramePr>
          <p:cNvPr id="9" name="Chart 8"/>
          <p:cNvGraphicFramePr>
            <a:graphicFrameLocks/>
          </p:cNvGraphicFramePr>
          <p:nvPr>
            <p:extLst/>
          </p:nvPr>
        </p:nvGraphicFramePr>
        <p:xfrm>
          <a:off x="5676901" y="2314576"/>
          <a:ext cx="4524375" cy="3248025"/>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5931240" y="547360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42886528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3030"/>
            <a:ext cx="12192000" cy="576064"/>
          </a:xfrm>
        </p:spPr>
        <p:txBody>
          <a:bodyPr/>
          <a:lstStyle/>
          <a:p>
            <a:pPr lvl="2" indent="0" algn="ctr">
              <a:buNone/>
            </a:pPr>
            <a:r>
              <a:rPr lang="en-US" sz="3200" dirty="0"/>
              <a:t>How to trade Mean Reversion on VIX?</a:t>
            </a:r>
          </a:p>
          <a:p>
            <a:pPr lvl="2" indent="0" algn="ctr">
              <a:buNone/>
            </a:pPr>
            <a:endParaRPr lang="en-US" sz="3200" dirty="0"/>
          </a:p>
        </p:txBody>
      </p:sp>
      <p:sp>
        <p:nvSpPr>
          <p:cNvPr id="4" name="Rectangle 3"/>
          <p:cNvSpPr/>
          <p:nvPr/>
        </p:nvSpPr>
        <p:spPr>
          <a:xfrm>
            <a:off x="0" y="5728810"/>
            <a:ext cx="12191999" cy="430887"/>
          </a:xfrm>
          <a:prstGeom prst="rect">
            <a:avLst/>
          </a:prstGeom>
        </p:spPr>
        <p:txBody>
          <a:bodyPr wrap="square">
            <a:spAutoFit/>
          </a:bodyPr>
          <a:lstStyle/>
          <a:p>
            <a:pPr algn="ctr"/>
            <a:r>
              <a:rPr lang="en-US" sz="2200" b="1" kern="0" dirty="0">
                <a:solidFill>
                  <a:sysClr val="windowText" lastClr="000000"/>
                </a:solidFill>
              </a:rPr>
              <a:t>Step 1: construction of a basic systematic Mean Reversion Strategy </a:t>
            </a:r>
          </a:p>
        </p:txBody>
      </p:sp>
      <p:sp>
        <p:nvSpPr>
          <p:cNvPr id="9" name="Espace réservé du contenu 2"/>
          <p:cNvSpPr txBox="1">
            <a:spLocks/>
          </p:cNvSpPr>
          <p:nvPr/>
        </p:nvSpPr>
        <p:spPr>
          <a:xfrm>
            <a:off x="1524000" y="1767840"/>
            <a:ext cx="9189720" cy="3674747"/>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800" dirty="0">
                <a:latin typeface="Book Antiqua" panose="02040602050305030304" pitchFamily="18" charset="0"/>
              </a:rPr>
              <a:t>Basic mean reversion strategy:</a:t>
            </a:r>
          </a:p>
          <a:p>
            <a:endParaRPr lang="en-US" sz="1800" dirty="0">
              <a:latin typeface="Book Antiqua" panose="02040602050305030304" pitchFamily="18" charset="0"/>
            </a:endParaRPr>
          </a:p>
          <a:p>
            <a:pPr marL="285750" indent="-285750">
              <a:buFont typeface="Arial" panose="020B0604020202020204" pitchFamily="34" charset="0"/>
              <a:buChar char="•"/>
            </a:pPr>
            <a:r>
              <a:rPr lang="en-US" sz="1800" b="0" dirty="0"/>
              <a:t>We have identified the first rolled VIX future contracts as a good proxy of the VIX index</a:t>
            </a:r>
          </a:p>
          <a:p>
            <a:pPr marL="285750" indent="-285750">
              <a:buFont typeface="Arial" panose="020B0604020202020204" pitchFamily="34" charset="0"/>
              <a:buChar char="•"/>
            </a:pPr>
            <a:r>
              <a:rPr lang="en-US" sz="1800" b="0" dirty="0"/>
              <a:t>We have identified the first rolled VIX future contracts as a mean reverting underlying</a:t>
            </a:r>
          </a:p>
          <a:p>
            <a:pPr marL="285750" indent="-285750">
              <a:buFont typeface="Arial" panose="020B0604020202020204" pitchFamily="34" charset="0"/>
              <a:buChar char="•"/>
            </a:pPr>
            <a:r>
              <a:rPr lang="en-US" sz="1800" b="0" dirty="0"/>
              <a:t>Basic systematic investment strategy:</a:t>
            </a:r>
          </a:p>
          <a:p>
            <a:pPr marL="285750" indent="-285750">
              <a:buFont typeface="Arial" panose="020B0604020202020204" pitchFamily="34" charset="0"/>
              <a:buChar char="•"/>
            </a:pPr>
            <a:endParaRPr lang="en-US" b="0" dirty="0"/>
          </a:p>
          <a:p>
            <a:pPr marL="733425" lvl="2" indent="-285750">
              <a:buClrTx/>
              <a:buFont typeface="Courier New" panose="02070309020205020404" pitchFamily="49" charset="0"/>
              <a:buChar char="o"/>
            </a:pPr>
            <a:r>
              <a:rPr lang="en-US" sz="1800" dirty="0"/>
              <a:t>Buy </a:t>
            </a:r>
            <a:r>
              <a:rPr lang="en-US" sz="1800" dirty="0" smtClean="0"/>
              <a:t>variance </a:t>
            </a:r>
            <a:r>
              <a:rPr lang="en-US" sz="1800" dirty="0"/>
              <a:t>swap </a:t>
            </a:r>
            <a:r>
              <a:rPr lang="en-US" sz="1800" dirty="0"/>
              <a:t>with </a:t>
            </a:r>
            <a:r>
              <a:rPr lang="en-US" sz="1800" dirty="0" smtClean="0"/>
              <a:t>daily observations against </a:t>
            </a:r>
            <a:r>
              <a:rPr lang="en-US" sz="1800" dirty="0" smtClean="0"/>
              <a:t>variance </a:t>
            </a:r>
            <a:r>
              <a:rPr lang="en-US" sz="1800" dirty="0"/>
              <a:t>swaps </a:t>
            </a:r>
            <a:r>
              <a:rPr lang="en-US" sz="1800" dirty="0" smtClean="0"/>
              <a:t>with weekly observations on the </a:t>
            </a:r>
            <a:r>
              <a:rPr lang="en-US" sz="1800" dirty="0"/>
              <a:t>first rolled VIX future contract </a:t>
            </a:r>
          </a:p>
          <a:p>
            <a:pPr marL="733425" lvl="2" indent="-285750">
              <a:buClrTx/>
              <a:buFont typeface="Courier New" panose="02070309020205020404" pitchFamily="49" charset="0"/>
              <a:buChar char="o"/>
            </a:pPr>
            <a:r>
              <a:rPr lang="en-US" sz="1800" dirty="0"/>
              <a:t>In theory: product is worth 0 but it pays in case of effective mean reversion of the underlying</a:t>
            </a:r>
          </a:p>
          <a:p>
            <a:pPr marL="733425" lvl="2" indent="-285750">
              <a:buClrTx/>
              <a:buFont typeface="Courier New" panose="02070309020205020404" pitchFamily="49" charset="0"/>
              <a:buChar char="o"/>
            </a:pPr>
            <a:r>
              <a:rPr lang="en-US" sz="1800" dirty="0"/>
              <a:t>Daily cap of the delta exposure at 100% in absolute terms</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sz="1800" b="0" dirty="0"/>
              <a:t>For liquidity issues, replicate the above strategy using delta component only</a:t>
            </a:r>
          </a:p>
          <a:p>
            <a:endParaRPr lang="en-US" sz="1800" b="0" dirty="0"/>
          </a:p>
        </p:txBody>
      </p:sp>
    </p:spTree>
    <p:extLst>
      <p:ext uri="{BB962C8B-B14F-4D97-AF65-F5344CB8AC3E}">
        <p14:creationId xmlns:p14="http://schemas.microsoft.com/office/powerpoint/2010/main" val="1994369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5827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0" y="5598513"/>
            <a:ext cx="12191999" cy="430887"/>
          </a:xfrm>
          <a:prstGeom prst="rect">
            <a:avLst/>
          </a:prstGeom>
        </p:spPr>
        <p:txBody>
          <a:bodyPr wrap="square">
            <a:spAutoFit/>
          </a:bodyPr>
          <a:lstStyle/>
          <a:p>
            <a:pPr algn="ctr"/>
            <a:r>
              <a:rPr lang="en-US" sz="2200" b="1" kern="0" dirty="0">
                <a:solidFill>
                  <a:sysClr val="windowText" lastClr="000000"/>
                </a:solidFill>
              </a:rPr>
              <a:t>Step 1: construction of a basic systematic Mean Reversion Strategy </a:t>
            </a:r>
          </a:p>
        </p:txBody>
      </p:sp>
      <p:sp>
        <p:nvSpPr>
          <p:cNvPr id="9" name="Espace réservé du contenu 2"/>
          <p:cNvSpPr txBox="1">
            <a:spLocks/>
          </p:cNvSpPr>
          <p:nvPr/>
        </p:nvSpPr>
        <p:spPr>
          <a:xfrm>
            <a:off x="1066801" y="2423160"/>
            <a:ext cx="3933826" cy="264414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marL="285750" indent="-285750">
              <a:buFont typeface="Arial" panose="020B0604020202020204" pitchFamily="34" charset="0"/>
              <a:buChar char="•"/>
            </a:pPr>
            <a:r>
              <a:rPr lang="en-US" sz="1800" b="0" dirty="0"/>
              <a:t>The historical performance of the basic mean reversion strategy is not attractive</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The </a:t>
            </a:r>
            <a:r>
              <a:rPr lang="en-US" sz="1800" b="0" dirty="0" err="1"/>
              <a:t>contango</a:t>
            </a:r>
            <a:r>
              <a:rPr lang="en-US" sz="1800" b="0" dirty="0"/>
              <a:t> has a significant impact on the strategy </a:t>
            </a:r>
          </a:p>
          <a:p>
            <a:pPr marL="171450" indent="-171450">
              <a:buFont typeface="Arial" panose="020B0604020202020204" pitchFamily="34" charset="0"/>
              <a:buChar char="•"/>
            </a:pPr>
            <a:endParaRPr lang="en-US" sz="1200" b="0" dirty="0"/>
          </a:p>
          <a:p>
            <a:pPr marL="171450" indent="-171450">
              <a:buFont typeface="Arial" panose="020B0604020202020204" pitchFamily="34" charset="0"/>
              <a:buChar char="•"/>
            </a:pPr>
            <a:r>
              <a:rPr lang="en-US" sz="1800" b="0" dirty="0"/>
              <a:t>Need for timing in order to capture more value</a:t>
            </a:r>
          </a:p>
          <a:p>
            <a:endParaRPr lang="en-US" sz="1200" b="0" dirty="0"/>
          </a:p>
        </p:txBody>
      </p:sp>
      <p:graphicFrame>
        <p:nvGraphicFramePr>
          <p:cNvPr id="8" name="Chart 7"/>
          <p:cNvGraphicFramePr>
            <a:graphicFrameLocks/>
          </p:cNvGraphicFramePr>
          <p:nvPr>
            <p:extLst/>
          </p:nvPr>
        </p:nvGraphicFramePr>
        <p:xfrm>
          <a:off x="5198269" y="2283619"/>
          <a:ext cx="5148262" cy="3033713"/>
        </p:xfrm>
        <a:graphic>
          <a:graphicData uri="http://schemas.openxmlformats.org/drawingml/2006/chart">
            <c:chart xmlns:c="http://schemas.openxmlformats.org/drawingml/2006/chart" xmlns:r="http://schemas.openxmlformats.org/officeDocument/2006/relationships" r:id="rId2"/>
          </a:graphicData>
        </a:graphic>
      </p:graphicFrame>
      <p:sp>
        <p:nvSpPr>
          <p:cNvPr id="11" name="Espace réservé du contenu 2"/>
          <p:cNvSpPr txBox="1">
            <a:spLocks/>
          </p:cNvSpPr>
          <p:nvPr/>
        </p:nvSpPr>
        <p:spPr>
          <a:xfrm>
            <a:off x="5702640" y="51878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3419870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p:txBody>
      </p:sp>
      <p:sp>
        <p:nvSpPr>
          <p:cNvPr id="4" name="Rectangle 3"/>
          <p:cNvSpPr/>
          <p:nvPr/>
        </p:nvSpPr>
        <p:spPr>
          <a:xfrm>
            <a:off x="0" y="5707618"/>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a:t>
            </a:r>
          </a:p>
        </p:txBody>
      </p:sp>
      <p:sp>
        <p:nvSpPr>
          <p:cNvPr id="9" name="Espace réservé du contenu 2"/>
          <p:cNvSpPr txBox="1">
            <a:spLocks/>
          </p:cNvSpPr>
          <p:nvPr/>
        </p:nvSpPr>
        <p:spPr>
          <a:xfrm>
            <a:off x="1508760" y="1889760"/>
            <a:ext cx="9174480" cy="3068954"/>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800" dirty="0">
                <a:latin typeface="Book Antiqua" panose="02040602050305030304" pitchFamily="18" charset="0"/>
              </a:rPr>
              <a:t>Statistical approach of when mean reversion is relevant on the first VIX future contract:</a:t>
            </a:r>
          </a:p>
          <a:p>
            <a:pPr marL="285750" indent="-285750">
              <a:buFont typeface="Arial" panose="020B0604020202020204" pitchFamily="34" charset="0"/>
              <a:buChar char="•"/>
            </a:pPr>
            <a:endParaRPr lang="en-US" sz="1200" dirty="0">
              <a:latin typeface="Book Antiqua" panose="02040602050305030304" pitchFamily="18" charset="0"/>
            </a:endParaRPr>
          </a:p>
          <a:p>
            <a:pPr marL="171450" indent="-171450">
              <a:buFont typeface="Arial" panose="020B0604020202020204" pitchFamily="34" charset="0"/>
              <a:buChar char="•"/>
            </a:pPr>
            <a:r>
              <a:rPr lang="en-US" sz="1800" b="0" dirty="0"/>
              <a:t>Simulation of 10 systematic sub-strategies per observation window</a:t>
            </a:r>
          </a:p>
          <a:p>
            <a:pPr marL="171450" indent="-171450">
              <a:buFont typeface="Arial" panose="020B0604020202020204" pitchFamily="34" charset="0"/>
              <a:buChar char="•"/>
            </a:pPr>
            <a:r>
              <a:rPr lang="en-US" sz="1800" b="0" dirty="0"/>
              <a:t>Each sub-strategy </a:t>
            </a:r>
            <a:r>
              <a:rPr lang="en-US" sz="1200" b="0" dirty="0"/>
              <a:t>:</a:t>
            </a:r>
          </a:p>
          <a:p>
            <a:pPr marL="171450" indent="-171450">
              <a:buFont typeface="Arial" panose="020B0604020202020204" pitchFamily="34" charset="0"/>
              <a:buChar char="•"/>
            </a:pPr>
            <a:endParaRPr lang="en-US" sz="1200" b="0" dirty="0"/>
          </a:p>
          <a:p>
            <a:pPr marL="350838" lvl="1" indent="-171450">
              <a:buClrTx/>
            </a:pPr>
            <a:r>
              <a:rPr lang="en-US" sz="1800" dirty="0"/>
              <a:t>Systematically implements the basic mean reversion strategy on a daily basis if the rolled first VIX future falls between one predefined percentile at the close of the VIX index </a:t>
            </a:r>
          </a:p>
          <a:p>
            <a:pPr marL="350838" lvl="1" indent="-171450">
              <a:buClrTx/>
            </a:pPr>
            <a:r>
              <a:rPr lang="en-US" sz="1800" dirty="0"/>
              <a:t>10 sub-strategies corresponding to 10 percentiles (&lt;=10%, ]10%-20</a:t>
            </a:r>
            <a:r>
              <a:rPr lang="en-US" sz="1800" dirty="0"/>
              <a:t>%],…, </a:t>
            </a:r>
            <a:r>
              <a:rPr lang="en-US" sz="1800" dirty="0" smtClean="0"/>
              <a:t>]80%-90%],&gt;=90%)</a:t>
            </a:r>
            <a:endParaRPr lang="en-US" sz="1800" dirty="0"/>
          </a:p>
          <a:p>
            <a:pPr marL="350838" lvl="1" indent="-171450">
              <a:buClrTx/>
            </a:pPr>
            <a:r>
              <a:rPr lang="en-US" sz="1800" dirty="0"/>
              <a:t>4 Observation windows considered: 1 month, 3 months, 6 months and 12 month</a:t>
            </a:r>
          </a:p>
          <a:p>
            <a:pPr marL="350838" lvl="1" indent="-171450">
              <a:buClrTx/>
            </a:pPr>
            <a:endParaRPr lang="en-US" dirty="0"/>
          </a:p>
          <a:p>
            <a:pPr lvl="1" algn="l">
              <a:spcBef>
                <a:spcPct val="20000"/>
              </a:spcBef>
              <a:buClrTx/>
              <a:buFont typeface="Arial" panose="020B0604020202020204" pitchFamily="34" charset="0"/>
              <a:buChar char="•"/>
            </a:pPr>
            <a:r>
              <a:rPr lang="en-US" sz="1800" dirty="0">
                <a:solidFill>
                  <a:schemeClr val="dk1"/>
                </a:solidFill>
                <a:ea typeface="+mn-ea"/>
                <a:cs typeface="+mn-cs"/>
              </a:rPr>
              <a:t>Total number of strategy is 40 (10 sub-strategies for a given observation window)</a:t>
            </a:r>
          </a:p>
          <a:p>
            <a:pPr lvl="1" indent="0">
              <a:buNone/>
            </a:pPr>
            <a:endParaRPr lang="en-US" sz="1400" dirty="0"/>
          </a:p>
          <a:p>
            <a:pPr lvl="1" indent="0">
              <a:buNone/>
            </a:pPr>
            <a:endParaRPr lang="en-US" sz="1400" dirty="0"/>
          </a:p>
          <a:p>
            <a:endParaRPr lang="en-US" sz="1800" b="0" dirty="0"/>
          </a:p>
        </p:txBody>
      </p:sp>
    </p:spTree>
    <p:extLst>
      <p:ext uri="{BB962C8B-B14F-4D97-AF65-F5344CB8AC3E}">
        <p14:creationId xmlns:p14="http://schemas.microsoft.com/office/powerpoint/2010/main" val="13891253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0" y="5903624"/>
            <a:ext cx="1202436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1 month window</a:t>
            </a:r>
          </a:p>
        </p:txBody>
      </p:sp>
      <p:sp>
        <p:nvSpPr>
          <p:cNvPr id="10" name="Espace réservé du contenu 2"/>
          <p:cNvSpPr txBox="1">
            <a:spLocks/>
          </p:cNvSpPr>
          <p:nvPr/>
        </p:nvSpPr>
        <p:spPr>
          <a:xfrm>
            <a:off x="1508760" y="1800225"/>
            <a:ext cx="9174480" cy="1714501"/>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800" dirty="0"/>
              <a:t>SUMMARY OF RESULTS OF THE 10 SUB-STRATEGIES WITHIN A 1 MONTH WINDOW</a:t>
            </a:r>
            <a:endParaRPr lang="en-US" dirty="0"/>
          </a:p>
          <a:p>
            <a:pPr marL="285750" indent="-285750">
              <a:buFont typeface="Wingdings" panose="05000000000000000000" pitchFamily="2" charset="2"/>
              <a:buChar char="ü"/>
            </a:pPr>
            <a:r>
              <a:rPr lang="en-US" sz="1600" b="0" dirty="0"/>
              <a:t>On a 1 month window the sub systematic strategy invested only on the [40%-50%] percentile would historically limit more the </a:t>
            </a:r>
            <a:r>
              <a:rPr lang="en-US" sz="1600" b="0" dirty="0" err="1"/>
              <a:t>contango</a:t>
            </a:r>
            <a:r>
              <a:rPr lang="en-US" sz="1600" b="0" dirty="0"/>
              <a:t> effect </a:t>
            </a:r>
          </a:p>
          <a:p>
            <a:pPr marL="285750" indent="-285750">
              <a:buFont typeface="Wingdings" panose="05000000000000000000" pitchFamily="2" charset="2"/>
              <a:buChar char="ü"/>
            </a:pPr>
            <a:r>
              <a:rPr lang="en-US" sz="1600" b="0" dirty="0"/>
              <a:t>Mean Reversion would have been hurt more in the &lt;10% percentile sub-strategy</a:t>
            </a:r>
          </a:p>
          <a:p>
            <a:pPr marL="285750" indent="-285750">
              <a:buFont typeface="Wingdings" panose="05000000000000000000" pitchFamily="2" charset="2"/>
              <a:buChar char="ü"/>
            </a:pPr>
            <a:r>
              <a:rPr lang="en-US" sz="1600" b="0" dirty="0"/>
              <a:t>One month window is not historically an attractive one</a:t>
            </a:r>
          </a:p>
          <a:p>
            <a:pPr marL="285750" indent="-285750">
              <a:buFont typeface="Wingdings" panose="05000000000000000000" pitchFamily="2" charset="2"/>
              <a:buChar char="ü"/>
            </a:pPr>
            <a:endParaRPr lang="en-US" sz="1200" b="0" dirty="0"/>
          </a:p>
          <a:p>
            <a:endParaRPr lang="en-US" sz="1200" b="0" dirty="0"/>
          </a:p>
        </p:txBody>
      </p:sp>
      <p:graphicFrame>
        <p:nvGraphicFramePr>
          <p:cNvPr id="8" name="Table 7"/>
          <p:cNvGraphicFramePr>
            <a:graphicFrameLocks noGrp="1"/>
          </p:cNvGraphicFramePr>
          <p:nvPr>
            <p:extLst/>
          </p:nvPr>
        </p:nvGraphicFramePr>
        <p:xfrm>
          <a:off x="3048000" y="3476625"/>
          <a:ext cx="6019800" cy="2133600"/>
        </p:xfrm>
        <a:graphic>
          <a:graphicData uri="http://schemas.openxmlformats.org/drawingml/2006/table">
            <a:tbl>
              <a:tblPr/>
              <a:tblGrid>
                <a:gridCol w="609600">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gridCol w="1206500">
                  <a:extLst>
                    <a:ext uri="{9D8B030D-6E8A-4147-A177-3AD203B41FA5}">
                      <a16:colId xmlns:a16="http://schemas.microsoft.com/office/drawing/2014/main" xmlns="" val="20002"/>
                    </a:ext>
                  </a:extLst>
                </a:gridCol>
                <a:gridCol w="495300">
                  <a:extLst>
                    <a:ext uri="{9D8B030D-6E8A-4147-A177-3AD203B41FA5}">
                      <a16:colId xmlns:a16="http://schemas.microsoft.com/office/drawing/2014/main" xmlns="" val="20003"/>
                    </a:ext>
                  </a:extLst>
                </a:gridCol>
                <a:gridCol w="1104900">
                  <a:extLst>
                    <a:ext uri="{9D8B030D-6E8A-4147-A177-3AD203B41FA5}">
                      <a16:colId xmlns:a16="http://schemas.microsoft.com/office/drawing/2014/main" xmlns="" val="20004"/>
                    </a:ext>
                  </a:extLst>
                </a:gridCol>
                <a:gridCol w="381000">
                  <a:extLst>
                    <a:ext uri="{9D8B030D-6E8A-4147-A177-3AD203B41FA5}">
                      <a16:colId xmlns:a16="http://schemas.microsoft.com/office/drawing/2014/main" xmlns="" val="20005"/>
                    </a:ext>
                  </a:extLst>
                </a:gridCol>
                <a:gridCol w="850900">
                  <a:extLst>
                    <a:ext uri="{9D8B030D-6E8A-4147-A177-3AD203B41FA5}">
                      <a16:colId xmlns:a16="http://schemas.microsoft.com/office/drawing/2014/main" xmlns="" val="20006"/>
                    </a:ext>
                  </a:extLst>
                </a:gridCol>
              </a:tblGrid>
              <a:tr h="200025">
                <a:tc>
                  <a:txBody>
                    <a:bodyPr/>
                    <a:lstStyle/>
                    <a:p>
                      <a:pPr algn="l" fontAlgn="b"/>
                      <a:r>
                        <a:rPr lang="en-US" sz="900" b="1" i="0" u="none" strike="noStrike" dirty="0">
                          <a:solidFill>
                            <a:srgbClr val="FFFFFF"/>
                          </a:solidFill>
                          <a:effectLst/>
                          <a:latin typeface="Calibri"/>
                        </a:rPr>
                        <a:t>Percentil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nternal rate of return (IR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Realised Volatility (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RR/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Maximum Drawdow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Bet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Trade Propor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xmlns="" val="10000"/>
                  </a:ext>
                </a:extLst>
              </a:tr>
              <a:tr h="200025">
                <a:tc>
                  <a:txBody>
                    <a:bodyPr/>
                    <a:lstStyle/>
                    <a:p>
                      <a:pPr algn="l" fontAlgn="b"/>
                      <a:r>
                        <a:rPr lang="en-US" sz="900" b="0" i="0" u="none" strike="noStrike">
                          <a:solidFill>
                            <a:srgbClr val="FF0000"/>
                          </a:solidFill>
                          <a:effectLst/>
                          <a:latin typeface="Calibri"/>
                        </a:rPr>
                        <a:t>&lt;= 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CE6F1"/>
                    </a:solidFill>
                  </a:tcPr>
                </a:tc>
                <a:tc>
                  <a:txBody>
                    <a:bodyPr/>
                    <a:lstStyle/>
                    <a:p>
                      <a:pPr algn="r" fontAlgn="b"/>
                      <a:r>
                        <a:rPr lang="en-US" sz="900" b="0" i="0" u="none" strike="noStrike">
                          <a:solidFill>
                            <a:srgbClr val="FF0000"/>
                          </a:solidFill>
                          <a:effectLst/>
                          <a:latin typeface="Calibri"/>
                        </a:rPr>
                        <a:t>-24.8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25.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9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96.4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3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190500">
                <a:tc>
                  <a:txBody>
                    <a:bodyPr/>
                    <a:lstStyle/>
                    <a:p>
                      <a:pPr algn="l" fontAlgn="b"/>
                      <a:r>
                        <a:rPr lang="en-US" sz="900" b="1" i="0" u="none" strike="noStrike">
                          <a:solidFill>
                            <a:srgbClr val="000000"/>
                          </a:solidFill>
                          <a:effectLst/>
                          <a:latin typeface="Calibri"/>
                        </a:rPr>
                        <a:t>[10%-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7.2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3.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5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7.2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2"/>
                  </a:ext>
                </a:extLst>
              </a:tr>
              <a:tr h="190500">
                <a:tc>
                  <a:txBody>
                    <a:bodyPr/>
                    <a:lstStyle/>
                    <a:p>
                      <a:pPr algn="l" fontAlgn="b"/>
                      <a:r>
                        <a:rPr lang="en-US" sz="900" b="1" i="0" u="none" strike="noStrike">
                          <a:solidFill>
                            <a:srgbClr val="000000"/>
                          </a:solidFill>
                          <a:effectLst/>
                          <a:latin typeface="Calibri"/>
                        </a:rPr>
                        <a:t>[20%-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9.4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8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67.0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190500">
                <a:tc>
                  <a:txBody>
                    <a:bodyPr/>
                    <a:lstStyle/>
                    <a:p>
                      <a:pPr algn="l" fontAlgn="b"/>
                      <a:r>
                        <a:rPr lang="en-US" sz="900" b="1" i="0" u="none" strike="noStrike">
                          <a:solidFill>
                            <a:srgbClr val="000000"/>
                          </a:solidFill>
                          <a:effectLst/>
                          <a:latin typeface="Calibri"/>
                        </a:rPr>
                        <a:t>[30%-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7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9.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5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8.7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2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4"/>
                  </a:ext>
                </a:extLst>
              </a:tr>
              <a:tr h="200025">
                <a:tc>
                  <a:txBody>
                    <a:bodyPr/>
                    <a:lstStyle/>
                    <a:p>
                      <a:pPr algn="l" fontAlgn="b"/>
                      <a:r>
                        <a:rPr lang="en-US" sz="900" b="1" i="0" u="none" strike="noStrike">
                          <a:solidFill>
                            <a:srgbClr val="00B050"/>
                          </a:solidFill>
                          <a:effectLst/>
                          <a:latin typeface="Calibri"/>
                        </a:rPr>
                        <a:t>[40%-5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1" i="0" u="none" strike="noStrike">
                          <a:solidFill>
                            <a:srgbClr val="00B050"/>
                          </a:solidFill>
                          <a:effectLst/>
                          <a:latin typeface="Calibri"/>
                        </a:rPr>
                        <a:t>-0.2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7.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0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dirty="0">
                          <a:solidFill>
                            <a:srgbClr val="00B050"/>
                          </a:solidFill>
                          <a:effectLst/>
                          <a:latin typeface="Calibri"/>
                        </a:rPr>
                        <a:t>-26.6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0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190500">
                <a:tc>
                  <a:txBody>
                    <a:bodyPr/>
                    <a:lstStyle/>
                    <a:p>
                      <a:pPr algn="l" fontAlgn="b"/>
                      <a:r>
                        <a:rPr lang="en-US" sz="900" b="1" i="0" u="none" strike="noStrike">
                          <a:solidFill>
                            <a:srgbClr val="000000"/>
                          </a:solidFill>
                          <a:effectLst/>
                          <a:latin typeface="Calibri"/>
                        </a:rPr>
                        <a:t>[50%-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4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8.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5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3.5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1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6"/>
                  </a:ext>
                </a:extLst>
              </a:tr>
              <a:tr h="190500">
                <a:tc>
                  <a:txBody>
                    <a:bodyPr/>
                    <a:lstStyle/>
                    <a:p>
                      <a:pPr algn="l" fontAlgn="b"/>
                      <a:r>
                        <a:rPr lang="en-US" sz="900" b="1" i="0" u="none" strike="noStrike">
                          <a:solidFill>
                            <a:srgbClr val="000000"/>
                          </a:solidFill>
                          <a:effectLst/>
                          <a:latin typeface="Calibri"/>
                        </a:rPr>
                        <a:t>[60%-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3.5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3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7.4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190500">
                <a:tc>
                  <a:txBody>
                    <a:bodyPr/>
                    <a:lstStyle/>
                    <a:p>
                      <a:pPr algn="l" fontAlgn="b"/>
                      <a:r>
                        <a:rPr lang="en-US" sz="900" b="1" i="0" u="none" strike="noStrike">
                          <a:solidFill>
                            <a:srgbClr val="000000"/>
                          </a:solidFill>
                          <a:effectLst/>
                          <a:latin typeface="Calibri"/>
                        </a:rPr>
                        <a:t>[70%-8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0.8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19.8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6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8"/>
                  </a:ext>
                </a:extLst>
              </a:tr>
              <a:tr h="190500">
                <a:tc>
                  <a:txBody>
                    <a:bodyPr/>
                    <a:lstStyle/>
                    <a:p>
                      <a:pPr algn="l" fontAlgn="b"/>
                      <a:r>
                        <a:rPr lang="en-US" sz="900" b="1" i="0" u="none" strike="noStrike">
                          <a:solidFill>
                            <a:srgbClr val="000000"/>
                          </a:solidFill>
                          <a:effectLst/>
                          <a:latin typeface="Calibri"/>
                        </a:rPr>
                        <a:t>[80%-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2.2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2.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8.3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11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200025">
                <a:tc>
                  <a:txBody>
                    <a:bodyPr/>
                    <a:lstStyle/>
                    <a:p>
                      <a:pPr algn="l" fontAlgn="b"/>
                      <a:r>
                        <a:rPr lang="en-US" sz="900" b="1" i="0" u="none" strike="noStrike">
                          <a:solidFill>
                            <a:srgbClr val="000000"/>
                          </a:solidFill>
                          <a:effectLst/>
                          <a:latin typeface="Calibri"/>
                        </a:rPr>
                        <a:t>&gt; 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9.5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4.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2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78.5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65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1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10"/>
                  </a:ext>
                </a:extLst>
              </a:tr>
            </a:tbl>
          </a:graphicData>
        </a:graphic>
      </p:graphicFrame>
      <p:sp>
        <p:nvSpPr>
          <p:cNvPr id="9" name="Espace réservé du contenu 2"/>
          <p:cNvSpPr txBox="1">
            <a:spLocks/>
          </p:cNvSpPr>
          <p:nvPr/>
        </p:nvSpPr>
        <p:spPr>
          <a:xfrm>
            <a:off x="5674065" y="563552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254569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p:txBody>
      </p:sp>
      <p:sp>
        <p:nvSpPr>
          <p:cNvPr id="4" name="Rectangle 3"/>
          <p:cNvSpPr/>
          <p:nvPr/>
        </p:nvSpPr>
        <p:spPr>
          <a:xfrm>
            <a:off x="0" y="5864304"/>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1 month window</a:t>
            </a:r>
          </a:p>
        </p:txBody>
      </p:sp>
      <p:graphicFrame>
        <p:nvGraphicFramePr>
          <p:cNvPr id="8" name="Chart 7"/>
          <p:cNvGraphicFramePr>
            <a:graphicFrameLocks/>
          </p:cNvGraphicFramePr>
          <p:nvPr>
            <p:extLst/>
          </p:nvPr>
        </p:nvGraphicFramePr>
        <p:xfrm>
          <a:off x="2552699" y="2438401"/>
          <a:ext cx="6810375" cy="3067050"/>
        </p:xfrm>
        <a:graphic>
          <a:graphicData uri="http://schemas.openxmlformats.org/drawingml/2006/chart">
            <c:chart xmlns:c="http://schemas.openxmlformats.org/drawingml/2006/chart" xmlns:r="http://schemas.openxmlformats.org/officeDocument/2006/relationships" r:id="rId2"/>
          </a:graphicData>
        </a:graphic>
      </p:graphicFrame>
      <p:sp>
        <p:nvSpPr>
          <p:cNvPr id="6" name="Espace réservé du contenu 2"/>
          <p:cNvSpPr txBox="1">
            <a:spLocks/>
          </p:cNvSpPr>
          <p:nvPr/>
        </p:nvSpPr>
        <p:spPr>
          <a:xfrm>
            <a:off x="0" y="1859887"/>
            <a:ext cx="12024360" cy="615723"/>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fr-FR" sz="1800" dirty="0"/>
              <a:t>HISTORICAL SIMULATION OF THE BEST AND WORST SUB-STRATEGIES </a:t>
            </a:r>
            <a:r>
              <a:rPr lang="en-US" sz="1800" dirty="0"/>
              <a:t>WITHIN A </a:t>
            </a:r>
            <a:r>
              <a:rPr lang="fr-FR" sz="1800" dirty="0"/>
              <a:t>1 MONTH WINDOW</a:t>
            </a:r>
          </a:p>
          <a:p>
            <a:pPr algn="ctr"/>
            <a:endParaRPr lang="fr-FR" sz="1800" b="0" dirty="0"/>
          </a:p>
        </p:txBody>
      </p:sp>
      <p:sp>
        <p:nvSpPr>
          <p:cNvPr id="10" name="Espace réservé du contenu 2"/>
          <p:cNvSpPr txBox="1">
            <a:spLocks/>
          </p:cNvSpPr>
          <p:nvPr/>
        </p:nvSpPr>
        <p:spPr>
          <a:xfrm>
            <a:off x="5674065" y="563552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5950865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6840"/>
            <a:ext cx="12192000" cy="576064"/>
          </a:xfrm>
        </p:spPr>
        <p:txBody>
          <a:bodyPr/>
          <a:lstStyle/>
          <a:p>
            <a:pPr lvl="2" indent="0" algn="ctr">
              <a:buNone/>
            </a:pPr>
            <a:r>
              <a:rPr lang="en-US" sz="3200" dirty="0"/>
              <a:t>How to trade Mean Reversion on VIX?</a:t>
            </a:r>
          </a:p>
        </p:txBody>
      </p:sp>
      <p:sp>
        <p:nvSpPr>
          <p:cNvPr id="4" name="Rectangle 3"/>
          <p:cNvSpPr/>
          <p:nvPr/>
        </p:nvSpPr>
        <p:spPr>
          <a:xfrm>
            <a:off x="1" y="5774292"/>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3 months window</a:t>
            </a:r>
          </a:p>
        </p:txBody>
      </p:sp>
      <p:sp>
        <p:nvSpPr>
          <p:cNvPr id="10" name="Espace réservé du contenu 2"/>
          <p:cNvSpPr txBox="1">
            <a:spLocks/>
          </p:cNvSpPr>
          <p:nvPr/>
        </p:nvSpPr>
        <p:spPr>
          <a:xfrm>
            <a:off x="1569720" y="1800225"/>
            <a:ext cx="9098280" cy="1478517"/>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en-US" sz="1800" dirty="0"/>
              <a:t>SUMMARY OF RESULTS OF THE 10 SUB-STRATEGIES WITHIN A 3 MONTHS WINDOW</a:t>
            </a:r>
          </a:p>
          <a:p>
            <a:endParaRPr lang="en-US" dirty="0"/>
          </a:p>
          <a:p>
            <a:pPr marL="285750" indent="-285750">
              <a:buFont typeface="Wingdings" panose="05000000000000000000" pitchFamily="2" charset="2"/>
              <a:buChar char="ü"/>
            </a:pPr>
            <a:r>
              <a:rPr lang="en-US" sz="1600" b="0" dirty="0"/>
              <a:t>On a 3 months window the sub systematic strategy invested only on the [20%-30%] percentile would historically perform better on a risk return basis </a:t>
            </a:r>
            <a:endParaRPr lang="en-US" sz="1200" b="0" dirty="0"/>
          </a:p>
          <a:p>
            <a:pPr marL="285750" indent="-285750">
              <a:buFont typeface="Wingdings" panose="05000000000000000000" pitchFamily="2" charset="2"/>
              <a:buChar char="ü"/>
            </a:pPr>
            <a:r>
              <a:rPr lang="en-US" sz="1600" b="0" dirty="0"/>
              <a:t>Mean Reversion would have been hurt more on the &lt;10% percentile sub-strategy</a:t>
            </a:r>
          </a:p>
          <a:p>
            <a:endParaRPr lang="en-US" sz="1200" b="0" dirty="0"/>
          </a:p>
        </p:txBody>
      </p:sp>
      <p:graphicFrame>
        <p:nvGraphicFramePr>
          <p:cNvPr id="6" name="Table 5"/>
          <p:cNvGraphicFramePr>
            <a:graphicFrameLocks noGrp="1"/>
          </p:cNvGraphicFramePr>
          <p:nvPr>
            <p:extLst/>
          </p:nvPr>
        </p:nvGraphicFramePr>
        <p:xfrm>
          <a:off x="3070404" y="3425031"/>
          <a:ext cx="6019800" cy="2114550"/>
        </p:xfrm>
        <a:graphic>
          <a:graphicData uri="http://schemas.openxmlformats.org/drawingml/2006/table">
            <a:tbl>
              <a:tblPr/>
              <a:tblGrid>
                <a:gridCol w="609600">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gridCol w="1206500">
                  <a:extLst>
                    <a:ext uri="{9D8B030D-6E8A-4147-A177-3AD203B41FA5}">
                      <a16:colId xmlns:a16="http://schemas.microsoft.com/office/drawing/2014/main" xmlns="" val="20002"/>
                    </a:ext>
                  </a:extLst>
                </a:gridCol>
                <a:gridCol w="495300">
                  <a:extLst>
                    <a:ext uri="{9D8B030D-6E8A-4147-A177-3AD203B41FA5}">
                      <a16:colId xmlns:a16="http://schemas.microsoft.com/office/drawing/2014/main" xmlns="" val="20003"/>
                    </a:ext>
                  </a:extLst>
                </a:gridCol>
                <a:gridCol w="1104900">
                  <a:extLst>
                    <a:ext uri="{9D8B030D-6E8A-4147-A177-3AD203B41FA5}">
                      <a16:colId xmlns:a16="http://schemas.microsoft.com/office/drawing/2014/main" xmlns="" val="20004"/>
                    </a:ext>
                  </a:extLst>
                </a:gridCol>
                <a:gridCol w="381000">
                  <a:extLst>
                    <a:ext uri="{9D8B030D-6E8A-4147-A177-3AD203B41FA5}">
                      <a16:colId xmlns:a16="http://schemas.microsoft.com/office/drawing/2014/main" xmlns="" val="20005"/>
                    </a:ext>
                  </a:extLst>
                </a:gridCol>
                <a:gridCol w="850900">
                  <a:extLst>
                    <a:ext uri="{9D8B030D-6E8A-4147-A177-3AD203B41FA5}">
                      <a16:colId xmlns:a16="http://schemas.microsoft.com/office/drawing/2014/main" xmlns="" val="20006"/>
                    </a:ext>
                  </a:extLst>
                </a:gridCol>
              </a:tblGrid>
              <a:tr h="200025">
                <a:tc>
                  <a:txBody>
                    <a:bodyPr/>
                    <a:lstStyle/>
                    <a:p>
                      <a:pPr algn="l" fontAlgn="b"/>
                      <a:r>
                        <a:rPr lang="en-US" sz="900" b="1" i="0" u="none" strike="noStrike" dirty="0">
                          <a:solidFill>
                            <a:srgbClr val="FFFFFF"/>
                          </a:solidFill>
                          <a:effectLst/>
                          <a:latin typeface="Calibri"/>
                        </a:rPr>
                        <a:t>Percentil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nternal rate of return (IR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Realised Volatility (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RR/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Maximum Drawdow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Bet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Trade Propor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xmlns="" val="10000"/>
                  </a:ext>
                </a:extLst>
              </a:tr>
              <a:tr h="190500">
                <a:tc>
                  <a:txBody>
                    <a:bodyPr/>
                    <a:lstStyle/>
                    <a:p>
                      <a:pPr algn="l" fontAlgn="b"/>
                      <a:r>
                        <a:rPr lang="en-US" sz="900" b="0" i="0" u="none" strike="noStrike">
                          <a:solidFill>
                            <a:srgbClr val="FF0000"/>
                          </a:solidFill>
                          <a:effectLst/>
                          <a:latin typeface="Calibri"/>
                        </a:rPr>
                        <a:t>&lt;= 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CE6F1"/>
                    </a:solidFill>
                  </a:tcPr>
                </a:tc>
                <a:tc>
                  <a:txBody>
                    <a:bodyPr/>
                    <a:lstStyle/>
                    <a:p>
                      <a:pPr algn="r" fontAlgn="b"/>
                      <a:r>
                        <a:rPr lang="en-US" sz="900" b="0" i="0" u="none" strike="noStrike">
                          <a:solidFill>
                            <a:srgbClr val="FF0000"/>
                          </a:solidFill>
                          <a:effectLst/>
                          <a:latin typeface="Calibri"/>
                        </a:rPr>
                        <a:t>-24.5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27.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8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95.7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3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190500">
                <a:tc>
                  <a:txBody>
                    <a:bodyPr/>
                    <a:lstStyle/>
                    <a:p>
                      <a:pPr algn="l" fontAlgn="b"/>
                      <a:r>
                        <a:rPr lang="en-US" sz="900" b="1" i="0" u="none" strike="noStrike">
                          <a:solidFill>
                            <a:srgbClr val="000000"/>
                          </a:solidFill>
                          <a:effectLst/>
                          <a:latin typeface="Calibri"/>
                        </a:rPr>
                        <a:t>[10%-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8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2.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4.8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1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2"/>
                  </a:ext>
                </a:extLst>
              </a:tr>
              <a:tr h="190500">
                <a:tc>
                  <a:txBody>
                    <a:bodyPr/>
                    <a:lstStyle/>
                    <a:p>
                      <a:pPr algn="l" fontAlgn="b"/>
                      <a:r>
                        <a:rPr lang="en-US" sz="900" b="1" i="0" u="none" strike="noStrike">
                          <a:solidFill>
                            <a:srgbClr val="00B050"/>
                          </a:solidFill>
                          <a:effectLst/>
                          <a:latin typeface="Calibri"/>
                        </a:rPr>
                        <a:t>[20%-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1" i="0" u="none" strike="noStrike">
                          <a:solidFill>
                            <a:srgbClr val="00B050"/>
                          </a:solidFill>
                          <a:effectLst/>
                          <a:latin typeface="Calibri"/>
                        </a:rPr>
                        <a:t>5.9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1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52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17.1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01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190500">
                <a:tc>
                  <a:txBody>
                    <a:bodyPr/>
                    <a:lstStyle/>
                    <a:p>
                      <a:pPr algn="l" fontAlgn="b"/>
                      <a:r>
                        <a:rPr lang="en-US" sz="900" b="1" i="0" u="none" strike="noStrike">
                          <a:solidFill>
                            <a:srgbClr val="000000"/>
                          </a:solidFill>
                          <a:effectLst/>
                          <a:latin typeface="Calibri"/>
                        </a:rPr>
                        <a:t>[30%-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6.2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1.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5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3.2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4"/>
                  </a:ext>
                </a:extLst>
              </a:tr>
              <a:tr h="190500">
                <a:tc>
                  <a:txBody>
                    <a:bodyPr/>
                    <a:lstStyle/>
                    <a:p>
                      <a:pPr algn="l" fontAlgn="b"/>
                      <a:r>
                        <a:rPr lang="en-US" sz="900" b="1" i="0" u="none" strike="noStrike">
                          <a:solidFill>
                            <a:srgbClr val="000000"/>
                          </a:solidFill>
                          <a:effectLst/>
                          <a:latin typeface="Calibri"/>
                        </a:rPr>
                        <a:t>[40%-5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2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1.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3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5.0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2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190500">
                <a:tc>
                  <a:txBody>
                    <a:bodyPr/>
                    <a:lstStyle/>
                    <a:p>
                      <a:pPr algn="l" fontAlgn="b"/>
                      <a:r>
                        <a:rPr lang="en-US" sz="900" b="1" i="0" u="none" strike="noStrike">
                          <a:solidFill>
                            <a:srgbClr val="000000"/>
                          </a:solidFill>
                          <a:effectLst/>
                          <a:latin typeface="Calibri"/>
                        </a:rPr>
                        <a:t>[50%-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14.5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5.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9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82.0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8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6"/>
                  </a:ext>
                </a:extLst>
              </a:tr>
              <a:tr h="190500">
                <a:tc>
                  <a:txBody>
                    <a:bodyPr/>
                    <a:lstStyle/>
                    <a:p>
                      <a:pPr algn="l" fontAlgn="b"/>
                      <a:r>
                        <a:rPr lang="en-US" sz="900" b="1" i="0" u="none" strike="noStrike">
                          <a:solidFill>
                            <a:srgbClr val="000000"/>
                          </a:solidFill>
                          <a:effectLst/>
                          <a:latin typeface="Calibri"/>
                        </a:rPr>
                        <a:t>[60%-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3.8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9.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2.2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2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190500">
                <a:tc>
                  <a:txBody>
                    <a:bodyPr/>
                    <a:lstStyle/>
                    <a:p>
                      <a:pPr algn="l" fontAlgn="b"/>
                      <a:r>
                        <a:rPr lang="en-US" sz="900" b="1" i="0" u="none" strike="noStrike">
                          <a:solidFill>
                            <a:srgbClr val="000000"/>
                          </a:solidFill>
                          <a:effectLst/>
                          <a:latin typeface="Calibri"/>
                        </a:rPr>
                        <a:t>[70%-8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2.9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28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8.5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8"/>
                  </a:ext>
                </a:extLst>
              </a:tr>
              <a:tr h="190500">
                <a:tc>
                  <a:txBody>
                    <a:bodyPr/>
                    <a:lstStyle/>
                    <a:p>
                      <a:pPr algn="l" fontAlgn="b"/>
                      <a:r>
                        <a:rPr lang="en-US" sz="900" b="1" i="0" u="none" strike="noStrike">
                          <a:solidFill>
                            <a:srgbClr val="000000"/>
                          </a:solidFill>
                          <a:effectLst/>
                          <a:latin typeface="Calibri"/>
                        </a:rPr>
                        <a:t>[80%-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0.4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4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0.3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200025">
                <a:tc>
                  <a:txBody>
                    <a:bodyPr/>
                    <a:lstStyle/>
                    <a:p>
                      <a:pPr algn="l" fontAlgn="b"/>
                      <a:r>
                        <a:rPr lang="en-US" sz="900" b="1" i="0" u="none" strike="noStrike">
                          <a:solidFill>
                            <a:srgbClr val="000000"/>
                          </a:solidFill>
                          <a:effectLst/>
                          <a:latin typeface="Calibri"/>
                        </a:rPr>
                        <a:t>&gt; 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9.5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0.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3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79.8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57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10"/>
                  </a:ext>
                </a:extLst>
              </a:tr>
            </a:tbl>
          </a:graphicData>
        </a:graphic>
      </p:graphicFrame>
      <p:sp>
        <p:nvSpPr>
          <p:cNvPr id="8" name="Espace réservé du contenu 2"/>
          <p:cNvSpPr txBox="1">
            <a:spLocks/>
          </p:cNvSpPr>
          <p:nvPr/>
        </p:nvSpPr>
        <p:spPr>
          <a:xfrm>
            <a:off x="5674065" y="557837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1471776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1" y="5829538"/>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3 months window</a:t>
            </a:r>
          </a:p>
        </p:txBody>
      </p:sp>
      <p:sp>
        <p:nvSpPr>
          <p:cNvPr id="6" name="Espace réservé du contenu 2"/>
          <p:cNvSpPr txBox="1">
            <a:spLocks/>
          </p:cNvSpPr>
          <p:nvPr/>
        </p:nvSpPr>
        <p:spPr>
          <a:xfrm>
            <a:off x="0" y="1895473"/>
            <a:ext cx="12054840" cy="550309"/>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fr-FR" sz="1800" dirty="0"/>
              <a:t>HISTORICAL SIMULATION OF THE BEST AND WORST SUB-STRATEGIES </a:t>
            </a:r>
            <a:r>
              <a:rPr lang="en-US" sz="1800" dirty="0"/>
              <a:t>WITHIN A </a:t>
            </a:r>
            <a:r>
              <a:rPr lang="fr-FR" sz="1800" dirty="0"/>
              <a:t>3 MONTHS WINDOW</a:t>
            </a:r>
          </a:p>
          <a:p>
            <a:endParaRPr lang="fr-FR" sz="1600" b="0" dirty="0"/>
          </a:p>
        </p:txBody>
      </p:sp>
      <p:graphicFrame>
        <p:nvGraphicFramePr>
          <p:cNvPr id="7" name="Chart 6"/>
          <p:cNvGraphicFramePr>
            <a:graphicFrameLocks/>
          </p:cNvGraphicFramePr>
          <p:nvPr>
            <p:extLst/>
          </p:nvPr>
        </p:nvGraphicFramePr>
        <p:xfrm>
          <a:off x="2353958" y="2514601"/>
          <a:ext cx="7393128" cy="3124199"/>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5674065" y="555932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6702472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0" y="5814298"/>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6 months window</a:t>
            </a:r>
          </a:p>
        </p:txBody>
      </p:sp>
      <p:sp>
        <p:nvSpPr>
          <p:cNvPr id="10" name="Espace réservé du contenu 2"/>
          <p:cNvSpPr txBox="1">
            <a:spLocks/>
          </p:cNvSpPr>
          <p:nvPr/>
        </p:nvSpPr>
        <p:spPr>
          <a:xfrm>
            <a:off x="1508761" y="1800225"/>
            <a:ext cx="9174480" cy="1478517"/>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en-US" sz="1800" dirty="0"/>
              <a:t>SUMMARY OF RESULTS OF THE 10 SUB-STRATEGIES WITHIN A 6 MONTHS WINDOW</a:t>
            </a:r>
          </a:p>
          <a:p>
            <a:endParaRPr lang="en-US" dirty="0"/>
          </a:p>
          <a:p>
            <a:pPr marL="285750" indent="-285750">
              <a:buFont typeface="Wingdings" panose="05000000000000000000" pitchFamily="2" charset="2"/>
              <a:buChar char="ü"/>
            </a:pPr>
            <a:r>
              <a:rPr lang="en-US" sz="1600" b="0" dirty="0"/>
              <a:t>On a 6 month window the sub systematic strategy invested only on the [10%-20%] percentile would have historically performed better on a risk return basis and offered a good diversification</a:t>
            </a:r>
            <a:endParaRPr lang="en-US" sz="1200" b="0" dirty="0"/>
          </a:p>
          <a:p>
            <a:pPr marL="285750" indent="-285750">
              <a:buFont typeface="Wingdings" panose="05000000000000000000" pitchFamily="2" charset="2"/>
              <a:buChar char="ü"/>
            </a:pPr>
            <a:r>
              <a:rPr lang="en-US" sz="1600" b="0" dirty="0"/>
              <a:t>Mean Reversion would have been hurt more in the &lt;10% percentile sub-strategy</a:t>
            </a:r>
          </a:p>
          <a:p>
            <a:endParaRPr lang="en-US" sz="1200" b="0" dirty="0"/>
          </a:p>
        </p:txBody>
      </p:sp>
      <p:graphicFrame>
        <p:nvGraphicFramePr>
          <p:cNvPr id="5" name="Table 4"/>
          <p:cNvGraphicFramePr>
            <a:graphicFrameLocks noGrp="1"/>
          </p:cNvGraphicFramePr>
          <p:nvPr>
            <p:extLst>
              <p:ext uri="{D42A27DB-BD31-4B8C-83A1-F6EECF244321}">
                <p14:modId xmlns:p14="http://schemas.microsoft.com/office/powerpoint/2010/main" val="4101841879"/>
              </p:ext>
            </p:extLst>
          </p:nvPr>
        </p:nvGraphicFramePr>
        <p:xfrm>
          <a:off x="3086100" y="3339306"/>
          <a:ext cx="6019800" cy="2114550"/>
        </p:xfrm>
        <a:graphic>
          <a:graphicData uri="http://schemas.openxmlformats.org/drawingml/2006/table">
            <a:tbl>
              <a:tblPr/>
              <a:tblGrid>
                <a:gridCol w="609600">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gridCol w="1206500">
                  <a:extLst>
                    <a:ext uri="{9D8B030D-6E8A-4147-A177-3AD203B41FA5}">
                      <a16:colId xmlns:a16="http://schemas.microsoft.com/office/drawing/2014/main" xmlns="" val="20002"/>
                    </a:ext>
                  </a:extLst>
                </a:gridCol>
                <a:gridCol w="495300">
                  <a:extLst>
                    <a:ext uri="{9D8B030D-6E8A-4147-A177-3AD203B41FA5}">
                      <a16:colId xmlns:a16="http://schemas.microsoft.com/office/drawing/2014/main" xmlns="" val="20003"/>
                    </a:ext>
                  </a:extLst>
                </a:gridCol>
                <a:gridCol w="1104900">
                  <a:extLst>
                    <a:ext uri="{9D8B030D-6E8A-4147-A177-3AD203B41FA5}">
                      <a16:colId xmlns:a16="http://schemas.microsoft.com/office/drawing/2014/main" xmlns="" val="20004"/>
                    </a:ext>
                  </a:extLst>
                </a:gridCol>
                <a:gridCol w="381000">
                  <a:extLst>
                    <a:ext uri="{9D8B030D-6E8A-4147-A177-3AD203B41FA5}">
                      <a16:colId xmlns:a16="http://schemas.microsoft.com/office/drawing/2014/main" xmlns="" val="20005"/>
                    </a:ext>
                  </a:extLst>
                </a:gridCol>
                <a:gridCol w="850900">
                  <a:extLst>
                    <a:ext uri="{9D8B030D-6E8A-4147-A177-3AD203B41FA5}">
                      <a16:colId xmlns:a16="http://schemas.microsoft.com/office/drawing/2014/main" xmlns="" val="20006"/>
                    </a:ext>
                  </a:extLst>
                </a:gridCol>
              </a:tblGrid>
              <a:tr h="200025">
                <a:tc>
                  <a:txBody>
                    <a:bodyPr/>
                    <a:lstStyle/>
                    <a:p>
                      <a:pPr algn="l" fontAlgn="b"/>
                      <a:r>
                        <a:rPr lang="en-US" sz="900" b="1" i="0" u="none" strike="noStrike" dirty="0">
                          <a:solidFill>
                            <a:srgbClr val="FFFFFF"/>
                          </a:solidFill>
                          <a:effectLst/>
                          <a:latin typeface="Calibri"/>
                        </a:rPr>
                        <a:t>Percentil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nternal rate of return (IR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Realised Volatility (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RR/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Maximum Drawdow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Bet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Trade Propor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xmlns="" val="10000"/>
                  </a:ext>
                </a:extLst>
              </a:tr>
              <a:tr h="190500">
                <a:tc>
                  <a:txBody>
                    <a:bodyPr/>
                    <a:lstStyle/>
                    <a:p>
                      <a:pPr algn="l" fontAlgn="b"/>
                      <a:r>
                        <a:rPr lang="en-US" sz="900" b="0" i="0" u="none" strike="noStrike">
                          <a:solidFill>
                            <a:srgbClr val="FF0000"/>
                          </a:solidFill>
                          <a:effectLst/>
                          <a:latin typeface="Calibri"/>
                        </a:rPr>
                        <a:t>&lt;= 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CE6F1"/>
                    </a:solidFill>
                  </a:tcPr>
                </a:tc>
                <a:tc>
                  <a:txBody>
                    <a:bodyPr/>
                    <a:lstStyle/>
                    <a:p>
                      <a:pPr algn="r" fontAlgn="b"/>
                      <a:r>
                        <a:rPr lang="en-US" sz="900" b="0" i="0" u="none" strike="noStrike">
                          <a:solidFill>
                            <a:srgbClr val="FF0000"/>
                          </a:solidFill>
                          <a:effectLst/>
                          <a:latin typeface="Calibri"/>
                        </a:rPr>
                        <a:t>-22.7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28.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7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94.6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2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4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190500">
                <a:tc>
                  <a:txBody>
                    <a:bodyPr/>
                    <a:lstStyle/>
                    <a:p>
                      <a:pPr algn="l" fontAlgn="b"/>
                      <a:r>
                        <a:rPr lang="en-US" sz="900" b="1" i="0" u="none" strike="noStrike">
                          <a:solidFill>
                            <a:srgbClr val="00B050"/>
                          </a:solidFill>
                          <a:effectLst/>
                          <a:latin typeface="Calibri"/>
                        </a:rPr>
                        <a:t>[10%-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1" i="0" u="none" strike="noStrike">
                          <a:solidFill>
                            <a:srgbClr val="00B050"/>
                          </a:solidFill>
                          <a:effectLst/>
                          <a:latin typeface="Calibri"/>
                        </a:rPr>
                        <a:t>1.3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13.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10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20.2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02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2"/>
                  </a:ext>
                </a:extLst>
              </a:tr>
              <a:tr h="190500">
                <a:tc>
                  <a:txBody>
                    <a:bodyPr/>
                    <a:lstStyle/>
                    <a:p>
                      <a:pPr algn="l" fontAlgn="b"/>
                      <a:r>
                        <a:rPr lang="en-US" sz="900" b="1" i="0" u="none" strike="noStrike">
                          <a:solidFill>
                            <a:srgbClr val="000000"/>
                          </a:solidFill>
                          <a:effectLst/>
                          <a:latin typeface="Calibri"/>
                        </a:rPr>
                        <a:t>[20%-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10.4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6.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6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algn="r" defTabSz="914400" rtl="0" eaLnBrk="1" fontAlgn="b" latinLnBrk="0" hangingPunct="1"/>
                      <a:r>
                        <a:rPr lang="en-US" sz="900" b="0" i="0" u="none" strike="noStrike" kern="1200" dirty="0" smtClean="0">
                          <a:solidFill>
                            <a:srgbClr val="000000"/>
                          </a:solidFill>
                          <a:effectLst/>
                          <a:latin typeface="Calibri"/>
                          <a:ea typeface="+mn-ea"/>
                          <a:cs typeface="+mn-cs"/>
                        </a:rPr>
                        <a:t>-70%</a:t>
                      </a:r>
                      <a:endParaRPr lang="en-US" sz="900" b="0" i="0" u="none" strike="noStrike" kern="1200" dirty="0">
                        <a:solidFill>
                          <a:srgbClr val="000000"/>
                        </a:solidFill>
                        <a:effectLst/>
                        <a:latin typeface="Calibri"/>
                        <a:ea typeface="+mn-ea"/>
                        <a:cs typeface="+mn-cs"/>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algn="r" defTabSz="914400" rtl="0" eaLnBrk="1" fontAlgn="b" latinLnBrk="0" hangingPunct="1"/>
                      <a:r>
                        <a:rPr lang="en-US" sz="900" b="0" i="0" u="none" strike="noStrike" kern="1200" dirty="0">
                          <a:solidFill>
                            <a:srgbClr val="000000"/>
                          </a:solidFill>
                          <a:effectLst/>
                          <a:latin typeface="Calibri"/>
                          <a:ea typeface="+mn-ea"/>
                          <a:cs typeface="+mn-cs"/>
                        </a:rPr>
                        <a:t>  0.06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190500">
                <a:tc>
                  <a:txBody>
                    <a:bodyPr/>
                    <a:lstStyle/>
                    <a:p>
                      <a:pPr algn="l" fontAlgn="b"/>
                      <a:r>
                        <a:rPr lang="en-US" sz="900" b="1" i="0" u="none" strike="noStrike">
                          <a:solidFill>
                            <a:srgbClr val="000000"/>
                          </a:solidFill>
                          <a:effectLst/>
                          <a:latin typeface="Calibri"/>
                        </a:rPr>
                        <a:t>[30%-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0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3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41.4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0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4"/>
                  </a:ext>
                </a:extLst>
              </a:tr>
              <a:tr h="190500">
                <a:tc>
                  <a:txBody>
                    <a:bodyPr/>
                    <a:lstStyle/>
                    <a:p>
                      <a:pPr algn="l" fontAlgn="b"/>
                      <a:r>
                        <a:rPr lang="en-US" sz="900" b="1" i="0" u="none" strike="noStrike">
                          <a:solidFill>
                            <a:srgbClr val="000000"/>
                          </a:solidFill>
                          <a:effectLst/>
                          <a:latin typeface="Calibri"/>
                        </a:rPr>
                        <a:t>[40%-5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3.8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5.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2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9.0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7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190500">
                <a:tc>
                  <a:txBody>
                    <a:bodyPr/>
                    <a:lstStyle/>
                    <a:p>
                      <a:pPr algn="l" fontAlgn="b"/>
                      <a:r>
                        <a:rPr lang="en-US" sz="900" b="1" i="0" u="none" strike="noStrike">
                          <a:solidFill>
                            <a:srgbClr val="000000"/>
                          </a:solidFill>
                          <a:effectLst/>
                          <a:latin typeface="Calibri"/>
                        </a:rPr>
                        <a:t>[50%-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0.4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5.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30.1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5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6"/>
                  </a:ext>
                </a:extLst>
              </a:tr>
              <a:tr h="190500">
                <a:tc>
                  <a:txBody>
                    <a:bodyPr/>
                    <a:lstStyle/>
                    <a:p>
                      <a:pPr algn="l" fontAlgn="b"/>
                      <a:r>
                        <a:rPr lang="en-US" sz="900" b="1" i="0" u="none" strike="noStrike">
                          <a:solidFill>
                            <a:srgbClr val="000000"/>
                          </a:solidFill>
                          <a:effectLst/>
                          <a:latin typeface="Calibri"/>
                        </a:rPr>
                        <a:t>[60%-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0.6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1.0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190500">
                <a:tc>
                  <a:txBody>
                    <a:bodyPr/>
                    <a:lstStyle/>
                    <a:p>
                      <a:pPr algn="l" fontAlgn="b"/>
                      <a:r>
                        <a:rPr lang="en-US" sz="900" b="1" i="0" u="none" strike="noStrike">
                          <a:solidFill>
                            <a:srgbClr val="000000"/>
                          </a:solidFill>
                          <a:effectLst/>
                          <a:latin typeface="Calibri"/>
                        </a:rPr>
                        <a:t>[70%-8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5.5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5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2.9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6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8"/>
                  </a:ext>
                </a:extLst>
              </a:tr>
              <a:tr h="190500">
                <a:tc>
                  <a:txBody>
                    <a:bodyPr/>
                    <a:lstStyle/>
                    <a:p>
                      <a:pPr algn="l" fontAlgn="b"/>
                      <a:r>
                        <a:rPr lang="en-US" sz="900" b="1" i="0" u="none" strike="noStrike">
                          <a:solidFill>
                            <a:srgbClr val="000000"/>
                          </a:solidFill>
                          <a:effectLst/>
                          <a:latin typeface="Calibri"/>
                        </a:rPr>
                        <a:t>[80%-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3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3.7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5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200025">
                <a:tc>
                  <a:txBody>
                    <a:bodyPr/>
                    <a:lstStyle/>
                    <a:p>
                      <a:pPr algn="l" fontAlgn="b"/>
                      <a:r>
                        <a:rPr lang="en-US" sz="900" b="1" i="0" u="none" strike="noStrike">
                          <a:solidFill>
                            <a:srgbClr val="000000"/>
                          </a:solidFill>
                          <a:effectLst/>
                          <a:latin typeface="Calibri"/>
                        </a:rPr>
                        <a:t>&gt; 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3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24.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2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69.5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0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10"/>
                  </a:ext>
                </a:extLst>
              </a:tr>
            </a:tbl>
          </a:graphicData>
        </a:graphic>
      </p:graphicFrame>
      <p:sp>
        <p:nvSpPr>
          <p:cNvPr id="8" name="Espace réservé du contenu 2"/>
          <p:cNvSpPr txBox="1">
            <a:spLocks/>
          </p:cNvSpPr>
          <p:nvPr/>
        </p:nvSpPr>
        <p:spPr>
          <a:xfrm>
            <a:off x="5674065" y="550217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019252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1082040" y="3444240"/>
            <a:ext cx="9364268" cy="2594611"/>
          </a:xfrm>
        </p:spPr>
        <p:txBody>
          <a:bodyPr/>
          <a:lstStyle/>
          <a:p>
            <a:pPr algn="just"/>
            <a:r>
              <a:rPr lang="en-US" sz="2400" b="0" dirty="0"/>
              <a:t>Mean Reversion is a key property of financial assets</a:t>
            </a:r>
          </a:p>
          <a:p>
            <a:pPr algn="just"/>
            <a:endParaRPr lang="en-US" sz="2400" b="0" dirty="0"/>
          </a:p>
          <a:p>
            <a:pPr algn="just"/>
            <a:r>
              <a:rPr lang="en-US" sz="2400" b="0" dirty="0"/>
              <a:t>It characterizes the ability for an underlying asset to revert towards an average value after unusual moves away from that value:</a:t>
            </a:r>
          </a:p>
          <a:p>
            <a:pPr algn="just"/>
            <a:r>
              <a:rPr lang="en-US" sz="2400" b="0" dirty="0"/>
              <a:t>-Extreme spikes are likely to be followed by drops</a:t>
            </a:r>
          </a:p>
          <a:p>
            <a:pPr algn="just"/>
            <a:r>
              <a:rPr lang="en-US" sz="2400" b="0" dirty="0"/>
              <a:t>-Very sharp drops are likely to be followed by bullish runs</a:t>
            </a:r>
          </a:p>
          <a:p>
            <a:pPr algn="just"/>
            <a:endParaRPr lang="en-US" sz="2400" b="0" dirty="0"/>
          </a:p>
          <a:p>
            <a:pPr algn="just"/>
            <a:endParaRPr lang="en-US" sz="3200" b="0" dirty="0"/>
          </a:p>
          <a:p>
            <a:pPr algn="just"/>
            <a:endParaRPr lang="en-US" sz="3600" b="0" dirty="0"/>
          </a:p>
        </p:txBody>
      </p:sp>
      <p:sp>
        <p:nvSpPr>
          <p:cNvPr id="4" name="Espace réservé du contenu 2"/>
          <p:cNvSpPr txBox="1">
            <a:spLocks/>
          </p:cNvSpPr>
          <p:nvPr/>
        </p:nvSpPr>
        <p:spPr>
          <a:xfrm>
            <a:off x="0" y="1162081"/>
            <a:ext cx="12192000" cy="72008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3200" dirty="0"/>
              <a:t>A simple definition</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67664" y="1898353"/>
            <a:ext cx="261937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5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7950" y="1988841"/>
            <a:ext cx="3209925" cy="1325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49433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1" y="5784368"/>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6 months window</a:t>
            </a:r>
          </a:p>
        </p:txBody>
      </p:sp>
      <p:sp>
        <p:nvSpPr>
          <p:cNvPr id="6" name="Espace réservé du contenu 2"/>
          <p:cNvSpPr txBox="1">
            <a:spLocks/>
          </p:cNvSpPr>
          <p:nvPr/>
        </p:nvSpPr>
        <p:spPr>
          <a:xfrm>
            <a:off x="0" y="1895474"/>
            <a:ext cx="12192000" cy="386258"/>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fr-FR" sz="1800" dirty="0"/>
              <a:t>HISTORICAL SIMULATION OF THE BEST AND WORST SUB-STRATEGIES </a:t>
            </a:r>
            <a:r>
              <a:rPr lang="en-US" sz="1800" dirty="0"/>
              <a:t>WITHIN A </a:t>
            </a:r>
            <a:r>
              <a:rPr lang="fr-FR" sz="1800" dirty="0"/>
              <a:t>6 MONTHS WINDOW</a:t>
            </a:r>
          </a:p>
          <a:p>
            <a:endParaRPr lang="fr-FR" sz="1800" b="0" dirty="0"/>
          </a:p>
          <a:p>
            <a:endParaRPr lang="fr-FR" sz="1800" dirty="0"/>
          </a:p>
          <a:p>
            <a:endParaRPr lang="fr-FR" sz="1800" b="0" dirty="0"/>
          </a:p>
        </p:txBody>
      </p:sp>
      <p:graphicFrame>
        <p:nvGraphicFramePr>
          <p:cNvPr id="9" name="Chart 8"/>
          <p:cNvGraphicFramePr>
            <a:graphicFrameLocks/>
          </p:cNvGraphicFramePr>
          <p:nvPr>
            <p:extLst/>
          </p:nvPr>
        </p:nvGraphicFramePr>
        <p:xfrm>
          <a:off x="2700991" y="2558536"/>
          <a:ext cx="6861031" cy="3149083"/>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5674065" y="558790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4588424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3200"/>
            <a:ext cx="12192000" cy="576064"/>
          </a:xfrm>
        </p:spPr>
        <p:txBody>
          <a:bodyPr/>
          <a:lstStyle/>
          <a:p>
            <a:pPr lvl="2" indent="0" algn="ctr">
              <a:buNone/>
            </a:pPr>
            <a:r>
              <a:rPr lang="en-US" sz="3200" dirty="0"/>
              <a:t>How to trade Mean Reversion on VIX?</a:t>
            </a:r>
          </a:p>
          <a:p>
            <a:pPr lvl="2" indent="0" algn="ctr">
              <a:buNone/>
            </a:pPr>
            <a:endParaRPr lang="en-US" sz="3200" dirty="0"/>
          </a:p>
        </p:txBody>
      </p:sp>
      <p:sp>
        <p:nvSpPr>
          <p:cNvPr id="4" name="Rectangle 3"/>
          <p:cNvSpPr/>
          <p:nvPr/>
        </p:nvSpPr>
        <p:spPr>
          <a:xfrm>
            <a:off x="0" y="5884782"/>
            <a:ext cx="12192000"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12 months window</a:t>
            </a:r>
          </a:p>
        </p:txBody>
      </p:sp>
      <p:sp>
        <p:nvSpPr>
          <p:cNvPr id="10" name="Espace réservé du contenu 2"/>
          <p:cNvSpPr txBox="1">
            <a:spLocks/>
          </p:cNvSpPr>
          <p:nvPr/>
        </p:nvSpPr>
        <p:spPr>
          <a:xfrm>
            <a:off x="1524000" y="1800225"/>
            <a:ext cx="9174480" cy="1600201"/>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en-US" sz="1800" dirty="0"/>
              <a:t>SUMMARY OF RESULTS OF THE 10 SUB-STRATEGIES WITHIN A 12 Months WINDOW</a:t>
            </a:r>
          </a:p>
          <a:p>
            <a:endParaRPr lang="en-US" dirty="0"/>
          </a:p>
          <a:p>
            <a:pPr marL="285750" indent="-285750">
              <a:buFont typeface="Wingdings" panose="05000000000000000000" pitchFamily="2" charset="2"/>
              <a:buChar char="ü"/>
            </a:pPr>
            <a:r>
              <a:rPr lang="en-US" sz="1600" b="0" dirty="0"/>
              <a:t>On a 12 months window the sub systematic strategy invested only on the [30%-40%] percentile would have historically performed better on a risk return basis and offered a good diversification</a:t>
            </a:r>
            <a:endParaRPr lang="en-US" sz="1200" b="0" dirty="0"/>
          </a:p>
          <a:p>
            <a:pPr marL="285750" indent="-285750">
              <a:buFont typeface="Wingdings" panose="05000000000000000000" pitchFamily="2" charset="2"/>
              <a:buChar char="ü"/>
            </a:pPr>
            <a:r>
              <a:rPr lang="en-US" sz="1600" b="0" dirty="0"/>
              <a:t>Mean Reversion would have been hurt more from a risk return perspective on the [40%-50%] percentile sub-strategy</a:t>
            </a:r>
          </a:p>
          <a:p>
            <a:endParaRPr lang="en-US" sz="1200" b="0" dirty="0"/>
          </a:p>
        </p:txBody>
      </p:sp>
      <p:graphicFrame>
        <p:nvGraphicFramePr>
          <p:cNvPr id="5" name="Table 4"/>
          <p:cNvGraphicFramePr>
            <a:graphicFrameLocks noGrp="1"/>
          </p:cNvGraphicFramePr>
          <p:nvPr>
            <p:extLst>
              <p:ext uri="{D42A27DB-BD31-4B8C-83A1-F6EECF244321}">
                <p14:modId xmlns:p14="http://schemas.microsoft.com/office/powerpoint/2010/main" val="2348977112"/>
              </p:ext>
            </p:extLst>
          </p:nvPr>
        </p:nvGraphicFramePr>
        <p:xfrm>
          <a:off x="3086100" y="3463131"/>
          <a:ext cx="6019800" cy="2114550"/>
        </p:xfrm>
        <a:graphic>
          <a:graphicData uri="http://schemas.openxmlformats.org/drawingml/2006/table">
            <a:tbl>
              <a:tblPr/>
              <a:tblGrid>
                <a:gridCol w="609600">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gridCol w="1206500">
                  <a:extLst>
                    <a:ext uri="{9D8B030D-6E8A-4147-A177-3AD203B41FA5}">
                      <a16:colId xmlns:a16="http://schemas.microsoft.com/office/drawing/2014/main" xmlns="" val="20002"/>
                    </a:ext>
                  </a:extLst>
                </a:gridCol>
                <a:gridCol w="495300">
                  <a:extLst>
                    <a:ext uri="{9D8B030D-6E8A-4147-A177-3AD203B41FA5}">
                      <a16:colId xmlns:a16="http://schemas.microsoft.com/office/drawing/2014/main" xmlns="" val="20003"/>
                    </a:ext>
                  </a:extLst>
                </a:gridCol>
                <a:gridCol w="1104900">
                  <a:extLst>
                    <a:ext uri="{9D8B030D-6E8A-4147-A177-3AD203B41FA5}">
                      <a16:colId xmlns:a16="http://schemas.microsoft.com/office/drawing/2014/main" xmlns="" val="20004"/>
                    </a:ext>
                  </a:extLst>
                </a:gridCol>
                <a:gridCol w="381000">
                  <a:extLst>
                    <a:ext uri="{9D8B030D-6E8A-4147-A177-3AD203B41FA5}">
                      <a16:colId xmlns:a16="http://schemas.microsoft.com/office/drawing/2014/main" xmlns="" val="20005"/>
                    </a:ext>
                  </a:extLst>
                </a:gridCol>
                <a:gridCol w="850900">
                  <a:extLst>
                    <a:ext uri="{9D8B030D-6E8A-4147-A177-3AD203B41FA5}">
                      <a16:colId xmlns:a16="http://schemas.microsoft.com/office/drawing/2014/main" xmlns="" val="20006"/>
                    </a:ext>
                  </a:extLst>
                </a:gridCol>
              </a:tblGrid>
              <a:tr h="200025">
                <a:tc>
                  <a:txBody>
                    <a:bodyPr/>
                    <a:lstStyle/>
                    <a:p>
                      <a:pPr algn="l" fontAlgn="b"/>
                      <a:r>
                        <a:rPr lang="en-US" sz="900" b="1" i="0" u="none" strike="noStrike" dirty="0">
                          <a:solidFill>
                            <a:srgbClr val="FFFFFF"/>
                          </a:solidFill>
                          <a:effectLst/>
                          <a:latin typeface="Calibri"/>
                        </a:rPr>
                        <a:t>Percentil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nternal rate of return (IR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Realised Volatility (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IRR/vo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Maximum Drawdow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Bet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900" b="1" i="0" u="none" strike="noStrike">
                          <a:solidFill>
                            <a:srgbClr val="FFFFFF"/>
                          </a:solidFill>
                          <a:effectLst/>
                          <a:latin typeface="Calibri"/>
                        </a:rPr>
                        <a:t>Trade Propor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xmlns="" val="10000"/>
                  </a:ext>
                </a:extLst>
              </a:tr>
              <a:tr h="190500">
                <a:tc>
                  <a:txBody>
                    <a:bodyPr/>
                    <a:lstStyle/>
                    <a:p>
                      <a:pPr algn="l" fontAlgn="b"/>
                      <a:r>
                        <a:rPr lang="en-US" sz="900" b="0" i="0" u="none" strike="noStrike">
                          <a:solidFill>
                            <a:srgbClr val="000000"/>
                          </a:solidFill>
                          <a:effectLst/>
                          <a:latin typeface="Calibri"/>
                        </a:rPr>
                        <a:t>&lt;= 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CE6F1"/>
                    </a:solidFill>
                  </a:tcPr>
                </a:tc>
                <a:tc>
                  <a:txBody>
                    <a:bodyPr/>
                    <a:lstStyle/>
                    <a:p>
                      <a:pPr algn="r" fontAlgn="b"/>
                      <a:r>
                        <a:rPr lang="en-US" sz="900" b="0" i="0" u="none" strike="noStrike">
                          <a:solidFill>
                            <a:srgbClr val="000000"/>
                          </a:solidFill>
                          <a:effectLst/>
                          <a:latin typeface="Calibri"/>
                        </a:rPr>
                        <a:t>-14.3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85.4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1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1"/>
                  </a:ext>
                </a:extLst>
              </a:tr>
              <a:tr h="190500">
                <a:tc>
                  <a:txBody>
                    <a:bodyPr/>
                    <a:lstStyle/>
                    <a:p>
                      <a:pPr algn="l" fontAlgn="b"/>
                      <a:r>
                        <a:rPr lang="en-US" sz="900" b="1" i="0" u="none" strike="noStrike">
                          <a:solidFill>
                            <a:srgbClr val="000000"/>
                          </a:solidFill>
                          <a:effectLst/>
                          <a:latin typeface="Calibri"/>
                        </a:rPr>
                        <a:t>[10%-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11.9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9.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6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73.7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5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2"/>
                  </a:ext>
                </a:extLst>
              </a:tr>
              <a:tr h="190500">
                <a:tc>
                  <a:txBody>
                    <a:bodyPr/>
                    <a:lstStyle/>
                    <a:p>
                      <a:pPr algn="l" fontAlgn="b"/>
                      <a:r>
                        <a:rPr lang="en-US" sz="900" b="1" i="0" u="none" strike="noStrike">
                          <a:solidFill>
                            <a:srgbClr val="000000"/>
                          </a:solidFill>
                          <a:effectLst/>
                          <a:latin typeface="Calibri"/>
                        </a:rPr>
                        <a:t>[20%-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9.2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21.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smtClean="0">
                          <a:solidFill>
                            <a:srgbClr val="000000"/>
                          </a:solidFill>
                          <a:effectLst/>
                          <a:latin typeface="Calibri"/>
                        </a:rPr>
                        <a:t>-62%</a:t>
                      </a:r>
                      <a:endParaRPr lang="en-US" sz="900" b="0"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1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3"/>
                  </a:ext>
                </a:extLst>
              </a:tr>
              <a:tr h="190500">
                <a:tc>
                  <a:txBody>
                    <a:bodyPr/>
                    <a:lstStyle/>
                    <a:p>
                      <a:pPr algn="l" fontAlgn="b"/>
                      <a:r>
                        <a:rPr lang="en-US" sz="900" b="1" i="0" u="none" strike="noStrike">
                          <a:solidFill>
                            <a:srgbClr val="00B050"/>
                          </a:solidFill>
                          <a:effectLst/>
                          <a:latin typeface="Calibri"/>
                        </a:rPr>
                        <a:t>[30%-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1" i="0" u="none" strike="noStrike">
                          <a:solidFill>
                            <a:srgbClr val="00B050"/>
                          </a:solidFill>
                          <a:effectLst/>
                          <a:latin typeface="Calibri"/>
                        </a:rPr>
                        <a:t>6.9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12.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56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27.5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1" i="0" u="none" strike="noStrike" dirty="0">
                          <a:solidFill>
                            <a:srgbClr val="00B050"/>
                          </a:solidFill>
                          <a:effectLst/>
                          <a:latin typeface="Calibri"/>
                        </a:rPr>
                        <a:t>  0.0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1" i="0" u="none" strike="noStrike">
                          <a:solidFill>
                            <a:srgbClr val="00B05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4"/>
                  </a:ext>
                </a:extLst>
              </a:tr>
              <a:tr h="190500">
                <a:tc>
                  <a:txBody>
                    <a:bodyPr/>
                    <a:lstStyle/>
                    <a:p>
                      <a:pPr algn="l" fontAlgn="b"/>
                      <a:r>
                        <a:rPr lang="en-US" sz="900" b="1" i="0" u="none" strike="noStrike">
                          <a:solidFill>
                            <a:srgbClr val="FF0000"/>
                          </a:solidFill>
                          <a:effectLst/>
                          <a:latin typeface="Calibri"/>
                        </a:rPr>
                        <a:t>[40%-5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FF0000"/>
                          </a:solidFill>
                          <a:effectLst/>
                          <a:latin typeface="Calibri"/>
                        </a:rPr>
                        <a:t>-11.0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13.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8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FF0000"/>
                          </a:solidFill>
                          <a:effectLst/>
                          <a:latin typeface="Calibri"/>
                        </a:rPr>
                        <a:t>              </a:t>
                      </a:r>
                      <a:r>
                        <a:rPr lang="en-US" sz="900" b="0" i="0" u="none" strike="noStrike" dirty="0" smtClean="0">
                          <a:solidFill>
                            <a:srgbClr val="FF0000"/>
                          </a:solidFill>
                          <a:effectLst/>
                          <a:latin typeface="Calibri"/>
                        </a:rPr>
                        <a:t>-69%</a:t>
                      </a:r>
                      <a:endParaRPr lang="en-US" sz="900" b="0" i="0" u="none" strike="noStrike" dirty="0">
                        <a:solidFill>
                          <a:srgbClr val="FF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FF0000"/>
                          </a:solidFill>
                          <a:effectLst/>
                          <a:latin typeface="Calibri"/>
                        </a:rPr>
                        <a:t>  0.04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FF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5"/>
                  </a:ext>
                </a:extLst>
              </a:tr>
              <a:tr h="190500">
                <a:tc>
                  <a:txBody>
                    <a:bodyPr/>
                    <a:lstStyle/>
                    <a:p>
                      <a:pPr algn="l" fontAlgn="b"/>
                      <a:r>
                        <a:rPr lang="en-US" sz="900" b="1" i="0" u="none" strike="noStrike">
                          <a:solidFill>
                            <a:srgbClr val="000000"/>
                          </a:solidFill>
                          <a:effectLst/>
                          <a:latin typeface="Calibri"/>
                        </a:rPr>
                        <a:t>[50%-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7.0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5.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4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61.0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8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6"/>
                  </a:ext>
                </a:extLst>
              </a:tr>
              <a:tr h="190500">
                <a:tc>
                  <a:txBody>
                    <a:bodyPr/>
                    <a:lstStyle/>
                    <a:p>
                      <a:pPr algn="l" fontAlgn="b"/>
                      <a:r>
                        <a:rPr lang="en-US" sz="900" b="1" i="0" u="none" strike="noStrike">
                          <a:solidFill>
                            <a:srgbClr val="000000"/>
                          </a:solidFill>
                          <a:effectLst/>
                          <a:latin typeface="Calibri"/>
                        </a:rPr>
                        <a:t>[60%-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4.5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2.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36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5.0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7"/>
                  </a:ext>
                </a:extLst>
              </a:tr>
              <a:tr h="190500">
                <a:tc>
                  <a:txBody>
                    <a:bodyPr/>
                    <a:lstStyle/>
                    <a:p>
                      <a:pPr algn="l" fontAlgn="b"/>
                      <a:r>
                        <a:rPr lang="en-US" sz="900" b="1" i="0" u="none" strike="noStrike">
                          <a:solidFill>
                            <a:srgbClr val="000000"/>
                          </a:solidFill>
                          <a:effectLst/>
                          <a:latin typeface="Calibri"/>
                        </a:rPr>
                        <a:t>[70%-8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3.5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0.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3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23.8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8"/>
                  </a:ext>
                </a:extLst>
              </a:tr>
              <a:tr h="190500">
                <a:tc>
                  <a:txBody>
                    <a:bodyPr/>
                    <a:lstStyle/>
                    <a:p>
                      <a:pPr algn="l" fontAlgn="b"/>
                      <a:r>
                        <a:rPr lang="en-US" sz="900" b="1" i="0" u="none" strike="noStrike">
                          <a:solidFill>
                            <a:srgbClr val="000000"/>
                          </a:solidFill>
                          <a:effectLst/>
                          <a:latin typeface="Calibri"/>
                        </a:rPr>
                        <a:t>[80%-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CE6F1"/>
                    </a:solidFill>
                  </a:tcPr>
                </a:tc>
                <a:tc>
                  <a:txBody>
                    <a:bodyPr/>
                    <a:lstStyle/>
                    <a:p>
                      <a:pPr algn="r" fontAlgn="b"/>
                      <a:r>
                        <a:rPr lang="en-US" sz="900" b="0" i="0" u="none" strike="noStrike">
                          <a:solidFill>
                            <a:srgbClr val="000000"/>
                          </a:solidFill>
                          <a:effectLst/>
                          <a:latin typeface="Calibri"/>
                        </a:rPr>
                        <a:t>-9.2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2.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7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63.1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05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09"/>
                  </a:ext>
                </a:extLst>
              </a:tr>
              <a:tr h="200025">
                <a:tc>
                  <a:txBody>
                    <a:bodyPr/>
                    <a:lstStyle/>
                    <a:p>
                      <a:pPr algn="l" fontAlgn="b"/>
                      <a:r>
                        <a:rPr lang="en-US" sz="900" b="1" i="0" u="none" strike="noStrike">
                          <a:solidFill>
                            <a:srgbClr val="000000"/>
                          </a:solidFill>
                          <a:effectLst/>
                          <a:latin typeface="Calibri"/>
                        </a:rPr>
                        <a:t>&gt; 9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2.7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15.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1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a:rPr>
                        <a:t>-56.8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000000"/>
                          </a:solidFill>
                          <a:effectLst/>
                          <a:latin typeface="Calibri"/>
                        </a:rPr>
                        <a:t>  0.23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xmlns="" val="10010"/>
                  </a:ext>
                </a:extLst>
              </a:tr>
            </a:tbl>
          </a:graphicData>
        </a:graphic>
      </p:graphicFrame>
      <p:sp>
        <p:nvSpPr>
          <p:cNvPr id="8" name="Espace réservé du contenu 2"/>
          <p:cNvSpPr txBox="1">
            <a:spLocks/>
          </p:cNvSpPr>
          <p:nvPr/>
        </p:nvSpPr>
        <p:spPr>
          <a:xfrm>
            <a:off x="5674065" y="559742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2299280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6840"/>
            <a:ext cx="12192000"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0" y="5934313"/>
            <a:ext cx="12191999" cy="430887"/>
          </a:xfrm>
          <a:prstGeom prst="rect">
            <a:avLst/>
          </a:prstGeom>
        </p:spPr>
        <p:txBody>
          <a:bodyPr wrap="square">
            <a:spAutoFit/>
          </a:bodyPr>
          <a:lstStyle/>
          <a:p>
            <a:pPr algn="ctr"/>
            <a:r>
              <a:rPr lang="en-US" sz="2200" b="1" kern="0" dirty="0">
                <a:solidFill>
                  <a:sysClr val="windowText" lastClr="000000"/>
                </a:solidFill>
              </a:rPr>
              <a:t>Step 2: A systematic approach based on statistics – 12 months window</a:t>
            </a:r>
          </a:p>
        </p:txBody>
      </p:sp>
      <p:sp>
        <p:nvSpPr>
          <p:cNvPr id="6" name="Espace réservé du contenu 2"/>
          <p:cNvSpPr txBox="1">
            <a:spLocks/>
          </p:cNvSpPr>
          <p:nvPr/>
        </p:nvSpPr>
        <p:spPr>
          <a:xfrm>
            <a:off x="0" y="1895474"/>
            <a:ext cx="12192000" cy="642702"/>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fr-FR" sz="1800" dirty="0"/>
              <a:t>HISTORICAL SIMULATION OF THE BEST AND WORST SUB-STRATEGIES </a:t>
            </a:r>
            <a:r>
              <a:rPr lang="en-US" sz="1800" dirty="0"/>
              <a:t>WITHIN A </a:t>
            </a:r>
            <a:r>
              <a:rPr lang="fr-FR" sz="1800" dirty="0"/>
              <a:t>12 MONTHS WINDOW</a:t>
            </a:r>
          </a:p>
          <a:p>
            <a:endParaRPr lang="fr-FR" sz="1800" b="0" dirty="0"/>
          </a:p>
          <a:p>
            <a:endParaRPr lang="fr-FR" sz="1800" dirty="0"/>
          </a:p>
          <a:p>
            <a:endParaRPr lang="fr-FR" sz="1800" b="0" dirty="0"/>
          </a:p>
        </p:txBody>
      </p:sp>
      <p:graphicFrame>
        <p:nvGraphicFramePr>
          <p:cNvPr id="7" name="Chart 6"/>
          <p:cNvGraphicFramePr>
            <a:graphicFrameLocks/>
          </p:cNvGraphicFramePr>
          <p:nvPr>
            <p:extLst/>
          </p:nvPr>
        </p:nvGraphicFramePr>
        <p:xfrm>
          <a:off x="2404523" y="2538176"/>
          <a:ext cx="7403306" cy="3169443"/>
        </p:xfrm>
        <a:graphic>
          <a:graphicData uri="http://schemas.openxmlformats.org/drawingml/2006/chart">
            <c:chart xmlns:c="http://schemas.openxmlformats.org/drawingml/2006/chart" xmlns:r="http://schemas.openxmlformats.org/officeDocument/2006/relationships" r:id="rId2"/>
          </a:graphicData>
        </a:graphic>
      </p:graphicFrame>
      <p:sp>
        <p:nvSpPr>
          <p:cNvPr id="9" name="Espace réservé du contenu 2"/>
          <p:cNvSpPr txBox="1">
            <a:spLocks/>
          </p:cNvSpPr>
          <p:nvPr/>
        </p:nvSpPr>
        <p:spPr>
          <a:xfrm>
            <a:off x="5674065" y="56069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36980514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3030"/>
            <a:ext cx="12191999" cy="5760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0" y="5820726"/>
            <a:ext cx="12192000" cy="430887"/>
          </a:xfrm>
          <a:prstGeom prst="rect">
            <a:avLst/>
          </a:prstGeom>
        </p:spPr>
        <p:txBody>
          <a:bodyPr wrap="square">
            <a:spAutoFit/>
          </a:bodyPr>
          <a:lstStyle/>
          <a:p>
            <a:pPr algn="ctr"/>
            <a:r>
              <a:rPr lang="en-US" sz="2200" b="1" kern="0" dirty="0">
                <a:solidFill>
                  <a:sysClr val="windowText" lastClr="000000"/>
                </a:solidFill>
              </a:rPr>
              <a:t>Step 3: taking advantage of the intra diversification</a:t>
            </a:r>
          </a:p>
        </p:txBody>
      </p:sp>
      <p:sp>
        <p:nvSpPr>
          <p:cNvPr id="9" name="Espace réservé du contenu 2"/>
          <p:cNvSpPr txBox="1">
            <a:spLocks/>
          </p:cNvSpPr>
          <p:nvPr/>
        </p:nvSpPr>
        <p:spPr>
          <a:xfrm>
            <a:off x="609600" y="1773556"/>
            <a:ext cx="11018520" cy="190500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en-US" sz="1800" dirty="0">
                <a:latin typeface="Book Antiqua" panose="02040602050305030304" pitchFamily="18" charset="0"/>
              </a:rPr>
              <a:t>SUMMARY: SOME DIVERSIFICATION AMONG THE 4 SUB-STRATEGIES SHORT LISTED</a:t>
            </a:r>
          </a:p>
          <a:p>
            <a:endParaRPr lang="en-US" sz="1200" dirty="0">
              <a:latin typeface="Book Antiqua" panose="02040602050305030304" pitchFamily="18" charset="0"/>
            </a:endParaRPr>
          </a:p>
          <a:p>
            <a:pPr marL="171450" indent="-171450">
              <a:buFont typeface="Arial" panose="020B0604020202020204" pitchFamily="34" charset="0"/>
              <a:buChar char="•"/>
            </a:pPr>
            <a:r>
              <a:rPr lang="en-US" sz="1600" b="0" dirty="0"/>
              <a:t>1 month window: mean reversion applied to the [40%-50%] percentile</a:t>
            </a:r>
          </a:p>
          <a:p>
            <a:pPr marL="171450" indent="-171450">
              <a:buFont typeface="Arial" panose="020B0604020202020204" pitchFamily="34" charset="0"/>
              <a:buChar char="•"/>
            </a:pPr>
            <a:r>
              <a:rPr lang="en-US" sz="1600" b="0" dirty="0"/>
              <a:t>3 months window: mean reversion applied to the [20%-30%] percentile</a:t>
            </a:r>
          </a:p>
          <a:p>
            <a:pPr marL="171450" indent="-171450">
              <a:buFont typeface="Arial" panose="020B0604020202020204" pitchFamily="34" charset="0"/>
              <a:buChar char="•"/>
            </a:pPr>
            <a:r>
              <a:rPr lang="en-US" sz="1600" b="0" dirty="0"/>
              <a:t>6 months window: mean reversion applied to the [10%-20%] percentile</a:t>
            </a:r>
          </a:p>
          <a:p>
            <a:pPr marL="171450" indent="-171450">
              <a:buFont typeface="Arial" panose="020B0604020202020204" pitchFamily="34" charset="0"/>
              <a:buChar char="•"/>
            </a:pPr>
            <a:r>
              <a:rPr lang="en-US" sz="1600" b="0" dirty="0"/>
              <a:t>12 months window: mean reversion applied to the [30%-40%] percentile</a:t>
            </a:r>
          </a:p>
          <a:p>
            <a:pPr marL="171450" indent="-171450">
              <a:buFont typeface="Arial" panose="020B0604020202020204" pitchFamily="34" charset="0"/>
              <a:buChar char="•"/>
            </a:pPr>
            <a:r>
              <a:rPr lang="en-US" sz="1600" b="0" dirty="0"/>
              <a:t>Mean reversion on implied volatility have been a very risky strategy in very high or very low volatility environment</a:t>
            </a:r>
          </a:p>
          <a:p>
            <a:pPr marL="171450" indent="-171450">
              <a:buFont typeface="Arial" panose="020B0604020202020204" pitchFamily="34" charset="0"/>
              <a:buChar char="•"/>
            </a:pPr>
            <a:r>
              <a:rPr lang="en-US" sz="1600" b="0" dirty="0"/>
              <a:t>3 months and 12 months windows have historically been the best windows</a:t>
            </a:r>
          </a:p>
          <a:p>
            <a:pPr marL="171450" indent="-171450">
              <a:buFont typeface="Arial" panose="020B0604020202020204" pitchFamily="34" charset="0"/>
              <a:buChar char="•"/>
            </a:pPr>
            <a:endParaRPr lang="en-US" sz="1200" b="0" dirty="0"/>
          </a:p>
          <a:p>
            <a:pPr lvl="1" indent="0">
              <a:buNone/>
            </a:pPr>
            <a:r>
              <a:rPr lang="en-US" sz="1400" dirty="0"/>
              <a:t>-</a:t>
            </a:r>
            <a:r>
              <a:rPr lang="en-US" sz="1400" b="1" dirty="0"/>
              <a:t>Historical correlation matrix</a:t>
            </a:r>
          </a:p>
          <a:p>
            <a:pPr lvl="1" indent="0">
              <a:buNone/>
            </a:pPr>
            <a:endParaRPr lang="en-US" sz="1400" dirty="0"/>
          </a:p>
          <a:p>
            <a:pPr lvl="1" indent="0">
              <a:buNone/>
            </a:pPr>
            <a:endParaRPr lang="en-US" sz="1400" dirty="0"/>
          </a:p>
          <a:p>
            <a:endParaRPr lang="en-US" b="0" dirty="0"/>
          </a:p>
          <a:p>
            <a:endParaRPr lang="en-US" sz="1800" b="0" dirty="0"/>
          </a:p>
        </p:txBody>
      </p:sp>
      <p:graphicFrame>
        <p:nvGraphicFramePr>
          <p:cNvPr id="6" name="Table 5"/>
          <p:cNvGraphicFramePr>
            <a:graphicFrameLocks noGrp="1"/>
          </p:cNvGraphicFramePr>
          <p:nvPr>
            <p:extLst/>
          </p:nvPr>
        </p:nvGraphicFramePr>
        <p:xfrm>
          <a:off x="2311398" y="4351020"/>
          <a:ext cx="7251702" cy="1116330"/>
        </p:xfrm>
        <a:graphic>
          <a:graphicData uri="http://schemas.openxmlformats.org/drawingml/2006/table">
            <a:tbl>
              <a:tblPr/>
              <a:tblGrid>
                <a:gridCol w="1508658">
                  <a:extLst>
                    <a:ext uri="{9D8B030D-6E8A-4147-A177-3AD203B41FA5}">
                      <a16:colId xmlns:a16="http://schemas.microsoft.com/office/drawing/2014/main" xmlns="" val="20000"/>
                    </a:ext>
                  </a:extLst>
                </a:gridCol>
                <a:gridCol w="1435761">
                  <a:extLst>
                    <a:ext uri="{9D8B030D-6E8A-4147-A177-3AD203B41FA5}">
                      <a16:colId xmlns:a16="http://schemas.microsoft.com/office/drawing/2014/main" xmlns="" val="20001"/>
                    </a:ext>
                  </a:extLst>
                </a:gridCol>
                <a:gridCol w="1435761">
                  <a:extLst>
                    <a:ext uri="{9D8B030D-6E8A-4147-A177-3AD203B41FA5}">
                      <a16:colId xmlns:a16="http://schemas.microsoft.com/office/drawing/2014/main" xmlns="" val="20002"/>
                    </a:ext>
                  </a:extLst>
                </a:gridCol>
                <a:gridCol w="1435761">
                  <a:extLst>
                    <a:ext uri="{9D8B030D-6E8A-4147-A177-3AD203B41FA5}">
                      <a16:colId xmlns:a16="http://schemas.microsoft.com/office/drawing/2014/main" xmlns="" val="20003"/>
                    </a:ext>
                  </a:extLst>
                </a:gridCol>
                <a:gridCol w="1435761">
                  <a:extLst>
                    <a:ext uri="{9D8B030D-6E8A-4147-A177-3AD203B41FA5}">
                      <a16:colId xmlns:a16="http://schemas.microsoft.com/office/drawing/2014/main" xmlns="" val="20004"/>
                    </a:ext>
                  </a:extLst>
                </a:gridCol>
              </a:tblGrid>
              <a:tr h="220821">
                <a:tc>
                  <a:txBody>
                    <a:bodyPr/>
                    <a:lstStyle/>
                    <a:p>
                      <a:pPr algn="l" fontAlgn="b"/>
                      <a:endParaRPr lang="en-US" sz="1100" b="0" i="0" u="none" strike="noStrike" dirty="0">
                        <a:solidFill>
                          <a:srgbClr val="000000"/>
                        </a:solidFill>
                        <a:effectLst/>
                        <a:latin typeface="Calibri"/>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US" sz="1100" b="1" i="0" u="none" strike="noStrike" dirty="0">
                          <a:solidFill>
                            <a:schemeClr val="bg1"/>
                          </a:solidFill>
                          <a:effectLst/>
                          <a:latin typeface="Calibri"/>
                        </a:rPr>
                        <a:t>MR 0.3-0.4 12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1" i="0" u="none" strike="noStrike" dirty="0">
                          <a:solidFill>
                            <a:schemeClr val="bg1"/>
                          </a:solidFill>
                          <a:effectLst/>
                          <a:latin typeface="Calibri"/>
                        </a:rPr>
                        <a:t>MR 0.1-0.2 6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1" i="0" u="none" strike="noStrike" dirty="0">
                          <a:solidFill>
                            <a:schemeClr val="bg1"/>
                          </a:solidFill>
                          <a:effectLst/>
                          <a:latin typeface="Calibri"/>
                        </a:rPr>
                        <a:t>MR 0.2-0.3 3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1" i="0" u="none" strike="noStrike" dirty="0">
                          <a:solidFill>
                            <a:schemeClr val="bg1"/>
                          </a:solidFill>
                          <a:effectLst/>
                          <a:latin typeface="Calibri"/>
                        </a:rPr>
                        <a:t>MR 0.4-0.5 1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0"/>
                  </a:ext>
                </a:extLst>
              </a:tr>
              <a:tr h="190500">
                <a:tc>
                  <a:txBody>
                    <a:bodyPr/>
                    <a:lstStyle/>
                    <a:p>
                      <a:pPr algn="l" fontAlgn="b"/>
                      <a:r>
                        <a:rPr lang="en-US" sz="1100" b="1" i="0" u="none" strike="noStrike" dirty="0">
                          <a:solidFill>
                            <a:schemeClr val="bg1"/>
                          </a:solidFill>
                          <a:effectLst/>
                          <a:latin typeface="Calibri"/>
                        </a:rPr>
                        <a:t>MR 0.3-0.4 12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solidFill>
                  </a:tcPr>
                </a:tc>
                <a:tc>
                  <a:txBody>
                    <a:bodyPr/>
                    <a:lstStyle/>
                    <a:p>
                      <a:pPr algn="r" fontAlgn="b"/>
                      <a:r>
                        <a:rPr lang="en-US" sz="1100" b="0" i="0" u="none" strike="noStrike" dirty="0">
                          <a:solidFill>
                            <a:srgbClr val="000000"/>
                          </a:solidFill>
                          <a:effectLst/>
                          <a:latin typeface="Calibri"/>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dirty="0">
                          <a:solidFill>
                            <a:srgbClr val="000000"/>
                          </a:solidFill>
                          <a:effectLst/>
                          <a:latin typeface="Calibri"/>
                        </a:rPr>
                        <a:t>-0.0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dirty="0">
                          <a:solidFill>
                            <a:srgbClr val="000000"/>
                          </a:solidFill>
                          <a:effectLst/>
                          <a:latin typeface="Calibri"/>
                        </a:rPr>
                        <a:t>1.5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a:rPr>
                        <a:t>3.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1"/>
                  </a:ext>
                </a:extLst>
              </a:tr>
              <a:tr h="190500">
                <a:tc>
                  <a:txBody>
                    <a:bodyPr/>
                    <a:lstStyle/>
                    <a:p>
                      <a:pPr algn="l" fontAlgn="b"/>
                      <a:r>
                        <a:rPr lang="en-US" sz="1100" b="1" i="0" u="none" strike="noStrike" dirty="0">
                          <a:solidFill>
                            <a:schemeClr val="bg1"/>
                          </a:solidFill>
                          <a:effectLst/>
                          <a:latin typeface="Calibri"/>
                        </a:rPr>
                        <a:t>MR 0.1-0.2 6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1"/>
                    </a:solidFill>
                  </a:tcPr>
                </a:tc>
                <a:tc>
                  <a:txBody>
                    <a:bodyPr/>
                    <a:lstStyle/>
                    <a:p>
                      <a:pPr algn="r" fontAlgn="b"/>
                      <a:r>
                        <a:rPr lang="en-US" sz="1100" b="0" i="0" u="none" strike="noStrike" dirty="0">
                          <a:solidFill>
                            <a:srgbClr val="000000"/>
                          </a:solidFill>
                          <a:effectLst/>
                          <a:latin typeface="Calibri"/>
                        </a:rPr>
                        <a:t>-0.0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0" i="0" u="none" strike="noStrike">
                          <a:solidFill>
                            <a:srgbClr val="000000"/>
                          </a:solidFill>
                          <a:effectLst/>
                          <a:latin typeface="Calibri"/>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0" i="0" u="none" strike="noStrike">
                          <a:solidFill>
                            <a:srgbClr val="000000"/>
                          </a:solidFill>
                          <a:effectLst/>
                          <a:latin typeface="Calibri"/>
                        </a:rPr>
                        <a:t>53.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0" i="0" u="none" strike="noStrike">
                          <a:solidFill>
                            <a:srgbClr val="000000"/>
                          </a:solidFill>
                          <a:effectLst/>
                          <a:latin typeface="Calibri"/>
                        </a:rPr>
                        <a:t>0.6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2"/>
                  </a:ext>
                </a:extLst>
              </a:tr>
              <a:tr h="190500">
                <a:tc>
                  <a:txBody>
                    <a:bodyPr/>
                    <a:lstStyle/>
                    <a:p>
                      <a:pPr algn="l" fontAlgn="b"/>
                      <a:r>
                        <a:rPr lang="en-US" sz="1100" b="1" i="0" u="none" strike="noStrike" dirty="0">
                          <a:solidFill>
                            <a:schemeClr val="bg1"/>
                          </a:solidFill>
                          <a:effectLst/>
                          <a:latin typeface="Calibri"/>
                        </a:rPr>
                        <a:t>MR 0.2-0.3 3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1"/>
                    </a:solidFill>
                  </a:tcPr>
                </a:tc>
                <a:tc>
                  <a:txBody>
                    <a:bodyPr/>
                    <a:lstStyle/>
                    <a:p>
                      <a:pPr algn="r" fontAlgn="b"/>
                      <a:r>
                        <a:rPr lang="en-US" sz="1100" b="0" i="0" u="none" strike="noStrike">
                          <a:solidFill>
                            <a:srgbClr val="000000"/>
                          </a:solidFill>
                          <a:effectLst/>
                          <a:latin typeface="Calibri"/>
                        </a:rPr>
                        <a:t>1.5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0" i="0" u="none" strike="noStrike">
                          <a:solidFill>
                            <a:srgbClr val="000000"/>
                          </a:solidFill>
                          <a:effectLst/>
                          <a:latin typeface="Calibri"/>
                        </a:rPr>
                        <a:t>53.6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0" i="0" u="none" strike="noStrike">
                          <a:solidFill>
                            <a:srgbClr val="000000"/>
                          </a:solidFill>
                          <a:effectLst/>
                          <a:latin typeface="Calibri"/>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0" i="0" u="none" strike="noStrike">
                          <a:solidFill>
                            <a:srgbClr val="000000"/>
                          </a:solidFill>
                          <a:effectLst/>
                          <a:latin typeface="Calibri"/>
                        </a:rPr>
                        <a:t>1.8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200025">
                <a:tc>
                  <a:txBody>
                    <a:bodyPr/>
                    <a:lstStyle/>
                    <a:p>
                      <a:pPr algn="l" fontAlgn="b"/>
                      <a:r>
                        <a:rPr lang="en-US" sz="1100" b="1" i="0" u="none" strike="noStrike" dirty="0">
                          <a:solidFill>
                            <a:schemeClr val="bg1"/>
                          </a:solidFill>
                          <a:effectLst/>
                          <a:latin typeface="Calibri"/>
                        </a:rPr>
                        <a:t>MR 0.4-0.5 1m Window</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1"/>
                    </a:solidFill>
                  </a:tcPr>
                </a:tc>
                <a:tc>
                  <a:txBody>
                    <a:bodyPr/>
                    <a:lstStyle/>
                    <a:p>
                      <a:pPr algn="r" fontAlgn="b"/>
                      <a:r>
                        <a:rPr lang="en-US" sz="1100" b="0" i="0" u="none" strike="noStrike">
                          <a:solidFill>
                            <a:srgbClr val="000000"/>
                          </a:solidFill>
                          <a:effectLst/>
                          <a:latin typeface="Calibri"/>
                        </a:rPr>
                        <a:t>3.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a:rPr>
                        <a:t>0.6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a:rPr>
                        <a:t>1.8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8" name="Espace réservé du contenu 2"/>
          <p:cNvSpPr txBox="1">
            <a:spLocks/>
          </p:cNvSpPr>
          <p:nvPr/>
        </p:nvSpPr>
        <p:spPr>
          <a:xfrm>
            <a:off x="5674065" y="54926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6010623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2"/>
            <a:ext cx="12192000" cy="483838"/>
          </a:xfrm>
        </p:spPr>
        <p:txBody>
          <a:bodyPr/>
          <a:lstStyle/>
          <a:p>
            <a:pPr lvl="2" indent="0" algn="ctr">
              <a:buNone/>
            </a:pPr>
            <a:r>
              <a:rPr lang="en-US" sz="3200" dirty="0"/>
              <a:t>How to trade Mean Reversion on VIX?</a:t>
            </a:r>
          </a:p>
        </p:txBody>
      </p:sp>
      <p:sp>
        <p:nvSpPr>
          <p:cNvPr id="4" name="Rectangle 3"/>
          <p:cNvSpPr/>
          <p:nvPr/>
        </p:nvSpPr>
        <p:spPr>
          <a:xfrm>
            <a:off x="1" y="5913596"/>
            <a:ext cx="12192000" cy="430887"/>
          </a:xfrm>
          <a:prstGeom prst="rect">
            <a:avLst/>
          </a:prstGeom>
        </p:spPr>
        <p:txBody>
          <a:bodyPr wrap="square">
            <a:spAutoFit/>
          </a:bodyPr>
          <a:lstStyle/>
          <a:p>
            <a:pPr algn="ctr"/>
            <a:r>
              <a:rPr lang="en-US" sz="2200" b="1" kern="0" dirty="0">
                <a:solidFill>
                  <a:sysClr val="windowText" lastClr="000000"/>
                </a:solidFill>
              </a:rPr>
              <a:t>Step 3: building the final mean reversion strategy on VIX</a:t>
            </a:r>
          </a:p>
        </p:txBody>
      </p:sp>
      <p:sp>
        <p:nvSpPr>
          <p:cNvPr id="9" name="Espace réservé du contenu 2"/>
          <p:cNvSpPr txBox="1">
            <a:spLocks/>
          </p:cNvSpPr>
          <p:nvPr/>
        </p:nvSpPr>
        <p:spPr>
          <a:xfrm>
            <a:off x="1066800" y="1722120"/>
            <a:ext cx="10043160" cy="127635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pPr algn="ctr"/>
            <a:r>
              <a:rPr lang="en-US" dirty="0">
                <a:latin typeface="Book Antiqua" panose="02040602050305030304" pitchFamily="18" charset="0"/>
              </a:rPr>
              <a:t>FINAL SYSTEMATIC MEAN REVERSION STRATEGY: EQUALLY WEIGHTED AMONG THE 4 SUB-STRATEGIES</a:t>
            </a:r>
            <a:endParaRPr lang="en-US" b="0" dirty="0"/>
          </a:p>
          <a:p>
            <a:pPr marL="171450" indent="-171450">
              <a:buFont typeface="Arial" panose="020B0604020202020204" pitchFamily="34" charset="0"/>
              <a:buChar char="•"/>
            </a:pPr>
            <a:r>
              <a:rPr lang="en-US" sz="1600" b="0" dirty="0"/>
              <a:t>1 month window: mean reversion applied to the [40%-50%] percentile </a:t>
            </a:r>
          </a:p>
          <a:p>
            <a:pPr marL="171450" indent="-171450">
              <a:buFont typeface="Arial" panose="020B0604020202020204" pitchFamily="34" charset="0"/>
              <a:buChar char="•"/>
            </a:pPr>
            <a:r>
              <a:rPr lang="en-US" sz="1600" b="0" dirty="0"/>
              <a:t>3 months window: mean reversion applied to the [20%-30%] percentile</a:t>
            </a:r>
          </a:p>
          <a:p>
            <a:pPr marL="171450" indent="-171450">
              <a:buFont typeface="Arial" panose="020B0604020202020204" pitchFamily="34" charset="0"/>
              <a:buChar char="•"/>
            </a:pPr>
            <a:r>
              <a:rPr lang="en-US" sz="1600" b="0" dirty="0"/>
              <a:t>6 months window: mean reversion applied to the [10%-20%] percentile</a:t>
            </a:r>
          </a:p>
          <a:p>
            <a:pPr marL="171450" indent="-171450">
              <a:buFont typeface="Arial" panose="020B0604020202020204" pitchFamily="34" charset="0"/>
              <a:buChar char="•"/>
            </a:pPr>
            <a:r>
              <a:rPr lang="en-US" sz="1600" b="0" dirty="0"/>
              <a:t>12 months window: mean reversion applied to the [30%-40%] percentile</a:t>
            </a:r>
          </a:p>
          <a:p>
            <a:pPr marL="285750" indent="-285750">
              <a:buFont typeface="Wingdings" panose="05000000000000000000" pitchFamily="2" charset="2"/>
              <a:buChar char="ü"/>
            </a:pPr>
            <a:endParaRPr lang="en-US" sz="1200" b="0" dirty="0"/>
          </a:p>
          <a:p>
            <a:pPr lvl="1" indent="0">
              <a:buNone/>
            </a:pPr>
            <a:endParaRPr lang="en-US" sz="1400" dirty="0"/>
          </a:p>
          <a:p>
            <a:pPr lvl="1" indent="0">
              <a:buNone/>
            </a:pPr>
            <a:endParaRPr lang="en-US" sz="1400" dirty="0"/>
          </a:p>
          <a:p>
            <a:endParaRPr lang="en-US" b="0" dirty="0"/>
          </a:p>
          <a:p>
            <a:endParaRPr lang="en-US" sz="1800" b="0" dirty="0"/>
          </a:p>
        </p:txBody>
      </p:sp>
      <p:graphicFrame>
        <p:nvGraphicFramePr>
          <p:cNvPr id="8" name="Chart 7"/>
          <p:cNvGraphicFramePr>
            <a:graphicFrameLocks/>
          </p:cNvGraphicFramePr>
          <p:nvPr>
            <p:extLst/>
          </p:nvPr>
        </p:nvGraphicFramePr>
        <p:xfrm>
          <a:off x="1969318" y="3067051"/>
          <a:ext cx="7593783" cy="2709385"/>
        </p:xfrm>
        <a:graphic>
          <a:graphicData uri="http://schemas.openxmlformats.org/drawingml/2006/chart">
            <c:chart xmlns:c="http://schemas.openxmlformats.org/drawingml/2006/chart" xmlns:r="http://schemas.openxmlformats.org/officeDocument/2006/relationships" r:id="rId2"/>
          </a:graphicData>
        </a:graphic>
      </p:graphicFrame>
      <p:sp>
        <p:nvSpPr>
          <p:cNvPr id="11" name="Espace réservé du contenu 2"/>
          <p:cNvSpPr txBox="1">
            <a:spLocks/>
          </p:cNvSpPr>
          <p:nvPr/>
        </p:nvSpPr>
        <p:spPr>
          <a:xfrm>
            <a:off x="5674065" y="563552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39662150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1"/>
            <a:ext cx="12192000" cy="645764"/>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1" y="5786406"/>
            <a:ext cx="12192000" cy="430887"/>
          </a:xfrm>
          <a:prstGeom prst="rect">
            <a:avLst/>
          </a:prstGeom>
        </p:spPr>
        <p:txBody>
          <a:bodyPr wrap="square">
            <a:spAutoFit/>
          </a:bodyPr>
          <a:lstStyle/>
          <a:p>
            <a:pPr algn="ctr"/>
            <a:r>
              <a:rPr lang="en-US" sz="2200" b="1" kern="0" dirty="0">
                <a:solidFill>
                  <a:sysClr val="windowText" lastClr="000000"/>
                </a:solidFill>
              </a:rPr>
              <a:t>Step 3: building the final mean reversion strategy on VIX</a:t>
            </a:r>
          </a:p>
        </p:txBody>
      </p:sp>
      <p:sp>
        <p:nvSpPr>
          <p:cNvPr id="9" name="Espace réservé du contenu 2"/>
          <p:cNvSpPr txBox="1">
            <a:spLocks/>
          </p:cNvSpPr>
          <p:nvPr/>
        </p:nvSpPr>
        <p:spPr>
          <a:xfrm>
            <a:off x="579120" y="1914525"/>
            <a:ext cx="11460480" cy="1895475"/>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600" dirty="0">
                <a:latin typeface="Book Antiqua" panose="02040602050305030304" pitchFamily="18" charset="0"/>
              </a:rPr>
              <a:t>FINAL SYSTEMATIC MEAN REVERSION STRATEGY: EQUALLY WEIGHTED AMONG THE 4 SUB-STRATEGIES</a:t>
            </a:r>
            <a:endParaRPr lang="en-US" sz="1100" b="0" dirty="0"/>
          </a:p>
          <a:p>
            <a:pPr marL="171450" indent="-171450">
              <a:buFont typeface="Arial" panose="020B0604020202020204" pitchFamily="34" charset="0"/>
              <a:buChar char="•"/>
            </a:pPr>
            <a:r>
              <a:rPr lang="en-US" sz="1600" b="0" dirty="0"/>
              <a:t>1 month window: mean reversion applied to the [40%-50%] percentile </a:t>
            </a:r>
          </a:p>
          <a:p>
            <a:pPr marL="171450" indent="-171450">
              <a:buFont typeface="Arial" panose="020B0604020202020204" pitchFamily="34" charset="0"/>
              <a:buChar char="•"/>
            </a:pPr>
            <a:r>
              <a:rPr lang="en-US" sz="1600" b="0" dirty="0"/>
              <a:t>3 months window: mean reversion applied to the [20%-30%] percentile</a:t>
            </a:r>
          </a:p>
          <a:p>
            <a:pPr marL="171450" indent="-171450">
              <a:buFont typeface="Arial" panose="020B0604020202020204" pitchFamily="34" charset="0"/>
              <a:buChar char="•"/>
            </a:pPr>
            <a:r>
              <a:rPr lang="en-US" sz="1600" b="0" dirty="0"/>
              <a:t>6 months window: mean reversion applied to the [10%-20%] percentile</a:t>
            </a:r>
          </a:p>
          <a:p>
            <a:pPr marL="171450" indent="-171450">
              <a:buFont typeface="Arial" panose="020B0604020202020204" pitchFamily="34" charset="0"/>
              <a:buChar char="•"/>
            </a:pPr>
            <a:r>
              <a:rPr lang="en-US" sz="1600" b="0" dirty="0"/>
              <a:t>12 months window: mean reversion applied to the [30%-40%] percentile</a:t>
            </a:r>
          </a:p>
          <a:p>
            <a:endParaRPr lang="en-US" sz="1600" b="0" dirty="0"/>
          </a:p>
          <a:p>
            <a:pPr marL="171450" indent="-171450" algn="just">
              <a:buFont typeface="Wingdings" panose="05000000000000000000" pitchFamily="2" charset="2"/>
              <a:buChar char="Ø"/>
            </a:pPr>
            <a:r>
              <a:rPr lang="en-US" sz="1600" dirty="0"/>
              <a:t>AN ILLUSTRATIVE EXAMPLE OF SYSTEMATIC MEAN REVERSION STRATEGY ON IMPLIED VOLATILITY BASED ON A STATISTICAL APPROACH</a:t>
            </a:r>
          </a:p>
          <a:p>
            <a:pPr lvl="1" indent="0">
              <a:buNone/>
            </a:pPr>
            <a:endParaRPr lang="en-US" sz="1400" dirty="0"/>
          </a:p>
          <a:p>
            <a:pPr lvl="1" indent="0">
              <a:buNone/>
            </a:pPr>
            <a:endParaRPr lang="en-US" sz="1400" dirty="0"/>
          </a:p>
          <a:p>
            <a:endParaRPr lang="en-US" b="0" dirty="0"/>
          </a:p>
          <a:p>
            <a:endParaRPr lang="en-US" sz="1800" b="0" dirty="0"/>
          </a:p>
        </p:txBody>
      </p:sp>
      <p:graphicFrame>
        <p:nvGraphicFramePr>
          <p:cNvPr id="11" name="Object 10"/>
          <p:cNvGraphicFramePr>
            <a:graphicFrameLocks noChangeAspect="1"/>
          </p:cNvGraphicFramePr>
          <p:nvPr>
            <p:extLst>
              <p:ext uri="{D42A27DB-BD31-4B8C-83A1-F6EECF244321}">
                <p14:modId xmlns:p14="http://schemas.microsoft.com/office/powerpoint/2010/main" val="296207897"/>
              </p:ext>
            </p:extLst>
          </p:nvPr>
        </p:nvGraphicFramePr>
        <p:xfrm>
          <a:off x="2686049" y="4155266"/>
          <a:ext cx="7067550" cy="1362075"/>
        </p:xfrm>
        <a:graphic>
          <a:graphicData uri="http://schemas.openxmlformats.org/presentationml/2006/ole">
            <mc:AlternateContent xmlns:mc="http://schemas.openxmlformats.org/markup-compatibility/2006">
              <mc:Choice xmlns:v="urn:schemas-microsoft-com:vml" Requires="v">
                <p:oleObj spid="_x0000_s8216" name="Worksheet" r:id="rId4" imgW="7067488" imgH="1362150" progId="Excel.Sheet.12">
                  <p:embed/>
                </p:oleObj>
              </mc:Choice>
              <mc:Fallback>
                <p:oleObj name="Worksheet" r:id="rId4" imgW="7067488" imgH="1362150" progId="Excel.Sheet.12">
                  <p:embed/>
                  <p:pic>
                    <p:nvPicPr>
                      <p:cNvPr id="11" name="Object 10"/>
                      <p:cNvPicPr/>
                      <p:nvPr/>
                    </p:nvPicPr>
                    <p:blipFill>
                      <a:blip r:embed="rId5"/>
                      <a:stretch>
                        <a:fillRect/>
                      </a:stretch>
                    </p:blipFill>
                    <p:spPr>
                      <a:xfrm>
                        <a:off x="2686049" y="4155266"/>
                        <a:ext cx="7067550" cy="1362075"/>
                      </a:xfrm>
                      <a:prstGeom prst="rect">
                        <a:avLst/>
                      </a:prstGeom>
                    </p:spPr>
                  </p:pic>
                </p:oleObj>
              </mc:Fallback>
            </mc:AlternateContent>
          </a:graphicData>
        </a:graphic>
      </p:graphicFrame>
      <p:sp>
        <p:nvSpPr>
          <p:cNvPr id="8" name="Espace réservé du contenu 2"/>
          <p:cNvSpPr txBox="1">
            <a:spLocks/>
          </p:cNvSpPr>
          <p:nvPr/>
        </p:nvSpPr>
        <p:spPr>
          <a:xfrm>
            <a:off x="5658825" y="551734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39773545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6840"/>
            <a:ext cx="12192000" cy="598139"/>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1" y="5808820"/>
            <a:ext cx="12192000" cy="430887"/>
          </a:xfrm>
          <a:prstGeom prst="rect">
            <a:avLst/>
          </a:prstGeom>
        </p:spPr>
        <p:txBody>
          <a:bodyPr wrap="square">
            <a:spAutoFit/>
          </a:bodyPr>
          <a:lstStyle/>
          <a:p>
            <a:pPr algn="ctr"/>
            <a:r>
              <a:rPr lang="en-US" sz="2200" b="1" kern="0" dirty="0">
                <a:solidFill>
                  <a:sysClr val="windowText" lastClr="000000"/>
                </a:solidFill>
              </a:rPr>
              <a:t>Step 3: building the final mean reversion strategy on VIX</a:t>
            </a:r>
          </a:p>
        </p:txBody>
      </p:sp>
      <p:sp>
        <p:nvSpPr>
          <p:cNvPr id="9" name="Espace réservé du contenu 2"/>
          <p:cNvSpPr txBox="1">
            <a:spLocks/>
          </p:cNvSpPr>
          <p:nvPr/>
        </p:nvSpPr>
        <p:spPr>
          <a:xfrm>
            <a:off x="1097280" y="1866900"/>
            <a:ext cx="10058400" cy="104775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800" dirty="0">
                <a:latin typeface="Book Antiqua" panose="02040602050305030304" pitchFamily="18" charset="0"/>
              </a:rPr>
              <a:t>ILLUSTRATIVE FINAL SYSTEMATIC MEAN REVERSION STRATEGY: EQUALLY WEIGHTED AMONG THE 4 SUB-STRATEGIES</a:t>
            </a:r>
          </a:p>
          <a:p>
            <a:pPr marL="171450" indent="-171450">
              <a:buFont typeface="Arial" panose="020B0604020202020204" pitchFamily="34" charset="0"/>
              <a:buChar char="•"/>
            </a:pPr>
            <a:r>
              <a:rPr lang="en-US" sz="1600" b="0" dirty="0"/>
              <a:t>Good performance can occur in both bullish and bearish market environments on Mean Reversion strategy </a:t>
            </a:r>
          </a:p>
          <a:p>
            <a:pPr marL="285750" indent="-285750">
              <a:buFont typeface="Wingdings" panose="05000000000000000000" pitchFamily="2" charset="2"/>
              <a:buChar char="ü"/>
            </a:pPr>
            <a:endParaRPr lang="en-US" sz="1200" b="0" dirty="0"/>
          </a:p>
          <a:p>
            <a:pPr lvl="1" indent="0">
              <a:buNone/>
            </a:pPr>
            <a:endParaRPr lang="en-US" sz="1400" dirty="0"/>
          </a:p>
          <a:p>
            <a:pPr lvl="1" indent="0">
              <a:buNone/>
            </a:pPr>
            <a:endParaRPr lang="en-US" sz="1400" dirty="0"/>
          </a:p>
          <a:p>
            <a:endParaRPr lang="en-US" b="0" dirty="0"/>
          </a:p>
          <a:p>
            <a:endParaRPr lang="en-US" sz="1800" b="0" dirty="0"/>
          </a:p>
        </p:txBody>
      </p:sp>
      <p:graphicFrame>
        <p:nvGraphicFramePr>
          <p:cNvPr id="7" name="Chart 6"/>
          <p:cNvGraphicFramePr>
            <a:graphicFrameLocks/>
          </p:cNvGraphicFramePr>
          <p:nvPr>
            <p:extLst/>
          </p:nvPr>
        </p:nvGraphicFramePr>
        <p:xfrm>
          <a:off x="2209800" y="2914650"/>
          <a:ext cx="7353300" cy="2724150"/>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5674065" y="55307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617303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31601"/>
            <a:ext cx="12192000" cy="636239"/>
          </a:xfrm>
        </p:spPr>
        <p:txBody>
          <a:bodyPr/>
          <a:lstStyle/>
          <a:p>
            <a:pPr lvl="2" indent="0" algn="ctr">
              <a:buNone/>
            </a:pPr>
            <a:r>
              <a:rPr lang="en-US" sz="3200" dirty="0"/>
              <a:t>How to trade Mean Reversion on VIX?</a:t>
            </a:r>
          </a:p>
          <a:p>
            <a:pPr lvl="2" indent="0" algn="ctr">
              <a:buNone/>
            </a:pPr>
            <a:endParaRPr lang="en-US" sz="3200" dirty="0"/>
          </a:p>
          <a:p>
            <a:pPr lvl="2" indent="0" algn="ctr">
              <a:buNone/>
            </a:pPr>
            <a:endParaRPr lang="en-US" sz="3200" dirty="0"/>
          </a:p>
        </p:txBody>
      </p:sp>
      <p:sp>
        <p:nvSpPr>
          <p:cNvPr id="9" name="Espace réservé du contenu 2"/>
          <p:cNvSpPr txBox="1">
            <a:spLocks/>
          </p:cNvSpPr>
          <p:nvPr/>
        </p:nvSpPr>
        <p:spPr>
          <a:xfrm>
            <a:off x="1082040" y="1905000"/>
            <a:ext cx="10073640" cy="62865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1800" dirty="0">
                <a:latin typeface="Book Antiqua" panose="02040602050305030304" pitchFamily="18" charset="0"/>
              </a:rPr>
              <a:t>ILLUSTRATIVE FINAL SYSTEMATIC MEAN REVERSION STRATEGY: EQUALLY WEIGHTED AMONG THE 4 SUB-STRATEGIES</a:t>
            </a:r>
            <a:endParaRPr lang="en-US" sz="2400" dirty="0">
              <a:latin typeface="Book Antiqua" panose="02040602050305030304" pitchFamily="18" charset="0"/>
            </a:endParaRPr>
          </a:p>
          <a:p>
            <a:pPr marL="171450" indent="-171450">
              <a:buFont typeface="Arial" panose="020B0604020202020204" pitchFamily="34" charset="0"/>
              <a:buChar char="•"/>
            </a:pPr>
            <a:r>
              <a:rPr lang="en-US" sz="1600" b="0" dirty="0"/>
              <a:t>Poor performance can occur in both bullish and bearish market environments on Mean Reversion strategy </a:t>
            </a:r>
            <a:endParaRPr lang="en-US" sz="1800" b="0" dirty="0"/>
          </a:p>
          <a:p>
            <a:endParaRPr lang="en-US" b="0" dirty="0"/>
          </a:p>
          <a:p>
            <a:endParaRPr lang="en-US" sz="1800" b="0" dirty="0"/>
          </a:p>
        </p:txBody>
      </p:sp>
      <p:graphicFrame>
        <p:nvGraphicFramePr>
          <p:cNvPr id="8" name="Chart 7"/>
          <p:cNvGraphicFramePr>
            <a:graphicFrameLocks/>
          </p:cNvGraphicFramePr>
          <p:nvPr>
            <p:extLst/>
          </p:nvPr>
        </p:nvGraphicFramePr>
        <p:xfrm>
          <a:off x="2133601" y="2981326"/>
          <a:ext cx="7505699" cy="2421731"/>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p:cNvSpPr/>
          <p:nvPr/>
        </p:nvSpPr>
        <p:spPr>
          <a:xfrm>
            <a:off x="1" y="5749766"/>
            <a:ext cx="12192000" cy="430887"/>
          </a:xfrm>
          <a:prstGeom prst="rect">
            <a:avLst/>
          </a:prstGeom>
        </p:spPr>
        <p:txBody>
          <a:bodyPr wrap="square">
            <a:spAutoFit/>
          </a:bodyPr>
          <a:lstStyle/>
          <a:p>
            <a:pPr algn="ctr"/>
            <a:r>
              <a:rPr lang="en-US" sz="2200" b="1" kern="0" dirty="0">
                <a:solidFill>
                  <a:sysClr val="windowText" lastClr="000000"/>
                </a:solidFill>
              </a:rPr>
              <a:t>Step 3: building the final mean reversion strategy on VIX</a:t>
            </a:r>
          </a:p>
        </p:txBody>
      </p:sp>
      <p:sp>
        <p:nvSpPr>
          <p:cNvPr id="11" name="Espace réservé du contenu 2"/>
          <p:cNvSpPr txBox="1">
            <a:spLocks/>
          </p:cNvSpPr>
          <p:nvPr/>
        </p:nvSpPr>
        <p:spPr>
          <a:xfrm>
            <a:off x="5674065" y="542597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13616788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6841"/>
            <a:ext cx="12192000" cy="731490"/>
          </a:xfrm>
        </p:spPr>
        <p:txBody>
          <a:bodyPr/>
          <a:lstStyle/>
          <a:p>
            <a:pPr lvl="2" indent="0" algn="ctr">
              <a:buNone/>
            </a:pPr>
            <a:r>
              <a:rPr lang="en-US" sz="3200" dirty="0"/>
              <a:t>How to trade Mean Reversion on VIX?</a:t>
            </a:r>
          </a:p>
          <a:p>
            <a:pPr lvl="2" indent="0" algn="ctr">
              <a:buNone/>
            </a:pPr>
            <a:endParaRPr lang="en-US" sz="2800" dirty="0"/>
          </a:p>
        </p:txBody>
      </p:sp>
      <p:sp>
        <p:nvSpPr>
          <p:cNvPr id="4" name="Rectangle 3"/>
          <p:cNvSpPr/>
          <p:nvPr/>
        </p:nvSpPr>
        <p:spPr>
          <a:xfrm>
            <a:off x="0" y="5662164"/>
            <a:ext cx="12192000" cy="430887"/>
          </a:xfrm>
          <a:prstGeom prst="rect">
            <a:avLst/>
          </a:prstGeom>
        </p:spPr>
        <p:txBody>
          <a:bodyPr wrap="square">
            <a:spAutoFit/>
          </a:bodyPr>
          <a:lstStyle/>
          <a:p>
            <a:pPr algn="ctr"/>
            <a:r>
              <a:rPr lang="en-US" sz="2200" b="1" kern="0" dirty="0">
                <a:solidFill>
                  <a:sysClr val="windowText" lastClr="000000"/>
                </a:solidFill>
              </a:rPr>
              <a:t>Equal weight basket between the S&amp;P 500 and the final mean reversion strategy</a:t>
            </a:r>
          </a:p>
        </p:txBody>
      </p:sp>
      <p:graphicFrame>
        <p:nvGraphicFramePr>
          <p:cNvPr id="10" name="Chart 9"/>
          <p:cNvGraphicFramePr>
            <a:graphicFrameLocks/>
          </p:cNvGraphicFramePr>
          <p:nvPr>
            <p:extLst/>
          </p:nvPr>
        </p:nvGraphicFramePr>
        <p:xfrm>
          <a:off x="1859594" y="2000251"/>
          <a:ext cx="8370257" cy="3324225"/>
        </p:xfrm>
        <a:graphic>
          <a:graphicData uri="http://schemas.openxmlformats.org/drawingml/2006/chart">
            <c:chart xmlns:c="http://schemas.openxmlformats.org/drawingml/2006/chart" xmlns:r="http://schemas.openxmlformats.org/officeDocument/2006/relationships" r:id="rId2"/>
          </a:graphicData>
        </a:graphic>
      </p:graphicFrame>
      <p:sp>
        <p:nvSpPr>
          <p:cNvPr id="7" name="Espace réservé du contenu 2"/>
          <p:cNvSpPr txBox="1">
            <a:spLocks/>
          </p:cNvSpPr>
          <p:nvPr/>
        </p:nvSpPr>
        <p:spPr>
          <a:xfrm>
            <a:off x="5674065" y="53402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41294046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57491"/>
            <a:ext cx="12192000" cy="777989"/>
          </a:xfrm>
        </p:spPr>
        <p:txBody>
          <a:bodyPr/>
          <a:lstStyle/>
          <a:p>
            <a:pPr algn="ctr"/>
            <a:r>
              <a:rPr lang="en-US" sz="3200" b="0" dirty="0"/>
              <a:t>Customizable Volatility Screener</a:t>
            </a:r>
          </a:p>
        </p:txBody>
      </p:sp>
      <p:sp>
        <p:nvSpPr>
          <p:cNvPr id="7" name="Espace réservé du contenu 2"/>
          <p:cNvSpPr txBox="1">
            <a:spLocks/>
          </p:cNvSpPr>
          <p:nvPr/>
        </p:nvSpPr>
        <p:spPr>
          <a:xfrm>
            <a:off x="1082040" y="2179320"/>
            <a:ext cx="10058400" cy="3556635"/>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0" indent="0" algn="l" defTabSz="914400" rtl="0" eaLnBrk="1" latinLnBrk="0" hangingPunct="1">
              <a:spcBef>
                <a:spcPct val="20000"/>
              </a:spcBef>
              <a:buFont typeface="Arial" panose="020B0604020202020204" pitchFamily="34" charset="0"/>
              <a:buNone/>
              <a:defRPr sz="1400" b="1" kern="1200">
                <a:solidFill>
                  <a:schemeClr val="dk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dk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dk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dk1"/>
                </a:solidFill>
                <a:latin typeface="+mn-lt"/>
                <a:ea typeface="+mn-ea"/>
                <a:cs typeface="+mn-cs"/>
              </a:defRPr>
            </a:lvl9pPr>
          </a:lstStyle>
          <a:p>
            <a:r>
              <a:rPr lang="en-US" sz="2200" dirty="0">
                <a:latin typeface="Book Antiqua" panose="02040602050305030304" pitchFamily="18" charset="0"/>
              </a:rPr>
              <a:t>Adding value for our clients</a:t>
            </a:r>
          </a:p>
          <a:p>
            <a:pPr marL="285750" indent="-285750">
              <a:buFont typeface="Arial" panose="020B0604020202020204" pitchFamily="34" charset="0"/>
              <a:buChar char="•"/>
            </a:pPr>
            <a:endParaRPr lang="en-US" sz="1200" dirty="0">
              <a:latin typeface="Book Antiqua" panose="02040602050305030304" pitchFamily="18" charset="0"/>
            </a:endParaRPr>
          </a:p>
          <a:p>
            <a:pPr marL="171450" indent="-171450">
              <a:buFont typeface="Arial" panose="020B0604020202020204" pitchFamily="34" charset="0"/>
              <a:buChar char="•"/>
            </a:pPr>
            <a:r>
              <a:rPr lang="en-US" sz="2000" b="0" dirty="0"/>
              <a:t>We have a customizable volatility screener that helps clients visualize trends in volatility</a:t>
            </a:r>
          </a:p>
          <a:p>
            <a:pPr marL="171450" indent="-171450">
              <a:buFont typeface="Arial" panose="020B0604020202020204" pitchFamily="34" charset="0"/>
              <a:buChar char="•"/>
            </a:pPr>
            <a:r>
              <a:rPr lang="en-US" sz="2000" b="0" dirty="0"/>
              <a:t>When a client shares their portfolio holdings with us (after signing an NDA), we can run internal reports to determine where </a:t>
            </a:r>
            <a:r>
              <a:rPr lang="en-US" sz="2000" b="0" dirty="0" err="1"/>
              <a:t>vol</a:t>
            </a:r>
            <a:r>
              <a:rPr lang="en-US" sz="2000" b="0" dirty="0"/>
              <a:t> is ‘cheap’ and where </a:t>
            </a:r>
            <a:r>
              <a:rPr lang="en-US" sz="2000" b="0" dirty="0" err="1"/>
              <a:t>vol</a:t>
            </a:r>
            <a:r>
              <a:rPr lang="en-US" sz="2000" b="0" dirty="0"/>
              <a:t> is ‘expensive’ relative to its sector and its single stock/ETF history</a:t>
            </a:r>
          </a:p>
          <a:p>
            <a:pPr marL="171450" indent="-171450">
              <a:buFont typeface="Arial" panose="020B0604020202020204" pitchFamily="34" charset="0"/>
              <a:buChar char="•"/>
            </a:pPr>
            <a:r>
              <a:rPr lang="en-US" sz="2000" b="0" dirty="0"/>
              <a:t>This can aid in mean reversion strategies and other volatility plays </a:t>
            </a:r>
            <a:endParaRPr lang="en-US" sz="2400" dirty="0"/>
          </a:p>
          <a:p>
            <a:pPr lvl="1" indent="0">
              <a:buNone/>
            </a:pPr>
            <a:endParaRPr lang="en-US" sz="1400" dirty="0"/>
          </a:p>
          <a:p>
            <a:pPr lvl="1" indent="0">
              <a:buNone/>
            </a:pPr>
            <a:endParaRPr lang="en-US" sz="1400" dirty="0"/>
          </a:p>
          <a:p>
            <a:endParaRPr lang="en-US" sz="1800" b="0" dirty="0"/>
          </a:p>
        </p:txBody>
      </p:sp>
    </p:spTree>
    <p:extLst>
      <p:ext uri="{BB962C8B-B14F-4D97-AF65-F5344CB8AC3E}">
        <p14:creationId xmlns:p14="http://schemas.microsoft.com/office/powerpoint/2010/main" val="1371906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720080"/>
          </a:xfrm>
        </p:spPr>
        <p:txBody>
          <a:bodyPr/>
          <a:lstStyle/>
          <a:p>
            <a:pPr algn="ctr"/>
            <a:r>
              <a:rPr lang="en-US" sz="3200" b="0" dirty="0"/>
              <a:t>Our intuition on Mean Reversion</a:t>
            </a:r>
          </a:p>
        </p:txBody>
      </p:sp>
      <p:sp>
        <p:nvSpPr>
          <p:cNvPr id="5" name="Espace réservé du contenu 2"/>
          <p:cNvSpPr txBox="1">
            <a:spLocks/>
          </p:cNvSpPr>
          <p:nvPr/>
        </p:nvSpPr>
        <p:spPr>
          <a:xfrm>
            <a:off x="0" y="5715000"/>
            <a:ext cx="12192000" cy="744438"/>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US Equity Implied Volatility</a:t>
            </a:r>
          </a:p>
        </p:txBody>
      </p:sp>
      <p:sp>
        <p:nvSpPr>
          <p:cNvPr id="8" name="Espace réservé du contenu 2"/>
          <p:cNvSpPr txBox="1">
            <a:spLocks/>
          </p:cNvSpPr>
          <p:nvPr/>
        </p:nvSpPr>
        <p:spPr>
          <a:xfrm>
            <a:off x="1097280" y="2132857"/>
            <a:ext cx="3642360" cy="2705472"/>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800" b="0" dirty="0"/>
              <a:t>10Y VIX historical average value has been around 21 for the past 10 years</a:t>
            </a:r>
          </a:p>
          <a:p>
            <a:pPr marL="171450" indent="-171450">
              <a:buFont typeface="Arial" panose="020B0604020202020204" pitchFamily="34" charset="0"/>
              <a:buChar char="•"/>
            </a:pPr>
            <a:endParaRPr lang="en-US" sz="1600" b="0" dirty="0"/>
          </a:p>
          <a:p>
            <a:pPr marL="171450" indent="-171450">
              <a:buFont typeface="Arial" panose="020B0604020202020204" pitchFamily="34" charset="0"/>
              <a:buChar char="•"/>
            </a:pPr>
            <a:r>
              <a:rPr lang="en-US" sz="1800" b="0" dirty="0"/>
              <a:t>VIX well above 21 could be viewed as ‘expensive’</a:t>
            </a:r>
          </a:p>
          <a:p>
            <a:pPr marL="171450" indent="-171450">
              <a:buFont typeface="Arial" panose="020B0604020202020204" pitchFamily="34" charset="0"/>
              <a:buChar char="•"/>
            </a:pPr>
            <a:endParaRPr lang="en-US" sz="1600" b="0" dirty="0"/>
          </a:p>
          <a:p>
            <a:pPr marL="171450" indent="-171450">
              <a:buFont typeface="Arial" panose="020B0604020202020204" pitchFamily="34" charset="0"/>
              <a:buChar char="•"/>
            </a:pPr>
            <a:r>
              <a:rPr lang="en-US" sz="1800" b="0" dirty="0"/>
              <a:t>VIX well below 21 could be viewed as ‘cheap ’</a:t>
            </a:r>
          </a:p>
          <a:p>
            <a:pPr marL="171450" indent="-171450">
              <a:buFont typeface="Arial" panose="020B0604020202020204" pitchFamily="34" charset="0"/>
              <a:buChar char="•"/>
            </a:pPr>
            <a:endParaRPr lang="en-US" sz="1600" b="0" dirty="0"/>
          </a:p>
          <a:p>
            <a:pPr marL="171450" indent="-171450">
              <a:buFont typeface="Arial" panose="020B0604020202020204" pitchFamily="34" charset="0"/>
              <a:buChar char="•"/>
            </a:pPr>
            <a:r>
              <a:rPr lang="en-US" sz="1800" b="0" dirty="0"/>
              <a:t>The observation window matters</a:t>
            </a:r>
          </a:p>
          <a:p>
            <a:pPr algn="just"/>
            <a:endParaRPr lang="en-US" sz="1800" b="0" dirty="0"/>
          </a:p>
          <a:p>
            <a:pPr algn="just"/>
            <a:endParaRPr lang="en-US" sz="3200" b="0" dirty="0"/>
          </a:p>
          <a:p>
            <a:pPr algn="just"/>
            <a:endParaRPr lang="en-US" sz="3600" b="0" dirty="0"/>
          </a:p>
        </p:txBody>
      </p:sp>
      <p:graphicFrame>
        <p:nvGraphicFramePr>
          <p:cNvPr id="9" name="Chart 8"/>
          <p:cNvGraphicFramePr>
            <a:graphicFrameLocks/>
          </p:cNvGraphicFramePr>
          <p:nvPr>
            <p:extLst/>
          </p:nvPr>
        </p:nvGraphicFramePr>
        <p:xfrm>
          <a:off x="4871864" y="2132857"/>
          <a:ext cx="5472608" cy="2880320"/>
        </p:xfrm>
        <a:graphic>
          <a:graphicData uri="http://schemas.openxmlformats.org/drawingml/2006/chart">
            <c:chart xmlns:c="http://schemas.openxmlformats.org/drawingml/2006/chart" xmlns:r="http://schemas.openxmlformats.org/officeDocument/2006/relationships" r:id="rId2"/>
          </a:graphicData>
        </a:graphic>
      </p:graphicFrame>
      <p:sp>
        <p:nvSpPr>
          <p:cNvPr id="7" name="Espace réservé du contenu 2"/>
          <p:cNvSpPr txBox="1">
            <a:spLocks/>
          </p:cNvSpPr>
          <p:nvPr/>
        </p:nvSpPr>
        <p:spPr>
          <a:xfrm>
            <a:off x="5702640" y="4978301"/>
            <a:ext cx="4260510" cy="450949"/>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b="0" dirty="0"/>
          </a:p>
          <a:p>
            <a:pPr algn="just"/>
            <a:endParaRPr lang="en-US" sz="2400" b="0" dirty="0"/>
          </a:p>
          <a:p>
            <a:pPr algn="just"/>
            <a:endParaRPr lang="en-US" sz="2800" b="0" dirty="0"/>
          </a:p>
        </p:txBody>
      </p:sp>
    </p:spTree>
    <p:extLst>
      <p:ext uri="{BB962C8B-B14F-4D97-AF65-F5344CB8AC3E}">
        <p14:creationId xmlns:p14="http://schemas.microsoft.com/office/powerpoint/2010/main" val="34732391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57491"/>
            <a:ext cx="12192000" cy="869430"/>
          </a:xfrm>
        </p:spPr>
        <p:txBody>
          <a:bodyPr/>
          <a:lstStyle/>
          <a:p>
            <a:pPr algn="ctr"/>
            <a:r>
              <a:rPr lang="en-US" sz="3200" b="0" dirty="0"/>
              <a:t>Customizable Volatility Screener</a:t>
            </a:r>
          </a:p>
        </p:txBody>
      </p:sp>
      <p:pic>
        <p:nvPicPr>
          <p:cNvPr id="512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7917" t="14537" r="12847" b="4197"/>
          <a:stretch/>
        </p:blipFill>
        <p:spPr bwMode="auto">
          <a:xfrm>
            <a:off x="1756291" y="1897381"/>
            <a:ext cx="4398406" cy="3138944"/>
          </a:xfrm>
          <a:prstGeom prst="rect">
            <a:avLst/>
          </a:prstGeom>
          <a:noFill/>
          <a:ln>
            <a:noFill/>
          </a:ln>
          <a:effectLst>
            <a:innerShdw blurRad="114300">
              <a:prstClr val="black"/>
            </a:innerShdw>
          </a:effectLst>
          <a:scene3d>
            <a:camera prst="perspectiveHeroicExtremeRightFacing"/>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9427" t="14807" r="14028" b="4487"/>
          <a:stretch/>
        </p:blipFill>
        <p:spPr bwMode="auto">
          <a:xfrm>
            <a:off x="4233863" y="2316481"/>
            <a:ext cx="4398406" cy="3144704"/>
          </a:xfrm>
          <a:prstGeom prst="rect">
            <a:avLst/>
          </a:prstGeom>
          <a:noFill/>
          <a:ln>
            <a:noFill/>
          </a:ln>
          <a:effectLst>
            <a:innerShdw blurRad="114300">
              <a:prstClr val="black"/>
            </a:innerShdw>
          </a:effectLst>
          <a:scene3d>
            <a:camera prst="perspectiveHeroicExtremeRightFacing"/>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9166" t="14712" r="14063" b="4423"/>
          <a:stretch/>
        </p:blipFill>
        <p:spPr bwMode="auto">
          <a:xfrm>
            <a:off x="6729414" y="2640330"/>
            <a:ext cx="4538662" cy="3238500"/>
          </a:xfrm>
          <a:prstGeom prst="rect">
            <a:avLst/>
          </a:prstGeom>
          <a:noFill/>
          <a:ln>
            <a:noFill/>
          </a:ln>
          <a:effectLst>
            <a:innerShdw blurRad="114300">
              <a:prstClr val="black"/>
            </a:innerShdw>
          </a:effectLst>
          <a:scene3d>
            <a:camera prst="perspectiveHeroicExtremeRightFacing"/>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01460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1890616" y="1196752"/>
            <a:ext cx="8777384" cy="3744416"/>
          </a:xfrm>
        </p:spPr>
        <p:txBody>
          <a:bodyPr/>
          <a:lstStyle/>
          <a:p>
            <a:pPr algn="ctr"/>
            <a:r>
              <a:rPr lang="fr-FR" sz="4000" dirty="0"/>
              <a:t>Conclusion</a:t>
            </a:r>
          </a:p>
          <a:p>
            <a:pPr algn="ctr"/>
            <a:endParaRPr lang="fr-FR" sz="4000" dirty="0"/>
          </a:p>
          <a:p>
            <a:pPr algn="ctr"/>
            <a:r>
              <a:rPr lang="fr-FR" sz="3600" b="0" dirty="0"/>
              <a:t>Questions?</a:t>
            </a:r>
          </a:p>
        </p:txBody>
      </p:sp>
    </p:spTree>
    <p:extLst>
      <p:ext uri="{BB962C8B-B14F-4D97-AF65-F5344CB8AC3E}">
        <p14:creationId xmlns:p14="http://schemas.microsoft.com/office/powerpoint/2010/main" val="31042810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GB" dirty="0">
                <a:solidFill>
                  <a:schemeClr val="accent4">
                    <a:lumMod val="75000"/>
                  </a:schemeClr>
                </a:solidFill>
              </a:rPr>
              <a:t>Contacts</a:t>
            </a:r>
          </a:p>
        </p:txBody>
      </p:sp>
      <p:sp>
        <p:nvSpPr>
          <p:cNvPr id="8" name="Text Placeholder 1"/>
          <p:cNvSpPr txBox="1">
            <a:spLocks/>
          </p:cNvSpPr>
          <p:nvPr/>
        </p:nvSpPr>
        <p:spPr bwMode="auto">
          <a:xfrm>
            <a:off x="1800225" y="2455864"/>
            <a:ext cx="8715375" cy="309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723900" eaLnBrk="0" hangingPunct="0">
              <a:defRPr>
                <a:solidFill>
                  <a:schemeClr val="tx1"/>
                </a:solidFill>
                <a:latin typeface="Arial" pitchFamily="34" charset="0"/>
                <a:cs typeface="Arial" pitchFamily="34" charset="0"/>
              </a:defRPr>
            </a:lvl1pPr>
            <a:lvl2pPr marL="742950" indent="-285750" defTabSz="723900" eaLnBrk="0" hangingPunct="0">
              <a:defRPr>
                <a:solidFill>
                  <a:schemeClr val="tx1"/>
                </a:solidFill>
                <a:latin typeface="Arial" pitchFamily="34" charset="0"/>
                <a:cs typeface="Arial" pitchFamily="34" charset="0"/>
              </a:defRPr>
            </a:lvl2pPr>
            <a:lvl3pPr marL="1143000" indent="-228600" defTabSz="723900" eaLnBrk="0" hangingPunct="0">
              <a:defRPr>
                <a:solidFill>
                  <a:schemeClr val="tx1"/>
                </a:solidFill>
                <a:latin typeface="Arial" pitchFamily="34" charset="0"/>
                <a:cs typeface="Arial" pitchFamily="34" charset="0"/>
              </a:defRPr>
            </a:lvl3pPr>
            <a:lvl4pPr marL="1600200" indent="-228600" defTabSz="723900" eaLnBrk="0" hangingPunct="0">
              <a:defRPr>
                <a:solidFill>
                  <a:schemeClr val="tx1"/>
                </a:solidFill>
                <a:latin typeface="Arial" pitchFamily="34" charset="0"/>
                <a:cs typeface="Arial" pitchFamily="34" charset="0"/>
              </a:defRPr>
            </a:lvl4pPr>
            <a:lvl5pPr marL="2057400" indent="-228600" defTabSz="723900" eaLnBrk="0" hangingPunct="0">
              <a:defRPr>
                <a:solidFill>
                  <a:schemeClr val="tx1"/>
                </a:solidFill>
                <a:latin typeface="Arial" pitchFamily="34" charset="0"/>
                <a:cs typeface="Arial" pitchFamily="34" charset="0"/>
              </a:defRPr>
            </a:lvl5pPr>
            <a:lvl6pPr marL="2514600" indent="-228600" defTabSz="7239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7239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7239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7239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lnSpc>
                <a:spcPct val="130000"/>
              </a:lnSpc>
              <a:spcBef>
                <a:spcPts val="200"/>
              </a:spcBef>
              <a:spcAft>
                <a:spcPct val="0"/>
              </a:spcAft>
            </a:pPr>
            <a:endParaRPr lang="en-US" altLang="en-US" sz="1000" b="1" kern="0" dirty="0">
              <a:solidFill>
                <a:srgbClr val="571E74"/>
              </a:solidFill>
              <a:latin typeface="Corbel" pitchFamily="34" charset="0"/>
            </a:endParaRPr>
          </a:p>
          <a:p>
            <a:pPr eaLnBrk="1" fontAlgn="base" hangingPunct="1">
              <a:spcAft>
                <a:spcPct val="0"/>
              </a:spcAft>
            </a:pPr>
            <a:r>
              <a:rPr lang="en-US" altLang="en-US" sz="1400" b="1" kern="0" dirty="0">
                <a:latin typeface="+mn-lt"/>
                <a:cs typeface="+mn-cs"/>
              </a:rPr>
              <a:t>Sam Rosenberg	</a:t>
            </a:r>
            <a:r>
              <a:rPr lang="en-US" altLang="en-US" sz="1400" kern="0" dirty="0">
                <a:solidFill>
                  <a:srgbClr val="571E74"/>
                </a:solidFill>
                <a:latin typeface="Corbel" pitchFamily="34" charset="0"/>
              </a:rPr>
              <a:t>          	    </a:t>
            </a:r>
            <a:r>
              <a:rPr lang="en-US" altLang="en-US" sz="1400" b="1" kern="0" dirty="0">
                <a:latin typeface="+mn-lt"/>
                <a:cs typeface="+mn-cs"/>
              </a:rPr>
              <a:t>Fabrice Tenga	</a:t>
            </a:r>
            <a:r>
              <a:rPr lang="en-US" altLang="en-US" sz="1400" kern="0" dirty="0">
                <a:solidFill>
                  <a:srgbClr val="571E74"/>
                </a:solidFill>
                <a:latin typeface="Corbel" pitchFamily="34" charset="0"/>
              </a:rPr>
              <a:t>	</a:t>
            </a:r>
            <a:r>
              <a:rPr lang="en-US" altLang="en-US" sz="1400" b="1" kern="0" dirty="0">
                <a:latin typeface="+mj-lt"/>
              </a:rPr>
              <a:t>Francois de Brignac</a:t>
            </a:r>
            <a:r>
              <a:rPr lang="en-US" altLang="en-US" sz="1400" kern="0" dirty="0">
                <a:solidFill>
                  <a:srgbClr val="571E74"/>
                </a:solidFill>
                <a:latin typeface="+mj-lt"/>
              </a:rPr>
              <a:t>		</a:t>
            </a:r>
            <a:r>
              <a:rPr lang="en-US" altLang="en-US" sz="1400" kern="0" dirty="0">
                <a:latin typeface="+mj-lt"/>
              </a:rPr>
              <a:t>    </a:t>
            </a:r>
            <a:r>
              <a:rPr lang="en-US" altLang="en-US" sz="1400" b="1" kern="0" dirty="0">
                <a:latin typeface="+mj-lt"/>
              </a:rPr>
              <a:t>Brian Morrissey</a:t>
            </a:r>
            <a:r>
              <a:rPr lang="en-US" altLang="en-US" sz="1200" kern="0" dirty="0">
                <a:latin typeface="+mj-lt"/>
              </a:rPr>
              <a:t>	        </a:t>
            </a:r>
          </a:p>
          <a:p>
            <a:pPr eaLnBrk="1" fontAlgn="base" hangingPunct="1">
              <a:spcAft>
                <a:spcPct val="0"/>
              </a:spcAft>
            </a:pPr>
            <a:r>
              <a:rPr lang="en-US" altLang="en-US" sz="1200" kern="0" dirty="0">
                <a:latin typeface="+mj-lt"/>
                <a:ea typeface="+mj-ea"/>
                <a:cs typeface="Calibri" pitchFamily="34" charset="0"/>
              </a:rPr>
              <a:t>W: 212-891-5768	</a:t>
            </a:r>
            <a:r>
              <a:rPr lang="en-US" altLang="en-US" sz="1000" b="1" kern="0" dirty="0">
                <a:latin typeface="+mj-lt"/>
              </a:rPr>
              <a:t>            	     </a:t>
            </a:r>
            <a:r>
              <a:rPr lang="en-US" altLang="en-US" sz="1200" kern="0" dirty="0">
                <a:latin typeface="+mj-lt"/>
                <a:ea typeface="+mj-ea"/>
                <a:cs typeface="Calibri" pitchFamily="34" charset="0"/>
              </a:rPr>
              <a:t>W. 212-891-5744	</a:t>
            </a:r>
            <a:r>
              <a:rPr lang="en-US" altLang="en-US" sz="1000" b="1" kern="0" dirty="0">
                <a:latin typeface="+mj-lt"/>
              </a:rPr>
              <a:t>	</a:t>
            </a:r>
            <a:r>
              <a:rPr lang="en-US" altLang="en-US" sz="1200" kern="0" dirty="0">
                <a:latin typeface="+mj-lt"/>
              </a:rPr>
              <a:t>W. 212-698-3044</a:t>
            </a:r>
            <a:r>
              <a:rPr lang="en-US" altLang="en-US" sz="1000" b="1" kern="0" dirty="0">
                <a:latin typeface="+mj-lt"/>
              </a:rPr>
              <a:t>		</a:t>
            </a:r>
            <a:r>
              <a:rPr lang="en-US" altLang="en-US" sz="1200" b="1" kern="0" dirty="0">
                <a:latin typeface="+mj-lt"/>
              </a:rPr>
              <a:t>     </a:t>
            </a:r>
            <a:r>
              <a:rPr lang="en-US" altLang="en-US" sz="1200" kern="0" dirty="0">
                <a:latin typeface="+mj-lt"/>
              </a:rPr>
              <a:t>W. 212-891-6177</a:t>
            </a:r>
          </a:p>
          <a:p>
            <a:pPr eaLnBrk="1" fontAlgn="base" hangingPunct="1">
              <a:spcAft>
                <a:spcPct val="0"/>
              </a:spcAft>
            </a:pPr>
            <a:r>
              <a:rPr lang="en-US" altLang="en-US" sz="1200" kern="0" dirty="0">
                <a:latin typeface="+mj-lt"/>
                <a:ea typeface="+mj-ea"/>
              </a:rPr>
              <a:t>samuel.rosenberg@us.natixis.com	    fabrice.tenga@us.natixis.com 	francois.debrignac@us.natixis.com	     brian.morrissey@us.natixis.com</a:t>
            </a:r>
          </a:p>
          <a:p>
            <a:pPr eaLnBrk="1" fontAlgn="base" hangingPunct="1">
              <a:spcAft>
                <a:spcPct val="0"/>
              </a:spcAft>
            </a:pPr>
            <a:endParaRPr lang="en-US" altLang="en-US" sz="800" b="1" kern="0" dirty="0">
              <a:solidFill>
                <a:srgbClr val="571E74"/>
              </a:solidFill>
              <a:latin typeface="+mj-lt"/>
            </a:endParaRPr>
          </a:p>
          <a:p>
            <a:pPr eaLnBrk="1" fontAlgn="base" hangingPunct="1">
              <a:lnSpc>
                <a:spcPct val="130000"/>
              </a:lnSpc>
              <a:spcBef>
                <a:spcPts val="200"/>
              </a:spcBef>
              <a:spcAft>
                <a:spcPct val="0"/>
              </a:spcAft>
            </a:pPr>
            <a:endParaRPr lang="en-US" altLang="en-US" sz="800" b="1" kern="0" dirty="0">
              <a:solidFill>
                <a:srgbClr val="571E74"/>
              </a:solidFill>
              <a:latin typeface="Corbel" pitchFamily="34" charset="0"/>
            </a:endParaRPr>
          </a:p>
          <a:p>
            <a:pPr algn="ctr" fontAlgn="base">
              <a:lnSpc>
                <a:spcPct val="130000"/>
              </a:lnSpc>
              <a:spcBef>
                <a:spcPct val="0"/>
              </a:spcBef>
              <a:spcAft>
                <a:spcPct val="0"/>
              </a:spcAft>
            </a:pPr>
            <a:endParaRPr lang="en-US" altLang="en-US" sz="1000" b="1" kern="0" dirty="0">
              <a:solidFill>
                <a:srgbClr val="571E74"/>
              </a:solidFill>
              <a:latin typeface="Corbel" pitchFamily="34" charset="0"/>
            </a:endParaRPr>
          </a:p>
          <a:p>
            <a:pPr algn="ctr" fontAlgn="base">
              <a:lnSpc>
                <a:spcPct val="130000"/>
              </a:lnSpc>
              <a:spcBef>
                <a:spcPct val="0"/>
              </a:spcBef>
              <a:spcAft>
                <a:spcPct val="0"/>
              </a:spcAft>
            </a:pPr>
            <a:endParaRPr lang="en-US" altLang="en-US" sz="1000" b="1" kern="0" dirty="0">
              <a:solidFill>
                <a:srgbClr val="571E74"/>
              </a:solidFill>
              <a:latin typeface="Corbel" pitchFamily="34" charset="0"/>
            </a:endParaRPr>
          </a:p>
          <a:p>
            <a:pPr algn="ctr" fontAlgn="base">
              <a:lnSpc>
                <a:spcPct val="130000"/>
              </a:lnSpc>
              <a:spcBef>
                <a:spcPct val="0"/>
              </a:spcBef>
              <a:spcAft>
                <a:spcPct val="0"/>
              </a:spcAft>
            </a:pPr>
            <a:endParaRPr lang="en-US" altLang="en-US" sz="1400" b="1" kern="0" dirty="0">
              <a:latin typeface="+mn-lt"/>
              <a:cs typeface="+mn-cs"/>
            </a:endParaRPr>
          </a:p>
          <a:p>
            <a:pPr algn="ctr" fontAlgn="base">
              <a:lnSpc>
                <a:spcPct val="130000"/>
              </a:lnSpc>
              <a:spcBef>
                <a:spcPct val="0"/>
              </a:spcBef>
              <a:spcAft>
                <a:spcPct val="0"/>
              </a:spcAft>
            </a:pPr>
            <a:endParaRPr lang="en-US" altLang="en-US" sz="1400" b="1" kern="0" dirty="0">
              <a:latin typeface="+mn-lt"/>
              <a:cs typeface="+mn-cs"/>
            </a:endParaRPr>
          </a:p>
          <a:p>
            <a:pPr algn="ctr" fontAlgn="base">
              <a:lnSpc>
                <a:spcPct val="130000"/>
              </a:lnSpc>
              <a:spcBef>
                <a:spcPct val="0"/>
              </a:spcBef>
              <a:spcAft>
                <a:spcPct val="0"/>
              </a:spcAft>
            </a:pPr>
            <a:r>
              <a:rPr lang="en-US" altLang="en-US" sz="1400" b="1" kern="0" dirty="0">
                <a:latin typeface="+mn-lt"/>
                <a:cs typeface="+mn-cs"/>
              </a:rPr>
              <a:t>1251 Avenue of the Americas</a:t>
            </a:r>
          </a:p>
          <a:p>
            <a:pPr algn="ctr" fontAlgn="base">
              <a:lnSpc>
                <a:spcPct val="130000"/>
              </a:lnSpc>
              <a:spcBef>
                <a:spcPct val="0"/>
              </a:spcBef>
              <a:spcAft>
                <a:spcPct val="0"/>
              </a:spcAft>
            </a:pPr>
            <a:r>
              <a:rPr lang="en-US" altLang="en-US" sz="1400" b="1" kern="0" dirty="0">
                <a:latin typeface="+mn-lt"/>
                <a:cs typeface="+mn-cs"/>
              </a:rPr>
              <a:t>New York, NY 10020</a:t>
            </a:r>
          </a:p>
          <a:p>
            <a:pPr algn="ctr" fontAlgn="base">
              <a:lnSpc>
                <a:spcPct val="130000"/>
              </a:lnSpc>
              <a:spcBef>
                <a:spcPct val="0"/>
              </a:spcBef>
              <a:spcAft>
                <a:spcPct val="0"/>
              </a:spcAft>
            </a:pPr>
            <a:r>
              <a:rPr lang="en-US" altLang="en-US" sz="1400" b="1" u="sng" kern="0" dirty="0">
                <a:latin typeface="+mn-lt"/>
                <a:cs typeface="+mn-cs"/>
              </a:rPr>
              <a:t>US-EquityDerivatives@us.natixis.com</a:t>
            </a:r>
          </a:p>
          <a:p>
            <a:pPr fontAlgn="base">
              <a:lnSpc>
                <a:spcPct val="130000"/>
              </a:lnSpc>
              <a:spcBef>
                <a:spcPct val="0"/>
              </a:spcBef>
              <a:spcAft>
                <a:spcPct val="0"/>
              </a:spcAft>
            </a:pPr>
            <a:endParaRPr lang="en-US" altLang="en-US" sz="1000" b="1" kern="0" dirty="0">
              <a:solidFill>
                <a:srgbClr val="571E74"/>
              </a:solidFill>
              <a:latin typeface="Corbel" pitchFamily="34" charset="0"/>
            </a:endParaRPr>
          </a:p>
          <a:p>
            <a:pPr fontAlgn="base">
              <a:lnSpc>
                <a:spcPct val="130000"/>
              </a:lnSpc>
              <a:spcBef>
                <a:spcPct val="0"/>
              </a:spcBef>
              <a:spcAft>
                <a:spcPct val="0"/>
              </a:spcAft>
            </a:pPr>
            <a:endParaRPr lang="en-US" altLang="en-US" sz="1000" b="1" kern="0" dirty="0">
              <a:solidFill>
                <a:srgbClr val="571E74"/>
              </a:solidFill>
              <a:latin typeface="Corbel" pitchFamily="34" charset="0"/>
            </a:endParaRPr>
          </a:p>
          <a:p>
            <a:pPr fontAlgn="base">
              <a:lnSpc>
                <a:spcPct val="130000"/>
              </a:lnSpc>
              <a:spcBef>
                <a:spcPct val="0"/>
              </a:spcBef>
              <a:spcAft>
                <a:spcPct val="0"/>
              </a:spcAft>
            </a:pPr>
            <a:endParaRPr lang="en-US" altLang="en-US" sz="1600" b="1" kern="0" dirty="0">
              <a:solidFill>
                <a:srgbClr val="571E74"/>
              </a:solidFill>
              <a:latin typeface="Corbel" pitchFamily="34" charset="0"/>
            </a:endParaRPr>
          </a:p>
          <a:p>
            <a:pPr fontAlgn="base">
              <a:lnSpc>
                <a:spcPct val="130000"/>
              </a:lnSpc>
              <a:spcBef>
                <a:spcPct val="0"/>
              </a:spcBef>
              <a:spcAft>
                <a:spcPct val="0"/>
              </a:spcAft>
            </a:pPr>
            <a:endParaRPr lang="en-US" altLang="en-US" sz="1600" b="1" kern="0" dirty="0">
              <a:solidFill>
                <a:srgbClr val="571E74"/>
              </a:solidFill>
              <a:latin typeface="Corbel" pitchFamily="34" charset="0"/>
            </a:endParaRPr>
          </a:p>
        </p:txBody>
      </p:sp>
      <p:pic>
        <p:nvPicPr>
          <p:cNvPr id="9"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8758" y="3547270"/>
            <a:ext cx="3276600"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7942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03512" y="2039888"/>
            <a:ext cx="8784976" cy="4278094"/>
          </a:xfrm>
          <a:prstGeom prst="rect">
            <a:avLst/>
          </a:prstGeom>
          <a:solidFill>
            <a:schemeClr val="bg1"/>
          </a:solidFill>
        </p:spPr>
        <p:txBody>
          <a:bodyPr wrap="square">
            <a:spAutoFit/>
          </a:bodyPr>
          <a:lstStyle/>
          <a:p>
            <a:pPr algn="just"/>
            <a:r>
              <a:rPr lang="en-US" sz="800" b="1" u="sng" kern="0" dirty="0">
                <a:solidFill>
                  <a:sysClr val="windowText" lastClr="000000"/>
                </a:solidFill>
              </a:rPr>
              <a:t>Disclaimer</a:t>
            </a:r>
          </a:p>
          <a:p>
            <a:pPr algn="just"/>
            <a:r>
              <a:rPr lang="en-US" sz="800" kern="0" dirty="0">
                <a:solidFill>
                  <a:sysClr val="windowText" lastClr="000000"/>
                </a:solidFill>
              </a:rPr>
              <a:t>This preliminary information (“Preliminary Information”) is for discussion and information purposes only. It is highly confidential and it is the property of Natixis, acting through its New York Branch (together with its affiliates, collectively “Natixis”).  It should not be transmitted to any person other than the original addressee or recipient without the prior written consent of Natixis. This Preliminary Information is a marketing presentation. It does not constitute an independent investment research and has not been prepared in accordance with the legal requirements designed to promote the independence of investment research. Accordingly there are no prohibitions on dealing ahead of its dissemination. The distribution, possession or delivery of this Preliminary Information in, to or from certain jurisdictions may be restricted or prohibited by law. Recipients of this Preliminary Information are therefore required to ensure that they are aware of, and comply with, such restrictions or prohibitions. Neither Natixis, nor any of its affiliates, directors, employees, agents or advisers nor any other person accept any liability to anyone in relation to the distribution, possession or delivery of this Preliminary Information in, to or from any jurisdiction. This Preliminary Information is communicated to each recipient for information purposes only and does not constitute a personalized recommendation. It is not intended for general distribution and the products described herein do not take into account any specific investment objective, financial situation or particular need of any recipient. It should not be construed as an offer or solicitation with respect to the purchase, sale or subscription of any interest or security or as an undertaking by Natixis to complete a transaction subject to the terms and conditions described in this Preliminary Information or any other terms and conditions. Any guarantee, funding, interest or currency swap, underwriting or more generally any undertaking provided for in this Preliminary Information should be treated as preliminary only and is subject to a formal approval and written confirmation in accordance with Natixis’ current internal procedures.  Natixis may have a long or short position in or buy or sell any product or security mentioned herein. The products referenced herein are not suitable for all investors, they may involve a high degree of risk, may not be transferable and may not be listed or traded on any exchange. Please review the relevant disclosure documents and seek any advice that you consider necessary or desirable to obtain before buying or selling any of the referenced products. Natixis has neither verified nor independently analyzed the information contained in this Preliminary Information. Accordingly, no representation, warranty or undertaking, express or implied, is made to recipients as to or in relation to the accuracy or completeness or otherwise of this Preliminary Information or as to the reasonableness of any assumption contained in this Preliminary Information. The information contained in this Preliminary Information does not take into account specific tax rules or accounting methods applicable to counterparties, clients or potential clients of Natixis. Therefore, Natixis shall not be liable for differences, if any, between its own valuations and those valuations provided by third parties; as such differences may arise as a result of the application and implementation of alternative accounting methods, tax rules or valuation models. Prices and margins are deemed to be indicative only and are subject to changes at any time depending on, inter alia, market conditions. Past performance and simulations of past performance are not a reliable indicator and therefore do not predict future results. The information contained in this document may include results of analyses from a quantitative model, which represent potential future events that may or may not be realized, and is not a complete analysis of every material fact representing any product. Information may be changed or withdrawn by Natixis at any time without notice. More generally, no responsibility is accepted by Natixis, nor by any of its holding companies, subsidiaries, associated undertakings or controlling persons, or any of their respective directors, officers, partners, employees, agents, representatives or advisors as to or in relation to the characteristics of this information. The statements, assumptions and opinions contained in this Preliminary Information may be forward-looking and are therefore subject to risks and uncertainties. Actual results and developments may differ materially from those expressed or implied, depending on a variety of factors and accordingly there can be no guarantee of the projected results, projections or developments. Natixis makes no representation or warranty, expressed or implied, as to the accomplishment of or reasonableness of, nor should any reliance be placed on any projections, targets, estimates or forecasts, or on the statements, assumptions and opinions expressed in this Preliminary Information. Nothing in this Preliminary Information should be relied on as a promise or guarantee as to the future. It should not be assumed that the information contained in this Preliminary Information will have been updated subsequent to the date stated on the front page of this Preliminary Information. In addition, the delivery of this Preliminary Information does not imply in any way an obligation on anyone to update the information contained herein at any time. Natixis shall not be liable for any financial loss or any decision taken on the basis of the information contained in this Preliminary Information and Natixis does not hold itself out as providing any advice, particularly in relation to investment services. In any event, you should request any internal and/or external advice that you consider necessary or desirable to obtain, including any financial, legal, tax or accounting advice, or any other specialist advice, in order to verify in particular that the investment(s) described in this Preliminary Information meets your investment objectives and constraints, and to obtain an independent valuation of such investment(s), and the risk factors and rewards. This Preliminary Information is for qualified, knowledgeable and sophisticated institutional investor clients only. No further distribution is permitted. Distribution to retail investors is prohibited.</a:t>
            </a:r>
          </a:p>
          <a:p>
            <a:pPr algn="just"/>
            <a:endParaRPr lang="en-US" sz="800" b="1" kern="0" dirty="0">
              <a:solidFill>
                <a:sysClr val="windowText" lastClr="000000"/>
              </a:solidFill>
            </a:endParaRPr>
          </a:p>
        </p:txBody>
      </p:sp>
    </p:spTree>
    <p:extLst>
      <p:ext uri="{BB962C8B-B14F-4D97-AF65-F5344CB8AC3E}">
        <p14:creationId xmlns:p14="http://schemas.microsoft.com/office/powerpoint/2010/main" val="428508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720080"/>
          </a:xfrm>
        </p:spPr>
        <p:txBody>
          <a:bodyPr/>
          <a:lstStyle/>
          <a:p>
            <a:pPr algn="ctr"/>
            <a:r>
              <a:rPr lang="en-US" sz="3200" b="0" dirty="0"/>
              <a:t>Our</a:t>
            </a:r>
            <a:r>
              <a:rPr lang="en-US" sz="3200" dirty="0"/>
              <a:t> </a:t>
            </a:r>
            <a:r>
              <a:rPr lang="en-US" sz="3200" b="0" dirty="0"/>
              <a:t>intuition on Mean Reversion</a:t>
            </a:r>
          </a:p>
        </p:txBody>
      </p:sp>
      <p:sp>
        <p:nvSpPr>
          <p:cNvPr id="5" name="Espace réservé du contenu 2"/>
          <p:cNvSpPr txBox="1">
            <a:spLocks/>
          </p:cNvSpPr>
          <p:nvPr/>
        </p:nvSpPr>
        <p:spPr>
          <a:xfrm>
            <a:off x="0" y="5626576"/>
            <a:ext cx="12192000" cy="888107"/>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US Equity Implied Correlation</a:t>
            </a:r>
          </a:p>
        </p:txBody>
      </p:sp>
      <p:sp>
        <p:nvSpPr>
          <p:cNvPr id="8" name="Espace réservé du contenu 2"/>
          <p:cNvSpPr txBox="1">
            <a:spLocks/>
          </p:cNvSpPr>
          <p:nvPr/>
        </p:nvSpPr>
        <p:spPr>
          <a:xfrm>
            <a:off x="1127761" y="1882160"/>
            <a:ext cx="3627120" cy="302433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800" b="0" dirty="0"/>
              <a:t>The JCJ Index is a CBOE measure of the implied correlation of the S&amp;P 500 components through S&amp;P 500 option prices</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Average implied correlation has been around 61 for the past 2 years</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JCJ Index well above 61 could be viewed as ‘expensive’</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JCJ Index well below 61 could be viewed as ‘cheap’</a:t>
            </a:r>
          </a:p>
          <a:p>
            <a:pPr algn="just"/>
            <a:endParaRPr lang="en-US" sz="1600" b="0" dirty="0"/>
          </a:p>
          <a:p>
            <a:pPr algn="just"/>
            <a:endParaRPr lang="en-US" sz="2800" b="0" dirty="0"/>
          </a:p>
          <a:p>
            <a:pPr algn="just"/>
            <a:endParaRPr lang="en-US" sz="3200" b="0" dirty="0"/>
          </a:p>
        </p:txBody>
      </p:sp>
      <p:graphicFrame>
        <p:nvGraphicFramePr>
          <p:cNvPr id="7" name="Chart 6"/>
          <p:cNvGraphicFramePr>
            <a:graphicFrameLocks/>
          </p:cNvGraphicFramePr>
          <p:nvPr>
            <p:extLst/>
          </p:nvPr>
        </p:nvGraphicFramePr>
        <p:xfrm>
          <a:off x="5591945" y="2348881"/>
          <a:ext cx="4632201" cy="2770807"/>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contenu 2"/>
          <p:cNvSpPr txBox="1">
            <a:spLocks/>
          </p:cNvSpPr>
          <p:nvPr/>
        </p:nvSpPr>
        <p:spPr>
          <a:xfrm>
            <a:off x="5702640" y="50735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16483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720080"/>
          </a:xfrm>
        </p:spPr>
        <p:txBody>
          <a:bodyPr/>
          <a:lstStyle/>
          <a:p>
            <a:pPr algn="ctr"/>
            <a:r>
              <a:rPr lang="en-US" sz="3200" b="0" dirty="0"/>
              <a:t>Our intuition on Mean Reversion</a:t>
            </a:r>
          </a:p>
        </p:txBody>
      </p:sp>
      <p:sp>
        <p:nvSpPr>
          <p:cNvPr id="5" name="Espace réservé du contenu 2"/>
          <p:cNvSpPr txBox="1">
            <a:spLocks/>
          </p:cNvSpPr>
          <p:nvPr/>
        </p:nvSpPr>
        <p:spPr>
          <a:xfrm>
            <a:off x="0" y="5699759"/>
            <a:ext cx="12192000" cy="48345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S&amp;P 500 variance swap carry</a:t>
            </a:r>
          </a:p>
        </p:txBody>
      </p:sp>
      <p:sp>
        <p:nvSpPr>
          <p:cNvPr id="8" name="Espace réservé du contenu 2"/>
          <p:cNvSpPr txBox="1">
            <a:spLocks/>
          </p:cNvSpPr>
          <p:nvPr/>
        </p:nvSpPr>
        <p:spPr>
          <a:xfrm>
            <a:off x="1045380" y="2160478"/>
            <a:ext cx="3627120" cy="302433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800" b="0" dirty="0"/>
              <a:t>The VIX Index can be viewed as a proxy of 1M Variance swap price</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Average carry has been positive, around +3.3 points for the past 10 years</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A carry well above 3.3 could be viewed as ‘expensive’</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A carry well below 3.3 could be viewed as ‘cheap’</a:t>
            </a:r>
          </a:p>
          <a:p>
            <a:pPr algn="just"/>
            <a:endParaRPr lang="en-US" sz="1600" b="0" dirty="0"/>
          </a:p>
          <a:p>
            <a:pPr algn="just"/>
            <a:endParaRPr lang="en-US" sz="2800" b="0" dirty="0"/>
          </a:p>
          <a:p>
            <a:pPr algn="just"/>
            <a:endParaRPr lang="en-US" sz="3200" b="0" dirty="0"/>
          </a:p>
        </p:txBody>
      </p:sp>
      <p:graphicFrame>
        <p:nvGraphicFramePr>
          <p:cNvPr id="9" name="Chart 8"/>
          <p:cNvGraphicFramePr>
            <a:graphicFrameLocks/>
          </p:cNvGraphicFramePr>
          <p:nvPr>
            <p:extLst/>
          </p:nvPr>
        </p:nvGraphicFramePr>
        <p:xfrm>
          <a:off x="5015880" y="2132856"/>
          <a:ext cx="5376936" cy="3000746"/>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contenu 2"/>
          <p:cNvSpPr txBox="1">
            <a:spLocks/>
          </p:cNvSpPr>
          <p:nvPr/>
        </p:nvSpPr>
        <p:spPr>
          <a:xfrm>
            <a:off x="5702640" y="5073551"/>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3016852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62080"/>
            <a:ext cx="12192000" cy="720080"/>
          </a:xfrm>
        </p:spPr>
        <p:txBody>
          <a:bodyPr/>
          <a:lstStyle/>
          <a:p>
            <a:pPr algn="ctr"/>
            <a:r>
              <a:rPr lang="en-US" sz="3200" b="0" dirty="0"/>
              <a:t>Our intuition on Mean Reversion</a:t>
            </a:r>
          </a:p>
        </p:txBody>
      </p:sp>
      <p:sp>
        <p:nvSpPr>
          <p:cNvPr id="5" name="Espace réservé du contenu 2"/>
          <p:cNvSpPr txBox="1">
            <a:spLocks/>
          </p:cNvSpPr>
          <p:nvPr/>
        </p:nvSpPr>
        <p:spPr>
          <a:xfrm>
            <a:off x="0" y="5726650"/>
            <a:ext cx="12192000" cy="640102"/>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Variance swap spreads</a:t>
            </a:r>
          </a:p>
        </p:txBody>
      </p:sp>
      <p:graphicFrame>
        <p:nvGraphicFramePr>
          <p:cNvPr id="6" name="Chart 5"/>
          <p:cNvGraphicFramePr>
            <a:graphicFrameLocks/>
          </p:cNvGraphicFramePr>
          <p:nvPr>
            <p:extLst/>
          </p:nvPr>
        </p:nvGraphicFramePr>
        <p:xfrm>
          <a:off x="5159896" y="2207692"/>
          <a:ext cx="5146426" cy="3093516"/>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p:cNvSpPr txBox="1">
            <a:spLocks/>
          </p:cNvSpPr>
          <p:nvPr/>
        </p:nvSpPr>
        <p:spPr>
          <a:xfrm>
            <a:off x="1097280" y="2292237"/>
            <a:ext cx="3719444" cy="3024336"/>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800" b="0" dirty="0"/>
              <a:t>The average realized variance swap spread between DAX Index and </a:t>
            </a:r>
            <a:r>
              <a:rPr lang="en-US" sz="1800" b="0" dirty="0" err="1"/>
              <a:t>Eurostoxx</a:t>
            </a:r>
            <a:r>
              <a:rPr lang="en-US" sz="1800" b="0" dirty="0"/>
              <a:t> 50 has been around -1 point for the past 10 years</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A spread well above -1 could be viewed as ‘expensive</a:t>
            </a:r>
            <a:r>
              <a:rPr lang="en-US" b="0" dirty="0"/>
              <a:t>’</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sz="1800" b="0" dirty="0"/>
              <a:t>A carry well below -1 could be viewed as ‘cheap’</a:t>
            </a:r>
          </a:p>
          <a:p>
            <a:endParaRPr lang="en-US" sz="1600" b="0" dirty="0"/>
          </a:p>
          <a:p>
            <a:pPr algn="just"/>
            <a:endParaRPr lang="en-US" sz="2800" b="0" dirty="0"/>
          </a:p>
          <a:p>
            <a:pPr algn="just"/>
            <a:endParaRPr lang="en-US" sz="3200" b="0" dirty="0"/>
          </a:p>
        </p:txBody>
      </p:sp>
      <p:sp>
        <p:nvSpPr>
          <p:cNvPr id="9" name="Espace réservé du contenu 2"/>
          <p:cNvSpPr txBox="1">
            <a:spLocks/>
          </p:cNvSpPr>
          <p:nvPr/>
        </p:nvSpPr>
        <p:spPr>
          <a:xfrm>
            <a:off x="5702640" y="5178326"/>
            <a:ext cx="4260510" cy="24302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r>
              <a:rPr lang="en-US" sz="1200" b="0" dirty="0"/>
              <a:t>Source: Natixis Financial Engineering, using Bloomberg Data</a:t>
            </a:r>
            <a:endParaRPr lang="en-US" sz="2400" b="0" dirty="0"/>
          </a:p>
        </p:txBody>
      </p:sp>
    </p:spTree>
    <p:extLst>
      <p:ext uri="{BB962C8B-B14F-4D97-AF65-F5344CB8AC3E}">
        <p14:creationId xmlns:p14="http://schemas.microsoft.com/office/powerpoint/2010/main" val="2124844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441132" y="3143251"/>
            <a:ext cx="8429625" cy="3457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7" name="Text Box 56"/>
          <p:cNvSpPr txBox="1">
            <a:spLocks noChangeArrowheads="1"/>
          </p:cNvSpPr>
          <p:nvPr/>
        </p:nvSpPr>
        <p:spPr bwMode="auto">
          <a:xfrm>
            <a:off x="1502092" y="1786891"/>
            <a:ext cx="9945052" cy="5632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62000">
            <a:spAutoFit/>
          </a:bodyPr>
          <a:lstStyle>
            <a:lvl1pPr marL="895350" indent="-895350" algn="ctr" eaLnBrk="0" hangingPunct="0">
              <a:defRPr>
                <a:solidFill>
                  <a:schemeClr val="tx1"/>
                </a:solidFill>
                <a:latin typeface="Arial" pitchFamily="34" charset="0"/>
                <a:cs typeface="Arial" pitchFamily="34" charset="0"/>
              </a:defRPr>
            </a:lvl1pPr>
            <a:lvl2pPr marL="742950" indent="-285750" algn="ctr" eaLnBrk="0" hangingPunct="0">
              <a:defRPr>
                <a:solidFill>
                  <a:schemeClr val="tx1"/>
                </a:solidFill>
                <a:latin typeface="Arial" pitchFamily="34" charset="0"/>
                <a:cs typeface="Arial" pitchFamily="34" charset="0"/>
              </a:defRPr>
            </a:lvl2pPr>
            <a:lvl3pPr marL="1143000" indent="-228600" algn="ctr" eaLnBrk="0" hangingPunct="0">
              <a:defRPr>
                <a:solidFill>
                  <a:schemeClr val="tx1"/>
                </a:solidFill>
                <a:latin typeface="Arial" pitchFamily="34" charset="0"/>
                <a:cs typeface="Arial" pitchFamily="34" charset="0"/>
              </a:defRPr>
            </a:lvl3pPr>
            <a:lvl4pPr marL="1600200" indent="-228600" algn="ctr" eaLnBrk="0" hangingPunct="0">
              <a:defRPr>
                <a:solidFill>
                  <a:schemeClr val="tx1"/>
                </a:solidFill>
                <a:latin typeface="Arial" pitchFamily="34" charset="0"/>
                <a:cs typeface="Arial" pitchFamily="34" charset="0"/>
              </a:defRPr>
            </a:lvl4pPr>
            <a:lvl5pPr marL="2057400" indent="-228600" algn="ctr" eaLnBrk="0" hangingPunct="0">
              <a:defRPr>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cs typeface="Arial" pitchFamily="34" charset="0"/>
              </a:defRPr>
            </a:lvl9pPr>
          </a:lstStyle>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r>
              <a:rPr kumimoji="0" lang="en-GB" altLang="en-US" sz="2400" b="0" i="0" u="none" strike="noStrike" kern="0" cap="none" spc="0" normalizeH="0" baseline="0" noProof="0" dirty="0">
                <a:ln>
                  <a:noFill/>
                </a:ln>
                <a:effectLst/>
                <a:uLnTx/>
                <a:uFillTx/>
                <a:latin typeface="+mn-lt"/>
                <a:cs typeface="Arial" pitchFamily="34" charset="0"/>
              </a:rPr>
              <a:t>What is Mean Reversion?</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A simple definition</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Our intuition on Mean Reversion</a:t>
            </a: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r>
              <a:rPr kumimoji="0" lang="en-GB" altLang="en-US" sz="2400" b="0" i="0" u="none" strike="noStrike" kern="0" cap="none" spc="0" normalizeH="0" baseline="0" noProof="0" dirty="0">
                <a:ln>
                  <a:noFill/>
                </a:ln>
                <a:solidFill>
                  <a:schemeClr val="bg1"/>
                </a:solidFill>
                <a:effectLst/>
                <a:uLnTx/>
                <a:uFillTx/>
                <a:latin typeface="+mn-lt"/>
                <a:cs typeface="Arial" pitchFamily="34" charset="0"/>
              </a:rPr>
              <a:t>Why consider Mean Reversion?</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For diversification purposes</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400" b="0" i="0" u="none" strike="noStrike" kern="0" cap="none" spc="0" normalizeH="0" baseline="0" noProof="0" dirty="0">
                <a:ln>
                  <a:noFill/>
                </a:ln>
                <a:solidFill>
                  <a:schemeClr val="tx1"/>
                </a:solidFill>
                <a:effectLst/>
                <a:uLnTx/>
                <a:uFillTx/>
                <a:latin typeface="+mn-lt"/>
                <a:cs typeface="Arial" pitchFamily="34" charset="0"/>
              </a:rPr>
              <a:t>The main drivers are known</a:t>
            </a: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r>
              <a:rPr kumimoji="0" lang="en-US" altLang="en-US" sz="2400" b="0" i="0" u="none" strike="noStrike" kern="0" cap="none" spc="0" normalizeH="0" baseline="0" noProof="0" dirty="0">
                <a:ln>
                  <a:noFill/>
                </a:ln>
                <a:solidFill>
                  <a:schemeClr val="tx1"/>
                </a:solidFill>
                <a:effectLst/>
                <a:uLnTx/>
                <a:uFillTx/>
                <a:latin typeface="+mn-lt"/>
                <a:cs typeface="Arial" pitchFamily="34" charset="0"/>
              </a:rPr>
              <a:t>Implied volatility focus: How to trade Mean Reversion on VIX?</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0" cap="none" spc="0" normalizeH="0" baseline="0" noProof="0" dirty="0">
                <a:ln>
                  <a:noFill/>
                </a:ln>
                <a:solidFill>
                  <a:schemeClr val="tx1"/>
                </a:solidFill>
                <a:effectLst/>
                <a:uLnTx/>
                <a:uFillTx/>
                <a:latin typeface="+mn-lt"/>
                <a:cs typeface="Arial" pitchFamily="34" charset="0"/>
              </a:rPr>
              <a:t>How to illustrate mean reversion on VIX?</a:t>
            </a:r>
          </a:p>
          <a:p>
            <a:pPr marL="1200150" marR="0" lvl="2"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0" cap="none" spc="0" normalizeH="0" baseline="0" noProof="0" dirty="0">
                <a:ln>
                  <a:noFill/>
                </a:ln>
                <a:solidFill>
                  <a:schemeClr val="tx1"/>
                </a:solidFill>
                <a:effectLst/>
                <a:uLnTx/>
                <a:uFillTx/>
                <a:latin typeface="+mn-lt"/>
                <a:cs typeface="Arial" pitchFamily="34" charset="0"/>
              </a:rPr>
              <a:t>A statistical approach to design a mean reversion strategy on VIX</a:t>
            </a:r>
          </a:p>
          <a:p>
            <a:pPr marL="1143000" marR="0" lvl="2" indent="-228600" algn="l" defTabSz="914400" eaLnBrk="1" fontAlgn="auto" latinLnBrk="0" hangingPunct="1">
              <a:lnSpc>
                <a:spcPct val="100000"/>
              </a:lnSpc>
              <a:spcBef>
                <a:spcPct val="50000"/>
              </a:spcBef>
              <a:spcAft>
                <a:spcPts val="0"/>
              </a:spcAft>
              <a:buClrTx/>
              <a:buSzTx/>
              <a:buFontTx/>
              <a:buAutoNum type="arabicPeriod"/>
              <a:tabLst/>
              <a:defRPr/>
            </a:pPr>
            <a:endParaRPr kumimoji="0" lang="en-GB" altLang="en-US" sz="2400" b="0" i="0" u="none" strike="noStrike" kern="0" cap="none" spc="0" normalizeH="0" baseline="0" noProof="0" dirty="0">
              <a:ln>
                <a:noFill/>
              </a:ln>
              <a:solidFill>
                <a:schemeClr val="tx1"/>
              </a:solidFill>
              <a:effectLst/>
              <a:uLnTx/>
              <a:uFillTx/>
              <a:latin typeface="+mn-lt"/>
              <a:cs typeface="Arial" pitchFamily="34" charset="0"/>
            </a:endParaRP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endParaRPr kumimoji="0" lang="en-GB" altLang="en-US" sz="2800" b="0" i="0" u="none" strike="noStrike" kern="0" cap="none" spc="0" normalizeH="0" baseline="0" noProof="0" dirty="0">
              <a:ln>
                <a:noFill/>
              </a:ln>
              <a:solidFill>
                <a:schemeClr val="tx1"/>
              </a:solidFill>
              <a:effectLst/>
              <a:uLnTx/>
              <a:uFillTx/>
              <a:latin typeface="Verdana" pitchFamily="34" charset="0"/>
              <a:cs typeface="Arial" pitchFamily="34" charset="0"/>
            </a:endParaRPr>
          </a:p>
          <a:p>
            <a:pPr marL="895350" marR="0" lvl="0" indent="-895350" algn="l" defTabSz="914400" eaLnBrk="1" fontAlgn="auto" latinLnBrk="0" hangingPunct="1">
              <a:lnSpc>
                <a:spcPct val="100000"/>
              </a:lnSpc>
              <a:spcBef>
                <a:spcPct val="50000"/>
              </a:spcBef>
              <a:spcAft>
                <a:spcPts val="0"/>
              </a:spcAft>
              <a:buClrTx/>
              <a:buSzTx/>
              <a:buFontTx/>
              <a:buAutoNum type="arabicPeriod"/>
              <a:tabLst/>
              <a:defRPr/>
            </a:pPr>
            <a:endParaRPr kumimoji="0" lang="en-GB" altLang="en-US" sz="2800" b="0" i="0" u="none" strike="noStrike" kern="0" cap="none" spc="0" normalizeH="0" baseline="0" noProof="0" dirty="0">
              <a:ln>
                <a:noFill/>
              </a:ln>
              <a:solidFill>
                <a:schemeClr val="tx1"/>
              </a:solidFill>
              <a:effectLst/>
              <a:uLnTx/>
              <a:uFillTx/>
              <a:latin typeface="Verdana" pitchFamily="34" charset="0"/>
              <a:cs typeface="Arial" pitchFamily="34" charset="0"/>
            </a:endParaRPr>
          </a:p>
        </p:txBody>
      </p:sp>
    </p:spTree>
    <p:extLst>
      <p:ext uri="{BB962C8B-B14F-4D97-AF65-F5344CB8AC3E}">
        <p14:creationId xmlns:p14="http://schemas.microsoft.com/office/powerpoint/2010/main" val="4181993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2"/>
          </p:nvPr>
        </p:nvSpPr>
        <p:spPr>
          <a:xfrm>
            <a:off x="0" y="1146840"/>
            <a:ext cx="12192000" cy="720080"/>
          </a:xfrm>
        </p:spPr>
        <p:txBody>
          <a:bodyPr/>
          <a:lstStyle/>
          <a:p>
            <a:pPr algn="ctr"/>
            <a:r>
              <a:rPr lang="en-US" sz="3200" b="0" dirty="0"/>
              <a:t>Diversification benefits</a:t>
            </a:r>
          </a:p>
        </p:txBody>
      </p:sp>
      <p:sp>
        <p:nvSpPr>
          <p:cNvPr id="5" name="Espace réservé du contenu 2"/>
          <p:cNvSpPr txBox="1">
            <a:spLocks/>
          </p:cNvSpPr>
          <p:nvPr/>
        </p:nvSpPr>
        <p:spPr>
          <a:xfrm>
            <a:off x="1895576" y="5701044"/>
            <a:ext cx="8670788" cy="720080"/>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ctr"/>
            <a:r>
              <a:rPr lang="en-US" sz="2400" b="0" dirty="0"/>
              <a:t>Most equity benchmarks are market cap weighted and thus follow a trend following behavior</a:t>
            </a:r>
          </a:p>
        </p:txBody>
      </p:sp>
      <p:sp>
        <p:nvSpPr>
          <p:cNvPr id="7" name="Espace réservé du contenu 2"/>
          <p:cNvSpPr txBox="1">
            <a:spLocks/>
          </p:cNvSpPr>
          <p:nvPr/>
        </p:nvSpPr>
        <p:spPr>
          <a:xfrm>
            <a:off x="853440" y="1740059"/>
            <a:ext cx="8902392" cy="3096344"/>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400" b="1" kern="1200">
                <a:solidFill>
                  <a:schemeClr val="tx1"/>
                </a:solidFill>
                <a:latin typeface="+mn-lt"/>
                <a:ea typeface="+mn-ea"/>
                <a:cs typeface="+mn-cs"/>
              </a:defRPr>
            </a:lvl1pPr>
            <a:lvl2pPr marL="179388" indent="-179388" algn="just" defTabSz="914400" rtl="0" eaLnBrk="1" latinLnBrk="0" hangingPunct="1">
              <a:spcBef>
                <a:spcPts val="300"/>
              </a:spcBef>
              <a:spcAft>
                <a:spcPts val="0"/>
              </a:spcAft>
              <a:buClr>
                <a:srgbClr val="7030A0"/>
              </a:buClr>
              <a:buFont typeface="Wingdings" panose="05000000000000000000" pitchFamily="2" charset="2"/>
              <a:buChar char="ü"/>
              <a:defRPr lang="en-US" sz="1200" kern="1200" dirty="0" smtClean="0">
                <a:solidFill>
                  <a:schemeClr val="tx1"/>
                </a:solidFill>
                <a:latin typeface="+mn-lt"/>
                <a:ea typeface="+mj-ea"/>
                <a:cs typeface="Calibri" pitchFamily="34" charset="0"/>
              </a:defRPr>
            </a:lvl2pPr>
            <a:lvl3pPr marL="447675" indent="-228600" algn="l" defTabSz="914400" rtl="0" eaLnBrk="1" latinLnBrk="0" hangingPunct="1">
              <a:spcBef>
                <a:spcPts val="300"/>
              </a:spcBef>
              <a:spcAft>
                <a:spcPts val="0"/>
              </a:spcAft>
              <a:buClr>
                <a:srgbClr val="7030A0"/>
              </a:buClr>
              <a:buFont typeface="Arial" panose="020B0604020202020204" pitchFamily="34" charset="0"/>
              <a:buChar char="•"/>
              <a:defRPr sz="1200" kern="1200">
                <a:solidFill>
                  <a:schemeClr val="tx1"/>
                </a:solidFill>
                <a:latin typeface="+mn-lt"/>
                <a:ea typeface="+mn-ea"/>
                <a:cs typeface="+mn-cs"/>
              </a:defRPr>
            </a:lvl3pPr>
            <a:lvl4pPr marL="623888" indent="-228600" algn="l" defTabSz="914400" rtl="0" eaLnBrk="1" latinLnBrk="0" hangingPunct="1">
              <a:spcBef>
                <a:spcPts val="300"/>
              </a:spcBef>
              <a:spcAft>
                <a:spcPts val="0"/>
              </a:spcAft>
              <a:buClr>
                <a:srgbClr val="7030A0"/>
              </a:buClr>
              <a:buFont typeface="Arial" panose="020B0604020202020204" pitchFamily="34" charset="0"/>
              <a:buChar char="–"/>
              <a:defRPr sz="1100" kern="1200">
                <a:solidFill>
                  <a:schemeClr val="tx1"/>
                </a:solidFill>
                <a:latin typeface="+mn-lt"/>
                <a:ea typeface="+mn-ea"/>
                <a:cs typeface="+mn-cs"/>
              </a:defRPr>
            </a:lvl4pPr>
            <a:lvl5pPr marL="809625" indent="-228600" algn="l" defTabSz="914400" rtl="0" eaLnBrk="1" latinLnBrk="0" hangingPunct="1">
              <a:spcBef>
                <a:spcPts val="300"/>
              </a:spcBef>
              <a:buClr>
                <a:srgbClr val="7030A0"/>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just"/>
            <a:r>
              <a:rPr lang="en-US" sz="1600" dirty="0"/>
              <a:t>North America</a:t>
            </a:r>
          </a:p>
          <a:p>
            <a:pPr marL="171450" indent="-171450" algn="just">
              <a:buFont typeface="Arial" panose="020B0604020202020204" pitchFamily="34" charset="0"/>
              <a:buChar char="•"/>
            </a:pPr>
            <a:r>
              <a:rPr lang="en-US" sz="1600" b="0" dirty="0"/>
              <a:t>S&amp;P 500 Index – cap weighted index</a:t>
            </a:r>
          </a:p>
          <a:p>
            <a:pPr marL="171450" indent="-171450" algn="just">
              <a:buFont typeface="Arial" panose="020B0604020202020204" pitchFamily="34" charset="0"/>
              <a:buChar char="•"/>
            </a:pPr>
            <a:r>
              <a:rPr lang="en-US" sz="1600" b="0" dirty="0"/>
              <a:t>NASDAQ 100 Index – modified cap weighted index</a:t>
            </a:r>
          </a:p>
          <a:p>
            <a:pPr marL="171450" indent="-171450" algn="just">
              <a:buFont typeface="Arial" panose="020B0604020202020204" pitchFamily="34" charset="0"/>
              <a:buChar char="•"/>
            </a:pPr>
            <a:r>
              <a:rPr lang="en-US" sz="1600" b="0" dirty="0"/>
              <a:t>RUSSEL 2000 Index – cap weighted index</a:t>
            </a:r>
          </a:p>
          <a:p>
            <a:pPr algn="just"/>
            <a:endParaRPr lang="en-US" sz="1000" b="0" dirty="0"/>
          </a:p>
          <a:p>
            <a:pPr algn="just"/>
            <a:r>
              <a:rPr lang="en-US" sz="1600" dirty="0"/>
              <a:t>Europe</a:t>
            </a:r>
          </a:p>
          <a:p>
            <a:pPr marL="171450" indent="-171450" algn="just">
              <a:buFont typeface="Arial" panose="020B0604020202020204" pitchFamily="34" charset="0"/>
              <a:buChar char="•"/>
            </a:pPr>
            <a:r>
              <a:rPr lang="en-US" sz="1600" b="0" dirty="0"/>
              <a:t>EUROSTOXX 50 Index – cap weighted index</a:t>
            </a:r>
          </a:p>
          <a:p>
            <a:pPr marL="171450" indent="-171450" algn="just">
              <a:buFont typeface="Arial" panose="020B0604020202020204" pitchFamily="34" charset="0"/>
              <a:buChar char="•"/>
            </a:pPr>
            <a:r>
              <a:rPr lang="en-US" sz="1600" b="0" dirty="0"/>
              <a:t>FTSE 100 Index – cap weighted index</a:t>
            </a:r>
          </a:p>
          <a:p>
            <a:pPr marL="171450" indent="-171450" algn="just">
              <a:buFont typeface="Arial" panose="020B0604020202020204" pitchFamily="34" charset="0"/>
              <a:buChar char="•"/>
            </a:pPr>
            <a:r>
              <a:rPr lang="en-US" sz="1600" b="0" dirty="0"/>
              <a:t>SMI index – cap weighted index</a:t>
            </a:r>
          </a:p>
          <a:p>
            <a:pPr algn="just"/>
            <a:endParaRPr lang="en-US" sz="1000" b="0" dirty="0"/>
          </a:p>
          <a:p>
            <a:pPr algn="just"/>
            <a:r>
              <a:rPr lang="en-US" sz="1600" dirty="0"/>
              <a:t>Asia</a:t>
            </a:r>
          </a:p>
          <a:p>
            <a:pPr marL="171450" indent="-171450" algn="just">
              <a:buFont typeface="Arial" panose="020B0604020202020204" pitchFamily="34" charset="0"/>
              <a:buChar char="•"/>
            </a:pPr>
            <a:r>
              <a:rPr lang="en-US" sz="1600" b="0" dirty="0"/>
              <a:t>TOPIX Index – cap weighted index</a:t>
            </a:r>
          </a:p>
          <a:p>
            <a:pPr marL="171450" indent="-171450" algn="just">
              <a:buFont typeface="Arial" panose="020B0604020202020204" pitchFamily="34" charset="0"/>
              <a:buChar char="•"/>
            </a:pPr>
            <a:r>
              <a:rPr lang="en-US" sz="1600" b="0" dirty="0"/>
              <a:t>HANG SENG Index – cap weighted index</a:t>
            </a:r>
          </a:p>
          <a:p>
            <a:pPr marL="171450" indent="-171450" algn="just">
              <a:buFont typeface="Arial" panose="020B0604020202020204" pitchFamily="34" charset="0"/>
              <a:buChar char="•"/>
            </a:pPr>
            <a:r>
              <a:rPr lang="en-US" sz="1600" b="0" dirty="0"/>
              <a:t>HSCEI Index – cap weighted index</a:t>
            </a:r>
            <a:endParaRPr lang="en-US" sz="3200" b="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2670" y="1957142"/>
            <a:ext cx="1905000" cy="112395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7113" y="2143126"/>
            <a:ext cx="1977008" cy="56485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2670" y="3283622"/>
            <a:ext cx="1905000" cy="548931"/>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44116" y="2966792"/>
            <a:ext cx="1457326" cy="883750"/>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22670" y="4404742"/>
            <a:ext cx="1905001" cy="419313"/>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68978" y="4183919"/>
            <a:ext cx="1093279" cy="860957"/>
          </a:xfrm>
          <a:prstGeom prst="rect">
            <a:avLst/>
          </a:prstGeom>
        </p:spPr>
      </p:pic>
    </p:spTree>
    <p:extLst>
      <p:ext uri="{BB962C8B-B14F-4D97-AF65-F5344CB8AC3E}">
        <p14:creationId xmlns:p14="http://schemas.microsoft.com/office/powerpoint/2010/main" val="809761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P Paribas PPT Template">
  <a:themeElements>
    <a:clrScheme name="BNP Paribas">
      <a:dk1>
        <a:srgbClr val="000000"/>
      </a:dk1>
      <a:lt1>
        <a:srgbClr val="FFFFFF"/>
      </a:lt1>
      <a:dk2>
        <a:srgbClr val="000000"/>
      </a:dk2>
      <a:lt2>
        <a:srgbClr val="FFFFFF"/>
      </a:lt2>
      <a:accent1>
        <a:srgbClr val="00915A"/>
      </a:accent1>
      <a:accent2>
        <a:srgbClr val="64A05A"/>
      </a:accent2>
      <a:accent3>
        <a:srgbClr val="A0C873"/>
      </a:accent3>
      <a:accent4>
        <a:srgbClr val="D2DCAA"/>
      </a:accent4>
      <a:accent5>
        <a:srgbClr val="7A9A00"/>
      </a:accent5>
      <a:accent6>
        <a:srgbClr val="B5BD00"/>
      </a:accent6>
      <a:hlink>
        <a:srgbClr val="008578"/>
      </a:hlink>
      <a:folHlink>
        <a:srgbClr val="00AB8E"/>
      </a:folHlink>
    </a:clrScheme>
    <a:fontScheme name="BNP Paribas PPT Theme Font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3</TotalTime>
  <Words>5292</Words>
  <Application>Microsoft Office PowerPoint</Application>
  <PresentationFormat>Custom</PresentationFormat>
  <Paragraphs>769</Paragraphs>
  <Slides>43</Slides>
  <Notes>3</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43</vt:i4>
      </vt:variant>
    </vt:vector>
  </HeadingPairs>
  <TitlesOfParts>
    <vt:vector size="47" baseType="lpstr">
      <vt:lpstr>BNP Paribas PPT Template</vt:lpstr>
      <vt:lpstr>3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bey Weintraub</dc:creator>
  <cp:lastModifiedBy>Tenga Fabrice</cp:lastModifiedBy>
  <cp:revision>50</cp:revision>
  <dcterms:created xsi:type="dcterms:W3CDTF">2016-05-23T15:28:52Z</dcterms:created>
  <dcterms:modified xsi:type="dcterms:W3CDTF">2016-05-27T15:27:20Z</dcterms:modified>
</cp:coreProperties>
</file>